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1.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notesSlides/notesSlide2.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notesSlides/notesSlide3.xml" ContentType="application/vnd.openxmlformats-officedocument.presentationml.notesSlide+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notesSlides/notesSlide4.xml" ContentType="application/vnd.openxmlformats-officedocument.presentationml.notesSlide+xml"/>
  <Override PartName="/ppt/tags/tag387.xml" ContentType="application/vnd.openxmlformats-officedocument.presentationml.tags+xml"/>
  <Override PartName="/ppt/notesSlides/notesSlide5.xml" ContentType="application/vnd.openxmlformats-officedocument.presentationml.notesSlide+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notesSlides/notesSlide6.xml" ContentType="application/vnd.openxmlformats-officedocument.presentationml.notesSlide+xml"/>
  <Override PartName="/ppt/tags/tag393.xml" ContentType="application/vnd.openxmlformats-officedocument.presentationml.tags+xml"/>
  <Override PartName="/ppt/tags/tag394.xml" ContentType="application/vnd.openxmlformats-officedocument.presentationml.tags+xml"/>
  <Override PartName="/ppt/notesSlides/notesSlide7.xml" ContentType="application/vnd.openxmlformats-officedocument.presentationml.notesSlid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notesSlides/notesSlide8.xml" ContentType="application/vnd.openxmlformats-officedocument.presentationml.notesSlide+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trictFirstAndLastChars="0" saveSubsetFonts="1">
  <p:sldMasterIdLst>
    <p:sldMasterId id="2147483648" r:id="rId1"/>
    <p:sldMasterId id="2147483665" r:id="rId2"/>
  </p:sldMasterIdLst>
  <p:notesMasterIdLst>
    <p:notesMasterId r:id="rId44"/>
  </p:notesMasterIdLst>
  <p:handoutMasterIdLst>
    <p:handoutMasterId r:id="rId45"/>
  </p:handoutMasterIdLst>
  <p:sldIdLst>
    <p:sldId id="256" r:id="rId3"/>
    <p:sldId id="330" r:id="rId4"/>
    <p:sldId id="332" r:id="rId5"/>
    <p:sldId id="347" r:id="rId6"/>
    <p:sldId id="346" r:id="rId7"/>
    <p:sldId id="341" r:id="rId8"/>
    <p:sldId id="327" r:id="rId9"/>
    <p:sldId id="356" r:id="rId10"/>
    <p:sldId id="314" r:id="rId11"/>
    <p:sldId id="315" r:id="rId12"/>
    <p:sldId id="361" r:id="rId13"/>
    <p:sldId id="362" r:id="rId14"/>
    <p:sldId id="363" r:id="rId15"/>
    <p:sldId id="365" r:id="rId16"/>
    <p:sldId id="369" r:id="rId17"/>
    <p:sldId id="368" r:id="rId18"/>
    <p:sldId id="348" r:id="rId19"/>
    <p:sldId id="349" r:id="rId20"/>
    <p:sldId id="350" r:id="rId21"/>
    <p:sldId id="351" r:id="rId22"/>
    <p:sldId id="352" r:id="rId23"/>
    <p:sldId id="353" r:id="rId24"/>
    <p:sldId id="354" r:id="rId25"/>
    <p:sldId id="355" r:id="rId26"/>
    <p:sldId id="371" r:id="rId27"/>
    <p:sldId id="372" r:id="rId28"/>
    <p:sldId id="373" r:id="rId29"/>
    <p:sldId id="374" r:id="rId30"/>
    <p:sldId id="375" r:id="rId31"/>
    <p:sldId id="376" r:id="rId32"/>
    <p:sldId id="377" r:id="rId33"/>
    <p:sldId id="379" r:id="rId34"/>
    <p:sldId id="382" r:id="rId35"/>
    <p:sldId id="383" r:id="rId36"/>
    <p:sldId id="385" r:id="rId37"/>
    <p:sldId id="386" r:id="rId38"/>
    <p:sldId id="387" r:id="rId39"/>
    <p:sldId id="388" r:id="rId40"/>
    <p:sldId id="389" r:id="rId41"/>
    <p:sldId id="390" r:id="rId42"/>
    <p:sldId id="391" r:id="rId43"/>
  </p:sldIdLst>
  <p:sldSz cx="8961438" cy="6721475"/>
  <p:notesSz cx="6743700" cy="9906000"/>
  <p:custDataLst>
    <p:tags r:id="rId46"/>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151" algn="l" rtl="0" fontAlgn="base">
      <a:spcBef>
        <a:spcPct val="0"/>
      </a:spcBef>
      <a:spcAft>
        <a:spcPct val="0"/>
      </a:spcAft>
      <a:defRPr sz="1600" kern="1200">
        <a:solidFill>
          <a:schemeClr val="tx1"/>
        </a:solidFill>
        <a:latin typeface="Arial" charset="0"/>
        <a:ea typeface="+mn-ea"/>
        <a:cs typeface="+mn-cs"/>
      </a:defRPr>
    </a:lvl2pPr>
    <a:lvl3pPr marL="914303" algn="l" rtl="0" fontAlgn="base">
      <a:spcBef>
        <a:spcPct val="0"/>
      </a:spcBef>
      <a:spcAft>
        <a:spcPct val="0"/>
      </a:spcAft>
      <a:defRPr sz="1600" kern="1200">
        <a:solidFill>
          <a:schemeClr val="tx1"/>
        </a:solidFill>
        <a:latin typeface="Arial" charset="0"/>
        <a:ea typeface="+mn-ea"/>
        <a:cs typeface="+mn-cs"/>
      </a:defRPr>
    </a:lvl3pPr>
    <a:lvl4pPr marL="1371454" algn="l" rtl="0" fontAlgn="base">
      <a:spcBef>
        <a:spcPct val="0"/>
      </a:spcBef>
      <a:spcAft>
        <a:spcPct val="0"/>
      </a:spcAft>
      <a:defRPr sz="1600" kern="1200">
        <a:solidFill>
          <a:schemeClr val="tx1"/>
        </a:solidFill>
        <a:latin typeface="Arial" charset="0"/>
        <a:ea typeface="+mn-ea"/>
        <a:cs typeface="+mn-cs"/>
      </a:defRPr>
    </a:lvl4pPr>
    <a:lvl5pPr marL="1828607" algn="l" rtl="0" fontAlgn="base">
      <a:spcBef>
        <a:spcPct val="0"/>
      </a:spcBef>
      <a:spcAft>
        <a:spcPct val="0"/>
      </a:spcAft>
      <a:defRPr sz="1600" kern="1200">
        <a:solidFill>
          <a:schemeClr val="tx1"/>
        </a:solidFill>
        <a:latin typeface="Arial" charset="0"/>
        <a:ea typeface="+mn-ea"/>
        <a:cs typeface="+mn-cs"/>
      </a:defRPr>
    </a:lvl5pPr>
    <a:lvl6pPr marL="2285758" algn="l" defTabSz="914303" rtl="0" eaLnBrk="1" latinLnBrk="0" hangingPunct="1">
      <a:defRPr sz="1600" kern="1200">
        <a:solidFill>
          <a:schemeClr val="tx1"/>
        </a:solidFill>
        <a:latin typeface="Arial" charset="0"/>
        <a:ea typeface="+mn-ea"/>
        <a:cs typeface="+mn-cs"/>
      </a:defRPr>
    </a:lvl6pPr>
    <a:lvl7pPr marL="2742909" algn="l" defTabSz="914303" rtl="0" eaLnBrk="1" latinLnBrk="0" hangingPunct="1">
      <a:defRPr sz="1600" kern="1200">
        <a:solidFill>
          <a:schemeClr val="tx1"/>
        </a:solidFill>
        <a:latin typeface="Arial" charset="0"/>
        <a:ea typeface="+mn-ea"/>
        <a:cs typeface="+mn-cs"/>
      </a:defRPr>
    </a:lvl7pPr>
    <a:lvl8pPr marL="3200061" algn="l" defTabSz="914303" rtl="0" eaLnBrk="1" latinLnBrk="0" hangingPunct="1">
      <a:defRPr sz="1600" kern="1200">
        <a:solidFill>
          <a:schemeClr val="tx1"/>
        </a:solidFill>
        <a:latin typeface="Arial" charset="0"/>
        <a:ea typeface="+mn-ea"/>
        <a:cs typeface="+mn-cs"/>
      </a:defRPr>
    </a:lvl8pPr>
    <a:lvl9pPr marL="3657212" algn="l" defTabSz="914303"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164">
          <p15:clr>
            <a:srgbClr val="A4A3A4"/>
          </p15:clr>
        </p15:guide>
        <p15:guide id="2" orient="horz" pos="303">
          <p15:clr>
            <a:srgbClr val="A4A3A4"/>
          </p15:clr>
        </p15:guide>
        <p15:guide id="3" pos="114">
          <p15:clr>
            <a:srgbClr val="A4A3A4"/>
          </p15:clr>
        </p15:guide>
        <p15:guide id="4" pos="5544">
          <p15:clr>
            <a:srgbClr val="A4A3A4"/>
          </p15:clr>
        </p15:guide>
      </p15:sldGuideLst>
    </p:ext>
    <p:ext uri="{2D200454-40CA-4A62-9FC3-DE9A4176ACB9}">
      <p15:notesGuideLst xmlns:p15="http://schemas.microsoft.com/office/powerpoint/2012/main">
        <p15:guide id="1" orient="horz" pos="3120">
          <p15:clr>
            <a:srgbClr val="A4A3A4"/>
          </p15:clr>
        </p15:guide>
        <p15:guide id="2" pos="212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808080"/>
    <a:srgbClr val="0065CC"/>
    <a:srgbClr val="91AFFF"/>
    <a:srgbClr val="002960"/>
    <a:srgbClr val="FF66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97" autoAdjust="0"/>
    <p:restoredTop sz="94684" autoAdjust="0"/>
  </p:normalViewPr>
  <p:slideViewPr>
    <p:cSldViewPr snapToGrid="0" snapToObjects="1">
      <p:cViewPr varScale="1">
        <p:scale>
          <a:sx n="76" d="100"/>
          <a:sy n="76" d="100"/>
        </p:scale>
        <p:origin x="402" y="60"/>
      </p:cViewPr>
      <p:guideLst>
        <p:guide orient="horz" pos="4164"/>
        <p:guide orient="horz" pos="303"/>
        <p:guide pos="114"/>
        <p:guide pos="5544"/>
      </p:guideLst>
    </p:cSldViewPr>
  </p:slideViewPr>
  <p:notesTextViewPr>
    <p:cViewPr>
      <p:scale>
        <a:sx n="3" d="2"/>
        <a:sy n="3" d="2"/>
      </p:scale>
      <p:origin x="0" y="0"/>
    </p:cViewPr>
  </p:notesTextViewPr>
  <p:sorterViewPr>
    <p:cViewPr varScale="1">
      <p:scale>
        <a:sx n="1" d="1"/>
        <a:sy n="1" d="1"/>
      </p:scale>
      <p:origin x="0" y="-16710"/>
    </p:cViewPr>
  </p:sorterViewPr>
  <p:notesViewPr>
    <p:cSldViewPr snapToGrid="0" snapToObjects="1">
      <p:cViewPr varScale="1">
        <p:scale>
          <a:sx n="88" d="100"/>
          <a:sy n="88" d="100"/>
        </p:scale>
        <p:origin x="-3816" y="-108"/>
      </p:cViewPr>
      <p:guideLst>
        <p:guide orient="horz" pos="3120"/>
        <p:guide pos="212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viewProps" Target="viewProp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85.emf"/><Relationship Id="rId1" Type="http://schemas.openxmlformats.org/officeDocument/2006/relationships/image" Target="../media/image8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3" Type="http://schemas.openxmlformats.org/officeDocument/2006/relationships/image" Target="../media/image154.emf"/><Relationship Id="rId2" Type="http://schemas.openxmlformats.org/officeDocument/2006/relationships/image" Target="../media/image153.emf"/><Relationship Id="rId1" Type="http://schemas.openxmlformats.org/officeDocument/2006/relationships/image" Target="../media/image15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89.emf"/></Relationships>
</file>

<file path=ppt/drawings/_rels/vmlDrawing36.vml.rels><?xml version="1.0" encoding="UTF-8" standalone="yes"?>
<Relationships xmlns="http://schemas.openxmlformats.org/package/2006/relationships"><Relationship Id="rId3" Type="http://schemas.openxmlformats.org/officeDocument/2006/relationships/image" Target="../media/image196.emf"/><Relationship Id="rId2" Type="http://schemas.openxmlformats.org/officeDocument/2006/relationships/image" Target="../media/image195.emf"/><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9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468313" y="620713"/>
            <a:ext cx="5813425" cy="435927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468313" y="5322888"/>
            <a:ext cx="5813425" cy="122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094187" y="9526072"/>
            <a:ext cx="1875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281673" y="110252"/>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255"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63" indent="-115876" algn="l" defTabSz="895255"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06" indent="-180956" algn="l" defTabSz="895255"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6993" indent="-125400" algn="l" defTabSz="895255"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867" indent="-114288" algn="l" defTabSz="895255"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5758" algn="l" defTabSz="914303" rtl="0" eaLnBrk="1" latinLnBrk="0" hangingPunct="1">
      <a:defRPr sz="1200" kern="1200">
        <a:solidFill>
          <a:schemeClr val="tx1"/>
        </a:solidFill>
        <a:latin typeface="+mn-lt"/>
        <a:ea typeface="+mn-ea"/>
        <a:cs typeface="+mn-cs"/>
      </a:defRPr>
    </a:lvl6pPr>
    <a:lvl7pPr marL="2742909" algn="l" defTabSz="914303" rtl="0" eaLnBrk="1" latinLnBrk="0" hangingPunct="1">
      <a:defRPr sz="1200" kern="1200">
        <a:solidFill>
          <a:schemeClr val="tx1"/>
        </a:solidFill>
        <a:latin typeface="+mn-lt"/>
        <a:ea typeface="+mn-ea"/>
        <a:cs typeface="+mn-cs"/>
      </a:defRPr>
    </a:lvl7pPr>
    <a:lvl8pPr marL="3200061" algn="l" defTabSz="914303" rtl="0" eaLnBrk="1" latinLnBrk="0" hangingPunct="1">
      <a:defRPr sz="1200" kern="1200">
        <a:solidFill>
          <a:schemeClr val="tx1"/>
        </a:solidFill>
        <a:latin typeface="+mn-lt"/>
        <a:ea typeface="+mn-ea"/>
        <a:cs typeface="+mn-cs"/>
      </a:defRPr>
    </a:lvl8pPr>
    <a:lvl9pPr marL="3657212" algn="l" defTabSz="9143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notesMaster" Target="../notesMasters/notesMaster1.xml"/><Relationship Id="rId1" Type="http://schemas.openxmlformats.org/officeDocument/2006/relationships/tags" Target="../tags/tag43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08003" y="5159110"/>
            <a:ext cx="6306087" cy="246221"/>
          </a:xfrm>
        </p:spPr>
        <p:txBody>
          <a:bodyPr/>
          <a:lstStyle/>
          <a:p>
            <a:endParaRPr lang="en-GB" dirty="0"/>
          </a:p>
        </p:txBody>
      </p:sp>
      <p:sp>
        <p:nvSpPr>
          <p:cNvPr id="4" name="Slide Number Placeholder 3"/>
          <p:cNvSpPr>
            <a:spLocks noGrp="1"/>
          </p:cNvSpPr>
          <p:nvPr>
            <p:ph type="sldNum" sz="quarter" idx="10"/>
          </p:nvPr>
        </p:nvSpPr>
        <p:spPr>
          <a:xfrm>
            <a:off x="6729130" y="9227280"/>
            <a:ext cx="84960" cy="184666"/>
          </a:xfrm>
        </p:spPr>
        <p:txBody>
          <a:bodyPr/>
          <a:lstStyle/>
          <a:p>
            <a:pPr>
              <a:defRPr/>
            </a:pPr>
            <a:fld id="{3C3A632B-FBDE-46D4-BF6F-6D14421E6342}" type="slidenum">
              <a:rPr lang="en-US" smtClean="0"/>
              <a:pPr>
                <a:defRPr/>
              </a:pPr>
              <a:t>7</a:t>
            </a:fld>
            <a:endParaRPr lang="en-US" dirty="0"/>
          </a:p>
        </p:txBody>
      </p:sp>
    </p:spTree>
    <p:extLst>
      <p:ext uri="{BB962C8B-B14F-4D97-AF65-F5344CB8AC3E}">
        <p14:creationId xmlns:p14="http://schemas.microsoft.com/office/powerpoint/2010/main" val="984406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1257" y="4494776"/>
            <a:ext cx="6718909" cy="246221"/>
          </a:xfrm>
        </p:spPr>
        <p:txBody>
          <a:bodyPr/>
          <a:lstStyle/>
          <a:p>
            <a:endParaRPr lang="en-GB" dirty="0"/>
          </a:p>
        </p:txBody>
      </p:sp>
      <p:sp>
        <p:nvSpPr>
          <p:cNvPr id="4" name="Slide Number Placeholder 3"/>
          <p:cNvSpPr>
            <a:spLocks noGrp="1"/>
          </p:cNvSpPr>
          <p:nvPr>
            <p:ph type="sldNum" sz="quarter" idx="10"/>
          </p:nvPr>
        </p:nvSpPr>
        <p:spPr>
          <a:xfrm>
            <a:off x="7175208" y="8015314"/>
            <a:ext cx="84960" cy="184666"/>
          </a:xfrm>
        </p:spPr>
        <p:txBody>
          <a:bodyPr/>
          <a:lstStyle/>
          <a:p>
            <a:pPr>
              <a:defRPr/>
            </a:pPr>
            <a:fld id="{3C3A632B-FBDE-46D4-BF6F-6D14421E6342}" type="slidenum">
              <a:rPr lang="en-US" smtClean="0"/>
              <a:pPr>
                <a:defRPr/>
              </a:pPr>
              <a:t>9</a:t>
            </a:fld>
            <a:endParaRPr lang="en-US" dirty="0"/>
          </a:p>
        </p:txBody>
      </p:sp>
    </p:spTree>
    <p:extLst>
      <p:ext uri="{BB962C8B-B14F-4D97-AF65-F5344CB8AC3E}">
        <p14:creationId xmlns:p14="http://schemas.microsoft.com/office/powerpoint/2010/main" val="14748891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8313" y="5322888"/>
            <a:ext cx="5813425" cy="246221"/>
          </a:xfrm>
        </p:spPr>
        <p:txBody>
          <a:bodyPr/>
          <a:lstStyle/>
          <a:p>
            <a:endParaRPr lang="en-US" dirty="0"/>
          </a:p>
        </p:txBody>
      </p:sp>
      <p:sp>
        <p:nvSpPr>
          <p:cNvPr id="4" name="Slide Number Placeholder 3"/>
          <p:cNvSpPr>
            <a:spLocks noGrp="1"/>
          </p:cNvSpPr>
          <p:nvPr>
            <p:ph type="sldNum" sz="quarter" idx="10"/>
          </p:nvPr>
        </p:nvSpPr>
        <p:spPr>
          <a:xfrm>
            <a:off x="6196779" y="9526072"/>
            <a:ext cx="84959" cy="184666"/>
          </a:xfrm>
        </p:spPr>
        <p:txBody>
          <a:bodyPr/>
          <a:lstStyle/>
          <a:p>
            <a:fld id="{3020C56B-D524-48D0-AEF2-6F4F4F820D5C}" type="slidenum">
              <a:rPr lang="en-US" smtClean="0"/>
              <a:t>25</a:t>
            </a:fld>
            <a:endParaRPr lang="en-US"/>
          </a:p>
        </p:txBody>
      </p:sp>
    </p:spTree>
    <p:extLst>
      <p:ext uri="{BB962C8B-B14F-4D97-AF65-F5344CB8AC3E}">
        <p14:creationId xmlns:p14="http://schemas.microsoft.com/office/powerpoint/2010/main" val="5361251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8313" y="5322888"/>
            <a:ext cx="5813425" cy="246221"/>
          </a:xfrm>
        </p:spPr>
        <p:txBody>
          <a:bodyPr/>
          <a:lstStyle/>
          <a:p>
            <a:endParaRPr lang="en-US" dirty="0"/>
          </a:p>
        </p:txBody>
      </p:sp>
      <p:sp>
        <p:nvSpPr>
          <p:cNvPr id="4" name="Slide Number Placeholder 3"/>
          <p:cNvSpPr>
            <a:spLocks noGrp="1"/>
          </p:cNvSpPr>
          <p:nvPr>
            <p:ph type="sldNum" sz="quarter" idx="10"/>
          </p:nvPr>
        </p:nvSpPr>
        <p:spPr>
          <a:xfrm>
            <a:off x="6196779" y="9526072"/>
            <a:ext cx="84959" cy="184666"/>
          </a:xfrm>
        </p:spPr>
        <p:txBody>
          <a:bodyPr/>
          <a:lstStyle/>
          <a:p>
            <a:pPr>
              <a:defRPr/>
            </a:pPr>
            <a:fld id="{3C3A632B-FBDE-46D4-BF6F-6D14421E6342}" type="slidenum">
              <a:rPr lang="en-US" smtClean="0"/>
              <a:pPr>
                <a:defRPr/>
              </a:pPr>
              <a:t>29</a:t>
            </a:fld>
            <a:endParaRPr lang="en-US" dirty="0"/>
          </a:p>
        </p:txBody>
      </p:sp>
    </p:spTree>
    <p:extLst>
      <p:ext uri="{BB962C8B-B14F-4D97-AF65-F5344CB8AC3E}">
        <p14:creationId xmlns:p14="http://schemas.microsoft.com/office/powerpoint/2010/main" val="1296575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8313" y="5322888"/>
            <a:ext cx="5813425" cy="246221"/>
          </a:xfrm>
        </p:spPr>
        <p:txBody>
          <a:bodyPr/>
          <a:lstStyle/>
          <a:p>
            <a:endParaRPr lang="en-US" dirty="0"/>
          </a:p>
        </p:txBody>
      </p:sp>
      <p:sp>
        <p:nvSpPr>
          <p:cNvPr id="4" name="Slide Number Placeholder 3"/>
          <p:cNvSpPr>
            <a:spLocks noGrp="1"/>
          </p:cNvSpPr>
          <p:nvPr>
            <p:ph type="sldNum" sz="quarter" idx="10"/>
          </p:nvPr>
        </p:nvSpPr>
        <p:spPr>
          <a:xfrm>
            <a:off x="6196779" y="9526072"/>
            <a:ext cx="84959" cy="184666"/>
          </a:xfrm>
        </p:spPr>
        <p:txBody>
          <a:bodyPr/>
          <a:lstStyle/>
          <a:p>
            <a:pPr>
              <a:defRPr/>
            </a:pPr>
            <a:fld id="{3C3A632B-FBDE-46D4-BF6F-6D14421E6342}" type="slidenum">
              <a:rPr lang="en-US" smtClean="0"/>
              <a:pPr>
                <a:defRPr/>
              </a:pPr>
              <a:t>30</a:t>
            </a:fld>
            <a:endParaRPr lang="en-US" dirty="0"/>
          </a:p>
        </p:txBody>
      </p:sp>
    </p:spTree>
    <p:extLst>
      <p:ext uri="{BB962C8B-B14F-4D97-AF65-F5344CB8AC3E}">
        <p14:creationId xmlns:p14="http://schemas.microsoft.com/office/powerpoint/2010/main" val="31030318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8313" y="5322888"/>
            <a:ext cx="5813425" cy="246221"/>
          </a:xfrm>
        </p:spPr>
        <p:txBody>
          <a:bodyPr/>
          <a:lstStyle/>
          <a:p>
            <a:endParaRPr lang="en-ZA" dirty="0"/>
          </a:p>
        </p:txBody>
      </p:sp>
    </p:spTree>
    <p:extLst>
      <p:ext uri="{BB962C8B-B14F-4D97-AF65-F5344CB8AC3E}">
        <p14:creationId xmlns:p14="http://schemas.microsoft.com/office/powerpoint/2010/main" val="3689381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68313" y="5322888"/>
            <a:ext cx="5813425" cy="246221"/>
          </a:xfrm>
        </p:spPr>
        <p:txBody>
          <a:bodyPr/>
          <a:lstStyle/>
          <a:p>
            <a:endParaRPr lang="en-US" dirty="0"/>
          </a:p>
        </p:txBody>
      </p:sp>
      <p:sp>
        <p:nvSpPr>
          <p:cNvPr id="4" name="Slide Number Placeholder 3"/>
          <p:cNvSpPr>
            <a:spLocks noGrp="1"/>
          </p:cNvSpPr>
          <p:nvPr>
            <p:ph type="sldNum" sz="quarter" idx="10"/>
          </p:nvPr>
        </p:nvSpPr>
        <p:spPr>
          <a:xfrm>
            <a:off x="6111820" y="9526072"/>
            <a:ext cx="169918" cy="184666"/>
          </a:xfrm>
        </p:spPr>
        <p:txBody>
          <a:bodyPr/>
          <a:lstStyle/>
          <a:p>
            <a:fld id="{3020C56B-D524-48D0-AEF2-6F4F4F820D5C}" type="slidenum">
              <a:rPr lang="en-US" smtClean="0"/>
              <a:t>34</a:t>
            </a:fld>
            <a:endParaRPr lang="en-US"/>
          </a:p>
        </p:txBody>
      </p:sp>
    </p:spTree>
    <p:extLst>
      <p:ext uri="{BB962C8B-B14F-4D97-AF65-F5344CB8AC3E}">
        <p14:creationId xmlns:p14="http://schemas.microsoft.com/office/powerpoint/2010/main" val="37240114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a:xfrm>
            <a:off x="468203" y="5304976"/>
            <a:ext cx="5812057" cy="246221"/>
          </a:xfrm>
        </p:spPr>
        <p:txBody>
          <a:bodyPr/>
          <a:lstStyle/>
          <a:p>
            <a:endParaRPr kumimoji="1" lang="ja-JP" altLang="en-US"/>
          </a:p>
        </p:txBody>
      </p:sp>
      <p:sp>
        <p:nvSpPr>
          <p:cNvPr id="4" name="Slide Number Placeholder 3"/>
          <p:cNvSpPr>
            <a:spLocks noGrp="1"/>
          </p:cNvSpPr>
          <p:nvPr>
            <p:ph type="sldNum" sz="quarter" idx="10"/>
          </p:nvPr>
        </p:nvSpPr>
        <p:spPr>
          <a:xfrm>
            <a:off x="6194372" y="9493392"/>
            <a:ext cx="85889" cy="184666"/>
          </a:xfrm>
        </p:spPr>
        <p:txBody>
          <a:bodyPr/>
          <a:lstStyle/>
          <a:p>
            <a:pPr>
              <a:defRPr/>
            </a:pPr>
            <a:fld id="{3C3A632B-FBDE-46D4-BF6F-6D14421E6342}" type="slidenum">
              <a:rPr lang="en-US" smtClean="0">
                <a:solidFill>
                  <a:srgbClr val="000000"/>
                </a:solidFill>
              </a:rPr>
              <a:pPr>
                <a:defRPr/>
              </a:pPr>
              <a:t>36</a:t>
            </a:fld>
            <a:endParaRPr lang="en-US">
              <a:solidFill>
                <a:srgbClr val="000000"/>
              </a:solidFill>
            </a:endParaRPr>
          </a:p>
        </p:txBody>
      </p:sp>
    </p:spTree>
    <p:extLst>
      <p:ext uri="{BB962C8B-B14F-4D97-AF65-F5344CB8AC3E}">
        <p14:creationId xmlns:p14="http://schemas.microsoft.com/office/powerpoint/2010/main" val="35302060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2.gif"/><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openxmlformats.org/officeDocument/2006/relationships/image" Target="../media/image2.gif"/><Relationship Id="rId2" Type="http://schemas.openxmlformats.org/officeDocument/2006/relationships/tags" Target="../tags/tag41.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624191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379" name="Picture 67"/>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ltGray">
          <a:xfrm>
            <a:off x="0" y="0"/>
            <a:ext cx="8963025" cy="542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Title Elements" hidden="1"/>
          <p:cNvGrpSpPr>
            <a:grpSpLocks/>
          </p:cNvGrpSpPr>
          <p:nvPr/>
        </p:nvGrpSpPr>
        <p:grpSpPr bwMode="auto">
          <a:xfrm>
            <a:off x="4535423" y="4769152"/>
            <a:ext cx="4213555" cy="484188"/>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tx1"/>
                  </a:solidFill>
                  <a:latin typeface="+mn-lt"/>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tx1"/>
                  </a:solidFill>
                  <a:latin typeface="+mn-lt"/>
                </a:rPr>
                <a:t>Date</a:t>
              </a:r>
            </a:p>
          </p:txBody>
        </p:sp>
      </p:grpSp>
      <p:sp>
        <p:nvSpPr>
          <p:cNvPr id="13314" name="Rectangle 1026"/>
          <p:cNvSpPr>
            <a:spLocks noGrp="1" noChangeArrowheads="1"/>
          </p:cNvSpPr>
          <p:nvPr>
            <p:ph type="ctrTitle"/>
          </p:nvPr>
        </p:nvSpPr>
        <p:spPr bwMode="auto">
          <a:xfrm>
            <a:off x="4535423" y="2799284"/>
            <a:ext cx="4213555" cy="430887"/>
          </a:xfrm>
          <a:prstGeom prst="rect">
            <a:avLst/>
          </a:prstGeom>
        </p:spPr>
        <p:txBody>
          <a:bodyPr/>
          <a:lstStyle>
            <a:lvl1pPr>
              <a:defRPr sz="2800" b="0" baseline="0">
                <a:solidFill>
                  <a:schemeClr val="tx2"/>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4535423" y="3891940"/>
            <a:ext cx="4213555" cy="215444"/>
          </a:xfrm>
        </p:spPr>
        <p:txBody>
          <a:bodyPr wrap="square">
            <a:spAutoFit/>
          </a:bodyPr>
          <a:lstStyle>
            <a:lvl1pPr>
              <a:defRPr sz="1400" baseline="0">
                <a:solidFill>
                  <a:schemeClr val="tx1"/>
                </a:solidFill>
                <a:latin typeface="+mn-lt"/>
                <a:ea typeface="+mn-ea"/>
              </a:defRPr>
            </a:lvl1pPr>
          </a:lstStyle>
          <a:p>
            <a:pPr lvl="0"/>
            <a:r>
              <a:rPr lang="en-US" noProof="0" smtClean="0"/>
              <a:t>Click to edit Master subtitle style</a:t>
            </a:r>
            <a:endParaRPr lang="en-US" noProof="0" dirty="0" smtClean="0"/>
          </a:p>
        </p:txBody>
      </p:sp>
      <p:sp>
        <p:nvSpPr>
          <p:cNvPr id="13" name="TitleTopPlaceholder"/>
          <p:cNvSpPr>
            <a:spLocks noChangeArrowheads="1"/>
          </p:cNvSpPr>
          <p:nvPr userDrawn="1"/>
        </p:nvSpPr>
        <p:spPr bwMode="ltGray">
          <a:xfrm>
            <a:off x="0" y="5426299"/>
            <a:ext cx="8958263" cy="91281"/>
          </a:xfrm>
          <a:prstGeom prst="rect">
            <a:avLst/>
          </a:prstGeom>
          <a:solidFill>
            <a:srgbClr val="BF9015"/>
          </a:solidFill>
          <a:ln w="9525">
            <a:noFill/>
            <a:miter lim="800000"/>
            <a:headEnd/>
            <a:tailEnd/>
          </a:ln>
          <a:effectLst/>
          <a:extLst/>
        </p:spPr>
        <p:txBody>
          <a:bodyPr wrap="none" anchor="ctr"/>
          <a:lstStyle/>
          <a:p>
            <a:endParaRPr lang="en-US" dirty="0">
              <a:latin typeface="+mn-lt"/>
            </a:endParaRPr>
          </a:p>
        </p:txBody>
      </p:sp>
      <p:pic>
        <p:nvPicPr>
          <p:cNvPr id="14" name="Picture 8" descr="http://sawic.environment.gov.za/images/logo_dea.gif"/>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ltGray">
          <a:xfrm>
            <a:off x="149226" y="5780513"/>
            <a:ext cx="2133600" cy="781051"/>
          </a:xfrm>
          <a:prstGeom prst="rect">
            <a:avLst/>
          </a:prstGeom>
          <a:noFill/>
          <a:ln w="12700">
            <a:noFill/>
          </a:ln>
          <a:extLst>
            <a:ext uri="{909E8E84-426E-40DD-AFC4-6F175D3DCCD1}">
              <a14:hiddenFill xmlns:a14="http://schemas.microsoft.com/office/drawing/2010/main">
                <a:solidFill>
                  <a:srgbClr val="FFFFFF"/>
                </a:solidFill>
              </a14:hiddenFill>
            </a:ext>
          </a:extLst>
        </p:spPr>
      </p:pic>
      <p:pic>
        <p:nvPicPr>
          <p:cNvPr id="13328" name="Picture 16" descr="http://www.tourism.gov.za/images/logo.pn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ltGray">
          <a:xfrm>
            <a:off x="6764606" y="5809512"/>
            <a:ext cx="1984374" cy="723052"/>
          </a:xfrm>
          <a:prstGeom prst="rect">
            <a:avLst/>
          </a:prstGeom>
          <a:noFill/>
          <a:ln w="12700">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3197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0639301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379" name="Picture 67"/>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ltGray">
          <a:xfrm>
            <a:off x="0" y="0"/>
            <a:ext cx="8963025" cy="542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Title Elements" hidden="1"/>
          <p:cNvGrpSpPr>
            <a:grpSpLocks/>
          </p:cNvGrpSpPr>
          <p:nvPr/>
        </p:nvGrpSpPr>
        <p:grpSpPr bwMode="auto">
          <a:xfrm>
            <a:off x="4535423" y="4769152"/>
            <a:ext cx="4213555" cy="484188"/>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auto">
          <a:xfrm>
            <a:off x="4535423" y="2799284"/>
            <a:ext cx="4213555" cy="430887"/>
          </a:xfrm>
          <a:prstGeom prst="rect">
            <a:avLst/>
          </a:prstGeom>
        </p:spPr>
        <p:txBody>
          <a:bodyPr/>
          <a:lstStyle>
            <a:lvl1pPr>
              <a:defRPr sz="2800" b="0" baseline="0">
                <a:solidFill>
                  <a:schemeClr val="tx2"/>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4535423" y="3891940"/>
            <a:ext cx="4213555" cy="215444"/>
          </a:xfrm>
        </p:spPr>
        <p:txBody>
          <a:bodyPr wrap="square">
            <a:spAutoFit/>
          </a:bodyPr>
          <a:lstStyle>
            <a:lvl1pPr>
              <a:defRPr sz="1400" baseline="0">
                <a:solidFill>
                  <a:schemeClr val="tx1"/>
                </a:solidFill>
                <a:latin typeface="+mn-lt"/>
                <a:ea typeface="+mn-ea"/>
              </a:defRPr>
            </a:lvl1pPr>
          </a:lstStyle>
          <a:p>
            <a:pPr lvl="0"/>
            <a:r>
              <a:rPr lang="en-US" noProof="0" smtClean="0"/>
              <a:t>Click to edit Master subtitle style</a:t>
            </a:r>
            <a:endParaRPr lang="en-US" noProof="0" dirty="0" smtClean="0"/>
          </a:p>
        </p:txBody>
      </p:sp>
      <p:sp>
        <p:nvSpPr>
          <p:cNvPr id="13" name="TitleTopPlaceholder"/>
          <p:cNvSpPr>
            <a:spLocks noChangeArrowheads="1"/>
          </p:cNvSpPr>
          <p:nvPr userDrawn="1"/>
        </p:nvSpPr>
        <p:spPr bwMode="ltGray">
          <a:xfrm>
            <a:off x="0" y="5426299"/>
            <a:ext cx="8958263" cy="91281"/>
          </a:xfrm>
          <a:prstGeom prst="rect">
            <a:avLst/>
          </a:prstGeom>
          <a:solidFill>
            <a:srgbClr val="BF9015"/>
          </a:solidFill>
          <a:ln w="9525">
            <a:noFill/>
            <a:miter lim="800000"/>
            <a:headEnd/>
            <a:tailEnd/>
          </a:ln>
          <a:effectLst/>
          <a:extLst/>
        </p:spPr>
        <p:txBody>
          <a:bodyPr wrap="none" anchor="ctr"/>
          <a:lstStyle/>
          <a:p>
            <a:endParaRPr lang="en-US" dirty="0">
              <a:solidFill>
                <a:srgbClr val="000000"/>
              </a:solidFill>
              <a:latin typeface="Arial"/>
            </a:endParaRPr>
          </a:p>
        </p:txBody>
      </p:sp>
      <p:pic>
        <p:nvPicPr>
          <p:cNvPr id="14" name="Picture 8" descr="http://sawic.environment.gov.za/images/logo_dea.gif"/>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ltGray">
          <a:xfrm>
            <a:off x="149226" y="5780513"/>
            <a:ext cx="2133600" cy="781051"/>
          </a:xfrm>
          <a:prstGeom prst="rect">
            <a:avLst/>
          </a:prstGeom>
          <a:noFill/>
          <a:ln w="12700">
            <a:noFill/>
          </a:ln>
          <a:extLst>
            <a:ext uri="{909E8E84-426E-40DD-AFC4-6F175D3DCCD1}">
              <a14:hiddenFill xmlns:a14="http://schemas.microsoft.com/office/drawing/2010/main">
                <a:solidFill>
                  <a:srgbClr val="FFFFFF"/>
                </a:solidFill>
              </a14:hiddenFill>
            </a:ext>
          </a:extLst>
        </p:spPr>
      </p:pic>
      <p:pic>
        <p:nvPicPr>
          <p:cNvPr id="13328" name="Picture 16" descr="http://www.tourism.gov.za/images/logo.png"/>
          <p:cNvPicPr>
            <a:picLocks noChangeAspect="1" noChangeArrowheads="1"/>
          </p:cNvPicPr>
          <p:nvPr userDrawn="1"/>
        </p:nvPicPr>
        <p:blipFill>
          <a:blip r:embed="rId8" cstate="email">
            <a:extLst>
              <a:ext uri="{28A0092B-C50C-407E-A947-70E740481C1C}">
                <a14:useLocalDpi xmlns:a14="http://schemas.microsoft.com/office/drawing/2010/main" val="0"/>
              </a:ext>
            </a:extLst>
          </a:blip>
          <a:srcRect/>
          <a:stretch>
            <a:fillRect/>
          </a:stretch>
        </p:blipFill>
        <p:spPr bwMode="ltGray">
          <a:xfrm>
            <a:off x="6764606" y="5809512"/>
            <a:ext cx="1984374" cy="723052"/>
          </a:xfrm>
          <a:prstGeom prst="rect">
            <a:avLst/>
          </a:prstGeom>
          <a:noFill/>
          <a:ln w="12700">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306501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5949821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1" lang="en-US" altLang="ja-JP" smtClean="0"/>
              <a:t>Click to edit Master title style</a:t>
            </a:r>
            <a:endParaRPr kumimoji="1" lang="ja-JP" altLang="en-US"/>
          </a:p>
        </p:txBody>
      </p:sp>
    </p:spTree>
    <p:extLst>
      <p:ext uri="{BB962C8B-B14F-4D97-AF65-F5344CB8AC3E}">
        <p14:creationId xmlns:p14="http://schemas.microsoft.com/office/powerpoint/2010/main" val="41187496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26" Type="http://schemas.openxmlformats.org/officeDocument/2006/relationships/image" Target="../media/image2.gif"/><Relationship Id="rId3" Type="http://schemas.openxmlformats.org/officeDocument/2006/relationships/theme" Target="../theme/theme1.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oleObject" Target="../embeddings/oleObject1.bin"/><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tags" Target="../tags/tag20.xml"/><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vmlDrawing" Target="../drawings/vmlDrawing1.v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 Id="rId27"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image" Target="../media/image1.emf"/><Relationship Id="rId3" Type="http://schemas.openxmlformats.org/officeDocument/2006/relationships/slideLayout" Target="../slideLayouts/slideLayout5.xml"/><Relationship Id="rId21" Type="http://schemas.openxmlformats.org/officeDocument/2006/relationships/tags" Target="../tags/tag37.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oleObject" Target="../embeddings/oleObject3.bin"/><Relationship Id="rId2" Type="http://schemas.openxmlformats.org/officeDocument/2006/relationships/slideLayout" Target="../slideLayouts/slideLayout4.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slideLayout" Target="../slideLayouts/slideLayout3.x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tags" Target="../tags/tag40.xml"/><Relationship Id="rId5" Type="http://schemas.openxmlformats.org/officeDocument/2006/relationships/vmlDrawing" Target="../drawings/vmlDrawing3.v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image" Target="../media/image3.png"/><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theme" Target="../theme/theme2.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image" Target="../media/image2.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15477696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493"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pic>
        <p:nvPicPr>
          <p:cNvPr id="110" name="Picture 8" descr="http://sawic.environment.gov.za/images/logo_dea.gif"/>
          <p:cNvPicPr>
            <a:picLocks noChangeAspect="1" noChangeArrowheads="1"/>
          </p:cNvPicPr>
          <p:nvPr userDrawn="1"/>
        </p:nvPicPr>
        <p:blipFill>
          <a:blip r:embed="rId26" cstate="email">
            <a:extLst>
              <a:ext uri="{28A0092B-C50C-407E-A947-70E740481C1C}">
                <a14:useLocalDpi xmlns:a14="http://schemas.microsoft.com/office/drawing/2010/main"/>
              </a:ext>
            </a:extLst>
          </a:blip>
          <a:srcRect/>
          <a:stretch>
            <a:fillRect/>
          </a:stretch>
        </p:blipFill>
        <p:spPr bwMode="ltGray">
          <a:xfrm>
            <a:off x="171451" y="6222253"/>
            <a:ext cx="1207992" cy="442212"/>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6" descr="http://www.tourism.gov.za/images/logo.png"/>
          <p:cNvPicPr>
            <a:picLocks noChangeAspect="1" noChangeArrowheads="1"/>
          </p:cNvPicPr>
          <p:nvPr userDrawn="1"/>
        </p:nvPicPr>
        <p:blipFill>
          <a:blip r:embed="rId27" cstate="email">
            <a:extLst>
              <a:ext uri="{28A0092B-C50C-407E-A947-70E740481C1C}">
                <a14:useLocalDpi xmlns:a14="http://schemas.microsoft.com/office/drawing/2010/main"/>
              </a:ext>
            </a:extLst>
          </a:blip>
          <a:srcRect/>
          <a:stretch>
            <a:fillRect/>
          </a:stretch>
        </p:blipFill>
        <p:spPr bwMode="ltGray">
          <a:xfrm>
            <a:off x="7268497" y="6240803"/>
            <a:ext cx="1123504" cy="409374"/>
          </a:xfrm>
          <a:prstGeom prst="rect">
            <a:avLst/>
          </a:prstGeom>
          <a:noFill/>
          <a:extLst>
            <a:ext uri="{909E8E84-426E-40DD-AFC4-6F175D3DCCD1}">
              <a14:hiddenFill xmlns:a14="http://schemas.microsoft.com/office/drawing/2010/main">
                <a:solidFill>
                  <a:srgbClr val="FFFFFF"/>
                </a:solidFill>
              </a14:hiddenFill>
            </a:ext>
          </a:extLst>
        </p:spPr>
      </p:pic>
      <p:sp>
        <p:nvSpPr>
          <p:cNvPr id="59" name="SlideBottomBar"/>
          <p:cNvSpPr>
            <a:spLocks noChangeArrowheads="1"/>
          </p:cNvSpPr>
          <p:nvPr/>
        </p:nvSpPr>
        <p:spPr bwMode="ltGray">
          <a:xfrm>
            <a:off x="159" y="6675755"/>
            <a:ext cx="8961120" cy="45720"/>
          </a:xfrm>
          <a:prstGeom prst="rect">
            <a:avLst/>
          </a:prstGeom>
          <a:solidFill>
            <a:srgbClr val="BF9015"/>
          </a:solidFill>
          <a:ln>
            <a:noFill/>
          </a:ln>
          <a:effectLst/>
          <a:extLst/>
        </p:spPr>
        <p:txBody>
          <a:bodyPr wrap="none" anchor="ctr"/>
          <a:lstStyle/>
          <a:p>
            <a:endParaRPr lang="en-US" baseline="0" noProof="0" dirty="0">
              <a:latin typeface="+mn-lt"/>
              <a:ea typeface="+mn-ea"/>
            </a:endParaRPr>
          </a:p>
        </p:txBody>
      </p:sp>
      <p:sp>
        <p:nvSpPr>
          <p:cNvPr id="1036" name="Rectangle 286"/>
          <p:cNvSpPr>
            <a:spLocks noGrp="1" noChangeArrowheads="1"/>
          </p:cNvSpPr>
          <p:nvPr userDrawn="1">
            <p:ph type="body" idx="1"/>
          </p:nvPr>
        </p:nvSpPr>
        <p:spPr bwMode="auto">
          <a:xfrm>
            <a:off x="1452564"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userDrawn="1">
            <p:ph type="title"/>
          </p:nvPr>
        </p:nvSpPr>
        <p:spPr bwMode="auto">
          <a:xfrm>
            <a:off x="171451"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userDrawn="1"/>
        </p:nvSpPr>
        <p:spPr bwMode="auto">
          <a:xfrm>
            <a:off x="171451"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n-ea"/>
              </a:rPr>
              <a:t>TRACKER</a:t>
            </a:r>
          </a:p>
        </p:txBody>
      </p:sp>
      <p:sp>
        <p:nvSpPr>
          <p:cNvPr id="11" name="McK 3. Unit of measure" hidden="1"/>
          <p:cNvSpPr txBox="1">
            <a:spLocks noChangeArrowheads="1"/>
          </p:cNvSpPr>
          <p:nvPr userDrawn="1"/>
        </p:nvSpPr>
        <p:spPr bwMode="auto">
          <a:xfrm>
            <a:off x="171451" y="531814"/>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userDrawn="1"/>
        </p:nvGrpSpPr>
        <p:grpSpPr bwMode="auto">
          <a:xfrm>
            <a:off x="1452564"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63" name="LegendBoxes" hidden="1"/>
          <p:cNvGrpSpPr>
            <a:grpSpLocks/>
          </p:cNvGrpSpPr>
          <p:nvPr userDrawn="1"/>
        </p:nvGrpSpPr>
        <p:grpSpPr bwMode="auto">
          <a:xfrm>
            <a:off x="8026400" y="269955"/>
            <a:ext cx="763588" cy="99695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2" name="LegendLines" hidden="1"/>
          <p:cNvGrpSpPr>
            <a:grpSpLocks/>
          </p:cNvGrpSpPr>
          <p:nvPr userDrawn="1"/>
        </p:nvGrpSpPr>
        <p:grpSpPr bwMode="auto">
          <a:xfrm>
            <a:off x="7718425" y="269955"/>
            <a:ext cx="1071563" cy="730251"/>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79" name="McKSticker" hidden="1"/>
          <p:cNvGrpSpPr/>
          <p:nvPr userDrawn="1"/>
        </p:nvGrpSpPr>
        <p:grpSpPr bwMode="auto">
          <a:xfrm>
            <a:off x="7723093" y="269955"/>
            <a:ext cx="1066895" cy="212366"/>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userDrawn="1"/>
        </p:nvGrpSpPr>
        <p:grpSpPr bwMode="auto">
          <a:xfrm>
            <a:off x="7959558" y="269955"/>
            <a:ext cx="830430" cy="1306516"/>
            <a:chOff x="6655594" y="273840"/>
            <a:chExt cx="830430"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sp>
        <p:nvSpPr>
          <p:cNvPr id="104" name="Slide Number"/>
          <p:cNvSpPr txBox="1">
            <a:spLocks/>
          </p:cNvSpPr>
          <p:nvPr userDrawn="1"/>
        </p:nvSpPr>
        <p:spPr bwMode="auto">
          <a:xfrm>
            <a:off x="8648924" y="6478207"/>
            <a:ext cx="141064"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42C328C1-A84F-4A39-A664-DBA00541A8C6}" type="slidenum">
              <a:rPr lang="en-US" sz="900" smtClean="0">
                <a:solidFill>
                  <a:schemeClr val="tx1"/>
                </a:solidFill>
              </a:rPr>
              <a:pPr lvl="0" algn="r"/>
              <a:t>‹#›</a:t>
            </a:fld>
            <a:endParaRPr lang="en-US" sz="900" dirty="0">
              <a:solidFill>
                <a:schemeClr val="tx1"/>
              </a:solidFill>
            </a:endParaRPr>
          </a:p>
        </p:txBody>
      </p:sp>
      <p:grpSp>
        <p:nvGrpSpPr>
          <p:cNvPr id="107" name="McK Moon" hidden="1"/>
          <p:cNvGrpSpPr>
            <a:grpSpLocks noChangeAspect="1"/>
          </p:cNvGrpSpPr>
          <p:nvPr userDrawn="1">
            <p:custDataLst>
              <p:tags r:id="rId6"/>
            </p:custDataLst>
          </p:nvPr>
        </p:nvGrpSpPr>
        <p:grpSpPr bwMode="auto">
          <a:xfrm>
            <a:off x="7405563" y="868443"/>
            <a:ext cx="254000" cy="254000"/>
            <a:chOff x="1600" y="1600"/>
            <a:chExt cx="160" cy="160"/>
          </a:xfrm>
        </p:grpSpPr>
        <p:sp>
          <p:nvSpPr>
            <p:cNvPr id="108" name="Oval 90"/>
            <p:cNvSpPr>
              <a:spLocks noChangeAspect="1" noChangeArrowheads="1"/>
            </p:cNvSpPr>
            <p:nvPr>
              <p:custDataLst>
                <p:tags r:id="rId7"/>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9" name="Arc 91"/>
            <p:cNvSpPr>
              <a:spLocks noChangeAspect="1"/>
            </p:cNvSpPr>
            <p:nvPr>
              <p:custDataLst>
                <p:tags r:id="rId8"/>
              </p:custDataLst>
            </p:nvPr>
          </p:nvSpPr>
          <p:spPr bwMode="black">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62" name="Slide Elements" hidden="1"/>
          <p:cNvGrpSpPr>
            <a:grpSpLocks/>
          </p:cNvGrpSpPr>
          <p:nvPr userDrawn="1"/>
        </p:nvGrpSpPr>
        <p:grpSpPr bwMode="auto">
          <a:xfrm>
            <a:off x="171752" y="6037268"/>
            <a:ext cx="8618237" cy="579438"/>
            <a:chOff x="-865" y="3803"/>
            <a:chExt cx="6325" cy="365"/>
          </a:xfrm>
        </p:grpSpPr>
        <p:sp>
          <p:nvSpPr>
            <p:cNvPr id="105" name="4. Footnote"/>
            <p:cNvSpPr txBox="1">
              <a:spLocks noChangeArrowheads="1"/>
            </p:cNvSpPr>
            <p:nvPr/>
          </p:nvSpPr>
          <p:spPr bwMode="auto">
            <a:xfrm>
              <a:off x="-865" y="3803"/>
              <a:ext cx="6325"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900" baseline="0" noProof="0" dirty="0" smtClean="0">
                  <a:solidFill>
                    <a:schemeClr val="tx1"/>
                  </a:solidFill>
                  <a:latin typeface="+mn-lt"/>
                </a:rPr>
                <a:t>1 Footnote</a:t>
              </a:r>
            </a:p>
          </p:txBody>
        </p:sp>
        <p:sp>
          <p:nvSpPr>
            <p:cNvPr id="106" name="5. Source"/>
            <p:cNvSpPr>
              <a:spLocks noChangeArrowheads="1"/>
            </p:cNvSpPr>
            <p:nvPr/>
          </p:nvSpPr>
          <p:spPr bwMode="auto">
            <a:xfrm>
              <a:off x="75" y="4081"/>
              <a:ext cx="4159"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09600" indent="-609600" defTabSz="895350">
                <a:tabLst>
                  <a:tab pos="612775" algn="l"/>
                </a:tabLst>
              </a:pPr>
              <a:r>
                <a:rPr lang="en-US" sz="900" baseline="0" noProof="0" dirty="0">
                  <a:solidFill>
                    <a:schemeClr val="tx1"/>
                  </a:solidFill>
                  <a:latin typeface="+mn-lt"/>
                </a:rPr>
                <a:t>SOURCE: </a:t>
              </a:r>
              <a:r>
                <a:rPr lang="en-US" sz="900" baseline="0" noProof="0" dirty="0" smtClean="0">
                  <a:solidFill>
                    <a:schemeClr val="tx1"/>
                  </a:solidFill>
                  <a:latin typeface="+mn-lt"/>
                </a:rPr>
                <a:t>Source</a:t>
              </a:r>
            </a:p>
          </p:txBody>
        </p:sp>
      </p:grpSp>
    </p:spTree>
  </p:cSld>
  <p:clrMap bg1="lt1" tx1="dk1" bg2="lt2" tx2="dk2" accent1="accent1" accent2="accent2" accent3="accent3" accent4="accent4" accent5="accent5" accent6="accent6" hlink="hlink" folHlink="folHlink"/>
  <p:sldLayoutIdLst>
    <p:sldLayoutId id="2147483663" r:id="rId1"/>
    <p:sldLayoutId id="2147483664" r:id="rId2"/>
  </p:sldLayoutIdLst>
  <p:timing>
    <p:tnLst>
      <p:par>
        <p:cTn id="1" dur="indefinite" restart="never" nodeType="tmRoot"/>
      </p:par>
    </p:tnLst>
  </p:timing>
  <p:hf hdr="0" ftr="0" dt="0"/>
  <p:txStyles>
    <p:titleStyle>
      <a:lvl1pPr algn="l" defTabSz="895255" rtl="0" eaLnBrk="1" fontAlgn="base" hangingPunct="1">
        <a:spcBef>
          <a:spcPct val="0"/>
        </a:spcBef>
        <a:spcAft>
          <a:spcPct val="0"/>
        </a:spcAft>
        <a:tabLst>
          <a:tab pos="269846" algn="l"/>
        </a:tabLst>
        <a:defRPr sz="1900" b="1"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7"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28"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58750" cy="158750"/>
                      </a:xfrm>
                      <a:prstGeom prst="rect">
                        <a:avLst/>
                      </a:prstGeom>
                    </p:spPr>
                  </p:pic>
                </p:oleObj>
              </mc:Fallback>
            </mc:AlternateContent>
          </a:graphicData>
        </a:graphic>
      </p:graphicFrame>
      <p:pic>
        <p:nvPicPr>
          <p:cNvPr id="110" name="Picture 8" descr="http://sawic.environment.gov.za/images/logo_dea.gif"/>
          <p:cNvPicPr>
            <a:picLocks noChangeAspect="1" noChangeArrowheads="1"/>
          </p:cNvPicPr>
          <p:nvPr userDrawn="1"/>
        </p:nvPicPr>
        <p:blipFill>
          <a:blip r:embed="rId27" cstate="email">
            <a:extLst>
              <a:ext uri="{28A0092B-C50C-407E-A947-70E740481C1C}">
                <a14:useLocalDpi xmlns:a14="http://schemas.microsoft.com/office/drawing/2010/main" val="0"/>
              </a:ext>
            </a:extLst>
          </a:blip>
          <a:srcRect/>
          <a:stretch>
            <a:fillRect/>
          </a:stretch>
        </p:blipFill>
        <p:spPr bwMode="ltGray">
          <a:xfrm>
            <a:off x="171451" y="6222253"/>
            <a:ext cx="1207992" cy="442212"/>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16" descr="http://www.tourism.gov.za/images/logo.png"/>
          <p:cNvPicPr>
            <a:picLocks noChangeAspect="1" noChangeArrowheads="1"/>
          </p:cNvPicPr>
          <p:nvPr userDrawn="1"/>
        </p:nvPicPr>
        <p:blipFill>
          <a:blip r:embed="rId28" cstate="email">
            <a:extLst>
              <a:ext uri="{28A0092B-C50C-407E-A947-70E740481C1C}">
                <a14:useLocalDpi xmlns:a14="http://schemas.microsoft.com/office/drawing/2010/main" val="0"/>
              </a:ext>
            </a:extLst>
          </a:blip>
          <a:srcRect/>
          <a:stretch>
            <a:fillRect/>
          </a:stretch>
        </p:blipFill>
        <p:spPr bwMode="ltGray">
          <a:xfrm>
            <a:off x="7268497" y="6240803"/>
            <a:ext cx="1123504" cy="409374"/>
          </a:xfrm>
          <a:prstGeom prst="rect">
            <a:avLst/>
          </a:prstGeom>
          <a:noFill/>
          <a:extLst>
            <a:ext uri="{909E8E84-426E-40DD-AFC4-6F175D3DCCD1}">
              <a14:hiddenFill xmlns:a14="http://schemas.microsoft.com/office/drawing/2010/main">
                <a:solidFill>
                  <a:srgbClr val="FFFFFF"/>
                </a:solidFill>
              </a14:hiddenFill>
            </a:ext>
          </a:extLst>
        </p:spPr>
      </p:pic>
      <p:sp>
        <p:nvSpPr>
          <p:cNvPr id="59" name="SlideBottomBar"/>
          <p:cNvSpPr>
            <a:spLocks noChangeArrowheads="1"/>
          </p:cNvSpPr>
          <p:nvPr/>
        </p:nvSpPr>
        <p:spPr bwMode="ltGray">
          <a:xfrm>
            <a:off x="159" y="6675755"/>
            <a:ext cx="8961120" cy="45720"/>
          </a:xfrm>
          <a:prstGeom prst="rect">
            <a:avLst/>
          </a:prstGeom>
          <a:solidFill>
            <a:srgbClr val="BF9015"/>
          </a:solidFill>
          <a:ln>
            <a:noFill/>
          </a:ln>
          <a:effectLst/>
          <a:extLst/>
        </p:spPr>
        <p:txBody>
          <a:bodyPr wrap="none" anchor="ctr"/>
          <a:lstStyle/>
          <a:p>
            <a:endParaRPr lang="en-US" dirty="0">
              <a:solidFill>
                <a:srgbClr val="000000"/>
              </a:solidFill>
              <a:latin typeface="Arial"/>
            </a:endParaRPr>
          </a:p>
        </p:txBody>
      </p:sp>
      <p:sp>
        <p:nvSpPr>
          <p:cNvPr id="1036" name="Rectangle 286"/>
          <p:cNvSpPr>
            <a:spLocks noGrp="1" noChangeArrowheads="1"/>
          </p:cNvSpPr>
          <p:nvPr userDrawn="1">
            <p:ph type="body" idx="1"/>
          </p:nvPr>
        </p:nvSpPr>
        <p:spPr bwMode="auto">
          <a:xfrm>
            <a:off x="1452564"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userDrawn="1">
            <p:ph type="title"/>
          </p:nvPr>
        </p:nvSpPr>
        <p:spPr bwMode="auto">
          <a:xfrm>
            <a:off x="171451"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userDrawn="1"/>
        </p:nvSpPr>
        <p:spPr bwMode="auto">
          <a:xfrm>
            <a:off x="171451"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userDrawn="1"/>
        </p:nvSpPr>
        <p:spPr bwMode="auto">
          <a:xfrm>
            <a:off x="171451" y="531814"/>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15" name="ACET" hidden="1"/>
          <p:cNvGrpSpPr>
            <a:grpSpLocks/>
          </p:cNvGrpSpPr>
          <p:nvPr userDrawn="1"/>
        </p:nvGrpSpPr>
        <p:grpSpPr bwMode="auto">
          <a:xfrm>
            <a:off x="1452564"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grpSp>
        <p:nvGrpSpPr>
          <p:cNvPr id="63" name="LegendBoxes" hidden="1"/>
          <p:cNvGrpSpPr>
            <a:grpSpLocks/>
          </p:cNvGrpSpPr>
          <p:nvPr userDrawn="1"/>
        </p:nvGrpSpPr>
        <p:grpSpPr bwMode="auto">
          <a:xfrm>
            <a:off x="8026400" y="269955"/>
            <a:ext cx="763588" cy="99695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72" name="LegendLines" hidden="1"/>
          <p:cNvGrpSpPr>
            <a:grpSpLocks/>
          </p:cNvGrpSpPr>
          <p:nvPr userDrawn="1"/>
        </p:nvGrpSpPr>
        <p:grpSpPr bwMode="auto">
          <a:xfrm>
            <a:off x="7718425" y="269955"/>
            <a:ext cx="1071563" cy="730251"/>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grpSp>
      <p:grpSp>
        <p:nvGrpSpPr>
          <p:cNvPr id="79" name="McKSticker" hidden="1"/>
          <p:cNvGrpSpPr/>
          <p:nvPr userDrawn="1"/>
        </p:nvGrpSpPr>
        <p:grpSpPr bwMode="auto">
          <a:xfrm>
            <a:off x="7723093" y="269955"/>
            <a:ext cx="1066895" cy="212366"/>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B4623"/>
                </a:buClr>
              </a:pPr>
              <a:r>
                <a:rPr lang="en-US" sz="1200" dirty="0">
                  <a:solidFill>
                    <a:srgbClr val="808080"/>
                  </a:solidFill>
                  <a:latin typeface="Aria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userDrawn="1"/>
        </p:nvGrpSpPr>
        <p:grpSpPr bwMode="auto">
          <a:xfrm>
            <a:off x="7959558" y="269955"/>
            <a:ext cx="830430" cy="1306516"/>
            <a:chOff x="6655594" y="273840"/>
            <a:chExt cx="830430" cy="1306516"/>
          </a:xfrm>
        </p:grpSpPr>
        <p:grpSp>
          <p:nvGrpSpPr>
            <p:cNvPr id="84" name="MoonLegend1"/>
            <p:cNvGrpSpPr>
              <a:grpSpLocks noChangeAspect="1"/>
            </p:cNvGrpSpPr>
            <p:nvPr>
              <p:custDataLst>
                <p:tags r:id="rId10"/>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103"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85" name="MoonLegend2"/>
            <p:cNvGrpSpPr>
              <a:grpSpLocks noChangeAspect="1"/>
            </p:cNvGrpSpPr>
            <p:nvPr>
              <p:custDataLst>
                <p:tags r:id="rId11"/>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101" name="Arc 42"/>
              <p:cNvSpPr>
                <a:spLocks noChangeAspect="1"/>
              </p:cNvSpPr>
              <p:nvPr>
                <p:custDataLst>
                  <p:tags r:id="rId22"/>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86" name="MoonLegend4"/>
            <p:cNvGrpSpPr>
              <a:grpSpLocks noChangeAspect="1"/>
            </p:cNvGrpSpPr>
            <p:nvPr>
              <p:custDataLst>
                <p:tags r:id="rId12"/>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99"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87" name="MoonLegend5"/>
            <p:cNvGrpSpPr>
              <a:grpSpLocks noChangeAspect="1"/>
            </p:cNvGrpSpPr>
            <p:nvPr>
              <p:custDataLst>
                <p:tags r:id="rId13"/>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97"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a:solidFill>
                    <a:srgbClr val="000000"/>
                  </a:solidFill>
                  <a:latin typeface="Aria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grpSp>
          <p:nvGrpSpPr>
            <p:cNvPr id="93" name="MoonLegend3"/>
            <p:cNvGrpSpPr>
              <a:grpSpLocks noChangeAspect="1"/>
            </p:cNvGrpSpPr>
            <p:nvPr>
              <p:custDataLst>
                <p:tags r:id="rId14"/>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95"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sp>
        <p:nvSpPr>
          <p:cNvPr id="104" name="Slide Number"/>
          <p:cNvSpPr txBox="1">
            <a:spLocks/>
          </p:cNvSpPr>
          <p:nvPr userDrawn="1"/>
        </p:nvSpPr>
        <p:spPr bwMode="auto">
          <a:xfrm>
            <a:off x="8648924" y="6478207"/>
            <a:ext cx="141064"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900" smtClean="0">
                <a:solidFill>
                  <a:srgbClr val="000000"/>
                </a:solidFill>
              </a:rPr>
              <a:pPr algn="r"/>
              <a:t>‹#›</a:t>
            </a:fld>
            <a:endParaRPr lang="en-US" sz="900" dirty="0">
              <a:solidFill>
                <a:srgbClr val="000000"/>
              </a:solidFill>
            </a:endParaRPr>
          </a:p>
        </p:txBody>
      </p:sp>
      <p:grpSp>
        <p:nvGrpSpPr>
          <p:cNvPr id="107" name="McK Moon" hidden="1"/>
          <p:cNvGrpSpPr>
            <a:grpSpLocks noChangeAspect="1"/>
          </p:cNvGrpSpPr>
          <p:nvPr userDrawn="1">
            <p:custDataLst>
              <p:tags r:id="rId7"/>
            </p:custDataLst>
          </p:nvPr>
        </p:nvGrpSpPr>
        <p:grpSpPr bwMode="auto">
          <a:xfrm>
            <a:off x="7405563" y="868443"/>
            <a:ext cx="254000" cy="254000"/>
            <a:chOff x="1600" y="1600"/>
            <a:chExt cx="160" cy="160"/>
          </a:xfrm>
        </p:grpSpPr>
        <p:sp>
          <p:nvSpPr>
            <p:cNvPr id="108" name="Oval 90"/>
            <p:cNvSpPr>
              <a:spLocks noChangeAspect="1" noChangeArrowheads="1"/>
            </p:cNvSpPr>
            <p:nvPr>
              <p:custDataLst>
                <p:tags r:id="rId8"/>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109" name="Arc 91"/>
            <p:cNvSpPr>
              <a:spLocks noChangeAspect="1"/>
            </p:cNvSpPr>
            <p:nvPr>
              <p:custDataLst>
                <p:tags r:id="rId9"/>
              </p:custDataLst>
            </p:nvPr>
          </p:nvSpPr>
          <p:spPr bwMode="black">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62" name="Slide Elements" hidden="1"/>
          <p:cNvGrpSpPr>
            <a:grpSpLocks/>
          </p:cNvGrpSpPr>
          <p:nvPr userDrawn="1"/>
        </p:nvGrpSpPr>
        <p:grpSpPr bwMode="auto">
          <a:xfrm>
            <a:off x="171752" y="6037268"/>
            <a:ext cx="8618237" cy="579438"/>
            <a:chOff x="-865" y="3803"/>
            <a:chExt cx="6325" cy="365"/>
          </a:xfrm>
        </p:grpSpPr>
        <p:sp>
          <p:nvSpPr>
            <p:cNvPr id="105" name="4. Footnote"/>
            <p:cNvSpPr txBox="1">
              <a:spLocks noChangeArrowheads="1"/>
            </p:cNvSpPr>
            <p:nvPr/>
          </p:nvSpPr>
          <p:spPr bwMode="auto">
            <a:xfrm>
              <a:off x="-865" y="3803"/>
              <a:ext cx="6325"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900" dirty="0" smtClean="0">
                  <a:solidFill>
                    <a:srgbClr val="000000"/>
                  </a:solidFill>
                  <a:latin typeface="Arial"/>
                </a:rPr>
                <a:t>1 Footnote</a:t>
              </a:r>
            </a:p>
          </p:txBody>
        </p:sp>
        <p:sp>
          <p:nvSpPr>
            <p:cNvPr id="106" name="5. Source"/>
            <p:cNvSpPr>
              <a:spLocks noChangeArrowheads="1"/>
            </p:cNvSpPr>
            <p:nvPr/>
          </p:nvSpPr>
          <p:spPr bwMode="auto">
            <a:xfrm>
              <a:off x="75" y="4081"/>
              <a:ext cx="4159"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09600" indent="-609600" defTabSz="895350">
                <a:tabLst>
                  <a:tab pos="612775" algn="l"/>
                </a:tabLst>
              </a:pPr>
              <a:r>
                <a:rPr lang="en-US" sz="900" dirty="0">
                  <a:solidFill>
                    <a:srgbClr val="000000"/>
                  </a:solidFill>
                  <a:latin typeface="Arial"/>
                </a:rPr>
                <a:t>SOURCE: </a:t>
              </a:r>
              <a:r>
                <a:rPr lang="en-US" sz="900" dirty="0" smtClean="0">
                  <a:solidFill>
                    <a:srgbClr val="000000"/>
                  </a:solidFill>
                  <a:latin typeface="Arial"/>
                </a:rPr>
                <a:t>Source</a:t>
              </a:r>
            </a:p>
          </p:txBody>
        </p:sp>
      </p:grpSp>
    </p:spTree>
    <p:extLst>
      <p:ext uri="{BB962C8B-B14F-4D97-AF65-F5344CB8AC3E}">
        <p14:creationId xmlns:p14="http://schemas.microsoft.com/office/powerpoint/2010/main" val="1912790331"/>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Lst>
  <p:timing>
    <p:tnLst>
      <p:par>
        <p:cTn id="1" dur="indefinite" restart="never" nodeType="tmRoot"/>
      </p:par>
    </p:tnLst>
  </p:timing>
  <p:hf hdr="0" ftr="0" dt="0"/>
  <p:txStyles>
    <p:titleStyle>
      <a:lvl1pPr algn="l" defTabSz="895255" rtl="0" eaLnBrk="1" fontAlgn="base" hangingPunct="1">
        <a:spcBef>
          <a:spcPct val="0"/>
        </a:spcBef>
        <a:spcAft>
          <a:spcPct val="0"/>
        </a:spcAft>
        <a:tabLst>
          <a:tab pos="269846" algn="l"/>
        </a:tabLst>
        <a:defRPr sz="1900" b="1"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7"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258.xml"/><Relationship Id="rId7" Type="http://schemas.openxmlformats.org/officeDocument/2006/relationships/slideLayout" Target="../slideLayouts/slideLayout2.xml"/><Relationship Id="rId2" Type="http://schemas.openxmlformats.org/officeDocument/2006/relationships/tags" Target="../tags/tag257.xml"/><Relationship Id="rId1" Type="http://schemas.openxmlformats.org/officeDocument/2006/relationships/vmlDrawing" Target="../drawings/vmlDrawing12.vml"/><Relationship Id="rId6" Type="http://schemas.openxmlformats.org/officeDocument/2006/relationships/tags" Target="../tags/tag261.xml"/><Relationship Id="rId5" Type="http://schemas.openxmlformats.org/officeDocument/2006/relationships/tags" Target="../tags/tag260.xml"/><Relationship Id="rId10" Type="http://schemas.openxmlformats.org/officeDocument/2006/relationships/image" Target="../media/image81.emf"/><Relationship Id="rId4" Type="http://schemas.openxmlformats.org/officeDocument/2006/relationships/tags" Target="../tags/tag259.xml"/><Relationship Id="rId9"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oleObject" Target="../embeddings/oleObject13.bin"/><Relationship Id="rId18" Type="http://schemas.openxmlformats.org/officeDocument/2006/relationships/image" Target="../media/image87.jpeg"/><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slideLayout" Target="../slideLayouts/slideLayout2.xml"/><Relationship Id="rId17" Type="http://schemas.openxmlformats.org/officeDocument/2006/relationships/image" Target="../media/image86.jpeg"/><Relationship Id="rId2" Type="http://schemas.openxmlformats.org/officeDocument/2006/relationships/tags" Target="../tags/tag262.xml"/><Relationship Id="rId16" Type="http://schemas.openxmlformats.org/officeDocument/2006/relationships/image" Target="../media/image85.emf"/><Relationship Id="rId1" Type="http://schemas.openxmlformats.org/officeDocument/2006/relationships/vmlDrawing" Target="../drawings/vmlDrawing13.vml"/><Relationship Id="rId6" Type="http://schemas.openxmlformats.org/officeDocument/2006/relationships/tags" Target="../tags/tag266.xml"/><Relationship Id="rId11" Type="http://schemas.openxmlformats.org/officeDocument/2006/relationships/tags" Target="../tags/tag271.xml"/><Relationship Id="rId5" Type="http://schemas.openxmlformats.org/officeDocument/2006/relationships/tags" Target="../tags/tag265.xml"/><Relationship Id="rId15" Type="http://schemas.openxmlformats.org/officeDocument/2006/relationships/oleObject" Target="../embeddings/oleObject14.bin"/><Relationship Id="rId10" Type="http://schemas.openxmlformats.org/officeDocument/2006/relationships/tags" Target="../tags/tag270.xml"/><Relationship Id="rId4" Type="http://schemas.openxmlformats.org/officeDocument/2006/relationships/tags" Target="../tags/tag264.xml"/><Relationship Id="rId9" Type="http://schemas.openxmlformats.org/officeDocument/2006/relationships/tags" Target="../tags/tag269.xml"/><Relationship Id="rId14" Type="http://schemas.openxmlformats.org/officeDocument/2006/relationships/image" Target="../media/image81.emf"/></Relationships>
</file>

<file path=ppt/slides/_rels/slide12.xml.rels><?xml version="1.0" encoding="UTF-8" standalone="yes"?>
<Relationships xmlns="http://schemas.openxmlformats.org/package/2006/relationships"><Relationship Id="rId8" Type="http://schemas.openxmlformats.org/officeDocument/2006/relationships/tags" Target="../tags/tag278.xml"/><Relationship Id="rId13" Type="http://schemas.openxmlformats.org/officeDocument/2006/relationships/tags" Target="../tags/tag283.xml"/><Relationship Id="rId3" Type="http://schemas.openxmlformats.org/officeDocument/2006/relationships/tags" Target="../tags/tag273.xml"/><Relationship Id="rId7" Type="http://schemas.openxmlformats.org/officeDocument/2006/relationships/tags" Target="../tags/tag277.xml"/><Relationship Id="rId12" Type="http://schemas.openxmlformats.org/officeDocument/2006/relationships/tags" Target="../tags/tag282.xml"/><Relationship Id="rId17" Type="http://schemas.openxmlformats.org/officeDocument/2006/relationships/image" Target="../media/image88.png"/><Relationship Id="rId2" Type="http://schemas.openxmlformats.org/officeDocument/2006/relationships/tags" Target="../tags/tag272.xml"/><Relationship Id="rId16" Type="http://schemas.openxmlformats.org/officeDocument/2006/relationships/image" Target="../media/image81.emf"/><Relationship Id="rId1" Type="http://schemas.openxmlformats.org/officeDocument/2006/relationships/vmlDrawing" Target="../drawings/vmlDrawing14.vml"/><Relationship Id="rId6" Type="http://schemas.openxmlformats.org/officeDocument/2006/relationships/tags" Target="../tags/tag276.xml"/><Relationship Id="rId11" Type="http://schemas.openxmlformats.org/officeDocument/2006/relationships/tags" Target="../tags/tag281.xml"/><Relationship Id="rId5" Type="http://schemas.openxmlformats.org/officeDocument/2006/relationships/tags" Target="../tags/tag275.xml"/><Relationship Id="rId15" Type="http://schemas.openxmlformats.org/officeDocument/2006/relationships/oleObject" Target="../embeddings/oleObject15.bin"/><Relationship Id="rId10" Type="http://schemas.openxmlformats.org/officeDocument/2006/relationships/tags" Target="../tags/tag280.xml"/><Relationship Id="rId4" Type="http://schemas.openxmlformats.org/officeDocument/2006/relationships/tags" Target="../tags/tag274.xml"/><Relationship Id="rId9" Type="http://schemas.openxmlformats.org/officeDocument/2006/relationships/tags" Target="../tags/tag279.xml"/><Relationship Id="rId1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4.xml"/><Relationship Id="rId1" Type="http://schemas.openxmlformats.org/officeDocument/2006/relationships/vmlDrawing" Target="../drawings/vmlDrawing15.vml"/><Relationship Id="rId6" Type="http://schemas.openxmlformats.org/officeDocument/2006/relationships/image" Target="../media/image89.png"/><Relationship Id="rId5" Type="http://schemas.openxmlformats.org/officeDocument/2006/relationships/image" Target="../media/image81.emf"/><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8" Type="http://schemas.openxmlformats.org/officeDocument/2006/relationships/tags" Target="../tags/tag291.xml"/><Relationship Id="rId13" Type="http://schemas.openxmlformats.org/officeDocument/2006/relationships/tags" Target="../tags/tag296.xml"/><Relationship Id="rId18" Type="http://schemas.openxmlformats.org/officeDocument/2006/relationships/tags" Target="../tags/tag301.xml"/><Relationship Id="rId26" Type="http://schemas.openxmlformats.org/officeDocument/2006/relationships/image" Target="../media/image91.png"/><Relationship Id="rId3" Type="http://schemas.openxmlformats.org/officeDocument/2006/relationships/tags" Target="../tags/tag286.xml"/><Relationship Id="rId21" Type="http://schemas.openxmlformats.org/officeDocument/2006/relationships/tags" Target="../tags/tag304.xml"/><Relationship Id="rId7" Type="http://schemas.openxmlformats.org/officeDocument/2006/relationships/tags" Target="../tags/tag290.xml"/><Relationship Id="rId12" Type="http://schemas.openxmlformats.org/officeDocument/2006/relationships/tags" Target="../tags/tag295.xml"/><Relationship Id="rId17" Type="http://schemas.openxmlformats.org/officeDocument/2006/relationships/tags" Target="../tags/tag300.xml"/><Relationship Id="rId25" Type="http://schemas.openxmlformats.org/officeDocument/2006/relationships/image" Target="../media/image90.jpeg"/><Relationship Id="rId2" Type="http://schemas.openxmlformats.org/officeDocument/2006/relationships/tags" Target="../tags/tag285.xml"/><Relationship Id="rId16" Type="http://schemas.openxmlformats.org/officeDocument/2006/relationships/tags" Target="../tags/tag299.xml"/><Relationship Id="rId20" Type="http://schemas.openxmlformats.org/officeDocument/2006/relationships/tags" Target="../tags/tag303.xml"/><Relationship Id="rId1" Type="http://schemas.openxmlformats.org/officeDocument/2006/relationships/vmlDrawing" Target="../drawings/vmlDrawing16.vml"/><Relationship Id="rId6" Type="http://schemas.openxmlformats.org/officeDocument/2006/relationships/tags" Target="../tags/tag289.xml"/><Relationship Id="rId11" Type="http://schemas.openxmlformats.org/officeDocument/2006/relationships/tags" Target="../tags/tag294.xml"/><Relationship Id="rId24" Type="http://schemas.openxmlformats.org/officeDocument/2006/relationships/image" Target="../media/image9.emf"/><Relationship Id="rId5" Type="http://schemas.openxmlformats.org/officeDocument/2006/relationships/tags" Target="../tags/tag288.xml"/><Relationship Id="rId15" Type="http://schemas.openxmlformats.org/officeDocument/2006/relationships/tags" Target="../tags/tag298.xml"/><Relationship Id="rId23" Type="http://schemas.openxmlformats.org/officeDocument/2006/relationships/oleObject" Target="../embeddings/oleObject17.bin"/><Relationship Id="rId28" Type="http://schemas.openxmlformats.org/officeDocument/2006/relationships/image" Target="../media/image93.jpeg"/><Relationship Id="rId10" Type="http://schemas.openxmlformats.org/officeDocument/2006/relationships/tags" Target="../tags/tag293.xml"/><Relationship Id="rId19" Type="http://schemas.openxmlformats.org/officeDocument/2006/relationships/tags" Target="../tags/tag302.xml"/><Relationship Id="rId4" Type="http://schemas.openxmlformats.org/officeDocument/2006/relationships/tags" Target="../tags/tag287.xml"/><Relationship Id="rId9" Type="http://schemas.openxmlformats.org/officeDocument/2006/relationships/tags" Target="../tags/tag292.xml"/><Relationship Id="rId14" Type="http://schemas.openxmlformats.org/officeDocument/2006/relationships/tags" Target="../tags/tag297.xml"/><Relationship Id="rId22" Type="http://schemas.openxmlformats.org/officeDocument/2006/relationships/slideLayout" Target="../slideLayouts/slideLayout2.xml"/><Relationship Id="rId27" Type="http://schemas.openxmlformats.org/officeDocument/2006/relationships/image" Target="../media/image92.jpeg"/></Relationships>
</file>

<file path=ppt/slides/_rels/slide15.xml.rels><?xml version="1.0" encoding="UTF-8" standalone="yes"?>
<Relationships xmlns="http://schemas.openxmlformats.org/package/2006/relationships"><Relationship Id="rId8" Type="http://schemas.openxmlformats.org/officeDocument/2006/relationships/tags" Target="../tags/tag311.xml"/><Relationship Id="rId13" Type="http://schemas.openxmlformats.org/officeDocument/2006/relationships/slideLayout" Target="../slideLayouts/slideLayout2.xml"/><Relationship Id="rId18" Type="http://schemas.openxmlformats.org/officeDocument/2006/relationships/image" Target="../media/image92.jpeg"/><Relationship Id="rId3" Type="http://schemas.openxmlformats.org/officeDocument/2006/relationships/tags" Target="../tags/tag306.xml"/><Relationship Id="rId7" Type="http://schemas.openxmlformats.org/officeDocument/2006/relationships/tags" Target="../tags/tag310.xml"/><Relationship Id="rId12" Type="http://schemas.openxmlformats.org/officeDocument/2006/relationships/tags" Target="../tags/tag315.xml"/><Relationship Id="rId17" Type="http://schemas.openxmlformats.org/officeDocument/2006/relationships/image" Target="../media/image95.png"/><Relationship Id="rId2" Type="http://schemas.openxmlformats.org/officeDocument/2006/relationships/tags" Target="../tags/tag305.xml"/><Relationship Id="rId16" Type="http://schemas.openxmlformats.org/officeDocument/2006/relationships/image" Target="../media/image94.jpeg"/><Relationship Id="rId1" Type="http://schemas.openxmlformats.org/officeDocument/2006/relationships/vmlDrawing" Target="../drawings/vmlDrawing17.vml"/><Relationship Id="rId6" Type="http://schemas.openxmlformats.org/officeDocument/2006/relationships/tags" Target="../tags/tag309.xml"/><Relationship Id="rId11" Type="http://schemas.openxmlformats.org/officeDocument/2006/relationships/tags" Target="../tags/tag314.xml"/><Relationship Id="rId5" Type="http://schemas.openxmlformats.org/officeDocument/2006/relationships/tags" Target="../tags/tag308.xml"/><Relationship Id="rId15" Type="http://schemas.openxmlformats.org/officeDocument/2006/relationships/image" Target="../media/image8.emf"/><Relationship Id="rId10" Type="http://schemas.openxmlformats.org/officeDocument/2006/relationships/tags" Target="../tags/tag313.xml"/><Relationship Id="rId19" Type="http://schemas.openxmlformats.org/officeDocument/2006/relationships/image" Target="../media/image96.png"/><Relationship Id="rId4" Type="http://schemas.openxmlformats.org/officeDocument/2006/relationships/tags" Target="../tags/tag307.xml"/><Relationship Id="rId9" Type="http://schemas.openxmlformats.org/officeDocument/2006/relationships/tags" Target="../tags/tag312.xml"/><Relationship Id="rId1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8" Type="http://schemas.openxmlformats.org/officeDocument/2006/relationships/tags" Target="../tags/tag322.xml"/><Relationship Id="rId13" Type="http://schemas.openxmlformats.org/officeDocument/2006/relationships/tags" Target="../tags/tag327.xml"/><Relationship Id="rId18" Type="http://schemas.openxmlformats.org/officeDocument/2006/relationships/image" Target="../media/image8.emf"/><Relationship Id="rId26" Type="http://schemas.openxmlformats.org/officeDocument/2006/relationships/image" Target="../media/image102.jpeg"/><Relationship Id="rId3" Type="http://schemas.openxmlformats.org/officeDocument/2006/relationships/tags" Target="../tags/tag317.xml"/><Relationship Id="rId21" Type="http://schemas.openxmlformats.org/officeDocument/2006/relationships/image" Target="../media/image98.png"/><Relationship Id="rId7" Type="http://schemas.openxmlformats.org/officeDocument/2006/relationships/tags" Target="../tags/tag321.xml"/><Relationship Id="rId12" Type="http://schemas.openxmlformats.org/officeDocument/2006/relationships/tags" Target="../tags/tag326.xml"/><Relationship Id="rId17" Type="http://schemas.openxmlformats.org/officeDocument/2006/relationships/oleObject" Target="../embeddings/oleObject19.bin"/><Relationship Id="rId25" Type="http://schemas.openxmlformats.org/officeDocument/2006/relationships/image" Target="../media/image101.png"/><Relationship Id="rId2" Type="http://schemas.openxmlformats.org/officeDocument/2006/relationships/tags" Target="../tags/tag316.xml"/><Relationship Id="rId16" Type="http://schemas.openxmlformats.org/officeDocument/2006/relationships/slideLayout" Target="../slideLayouts/slideLayout2.xml"/><Relationship Id="rId20" Type="http://schemas.openxmlformats.org/officeDocument/2006/relationships/image" Target="../media/image51.png"/><Relationship Id="rId1" Type="http://schemas.openxmlformats.org/officeDocument/2006/relationships/vmlDrawing" Target="../drawings/vmlDrawing18.vml"/><Relationship Id="rId6" Type="http://schemas.openxmlformats.org/officeDocument/2006/relationships/tags" Target="../tags/tag320.xml"/><Relationship Id="rId11" Type="http://schemas.openxmlformats.org/officeDocument/2006/relationships/tags" Target="../tags/tag325.xml"/><Relationship Id="rId24" Type="http://schemas.openxmlformats.org/officeDocument/2006/relationships/image" Target="../media/image100.jpeg"/><Relationship Id="rId5" Type="http://schemas.openxmlformats.org/officeDocument/2006/relationships/tags" Target="../tags/tag319.xml"/><Relationship Id="rId15" Type="http://schemas.openxmlformats.org/officeDocument/2006/relationships/tags" Target="../tags/tag329.xml"/><Relationship Id="rId23" Type="http://schemas.openxmlformats.org/officeDocument/2006/relationships/image" Target="../media/image99.jpg"/><Relationship Id="rId10" Type="http://schemas.openxmlformats.org/officeDocument/2006/relationships/tags" Target="../tags/tag324.xml"/><Relationship Id="rId19" Type="http://schemas.openxmlformats.org/officeDocument/2006/relationships/image" Target="../media/image97.png"/><Relationship Id="rId4" Type="http://schemas.openxmlformats.org/officeDocument/2006/relationships/tags" Target="../tags/tag318.xml"/><Relationship Id="rId9" Type="http://schemas.openxmlformats.org/officeDocument/2006/relationships/tags" Target="../tags/tag323.xml"/><Relationship Id="rId14" Type="http://schemas.openxmlformats.org/officeDocument/2006/relationships/tags" Target="../tags/tag328.xml"/><Relationship Id="rId22" Type="http://schemas.openxmlformats.org/officeDocument/2006/relationships/image" Target="../media/image53.gif"/><Relationship Id="rId27" Type="http://schemas.openxmlformats.org/officeDocument/2006/relationships/image" Target="../media/image103.png"/></Relationships>
</file>

<file path=ppt/slides/_rels/slide17.xml.rels><?xml version="1.0" encoding="UTF-8" standalone="yes"?>
<Relationships xmlns="http://schemas.openxmlformats.org/package/2006/relationships"><Relationship Id="rId8" Type="http://schemas.openxmlformats.org/officeDocument/2006/relationships/image" Target="../media/image105.jpeg"/><Relationship Id="rId3" Type="http://schemas.openxmlformats.org/officeDocument/2006/relationships/slideLayout" Target="../slideLayouts/slideLayout2.xml"/><Relationship Id="rId7" Type="http://schemas.openxmlformats.org/officeDocument/2006/relationships/image" Target="../media/image82.jpeg"/><Relationship Id="rId2" Type="http://schemas.openxmlformats.org/officeDocument/2006/relationships/tags" Target="../tags/tag330.xml"/><Relationship Id="rId1" Type="http://schemas.openxmlformats.org/officeDocument/2006/relationships/vmlDrawing" Target="../drawings/vmlDrawing19.vml"/><Relationship Id="rId6" Type="http://schemas.openxmlformats.org/officeDocument/2006/relationships/image" Target="../media/image104.png"/><Relationship Id="rId5" Type="http://schemas.openxmlformats.org/officeDocument/2006/relationships/image" Target="../media/image8.emf"/><Relationship Id="rId4" Type="http://schemas.openxmlformats.org/officeDocument/2006/relationships/oleObject" Target="../embeddings/oleObject20.bin"/><Relationship Id="rId9" Type="http://schemas.openxmlformats.org/officeDocument/2006/relationships/image" Target="../media/image106.jpeg"/></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21.bin"/><Relationship Id="rId13" Type="http://schemas.openxmlformats.org/officeDocument/2006/relationships/image" Target="../media/image107.png"/><Relationship Id="rId3" Type="http://schemas.openxmlformats.org/officeDocument/2006/relationships/tags" Target="../tags/tag332.xml"/><Relationship Id="rId7" Type="http://schemas.openxmlformats.org/officeDocument/2006/relationships/slideLayout" Target="../slideLayouts/slideLayout2.xml"/><Relationship Id="rId12" Type="http://schemas.openxmlformats.org/officeDocument/2006/relationships/slide" Target="slide16.xml"/><Relationship Id="rId2" Type="http://schemas.openxmlformats.org/officeDocument/2006/relationships/tags" Target="../tags/tag331.xml"/><Relationship Id="rId1" Type="http://schemas.openxmlformats.org/officeDocument/2006/relationships/vmlDrawing" Target="../drawings/vmlDrawing20.vml"/><Relationship Id="rId6" Type="http://schemas.openxmlformats.org/officeDocument/2006/relationships/tags" Target="../tags/tag335.xml"/><Relationship Id="rId11" Type="http://schemas.openxmlformats.org/officeDocument/2006/relationships/slide" Target="slide10.xml"/><Relationship Id="rId5" Type="http://schemas.openxmlformats.org/officeDocument/2006/relationships/tags" Target="../tags/tag334.xml"/><Relationship Id="rId10" Type="http://schemas.openxmlformats.org/officeDocument/2006/relationships/slide" Target="slide5.xml"/><Relationship Id="rId4" Type="http://schemas.openxmlformats.org/officeDocument/2006/relationships/tags" Target="../tags/tag333.xml"/><Relationship Id="rId9" Type="http://schemas.openxmlformats.org/officeDocument/2006/relationships/image" Target="../media/image4.emf"/><Relationship Id="rId14" Type="http://schemas.openxmlformats.org/officeDocument/2006/relationships/image" Target="../media/image108.jpg"/></Relationships>
</file>

<file path=ppt/slides/_rels/slide19.xml.rels><?xml version="1.0" encoding="UTF-8" standalone="yes"?>
<Relationships xmlns="http://schemas.openxmlformats.org/package/2006/relationships"><Relationship Id="rId8" Type="http://schemas.openxmlformats.org/officeDocument/2006/relationships/image" Target="../media/image110.jpeg"/><Relationship Id="rId3" Type="http://schemas.openxmlformats.org/officeDocument/2006/relationships/tags" Target="../tags/tag337.xml"/><Relationship Id="rId7" Type="http://schemas.openxmlformats.org/officeDocument/2006/relationships/image" Target="../media/image109.emf"/><Relationship Id="rId2" Type="http://schemas.openxmlformats.org/officeDocument/2006/relationships/tags" Target="../tags/tag336.xml"/><Relationship Id="rId1" Type="http://schemas.openxmlformats.org/officeDocument/2006/relationships/vmlDrawing" Target="../drawings/vmlDrawing21.vml"/><Relationship Id="rId6" Type="http://schemas.openxmlformats.org/officeDocument/2006/relationships/oleObject" Target="../embeddings/oleObject22.bin"/><Relationship Id="rId5" Type="http://schemas.openxmlformats.org/officeDocument/2006/relationships/slideLayout" Target="../slideLayouts/slideLayout2.xml"/><Relationship Id="rId10" Type="http://schemas.openxmlformats.org/officeDocument/2006/relationships/image" Target="../media/image112.png"/><Relationship Id="rId4" Type="http://schemas.openxmlformats.org/officeDocument/2006/relationships/tags" Target="../tags/tag338.xml"/><Relationship Id="rId9" Type="http://schemas.openxmlformats.org/officeDocument/2006/relationships/image" Target="../media/image111.jpeg"/></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43.xml"/><Relationship Id="rId7" Type="http://schemas.openxmlformats.org/officeDocument/2006/relationships/tags" Target="../tags/tag47.xml"/><Relationship Id="rId2" Type="http://schemas.openxmlformats.org/officeDocument/2006/relationships/tags" Target="../tags/tag42.xml"/><Relationship Id="rId1" Type="http://schemas.openxmlformats.org/officeDocument/2006/relationships/vmlDrawing" Target="../drawings/vmlDrawing5.vml"/><Relationship Id="rId6" Type="http://schemas.openxmlformats.org/officeDocument/2006/relationships/tags" Target="../tags/tag46.xml"/><Relationship Id="rId5" Type="http://schemas.openxmlformats.org/officeDocument/2006/relationships/tags" Target="../tags/tag45.xml"/><Relationship Id="rId10" Type="http://schemas.openxmlformats.org/officeDocument/2006/relationships/image" Target="../media/image7.emf"/><Relationship Id="rId4" Type="http://schemas.openxmlformats.org/officeDocument/2006/relationships/tags" Target="../tags/tag44.xml"/><Relationship Id="rId9"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8" Type="http://schemas.openxmlformats.org/officeDocument/2006/relationships/image" Target="../media/image115.jpeg"/><Relationship Id="rId3" Type="http://schemas.openxmlformats.org/officeDocument/2006/relationships/slideLayout" Target="../slideLayouts/slideLayout2.xml"/><Relationship Id="rId7" Type="http://schemas.openxmlformats.org/officeDocument/2006/relationships/image" Target="../media/image114.jpeg"/><Relationship Id="rId2" Type="http://schemas.openxmlformats.org/officeDocument/2006/relationships/tags" Target="../tags/tag339.xml"/><Relationship Id="rId1" Type="http://schemas.openxmlformats.org/officeDocument/2006/relationships/vmlDrawing" Target="../drawings/vmlDrawing22.vml"/><Relationship Id="rId6" Type="http://schemas.openxmlformats.org/officeDocument/2006/relationships/image" Target="../media/image113.png"/><Relationship Id="rId5" Type="http://schemas.openxmlformats.org/officeDocument/2006/relationships/image" Target="../media/image7.emf"/><Relationship Id="rId4" Type="http://schemas.openxmlformats.org/officeDocument/2006/relationships/oleObject" Target="../embeddings/oleObject23.bin"/><Relationship Id="rId9" Type="http://schemas.openxmlformats.org/officeDocument/2006/relationships/image" Target="../media/image116.png"/></Relationships>
</file>

<file path=ppt/slides/_rels/slide21.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18" Type="http://schemas.openxmlformats.org/officeDocument/2006/relationships/image" Target="../media/image129.png"/><Relationship Id="rId26" Type="http://schemas.openxmlformats.org/officeDocument/2006/relationships/image" Target="../media/image137.png"/><Relationship Id="rId3" Type="http://schemas.openxmlformats.org/officeDocument/2006/relationships/slideLayout" Target="../slideLayouts/slideLayout2.xml"/><Relationship Id="rId21" Type="http://schemas.openxmlformats.org/officeDocument/2006/relationships/image" Target="../media/image132.png"/><Relationship Id="rId7" Type="http://schemas.openxmlformats.org/officeDocument/2006/relationships/image" Target="../media/image118.png"/><Relationship Id="rId12" Type="http://schemas.openxmlformats.org/officeDocument/2006/relationships/image" Target="../media/image123.jpeg"/><Relationship Id="rId17" Type="http://schemas.openxmlformats.org/officeDocument/2006/relationships/image" Target="../media/image128.png"/><Relationship Id="rId25" Type="http://schemas.openxmlformats.org/officeDocument/2006/relationships/image" Target="../media/image136.png"/><Relationship Id="rId2" Type="http://schemas.openxmlformats.org/officeDocument/2006/relationships/tags" Target="../tags/tag340.xml"/><Relationship Id="rId16" Type="http://schemas.openxmlformats.org/officeDocument/2006/relationships/image" Target="../media/image127.png"/><Relationship Id="rId20" Type="http://schemas.openxmlformats.org/officeDocument/2006/relationships/image" Target="../media/image131.png"/><Relationship Id="rId29" Type="http://schemas.openxmlformats.org/officeDocument/2006/relationships/image" Target="../media/image140.png"/><Relationship Id="rId1" Type="http://schemas.openxmlformats.org/officeDocument/2006/relationships/vmlDrawing" Target="../drawings/vmlDrawing23.vml"/><Relationship Id="rId6" Type="http://schemas.openxmlformats.org/officeDocument/2006/relationships/image" Target="../media/image117.png"/><Relationship Id="rId11" Type="http://schemas.openxmlformats.org/officeDocument/2006/relationships/image" Target="../media/image122.png"/><Relationship Id="rId24" Type="http://schemas.openxmlformats.org/officeDocument/2006/relationships/image" Target="../media/image135.png"/><Relationship Id="rId5" Type="http://schemas.openxmlformats.org/officeDocument/2006/relationships/image" Target="../media/image9.emf"/><Relationship Id="rId15" Type="http://schemas.openxmlformats.org/officeDocument/2006/relationships/image" Target="../media/image126.png"/><Relationship Id="rId23" Type="http://schemas.openxmlformats.org/officeDocument/2006/relationships/image" Target="../media/image134.png"/><Relationship Id="rId28" Type="http://schemas.openxmlformats.org/officeDocument/2006/relationships/image" Target="../media/image139.png"/><Relationship Id="rId10" Type="http://schemas.openxmlformats.org/officeDocument/2006/relationships/image" Target="../media/image121.png"/><Relationship Id="rId19" Type="http://schemas.openxmlformats.org/officeDocument/2006/relationships/image" Target="../media/image130.png"/><Relationship Id="rId4" Type="http://schemas.openxmlformats.org/officeDocument/2006/relationships/oleObject" Target="../embeddings/oleObject24.bin"/><Relationship Id="rId9" Type="http://schemas.openxmlformats.org/officeDocument/2006/relationships/image" Target="../media/image120.png"/><Relationship Id="rId14" Type="http://schemas.openxmlformats.org/officeDocument/2006/relationships/image" Target="../media/image125.png"/><Relationship Id="rId22" Type="http://schemas.openxmlformats.org/officeDocument/2006/relationships/image" Target="../media/image133.png"/><Relationship Id="rId27" Type="http://schemas.openxmlformats.org/officeDocument/2006/relationships/image" Target="../media/image138.png"/><Relationship Id="rId30" Type="http://schemas.openxmlformats.org/officeDocument/2006/relationships/image" Target="../media/image116.png"/></Relationships>
</file>

<file path=ppt/slides/_rels/slide2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16.png"/><Relationship Id="rId3" Type="http://schemas.openxmlformats.org/officeDocument/2006/relationships/slideLayout" Target="../slideLayouts/slideLayout2.xml"/><Relationship Id="rId7" Type="http://schemas.openxmlformats.org/officeDocument/2006/relationships/image" Target="../media/image144.png"/><Relationship Id="rId12" Type="http://schemas.openxmlformats.org/officeDocument/2006/relationships/image" Target="../media/image149.png"/><Relationship Id="rId2" Type="http://schemas.openxmlformats.org/officeDocument/2006/relationships/tags" Target="../tags/tag341.xml"/><Relationship Id="rId1" Type="http://schemas.openxmlformats.org/officeDocument/2006/relationships/vmlDrawing" Target="../drawings/vmlDrawing24.vml"/><Relationship Id="rId6" Type="http://schemas.openxmlformats.org/officeDocument/2006/relationships/image" Target="../media/image143.png"/><Relationship Id="rId11" Type="http://schemas.openxmlformats.org/officeDocument/2006/relationships/image" Target="../media/image148.png"/><Relationship Id="rId5" Type="http://schemas.openxmlformats.org/officeDocument/2006/relationships/image" Target="../media/image9.emf"/><Relationship Id="rId10" Type="http://schemas.openxmlformats.org/officeDocument/2006/relationships/image" Target="../media/image147.png"/><Relationship Id="rId4" Type="http://schemas.openxmlformats.org/officeDocument/2006/relationships/oleObject" Target="../embeddings/oleObject25.bin"/><Relationship Id="rId9" Type="http://schemas.openxmlformats.org/officeDocument/2006/relationships/image" Target="../media/image146.png"/></Relationships>
</file>

<file path=ppt/slides/_rels/slide24.xml.rels><?xml version="1.0" encoding="UTF-8" standalone="yes"?>
<Relationships xmlns="http://schemas.openxmlformats.org/package/2006/relationships"><Relationship Id="rId8" Type="http://schemas.openxmlformats.org/officeDocument/2006/relationships/oleObject" Target="../embeddings/oleObject26.bin"/><Relationship Id="rId13" Type="http://schemas.openxmlformats.org/officeDocument/2006/relationships/image" Target="../media/image107.png"/><Relationship Id="rId3" Type="http://schemas.openxmlformats.org/officeDocument/2006/relationships/tags" Target="../tags/tag343.xml"/><Relationship Id="rId7" Type="http://schemas.openxmlformats.org/officeDocument/2006/relationships/slideLayout" Target="../slideLayouts/slideLayout2.xml"/><Relationship Id="rId12" Type="http://schemas.openxmlformats.org/officeDocument/2006/relationships/slide" Target="slide16.xml"/><Relationship Id="rId2" Type="http://schemas.openxmlformats.org/officeDocument/2006/relationships/tags" Target="../tags/tag342.xml"/><Relationship Id="rId1" Type="http://schemas.openxmlformats.org/officeDocument/2006/relationships/vmlDrawing" Target="../drawings/vmlDrawing25.vml"/><Relationship Id="rId6" Type="http://schemas.openxmlformats.org/officeDocument/2006/relationships/tags" Target="../tags/tag346.xml"/><Relationship Id="rId11" Type="http://schemas.openxmlformats.org/officeDocument/2006/relationships/slide" Target="slide10.xml"/><Relationship Id="rId5" Type="http://schemas.openxmlformats.org/officeDocument/2006/relationships/tags" Target="../tags/tag345.xml"/><Relationship Id="rId10" Type="http://schemas.openxmlformats.org/officeDocument/2006/relationships/slide" Target="slide5.xml"/><Relationship Id="rId4" Type="http://schemas.openxmlformats.org/officeDocument/2006/relationships/tags" Target="../tags/tag344.xml"/><Relationship Id="rId9" Type="http://schemas.openxmlformats.org/officeDocument/2006/relationships/image" Target="../media/image4.emf"/><Relationship Id="rId14" Type="http://schemas.openxmlformats.org/officeDocument/2006/relationships/image" Target="../media/image108.jpg"/></Relationships>
</file>

<file path=ppt/slides/_rels/slide25.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oleObject" Target="../embeddings/oleObject27.bin"/><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slideLayout" Target="../slideLayouts/slideLayout2.xml"/><Relationship Id="rId2" Type="http://schemas.openxmlformats.org/officeDocument/2006/relationships/tags" Target="../tags/tag347.xml"/><Relationship Id="rId16" Type="http://schemas.openxmlformats.org/officeDocument/2006/relationships/image" Target="../media/image151.png"/><Relationship Id="rId1" Type="http://schemas.openxmlformats.org/officeDocument/2006/relationships/vmlDrawing" Target="../drawings/vmlDrawing26.vml"/><Relationship Id="rId6" Type="http://schemas.openxmlformats.org/officeDocument/2006/relationships/tags" Target="../tags/tag351.xml"/><Relationship Id="rId11" Type="http://schemas.openxmlformats.org/officeDocument/2006/relationships/tags" Target="../tags/tag356.xml"/><Relationship Id="rId5" Type="http://schemas.openxmlformats.org/officeDocument/2006/relationships/tags" Target="../tags/tag350.xml"/><Relationship Id="rId15" Type="http://schemas.openxmlformats.org/officeDocument/2006/relationships/image" Target="../media/image150.png"/><Relationship Id="rId10" Type="http://schemas.openxmlformats.org/officeDocument/2006/relationships/tags" Target="../tags/tag355.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image" Target="../media/image7.emf"/></Relationships>
</file>

<file path=ppt/slides/_rels/slide26.xml.rels><?xml version="1.0" encoding="UTF-8" standalone="yes"?>
<Relationships xmlns="http://schemas.openxmlformats.org/package/2006/relationships"><Relationship Id="rId8" Type="http://schemas.openxmlformats.org/officeDocument/2006/relationships/tags" Target="../tags/tag363.xml"/><Relationship Id="rId13" Type="http://schemas.openxmlformats.org/officeDocument/2006/relationships/tags" Target="../tags/tag368.xml"/><Relationship Id="rId18" Type="http://schemas.openxmlformats.org/officeDocument/2006/relationships/tags" Target="../tags/tag373.xml"/><Relationship Id="rId26" Type="http://schemas.openxmlformats.org/officeDocument/2006/relationships/image" Target="../media/image153.emf"/><Relationship Id="rId3" Type="http://schemas.openxmlformats.org/officeDocument/2006/relationships/tags" Target="../tags/tag358.xml"/><Relationship Id="rId21" Type="http://schemas.openxmlformats.org/officeDocument/2006/relationships/oleObject" Target="../embeddings/oleObject28.bin"/><Relationship Id="rId7" Type="http://schemas.openxmlformats.org/officeDocument/2006/relationships/tags" Target="../tags/tag362.xml"/><Relationship Id="rId12" Type="http://schemas.openxmlformats.org/officeDocument/2006/relationships/tags" Target="../tags/tag367.xml"/><Relationship Id="rId17" Type="http://schemas.openxmlformats.org/officeDocument/2006/relationships/tags" Target="../tags/tag372.xml"/><Relationship Id="rId25" Type="http://schemas.openxmlformats.org/officeDocument/2006/relationships/oleObject" Target="../embeddings/oleObject29.bin"/><Relationship Id="rId2" Type="http://schemas.openxmlformats.org/officeDocument/2006/relationships/tags" Target="../tags/tag357.xml"/><Relationship Id="rId16" Type="http://schemas.openxmlformats.org/officeDocument/2006/relationships/tags" Target="../tags/tag371.xml"/><Relationship Id="rId20" Type="http://schemas.openxmlformats.org/officeDocument/2006/relationships/notesSlide" Target="../notesSlides/notesSlide3.xml"/><Relationship Id="rId29" Type="http://schemas.openxmlformats.org/officeDocument/2006/relationships/image" Target="../media/image157.jpeg"/><Relationship Id="rId1" Type="http://schemas.openxmlformats.org/officeDocument/2006/relationships/vmlDrawing" Target="../drawings/vmlDrawing27.vml"/><Relationship Id="rId6" Type="http://schemas.openxmlformats.org/officeDocument/2006/relationships/tags" Target="../tags/tag361.xml"/><Relationship Id="rId11" Type="http://schemas.openxmlformats.org/officeDocument/2006/relationships/tags" Target="../tags/tag366.xml"/><Relationship Id="rId24" Type="http://schemas.openxmlformats.org/officeDocument/2006/relationships/image" Target="../media/image156.jpeg"/><Relationship Id="rId5" Type="http://schemas.openxmlformats.org/officeDocument/2006/relationships/tags" Target="../tags/tag360.xml"/><Relationship Id="rId15" Type="http://schemas.openxmlformats.org/officeDocument/2006/relationships/tags" Target="../tags/tag370.xml"/><Relationship Id="rId23" Type="http://schemas.openxmlformats.org/officeDocument/2006/relationships/image" Target="../media/image155.png"/><Relationship Id="rId28" Type="http://schemas.openxmlformats.org/officeDocument/2006/relationships/image" Target="../media/image154.emf"/><Relationship Id="rId10" Type="http://schemas.openxmlformats.org/officeDocument/2006/relationships/tags" Target="../tags/tag365.xml"/><Relationship Id="rId19" Type="http://schemas.openxmlformats.org/officeDocument/2006/relationships/slideLayout" Target="../slideLayouts/slideLayout2.xml"/><Relationship Id="rId4" Type="http://schemas.openxmlformats.org/officeDocument/2006/relationships/tags" Target="../tags/tag359.xml"/><Relationship Id="rId9" Type="http://schemas.openxmlformats.org/officeDocument/2006/relationships/tags" Target="../tags/tag364.xml"/><Relationship Id="rId14" Type="http://schemas.openxmlformats.org/officeDocument/2006/relationships/tags" Target="../tags/tag369.xml"/><Relationship Id="rId22" Type="http://schemas.openxmlformats.org/officeDocument/2006/relationships/image" Target="../media/image152.emf"/><Relationship Id="rId27" Type="http://schemas.openxmlformats.org/officeDocument/2006/relationships/oleObject" Target="../embeddings/oleObject30.bin"/></Relationships>
</file>

<file path=ppt/slides/_rels/slide2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375.xml"/><Relationship Id="rId7" Type="http://schemas.openxmlformats.org/officeDocument/2006/relationships/oleObject" Target="../embeddings/oleObject31.bin"/><Relationship Id="rId2" Type="http://schemas.openxmlformats.org/officeDocument/2006/relationships/tags" Target="../tags/tag374.xml"/><Relationship Id="rId1" Type="http://schemas.openxmlformats.org/officeDocument/2006/relationships/vmlDrawing" Target="../drawings/vmlDrawing28.vml"/><Relationship Id="rId6" Type="http://schemas.openxmlformats.org/officeDocument/2006/relationships/slideLayout" Target="../slideLayouts/slideLayout2.xml"/><Relationship Id="rId5" Type="http://schemas.openxmlformats.org/officeDocument/2006/relationships/tags" Target="../tags/tag377.xml"/><Relationship Id="rId4" Type="http://schemas.openxmlformats.org/officeDocument/2006/relationships/tags" Target="../tags/tag376.xml"/></Relationships>
</file>

<file path=ppt/slides/_rels/slide28.xml.rels><?xml version="1.0" encoding="UTF-8" standalone="yes"?>
<Relationships xmlns="http://schemas.openxmlformats.org/package/2006/relationships"><Relationship Id="rId8" Type="http://schemas.openxmlformats.org/officeDocument/2006/relationships/tags" Target="../tags/tag384.xml"/><Relationship Id="rId3" Type="http://schemas.openxmlformats.org/officeDocument/2006/relationships/tags" Target="../tags/tag379.xml"/><Relationship Id="rId7" Type="http://schemas.openxmlformats.org/officeDocument/2006/relationships/tags" Target="../tags/tag383.xml"/><Relationship Id="rId12" Type="http://schemas.openxmlformats.org/officeDocument/2006/relationships/image" Target="../media/image158.png"/><Relationship Id="rId2" Type="http://schemas.openxmlformats.org/officeDocument/2006/relationships/tags" Target="../tags/tag378.xml"/><Relationship Id="rId1" Type="http://schemas.openxmlformats.org/officeDocument/2006/relationships/vmlDrawing" Target="../drawings/vmlDrawing29.vml"/><Relationship Id="rId6" Type="http://schemas.openxmlformats.org/officeDocument/2006/relationships/tags" Target="../tags/tag382.xml"/><Relationship Id="rId11" Type="http://schemas.openxmlformats.org/officeDocument/2006/relationships/image" Target="../media/image7.emf"/><Relationship Id="rId5" Type="http://schemas.openxmlformats.org/officeDocument/2006/relationships/tags" Target="../tags/tag381.xml"/><Relationship Id="rId10" Type="http://schemas.openxmlformats.org/officeDocument/2006/relationships/oleObject" Target="../embeddings/oleObject32.bin"/><Relationship Id="rId4" Type="http://schemas.openxmlformats.org/officeDocument/2006/relationships/tags" Target="../tags/tag380.xml"/><Relationship Id="rId9"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5.xml"/><Relationship Id="rId1" Type="http://schemas.openxmlformats.org/officeDocument/2006/relationships/vmlDrawing" Target="../drawings/vmlDrawing30.vml"/><Relationship Id="rId5" Type="http://schemas.openxmlformats.org/officeDocument/2006/relationships/image" Target="../media/image7.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tags" Target="../tags/tag64.xml"/><Relationship Id="rId3" Type="http://schemas.openxmlformats.org/officeDocument/2006/relationships/tags" Target="../tags/tag49.xml"/><Relationship Id="rId21" Type="http://schemas.openxmlformats.org/officeDocument/2006/relationships/slideLayout" Target="../slideLayouts/slideLayout2.xm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tags" Target="../tags/tag66.xml"/><Relationship Id="rId1" Type="http://schemas.openxmlformats.org/officeDocument/2006/relationships/vmlDrawing" Target="../drawings/vmlDrawing6.vml"/><Relationship Id="rId6" Type="http://schemas.openxmlformats.org/officeDocument/2006/relationships/tags" Target="../tags/tag52.xml"/><Relationship Id="rId11" Type="http://schemas.openxmlformats.org/officeDocument/2006/relationships/tags" Target="../tags/tag57.xml"/><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image" Target="../media/image8.emf"/><Relationship Id="rId10" Type="http://schemas.openxmlformats.org/officeDocument/2006/relationships/tags" Target="../tags/tag56.xml"/><Relationship Id="rId19" Type="http://schemas.openxmlformats.org/officeDocument/2006/relationships/tags" Target="../tags/tag65.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6.xml"/><Relationship Id="rId1" Type="http://schemas.openxmlformats.org/officeDocument/2006/relationships/vmlDrawing" Target="../drawings/vmlDrawing31.vml"/><Relationship Id="rId6" Type="http://schemas.openxmlformats.org/officeDocument/2006/relationships/image" Target="../media/image7.emf"/><Relationship Id="rId5" Type="http://schemas.openxmlformats.org/officeDocument/2006/relationships/oleObject" Target="../embeddings/oleObject34.bin"/><Relationship Id="rId4" Type="http://schemas.openxmlformats.org/officeDocument/2006/relationships/notesSlide" Target="../notesSlides/notesSlide4.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7.xml"/><Relationship Id="rId1" Type="http://schemas.openxmlformats.org/officeDocument/2006/relationships/vmlDrawing" Target="../drawings/vmlDrawing32.vml"/><Relationship Id="rId6" Type="http://schemas.openxmlformats.org/officeDocument/2006/relationships/image" Target="../media/image7.emf"/><Relationship Id="rId5" Type="http://schemas.openxmlformats.org/officeDocument/2006/relationships/oleObject" Target="../embeddings/oleObject35.bin"/><Relationship Id="rId4" Type="http://schemas.openxmlformats.org/officeDocument/2006/relationships/notesSlide" Target="../notesSlides/notesSlide5.xml"/></Relationships>
</file>

<file path=ppt/slides/_rels/slide32.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slideLayout" Target="../slideLayouts/slideLayout2.xml"/><Relationship Id="rId1" Type="http://schemas.openxmlformats.org/officeDocument/2006/relationships/tags" Target="../tags/tag388.xml"/></Relationships>
</file>

<file path=ppt/slides/_rels/slide33.xml.rels><?xml version="1.0" encoding="UTF-8" standalone="yes"?>
<Relationships xmlns="http://schemas.openxmlformats.org/package/2006/relationships"><Relationship Id="rId3" Type="http://schemas.openxmlformats.org/officeDocument/2006/relationships/tags" Target="../tags/tag390.xml"/><Relationship Id="rId2" Type="http://schemas.openxmlformats.org/officeDocument/2006/relationships/tags" Target="../tags/tag389.xml"/><Relationship Id="rId1" Type="http://schemas.openxmlformats.org/officeDocument/2006/relationships/vmlDrawing" Target="../drawings/vmlDrawing33.vml"/><Relationship Id="rId6" Type="http://schemas.openxmlformats.org/officeDocument/2006/relationships/image" Target="../media/image7.emf"/><Relationship Id="rId5" Type="http://schemas.openxmlformats.org/officeDocument/2006/relationships/oleObject" Target="../embeddings/oleObject36.bin"/><Relationship Id="rId4"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image" Target="../media/image164.png"/><Relationship Id="rId18" Type="http://schemas.openxmlformats.org/officeDocument/2006/relationships/image" Target="../media/image169.png"/><Relationship Id="rId26" Type="http://schemas.openxmlformats.org/officeDocument/2006/relationships/image" Target="../media/image177.png"/><Relationship Id="rId3" Type="http://schemas.openxmlformats.org/officeDocument/2006/relationships/tags" Target="../tags/tag392.xml"/><Relationship Id="rId21" Type="http://schemas.openxmlformats.org/officeDocument/2006/relationships/image" Target="../media/image172.png"/><Relationship Id="rId34" Type="http://schemas.openxmlformats.org/officeDocument/2006/relationships/image" Target="../media/image184.png"/><Relationship Id="rId7" Type="http://schemas.openxmlformats.org/officeDocument/2006/relationships/image" Target="../media/image7.emf"/><Relationship Id="rId12" Type="http://schemas.openxmlformats.org/officeDocument/2006/relationships/image" Target="../media/image163.png"/><Relationship Id="rId17" Type="http://schemas.openxmlformats.org/officeDocument/2006/relationships/image" Target="../media/image168.png"/><Relationship Id="rId25" Type="http://schemas.openxmlformats.org/officeDocument/2006/relationships/image" Target="../media/image176.png"/><Relationship Id="rId33" Type="http://schemas.openxmlformats.org/officeDocument/2006/relationships/image" Target="../media/image183.jpeg"/><Relationship Id="rId38" Type="http://schemas.openxmlformats.org/officeDocument/2006/relationships/image" Target="../media/image188.png"/><Relationship Id="rId2" Type="http://schemas.openxmlformats.org/officeDocument/2006/relationships/tags" Target="../tags/tag391.xml"/><Relationship Id="rId16" Type="http://schemas.openxmlformats.org/officeDocument/2006/relationships/image" Target="../media/image167.jpeg"/><Relationship Id="rId20" Type="http://schemas.openxmlformats.org/officeDocument/2006/relationships/image" Target="../media/image171.png"/><Relationship Id="rId29" Type="http://schemas.openxmlformats.org/officeDocument/2006/relationships/image" Target="../media/image179.png"/><Relationship Id="rId1" Type="http://schemas.openxmlformats.org/officeDocument/2006/relationships/vmlDrawing" Target="../drawings/vmlDrawing34.vml"/><Relationship Id="rId6" Type="http://schemas.openxmlformats.org/officeDocument/2006/relationships/oleObject" Target="../embeddings/oleObject37.bin"/><Relationship Id="rId11" Type="http://schemas.openxmlformats.org/officeDocument/2006/relationships/image" Target="../media/image162.png"/><Relationship Id="rId24" Type="http://schemas.openxmlformats.org/officeDocument/2006/relationships/image" Target="../media/image175.jpeg"/><Relationship Id="rId32" Type="http://schemas.openxmlformats.org/officeDocument/2006/relationships/image" Target="../media/image182.png"/><Relationship Id="rId37" Type="http://schemas.openxmlformats.org/officeDocument/2006/relationships/image" Target="../media/image187.jpeg"/><Relationship Id="rId5" Type="http://schemas.openxmlformats.org/officeDocument/2006/relationships/notesSlide" Target="../notesSlides/notesSlide6.xml"/><Relationship Id="rId15" Type="http://schemas.openxmlformats.org/officeDocument/2006/relationships/image" Target="../media/image166.png"/><Relationship Id="rId23" Type="http://schemas.openxmlformats.org/officeDocument/2006/relationships/image" Target="../media/image174.jpeg"/><Relationship Id="rId28" Type="http://schemas.openxmlformats.org/officeDocument/2006/relationships/image" Target="../media/image178.png"/><Relationship Id="rId36" Type="http://schemas.openxmlformats.org/officeDocument/2006/relationships/image" Target="../media/image186.png"/><Relationship Id="rId10" Type="http://schemas.microsoft.com/office/2007/relationships/hdphoto" Target="../media/hdphoto17.wdp"/><Relationship Id="rId19" Type="http://schemas.openxmlformats.org/officeDocument/2006/relationships/image" Target="../media/image170.png"/><Relationship Id="rId31" Type="http://schemas.openxmlformats.org/officeDocument/2006/relationships/image" Target="../media/image181.png"/><Relationship Id="rId4" Type="http://schemas.openxmlformats.org/officeDocument/2006/relationships/slideLayout" Target="../slideLayouts/slideLayout2.xml"/><Relationship Id="rId9" Type="http://schemas.openxmlformats.org/officeDocument/2006/relationships/image" Target="../media/image161.png"/><Relationship Id="rId14" Type="http://schemas.openxmlformats.org/officeDocument/2006/relationships/image" Target="../media/image165.png"/><Relationship Id="rId22" Type="http://schemas.openxmlformats.org/officeDocument/2006/relationships/image" Target="../media/image173.png"/><Relationship Id="rId27" Type="http://schemas.microsoft.com/office/2007/relationships/hdphoto" Target="../media/hdphoto18.wdp"/><Relationship Id="rId30" Type="http://schemas.openxmlformats.org/officeDocument/2006/relationships/image" Target="../media/image180.png"/><Relationship Id="rId35" Type="http://schemas.openxmlformats.org/officeDocument/2006/relationships/image" Target="../media/image185.png"/></Relationships>
</file>

<file path=ppt/slides/_rels/slide35.xml.rels><?xml version="1.0" encoding="UTF-8" standalone="yes"?>
<Relationships xmlns="http://schemas.openxmlformats.org/package/2006/relationships"><Relationship Id="rId8" Type="http://schemas.openxmlformats.org/officeDocument/2006/relationships/image" Target="../media/image190.emf"/><Relationship Id="rId3" Type="http://schemas.openxmlformats.org/officeDocument/2006/relationships/tags" Target="../tags/tag394.xml"/><Relationship Id="rId7" Type="http://schemas.openxmlformats.org/officeDocument/2006/relationships/image" Target="../media/image189.emf"/><Relationship Id="rId12" Type="http://schemas.openxmlformats.org/officeDocument/2006/relationships/image" Target="../media/image194.jpeg"/><Relationship Id="rId2" Type="http://schemas.openxmlformats.org/officeDocument/2006/relationships/tags" Target="../tags/tag393.xml"/><Relationship Id="rId1" Type="http://schemas.openxmlformats.org/officeDocument/2006/relationships/vmlDrawing" Target="../drawings/vmlDrawing35.vml"/><Relationship Id="rId6" Type="http://schemas.openxmlformats.org/officeDocument/2006/relationships/oleObject" Target="../embeddings/oleObject38.bin"/><Relationship Id="rId11" Type="http://schemas.openxmlformats.org/officeDocument/2006/relationships/image" Target="../media/image193.gif"/><Relationship Id="rId5" Type="http://schemas.openxmlformats.org/officeDocument/2006/relationships/notesSlide" Target="../notesSlides/notesSlide7.xml"/><Relationship Id="rId10" Type="http://schemas.openxmlformats.org/officeDocument/2006/relationships/image" Target="../media/image192.jpeg"/><Relationship Id="rId4" Type="http://schemas.openxmlformats.org/officeDocument/2006/relationships/slideLayout" Target="../slideLayouts/slideLayout2.xml"/><Relationship Id="rId9" Type="http://schemas.openxmlformats.org/officeDocument/2006/relationships/image" Target="../media/image191.png"/></Relationships>
</file>

<file path=ppt/slides/_rels/slide36.xml.rels><?xml version="1.0" encoding="UTF-8" standalone="yes"?>
<Relationships xmlns="http://schemas.openxmlformats.org/package/2006/relationships"><Relationship Id="rId8" Type="http://schemas.openxmlformats.org/officeDocument/2006/relationships/tags" Target="../tags/tag401.xml"/><Relationship Id="rId13" Type="http://schemas.openxmlformats.org/officeDocument/2006/relationships/tags" Target="../tags/tag406.xml"/><Relationship Id="rId18" Type="http://schemas.openxmlformats.org/officeDocument/2006/relationships/tags" Target="../tags/tag411.xml"/><Relationship Id="rId26" Type="http://schemas.openxmlformats.org/officeDocument/2006/relationships/tags" Target="../tags/tag419.xml"/><Relationship Id="rId3" Type="http://schemas.openxmlformats.org/officeDocument/2006/relationships/tags" Target="../tags/tag396.xml"/><Relationship Id="rId21" Type="http://schemas.openxmlformats.org/officeDocument/2006/relationships/tags" Target="../tags/tag414.xml"/><Relationship Id="rId34" Type="http://schemas.openxmlformats.org/officeDocument/2006/relationships/oleObject" Target="../embeddings/oleObject40.bin"/><Relationship Id="rId7" Type="http://schemas.openxmlformats.org/officeDocument/2006/relationships/tags" Target="../tags/tag400.xml"/><Relationship Id="rId12" Type="http://schemas.openxmlformats.org/officeDocument/2006/relationships/tags" Target="../tags/tag405.xml"/><Relationship Id="rId17" Type="http://schemas.openxmlformats.org/officeDocument/2006/relationships/tags" Target="../tags/tag410.xml"/><Relationship Id="rId25" Type="http://schemas.openxmlformats.org/officeDocument/2006/relationships/tags" Target="../tags/tag418.xml"/><Relationship Id="rId33" Type="http://schemas.openxmlformats.org/officeDocument/2006/relationships/image" Target="../media/image8.emf"/><Relationship Id="rId2" Type="http://schemas.openxmlformats.org/officeDocument/2006/relationships/tags" Target="../tags/tag395.xml"/><Relationship Id="rId16" Type="http://schemas.openxmlformats.org/officeDocument/2006/relationships/tags" Target="../tags/tag409.xml"/><Relationship Id="rId20" Type="http://schemas.openxmlformats.org/officeDocument/2006/relationships/tags" Target="../tags/tag413.xml"/><Relationship Id="rId29" Type="http://schemas.openxmlformats.org/officeDocument/2006/relationships/tags" Target="../tags/tag422.xml"/><Relationship Id="rId1" Type="http://schemas.openxmlformats.org/officeDocument/2006/relationships/vmlDrawing" Target="../drawings/vmlDrawing36.vml"/><Relationship Id="rId6" Type="http://schemas.openxmlformats.org/officeDocument/2006/relationships/tags" Target="../tags/tag399.xml"/><Relationship Id="rId11" Type="http://schemas.openxmlformats.org/officeDocument/2006/relationships/tags" Target="../tags/tag404.xml"/><Relationship Id="rId24" Type="http://schemas.openxmlformats.org/officeDocument/2006/relationships/tags" Target="../tags/tag417.xml"/><Relationship Id="rId32" Type="http://schemas.openxmlformats.org/officeDocument/2006/relationships/oleObject" Target="../embeddings/oleObject39.bin"/><Relationship Id="rId37" Type="http://schemas.openxmlformats.org/officeDocument/2006/relationships/image" Target="../media/image196.emf"/><Relationship Id="rId5" Type="http://schemas.openxmlformats.org/officeDocument/2006/relationships/tags" Target="../tags/tag398.xml"/><Relationship Id="rId15" Type="http://schemas.openxmlformats.org/officeDocument/2006/relationships/tags" Target="../tags/tag408.xml"/><Relationship Id="rId23" Type="http://schemas.openxmlformats.org/officeDocument/2006/relationships/tags" Target="../tags/tag416.xml"/><Relationship Id="rId28" Type="http://schemas.openxmlformats.org/officeDocument/2006/relationships/tags" Target="../tags/tag421.xml"/><Relationship Id="rId36" Type="http://schemas.openxmlformats.org/officeDocument/2006/relationships/oleObject" Target="../embeddings/oleObject41.bin"/><Relationship Id="rId10" Type="http://schemas.openxmlformats.org/officeDocument/2006/relationships/tags" Target="../tags/tag403.xml"/><Relationship Id="rId19" Type="http://schemas.openxmlformats.org/officeDocument/2006/relationships/tags" Target="../tags/tag412.xml"/><Relationship Id="rId31" Type="http://schemas.openxmlformats.org/officeDocument/2006/relationships/slideLayout" Target="../slideLayouts/slideLayout2.xml"/><Relationship Id="rId4" Type="http://schemas.openxmlformats.org/officeDocument/2006/relationships/tags" Target="../tags/tag397.xml"/><Relationship Id="rId9" Type="http://schemas.openxmlformats.org/officeDocument/2006/relationships/tags" Target="../tags/tag402.xml"/><Relationship Id="rId14" Type="http://schemas.openxmlformats.org/officeDocument/2006/relationships/tags" Target="../tags/tag407.xml"/><Relationship Id="rId22" Type="http://schemas.openxmlformats.org/officeDocument/2006/relationships/tags" Target="../tags/tag415.xml"/><Relationship Id="rId27" Type="http://schemas.openxmlformats.org/officeDocument/2006/relationships/tags" Target="../tags/tag420.xml"/><Relationship Id="rId30" Type="http://schemas.openxmlformats.org/officeDocument/2006/relationships/tags" Target="../tags/tag423.xml"/><Relationship Id="rId35" Type="http://schemas.openxmlformats.org/officeDocument/2006/relationships/image" Target="../media/image195.emf"/></Relationships>
</file>

<file path=ppt/slides/_rels/slide37.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slide" Target="slide7.xml"/><Relationship Id="rId3" Type="http://schemas.openxmlformats.org/officeDocument/2006/relationships/tags" Target="../tags/tag425.xml"/><Relationship Id="rId7" Type="http://schemas.openxmlformats.org/officeDocument/2006/relationships/tags" Target="../tags/tag429.xml"/><Relationship Id="rId12" Type="http://schemas.openxmlformats.org/officeDocument/2006/relationships/image" Target="../media/image198.png"/><Relationship Id="rId2" Type="http://schemas.openxmlformats.org/officeDocument/2006/relationships/tags" Target="../tags/tag424.xml"/><Relationship Id="rId1" Type="http://schemas.openxmlformats.org/officeDocument/2006/relationships/vmlDrawing" Target="../drawings/vmlDrawing37.vml"/><Relationship Id="rId6" Type="http://schemas.openxmlformats.org/officeDocument/2006/relationships/tags" Target="../tags/tag428.xml"/><Relationship Id="rId11" Type="http://schemas.openxmlformats.org/officeDocument/2006/relationships/image" Target="../media/image197.emf"/><Relationship Id="rId5" Type="http://schemas.openxmlformats.org/officeDocument/2006/relationships/tags" Target="../tags/tag427.xml"/><Relationship Id="rId10" Type="http://schemas.openxmlformats.org/officeDocument/2006/relationships/oleObject" Target="../embeddings/oleObject42.bin"/><Relationship Id="rId4" Type="http://schemas.openxmlformats.org/officeDocument/2006/relationships/tags" Target="../tags/tag426.xml"/><Relationship Id="rId9" Type="http://schemas.openxmlformats.org/officeDocument/2006/relationships/notesSlide" Target="../notesSlides/notesSlide8.xml"/></Relationships>
</file>

<file path=ppt/slides/_rels/slide38.xml.rels><?xml version="1.0" encoding="UTF-8" standalone="yes"?>
<Relationships xmlns="http://schemas.openxmlformats.org/package/2006/relationships"><Relationship Id="rId8" Type="http://schemas.openxmlformats.org/officeDocument/2006/relationships/image" Target="../media/image201.jpeg"/><Relationship Id="rId3" Type="http://schemas.openxmlformats.org/officeDocument/2006/relationships/slideLayout" Target="../slideLayouts/slideLayout4.xml"/><Relationship Id="rId7" Type="http://schemas.openxmlformats.org/officeDocument/2006/relationships/image" Target="../media/image200.png"/><Relationship Id="rId2" Type="http://schemas.openxmlformats.org/officeDocument/2006/relationships/tags" Target="../tags/tag431.xml"/><Relationship Id="rId1" Type="http://schemas.openxmlformats.org/officeDocument/2006/relationships/vmlDrawing" Target="../drawings/vmlDrawing38.vml"/><Relationship Id="rId6" Type="http://schemas.openxmlformats.org/officeDocument/2006/relationships/image" Target="../media/image199.jpeg"/><Relationship Id="rId5" Type="http://schemas.openxmlformats.org/officeDocument/2006/relationships/image" Target="../media/image7.emf"/><Relationship Id="rId4" Type="http://schemas.openxmlformats.org/officeDocument/2006/relationships/oleObject" Target="../embeddings/oleObject43.bin"/></Relationships>
</file>

<file path=ppt/slides/_rels/slide39.xml.rels><?xml version="1.0" encoding="UTF-8" standalone="yes"?>
<Relationships xmlns="http://schemas.openxmlformats.org/package/2006/relationships"><Relationship Id="rId8" Type="http://schemas.openxmlformats.org/officeDocument/2006/relationships/image" Target="../media/image204.jpeg"/><Relationship Id="rId3" Type="http://schemas.openxmlformats.org/officeDocument/2006/relationships/slideLayout" Target="../slideLayouts/slideLayout4.xml"/><Relationship Id="rId7" Type="http://schemas.openxmlformats.org/officeDocument/2006/relationships/image" Target="../media/image203.jpeg"/><Relationship Id="rId2" Type="http://schemas.openxmlformats.org/officeDocument/2006/relationships/tags" Target="../tags/tag432.xml"/><Relationship Id="rId1" Type="http://schemas.openxmlformats.org/officeDocument/2006/relationships/vmlDrawing" Target="../drawings/vmlDrawing39.vml"/><Relationship Id="rId6" Type="http://schemas.openxmlformats.org/officeDocument/2006/relationships/image" Target="../media/image202.jpeg"/><Relationship Id="rId11" Type="http://schemas.openxmlformats.org/officeDocument/2006/relationships/image" Target="../media/image207.png"/><Relationship Id="rId5" Type="http://schemas.openxmlformats.org/officeDocument/2006/relationships/image" Target="../media/image7.emf"/><Relationship Id="rId10" Type="http://schemas.openxmlformats.org/officeDocument/2006/relationships/image" Target="../media/image206.jpeg"/><Relationship Id="rId4" Type="http://schemas.openxmlformats.org/officeDocument/2006/relationships/oleObject" Target="../embeddings/oleObject44.bin"/><Relationship Id="rId9" Type="http://schemas.openxmlformats.org/officeDocument/2006/relationships/image" Target="../media/image205.jpeg"/></Relationships>
</file>

<file path=ppt/slides/_rels/slide4.xml.rels><?xml version="1.0" encoding="UTF-8" standalone="yes"?>
<Relationships xmlns="http://schemas.openxmlformats.org/package/2006/relationships"><Relationship Id="rId117" Type="http://schemas.openxmlformats.org/officeDocument/2006/relationships/tags" Target="../tags/tag182.xml"/><Relationship Id="rId21" Type="http://schemas.openxmlformats.org/officeDocument/2006/relationships/tags" Target="../tags/tag86.xml"/><Relationship Id="rId42" Type="http://schemas.openxmlformats.org/officeDocument/2006/relationships/tags" Target="../tags/tag107.xml"/><Relationship Id="rId63" Type="http://schemas.openxmlformats.org/officeDocument/2006/relationships/tags" Target="../tags/tag128.xml"/><Relationship Id="rId84" Type="http://schemas.openxmlformats.org/officeDocument/2006/relationships/tags" Target="../tags/tag149.xml"/><Relationship Id="rId138" Type="http://schemas.openxmlformats.org/officeDocument/2006/relationships/tags" Target="../tags/tag203.xml"/><Relationship Id="rId159" Type="http://schemas.openxmlformats.org/officeDocument/2006/relationships/tags" Target="../tags/tag224.xml"/><Relationship Id="rId170" Type="http://schemas.openxmlformats.org/officeDocument/2006/relationships/tags" Target="../tags/tag235.xml"/><Relationship Id="rId191" Type="http://schemas.openxmlformats.org/officeDocument/2006/relationships/image" Target="../media/image16.png"/><Relationship Id="rId205" Type="http://schemas.openxmlformats.org/officeDocument/2006/relationships/image" Target="../media/image23.png"/><Relationship Id="rId107" Type="http://schemas.openxmlformats.org/officeDocument/2006/relationships/tags" Target="../tags/tag172.xml"/><Relationship Id="rId11" Type="http://schemas.openxmlformats.org/officeDocument/2006/relationships/tags" Target="../tags/tag76.xml"/><Relationship Id="rId32" Type="http://schemas.openxmlformats.org/officeDocument/2006/relationships/tags" Target="../tags/tag97.xml"/><Relationship Id="rId37" Type="http://schemas.openxmlformats.org/officeDocument/2006/relationships/tags" Target="../tags/tag102.xml"/><Relationship Id="rId53" Type="http://schemas.openxmlformats.org/officeDocument/2006/relationships/tags" Target="../tags/tag118.xml"/><Relationship Id="rId58" Type="http://schemas.openxmlformats.org/officeDocument/2006/relationships/tags" Target="../tags/tag123.xml"/><Relationship Id="rId74" Type="http://schemas.openxmlformats.org/officeDocument/2006/relationships/tags" Target="../tags/tag139.xml"/><Relationship Id="rId79" Type="http://schemas.openxmlformats.org/officeDocument/2006/relationships/tags" Target="../tags/tag144.xml"/><Relationship Id="rId102" Type="http://schemas.openxmlformats.org/officeDocument/2006/relationships/tags" Target="../tags/tag167.xml"/><Relationship Id="rId123" Type="http://schemas.openxmlformats.org/officeDocument/2006/relationships/tags" Target="../tags/tag188.xml"/><Relationship Id="rId128" Type="http://schemas.openxmlformats.org/officeDocument/2006/relationships/tags" Target="../tags/tag193.xml"/><Relationship Id="rId144" Type="http://schemas.openxmlformats.org/officeDocument/2006/relationships/tags" Target="../tags/tag209.xml"/><Relationship Id="rId149" Type="http://schemas.openxmlformats.org/officeDocument/2006/relationships/tags" Target="../tags/tag214.xml"/><Relationship Id="rId5" Type="http://schemas.openxmlformats.org/officeDocument/2006/relationships/tags" Target="../tags/tag70.xml"/><Relationship Id="rId90" Type="http://schemas.openxmlformats.org/officeDocument/2006/relationships/tags" Target="../tags/tag155.xml"/><Relationship Id="rId95" Type="http://schemas.openxmlformats.org/officeDocument/2006/relationships/tags" Target="../tags/tag160.xml"/><Relationship Id="rId160" Type="http://schemas.openxmlformats.org/officeDocument/2006/relationships/tags" Target="../tags/tag225.xml"/><Relationship Id="rId165" Type="http://schemas.openxmlformats.org/officeDocument/2006/relationships/tags" Target="../tags/tag230.xml"/><Relationship Id="rId181" Type="http://schemas.openxmlformats.org/officeDocument/2006/relationships/image" Target="../media/image9.emf"/><Relationship Id="rId186" Type="http://schemas.microsoft.com/office/2007/relationships/hdphoto" Target="../media/hdphoto2.wdp"/><Relationship Id="rId216" Type="http://schemas.microsoft.com/office/2007/relationships/hdphoto" Target="../media/hdphoto16.wdp"/><Relationship Id="rId211" Type="http://schemas.openxmlformats.org/officeDocument/2006/relationships/image" Target="../media/image26.png"/><Relationship Id="rId22" Type="http://schemas.openxmlformats.org/officeDocument/2006/relationships/tags" Target="../tags/tag87.xml"/><Relationship Id="rId27" Type="http://schemas.openxmlformats.org/officeDocument/2006/relationships/tags" Target="../tags/tag92.xml"/><Relationship Id="rId43" Type="http://schemas.openxmlformats.org/officeDocument/2006/relationships/tags" Target="../tags/tag108.xml"/><Relationship Id="rId48" Type="http://schemas.openxmlformats.org/officeDocument/2006/relationships/tags" Target="../tags/tag113.xml"/><Relationship Id="rId64" Type="http://schemas.openxmlformats.org/officeDocument/2006/relationships/tags" Target="../tags/tag129.xml"/><Relationship Id="rId69" Type="http://schemas.openxmlformats.org/officeDocument/2006/relationships/tags" Target="../tags/tag134.xml"/><Relationship Id="rId113" Type="http://schemas.openxmlformats.org/officeDocument/2006/relationships/tags" Target="../tags/tag178.xml"/><Relationship Id="rId118" Type="http://schemas.openxmlformats.org/officeDocument/2006/relationships/tags" Target="../tags/tag183.xml"/><Relationship Id="rId134" Type="http://schemas.openxmlformats.org/officeDocument/2006/relationships/tags" Target="../tags/tag199.xml"/><Relationship Id="rId139" Type="http://schemas.openxmlformats.org/officeDocument/2006/relationships/tags" Target="../tags/tag204.xml"/><Relationship Id="rId80" Type="http://schemas.openxmlformats.org/officeDocument/2006/relationships/tags" Target="../tags/tag145.xml"/><Relationship Id="rId85" Type="http://schemas.openxmlformats.org/officeDocument/2006/relationships/tags" Target="../tags/tag150.xml"/><Relationship Id="rId150" Type="http://schemas.openxmlformats.org/officeDocument/2006/relationships/tags" Target="../tags/tag215.xml"/><Relationship Id="rId155" Type="http://schemas.openxmlformats.org/officeDocument/2006/relationships/tags" Target="../tags/tag220.xml"/><Relationship Id="rId171" Type="http://schemas.openxmlformats.org/officeDocument/2006/relationships/tags" Target="../tags/tag236.xml"/><Relationship Id="rId176" Type="http://schemas.openxmlformats.org/officeDocument/2006/relationships/tags" Target="../tags/tag241.xml"/><Relationship Id="rId192" Type="http://schemas.microsoft.com/office/2007/relationships/hdphoto" Target="../media/hdphoto4.wdp"/><Relationship Id="rId197" Type="http://schemas.openxmlformats.org/officeDocument/2006/relationships/image" Target="../media/image19.png"/><Relationship Id="rId206" Type="http://schemas.microsoft.com/office/2007/relationships/hdphoto" Target="../media/hdphoto11.wdp"/><Relationship Id="rId201" Type="http://schemas.openxmlformats.org/officeDocument/2006/relationships/image" Target="../media/image21.png"/><Relationship Id="rId12" Type="http://schemas.openxmlformats.org/officeDocument/2006/relationships/tags" Target="../tags/tag77.xml"/><Relationship Id="rId17" Type="http://schemas.openxmlformats.org/officeDocument/2006/relationships/tags" Target="../tags/tag82.xml"/><Relationship Id="rId33" Type="http://schemas.openxmlformats.org/officeDocument/2006/relationships/tags" Target="../tags/tag98.xml"/><Relationship Id="rId38" Type="http://schemas.openxmlformats.org/officeDocument/2006/relationships/tags" Target="../tags/tag103.xml"/><Relationship Id="rId59" Type="http://schemas.openxmlformats.org/officeDocument/2006/relationships/tags" Target="../tags/tag124.xml"/><Relationship Id="rId103" Type="http://schemas.openxmlformats.org/officeDocument/2006/relationships/tags" Target="../tags/tag168.xml"/><Relationship Id="rId108" Type="http://schemas.openxmlformats.org/officeDocument/2006/relationships/tags" Target="../tags/tag173.xml"/><Relationship Id="rId124" Type="http://schemas.openxmlformats.org/officeDocument/2006/relationships/tags" Target="../tags/tag189.xml"/><Relationship Id="rId129" Type="http://schemas.openxmlformats.org/officeDocument/2006/relationships/tags" Target="../tags/tag194.xml"/><Relationship Id="rId54" Type="http://schemas.openxmlformats.org/officeDocument/2006/relationships/tags" Target="../tags/tag119.xml"/><Relationship Id="rId70" Type="http://schemas.openxmlformats.org/officeDocument/2006/relationships/tags" Target="../tags/tag135.xml"/><Relationship Id="rId75" Type="http://schemas.openxmlformats.org/officeDocument/2006/relationships/tags" Target="../tags/tag140.xml"/><Relationship Id="rId91" Type="http://schemas.openxmlformats.org/officeDocument/2006/relationships/tags" Target="../tags/tag156.xml"/><Relationship Id="rId96" Type="http://schemas.openxmlformats.org/officeDocument/2006/relationships/tags" Target="../tags/tag161.xml"/><Relationship Id="rId140" Type="http://schemas.openxmlformats.org/officeDocument/2006/relationships/tags" Target="../tags/tag205.xml"/><Relationship Id="rId145" Type="http://schemas.openxmlformats.org/officeDocument/2006/relationships/tags" Target="../tags/tag210.xml"/><Relationship Id="rId161" Type="http://schemas.openxmlformats.org/officeDocument/2006/relationships/tags" Target="../tags/tag226.xml"/><Relationship Id="rId166" Type="http://schemas.openxmlformats.org/officeDocument/2006/relationships/tags" Target="../tags/tag231.xml"/><Relationship Id="rId182" Type="http://schemas.openxmlformats.org/officeDocument/2006/relationships/image" Target="../media/image10.png"/><Relationship Id="rId187" Type="http://schemas.openxmlformats.org/officeDocument/2006/relationships/image" Target="../media/image13.png"/><Relationship Id="rId1" Type="http://schemas.openxmlformats.org/officeDocument/2006/relationships/vmlDrawing" Target="../drawings/vmlDrawing7.vml"/><Relationship Id="rId6" Type="http://schemas.openxmlformats.org/officeDocument/2006/relationships/tags" Target="../tags/tag71.xml"/><Relationship Id="rId212" Type="http://schemas.microsoft.com/office/2007/relationships/hdphoto" Target="../media/hdphoto14.wdp"/><Relationship Id="rId23" Type="http://schemas.openxmlformats.org/officeDocument/2006/relationships/tags" Target="../tags/tag88.xml"/><Relationship Id="rId28" Type="http://schemas.openxmlformats.org/officeDocument/2006/relationships/tags" Target="../tags/tag93.xml"/><Relationship Id="rId49" Type="http://schemas.openxmlformats.org/officeDocument/2006/relationships/tags" Target="../tags/tag114.xml"/><Relationship Id="rId114" Type="http://schemas.openxmlformats.org/officeDocument/2006/relationships/tags" Target="../tags/tag179.xml"/><Relationship Id="rId119" Type="http://schemas.openxmlformats.org/officeDocument/2006/relationships/tags" Target="../tags/tag184.xml"/><Relationship Id="rId44" Type="http://schemas.openxmlformats.org/officeDocument/2006/relationships/tags" Target="../tags/tag109.xml"/><Relationship Id="rId60" Type="http://schemas.openxmlformats.org/officeDocument/2006/relationships/tags" Target="../tags/tag125.xml"/><Relationship Id="rId65" Type="http://schemas.openxmlformats.org/officeDocument/2006/relationships/tags" Target="../tags/tag130.xml"/><Relationship Id="rId81" Type="http://schemas.openxmlformats.org/officeDocument/2006/relationships/tags" Target="../tags/tag146.xml"/><Relationship Id="rId86" Type="http://schemas.openxmlformats.org/officeDocument/2006/relationships/tags" Target="../tags/tag151.xml"/><Relationship Id="rId130" Type="http://schemas.openxmlformats.org/officeDocument/2006/relationships/tags" Target="../tags/tag195.xml"/><Relationship Id="rId135" Type="http://schemas.openxmlformats.org/officeDocument/2006/relationships/tags" Target="../tags/tag200.xml"/><Relationship Id="rId151" Type="http://schemas.openxmlformats.org/officeDocument/2006/relationships/tags" Target="../tags/tag216.xml"/><Relationship Id="rId156" Type="http://schemas.openxmlformats.org/officeDocument/2006/relationships/tags" Target="../tags/tag221.xml"/><Relationship Id="rId177" Type="http://schemas.openxmlformats.org/officeDocument/2006/relationships/tags" Target="../tags/tag242.xml"/><Relationship Id="rId198" Type="http://schemas.microsoft.com/office/2007/relationships/hdphoto" Target="../media/hdphoto7.wdp"/><Relationship Id="rId172" Type="http://schemas.openxmlformats.org/officeDocument/2006/relationships/tags" Target="../tags/tag237.xml"/><Relationship Id="rId193" Type="http://schemas.openxmlformats.org/officeDocument/2006/relationships/image" Target="../media/image17.png"/><Relationship Id="rId202" Type="http://schemas.microsoft.com/office/2007/relationships/hdphoto" Target="../media/hdphoto9.wdp"/><Relationship Id="rId207" Type="http://schemas.openxmlformats.org/officeDocument/2006/relationships/image" Target="../media/image24.png"/><Relationship Id="rId13" Type="http://schemas.openxmlformats.org/officeDocument/2006/relationships/tags" Target="../tags/tag78.xml"/><Relationship Id="rId18" Type="http://schemas.openxmlformats.org/officeDocument/2006/relationships/tags" Target="../tags/tag83.xml"/><Relationship Id="rId39" Type="http://schemas.openxmlformats.org/officeDocument/2006/relationships/tags" Target="../tags/tag104.xml"/><Relationship Id="rId109" Type="http://schemas.openxmlformats.org/officeDocument/2006/relationships/tags" Target="../tags/tag174.xml"/><Relationship Id="rId34" Type="http://schemas.openxmlformats.org/officeDocument/2006/relationships/tags" Target="../tags/tag99.xml"/><Relationship Id="rId50" Type="http://schemas.openxmlformats.org/officeDocument/2006/relationships/tags" Target="../tags/tag115.xml"/><Relationship Id="rId55" Type="http://schemas.openxmlformats.org/officeDocument/2006/relationships/tags" Target="../tags/tag120.xml"/><Relationship Id="rId76" Type="http://schemas.openxmlformats.org/officeDocument/2006/relationships/tags" Target="../tags/tag141.xml"/><Relationship Id="rId97" Type="http://schemas.openxmlformats.org/officeDocument/2006/relationships/tags" Target="../tags/tag162.xml"/><Relationship Id="rId104" Type="http://schemas.openxmlformats.org/officeDocument/2006/relationships/tags" Target="../tags/tag169.xml"/><Relationship Id="rId120" Type="http://schemas.openxmlformats.org/officeDocument/2006/relationships/tags" Target="../tags/tag185.xml"/><Relationship Id="rId125" Type="http://schemas.openxmlformats.org/officeDocument/2006/relationships/tags" Target="../tags/tag190.xml"/><Relationship Id="rId141" Type="http://schemas.openxmlformats.org/officeDocument/2006/relationships/tags" Target="../tags/tag206.xml"/><Relationship Id="rId146" Type="http://schemas.openxmlformats.org/officeDocument/2006/relationships/tags" Target="../tags/tag211.xml"/><Relationship Id="rId167" Type="http://schemas.openxmlformats.org/officeDocument/2006/relationships/tags" Target="../tags/tag232.xml"/><Relationship Id="rId188" Type="http://schemas.openxmlformats.org/officeDocument/2006/relationships/image" Target="../media/image14.png"/><Relationship Id="rId7" Type="http://schemas.openxmlformats.org/officeDocument/2006/relationships/tags" Target="../tags/tag72.xml"/><Relationship Id="rId71" Type="http://schemas.openxmlformats.org/officeDocument/2006/relationships/tags" Target="../tags/tag136.xml"/><Relationship Id="rId92" Type="http://schemas.openxmlformats.org/officeDocument/2006/relationships/tags" Target="../tags/tag157.xml"/><Relationship Id="rId162" Type="http://schemas.openxmlformats.org/officeDocument/2006/relationships/tags" Target="../tags/tag227.xml"/><Relationship Id="rId183" Type="http://schemas.microsoft.com/office/2007/relationships/hdphoto" Target="../media/hdphoto1.wdp"/><Relationship Id="rId213" Type="http://schemas.openxmlformats.org/officeDocument/2006/relationships/image" Target="../media/image27.png"/><Relationship Id="rId2" Type="http://schemas.openxmlformats.org/officeDocument/2006/relationships/tags" Target="../tags/tag67.xml"/><Relationship Id="rId29" Type="http://schemas.openxmlformats.org/officeDocument/2006/relationships/tags" Target="../tags/tag94.xml"/><Relationship Id="rId24" Type="http://schemas.openxmlformats.org/officeDocument/2006/relationships/tags" Target="../tags/tag89.xml"/><Relationship Id="rId40" Type="http://schemas.openxmlformats.org/officeDocument/2006/relationships/tags" Target="../tags/tag105.xml"/><Relationship Id="rId45" Type="http://schemas.openxmlformats.org/officeDocument/2006/relationships/tags" Target="../tags/tag110.xml"/><Relationship Id="rId66" Type="http://schemas.openxmlformats.org/officeDocument/2006/relationships/tags" Target="../tags/tag131.xml"/><Relationship Id="rId87" Type="http://schemas.openxmlformats.org/officeDocument/2006/relationships/tags" Target="../tags/tag152.xml"/><Relationship Id="rId110" Type="http://schemas.openxmlformats.org/officeDocument/2006/relationships/tags" Target="../tags/tag175.xml"/><Relationship Id="rId115" Type="http://schemas.openxmlformats.org/officeDocument/2006/relationships/tags" Target="../tags/tag180.xml"/><Relationship Id="rId131" Type="http://schemas.openxmlformats.org/officeDocument/2006/relationships/tags" Target="../tags/tag196.xml"/><Relationship Id="rId136" Type="http://schemas.openxmlformats.org/officeDocument/2006/relationships/tags" Target="../tags/tag201.xml"/><Relationship Id="rId157" Type="http://schemas.openxmlformats.org/officeDocument/2006/relationships/tags" Target="../tags/tag222.xml"/><Relationship Id="rId178" Type="http://schemas.openxmlformats.org/officeDocument/2006/relationships/tags" Target="../tags/tag243.xml"/><Relationship Id="rId61" Type="http://schemas.openxmlformats.org/officeDocument/2006/relationships/tags" Target="../tags/tag126.xml"/><Relationship Id="rId82" Type="http://schemas.openxmlformats.org/officeDocument/2006/relationships/tags" Target="../tags/tag147.xml"/><Relationship Id="rId152" Type="http://schemas.openxmlformats.org/officeDocument/2006/relationships/tags" Target="../tags/tag217.xml"/><Relationship Id="rId173" Type="http://schemas.openxmlformats.org/officeDocument/2006/relationships/tags" Target="../tags/tag238.xml"/><Relationship Id="rId194" Type="http://schemas.microsoft.com/office/2007/relationships/hdphoto" Target="../media/hdphoto5.wdp"/><Relationship Id="rId199" Type="http://schemas.openxmlformats.org/officeDocument/2006/relationships/image" Target="../media/image20.png"/><Relationship Id="rId203" Type="http://schemas.openxmlformats.org/officeDocument/2006/relationships/image" Target="../media/image22.png"/><Relationship Id="rId208" Type="http://schemas.microsoft.com/office/2007/relationships/hdphoto" Target="../media/hdphoto12.wdp"/><Relationship Id="rId19" Type="http://schemas.openxmlformats.org/officeDocument/2006/relationships/tags" Target="../tags/tag84.xml"/><Relationship Id="rId14" Type="http://schemas.openxmlformats.org/officeDocument/2006/relationships/tags" Target="../tags/tag79.xml"/><Relationship Id="rId30" Type="http://schemas.openxmlformats.org/officeDocument/2006/relationships/tags" Target="../tags/tag95.xml"/><Relationship Id="rId35" Type="http://schemas.openxmlformats.org/officeDocument/2006/relationships/tags" Target="../tags/tag100.xml"/><Relationship Id="rId56" Type="http://schemas.openxmlformats.org/officeDocument/2006/relationships/tags" Target="../tags/tag121.xml"/><Relationship Id="rId77" Type="http://schemas.openxmlformats.org/officeDocument/2006/relationships/tags" Target="../tags/tag142.xml"/><Relationship Id="rId100" Type="http://schemas.openxmlformats.org/officeDocument/2006/relationships/tags" Target="../tags/tag165.xml"/><Relationship Id="rId105" Type="http://schemas.openxmlformats.org/officeDocument/2006/relationships/tags" Target="../tags/tag170.xml"/><Relationship Id="rId126" Type="http://schemas.openxmlformats.org/officeDocument/2006/relationships/tags" Target="../tags/tag191.xml"/><Relationship Id="rId147" Type="http://schemas.openxmlformats.org/officeDocument/2006/relationships/tags" Target="../tags/tag212.xml"/><Relationship Id="rId168" Type="http://schemas.openxmlformats.org/officeDocument/2006/relationships/tags" Target="../tags/tag233.xml"/><Relationship Id="rId8" Type="http://schemas.openxmlformats.org/officeDocument/2006/relationships/tags" Target="../tags/tag73.xml"/><Relationship Id="rId51" Type="http://schemas.openxmlformats.org/officeDocument/2006/relationships/tags" Target="../tags/tag116.xml"/><Relationship Id="rId72" Type="http://schemas.openxmlformats.org/officeDocument/2006/relationships/tags" Target="../tags/tag137.xml"/><Relationship Id="rId93" Type="http://schemas.openxmlformats.org/officeDocument/2006/relationships/tags" Target="../tags/tag158.xml"/><Relationship Id="rId98" Type="http://schemas.openxmlformats.org/officeDocument/2006/relationships/tags" Target="../tags/tag163.xml"/><Relationship Id="rId121" Type="http://schemas.openxmlformats.org/officeDocument/2006/relationships/tags" Target="../tags/tag186.xml"/><Relationship Id="rId142" Type="http://schemas.openxmlformats.org/officeDocument/2006/relationships/tags" Target="../tags/tag207.xml"/><Relationship Id="rId163" Type="http://schemas.openxmlformats.org/officeDocument/2006/relationships/tags" Target="../tags/tag228.xml"/><Relationship Id="rId184" Type="http://schemas.openxmlformats.org/officeDocument/2006/relationships/image" Target="../media/image11.png"/><Relationship Id="rId189" Type="http://schemas.openxmlformats.org/officeDocument/2006/relationships/image" Target="../media/image15.png"/><Relationship Id="rId3" Type="http://schemas.openxmlformats.org/officeDocument/2006/relationships/tags" Target="../tags/tag68.xml"/><Relationship Id="rId214" Type="http://schemas.microsoft.com/office/2007/relationships/hdphoto" Target="../media/hdphoto15.wdp"/><Relationship Id="rId25" Type="http://schemas.openxmlformats.org/officeDocument/2006/relationships/tags" Target="../tags/tag90.xml"/><Relationship Id="rId46" Type="http://schemas.openxmlformats.org/officeDocument/2006/relationships/tags" Target="../tags/tag111.xml"/><Relationship Id="rId67" Type="http://schemas.openxmlformats.org/officeDocument/2006/relationships/tags" Target="../tags/tag132.xml"/><Relationship Id="rId116" Type="http://schemas.openxmlformats.org/officeDocument/2006/relationships/tags" Target="../tags/tag181.xml"/><Relationship Id="rId137" Type="http://schemas.openxmlformats.org/officeDocument/2006/relationships/tags" Target="../tags/tag202.xml"/><Relationship Id="rId158" Type="http://schemas.openxmlformats.org/officeDocument/2006/relationships/tags" Target="../tags/tag223.xml"/><Relationship Id="rId20" Type="http://schemas.openxmlformats.org/officeDocument/2006/relationships/tags" Target="../tags/tag85.xml"/><Relationship Id="rId41" Type="http://schemas.openxmlformats.org/officeDocument/2006/relationships/tags" Target="../tags/tag106.xml"/><Relationship Id="rId62" Type="http://schemas.openxmlformats.org/officeDocument/2006/relationships/tags" Target="../tags/tag127.xml"/><Relationship Id="rId83" Type="http://schemas.openxmlformats.org/officeDocument/2006/relationships/tags" Target="../tags/tag148.xml"/><Relationship Id="rId88" Type="http://schemas.openxmlformats.org/officeDocument/2006/relationships/tags" Target="../tags/tag153.xml"/><Relationship Id="rId111" Type="http://schemas.openxmlformats.org/officeDocument/2006/relationships/tags" Target="../tags/tag176.xml"/><Relationship Id="rId132" Type="http://schemas.openxmlformats.org/officeDocument/2006/relationships/tags" Target="../tags/tag197.xml"/><Relationship Id="rId153" Type="http://schemas.openxmlformats.org/officeDocument/2006/relationships/tags" Target="../tags/tag218.xml"/><Relationship Id="rId174" Type="http://schemas.openxmlformats.org/officeDocument/2006/relationships/tags" Target="../tags/tag239.xml"/><Relationship Id="rId179" Type="http://schemas.openxmlformats.org/officeDocument/2006/relationships/slideLayout" Target="../slideLayouts/slideLayout2.xml"/><Relationship Id="rId195" Type="http://schemas.openxmlformats.org/officeDocument/2006/relationships/image" Target="../media/image18.png"/><Relationship Id="rId209" Type="http://schemas.openxmlformats.org/officeDocument/2006/relationships/image" Target="../media/image25.png"/><Relationship Id="rId190" Type="http://schemas.microsoft.com/office/2007/relationships/hdphoto" Target="../media/hdphoto3.wdp"/><Relationship Id="rId204" Type="http://schemas.microsoft.com/office/2007/relationships/hdphoto" Target="../media/hdphoto10.wdp"/><Relationship Id="rId15" Type="http://schemas.openxmlformats.org/officeDocument/2006/relationships/tags" Target="../tags/tag80.xml"/><Relationship Id="rId36" Type="http://schemas.openxmlformats.org/officeDocument/2006/relationships/tags" Target="../tags/tag101.xml"/><Relationship Id="rId57" Type="http://schemas.openxmlformats.org/officeDocument/2006/relationships/tags" Target="../tags/tag122.xml"/><Relationship Id="rId106" Type="http://schemas.openxmlformats.org/officeDocument/2006/relationships/tags" Target="../tags/tag171.xml"/><Relationship Id="rId127" Type="http://schemas.openxmlformats.org/officeDocument/2006/relationships/tags" Target="../tags/tag192.xml"/><Relationship Id="rId10" Type="http://schemas.openxmlformats.org/officeDocument/2006/relationships/tags" Target="../tags/tag75.xml"/><Relationship Id="rId31" Type="http://schemas.openxmlformats.org/officeDocument/2006/relationships/tags" Target="../tags/tag96.xml"/><Relationship Id="rId52" Type="http://schemas.openxmlformats.org/officeDocument/2006/relationships/tags" Target="../tags/tag117.xml"/><Relationship Id="rId73" Type="http://schemas.openxmlformats.org/officeDocument/2006/relationships/tags" Target="../tags/tag138.xml"/><Relationship Id="rId78" Type="http://schemas.openxmlformats.org/officeDocument/2006/relationships/tags" Target="../tags/tag143.xml"/><Relationship Id="rId94" Type="http://schemas.openxmlformats.org/officeDocument/2006/relationships/tags" Target="../tags/tag159.xml"/><Relationship Id="rId99" Type="http://schemas.openxmlformats.org/officeDocument/2006/relationships/tags" Target="../tags/tag164.xml"/><Relationship Id="rId101" Type="http://schemas.openxmlformats.org/officeDocument/2006/relationships/tags" Target="../tags/tag166.xml"/><Relationship Id="rId122" Type="http://schemas.openxmlformats.org/officeDocument/2006/relationships/tags" Target="../tags/tag187.xml"/><Relationship Id="rId143" Type="http://schemas.openxmlformats.org/officeDocument/2006/relationships/tags" Target="../tags/tag208.xml"/><Relationship Id="rId148" Type="http://schemas.openxmlformats.org/officeDocument/2006/relationships/tags" Target="../tags/tag213.xml"/><Relationship Id="rId164" Type="http://schemas.openxmlformats.org/officeDocument/2006/relationships/tags" Target="../tags/tag229.xml"/><Relationship Id="rId169" Type="http://schemas.openxmlformats.org/officeDocument/2006/relationships/tags" Target="../tags/tag234.xml"/><Relationship Id="rId185" Type="http://schemas.openxmlformats.org/officeDocument/2006/relationships/image" Target="../media/image12.png"/><Relationship Id="rId4" Type="http://schemas.openxmlformats.org/officeDocument/2006/relationships/tags" Target="../tags/tag69.xml"/><Relationship Id="rId9" Type="http://schemas.openxmlformats.org/officeDocument/2006/relationships/tags" Target="../tags/tag74.xml"/><Relationship Id="rId180" Type="http://schemas.openxmlformats.org/officeDocument/2006/relationships/oleObject" Target="../embeddings/oleObject7.bin"/><Relationship Id="rId210" Type="http://schemas.microsoft.com/office/2007/relationships/hdphoto" Target="../media/hdphoto13.wdp"/><Relationship Id="rId215" Type="http://schemas.openxmlformats.org/officeDocument/2006/relationships/image" Target="../media/image28.png"/><Relationship Id="rId26" Type="http://schemas.openxmlformats.org/officeDocument/2006/relationships/tags" Target="../tags/tag91.xml"/><Relationship Id="rId47" Type="http://schemas.openxmlformats.org/officeDocument/2006/relationships/tags" Target="../tags/tag112.xml"/><Relationship Id="rId68" Type="http://schemas.openxmlformats.org/officeDocument/2006/relationships/tags" Target="../tags/tag133.xml"/><Relationship Id="rId89" Type="http://schemas.openxmlformats.org/officeDocument/2006/relationships/tags" Target="../tags/tag154.xml"/><Relationship Id="rId112" Type="http://schemas.openxmlformats.org/officeDocument/2006/relationships/tags" Target="../tags/tag177.xml"/><Relationship Id="rId133" Type="http://schemas.openxmlformats.org/officeDocument/2006/relationships/tags" Target="../tags/tag198.xml"/><Relationship Id="rId154" Type="http://schemas.openxmlformats.org/officeDocument/2006/relationships/tags" Target="../tags/tag219.xml"/><Relationship Id="rId175" Type="http://schemas.openxmlformats.org/officeDocument/2006/relationships/tags" Target="../tags/tag240.xml"/><Relationship Id="rId196" Type="http://schemas.microsoft.com/office/2007/relationships/hdphoto" Target="../media/hdphoto6.wdp"/><Relationship Id="rId200" Type="http://schemas.microsoft.com/office/2007/relationships/hdphoto" Target="../media/hdphoto8.wdp"/><Relationship Id="rId16" Type="http://schemas.openxmlformats.org/officeDocument/2006/relationships/tags" Target="../tags/tag81.xml"/></Relationships>
</file>

<file path=ppt/slides/_rels/slide40.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09.png"/><Relationship Id="rId7" Type="http://schemas.openxmlformats.org/officeDocument/2006/relationships/image" Target="../media/image213.png"/><Relationship Id="rId2" Type="http://schemas.openxmlformats.org/officeDocument/2006/relationships/image" Target="../media/image208.png"/><Relationship Id="rId1" Type="http://schemas.openxmlformats.org/officeDocument/2006/relationships/slideLayout" Target="../slideLayouts/slideLayout4.xml"/><Relationship Id="rId6" Type="http://schemas.openxmlformats.org/officeDocument/2006/relationships/image" Target="../media/image212.png"/><Relationship Id="rId11" Type="http://schemas.openxmlformats.org/officeDocument/2006/relationships/image" Target="../media/image217.jpg"/><Relationship Id="rId5" Type="http://schemas.openxmlformats.org/officeDocument/2006/relationships/image" Target="../media/image211.png"/><Relationship Id="rId10" Type="http://schemas.openxmlformats.org/officeDocument/2006/relationships/image" Target="../media/image216.png"/><Relationship Id="rId4" Type="http://schemas.openxmlformats.org/officeDocument/2006/relationships/image" Target="../media/image210.png"/><Relationship Id="rId9" Type="http://schemas.openxmlformats.org/officeDocument/2006/relationships/image" Target="../media/image215.jpeg"/></Relationships>
</file>

<file path=ppt/slides/_rels/slide41.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hyperlink" Target="https://biodiversityeconomy.environment.gov.za/#/login"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3" Type="http://schemas.openxmlformats.org/officeDocument/2006/relationships/image" Target="../media/image36.png"/><Relationship Id="rId18" Type="http://schemas.openxmlformats.org/officeDocument/2006/relationships/image" Target="../media/image41.png"/><Relationship Id="rId26" Type="http://schemas.openxmlformats.org/officeDocument/2006/relationships/image" Target="../media/image49.png"/><Relationship Id="rId39" Type="http://schemas.openxmlformats.org/officeDocument/2006/relationships/image" Target="../media/image62.png"/><Relationship Id="rId21" Type="http://schemas.openxmlformats.org/officeDocument/2006/relationships/image" Target="../media/image44.jpeg"/><Relationship Id="rId34" Type="http://schemas.openxmlformats.org/officeDocument/2006/relationships/image" Target="../media/image57.jpeg"/><Relationship Id="rId42" Type="http://schemas.openxmlformats.org/officeDocument/2006/relationships/image" Target="../media/image65.png"/><Relationship Id="rId47" Type="http://schemas.openxmlformats.org/officeDocument/2006/relationships/image" Target="../media/image70.png"/><Relationship Id="rId50" Type="http://schemas.openxmlformats.org/officeDocument/2006/relationships/image" Target="../media/image73.jpeg"/><Relationship Id="rId55" Type="http://schemas.openxmlformats.org/officeDocument/2006/relationships/image" Target="../media/image78.png"/><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5" Type="http://schemas.openxmlformats.org/officeDocument/2006/relationships/image" Target="../media/image48.png"/><Relationship Id="rId33" Type="http://schemas.openxmlformats.org/officeDocument/2006/relationships/image" Target="../media/image56.png"/><Relationship Id="rId38" Type="http://schemas.openxmlformats.org/officeDocument/2006/relationships/image" Target="../media/image61.png"/><Relationship Id="rId46" Type="http://schemas.openxmlformats.org/officeDocument/2006/relationships/image" Target="../media/image69.png"/><Relationship Id="rId2" Type="http://schemas.openxmlformats.org/officeDocument/2006/relationships/tags" Target="../tags/tag244.xml"/><Relationship Id="rId16" Type="http://schemas.openxmlformats.org/officeDocument/2006/relationships/image" Target="../media/image39.png"/><Relationship Id="rId20" Type="http://schemas.openxmlformats.org/officeDocument/2006/relationships/image" Target="../media/image43.jpeg"/><Relationship Id="rId29" Type="http://schemas.openxmlformats.org/officeDocument/2006/relationships/image" Target="../media/image52.jpeg"/><Relationship Id="rId41" Type="http://schemas.openxmlformats.org/officeDocument/2006/relationships/image" Target="../media/image64.png"/><Relationship Id="rId54" Type="http://schemas.openxmlformats.org/officeDocument/2006/relationships/image" Target="../media/image77.png"/><Relationship Id="rId1" Type="http://schemas.openxmlformats.org/officeDocument/2006/relationships/vmlDrawing" Target="../drawings/vmlDrawing8.vml"/><Relationship Id="rId6" Type="http://schemas.openxmlformats.org/officeDocument/2006/relationships/image" Target="../media/image29.jpeg"/><Relationship Id="rId11" Type="http://schemas.openxmlformats.org/officeDocument/2006/relationships/image" Target="../media/image34.png"/><Relationship Id="rId24" Type="http://schemas.openxmlformats.org/officeDocument/2006/relationships/image" Target="../media/image47.png"/><Relationship Id="rId32" Type="http://schemas.openxmlformats.org/officeDocument/2006/relationships/image" Target="../media/image55.jpeg"/><Relationship Id="rId37" Type="http://schemas.openxmlformats.org/officeDocument/2006/relationships/image" Target="../media/image60.png"/><Relationship Id="rId40" Type="http://schemas.openxmlformats.org/officeDocument/2006/relationships/image" Target="../media/image63.png"/><Relationship Id="rId45" Type="http://schemas.openxmlformats.org/officeDocument/2006/relationships/image" Target="../media/image68.png"/><Relationship Id="rId53" Type="http://schemas.openxmlformats.org/officeDocument/2006/relationships/image" Target="../media/image76.png"/><Relationship Id="rId5" Type="http://schemas.openxmlformats.org/officeDocument/2006/relationships/image" Target="../media/image8.emf"/><Relationship Id="rId15" Type="http://schemas.openxmlformats.org/officeDocument/2006/relationships/image" Target="../media/image38.png"/><Relationship Id="rId23" Type="http://schemas.openxmlformats.org/officeDocument/2006/relationships/image" Target="../media/image46.png"/><Relationship Id="rId28" Type="http://schemas.openxmlformats.org/officeDocument/2006/relationships/image" Target="../media/image51.png"/><Relationship Id="rId36" Type="http://schemas.openxmlformats.org/officeDocument/2006/relationships/image" Target="../media/image59.png"/><Relationship Id="rId49" Type="http://schemas.openxmlformats.org/officeDocument/2006/relationships/image" Target="../media/image72.png"/><Relationship Id="rId10" Type="http://schemas.openxmlformats.org/officeDocument/2006/relationships/image" Target="../media/image33.png"/><Relationship Id="rId19" Type="http://schemas.openxmlformats.org/officeDocument/2006/relationships/image" Target="../media/image42.jpeg"/><Relationship Id="rId31" Type="http://schemas.openxmlformats.org/officeDocument/2006/relationships/image" Target="../media/image54.png"/><Relationship Id="rId44" Type="http://schemas.openxmlformats.org/officeDocument/2006/relationships/image" Target="../media/image67.png"/><Relationship Id="rId52" Type="http://schemas.openxmlformats.org/officeDocument/2006/relationships/image" Target="../media/image75.png"/><Relationship Id="rId4" Type="http://schemas.openxmlformats.org/officeDocument/2006/relationships/oleObject" Target="../embeddings/oleObject8.bin"/><Relationship Id="rId9" Type="http://schemas.openxmlformats.org/officeDocument/2006/relationships/image" Target="../media/image32.png"/><Relationship Id="rId14" Type="http://schemas.openxmlformats.org/officeDocument/2006/relationships/image" Target="../media/image37.png"/><Relationship Id="rId22" Type="http://schemas.openxmlformats.org/officeDocument/2006/relationships/image" Target="../media/image45.png"/><Relationship Id="rId27" Type="http://schemas.openxmlformats.org/officeDocument/2006/relationships/image" Target="../media/image50.jpeg"/><Relationship Id="rId30" Type="http://schemas.openxmlformats.org/officeDocument/2006/relationships/image" Target="../media/image53.gif"/><Relationship Id="rId35" Type="http://schemas.openxmlformats.org/officeDocument/2006/relationships/image" Target="../media/image58.png"/><Relationship Id="rId43" Type="http://schemas.openxmlformats.org/officeDocument/2006/relationships/image" Target="../media/image66.png"/><Relationship Id="rId48" Type="http://schemas.openxmlformats.org/officeDocument/2006/relationships/image" Target="../media/image71.png"/><Relationship Id="rId56" Type="http://schemas.openxmlformats.org/officeDocument/2006/relationships/image" Target="../media/image79.png"/><Relationship Id="rId8" Type="http://schemas.openxmlformats.org/officeDocument/2006/relationships/image" Target="../media/image31.png"/><Relationship Id="rId51" Type="http://schemas.openxmlformats.org/officeDocument/2006/relationships/image" Target="../media/image74.jpeg"/><Relationship Id="rId3"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80.emf"/><Relationship Id="rId3" Type="http://schemas.openxmlformats.org/officeDocument/2006/relationships/tags" Target="../tags/tag246.xml"/><Relationship Id="rId7" Type="http://schemas.openxmlformats.org/officeDocument/2006/relationships/oleObject" Target="../embeddings/oleObject9.bin"/><Relationship Id="rId2" Type="http://schemas.openxmlformats.org/officeDocument/2006/relationships/tags" Target="../tags/tag245.xml"/><Relationship Id="rId1" Type="http://schemas.openxmlformats.org/officeDocument/2006/relationships/vmlDrawing" Target="../drawings/vmlDrawing9.vml"/><Relationship Id="rId6" Type="http://schemas.openxmlformats.org/officeDocument/2006/relationships/slideLayout" Target="../slideLayouts/slideLayout2.xml"/><Relationship Id="rId5" Type="http://schemas.openxmlformats.org/officeDocument/2006/relationships/tags" Target="../tags/tag248.xml"/><Relationship Id="rId4" Type="http://schemas.openxmlformats.org/officeDocument/2006/relationships/tags" Target="../tags/tag24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slideLayout" Target="../slideLayouts/slideLayout2.xml"/><Relationship Id="rId7" Type="http://schemas.openxmlformats.org/officeDocument/2006/relationships/image" Target="../media/image82.jpeg"/><Relationship Id="rId2" Type="http://schemas.openxmlformats.org/officeDocument/2006/relationships/tags" Target="../tags/tag249.xml"/><Relationship Id="rId1" Type="http://schemas.openxmlformats.org/officeDocument/2006/relationships/vmlDrawing" Target="../drawings/vmlDrawing10.vml"/><Relationship Id="rId6" Type="http://schemas.openxmlformats.org/officeDocument/2006/relationships/image" Target="../media/image81.emf"/><Relationship Id="rId5" Type="http://schemas.openxmlformats.org/officeDocument/2006/relationships/oleObject" Target="../embeddings/oleObject10.bin"/><Relationship Id="rId4" Type="http://schemas.openxmlformats.org/officeDocument/2006/relationships/notesSlide" Target="../notesSlides/notesSlide1.xml"/><Relationship Id="rId9" Type="http://schemas.openxmlformats.org/officeDocument/2006/relationships/image" Target="../media/image84.jpeg"/></Relationships>
</file>

<file path=ppt/slides/_rels/slide9.xml.rels><?xml version="1.0" encoding="UTF-8" standalone="yes"?>
<Relationships xmlns="http://schemas.openxmlformats.org/package/2006/relationships"><Relationship Id="rId8" Type="http://schemas.openxmlformats.org/officeDocument/2006/relationships/tags" Target="../tags/tag256.xml"/><Relationship Id="rId3" Type="http://schemas.openxmlformats.org/officeDocument/2006/relationships/tags" Target="../tags/tag251.xml"/><Relationship Id="rId7" Type="http://schemas.openxmlformats.org/officeDocument/2006/relationships/tags" Target="../tags/tag255.xml"/><Relationship Id="rId2" Type="http://schemas.openxmlformats.org/officeDocument/2006/relationships/tags" Target="../tags/tag250.xml"/><Relationship Id="rId1" Type="http://schemas.openxmlformats.org/officeDocument/2006/relationships/vmlDrawing" Target="../drawings/vmlDrawing11.vml"/><Relationship Id="rId6" Type="http://schemas.openxmlformats.org/officeDocument/2006/relationships/tags" Target="../tags/tag254.xml"/><Relationship Id="rId11" Type="http://schemas.openxmlformats.org/officeDocument/2006/relationships/image" Target="../media/image81.emf"/><Relationship Id="rId5" Type="http://schemas.openxmlformats.org/officeDocument/2006/relationships/tags" Target="../tags/tag253.xml"/><Relationship Id="rId10" Type="http://schemas.openxmlformats.org/officeDocument/2006/relationships/oleObject" Target="../embeddings/oleObject11.bin"/><Relationship Id="rId4" Type="http://schemas.openxmlformats.org/officeDocument/2006/relationships/tags" Target="../tags/tag252.xml"/><Relationship Id="rId9"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35423" y="2799284"/>
            <a:ext cx="4213555"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Biodiversity and Tourism Lab</a:t>
            </a:r>
            <a:endParaRPr lang="en-US" dirty="0"/>
          </a:p>
        </p:txBody>
      </p:sp>
      <p:sp>
        <p:nvSpPr>
          <p:cNvPr id="3" name="Subtitle 2"/>
          <p:cNvSpPr>
            <a:spLocks noGrp="1"/>
          </p:cNvSpPr>
          <p:nvPr>
            <p:ph type="subTitle" idx="1"/>
          </p:nvPr>
        </p:nvSpPr>
        <p:spPr>
          <a:xfrm>
            <a:off x="4535423" y="3891940"/>
            <a:ext cx="4213555" cy="646331"/>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PORTFOLIO COMMITTEE BRIEFING</a:t>
            </a:r>
          </a:p>
          <a:p>
            <a:endParaRPr lang="en-US" dirty="0"/>
          </a:p>
          <a:p>
            <a:r>
              <a:rPr lang="en-US" dirty="0" smtClean="0"/>
              <a:t>18 OCTOBER 2016</a:t>
            </a:r>
            <a:endParaRPr lang="en-US" dirty="0"/>
          </a:p>
        </p:txBody>
      </p:sp>
    </p:spTree>
    <p:extLst>
      <p:ext uri="{BB962C8B-B14F-4D97-AF65-F5344CB8AC3E}">
        <p14:creationId xmlns:p14="http://schemas.microsoft.com/office/powerpoint/2010/main" val="32081863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Object 5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30" name="think-cell Slide" r:id="rId9" imgW="524" imgH="526" progId="TCLayout.ActiveDocument.1">
                  <p:embed/>
                </p:oleObj>
              </mc:Choice>
              <mc:Fallback>
                <p:oleObj name="think-cell Slide" r:id="rId9" imgW="524" imgH="526"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The Wildlife Economy Lab developed detailed plans for 15 </a:t>
            </a:r>
            <a:r>
              <a:rPr lang="en-GB" dirty="0" smtClean="0"/>
              <a:t>initiatives and a further 6 recommendations</a:t>
            </a:r>
            <a:endParaRPr lang="en-GB" dirty="0"/>
          </a:p>
        </p:txBody>
      </p:sp>
      <p:sp>
        <p:nvSpPr>
          <p:cNvPr id="45" name="Rectangle 87"/>
          <p:cNvSpPr txBox="1">
            <a:spLocks/>
          </p:cNvSpPr>
          <p:nvPr>
            <p:custDataLst>
              <p:tags r:id="rId3"/>
            </p:custDataLst>
          </p:nvPr>
        </p:nvSpPr>
        <p:spPr bwMode="gray">
          <a:xfrm>
            <a:off x="7583841" y="684158"/>
            <a:ext cx="128016" cy="123111"/>
          </a:xfrm>
          <a:prstGeom prst="rect">
            <a:avLst/>
          </a:prstGeom>
          <a:solidFill>
            <a:schemeClr val="bg1">
              <a:lumMod val="75000"/>
            </a:schemeClr>
          </a:solidFill>
          <a:ln w="9525">
            <a:noFill/>
            <a:miter lim="800000"/>
            <a:headEnd/>
            <a:tailEnd/>
          </a:ln>
          <a:effectLst/>
          <a:extLst/>
        </p:spPr>
        <p:txBody>
          <a:bodyPr vert="horz" wrap="square" lIns="76200" tIns="76200" rIns="76200" bIns="7620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endParaRPr lang="en-US" sz="900" b="1" dirty="0">
              <a:solidFill>
                <a:schemeClr val="tx2"/>
              </a:solidFill>
            </a:endParaRPr>
          </a:p>
        </p:txBody>
      </p:sp>
      <p:sp>
        <p:nvSpPr>
          <p:cNvPr id="46" name="Rectangle 8"/>
          <p:cNvSpPr txBox="1">
            <a:spLocks/>
          </p:cNvSpPr>
          <p:nvPr/>
        </p:nvSpPr>
        <p:spPr>
          <a:xfrm>
            <a:off x="7784905" y="676464"/>
            <a:ext cx="1005083"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0" lvl="0" indent="0" defTabSz="895350" eaLnBrk="1" hangingPunct="1">
              <a:buClr>
                <a:schemeClr val="tx2"/>
              </a:buClr>
              <a:defRPr sz="1800" baseline="0">
                <a:latin typeface="+mn-lt"/>
              </a:defRPr>
            </a:lvl1pPr>
            <a:lvl2pPr marL="193675" lvl="1" indent="-192088" defTabSz="895350" eaLnBrk="1" hangingPunct="1">
              <a:buClr>
                <a:schemeClr val="tx2"/>
              </a:buClr>
              <a:buSzPct val="125000"/>
              <a:buFont typeface="Arial" charset="0"/>
              <a:buChar char="▪"/>
              <a:defRPr sz="1800" baseline="0">
                <a:latin typeface="+mn-lt"/>
              </a:defRPr>
            </a:lvl2pPr>
            <a:lvl3pPr marL="457200" lvl="2" indent="-261938" defTabSz="895350" eaLnBrk="1" hangingPunct="1">
              <a:buClr>
                <a:schemeClr val="tx2"/>
              </a:buClr>
              <a:buSzPct val="120000"/>
              <a:buFont typeface="Arial" charset="0"/>
              <a:buChar char="–"/>
              <a:defRPr sz="1800" baseline="0">
                <a:latin typeface="+mn-lt"/>
              </a:defRPr>
            </a:lvl3pPr>
            <a:lvl4pPr marL="614363" lvl="3" indent="-155575" defTabSz="895350" eaLnBrk="1" hangingPunct="1">
              <a:buClr>
                <a:schemeClr val="tx2"/>
              </a:buClr>
              <a:buSzPct val="120000"/>
              <a:buFont typeface="Arial" charset="0"/>
              <a:buChar char="▫"/>
              <a:defRPr sz="1800" baseline="0">
                <a:latin typeface="+mn-lt"/>
              </a:defRPr>
            </a:lvl4pPr>
            <a:lvl5pPr marL="749808" lvl="4" indent="-130175" defTabSz="895350" eaLnBrk="1" hangingPunct="1">
              <a:buClr>
                <a:schemeClr val="tx2"/>
              </a:buClr>
              <a:buSzPct val="89000"/>
              <a:buFont typeface="Arial" charset="0"/>
              <a:buChar char="-"/>
              <a:defRPr sz="18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chemeClr val="tx2"/>
              </a:buClr>
            </a:pPr>
            <a:r>
              <a:rPr lang="en-US" sz="900" dirty="0" smtClean="0"/>
              <a:t>Recommendations</a:t>
            </a:r>
            <a:r>
              <a:rPr lang="en-US" sz="900" baseline="30000" dirty="0" smtClean="0"/>
              <a:t>1</a:t>
            </a:r>
            <a:endParaRPr lang="en-US" sz="900" baseline="30000" dirty="0"/>
          </a:p>
        </p:txBody>
      </p:sp>
      <p:sp>
        <p:nvSpPr>
          <p:cNvPr id="47" name="4. Footnote"/>
          <p:cNvSpPr txBox="1">
            <a:spLocks noChangeArrowheads="1"/>
          </p:cNvSpPr>
          <p:nvPr/>
        </p:nvSpPr>
        <p:spPr bwMode="auto">
          <a:xfrm>
            <a:off x="171752" y="6037268"/>
            <a:ext cx="8618237" cy="138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104775" indent="-104775" defTabSz="895350">
              <a:defRPr sz="9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Recommendations will be included with high level activities, but these will not have 3ft plans </a:t>
            </a:r>
          </a:p>
        </p:txBody>
      </p:sp>
      <p:grpSp>
        <p:nvGrpSpPr>
          <p:cNvPr id="48" name="Group 47"/>
          <p:cNvGrpSpPr/>
          <p:nvPr/>
        </p:nvGrpSpPr>
        <p:grpSpPr>
          <a:xfrm>
            <a:off x="1" y="1260468"/>
            <a:ext cx="8961438" cy="914400"/>
            <a:chOff x="1" y="1221699"/>
            <a:chExt cx="8961438" cy="914400"/>
          </a:xfrm>
        </p:grpSpPr>
        <p:sp>
          <p:nvSpPr>
            <p:cNvPr id="49" name="Rectangle 48"/>
            <p:cNvSpPr>
              <a:spLocks/>
            </p:cNvSpPr>
            <p:nvPr/>
          </p:nvSpPr>
          <p:spPr>
            <a:xfrm>
              <a:off x="1" y="1221699"/>
              <a:ext cx="8961438" cy="914400"/>
            </a:xfrm>
            <a:prstGeom prst="rect">
              <a:avLst/>
            </a:prstGeom>
            <a:gradFill>
              <a:gsLst>
                <a:gs pos="0">
                  <a:schemeClr val="bg1">
                    <a:lumMod val="95000"/>
                  </a:schemeClr>
                </a:gs>
                <a:gs pos="100000">
                  <a:schemeClr val="bg1">
                    <a:alpha val="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err="1" smtClean="0">
                <a:solidFill>
                  <a:schemeClr val="tx1"/>
                </a:solidFill>
              </a:endParaRPr>
            </a:p>
          </p:txBody>
        </p:sp>
        <p:cxnSp>
          <p:nvCxnSpPr>
            <p:cNvPr id="56" name="Straight Connector 55"/>
            <p:cNvCxnSpPr>
              <a:cxnSpLocks/>
            </p:cNvCxnSpPr>
            <p:nvPr/>
          </p:nvCxnSpPr>
          <p:spPr>
            <a:xfrm>
              <a:off x="1" y="1221699"/>
              <a:ext cx="896143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88" name="Rectangle 87"/>
          <p:cNvSpPr txBox="1">
            <a:spLocks/>
          </p:cNvSpPr>
          <p:nvPr>
            <p:custDataLst>
              <p:tags r:id="rId4"/>
            </p:custDataLst>
          </p:nvPr>
        </p:nvSpPr>
        <p:spPr bwMode="gray">
          <a:xfrm>
            <a:off x="171451" y="1054356"/>
            <a:ext cx="2821838" cy="161583"/>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50" b="1" dirty="0">
                <a:solidFill>
                  <a:schemeClr val="tx2"/>
                </a:solidFill>
              </a:rPr>
              <a:t>Facilitating transformation </a:t>
            </a:r>
          </a:p>
        </p:txBody>
      </p:sp>
      <p:sp>
        <p:nvSpPr>
          <p:cNvPr id="90" name="Rectangle 87"/>
          <p:cNvSpPr txBox="1">
            <a:spLocks/>
          </p:cNvSpPr>
          <p:nvPr>
            <p:custDataLst>
              <p:tags r:id="rId5"/>
            </p:custDataLst>
          </p:nvPr>
        </p:nvSpPr>
        <p:spPr bwMode="gray">
          <a:xfrm>
            <a:off x="3069800" y="892774"/>
            <a:ext cx="2821838" cy="323165"/>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50" b="1" dirty="0">
                <a:solidFill>
                  <a:schemeClr val="tx2"/>
                </a:solidFill>
              </a:rPr>
              <a:t>Driving growth through promoting ‘value’ and products</a:t>
            </a:r>
          </a:p>
        </p:txBody>
      </p:sp>
      <p:sp>
        <p:nvSpPr>
          <p:cNvPr id="26" name="Rectangle 87"/>
          <p:cNvSpPr txBox="1">
            <a:spLocks/>
          </p:cNvSpPr>
          <p:nvPr>
            <p:custDataLst>
              <p:tags r:id="rId6"/>
            </p:custDataLst>
          </p:nvPr>
        </p:nvSpPr>
        <p:spPr bwMode="gray">
          <a:xfrm>
            <a:off x="5968150" y="892774"/>
            <a:ext cx="2821838" cy="323165"/>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50" b="1" dirty="0">
                <a:solidFill>
                  <a:schemeClr val="tx2"/>
                </a:solidFill>
              </a:rPr>
              <a:t>Creating an enabling environment for the wildlife sector</a:t>
            </a:r>
          </a:p>
        </p:txBody>
      </p:sp>
      <p:sp>
        <p:nvSpPr>
          <p:cNvPr id="20" name="Oval 19"/>
          <p:cNvSpPr>
            <a:spLocks/>
          </p:cNvSpPr>
          <p:nvPr/>
        </p:nvSpPr>
        <p:spPr bwMode="gray">
          <a:xfrm>
            <a:off x="171451" y="1321275"/>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dirty="0" smtClean="0">
                <a:solidFill>
                  <a:schemeClr val="bg1"/>
                </a:solidFill>
                <a:latin typeface="+mn-lt"/>
                <a:ea typeface="宋体" pitchFamily="2" charset="-122"/>
                <a:cs typeface="Arial"/>
              </a:rPr>
              <a:t>1</a:t>
            </a:r>
            <a:endPar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endParaRPr>
          </a:p>
        </p:txBody>
      </p:sp>
      <p:sp>
        <p:nvSpPr>
          <p:cNvPr id="31" name="Oval 30"/>
          <p:cNvSpPr>
            <a:spLocks/>
          </p:cNvSpPr>
          <p:nvPr/>
        </p:nvSpPr>
        <p:spPr bwMode="gray">
          <a:xfrm>
            <a:off x="3069800" y="1321221"/>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dirty="0">
                <a:solidFill>
                  <a:schemeClr val="bg1"/>
                </a:solidFill>
                <a:latin typeface="+mn-lt"/>
                <a:ea typeface="宋体" pitchFamily="2" charset="-122"/>
                <a:cs typeface="Arial"/>
              </a:rPr>
              <a:t>7</a:t>
            </a:r>
            <a:endPar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endParaRPr>
          </a:p>
        </p:txBody>
      </p:sp>
      <p:sp>
        <p:nvSpPr>
          <p:cNvPr id="35" name="Oval 34"/>
          <p:cNvSpPr>
            <a:spLocks/>
          </p:cNvSpPr>
          <p:nvPr/>
        </p:nvSpPr>
        <p:spPr bwMode="gray">
          <a:xfrm>
            <a:off x="3069800" y="1866722"/>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noProof="0" dirty="0">
                <a:solidFill>
                  <a:schemeClr val="bg1"/>
                </a:solidFill>
                <a:latin typeface="+mn-lt"/>
                <a:ea typeface="宋体" pitchFamily="2" charset="-122"/>
                <a:cs typeface="Arial"/>
              </a:rPr>
              <a:t>8</a:t>
            </a:r>
            <a:endPar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endParaRPr>
          </a:p>
        </p:txBody>
      </p:sp>
      <p:sp>
        <p:nvSpPr>
          <p:cNvPr id="33" name="Oval 32"/>
          <p:cNvSpPr>
            <a:spLocks/>
          </p:cNvSpPr>
          <p:nvPr/>
        </p:nvSpPr>
        <p:spPr bwMode="gray">
          <a:xfrm>
            <a:off x="5968150" y="1321221"/>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dirty="0" smtClean="0">
                <a:solidFill>
                  <a:schemeClr val="bg1"/>
                </a:solidFill>
                <a:latin typeface="+mn-lt"/>
                <a:ea typeface="宋体" pitchFamily="2" charset="-122"/>
                <a:cs typeface="Arial"/>
              </a:rPr>
              <a:t>9</a:t>
            </a:r>
            <a:endPar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endParaRPr>
          </a:p>
        </p:txBody>
      </p:sp>
      <p:sp>
        <p:nvSpPr>
          <p:cNvPr id="54" name="Rectangle 53"/>
          <p:cNvSpPr>
            <a:spLocks/>
          </p:cNvSpPr>
          <p:nvPr/>
        </p:nvSpPr>
        <p:spPr>
          <a:xfrm>
            <a:off x="3069800" y="3665095"/>
            <a:ext cx="2821838" cy="2300907"/>
          </a:xfrm>
          <a:prstGeom prst="rect">
            <a:avLst/>
          </a:prstGeom>
          <a:solidFill>
            <a:schemeClr val="bg1">
              <a:lumMod val="75000"/>
            </a:schemeClr>
          </a:solidFill>
          <a:ln w="19050">
            <a:noFill/>
            <a:miter lim="800000"/>
            <a:headEnd/>
            <a:tailEnd/>
          </a:ln>
          <a:effectLst/>
        </p:spPr>
        <p:txBody>
          <a:bodyPr vert="horz" wrap="square" lIns="76200" tIns="76200" rIns="76200" bIns="76200" numCol="1" anchor="t" anchorCtr="0" compatLnSpc="1">
            <a:prstTxWarp prst="textNoShape">
              <a:avLst/>
            </a:prstTxWarp>
            <a:noAutofit/>
          </a:bodyPr>
          <a:lstStyle/>
          <a:p>
            <a:pPr defTabSz="895255">
              <a:buClr>
                <a:schemeClr val="tx2"/>
              </a:buClr>
            </a:pPr>
            <a:endParaRPr lang="en-GB" sz="1050" b="1" dirty="0" err="1">
              <a:solidFill>
                <a:schemeClr val="tx1"/>
              </a:solidFill>
              <a:latin typeface="+mn-lt"/>
            </a:endParaRPr>
          </a:p>
        </p:txBody>
      </p:sp>
      <p:sp>
        <p:nvSpPr>
          <p:cNvPr id="55" name="Rectangle 54"/>
          <p:cNvSpPr>
            <a:spLocks/>
          </p:cNvSpPr>
          <p:nvPr/>
        </p:nvSpPr>
        <p:spPr>
          <a:xfrm>
            <a:off x="5968150" y="5351489"/>
            <a:ext cx="2821838" cy="614513"/>
          </a:xfrm>
          <a:prstGeom prst="rect">
            <a:avLst/>
          </a:prstGeom>
          <a:solidFill>
            <a:schemeClr val="bg1">
              <a:lumMod val="75000"/>
            </a:schemeClr>
          </a:solidFill>
          <a:ln w="19050">
            <a:noFill/>
            <a:miter lim="800000"/>
            <a:headEnd/>
            <a:tailEnd/>
          </a:ln>
          <a:effectLst/>
        </p:spPr>
        <p:txBody>
          <a:bodyPr vert="horz" wrap="square" lIns="76200" tIns="76200" rIns="76200" bIns="76200" numCol="1" anchor="t" anchorCtr="0" compatLnSpc="1">
            <a:prstTxWarp prst="textNoShape">
              <a:avLst/>
            </a:prstTxWarp>
            <a:noAutofit/>
          </a:bodyPr>
          <a:lstStyle/>
          <a:p>
            <a:pPr defTabSz="895255">
              <a:buClr>
                <a:schemeClr val="tx2"/>
              </a:buClr>
            </a:pPr>
            <a:endParaRPr lang="en-GB" sz="1050" b="1" dirty="0" err="1">
              <a:solidFill>
                <a:schemeClr val="tx1"/>
              </a:solidFill>
              <a:latin typeface="+mn-lt"/>
            </a:endParaRPr>
          </a:p>
        </p:txBody>
      </p:sp>
      <p:sp>
        <p:nvSpPr>
          <p:cNvPr id="4" name="Rectangle 3"/>
          <p:cNvSpPr>
            <a:spLocks/>
          </p:cNvSpPr>
          <p:nvPr/>
        </p:nvSpPr>
        <p:spPr>
          <a:xfrm>
            <a:off x="171451" y="5351489"/>
            <a:ext cx="2821838" cy="614513"/>
          </a:xfrm>
          <a:prstGeom prst="rect">
            <a:avLst/>
          </a:prstGeom>
          <a:solidFill>
            <a:schemeClr val="bg1">
              <a:lumMod val="75000"/>
            </a:schemeClr>
          </a:solidFill>
          <a:ln w="19050">
            <a:noFill/>
            <a:miter lim="800000"/>
            <a:headEnd/>
            <a:tailEnd/>
          </a:ln>
          <a:effectLst/>
        </p:spPr>
        <p:txBody>
          <a:bodyPr vert="horz" wrap="square" lIns="76200" tIns="76200" rIns="76200" bIns="76200" numCol="1" anchor="t" anchorCtr="0" compatLnSpc="1">
            <a:prstTxWarp prst="textNoShape">
              <a:avLst/>
            </a:prstTxWarp>
            <a:noAutofit/>
          </a:bodyPr>
          <a:lstStyle/>
          <a:p>
            <a:pPr defTabSz="895255">
              <a:buClr>
                <a:schemeClr val="tx2"/>
              </a:buClr>
            </a:pPr>
            <a:endParaRPr lang="en-GB" sz="1050" b="1" dirty="0" err="1">
              <a:solidFill>
                <a:schemeClr val="tx1"/>
              </a:solidFill>
              <a:latin typeface="+mn-lt"/>
            </a:endParaRPr>
          </a:p>
        </p:txBody>
      </p:sp>
      <p:sp>
        <p:nvSpPr>
          <p:cNvPr id="29" name="Oval 28"/>
          <p:cNvSpPr>
            <a:spLocks/>
          </p:cNvSpPr>
          <p:nvPr/>
        </p:nvSpPr>
        <p:spPr bwMode="gray">
          <a:xfrm>
            <a:off x="171451" y="5400949"/>
            <a:ext cx="182880" cy="182880"/>
          </a:xfrm>
          <a:prstGeom prst="ellipse">
            <a:avLst/>
          </a:prstGeom>
          <a:solidFill>
            <a:schemeClr val="accent4"/>
          </a:solidFill>
          <a:ln w="9525" cap="flat" cmpd="sng" algn="ctr">
            <a:solidFill>
              <a:schemeClr val="tx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ms-MY" sz="1050" kern="0" noProof="0" dirty="0">
                <a:latin typeface="+mn-lt"/>
                <a:ea typeface="宋体" pitchFamily="2" charset="-122"/>
                <a:cs typeface="Arial"/>
              </a:rPr>
              <a:t>i</a:t>
            </a:r>
            <a:endParaRPr kumimoji="0" lang="ms-MY" sz="1050" i="0" u="none" strike="noStrike" kern="0" cap="none" spc="0" normalizeH="0" baseline="0" noProof="0" dirty="0" smtClean="0">
              <a:ln>
                <a:noFill/>
              </a:ln>
              <a:effectLst/>
              <a:uLnTx/>
              <a:uFillTx/>
              <a:latin typeface="+mn-lt"/>
              <a:ea typeface="宋体" pitchFamily="2" charset="-122"/>
              <a:cs typeface="Arial"/>
            </a:endParaRPr>
          </a:p>
        </p:txBody>
      </p:sp>
      <p:sp>
        <p:nvSpPr>
          <p:cNvPr id="30" name="Oval 29"/>
          <p:cNvSpPr>
            <a:spLocks/>
          </p:cNvSpPr>
          <p:nvPr/>
        </p:nvSpPr>
        <p:spPr bwMode="gray">
          <a:xfrm>
            <a:off x="171451" y="4626899"/>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ms-MY" sz="1050" kern="0" dirty="0" smtClean="0">
                <a:solidFill>
                  <a:schemeClr val="bg1"/>
                </a:solidFill>
                <a:latin typeface="+mn-lt"/>
                <a:ea typeface="宋体" pitchFamily="2" charset="-122"/>
                <a:cs typeface="Arial"/>
              </a:rPr>
              <a:t>6</a:t>
            </a:r>
            <a:endPar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endParaRPr>
          </a:p>
        </p:txBody>
      </p:sp>
      <p:sp>
        <p:nvSpPr>
          <p:cNvPr id="43" name="Oval 42"/>
          <p:cNvSpPr>
            <a:spLocks/>
          </p:cNvSpPr>
          <p:nvPr/>
        </p:nvSpPr>
        <p:spPr bwMode="gray">
          <a:xfrm>
            <a:off x="5968150" y="5400949"/>
            <a:ext cx="182880" cy="182880"/>
          </a:xfrm>
          <a:prstGeom prst="ellipse">
            <a:avLst/>
          </a:prstGeom>
          <a:solidFill>
            <a:schemeClr val="accent4"/>
          </a:solidFill>
          <a:ln w="9525" cap="flat" cmpd="sng" algn="ctr">
            <a:solidFill>
              <a:schemeClr val="tx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noProof="0" dirty="0" smtClean="0">
                <a:latin typeface="+mn-lt"/>
                <a:ea typeface="宋体" pitchFamily="2" charset="-122"/>
                <a:cs typeface="Arial"/>
              </a:rPr>
              <a:t>vi</a:t>
            </a:r>
            <a:endParaRPr kumimoji="0" lang="ms-MY" sz="1050" i="0" u="none" strike="noStrike" kern="0" cap="none" spc="0" normalizeH="0" baseline="0" noProof="0" dirty="0" smtClean="0">
              <a:ln>
                <a:noFill/>
              </a:ln>
              <a:effectLst/>
              <a:uLnTx/>
              <a:uFillTx/>
              <a:latin typeface="+mn-lt"/>
              <a:ea typeface="宋体" pitchFamily="2" charset="-122"/>
              <a:cs typeface="Arial"/>
            </a:endParaRPr>
          </a:p>
        </p:txBody>
      </p:sp>
      <p:sp>
        <p:nvSpPr>
          <p:cNvPr id="70" name="TextBox 69"/>
          <p:cNvSpPr txBox="1">
            <a:spLocks/>
          </p:cNvSpPr>
          <p:nvPr/>
        </p:nvSpPr>
        <p:spPr>
          <a:xfrm>
            <a:off x="401733" y="1321275"/>
            <a:ext cx="2591555" cy="3231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0"/>
              </a:spcBef>
            </a:pPr>
            <a:r>
              <a:rPr lang="en-GB" sz="1050" dirty="0">
                <a:solidFill>
                  <a:srgbClr val="000000"/>
                </a:solidFill>
                <a:ea typeface="Arial Unicode MS" panose="020B0604020202020204" pitchFamily="34" charset="-128"/>
                <a:cs typeface="Arial Unicode MS" panose="020B0604020202020204" pitchFamily="34" charset="-128"/>
              </a:rPr>
              <a:t>Identify and prioritize </a:t>
            </a:r>
            <a:r>
              <a:rPr lang="en-GB" sz="1050" b="1" dirty="0">
                <a:solidFill>
                  <a:srgbClr val="0B4623"/>
                </a:solidFill>
                <a:ea typeface="Arial Unicode MS" panose="020B0604020202020204" pitchFamily="34" charset="-128"/>
                <a:cs typeface="Arial Unicode MS" panose="020B0604020202020204" pitchFamily="34" charset="-128"/>
              </a:rPr>
              <a:t>10m Ha for transformation</a:t>
            </a:r>
            <a:r>
              <a:rPr lang="en-GB" sz="1050" dirty="0">
                <a:solidFill>
                  <a:srgbClr val="000000"/>
                </a:solidFill>
                <a:ea typeface="Arial Unicode MS" panose="020B0604020202020204" pitchFamily="34" charset="-128"/>
                <a:cs typeface="Arial Unicode MS" panose="020B0604020202020204" pitchFamily="34" charset="-128"/>
              </a:rPr>
              <a:t> of wildlife </a:t>
            </a:r>
            <a:r>
              <a:rPr lang="en-GB" sz="1050" dirty="0" smtClean="0">
                <a:solidFill>
                  <a:srgbClr val="000000"/>
                </a:solidFill>
                <a:ea typeface="Arial Unicode MS" panose="020B0604020202020204" pitchFamily="34" charset="-128"/>
                <a:cs typeface="Arial Unicode MS" panose="020B0604020202020204" pitchFamily="34" charset="-128"/>
              </a:rPr>
              <a:t>economy</a:t>
            </a:r>
            <a:endParaRPr lang="en-GB" sz="1050" dirty="0">
              <a:ea typeface="Arial Unicode MS" panose="020B0604020202020204" pitchFamily="34" charset="-128"/>
              <a:cs typeface="Arial Unicode MS" panose="020B0604020202020204" pitchFamily="34" charset="-128"/>
            </a:endParaRPr>
          </a:p>
        </p:txBody>
      </p:sp>
      <p:sp>
        <p:nvSpPr>
          <p:cNvPr id="40" name="Oval 39"/>
          <p:cNvSpPr>
            <a:spLocks/>
          </p:cNvSpPr>
          <p:nvPr/>
        </p:nvSpPr>
        <p:spPr bwMode="gray">
          <a:xfrm>
            <a:off x="171451" y="1710376"/>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noProof="0" dirty="0" smtClean="0">
                <a:solidFill>
                  <a:schemeClr val="bg1"/>
                </a:solidFill>
                <a:latin typeface="+mn-lt"/>
                <a:ea typeface="宋体" pitchFamily="2" charset="-122"/>
                <a:cs typeface="Arial"/>
              </a:rPr>
              <a:t>2</a:t>
            </a:r>
            <a:endPar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endParaRPr>
          </a:p>
        </p:txBody>
      </p:sp>
      <p:sp>
        <p:nvSpPr>
          <p:cNvPr id="71" name="TextBox 70"/>
          <p:cNvSpPr txBox="1">
            <a:spLocks/>
          </p:cNvSpPr>
          <p:nvPr/>
        </p:nvSpPr>
        <p:spPr>
          <a:xfrm>
            <a:off x="401733" y="1732861"/>
            <a:ext cx="2591555"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0"/>
              </a:spcBef>
            </a:pPr>
            <a:r>
              <a:rPr lang="en-US" sz="1050" dirty="0">
                <a:solidFill>
                  <a:srgbClr val="000000"/>
                </a:solidFill>
              </a:rPr>
              <a:t>Establish, develop and support new wildlife </a:t>
            </a:r>
            <a:r>
              <a:rPr lang="en-US" sz="1050" dirty="0" smtClean="0">
                <a:solidFill>
                  <a:srgbClr val="000000"/>
                </a:solidFill>
              </a:rPr>
              <a:t>ranching </a:t>
            </a:r>
            <a:r>
              <a:rPr lang="en-US" sz="1050" dirty="0">
                <a:solidFill>
                  <a:srgbClr val="000000"/>
                </a:solidFill>
              </a:rPr>
              <a:t>entrants including </a:t>
            </a:r>
            <a:r>
              <a:rPr lang="en-US" sz="1050" b="1" dirty="0">
                <a:solidFill>
                  <a:srgbClr val="0B4623"/>
                </a:solidFill>
              </a:rPr>
              <a:t>business set up support, </a:t>
            </a:r>
            <a:r>
              <a:rPr lang="en-US" sz="1050" b="1" dirty="0" smtClean="0">
                <a:solidFill>
                  <a:srgbClr val="0B4623"/>
                </a:solidFill>
              </a:rPr>
              <a:t>infrastructure </a:t>
            </a:r>
            <a:r>
              <a:rPr lang="en-US" sz="1050" b="1" dirty="0">
                <a:solidFill>
                  <a:srgbClr val="0B4623"/>
                </a:solidFill>
              </a:rPr>
              <a:t>and game ownership </a:t>
            </a:r>
            <a:r>
              <a:rPr lang="en-US" sz="1050" b="1" dirty="0" err="1">
                <a:solidFill>
                  <a:srgbClr val="0B4623"/>
                </a:solidFill>
              </a:rPr>
              <a:t>programmes</a:t>
            </a:r>
            <a:endParaRPr lang="en-GB" sz="1050" dirty="0"/>
          </a:p>
        </p:txBody>
      </p:sp>
      <p:sp>
        <p:nvSpPr>
          <p:cNvPr id="22" name="Oval 21"/>
          <p:cNvSpPr>
            <a:spLocks/>
          </p:cNvSpPr>
          <p:nvPr/>
        </p:nvSpPr>
        <p:spPr bwMode="gray">
          <a:xfrm>
            <a:off x="171451" y="2445128"/>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noProof="0" dirty="0">
                <a:solidFill>
                  <a:schemeClr val="bg1"/>
                </a:solidFill>
                <a:latin typeface="+mn-lt"/>
                <a:ea typeface="宋体" pitchFamily="2" charset="-122"/>
                <a:cs typeface="Arial"/>
              </a:rPr>
              <a:t>3</a:t>
            </a:r>
            <a:endPar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endParaRPr>
          </a:p>
        </p:txBody>
      </p:sp>
      <p:sp>
        <p:nvSpPr>
          <p:cNvPr id="72" name="TextBox 71"/>
          <p:cNvSpPr txBox="1">
            <a:spLocks/>
          </p:cNvSpPr>
          <p:nvPr/>
        </p:nvSpPr>
        <p:spPr>
          <a:xfrm>
            <a:off x="401733" y="2460118"/>
            <a:ext cx="2591555" cy="4847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0"/>
              </a:spcBef>
            </a:pPr>
            <a:r>
              <a:rPr lang="en-GB" sz="1050" dirty="0">
                <a:solidFill>
                  <a:srgbClr val="000000"/>
                </a:solidFill>
              </a:rPr>
              <a:t>Increase </a:t>
            </a:r>
            <a:r>
              <a:rPr lang="en-GB" sz="1050" dirty="0" smtClean="0">
                <a:solidFill>
                  <a:srgbClr val="000000"/>
                </a:solidFill>
              </a:rPr>
              <a:t>capacity </a:t>
            </a:r>
            <a:r>
              <a:rPr lang="en-GB" sz="1050" dirty="0">
                <a:solidFill>
                  <a:srgbClr val="000000"/>
                </a:solidFill>
              </a:rPr>
              <a:t>and support for (at least) </a:t>
            </a:r>
            <a:r>
              <a:rPr lang="en-GB" sz="1050" b="1" dirty="0">
                <a:solidFill>
                  <a:srgbClr val="0B4623"/>
                </a:solidFill>
              </a:rPr>
              <a:t>300 CPA’s, trusts and traditional authorities</a:t>
            </a:r>
            <a:endParaRPr lang="en-GB" sz="1050" dirty="0"/>
          </a:p>
        </p:txBody>
      </p:sp>
      <p:sp>
        <p:nvSpPr>
          <p:cNvPr id="23" name="Oval 22"/>
          <p:cNvSpPr>
            <a:spLocks/>
          </p:cNvSpPr>
          <p:nvPr/>
        </p:nvSpPr>
        <p:spPr bwMode="gray">
          <a:xfrm>
            <a:off x="171451" y="3010802"/>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rPr>
              <a:t>4</a:t>
            </a:r>
          </a:p>
        </p:txBody>
      </p:sp>
      <p:sp>
        <p:nvSpPr>
          <p:cNvPr id="73" name="TextBox 72"/>
          <p:cNvSpPr txBox="1">
            <a:spLocks/>
          </p:cNvSpPr>
          <p:nvPr/>
        </p:nvSpPr>
        <p:spPr>
          <a:xfrm>
            <a:off x="401733" y="3018297"/>
            <a:ext cx="2591555" cy="8079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0"/>
              </a:spcBef>
            </a:pPr>
            <a:r>
              <a:rPr lang="en-GB" sz="1050" dirty="0">
                <a:solidFill>
                  <a:srgbClr val="000000"/>
                </a:solidFill>
              </a:rPr>
              <a:t>Create </a:t>
            </a:r>
            <a:r>
              <a:rPr lang="en-GB" sz="1050" b="1" dirty="0">
                <a:solidFill>
                  <a:srgbClr val="0B4623"/>
                </a:solidFill>
              </a:rPr>
              <a:t>supply chain linkages and capacitate 4,000 </a:t>
            </a:r>
            <a:r>
              <a:rPr lang="en-GB" sz="1050" b="1" dirty="0" err="1">
                <a:solidFill>
                  <a:srgbClr val="0B4623"/>
                </a:solidFill>
              </a:rPr>
              <a:t>SMMEs</a:t>
            </a:r>
            <a:r>
              <a:rPr lang="en-GB" sz="1050" b="1" dirty="0">
                <a:solidFill>
                  <a:srgbClr val="0B4623"/>
                </a:solidFill>
              </a:rPr>
              <a:t> </a:t>
            </a:r>
            <a:r>
              <a:rPr lang="en-GB" sz="1050" dirty="0">
                <a:solidFill>
                  <a:srgbClr val="000000"/>
                </a:solidFill>
              </a:rPr>
              <a:t>(new and existing) to locally capture the value of ancillary </a:t>
            </a:r>
            <a:r>
              <a:rPr lang="en-GB" sz="1050" dirty="0" smtClean="0">
                <a:solidFill>
                  <a:srgbClr val="000000"/>
                </a:solidFill>
              </a:rPr>
              <a:t>goods </a:t>
            </a:r>
            <a:r>
              <a:rPr lang="en-GB" sz="1050" dirty="0">
                <a:solidFill>
                  <a:srgbClr val="000000"/>
                </a:solidFill>
              </a:rPr>
              <a:t>and services to the wildlife economy</a:t>
            </a:r>
            <a:endParaRPr lang="en-GB" sz="1050" dirty="0"/>
          </a:p>
        </p:txBody>
      </p:sp>
      <p:sp>
        <p:nvSpPr>
          <p:cNvPr id="27" name="Oval 26"/>
          <p:cNvSpPr>
            <a:spLocks/>
          </p:cNvSpPr>
          <p:nvPr/>
        </p:nvSpPr>
        <p:spPr bwMode="gray">
          <a:xfrm>
            <a:off x="171451" y="3892146"/>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rPr>
              <a:t>5</a:t>
            </a:r>
          </a:p>
        </p:txBody>
      </p:sp>
      <p:sp>
        <p:nvSpPr>
          <p:cNvPr id="74" name="TextBox 73"/>
          <p:cNvSpPr txBox="1">
            <a:spLocks/>
          </p:cNvSpPr>
          <p:nvPr/>
        </p:nvSpPr>
        <p:spPr>
          <a:xfrm>
            <a:off x="401733" y="3914631"/>
            <a:ext cx="2591555"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0"/>
              </a:spcBef>
            </a:pPr>
            <a:r>
              <a:rPr lang="en-GB" sz="1050" dirty="0">
                <a:solidFill>
                  <a:srgbClr val="000000"/>
                </a:solidFill>
              </a:rPr>
              <a:t>Operationalise </a:t>
            </a:r>
            <a:r>
              <a:rPr lang="en-GB" sz="1050" b="1" dirty="0">
                <a:solidFill>
                  <a:srgbClr val="0B4623"/>
                </a:solidFill>
              </a:rPr>
              <a:t>11 biodiversity economy nodes</a:t>
            </a:r>
            <a:r>
              <a:rPr lang="en-GB" sz="1050" dirty="0">
                <a:solidFill>
                  <a:srgbClr val="000000"/>
                </a:solidFill>
              </a:rPr>
              <a:t>, that enhance the economic potential of Protected and </a:t>
            </a:r>
            <a:r>
              <a:rPr lang="en-GB" sz="1050" dirty="0" err="1">
                <a:solidFill>
                  <a:srgbClr val="000000"/>
                </a:solidFill>
              </a:rPr>
              <a:t>non Protected</a:t>
            </a:r>
            <a:r>
              <a:rPr lang="en-GB" sz="1050" dirty="0">
                <a:solidFill>
                  <a:srgbClr val="000000"/>
                </a:solidFill>
              </a:rPr>
              <a:t> </a:t>
            </a:r>
            <a:r>
              <a:rPr lang="en-GB" sz="1050" dirty="0" smtClean="0">
                <a:solidFill>
                  <a:srgbClr val="000000"/>
                </a:solidFill>
              </a:rPr>
              <a:t>Areas</a:t>
            </a:r>
            <a:endParaRPr lang="en-GB" sz="1050" dirty="0"/>
          </a:p>
        </p:txBody>
      </p:sp>
      <p:sp>
        <p:nvSpPr>
          <p:cNvPr id="75" name="TextBox 74"/>
          <p:cNvSpPr txBox="1">
            <a:spLocks/>
          </p:cNvSpPr>
          <p:nvPr/>
        </p:nvSpPr>
        <p:spPr>
          <a:xfrm>
            <a:off x="401733" y="4650755"/>
            <a:ext cx="2591555" cy="4847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0"/>
              </a:spcBef>
            </a:pPr>
            <a:r>
              <a:rPr lang="en-GB" sz="1050" b="1" dirty="0">
                <a:solidFill>
                  <a:srgbClr val="0B4623"/>
                </a:solidFill>
              </a:rPr>
              <a:t>Empower </a:t>
            </a:r>
            <a:r>
              <a:rPr lang="en-GB" sz="1050" b="1" dirty="0" smtClean="0">
                <a:solidFill>
                  <a:srgbClr val="0B4623"/>
                </a:solidFill>
              </a:rPr>
              <a:t>4,000 </a:t>
            </a:r>
            <a:r>
              <a:rPr lang="en-GB" sz="1050" b="1" dirty="0">
                <a:solidFill>
                  <a:srgbClr val="0B4623"/>
                </a:solidFill>
              </a:rPr>
              <a:t>emerging entrepreneurs and farmers </a:t>
            </a:r>
            <a:r>
              <a:rPr lang="en-GB" sz="1050" dirty="0">
                <a:solidFill>
                  <a:srgbClr val="000000"/>
                </a:solidFill>
              </a:rPr>
              <a:t>through</a:t>
            </a:r>
            <a:r>
              <a:rPr lang="en-GB" sz="1050" dirty="0">
                <a:solidFill>
                  <a:schemeClr val="tx2"/>
                </a:solidFill>
              </a:rPr>
              <a:t> </a:t>
            </a:r>
            <a:r>
              <a:rPr lang="en-GB" sz="1050" b="1" dirty="0">
                <a:solidFill>
                  <a:schemeClr val="tx2"/>
                </a:solidFill>
              </a:rPr>
              <a:t>focused capacity</a:t>
            </a:r>
            <a:r>
              <a:rPr lang="en-GB" sz="1050" b="1" dirty="0">
                <a:solidFill>
                  <a:srgbClr val="000000"/>
                </a:solidFill>
              </a:rPr>
              <a:t> </a:t>
            </a:r>
            <a:r>
              <a:rPr lang="en-GB" sz="1050" b="1" dirty="0">
                <a:solidFill>
                  <a:schemeClr val="tx2"/>
                </a:solidFill>
              </a:rPr>
              <a:t>building </a:t>
            </a:r>
            <a:r>
              <a:rPr lang="en-GB" sz="1050" dirty="0">
                <a:solidFill>
                  <a:srgbClr val="000000"/>
                </a:solidFill>
              </a:rPr>
              <a:t>programmes</a:t>
            </a:r>
            <a:endParaRPr lang="en-GB" sz="1050" dirty="0"/>
          </a:p>
        </p:txBody>
      </p:sp>
      <p:sp>
        <p:nvSpPr>
          <p:cNvPr id="76" name="TextBox 75"/>
          <p:cNvSpPr txBox="1">
            <a:spLocks/>
          </p:cNvSpPr>
          <p:nvPr/>
        </p:nvSpPr>
        <p:spPr>
          <a:xfrm>
            <a:off x="401733" y="5423434"/>
            <a:ext cx="2591555" cy="4847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0"/>
              </a:spcBef>
            </a:pPr>
            <a:r>
              <a:rPr lang="en-GB" sz="1050" dirty="0">
                <a:solidFill>
                  <a:srgbClr val="000000"/>
                </a:solidFill>
              </a:rPr>
              <a:t>Develop </a:t>
            </a:r>
            <a:r>
              <a:rPr lang="en-GB" sz="1050" dirty="0" smtClean="0">
                <a:solidFill>
                  <a:srgbClr val="000000"/>
                </a:solidFill>
              </a:rPr>
              <a:t>a </a:t>
            </a:r>
            <a:r>
              <a:rPr lang="en-GB" sz="1050" dirty="0">
                <a:solidFill>
                  <a:srgbClr val="000000"/>
                </a:solidFill>
              </a:rPr>
              <a:t>toolkit of effective wildlife business, stewardship and partnership models</a:t>
            </a:r>
            <a:endParaRPr lang="en-GB" sz="1050" dirty="0"/>
          </a:p>
        </p:txBody>
      </p:sp>
      <p:sp>
        <p:nvSpPr>
          <p:cNvPr id="37" name="Oval 36"/>
          <p:cNvSpPr>
            <a:spLocks/>
          </p:cNvSpPr>
          <p:nvPr/>
        </p:nvSpPr>
        <p:spPr bwMode="gray">
          <a:xfrm>
            <a:off x="3069800" y="3709296"/>
            <a:ext cx="182880" cy="182880"/>
          </a:xfrm>
          <a:prstGeom prst="ellipse">
            <a:avLst/>
          </a:prstGeom>
          <a:solidFill>
            <a:schemeClr val="accent4"/>
          </a:solidFill>
          <a:ln w="9525" cap="flat" cmpd="sng" algn="ctr">
            <a:solidFill>
              <a:schemeClr val="tx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noProof="0" dirty="0" smtClean="0">
                <a:latin typeface="+mn-lt"/>
                <a:ea typeface="宋体" pitchFamily="2" charset="-122"/>
                <a:cs typeface="Arial"/>
              </a:rPr>
              <a:t>ii</a:t>
            </a:r>
            <a:endParaRPr kumimoji="0" lang="ms-MY" sz="1050" i="0" u="none" strike="noStrike" kern="0" cap="none" spc="0" normalizeH="0" baseline="0" noProof="0" dirty="0" smtClean="0">
              <a:ln>
                <a:noFill/>
              </a:ln>
              <a:effectLst/>
              <a:uLnTx/>
              <a:uFillTx/>
              <a:latin typeface="+mn-lt"/>
              <a:ea typeface="宋体" pitchFamily="2" charset="-122"/>
              <a:cs typeface="Arial"/>
            </a:endParaRPr>
          </a:p>
        </p:txBody>
      </p:sp>
      <p:sp>
        <p:nvSpPr>
          <p:cNvPr id="77" name="TextBox 76"/>
          <p:cNvSpPr txBox="1">
            <a:spLocks/>
          </p:cNvSpPr>
          <p:nvPr/>
        </p:nvSpPr>
        <p:spPr>
          <a:xfrm>
            <a:off x="3300083" y="3729640"/>
            <a:ext cx="2591555" cy="4847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GB" sz="1050" dirty="0">
                <a:solidFill>
                  <a:srgbClr val="000000"/>
                </a:solidFill>
                <a:ea typeface="Arial Unicode MS" panose="020B0604020202020204" pitchFamily="34" charset="-128"/>
                <a:cs typeface="Arial Unicode MS" panose="020B0604020202020204" pitchFamily="34" charset="-128"/>
              </a:rPr>
              <a:t>Promote </a:t>
            </a:r>
            <a:r>
              <a:rPr lang="en-GB" sz="1050" dirty="0" smtClean="0">
                <a:solidFill>
                  <a:srgbClr val="000000"/>
                </a:solidFill>
                <a:ea typeface="Arial Unicode MS" panose="020B0604020202020204" pitchFamily="34" charset="-128"/>
                <a:cs typeface="Arial Unicode MS" panose="020B0604020202020204" pitchFamily="34" charset="-128"/>
              </a:rPr>
              <a:t>sustainable </a:t>
            </a:r>
            <a:r>
              <a:rPr lang="en-GB" sz="1050" dirty="0">
                <a:solidFill>
                  <a:srgbClr val="000000"/>
                </a:solidFill>
                <a:ea typeface="Arial Unicode MS" panose="020B0604020202020204" pitchFamily="34" charset="-128"/>
                <a:cs typeface="Arial Unicode MS" panose="020B0604020202020204" pitchFamily="34" charset="-128"/>
              </a:rPr>
              <a:t>use as a foundation for conservation and growth of biodiversity economy</a:t>
            </a:r>
            <a:endParaRPr lang="en-GB" sz="1050" dirty="0">
              <a:ea typeface="Arial Unicode MS" panose="020B0604020202020204" pitchFamily="34" charset="-128"/>
              <a:cs typeface="Arial Unicode MS" panose="020B0604020202020204" pitchFamily="34" charset="-128"/>
            </a:endParaRPr>
          </a:p>
        </p:txBody>
      </p:sp>
      <p:sp>
        <p:nvSpPr>
          <p:cNvPr id="38" name="Oval 37"/>
          <p:cNvSpPr>
            <a:spLocks/>
          </p:cNvSpPr>
          <p:nvPr/>
        </p:nvSpPr>
        <p:spPr bwMode="gray">
          <a:xfrm>
            <a:off x="3069800" y="4278782"/>
            <a:ext cx="182880" cy="182880"/>
          </a:xfrm>
          <a:prstGeom prst="ellipse">
            <a:avLst/>
          </a:prstGeom>
          <a:solidFill>
            <a:schemeClr val="accent4"/>
          </a:solidFill>
          <a:ln w="9525" cap="flat" cmpd="sng" algn="ctr">
            <a:solidFill>
              <a:schemeClr val="tx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dirty="0" smtClean="0">
                <a:latin typeface="+mn-lt"/>
                <a:ea typeface="宋体" pitchFamily="2" charset="-122"/>
                <a:cs typeface="Arial"/>
              </a:rPr>
              <a:t>iii</a:t>
            </a:r>
            <a:endParaRPr kumimoji="0" lang="ms-MY" sz="1050" i="0" u="none" strike="noStrike" kern="0" cap="none" spc="0" normalizeH="0" baseline="0" noProof="0" dirty="0" smtClean="0">
              <a:ln>
                <a:noFill/>
              </a:ln>
              <a:effectLst/>
              <a:uLnTx/>
              <a:uFillTx/>
              <a:latin typeface="+mn-lt"/>
              <a:ea typeface="宋体" pitchFamily="2" charset="-122"/>
              <a:cs typeface="Arial"/>
            </a:endParaRPr>
          </a:p>
        </p:txBody>
      </p:sp>
      <p:sp>
        <p:nvSpPr>
          <p:cNvPr id="78" name="TextBox 77"/>
          <p:cNvSpPr txBox="1">
            <a:spLocks/>
          </p:cNvSpPr>
          <p:nvPr/>
        </p:nvSpPr>
        <p:spPr>
          <a:xfrm>
            <a:off x="3300083" y="4285530"/>
            <a:ext cx="2591555" cy="4847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GB" sz="1050" dirty="0">
                <a:solidFill>
                  <a:srgbClr val="000000"/>
                </a:solidFill>
                <a:ea typeface="Arial Unicode MS" panose="020B0604020202020204" pitchFamily="34" charset="-128"/>
                <a:cs typeface="Arial Unicode MS" panose="020B0604020202020204" pitchFamily="34" charset="-128"/>
              </a:rPr>
              <a:t>Develop a </a:t>
            </a:r>
            <a:r>
              <a:rPr lang="en-GB" sz="1050" dirty="0" smtClean="0">
                <a:solidFill>
                  <a:srgbClr val="000000"/>
                </a:solidFill>
                <a:ea typeface="Arial Unicode MS" panose="020B0604020202020204" pitchFamily="34" charset="-128"/>
                <a:cs typeface="Arial Unicode MS" panose="020B0604020202020204" pitchFamily="34" charset="-128"/>
              </a:rPr>
              <a:t>strategic </a:t>
            </a:r>
            <a:r>
              <a:rPr lang="en-GB" sz="1050" dirty="0">
                <a:solidFill>
                  <a:srgbClr val="000000"/>
                </a:solidFill>
                <a:ea typeface="Arial Unicode MS" panose="020B0604020202020204" pitchFamily="34" charset="-128"/>
                <a:cs typeface="Arial Unicode MS" panose="020B0604020202020204" pitchFamily="34" charset="-128"/>
              </a:rPr>
              <a:t>marketing campaign and value proposition for mixed game and livestock systems</a:t>
            </a:r>
            <a:endParaRPr lang="en-GB" sz="1050" dirty="0">
              <a:ea typeface="Arial Unicode MS" panose="020B0604020202020204" pitchFamily="34" charset="-128"/>
              <a:cs typeface="Arial Unicode MS" panose="020B0604020202020204" pitchFamily="34" charset="-128"/>
            </a:endParaRPr>
          </a:p>
        </p:txBody>
      </p:sp>
      <p:sp>
        <p:nvSpPr>
          <p:cNvPr id="39" name="Oval 38"/>
          <p:cNvSpPr>
            <a:spLocks/>
          </p:cNvSpPr>
          <p:nvPr/>
        </p:nvSpPr>
        <p:spPr bwMode="gray">
          <a:xfrm>
            <a:off x="3069800" y="4834672"/>
            <a:ext cx="182880" cy="182880"/>
          </a:xfrm>
          <a:prstGeom prst="ellipse">
            <a:avLst/>
          </a:prstGeom>
          <a:solidFill>
            <a:schemeClr val="accent4"/>
          </a:solidFill>
          <a:ln w="9525" cap="flat" cmpd="sng" algn="ctr">
            <a:solidFill>
              <a:schemeClr val="tx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noProof="0" dirty="0" smtClean="0">
                <a:latin typeface="+mn-lt"/>
                <a:ea typeface="宋体" pitchFamily="2" charset="-122"/>
                <a:cs typeface="Arial"/>
              </a:rPr>
              <a:t>iv</a:t>
            </a:r>
            <a:endParaRPr kumimoji="0" lang="ms-MY" sz="1050" i="0" u="none" strike="noStrike" kern="0" cap="none" spc="0" normalizeH="0" baseline="0" noProof="0" dirty="0" smtClean="0">
              <a:ln>
                <a:noFill/>
              </a:ln>
              <a:effectLst/>
              <a:uLnTx/>
              <a:uFillTx/>
              <a:latin typeface="+mn-lt"/>
              <a:ea typeface="宋体" pitchFamily="2" charset="-122"/>
              <a:cs typeface="Arial"/>
            </a:endParaRPr>
          </a:p>
        </p:txBody>
      </p:sp>
      <p:sp>
        <p:nvSpPr>
          <p:cNvPr id="79" name="TextBox 78"/>
          <p:cNvSpPr txBox="1">
            <a:spLocks/>
          </p:cNvSpPr>
          <p:nvPr/>
        </p:nvSpPr>
        <p:spPr>
          <a:xfrm>
            <a:off x="3300083" y="4857374"/>
            <a:ext cx="2591555"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GB" sz="1050" dirty="0">
                <a:solidFill>
                  <a:srgbClr val="000000"/>
                </a:solidFill>
                <a:ea typeface="Arial Unicode MS" panose="020B0604020202020204" pitchFamily="34" charset="-128"/>
                <a:cs typeface="Arial Unicode MS" panose="020B0604020202020204" pitchFamily="34" charset="-128"/>
              </a:rPr>
              <a:t>Establish mechanisms to allow for holistic and </a:t>
            </a:r>
            <a:r>
              <a:rPr lang="en-GB" sz="1050" dirty="0" smtClean="0">
                <a:solidFill>
                  <a:srgbClr val="000000"/>
                </a:solidFill>
                <a:ea typeface="Arial Unicode MS" panose="020B0604020202020204" pitchFamily="34" charset="-128"/>
                <a:cs typeface="Arial Unicode MS" panose="020B0604020202020204" pitchFamily="34" charset="-128"/>
              </a:rPr>
              <a:t>integrated </a:t>
            </a:r>
            <a:r>
              <a:rPr lang="en-GB" sz="1050" dirty="0">
                <a:solidFill>
                  <a:srgbClr val="000000"/>
                </a:solidFill>
                <a:ea typeface="Arial Unicode MS" panose="020B0604020202020204" pitchFamily="34" charset="-128"/>
                <a:cs typeface="Arial Unicode MS" panose="020B0604020202020204" pitchFamily="34" charset="-128"/>
              </a:rPr>
              <a:t>management of animal health and conflict issues at the livestock-wildlife interface</a:t>
            </a:r>
            <a:endParaRPr lang="en-GB" sz="1050" dirty="0">
              <a:ea typeface="Arial Unicode MS" panose="020B0604020202020204" pitchFamily="34" charset="-128"/>
              <a:cs typeface="Arial Unicode MS" panose="020B0604020202020204" pitchFamily="34" charset="-128"/>
            </a:endParaRPr>
          </a:p>
        </p:txBody>
      </p:sp>
      <p:sp>
        <p:nvSpPr>
          <p:cNvPr id="58" name="Oval 57"/>
          <p:cNvSpPr>
            <a:spLocks/>
          </p:cNvSpPr>
          <p:nvPr/>
        </p:nvSpPr>
        <p:spPr bwMode="gray">
          <a:xfrm>
            <a:off x="3069800" y="5568098"/>
            <a:ext cx="182880" cy="182880"/>
          </a:xfrm>
          <a:prstGeom prst="ellipse">
            <a:avLst/>
          </a:prstGeom>
          <a:solidFill>
            <a:schemeClr val="accent4"/>
          </a:solidFill>
          <a:ln w="9525" cap="flat" cmpd="sng" algn="ctr">
            <a:solidFill>
              <a:schemeClr val="tx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kumimoji="0" lang="ms-MY" sz="1050" i="0" u="none" strike="noStrike" kern="0" cap="none" spc="0" normalizeH="0" baseline="0" noProof="0" dirty="0" smtClean="0">
                <a:ln>
                  <a:noFill/>
                </a:ln>
                <a:effectLst/>
                <a:uLnTx/>
                <a:uFillTx/>
                <a:latin typeface="+mn-lt"/>
                <a:ea typeface="宋体" pitchFamily="2" charset="-122"/>
                <a:cs typeface="Arial"/>
              </a:rPr>
              <a:t>v</a:t>
            </a:r>
          </a:p>
        </p:txBody>
      </p:sp>
      <p:sp>
        <p:nvSpPr>
          <p:cNvPr id="80" name="TextBox 79"/>
          <p:cNvSpPr txBox="1">
            <a:spLocks/>
          </p:cNvSpPr>
          <p:nvPr/>
        </p:nvSpPr>
        <p:spPr>
          <a:xfrm>
            <a:off x="3300083" y="5585017"/>
            <a:ext cx="2591555" cy="3231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GB" sz="1050" dirty="0">
                <a:solidFill>
                  <a:srgbClr val="000000"/>
                </a:solidFill>
                <a:ea typeface="Arial Unicode MS" panose="020B0604020202020204" pitchFamily="34" charset="-128"/>
                <a:cs typeface="Arial Unicode MS" panose="020B0604020202020204" pitchFamily="34" charset="-128"/>
              </a:rPr>
              <a:t>Develop an appropriate mechanism to manage </a:t>
            </a:r>
            <a:r>
              <a:rPr lang="en-GB" sz="1050" dirty="0" smtClean="0">
                <a:solidFill>
                  <a:srgbClr val="000000"/>
                </a:solidFill>
                <a:ea typeface="Arial Unicode MS" panose="020B0604020202020204" pitchFamily="34" charset="-128"/>
                <a:cs typeface="Arial Unicode MS" panose="020B0604020202020204" pitchFamily="34" charset="-128"/>
              </a:rPr>
              <a:t>and </a:t>
            </a:r>
            <a:r>
              <a:rPr lang="en-GB" sz="1050" dirty="0">
                <a:solidFill>
                  <a:srgbClr val="000000"/>
                </a:solidFill>
                <a:ea typeface="Arial Unicode MS" panose="020B0604020202020204" pitchFamily="34" charset="-128"/>
                <a:cs typeface="Arial Unicode MS" panose="020B0604020202020204" pitchFamily="34" charset="-128"/>
              </a:rPr>
              <a:t>mitigate risk</a:t>
            </a:r>
            <a:endParaRPr lang="en-GB" sz="1050" dirty="0">
              <a:ea typeface="Arial Unicode MS" panose="020B0604020202020204" pitchFamily="34" charset="-128"/>
              <a:cs typeface="Arial Unicode MS" panose="020B0604020202020204" pitchFamily="34" charset="-128"/>
            </a:endParaRPr>
          </a:p>
        </p:txBody>
      </p:sp>
      <p:sp>
        <p:nvSpPr>
          <p:cNvPr id="81" name="TextBox 80"/>
          <p:cNvSpPr txBox="1">
            <a:spLocks/>
          </p:cNvSpPr>
          <p:nvPr/>
        </p:nvSpPr>
        <p:spPr>
          <a:xfrm>
            <a:off x="3300083" y="1321274"/>
            <a:ext cx="2591555" cy="4847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GB" sz="1050" dirty="0">
                <a:solidFill>
                  <a:srgbClr val="000000"/>
                </a:solidFill>
                <a:ea typeface="Arial Unicode MS" panose="020B0604020202020204" pitchFamily="34" charset="-128"/>
                <a:cs typeface="Arial Unicode MS" panose="020B0604020202020204" pitchFamily="34" charset="-128"/>
              </a:rPr>
              <a:t>Formalize </a:t>
            </a:r>
            <a:r>
              <a:rPr lang="en-GB" sz="1050" b="1" dirty="0">
                <a:solidFill>
                  <a:srgbClr val="0B4623"/>
                </a:solidFill>
                <a:ea typeface="Arial Unicode MS" panose="020B0604020202020204" pitchFamily="34" charset="-128"/>
                <a:cs typeface="Arial Unicode MS" panose="020B0604020202020204" pitchFamily="34" charset="-128"/>
              </a:rPr>
              <a:t>SA game meat market </a:t>
            </a:r>
            <a:r>
              <a:rPr lang="en-GB" sz="1050" dirty="0">
                <a:solidFill>
                  <a:srgbClr val="000000"/>
                </a:solidFill>
                <a:ea typeface="Arial Unicode MS" panose="020B0604020202020204" pitchFamily="34" charset="-128"/>
                <a:cs typeface="Arial Unicode MS" panose="020B0604020202020204" pitchFamily="34" charset="-128"/>
              </a:rPr>
              <a:t>and create a network of game meat processing </a:t>
            </a:r>
            <a:r>
              <a:rPr lang="en-GB" sz="1050" dirty="0" smtClean="0">
                <a:solidFill>
                  <a:srgbClr val="000000"/>
                </a:solidFill>
                <a:ea typeface="Arial Unicode MS" panose="020B0604020202020204" pitchFamily="34" charset="-128"/>
                <a:cs typeface="Arial Unicode MS" panose="020B0604020202020204" pitchFamily="34" charset="-128"/>
              </a:rPr>
              <a:t>facilities</a:t>
            </a:r>
            <a:endParaRPr lang="en-GB" sz="1050" b="1" dirty="0" smtClean="0">
              <a:solidFill>
                <a:schemeClr val="tx2"/>
              </a:solidFill>
              <a:ea typeface="Arial Unicode MS" panose="020B0604020202020204" pitchFamily="34" charset="-128"/>
              <a:cs typeface="Arial Unicode MS" panose="020B0604020202020204" pitchFamily="34" charset="-128"/>
            </a:endParaRPr>
          </a:p>
        </p:txBody>
      </p:sp>
      <p:sp>
        <p:nvSpPr>
          <p:cNvPr id="82" name="TextBox 81"/>
          <p:cNvSpPr txBox="1">
            <a:spLocks/>
          </p:cNvSpPr>
          <p:nvPr/>
        </p:nvSpPr>
        <p:spPr>
          <a:xfrm>
            <a:off x="3300083" y="1884852"/>
            <a:ext cx="2591555"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GB" sz="1050" dirty="0">
                <a:solidFill>
                  <a:srgbClr val="000000"/>
                </a:solidFill>
                <a:ea typeface="Arial Unicode MS" panose="020B0604020202020204" pitchFamily="34" charset="-128"/>
                <a:cs typeface="Arial Unicode MS" panose="020B0604020202020204" pitchFamily="34" charset="-128"/>
              </a:rPr>
              <a:t>Implement a campaign that </a:t>
            </a:r>
            <a:r>
              <a:rPr lang="en-GB" sz="1050" dirty="0">
                <a:solidFill>
                  <a:srgbClr val="0B4623"/>
                </a:solidFill>
                <a:ea typeface="Arial Unicode MS" panose="020B0604020202020204" pitchFamily="34" charset="-128"/>
                <a:cs typeface="Arial Unicode MS" panose="020B0604020202020204" pitchFamily="34" charset="-128"/>
              </a:rPr>
              <a:t>drives </a:t>
            </a:r>
            <a:r>
              <a:rPr lang="en-GB" sz="1050" b="1" dirty="0">
                <a:solidFill>
                  <a:srgbClr val="0B4623"/>
                </a:solidFill>
                <a:ea typeface="Arial Unicode MS" panose="020B0604020202020204" pitchFamily="34" charset="-128"/>
                <a:cs typeface="Arial Unicode MS" panose="020B0604020202020204" pitchFamily="34" charset="-128"/>
              </a:rPr>
              <a:t>participative transformation and consumer </a:t>
            </a:r>
            <a:r>
              <a:rPr lang="en-GB" sz="1050" b="1" dirty="0" smtClean="0">
                <a:solidFill>
                  <a:srgbClr val="0B4623"/>
                </a:solidFill>
                <a:ea typeface="Arial Unicode MS" panose="020B0604020202020204" pitchFamily="34" charset="-128"/>
                <a:cs typeface="Arial Unicode MS" panose="020B0604020202020204" pitchFamily="34" charset="-128"/>
              </a:rPr>
              <a:t>growth </a:t>
            </a:r>
            <a:r>
              <a:rPr lang="en-GB" sz="1050" dirty="0">
                <a:solidFill>
                  <a:srgbClr val="000000"/>
                </a:solidFill>
                <a:ea typeface="Arial Unicode MS" panose="020B0604020202020204" pitchFamily="34" charset="-128"/>
                <a:cs typeface="Arial Unicode MS" panose="020B0604020202020204" pitchFamily="34" charset="-128"/>
              </a:rPr>
              <a:t>for wildlife related activities and products</a:t>
            </a:r>
            <a:endParaRPr lang="en-GB" sz="1050" b="1" dirty="0" smtClean="0">
              <a:solidFill>
                <a:schemeClr val="tx2"/>
              </a:solidFill>
              <a:ea typeface="Arial Unicode MS" panose="020B0604020202020204" pitchFamily="34" charset="-128"/>
              <a:cs typeface="Arial Unicode MS" panose="020B0604020202020204" pitchFamily="34" charset="-128"/>
            </a:endParaRPr>
          </a:p>
        </p:txBody>
      </p:sp>
      <p:sp>
        <p:nvSpPr>
          <p:cNvPr id="83" name="TextBox 82"/>
          <p:cNvSpPr txBox="1">
            <a:spLocks/>
          </p:cNvSpPr>
          <p:nvPr/>
        </p:nvSpPr>
        <p:spPr>
          <a:xfrm>
            <a:off x="6198433" y="1321274"/>
            <a:ext cx="2591555" cy="4847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MY" sz="1050" dirty="0">
                <a:solidFill>
                  <a:srgbClr val="000000"/>
                </a:solidFill>
              </a:rPr>
              <a:t>Create an</a:t>
            </a:r>
            <a:r>
              <a:rPr lang="en-ZA" sz="1050" dirty="0">
                <a:solidFill>
                  <a:srgbClr val="000000"/>
                </a:solidFill>
              </a:rPr>
              <a:t> </a:t>
            </a:r>
            <a:r>
              <a:rPr lang="en-ZA" sz="1050" b="1" dirty="0">
                <a:solidFill>
                  <a:srgbClr val="0B4623"/>
                </a:solidFill>
              </a:rPr>
              <a:t>enabling legislative environment </a:t>
            </a:r>
            <a:r>
              <a:rPr lang="en-ZA" sz="1050" dirty="0">
                <a:solidFill>
                  <a:srgbClr val="000000"/>
                </a:solidFill>
              </a:rPr>
              <a:t>through the amendment of </a:t>
            </a:r>
            <a:r>
              <a:rPr lang="en-ZA" sz="1050" dirty="0" err="1" smtClean="0">
                <a:solidFill>
                  <a:srgbClr val="000000"/>
                </a:solidFill>
              </a:rPr>
              <a:t>NEMBA</a:t>
            </a:r>
            <a:endParaRPr lang="en-US" sz="1050" dirty="0"/>
          </a:p>
        </p:txBody>
      </p:sp>
      <p:sp>
        <p:nvSpPr>
          <p:cNvPr id="44" name="Oval 43"/>
          <p:cNvSpPr>
            <a:spLocks/>
          </p:cNvSpPr>
          <p:nvPr/>
        </p:nvSpPr>
        <p:spPr bwMode="gray">
          <a:xfrm>
            <a:off x="5968150" y="1866722"/>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dirty="0" smtClean="0">
                <a:solidFill>
                  <a:schemeClr val="bg1"/>
                </a:solidFill>
                <a:latin typeface="+mn-lt"/>
                <a:ea typeface="宋体" pitchFamily="2" charset="-122"/>
                <a:cs typeface="Arial"/>
              </a:rPr>
              <a:t>10</a:t>
            </a:r>
            <a:endPar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endParaRPr>
          </a:p>
        </p:txBody>
      </p:sp>
      <p:sp>
        <p:nvSpPr>
          <p:cNvPr id="84" name="TextBox 83"/>
          <p:cNvSpPr txBox="1">
            <a:spLocks/>
          </p:cNvSpPr>
          <p:nvPr/>
        </p:nvSpPr>
        <p:spPr>
          <a:xfrm>
            <a:off x="6198433" y="1882104"/>
            <a:ext cx="2591555" cy="3231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ZA" sz="1050" dirty="0">
                <a:solidFill>
                  <a:srgbClr val="000000"/>
                </a:solidFill>
              </a:rPr>
              <a:t>Develop and implement </a:t>
            </a:r>
            <a:r>
              <a:rPr lang="en-ZA" sz="1050" b="1" dirty="0">
                <a:solidFill>
                  <a:srgbClr val="0B4623"/>
                </a:solidFill>
              </a:rPr>
              <a:t>wildlife industry </a:t>
            </a:r>
            <a:r>
              <a:rPr lang="en-ZA" sz="1050" b="1" dirty="0" smtClean="0">
                <a:solidFill>
                  <a:srgbClr val="0B4623"/>
                </a:solidFill>
              </a:rPr>
              <a:t>standards</a:t>
            </a:r>
            <a:endParaRPr lang="en-US" sz="1050" dirty="0"/>
          </a:p>
        </p:txBody>
      </p:sp>
      <p:sp>
        <p:nvSpPr>
          <p:cNvPr id="57" name="Oval 56"/>
          <p:cNvSpPr>
            <a:spLocks/>
          </p:cNvSpPr>
          <p:nvPr/>
        </p:nvSpPr>
        <p:spPr bwMode="gray">
          <a:xfrm>
            <a:off x="5968150" y="2265969"/>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rPr>
              <a:t>11</a:t>
            </a:r>
          </a:p>
        </p:txBody>
      </p:sp>
      <p:sp>
        <p:nvSpPr>
          <p:cNvPr id="85" name="TextBox 84"/>
          <p:cNvSpPr txBox="1">
            <a:spLocks/>
          </p:cNvSpPr>
          <p:nvPr/>
        </p:nvSpPr>
        <p:spPr>
          <a:xfrm>
            <a:off x="6198433" y="2277576"/>
            <a:ext cx="2591555" cy="3231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ZA" sz="1050" dirty="0">
                <a:solidFill>
                  <a:srgbClr val="000000"/>
                </a:solidFill>
              </a:rPr>
              <a:t>Develop and Implement a </a:t>
            </a:r>
            <a:r>
              <a:rPr lang="en-ZA" sz="1050" b="1" dirty="0">
                <a:solidFill>
                  <a:srgbClr val="0B4623"/>
                </a:solidFill>
              </a:rPr>
              <a:t>national wildlife </a:t>
            </a:r>
            <a:r>
              <a:rPr lang="en-ZA" sz="1050" b="1" dirty="0" smtClean="0">
                <a:solidFill>
                  <a:srgbClr val="0B4623"/>
                </a:solidFill>
              </a:rPr>
              <a:t>economy </a:t>
            </a:r>
            <a:r>
              <a:rPr lang="en-ZA" sz="1050" b="1" dirty="0">
                <a:solidFill>
                  <a:srgbClr val="0B4623"/>
                </a:solidFill>
              </a:rPr>
              <a:t>certification scheme</a:t>
            </a:r>
            <a:endParaRPr lang="en-US" sz="1050" dirty="0"/>
          </a:p>
        </p:txBody>
      </p:sp>
      <p:sp>
        <p:nvSpPr>
          <p:cNvPr id="32" name="Oval 31"/>
          <p:cNvSpPr>
            <a:spLocks/>
          </p:cNvSpPr>
          <p:nvPr/>
        </p:nvSpPr>
        <p:spPr bwMode="gray">
          <a:xfrm>
            <a:off x="5968150" y="2661441"/>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dirty="0" smtClean="0">
                <a:solidFill>
                  <a:schemeClr val="bg1"/>
                </a:solidFill>
                <a:latin typeface="+mn-lt"/>
                <a:ea typeface="宋体" pitchFamily="2" charset="-122"/>
                <a:cs typeface="Arial"/>
              </a:rPr>
              <a:t>12</a:t>
            </a:r>
            <a:endPar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endParaRPr>
          </a:p>
        </p:txBody>
      </p:sp>
      <p:sp>
        <p:nvSpPr>
          <p:cNvPr id="86" name="TextBox 85"/>
          <p:cNvSpPr txBox="1">
            <a:spLocks/>
          </p:cNvSpPr>
          <p:nvPr/>
        </p:nvSpPr>
        <p:spPr>
          <a:xfrm>
            <a:off x="6198433" y="2673495"/>
            <a:ext cx="2591555" cy="4847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MY" sz="1050" dirty="0">
                <a:solidFill>
                  <a:srgbClr val="000000"/>
                </a:solidFill>
              </a:rPr>
              <a:t>Develop </a:t>
            </a:r>
            <a:r>
              <a:rPr lang="en-ZA" sz="1050" dirty="0">
                <a:solidFill>
                  <a:srgbClr val="000000"/>
                </a:solidFill>
              </a:rPr>
              <a:t>and implement an </a:t>
            </a:r>
            <a:r>
              <a:rPr lang="en-ZA" sz="1050" b="1" dirty="0">
                <a:solidFill>
                  <a:srgbClr val="0B4623"/>
                </a:solidFill>
              </a:rPr>
              <a:t>electronic </a:t>
            </a:r>
            <a:r>
              <a:rPr lang="en-ZA" sz="1050" b="1" dirty="0" smtClean="0">
                <a:solidFill>
                  <a:srgbClr val="0B4623"/>
                </a:solidFill>
              </a:rPr>
              <a:t>wildlife </a:t>
            </a:r>
            <a:r>
              <a:rPr lang="en-ZA" sz="1050" b="1" dirty="0">
                <a:solidFill>
                  <a:srgbClr val="0B4623"/>
                </a:solidFill>
              </a:rPr>
              <a:t>permitting system</a:t>
            </a:r>
            <a:r>
              <a:rPr lang="en-ZA" sz="1050" dirty="0">
                <a:solidFill>
                  <a:srgbClr val="000000"/>
                </a:solidFill>
              </a:rPr>
              <a:t> and centralised database</a:t>
            </a:r>
            <a:endParaRPr lang="en-US" sz="1050" dirty="0"/>
          </a:p>
        </p:txBody>
      </p:sp>
      <p:sp>
        <p:nvSpPr>
          <p:cNvPr id="41" name="Oval 40"/>
          <p:cNvSpPr>
            <a:spLocks/>
          </p:cNvSpPr>
          <p:nvPr/>
        </p:nvSpPr>
        <p:spPr bwMode="gray">
          <a:xfrm>
            <a:off x="5968150" y="3218943"/>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dirty="0" smtClean="0">
                <a:solidFill>
                  <a:schemeClr val="bg1"/>
                </a:solidFill>
                <a:latin typeface="+mn-lt"/>
                <a:ea typeface="宋体" pitchFamily="2" charset="-122"/>
                <a:cs typeface="Arial"/>
              </a:rPr>
              <a:t>13</a:t>
            </a:r>
            <a:endPar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endParaRPr>
          </a:p>
        </p:txBody>
      </p:sp>
      <p:sp>
        <p:nvSpPr>
          <p:cNvPr id="87" name="TextBox 86"/>
          <p:cNvSpPr txBox="1">
            <a:spLocks/>
          </p:cNvSpPr>
          <p:nvPr/>
        </p:nvSpPr>
        <p:spPr>
          <a:xfrm>
            <a:off x="6198433" y="3226961"/>
            <a:ext cx="2591555" cy="8079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ZA" sz="1050" b="1" dirty="0">
                <a:solidFill>
                  <a:srgbClr val="0B4623"/>
                </a:solidFill>
              </a:rPr>
              <a:t>“</a:t>
            </a:r>
            <a:r>
              <a:rPr lang="en-ZA" sz="1050" b="1" dirty="0" smtClean="0">
                <a:solidFill>
                  <a:srgbClr val="0B4623"/>
                </a:solidFill>
              </a:rPr>
              <a:t>Re-position” </a:t>
            </a:r>
            <a:r>
              <a:rPr lang="en-ZA" sz="1050" b="1" dirty="0">
                <a:solidFill>
                  <a:srgbClr val="0B4623"/>
                </a:solidFill>
              </a:rPr>
              <a:t>the Wildlife Forum</a:t>
            </a:r>
            <a:r>
              <a:rPr lang="en-ZA" sz="1050" dirty="0">
                <a:solidFill>
                  <a:srgbClr val="0B4623"/>
                </a:solidFill>
              </a:rPr>
              <a:t> </a:t>
            </a:r>
            <a:r>
              <a:rPr lang="en-ZA" sz="1050" dirty="0">
                <a:solidFill>
                  <a:srgbClr val="000000"/>
                </a:solidFill>
              </a:rPr>
              <a:t>as an efficient interdepartmental/ industry collaboration and co-ordination platform to promote the benefits of the Wildlife Economy</a:t>
            </a:r>
            <a:endParaRPr lang="en-US" sz="1050" dirty="0"/>
          </a:p>
        </p:txBody>
      </p:sp>
      <p:sp>
        <p:nvSpPr>
          <p:cNvPr id="42" name="Oval 41"/>
          <p:cNvSpPr>
            <a:spLocks/>
          </p:cNvSpPr>
          <p:nvPr/>
        </p:nvSpPr>
        <p:spPr bwMode="gray">
          <a:xfrm>
            <a:off x="5968150" y="4095574"/>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noProof="0" dirty="0" smtClean="0">
                <a:solidFill>
                  <a:schemeClr val="bg1"/>
                </a:solidFill>
                <a:latin typeface="+mn-lt"/>
                <a:ea typeface="宋体" pitchFamily="2" charset="-122"/>
                <a:cs typeface="Arial"/>
              </a:rPr>
              <a:t>14</a:t>
            </a:r>
            <a:endPar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endParaRPr>
          </a:p>
        </p:txBody>
      </p:sp>
      <p:sp>
        <p:nvSpPr>
          <p:cNvPr id="89" name="TextBox 88"/>
          <p:cNvSpPr txBox="1">
            <a:spLocks/>
          </p:cNvSpPr>
          <p:nvPr/>
        </p:nvSpPr>
        <p:spPr>
          <a:xfrm>
            <a:off x="6198433" y="4105308"/>
            <a:ext cx="2591555" cy="4847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US" sz="1050" dirty="0">
                <a:solidFill>
                  <a:srgbClr val="000000"/>
                </a:solidFill>
              </a:rPr>
              <a:t>Develop an integrated </a:t>
            </a:r>
            <a:r>
              <a:rPr lang="en-US" sz="1050" dirty="0" smtClean="0">
                <a:solidFill>
                  <a:srgbClr val="000000"/>
                </a:solidFill>
              </a:rPr>
              <a:t>k</a:t>
            </a:r>
            <a:r>
              <a:rPr lang="en-US" sz="1050" b="1" dirty="0" smtClean="0">
                <a:solidFill>
                  <a:srgbClr val="0B4623"/>
                </a:solidFill>
              </a:rPr>
              <a:t>nowledge/</a:t>
            </a:r>
            <a:br>
              <a:rPr lang="en-US" sz="1050" b="1" dirty="0" smtClean="0">
                <a:solidFill>
                  <a:srgbClr val="0B4623"/>
                </a:solidFill>
              </a:rPr>
            </a:br>
            <a:r>
              <a:rPr lang="en-US" sz="1050" b="1" dirty="0" smtClean="0">
                <a:solidFill>
                  <a:srgbClr val="0B4623"/>
                </a:solidFill>
              </a:rPr>
              <a:t>evidence </a:t>
            </a:r>
            <a:r>
              <a:rPr lang="en-US" sz="1050" b="1" dirty="0">
                <a:solidFill>
                  <a:srgbClr val="0B4623"/>
                </a:solidFill>
              </a:rPr>
              <a:t>generating and sharing platform</a:t>
            </a:r>
            <a:r>
              <a:rPr lang="en-US" sz="1050" dirty="0">
                <a:solidFill>
                  <a:srgbClr val="000000"/>
                </a:solidFill>
              </a:rPr>
              <a:t> to support the wildlife economy</a:t>
            </a:r>
            <a:endParaRPr lang="en-US" sz="1050" dirty="0"/>
          </a:p>
        </p:txBody>
      </p:sp>
      <p:sp>
        <p:nvSpPr>
          <p:cNvPr id="50" name="Oval 49"/>
          <p:cNvSpPr>
            <a:spLocks/>
          </p:cNvSpPr>
          <p:nvPr/>
        </p:nvSpPr>
        <p:spPr bwMode="gray">
          <a:xfrm>
            <a:off x="5968150" y="4650755"/>
            <a:ext cx="182880" cy="182880"/>
          </a:xfrm>
          <a:prstGeom prst="ellipse">
            <a:avLst/>
          </a:prstGeom>
          <a:solidFill>
            <a:schemeClr val="tx2"/>
          </a:solidFill>
          <a:ln w="9525" cap="flat" cmpd="sng" algn="ctr">
            <a:solidFill>
              <a:schemeClr val="bg1"/>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
                <a:srgbClr val="002960"/>
              </a:buClr>
              <a:buSzTx/>
              <a:tabLst/>
              <a:defRPr/>
            </a:pPr>
            <a:r>
              <a:rPr lang="en-US" sz="1050" kern="0" noProof="0" dirty="0" smtClean="0">
                <a:solidFill>
                  <a:schemeClr val="bg1"/>
                </a:solidFill>
                <a:latin typeface="+mn-lt"/>
                <a:ea typeface="宋体" pitchFamily="2" charset="-122"/>
                <a:cs typeface="Arial"/>
              </a:rPr>
              <a:t>15</a:t>
            </a:r>
            <a:endParaRPr kumimoji="0" lang="ms-MY" sz="1050" i="0" u="none" strike="noStrike" kern="0" cap="none" spc="0" normalizeH="0" baseline="0" noProof="0" dirty="0" smtClean="0">
              <a:ln>
                <a:noFill/>
              </a:ln>
              <a:solidFill>
                <a:schemeClr val="bg1"/>
              </a:solidFill>
              <a:effectLst/>
              <a:uLnTx/>
              <a:uFillTx/>
              <a:latin typeface="+mn-lt"/>
              <a:ea typeface="宋体" pitchFamily="2" charset="-122"/>
              <a:cs typeface="Arial"/>
            </a:endParaRPr>
          </a:p>
        </p:txBody>
      </p:sp>
      <p:sp>
        <p:nvSpPr>
          <p:cNvPr id="91" name="TextBox 90"/>
          <p:cNvSpPr txBox="1">
            <a:spLocks/>
          </p:cNvSpPr>
          <p:nvPr/>
        </p:nvSpPr>
        <p:spPr>
          <a:xfrm>
            <a:off x="6198433" y="4674984"/>
            <a:ext cx="2591555" cy="3231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ZA" sz="1050" b="1" dirty="0">
                <a:solidFill>
                  <a:srgbClr val="0B4623"/>
                </a:solidFill>
              </a:rPr>
              <a:t>Leverage </a:t>
            </a:r>
            <a:r>
              <a:rPr lang="en-ZA" sz="1050" b="1" dirty="0" smtClean="0">
                <a:solidFill>
                  <a:srgbClr val="0B4623"/>
                </a:solidFill>
              </a:rPr>
              <a:t>protected </a:t>
            </a:r>
            <a:r>
              <a:rPr lang="en-ZA" sz="1050" b="1" dirty="0">
                <a:solidFill>
                  <a:srgbClr val="0B4623"/>
                </a:solidFill>
              </a:rPr>
              <a:t>areas to </a:t>
            </a:r>
            <a:r>
              <a:rPr lang="en-ZA" sz="1050" dirty="0">
                <a:solidFill>
                  <a:srgbClr val="000000"/>
                </a:solidFill>
              </a:rPr>
              <a:t>unlock economic potential</a:t>
            </a:r>
            <a:endParaRPr lang="en-US" sz="1050" dirty="0"/>
          </a:p>
        </p:txBody>
      </p:sp>
      <p:sp>
        <p:nvSpPr>
          <p:cNvPr id="92" name="TextBox 91"/>
          <p:cNvSpPr txBox="1">
            <a:spLocks/>
          </p:cNvSpPr>
          <p:nvPr/>
        </p:nvSpPr>
        <p:spPr>
          <a:xfrm>
            <a:off x="6198433" y="5423434"/>
            <a:ext cx="2591555" cy="4847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ts val="200"/>
              </a:spcBef>
            </a:pPr>
            <a:r>
              <a:rPr lang="en-MY" sz="1050" dirty="0">
                <a:solidFill>
                  <a:srgbClr val="000000"/>
                </a:solidFill>
              </a:rPr>
              <a:t>Develop, upskill and resource </a:t>
            </a:r>
            <a:r>
              <a:rPr lang="en-ZA" sz="1050" dirty="0">
                <a:solidFill>
                  <a:srgbClr val="000000"/>
                </a:solidFill>
              </a:rPr>
              <a:t>extension services to facilitate the growth of the wildlife </a:t>
            </a:r>
            <a:r>
              <a:rPr lang="en-ZA" sz="1050" dirty="0" smtClean="0">
                <a:solidFill>
                  <a:srgbClr val="000000"/>
                </a:solidFill>
              </a:rPr>
              <a:t>economy</a:t>
            </a:r>
            <a:endParaRPr lang="en-ZA" sz="1050" dirty="0"/>
          </a:p>
        </p:txBody>
      </p:sp>
    </p:spTree>
    <p:extLst>
      <p:ext uri="{BB962C8B-B14F-4D97-AF65-F5344CB8AC3E}">
        <p14:creationId xmlns:p14="http://schemas.microsoft.com/office/powerpoint/2010/main" val="20877131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42" name="think-cell Slide" r:id="rId13" imgW="524" imgH="526" progId="TCLayout.ActiveDocument.1">
                  <p:embed/>
                </p:oleObj>
              </mc:Choice>
              <mc:Fallback>
                <p:oleObj name="think-cell Slide" r:id="rId13" imgW="524" imgH="526"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err="1">
              <a:solidFill>
                <a:schemeClr val="tx1"/>
              </a:solidFill>
              <a:latin typeface="Arial" panose="020B0604020202020204" pitchFamily="34" charset="0"/>
              <a:sym typeface="Arial" panose="020B0604020202020204" pitchFamily="34" charset="0"/>
            </a:endParaRPr>
          </a:p>
        </p:txBody>
      </p:sp>
      <p:grpSp>
        <p:nvGrpSpPr>
          <p:cNvPr id="49" name="Group 48"/>
          <p:cNvGrpSpPr/>
          <p:nvPr/>
        </p:nvGrpSpPr>
        <p:grpSpPr>
          <a:xfrm>
            <a:off x="1" y="1549668"/>
            <a:ext cx="8961438" cy="914400"/>
            <a:chOff x="1" y="1654598"/>
            <a:chExt cx="8961438" cy="914400"/>
          </a:xfrm>
        </p:grpSpPr>
        <p:sp>
          <p:nvSpPr>
            <p:cNvPr id="50" name="Rectangle 49"/>
            <p:cNvSpPr>
              <a:spLocks/>
            </p:cNvSpPr>
            <p:nvPr/>
          </p:nvSpPr>
          <p:spPr>
            <a:xfrm>
              <a:off x="1" y="1654598"/>
              <a:ext cx="8961438" cy="914400"/>
            </a:xfrm>
            <a:prstGeom prst="rect">
              <a:avLst/>
            </a:prstGeom>
            <a:gradFill>
              <a:gsLst>
                <a:gs pos="0">
                  <a:schemeClr val="bg1">
                    <a:lumMod val="95000"/>
                  </a:schemeClr>
                </a:gs>
                <a:gs pos="100000">
                  <a:schemeClr val="bg1">
                    <a:alpha val="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51" name="Straight Connector 50"/>
            <p:cNvCxnSpPr>
              <a:cxnSpLocks/>
            </p:cNvCxnSpPr>
            <p:nvPr/>
          </p:nvCxnSpPr>
          <p:spPr>
            <a:xfrm>
              <a:off x="1" y="1654598"/>
              <a:ext cx="896143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a:off x="4973405" y="1351547"/>
            <a:ext cx="396240" cy="396240"/>
            <a:chOff x="5039844" y="1003767"/>
            <a:chExt cx="435864" cy="435864"/>
          </a:xfrm>
        </p:grpSpPr>
        <p:sp>
          <p:nvSpPr>
            <p:cNvPr id="53" name="Oval 52"/>
            <p:cNvSpPr/>
            <p:nvPr/>
          </p:nvSpPr>
          <p:spPr>
            <a:xfrm>
              <a:off x="5039844" y="1003767"/>
              <a:ext cx="435864" cy="435864"/>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54" name="Group 53"/>
            <p:cNvGrpSpPr/>
            <p:nvPr/>
          </p:nvGrpSpPr>
          <p:grpSpPr>
            <a:xfrm>
              <a:off x="5101407" y="1091356"/>
              <a:ext cx="312739" cy="260687"/>
              <a:chOff x="5135880" y="1150276"/>
              <a:chExt cx="312739" cy="226788"/>
            </a:xfrm>
            <a:solidFill>
              <a:schemeClr val="bg1"/>
            </a:solidFill>
          </p:grpSpPr>
          <p:sp>
            <p:nvSpPr>
              <p:cNvPr id="55" name="Chevron 54"/>
              <p:cNvSpPr/>
              <p:nvPr/>
            </p:nvSpPr>
            <p:spPr>
              <a:xfrm>
                <a:off x="5135880" y="1186221"/>
                <a:ext cx="154899" cy="154899"/>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56" name="Chevron 55"/>
              <p:cNvSpPr/>
              <p:nvPr/>
            </p:nvSpPr>
            <p:spPr>
              <a:xfrm>
                <a:off x="5221831" y="1150276"/>
                <a:ext cx="226788" cy="226788"/>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00050" lvl="5"/>
            <a:r>
              <a:rPr lang="en-US" dirty="0"/>
              <a:t>This initiative proposes to triple the number of projects receiving support from the Working for Wildlife </a:t>
            </a:r>
            <a:r>
              <a:rPr lang="en-US" dirty="0" err="1"/>
              <a:t>programme</a:t>
            </a:r>
            <a:endParaRPr lang="en-ZA" dirty="0"/>
          </a:p>
        </p:txBody>
      </p:sp>
      <p:sp>
        <p:nvSpPr>
          <p:cNvPr id="4" name="Rectangle 3"/>
          <p:cNvSpPr txBox="1">
            <a:spLocks/>
          </p:cNvSpPr>
          <p:nvPr>
            <p:custDataLst>
              <p:tags r:id="rId4"/>
            </p:custDataLst>
          </p:nvPr>
        </p:nvSpPr>
        <p:spPr>
          <a:xfrm>
            <a:off x="525448" y="2059625"/>
            <a:ext cx="1489511" cy="430887"/>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400" b="1" dirty="0">
                <a:solidFill>
                  <a:schemeClr val="tx2"/>
                </a:solidFill>
              </a:rPr>
              <a:t>Infrastructure support</a:t>
            </a:r>
          </a:p>
        </p:txBody>
      </p:sp>
      <p:sp>
        <p:nvSpPr>
          <p:cNvPr id="39" name="Rectangle 3"/>
          <p:cNvSpPr txBox="1">
            <a:spLocks/>
          </p:cNvSpPr>
          <p:nvPr>
            <p:custDataLst>
              <p:tags r:id="rId5"/>
            </p:custDataLst>
          </p:nvPr>
        </p:nvSpPr>
        <p:spPr>
          <a:xfrm>
            <a:off x="2717682" y="2059625"/>
            <a:ext cx="1489511" cy="64633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400" b="1" dirty="0">
                <a:solidFill>
                  <a:schemeClr val="tx2"/>
                </a:solidFill>
              </a:rPr>
              <a:t>Game donations and expanded infrastructure</a:t>
            </a:r>
          </a:p>
        </p:txBody>
      </p:sp>
      <p:cxnSp>
        <p:nvCxnSpPr>
          <p:cNvPr id="9" name="Straight Arrow Connector 8"/>
          <p:cNvCxnSpPr>
            <a:cxnSpLocks/>
          </p:cNvCxnSpPr>
          <p:nvPr/>
        </p:nvCxnSpPr>
        <p:spPr>
          <a:xfrm>
            <a:off x="174087" y="1869413"/>
            <a:ext cx="2192233" cy="0"/>
          </a:xfrm>
          <a:prstGeom prst="straightConnector1">
            <a:avLst/>
          </a:prstGeom>
          <a:ln>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cxnSpLocks/>
          </p:cNvCxnSpPr>
          <p:nvPr/>
        </p:nvCxnSpPr>
        <p:spPr>
          <a:xfrm>
            <a:off x="2366321" y="1869413"/>
            <a:ext cx="2192233" cy="0"/>
          </a:xfrm>
          <a:prstGeom prst="straightConnector1">
            <a:avLst/>
          </a:prstGeom>
          <a:ln>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60908" y="1761691"/>
            <a:ext cx="1218590" cy="215444"/>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400" b="1" dirty="0"/>
              <a:t>Today’s scope</a:t>
            </a:r>
          </a:p>
        </p:txBody>
      </p:sp>
      <p:sp>
        <p:nvSpPr>
          <p:cNvPr id="42" name="TextBox 41"/>
          <p:cNvSpPr txBox="1"/>
          <p:nvPr/>
        </p:nvSpPr>
        <p:spPr>
          <a:xfrm>
            <a:off x="3010026" y="1761691"/>
            <a:ext cx="904822" cy="215444"/>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400" b="1" dirty="0"/>
              <a:t>Expansion</a:t>
            </a:r>
          </a:p>
        </p:txBody>
      </p:sp>
      <p:sp>
        <p:nvSpPr>
          <p:cNvPr id="43" name="AutoShape 250"/>
          <p:cNvSpPr>
            <a:spLocks noChangeArrowheads="1"/>
          </p:cNvSpPr>
          <p:nvPr/>
        </p:nvSpPr>
        <p:spPr bwMode="auto">
          <a:xfrm>
            <a:off x="171451" y="1261099"/>
            <a:ext cx="4699486"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b="1" dirty="0">
                <a:solidFill>
                  <a:schemeClr val="tx2"/>
                </a:solidFill>
                <a:latin typeface="+mn-lt"/>
              </a:rPr>
              <a:t>Working for Wildlife Program</a:t>
            </a:r>
            <a:endParaRPr lang="en-US" b="1" baseline="0" noProof="0" dirty="0">
              <a:solidFill>
                <a:srgbClr val="808080"/>
              </a:solidFill>
              <a:latin typeface="+mn-lt"/>
            </a:endParaRPr>
          </a:p>
        </p:txBody>
      </p:sp>
      <p:graphicFrame>
        <p:nvGraphicFramePr>
          <p:cNvPr id="13" name="Object 12"/>
          <p:cNvGraphicFramePr>
            <a:graphicFrameLocks/>
          </p:cNvGraphicFramePr>
          <p:nvPr>
            <p:custDataLst>
              <p:tags r:id="rId6"/>
            </p:custDataLst>
            <p:extLst/>
          </p:nvPr>
        </p:nvGraphicFramePr>
        <p:xfrm>
          <a:off x="5448300" y="2857500"/>
          <a:ext cx="3352800" cy="2028825"/>
        </p:xfrm>
        <a:graphic>
          <a:graphicData uri="http://schemas.openxmlformats.org/presentationml/2006/ole">
            <mc:AlternateContent xmlns:mc="http://schemas.openxmlformats.org/markup-compatibility/2006">
              <mc:Choice xmlns:v="urn:schemas-microsoft-com:vml" Requires="v">
                <p:oleObj spid="_x0000_s111643" name="Chart" r:id="rId15" imgW="3352666" imgH="2028821" progId="MSGraph.Chart.8">
                  <p:embed followColorScheme="full"/>
                </p:oleObj>
              </mc:Choice>
              <mc:Fallback>
                <p:oleObj name="Chart" r:id="rId15" imgW="3352666" imgH="2028821" progId="MSGraph.Chart.8">
                  <p:embed followColorScheme="full"/>
                  <p:pic>
                    <p:nvPicPr>
                      <p:cNvPr id="0" name=""/>
                      <p:cNvPicPr/>
                      <p:nvPr/>
                    </p:nvPicPr>
                    <p:blipFill>
                      <a:blip r:embed="rId16"/>
                      <a:stretch>
                        <a:fillRect/>
                      </a:stretch>
                    </p:blipFill>
                    <p:spPr>
                      <a:xfrm>
                        <a:off x="5448300" y="2857500"/>
                        <a:ext cx="3352800" cy="2028825"/>
                      </a:xfrm>
                      <a:prstGeom prst="rect">
                        <a:avLst/>
                      </a:prstGeom>
                    </p:spPr>
                  </p:pic>
                </p:oleObj>
              </mc:Fallback>
            </mc:AlternateContent>
          </a:graphicData>
        </a:graphic>
      </p:graphicFrame>
      <p:sp>
        <p:nvSpPr>
          <p:cNvPr id="64" name="Text Placeholder 65"/>
          <p:cNvSpPr>
            <a:spLocks noGrp="1"/>
          </p:cNvSpPr>
          <p:nvPr>
            <p:custDataLst>
              <p:tags r:id="rId7"/>
            </p:custDataLst>
          </p:nvPr>
        </p:nvSpPr>
        <p:spPr bwMode="auto">
          <a:xfrm>
            <a:off x="7712075" y="4953000"/>
            <a:ext cx="406400"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dirty="0">
                <a:latin typeface="Arial" panose="020B0604020202020204" pitchFamily="34" charset="0"/>
                <a:sym typeface="Arial" panose="020B0604020202020204" pitchFamily="34" charset="0"/>
              </a:rPr>
              <a:t>2030</a:t>
            </a:r>
          </a:p>
        </p:txBody>
      </p:sp>
      <p:sp>
        <p:nvSpPr>
          <p:cNvPr id="65" name="Text Placeholder 66"/>
          <p:cNvSpPr>
            <a:spLocks noGrp="1"/>
          </p:cNvSpPr>
          <p:nvPr>
            <p:custDataLst>
              <p:tags r:id="rId8"/>
            </p:custDataLst>
          </p:nvPr>
        </p:nvSpPr>
        <p:spPr bwMode="gray">
          <a:xfrm>
            <a:off x="6176963" y="4048125"/>
            <a:ext cx="344488"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b"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400" dirty="0">
                <a:latin typeface="Arial" panose="020B0604020202020204" pitchFamily="34" charset="0"/>
                <a:sym typeface="Arial" panose="020B0604020202020204" pitchFamily="34" charset="0"/>
              </a:rPr>
              <a:t>~</a:t>
            </a:r>
            <a:fld id="{82E76E09-841D-4810-B70E-20B639DBD798}" type="datetime'''''''''''''''''''1''''''''''''''''''''''''''''0'''''''''''">
              <a:rPr lang="en-US" sz="1400" smtClean="0">
                <a:latin typeface="Arial" panose="020B0604020202020204" pitchFamily="34" charset="0"/>
                <a:sym typeface="Arial" panose="020B0604020202020204" pitchFamily="34" charset="0"/>
              </a:rPr>
              <a:pPr algn="ctr"/>
              <a:t>10</a:t>
            </a:fld>
            <a:endParaRPr lang="en-US" sz="1400" dirty="0">
              <a:latin typeface="Arial" panose="020B0604020202020204" pitchFamily="34" charset="0"/>
              <a:sym typeface="Arial" panose="020B0604020202020204" pitchFamily="34" charset="0"/>
            </a:endParaRPr>
          </a:p>
        </p:txBody>
      </p:sp>
      <p:sp>
        <p:nvSpPr>
          <p:cNvPr id="47" name="Text Placeholder 56"/>
          <p:cNvSpPr>
            <a:spLocks noGrp="1"/>
          </p:cNvSpPr>
          <p:nvPr>
            <p:custDataLst>
              <p:tags r:id="rId9"/>
            </p:custDataLst>
          </p:nvPr>
        </p:nvSpPr>
        <p:spPr bwMode="auto">
          <a:xfrm>
            <a:off x="6105525" y="4953000"/>
            <a:ext cx="485775" cy="2127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CFF0EF6-1BB7-4D3E-863D-F6EA7DC82A10}" type="datetime'''T''''o''''''''d''''a''y'''''''''''">
              <a:rPr lang="en-US" sz="1400"/>
              <a:pPr/>
              <a:t>Today</a:t>
            </a:fld>
            <a:endParaRPr lang="en-US" sz="1400" dirty="0">
              <a:sym typeface="+mn-lt"/>
            </a:endParaRPr>
          </a:p>
        </p:txBody>
      </p:sp>
      <p:sp>
        <p:nvSpPr>
          <p:cNvPr id="68" name="AutoShape 250"/>
          <p:cNvSpPr>
            <a:spLocks noChangeArrowheads="1"/>
          </p:cNvSpPr>
          <p:nvPr/>
        </p:nvSpPr>
        <p:spPr bwMode="auto">
          <a:xfrm>
            <a:off x="5472112" y="1654086"/>
            <a:ext cx="3317875" cy="23391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00" dirty="0">
                <a:solidFill>
                  <a:srgbClr val="808080"/>
                </a:solidFill>
                <a:latin typeface="+mn-lt"/>
              </a:rPr>
              <a:t>Projects per year</a:t>
            </a:r>
            <a:endParaRPr lang="en-US" sz="1400" baseline="0" noProof="0" dirty="0">
              <a:solidFill>
                <a:srgbClr val="808080"/>
              </a:solidFill>
              <a:latin typeface="+mn-lt"/>
            </a:endParaRPr>
          </a:p>
        </p:txBody>
      </p:sp>
      <p:sp>
        <p:nvSpPr>
          <p:cNvPr id="20" name="Rectangle 19"/>
          <p:cNvSpPr>
            <a:spLocks/>
          </p:cNvSpPr>
          <p:nvPr/>
        </p:nvSpPr>
        <p:spPr>
          <a:xfrm>
            <a:off x="5472113" y="1883491"/>
            <a:ext cx="3317875" cy="954107"/>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spAutoFit/>
          </a:bodyPr>
          <a:lstStyle/>
          <a:p>
            <a:r>
              <a:rPr lang="en-US" sz="1400" dirty="0">
                <a:solidFill>
                  <a:schemeClr val="tx1"/>
                </a:solidFill>
              </a:rPr>
              <a:t>The R25 million includes basic infrastructure, capture, translocation, skills development and mentorship, veterinary and extension. </a:t>
            </a:r>
          </a:p>
        </p:txBody>
      </p:sp>
      <p:sp>
        <p:nvSpPr>
          <p:cNvPr id="48" name="AutoShape 250"/>
          <p:cNvSpPr>
            <a:spLocks noChangeArrowheads="1"/>
          </p:cNvSpPr>
          <p:nvPr/>
        </p:nvSpPr>
        <p:spPr bwMode="auto">
          <a:xfrm>
            <a:off x="5472112" y="1261099"/>
            <a:ext cx="3317875"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b="1" dirty="0">
                <a:solidFill>
                  <a:schemeClr val="tx2"/>
                </a:solidFill>
                <a:latin typeface="+mn-lt"/>
              </a:rPr>
              <a:t>Working for Wildlife</a:t>
            </a:r>
          </a:p>
        </p:txBody>
      </p:sp>
      <p:cxnSp>
        <p:nvCxnSpPr>
          <p:cNvPr id="57" name="Straight Connector 56"/>
          <p:cNvCxnSpPr>
            <a:cxnSpLocks/>
          </p:cNvCxnSpPr>
          <p:nvPr/>
        </p:nvCxnSpPr>
        <p:spPr>
          <a:xfrm flipH="1">
            <a:off x="5170188" y="1816768"/>
            <a:ext cx="1337" cy="3797648"/>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6962994" y="2729877"/>
            <a:ext cx="0" cy="642910"/>
          </a:xfrm>
          <a:prstGeom prst="straightConnector1">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12" name="TextBox 11"/>
          <p:cNvSpPr txBox="1">
            <a:spLocks/>
          </p:cNvSpPr>
          <p:nvPr/>
        </p:nvSpPr>
        <p:spPr>
          <a:xfrm>
            <a:off x="465700" y="3218402"/>
            <a:ext cx="1609007" cy="2854948"/>
          </a:xfrm>
          <a:prstGeom prst="rect">
            <a:avLst/>
          </a:prstGeom>
          <a:noFill/>
          <a:ln w="9525">
            <a:gradFill flip="none" rotWithShape="1">
              <a:gsLst>
                <a:gs pos="49000">
                  <a:srgbClr val="BABABA"/>
                </a:gs>
                <a:gs pos="0">
                  <a:schemeClr val="accent6"/>
                </a:gs>
                <a:gs pos="100000">
                  <a:schemeClr val="bg1">
                    <a:alpha val="0"/>
                  </a:schemeClr>
                </a:gs>
              </a:gsLst>
              <a:lin ang="5400000" scaled="1"/>
              <a:tileRect/>
            </a:gra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ts val="600"/>
              </a:spcBef>
            </a:pPr>
            <a:endParaRPr lang="en-US" sz="1400" dirty="0"/>
          </a:p>
          <a:p>
            <a:pPr lvl="1">
              <a:spcBef>
                <a:spcPts val="600"/>
              </a:spcBef>
            </a:pPr>
            <a:endParaRPr lang="en-US" sz="1400" dirty="0"/>
          </a:p>
          <a:p>
            <a:pPr lvl="1">
              <a:spcBef>
                <a:spcPts val="600"/>
              </a:spcBef>
            </a:pPr>
            <a:r>
              <a:rPr lang="en-US" sz="1400" dirty="0"/>
              <a:t>Skills development</a:t>
            </a:r>
          </a:p>
          <a:p>
            <a:pPr lvl="1">
              <a:spcBef>
                <a:spcPts val="600"/>
              </a:spcBef>
            </a:pPr>
            <a:r>
              <a:rPr lang="en-US" sz="1400" dirty="0"/>
              <a:t>Planning</a:t>
            </a:r>
          </a:p>
          <a:p>
            <a:pPr lvl="1">
              <a:spcBef>
                <a:spcPts val="600"/>
              </a:spcBef>
            </a:pPr>
            <a:r>
              <a:rPr lang="en-US" sz="1400" dirty="0"/>
              <a:t>Project management</a:t>
            </a:r>
          </a:p>
          <a:p>
            <a:pPr lvl="1">
              <a:spcBef>
                <a:spcPts val="600"/>
              </a:spcBef>
            </a:pPr>
            <a:r>
              <a:rPr lang="en-US" sz="1400" dirty="0"/>
              <a:t>Implementation</a:t>
            </a:r>
          </a:p>
        </p:txBody>
      </p:sp>
      <p:sp>
        <p:nvSpPr>
          <p:cNvPr id="17" name="TextBox 16"/>
          <p:cNvSpPr txBox="1">
            <a:spLocks/>
          </p:cNvSpPr>
          <p:nvPr/>
        </p:nvSpPr>
        <p:spPr>
          <a:xfrm>
            <a:off x="2657934" y="3218402"/>
            <a:ext cx="1609007" cy="2769989"/>
          </a:xfrm>
          <a:prstGeom prst="rect">
            <a:avLst/>
          </a:prstGeom>
          <a:noFill/>
          <a:ln w="9525">
            <a:gradFill flip="none" rotWithShape="1">
              <a:gsLst>
                <a:gs pos="53000">
                  <a:srgbClr val="A2B9AB"/>
                </a:gs>
                <a:gs pos="0">
                  <a:schemeClr val="accent3"/>
                </a:gs>
                <a:gs pos="100000">
                  <a:schemeClr val="bg1">
                    <a:alpha val="0"/>
                  </a:schemeClr>
                </a:gs>
              </a:gsLst>
              <a:lin ang="5400000" scaled="1"/>
              <a:tileRect/>
            </a:gra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ts val="600"/>
              </a:spcBef>
            </a:pPr>
            <a:endParaRPr lang="en-US" sz="1400" dirty="0"/>
          </a:p>
          <a:p>
            <a:pPr lvl="1">
              <a:spcBef>
                <a:spcPts val="600"/>
              </a:spcBef>
            </a:pPr>
            <a:endParaRPr lang="en-US" sz="1400" dirty="0"/>
          </a:p>
          <a:p>
            <a:pPr lvl="1">
              <a:spcBef>
                <a:spcPts val="600"/>
              </a:spcBef>
            </a:pPr>
            <a:r>
              <a:rPr lang="en-US" sz="1400" dirty="0"/>
              <a:t>Game loans and donations</a:t>
            </a:r>
          </a:p>
          <a:p>
            <a:pPr lvl="1">
              <a:spcBef>
                <a:spcPts val="600"/>
              </a:spcBef>
            </a:pPr>
            <a:r>
              <a:rPr lang="en-US" sz="1400" dirty="0"/>
              <a:t>Translocation</a:t>
            </a:r>
          </a:p>
          <a:p>
            <a:pPr lvl="1">
              <a:spcBef>
                <a:spcPts val="600"/>
              </a:spcBef>
            </a:pPr>
            <a:r>
              <a:rPr lang="en-US" sz="1400" dirty="0"/>
              <a:t>Capture</a:t>
            </a:r>
          </a:p>
          <a:p>
            <a:pPr lvl="1">
              <a:spcBef>
                <a:spcPts val="600"/>
              </a:spcBef>
            </a:pPr>
            <a:r>
              <a:rPr lang="en-US" sz="1400" dirty="0"/>
              <a:t>Extension and veterinary</a:t>
            </a:r>
          </a:p>
          <a:p>
            <a:pPr lvl="1">
              <a:spcBef>
                <a:spcPts val="600"/>
              </a:spcBef>
            </a:pPr>
            <a:r>
              <a:rPr lang="en-US" sz="1400" dirty="0"/>
              <a:t>Land rehabilitation</a:t>
            </a:r>
          </a:p>
        </p:txBody>
      </p:sp>
      <p:sp>
        <p:nvSpPr>
          <p:cNvPr id="58" name="Marvin Title Tracker Circle"/>
          <p:cNvSpPr/>
          <p:nvPr/>
        </p:nvSpPr>
        <p:spPr>
          <a:xfrm>
            <a:off x="171451" y="199244"/>
            <a:ext cx="354056" cy="35405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900" b="1" dirty="0">
                <a:solidFill>
                  <a:schemeClr val="bg1"/>
                </a:solidFill>
                <a:latin typeface="Arial" panose="020B0604020202020204" pitchFamily="34" charset="0"/>
              </a:rPr>
              <a:t>2</a:t>
            </a:r>
          </a:p>
        </p:txBody>
      </p:sp>
      <p:sp>
        <p:nvSpPr>
          <p:cNvPr id="10" name="Oval 9"/>
          <p:cNvSpPr txBox="1"/>
          <p:nvPr>
            <p:custDataLst>
              <p:tags r:id="rId10"/>
            </p:custDataLst>
          </p:nvPr>
        </p:nvSpPr>
        <p:spPr>
          <a:xfrm>
            <a:off x="5849264" y="5810385"/>
            <a:ext cx="1008735" cy="370744"/>
          </a:xfrm>
          <a:prstGeom prst="ellipse">
            <a:avLst/>
          </a:prstGeom>
          <a:solidFill>
            <a:schemeClr val="tx2"/>
          </a:solidFill>
          <a:ln w="9525">
            <a:solidFill>
              <a:schemeClr val="accent6"/>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bg1"/>
                </a:solidFill>
              </a:rPr>
              <a:t>R10m</a:t>
            </a:r>
          </a:p>
        </p:txBody>
      </p:sp>
      <p:sp>
        <p:nvSpPr>
          <p:cNvPr id="60" name="Oval 9"/>
          <p:cNvSpPr txBox="1"/>
          <p:nvPr>
            <p:custDataLst>
              <p:tags r:id="rId11"/>
            </p:custDataLst>
          </p:nvPr>
        </p:nvSpPr>
        <p:spPr>
          <a:xfrm>
            <a:off x="7422506" y="5810385"/>
            <a:ext cx="1008735" cy="370744"/>
          </a:xfrm>
          <a:prstGeom prst="ellipse">
            <a:avLst/>
          </a:prstGeom>
          <a:solidFill>
            <a:schemeClr val="tx2"/>
          </a:solidFill>
          <a:ln w="9525">
            <a:solidFill>
              <a:schemeClr val="accent6"/>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bg1"/>
                </a:solidFill>
              </a:rPr>
              <a:t>R25m</a:t>
            </a:r>
          </a:p>
        </p:txBody>
      </p:sp>
      <p:sp>
        <p:nvSpPr>
          <p:cNvPr id="61" name="AutoShape 250"/>
          <p:cNvSpPr>
            <a:spLocks noChangeArrowheads="1"/>
          </p:cNvSpPr>
          <p:nvPr/>
        </p:nvSpPr>
        <p:spPr bwMode="auto">
          <a:xfrm>
            <a:off x="4390073" y="5794463"/>
            <a:ext cx="1593151" cy="66479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400" dirty="0">
                <a:latin typeface="+mn-lt"/>
              </a:rPr>
              <a:t>Estimated funds required</a:t>
            </a:r>
          </a:p>
          <a:p>
            <a:r>
              <a:rPr lang="en-US" sz="1400" dirty="0">
                <a:latin typeface="+mn-lt"/>
              </a:rPr>
              <a:t>p</a:t>
            </a:r>
            <a:r>
              <a:rPr lang="en-US" sz="1400" baseline="0" noProof="0" dirty="0" err="1">
                <a:latin typeface="+mn-lt"/>
              </a:rPr>
              <a:t>er</a:t>
            </a:r>
            <a:r>
              <a:rPr lang="en-US" sz="1400" noProof="0" dirty="0">
                <a:latin typeface="+mn-lt"/>
              </a:rPr>
              <a:t> project</a:t>
            </a:r>
            <a:endParaRPr lang="en-US" sz="1400" baseline="0" noProof="0" dirty="0">
              <a:latin typeface="+mn-lt"/>
            </a:endParaRPr>
          </a:p>
        </p:txBody>
      </p:sp>
      <p:pic>
        <p:nvPicPr>
          <p:cNvPr id="71" name="Picture 70"/>
          <p:cNvPicPr>
            <a:picLocks/>
          </p:cNvPicPr>
          <p:nvPr/>
        </p:nvPicPr>
        <p:blipFill>
          <a:blip r:embed="rId17" cstate="email">
            <a:extLst>
              <a:ext uri="{28A0092B-C50C-407E-A947-70E740481C1C}">
                <a14:useLocalDpi xmlns:a14="http://schemas.microsoft.com/office/drawing/2010/main"/>
              </a:ext>
            </a:extLst>
          </a:blip>
          <a:stretch>
            <a:fillRect/>
          </a:stretch>
        </p:blipFill>
        <p:spPr>
          <a:xfrm>
            <a:off x="2958231" y="2729876"/>
            <a:ext cx="1008413" cy="1047476"/>
          </a:xfrm>
          <a:prstGeom prst="ellipse">
            <a:avLst/>
          </a:prstGeom>
          <a:solidFill>
            <a:schemeClr val="tx2">
              <a:lumMod val="75000"/>
              <a:lumOff val="25000"/>
            </a:schemeClr>
          </a:solidFill>
        </p:spPr>
      </p:pic>
      <p:pic>
        <p:nvPicPr>
          <p:cNvPr id="83" name="Picture 82"/>
          <p:cNvPicPr>
            <a:picLocks/>
          </p:cNvPicPr>
          <p:nvPr/>
        </p:nvPicPr>
        <p:blipFill rotWithShape="1">
          <a:blip r:embed="rId18" cstate="email">
            <a:extLst>
              <a:ext uri="{28A0092B-C50C-407E-A947-70E740481C1C}">
                <a14:useLocalDpi xmlns:a14="http://schemas.microsoft.com/office/drawing/2010/main"/>
              </a:ext>
            </a:extLst>
          </a:blip>
          <a:srcRect/>
          <a:stretch/>
        </p:blipFill>
        <p:spPr>
          <a:xfrm>
            <a:off x="765997" y="2671688"/>
            <a:ext cx="1008413" cy="1047476"/>
          </a:xfrm>
          <a:prstGeom prst="ellipse">
            <a:avLst/>
          </a:prstGeom>
          <a:solidFill>
            <a:schemeClr val="tx2">
              <a:lumMod val="75000"/>
              <a:lumOff val="25000"/>
            </a:schemeClr>
          </a:solidFill>
        </p:spPr>
      </p:pic>
    </p:spTree>
    <p:extLst>
      <p:ext uri="{BB962C8B-B14F-4D97-AF65-F5344CB8AC3E}">
        <p14:creationId xmlns:p14="http://schemas.microsoft.com/office/powerpoint/2010/main" val="37600949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31" hidden="1"/>
          <p:cNvGraphicFramePr>
            <a:graphicFrameLocks noChangeAspect="1"/>
          </p:cNvGraphicFramePr>
          <p:nvPr>
            <p:custDataLst>
              <p:tags r:id="rId2"/>
            </p:custDataLst>
            <p:extLst>
              <p:ext uri="{D42A27DB-BD31-4B8C-83A1-F6EECF244321}">
                <p14:modId xmlns:p14="http://schemas.microsoft.com/office/powerpoint/2010/main" val="4439103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4" name="think-cell Slide" r:id="rId15" imgW="524" imgH="526" progId="TCLayout.ActiveDocument.1">
                  <p:embed/>
                </p:oleObj>
              </mc:Choice>
              <mc:Fallback>
                <p:oleObj name="think-cell Slide" r:id="rId15" imgW="524" imgH="526"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9" name="Group 38"/>
          <p:cNvGrpSpPr/>
          <p:nvPr/>
        </p:nvGrpSpPr>
        <p:grpSpPr>
          <a:xfrm>
            <a:off x="1" y="929313"/>
            <a:ext cx="8961438" cy="914400"/>
            <a:chOff x="1" y="1221699"/>
            <a:chExt cx="8961438" cy="914400"/>
          </a:xfrm>
        </p:grpSpPr>
        <p:sp>
          <p:nvSpPr>
            <p:cNvPr id="40" name="Rectangle 39"/>
            <p:cNvSpPr>
              <a:spLocks/>
            </p:cNvSpPr>
            <p:nvPr/>
          </p:nvSpPr>
          <p:spPr>
            <a:xfrm>
              <a:off x="1" y="1221699"/>
              <a:ext cx="8961438" cy="914400"/>
            </a:xfrm>
            <a:prstGeom prst="rect">
              <a:avLst/>
            </a:prstGeom>
            <a:gradFill>
              <a:gsLst>
                <a:gs pos="0">
                  <a:schemeClr val="bg1">
                    <a:lumMod val="95000"/>
                  </a:schemeClr>
                </a:gs>
                <a:gs pos="100000">
                  <a:schemeClr val="bg1">
                    <a:alpha val="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cxnSp>
          <p:nvCxnSpPr>
            <p:cNvPr id="41" name="Straight Connector 40"/>
            <p:cNvCxnSpPr>
              <a:cxnSpLocks/>
            </p:cNvCxnSpPr>
            <p:nvPr/>
          </p:nvCxnSpPr>
          <p:spPr>
            <a:xfrm>
              <a:off x="1" y="1221699"/>
              <a:ext cx="896143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0" name="Rectangle 19"/>
          <p:cNvSpPr txBox="1">
            <a:spLocks/>
          </p:cNvSpPr>
          <p:nvPr>
            <p:custDataLst>
              <p:tags r:id="rId3"/>
            </p:custDataLst>
          </p:nvPr>
        </p:nvSpPr>
        <p:spPr bwMode="gray">
          <a:xfrm>
            <a:off x="171451" y="3981109"/>
            <a:ext cx="4400549" cy="2191091"/>
          </a:xfrm>
          <a:prstGeom prst="rect">
            <a:avLst/>
          </a:prstGeom>
          <a:solidFill>
            <a:schemeClr val="accent3"/>
          </a:solidFill>
          <a:ln w="9525">
            <a:solidFill>
              <a:schemeClr val="bg1"/>
            </a:solidFill>
            <a:miter lim="800000"/>
            <a:headEnd/>
            <a:tailEnd/>
          </a:ln>
          <a:effectLst/>
        </p:spPr>
        <p:txBody>
          <a:bodyPr lIns="76200" tIns="76200" rIns="76200" bIns="76200" anchor="ctr">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chemeClr val="bg1"/>
              </a:buClr>
              <a:defRPr/>
            </a:pPr>
            <a:r>
              <a:rPr lang="en-US" sz="1100" b="1" dirty="0">
                <a:solidFill>
                  <a:schemeClr val="bg1"/>
                </a:solidFill>
              </a:rPr>
              <a:t>Nodes would be set up under DEA Biodiversity, and will promote the following activities</a:t>
            </a:r>
          </a:p>
          <a:p>
            <a:pPr lvl="1">
              <a:buClr>
                <a:schemeClr val="bg1"/>
              </a:buClr>
              <a:defRPr/>
            </a:pPr>
            <a:r>
              <a:rPr lang="en-US" sz="1100" dirty="0">
                <a:solidFill>
                  <a:schemeClr val="bg1"/>
                </a:solidFill>
              </a:rPr>
              <a:t>Pooling resources for infrastructural development and game donations (Initiative 2)</a:t>
            </a:r>
          </a:p>
          <a:p>
            <a:pPr lvl="1">
              <a:buClr>
                <a:schemeClr val="bg1"/>
              </a:buClr>
              <a:defRPr/>
            </a:pPr>
            <a:r>
              <a:rPr lang="en-US" sz="1100" dirty="0">
                <a:solidFill>
                  <a:schemeClr val="bg1"/>
                </a:solidFill>
              </a:rPr>
              <a:t>Assisting communities to become engagement ready (Initiative 3)</a:t>
            </a:r>
          </a:p>
          <a:p>
            <a:pPr lvl="1">
              <a:buClr>
                <a:schemeClr val="bg1"/>
              </a:buClr>
              <a:defRPr/>
            </a:pPr>
            <a:r>
              <a:rPr lang="en-US" sz="1100" dirty="0">
                <a:solidFill>
                  <a:schemeClr val="bg1"/>
                </a:solidFill>
              </a:rPr>
              <a:t>Enabling market access and connecting to local </a:t>
            </a:r>
            <a:r>
              <a:rPr lang="en-US" sz="1100" dirty="0" err="1">
                <a:solidFill>
                  <a:schemeClr val="bg1"/>
                </a:solidFill>
              </a:rPr>
              <a:t>SMME</a:t>
            </a:r>
            <a:r>
              <a:rPr lang="en-US" sz="1100" dirty="0">
                <a:solidFill>
                  <a:schemeClr val="bg1"/>
                </a:solidFill>
              </a:rPr>
              <a:t> (Initiative 4)</a:t>
            </a:r>
          </a:p>
          <a:p>
            <a:pPr lvl="1">
              <a:buClr>
                <a:schemeClr val="bg1"/>
              </a:buClr>
              <a:defRPr/>
            </a:pPr>
            <a:r>
              <a:rPr lang="en-US" sz="1100" dirty="0">
                <a:solidFill>
                  <a:schemeClr val="bg1"/>
                </a:solidFill>
              </a:rPr>
              <a:t>Creating supply chain linkages (Initiative 7)</a:t>
            </a:r>
          </a:p>
          <a:p>
            <a:pPr lvl="1">
              <a:buClr>
                <a:schemeClr val="bg1"/>
              </a:buClr>
              <a:defRPr/>
            </a:pPr>
            <a:r>
              <a:rPr lang="en-US" sz="1100" dirty="0">
                <a:solidFill>
                  <a:schemeClr val="bg1"/>
                </a:solidFill>
              </a:rPr>
              <a:t>Developing sustainability certification (12)</a:t>
            </a:r>
          </a:p>
          <a:p>
            <a:pPr lvl="1">
              <a:buClr>
                <a:schemeClr val="bg1"/>
              </a:buClr>
              <a:defRPr/>
            </a:pPr>
            <a:r>
              <a:rPr lang="en-US" sz="1100" dirty="0">
                <a:solidFill>
                  <a:schemeClr val="bg1"/>
                </a:solidFill>
              </a:rPr>
              <a:t>Promoting partnerships between Protected Areas, private sector and communities (Initiative 15)</a:t>
            </a:r>
          </a:p>
        </p:txBody>
      </p:sp>
      <p:grpSp>
        <p:nvGrpSpPr>
          <p:cNvPr id="8" name="Group 7"/>
          <p:cNvGrpSpPr>
            <a:grpSpLocks noChangeAspect="1"/>
          </p:cNvGrpSpPr>
          <p:nvPr/>
        </p:nvGrpSpPr>
        <p:grpSpPr>
          <a:xfrm>
            <a:off x="703643" y="1108707"/>
            <a:ext cx="3336164" cy="2725136"/>
            <a:chOff x="4652456" y="1027924"/>
            <a:chExt cx="3771838" cy="3174591"/>
          </a:xfrm>
        </p:grpSpPr>
        <p:sp>
          <p:nvSpPr>
            <p:cNvPr id="35" name="Oval 34"/>
            <p:cNvSpPr>
              <a:spLocks/>
            </p:cNvSpPr>
            <p:nvPr/>
          </p:nvSpPr>
          <p:spPr bwMode="gray">
            <a:xfrm>
              <a:off x="4682412" y="1027924"/>
              <a:ext cx="195506" cy="203851"/>
            </a:xfrm>
            <a:prstGeom prst="ellipse">
              <a:avLst/>
            </a:prstGeom>
            <a:solidFill>
              <a:schemeClr val="accent3"/>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sz="1100" dirty="0">
                <a:solidFill>
                  <a:schemeClr val="tx1"/>
                </a:solidFill>
              </a:endParaRPr>
            </a:p>
          </p:txBody>
        </p:sp>
        <p:sp>
          <p:nvSpPr>
            <p:cNvPr id="18467" name="TextBox 35"/>
            <p:cNvSpPr txBox="1">
              <a:spLocks noChangeArrowheads="1"/>
            </p:cNvSpPr>
            <p:nvPr/>
          </p:nvSpPr>
          <p:spPr bwMode="gray">
            <a:xfrm>
              <a:off x="4944585" y="1031252"/>
              <a:ext cx="1038472" cy="197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3763">
                <a:buClr>
                  <a:schemeClr val="tx2"/>
                </a:buClr>
                <a:defRPr sz="1600">
                  <a:solidFill>
                    <a:schemeClr val="tx1"/>
                  </a:solidFill>
                  <a:latin typeface="Arial" panose="020B0604020202020204" pitchFamily="34" charset="0"/>
                </a:defRPr>
              </a:lvl1pPr>
              <a:lvl2pPr marL="192088" indent="-190500" defTabSz="893763">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5613" indent="-260350" defTabSz="893763">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2775" indent="-153988" defTabSz="893763">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9300" indent="-128588" defTabSz="893763">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6500" indent="-128588" defTabSz="89376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3700" indent="-128588" defTabSz="89376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20900" indent="-128588" defTabSz="89376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8100" indent="-128588" defTabSz="89376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eaLnBrk="1" hangingPunct="1"/>
              <a:r>
                <a:rPr lang="en-US" altLang="en-US" sz="1100" dirty="0"/>
                <a:t>Existing nodes</a:t>
              </a:r>
            </a:p>
          </p:txBody>
        </p:sp>
        <p:grpSp>
          <p:nvGrpSpPr>
            <p:cNvPr id="7" name="Group 6"/>
            <p:cNvGrpSpPr/>
            <p:nvPr/>
          </p:nvGrpSpPr>
          <p:grpSpPr>
            <a:xfrm>
              <a:off x="4652456" y="1215086"/>
              <a:ext cx="3771838" cy="2987429"/>
              <a:chOff x="290513" y="1301587"/>
              <a:chExt cx="3771838" cy="2987429"/>
            </a:xfrm>
          </p:grpSpPr>
          <p:sp>
            <p:nvSpPr>
              <p:cNvPr id="18455" name="Freeform 6"/>
              <p:cNvSpPr>
                <a:spLocks noEditPoints="1"/>
              </p:cNvSpPr>
              <p:nvPr>
                <p:custDataLst>
                  <p:tags r:id="rId5"/>
                </p:custDataLst>
              </p:nvPr>
            </p:nvSpPr>
            <p:spPr bwMode="gray">
              <a:xfrm>
                <a:off x="572227" y="3250319"/>
                <a:ext cx="1458653" cy="1038697"/>
              </a:xfrm>
              <a:custGeom>
                <a:avLst/>
                <a:gdLst>
                  <a:gd name="T0" fmla="*/ 16877 w 1678"/>
                  <a:gd name="T1" fmla="*/ 35515 h 1190"/>
                  <a:gd name="T2" fmla="*/ 52537 w 1678"/>
                  <a:gd name="T3" fmla="*/ 6010 h 1190"/>
                  <a:gd name="T4" fmla="*/ 83297 w 1678"/>
                  <a:gd name="T5" fmla="*/ 58736 h 1190"/>
                  <a:gd name="T6" fmla="*/ 94186 w 1678"/>
                  <a:gd name="T7" fmla="*/ 95890 h 1190"/>
                  <a:gd name="T8" fmla="*/ 106436 w 1678"/>
                  <a:gd name="T9" fmla="*/ 106818 h 1190"/>
                  <a:gd name="T10" fmla="*/ 117324 w 1678"/>
                  <a:gd name="T11" fmla="*/ 120751 h 1190"/>
                  <a:gd name="T12" fmla="*/ 115691 w 1678"/>
                  <a:gd name="T13" fmla="*/ 142333 h 1190"/>
                  <a:gd name="T14" fmla="*/ 129574 w 1678"/>
                  <a:gd name="T15" fmla="*/ 148617 h 1190"/>
                  <a:gd name="T16" fmla="*/ 165234 w 1678"/>
                  <a:gd name="T17" fmla="*/ 131406 h 1190"/>
                  <a:gd name="T18" fmla="*/ 168228 w 1678"/>
                  <a:gd name="T19" fmla="*/ 163916 h 1190"/>
                  <a:gd name="T20" fmla="*/ 206882 w 1678"/>
                  <a:gd name="T21" fmla="*/ 184132 h 1190"/>
                  <a:gd name="T22" fmla="*/ 246898 w 1678"/>
                  <a:gd name="T23" fmla="*/ 146978 h 1190"/>
                  <a:gd name="T24" fmla="*/ 288547 w 1678"/>
                  <a:gd name="T25" fmla="*/ 134684 h 1190"/>
                  <a:gd name="T26" fmla="*/ 307057 w 1678"/>
                  <a:gd name="T27" fmla="*/ 106818 h 1190"/>
                  <a:gd name="T28" fmla="*/ 353334 w 1678"/>
                  <a:gd name="T29" fmla="*/ 105179 h 1190"/>
                  <a:gd name="T30" fmla="*/ 407504 w 1678"/>
                  <a:gd name="T31" fmla="*/ 94252 h 1190"/>
                  <a:gd name="T32" fmla="*/ 438264 w 1678"/>
                  <a:gd name="T33" fmla="*/ 94252 h 1190"/>
                  <a:gd name="T34" fmla="*/ 449153 w 1678"/>
                  <a:gd name="T35" fmla="*/ 116107 h 1190"/>
                  <a:gd name="T36" fmla="*/ 422748 w 1678"/>
                  <a:gd name="T37" fmla="*/ 130040 h 1190"/>
                  <a:gd name="T38" fmla="*/ 385727 w 1678"/>
                  <a:gd name="T39" fmla="*/ 163916 h 1190"/>
                  <a:gd name="T40" fmla="*/ 373478 w 1678"/>
                  <a:gd name="T41" fmla="*/ 181127 h 1190"/>
                  <a:gd name="T42" fmla="*/ 359595 w 1678"/>
                  <a:gd name="T43" fmla="*/ 219647 h 1190"/>
                  <a:gd name="T44" fmla="*/ 394982 w 1678"/>
                  <a:gd name="T45" fmla="*/ 244507 h 1190"/>
                  <a:gd name="T46" fmla="*/ 405870 w 1678"/>
                  <a:gd name="T47" fmla="*/ 261719 h 1190"/>
                  <a:gd name="T48" fmla="*/ 394982 w 1678"/>
                  <a:gd name="T49" fmla="*/ 271007 h 1190"/>
                  <a:gd name="T50" fmla="*/ 368850 w 1678"/>
                  <a:gd name="T51" fmla="*/ 267729 h 1190"/>
                  <a:gd name="T52" fmla="*/ 367216 w 1678"/>
                  <a:gd name="T53" fmla="*/ 267729 h 1190"/>
                  <a:gd name="T54" fmla="*/ 334823 w 1678"/>
                  <a:gd name="T55" fmla="*/ 263084 h 1190"/>
                  <a:gd name="T56" fmla="*/ 313318 w 1678"/>
                  <a:gd name="T57" fmla="*/ 266363 h 1190"/>
                  <a:gd name="T58" fmla="*/ 300797 w 1678"/>
                  <a:gd name="T59" fmla="*/ 278656 h 1190"/>
                  <a:gd name="T60" fmla="*/ 283919 w 1678"/>
                  <a:gd name="T61" fmla="*/ 287945 h 1190"/>
                  <a:gd name="T62" fmla="*/ 265408 w 1678"/>
                  <a:gd name="T63" fmla="*/ 289584 h 1190"/>
                  <a:gd name="T64" fmla="*/ 245264 w 1678"/>
                  <a:gd name="T65" fmla="*/ 295595 h 1190"/>
                  <a:gd name="T66" fmla="*/ 217499 w 1678"/>
                  <a:gd name="T67" fmla="*/ 289584 h 1190"/>
                  <a:gd name="T68" fmla="*/ 209877 w 1678"/>
                  <a:gd name="T69" fmla="*/ 297234 h 1190"/>
                  <a:gd name="T70" fmla="*/ 182111 w 1678"/>
                  <a:gd name="T71" fmla="*/ 304883 h 1190"/>
                  <a:gd name="T72" fmla="*/ 155978 w 1678"/>
                  <a:gd name="T73" fmla="*/ 318816 h 1190"/>
                  <a:gd name="T74" fmla="*/ 138829 w 1678"/>
                  <a:gd name="T75" fmla="*/ 318816 h 1190"/>
                  <a:gd name="T76" fmla="*/ 121951 w 1678"/>
                  <a:gd name="T77" fmla="*/ 315811 h 1190"/>
                  <a:gd name="T78" fmla="*/ 103441 w 1678"/>
                  <a:gd name="T79" fmla="*/ 309527 h 1190"/>
                  <a:gd name="T80" fmla="*/ 94186 w 1678"/>
                  <a:gd name="T81" fmla="*/ 294228 h 1190"/>
                  <a:gd name="T82" fmla="*/ 92553 w 1678"/>
                  <a:gd name="T83" fmla="*/ 286306 h 1190"/>
                  <a:gd name="T84" fmla="*/ 74042 w 1678"/>
                  <a:gd name="T85" fmla="*/ 290950 h 1190"/>
                  <a:gd name="T86" fmla="*/ 72409 w 1678"/>
                  <a:gd name="T87" fmla="*/ 281662 h 1190"/>
                  <a:gd name="T88" fmla="*/ 55532 w 1678"/>
                  <a:gd name="T89" fmla="*/ 267729 h 1190"/>
                  <a:gd name="T90" fmla="*/ 46276 w 1678"/>
                  <a:gd name="T91" fmla="*/ 280296 h 1190"/>
                  <a:gd name="T92" fmla="*/ 38655 w 1678"/>
                  <a:gd name="T93" fmla="*/ 283301 h 1190"/>
                  <a:gd name="T94" fmla="*/ 38655 w 1678"/>
                  <a:gd name="T95" fmla="*/ 266363 h 1190"/>
                  <a:gd name="T96" fmla="*/ 46276 w 1678"/>
                  <a:gd name="T97" fmla="*/ 255435 h 1190"/>
                  <a:gd name="T98" fmla="*/ 40015 w 1678"/>
                  <a:gd name="T99" fmla="*/ 233580 h 1190"/>
                  <a:gd name="T100" fmla="*/ 24771 w 1678"/>
                  <a:gd name="T101" fmla="*/ 210359 h 1190"/>
                  <a:gd name="T102" fmla="*/ 15516 w 1678"/>
                  <a:gd name="T103" fmla="*/ 195060 h 1190"/>
                  <a:gd name="T104" fmla="*/ 16877 w 1678"/>
                  <a:gd name="T105" fmla="*/ 198065 h 1190"/>
                  <a:gd name="T106" fmla="*/ 7622 w 1678"/>
                  <a:gd name="T107" fmla="*/ 191781 h 1190"/>
                  <a:gd name="T108" fmla="*/ 4628 w 1678"/>
                  <a:gd name="T109" fmla="*/ 176483 h 1190"/>
                  <a:gd name="T110" fmla="*/ 16877 w 1678"/>
                  <a:gd name="T111" fmla="*/ 170199 h 1190"/>
                  <a:gd name="T112" fmla="*/ 35388 w 1678"/>
                  <a:gd name="T113" fmla="*/ 160911 h 1190"/>
                  <a:gd name="T114" fmla="*/ 37021 w 1678"/>
                  <a:gd name="T115" fmla="*/ 122117 h 1190"/>
                  <a:gd name="T116" fmla="*/ 34027 w 1678"/>
                  <a:gd name="T117" fmla="*/ 102174 h 1190"/>
                  <a:gd name="T118" fmla="*/ 23138 w 1678"/>
                  <a:gd name="T119" fmla="*/ 81958 h 1190"/>
                  <a:gd name="T120" fmla="*/ 2994 w 1678"/>
                  <a:gd name="T121" fmla="*/ 58736 h 11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678" h="1190">
                    <a:moveTo>
                      <a:pt x="74" y="810"/>
                    </a:moveTo>
                    <a:lnTo>
                      <a:pt x="68" y="804"/>
                    </a:lnTo>
                    <a:lnTo>
                      <a:pt x="74" y="804"/>
                    </a:lnTo>
                    <a:lnTo>
                      <a:pt x="74" y="810"/>
                    </a:lnTo>
                    <a:close/>
                    <a:moveTo>
                      <a:pt x="147" y="912"/>
                    </a:moveTo>
                    <a:lnTo>
                      <a:pt x="142" y="912"/>
                    </a:lnTo>
                    <a:lnTo>
                      <a:pt x="142" y="907"/>
                    </a:lnTo>
                    <a:lnTo>
                      <a:pt x="147" y="907"/>
                    </a:lnTo>
                    <a:lnTo>
                      <a:pt x="147" y="912"/>
                    </a:lnTo>
                    <a:close/>
                    <a:moveTo>
                      <a:pt x="0" y="192"/>
                    </a:moveTo>
                    <a:lnTo>
                      <a:pt x="17" y="198"/>
                    </a:lnTo>
                    <a:lnTo>
                      <a:pt x="11" y="175"/>
                    </a:lnTo>
                    <a:lnTo>
                      <a:pt x="40" y="153"/>
                    </a:lnTo>
                    <a:lnTo>
                      <a:pt x="28" y="136"/>
                    </a:lnTo>
                    <a:lnTo>
                      <a:pt x="62" y="130"/>
                    </a:lnTo>
                    <a:lnTo>
                      <a:pt x="62" y="96"/>
                    </a:lnTo>
                    <a:lnTo>
                      <a:pt x="74" y="96"/>
                    </a:lnTo>
                    <a:lnTo>
                      <a:pt x="79" y="96"/>
                    </a:lnTo>
                    <a:lnTo>
                      <a:pt x="85" y="96"/>
                    </a:lnTo>
                    <a:lnTo>
                      <a:pt x="91" y="102"/>
                    </a:lnTo>
                    <a:lnTo>
                      <a:pt x="108" y="113"/>
                    </a:lnTo>
                    <a:lnTo>
                      <a:pt x="119" y="102"/>
                    </a:lnTo>
                    <a:lnTo>
                      <a:pt x="130" y="102"/>
                    </a:lnTo>
                    <a:lnTo>
                      <a:pt x="147" y="85"/>
                    </a:lnTo>
                    <a:lnTo>
                      <a:pt x="159" y="62"/>
                    </a:lnTo>
                    <a:lnTo>
                      <a:pt x="164" y="39"/>
                    </a:lnTo>
                    <a:lnTo>
                      <a:pt x="170" y="22"/>
                    </a:lnTo>
                    <a:lnTo>
                      <a:pt x="170" y="5"/>
                    </a:lnTo>
                    <a:lnTo>
                      <a:pt x="198" y="39"/>
                    </a:lnTo>
                    <a:lnTo>
                      <a:pt x="193" y="22"/>
                    </a:lnTo>
                    <a:lnTo>
                      <a:pt x="193" y="5"/>
                    </a:lnTo>
                    <a:lnTo>
                      <a:pt x="215" y="0"/>
                    </a:lnTo>
                    <a:lnTo>
                      <a:pt x="238" y="34"/>
                    </a:lnTo>
                    <a:lnTo>
                      <a:pt x="261" y="39"/>
                    </a:lnTo>
                    <a:lnTo>
                      <a:pt x="272" y="51"/>
                    </a:lnTo>
                    <a:lnTo>
                      <a:pt x="266" y="62"/>
                    </a:lnTo>
                    <a:lnTo>
                      <a:pt x="289" y="79"/>
                    </a:lnTo>
                    <a:lnTo>
                      <a:pt x="312" y="79"/>
                    </a:lnTo>
                    <a:lnTo>
                      <a:pt x="317" y="119"/>
                    </a:lnTo>
                    <a:lnTo>
                      <a:pt x="295" y="124"/>
                    </a:lnTo>
                    <a:lnTo>
                      <a:pt x="317" y="136"/>
                    </a:lnTo>
                    <a:lnTo>
                      <a:pt x="300" y="147"/>
                    </a:lnTo>
                    <a:lnTo>
                      <a:pt x="295" y="164"/>
                    </a:lnTo>
                    <a:lnTo>
                      <a:pt x="312" y="187"/>
                    </a:lnTo>
                    <a:lnTo>
                      <a:pt x="306" y="215"/>
                    </a:lnTo>
                    <a:lnTo>
                      <a:pt x="312" y="226"/>
                    </a:lnTo>
                    <a:lnTo>
                      <a:pt x="329" y="232"/>
                    </a:lnTo>
                    <a:lnTo>
                      <a:pt x="317" y="243"/>
                    </a:lnTo>
                    <a:lnTo>
                      <a:pt x="329" y="255"/>
                    </a:lnTo>
                    <a:lnTo>
                      <a:pt x="329" y="272"/>
                    </a:lnTo>
                    <a:lnTo>
                      <a:pt x="323" y="289"/>
                    </a:lnTo>
                    <a:lnTo>
                      <a:pt x="340" y="294"/>
                    </a:lnTo>
                    <a:lnTo>
                      <a:pt x="334" y="300"/>
                    </a:lnTo>
                    <a:lnTo>
                      <a:pt x="340" y="306"/>
                    </a:lnTo>
                    <a:lnTo>
                      <a:pt x="346" y="311"/>
                    </a:lnTo>
                    <a:lnTo>
                      <a:pt x="340" y="311"/>
                    </a:lnTo>
                    <a:lnTo>
                      <a:pt x="340" y="328"/>
                    </a:lnTo>
                    <a:lnTo>
                      <a:pt x="334" y="328"/>
                    </a:lnTo>
                    <a:lnTo>
                      <a:pt x="340" y="345"/>
                    </a:lnTo>
                    <a:lnTo>
                      <a:pt x="346" y="351"/>
                    </a:lnTo>
                    <a:lnTo>
                      <a:pt x="346" y="357"/>
                    </a:lnTo>
                    <a:lnTo>
                      <a:pt x="340" y="362"/>
                    </a:lnTo>
                    <a:lnTo>
                      <a:pt x="340" y="368"/>
                    </a:lnTo>
                    <a:lnTo>
                      <a:pt x="329" y="379"/>
                    </a:lnTo>
                    <a:lnTo>
                      <a:pt x="329" y="396"/>
                    </a:lnTo>
                    <a:lnTo>
                      <a:pt x="334" y="396"/>
                    </a:lnTo>
                    <a:lnTo>
                      <a:pt x="340" y="396"/>
                    </a:lnTo>
                    <a:lnTo>
                      <a:pt x="346" y="396"/>
                    </a:lnTo>
                    <a:lnTo>
                      <a:pt x="351" y="396"/>
                    </a:lnTo>
                    <a:lnTo>
                      <a:pt x="351" y="402"/>
                    </a:lnTo>
                    <a:lnTo>
                      <a:pt x="357" y="402"/>
                    </a:lnTo>
                    <a:lnTo>
                      <a:pt x="363" y="402"/>
                    </a:lnTo>
                    <a:lnTo>
                      <a:pt x="368" y="402"/>
                    </a:lnTo>
                    <a:lnTo>
                      <a:pt x="368" y="408"/>
                    </a:lnTo>
                    <a:lnTo>
                      <a:pt x="391" y="391"/>
                    </a:lnTo>
                    <a:lnTo>
                      <a:pt x="391" y="396"/>
                    </a:lnTo>
                    <a:lnTo>
                      <a:pt x="385" y="402"/>
                    </a:lnTo>
                    <a:lnTo>
                      <a:pt x="385" y="408"/>
                    </a:lnTo>
                    <a:lnTo>
                      <a:pt x="385" y="413"/>
                    </a:lnTo>
                    <a:lnTo>
                      <a:pt x="391" y="413"/>
                    </a:lnTo>
                    <a:lnTo>
                      <a:pt x="397" y="419"/>
                    </a:lnTo>
                    <a:lnTo>
                      <a:pt x="402" y="425"/>
                    </a:lnTo>
                    <a:lnTo>
                      <a:pt x="402" y="430"/>
                    </a:lnTo>
                    <a:lnTo>
                      <a:pt x="408" y="436"/>
                    </a:lnTo>
                    <a:lnTo>
                      <a:pt x="408" y="430"/>
                    </a:lnTo>
                    <a:lnTo>
                      <a:pt x="414" y="436"/>
                    </a:lnTo>
                    <a:lnTo>
                      <a:pt x="419" y="436"/>
                    </a:lnTo>
                    <a:lnTo>
                      <a:pt x="425" y="436"/>
                    </a:lnTo>
                    <a:lnTo>
                      <a:pt x="431" y="436"/>
                    </a:lnTo>
                    <a:lnTo>
                      <a:pt x="431" y="442"/>
                    </a:lnTo>
                    <a:lnTo>
                      <a:pt x="436" y="442"/>
                    </a:lnTo>
                    <a:lnTo>
                      <a:pt x="436" y="447"/>
                    </a:lnTo>
                    <a:lnTo>
                      <a:pt x="442" y="447"/>
                    </a:lnTo>
                    <a:lnTo>
                      <a:pt x="448" y="447"/>
                    </a:lnTo>
                    <a:lnTo>
                      <a:pt x="442" y="453"/>
                    </a:lnTo>
                    <a:lnTo>
                      <a:pt x="442" y="459"/>
                    </a:lnTo>
                    <a:lnTo>
                      <a:pt x="442" y="464"/>
                    </a:lnTo>
                    <a:lnTo>
                      <a:pt x="442" y="470"/>
                    </a:lnTo>
                    <a:lnTo>
                      <a:pt x="448" y="476"/>
                    </a:lnTo>
                    <a:lnTo>
                      <a:pt x="448" y="481"/>
                    </a:lnTo>
                    <a:lnTo>
                      <a:pt x="448" y="487"/>
                    </a:lnTo>
                    <a:lnTo>
                      <a:pt x="448" y="493"/>
                    </a:lnTo>
                    <a:lnTo>
                      <a:pt x="431" y="498"/>
                    </a:lnTo>
                    <a:lnTo>
                      <a:pt x="419" y="504"/>
                    </a:lnTo>
                    <a:lnTo>
                      <a:pt x="425" y="521"/>
                    </a:lnTo>
                    <a:lnTo>
                      <a:pt x="431" y="527"/>
                    </a:lnTo>
                    <a:lnTo>
                      <a:pt x="431" y="532"/>
                    </a:lnTo>
                    <a:lnTo>
                      <a:pt x="436" y="532"/>
                    </a:lnTo>
                    <a:lnTo>
                      <a:pt x="436" y="538"/>
                    </a:lnTo>
                    <a:lnTo>
                      <a:pt x="442" y="544"/>
                    </a:lnTo>
                    <a:lnTo>
                      <a:pt x="442" y="549"/>
                    </a:lnTo>
                    <a:lnTo>
                      <a:pt x="448" y="549"/>
                    </a:lnTo>
                    <a:lnTo>
                      <a:pt x="442" y="583"/>
                    </a:lnTo>
                    <a:lnTo>
                      <a:pt x="453" y="600"/>
                    </a:lnTo>
                    <a:lnTo>
                      <a:pt x="470" y="589"/>
                    </a:lnTo>
                    <a:lnTo>
                      <a:pt x="470" y="583"/>
                    </a:lnTo>
                    <a:lnTo>
                      <a:pt x="465" y="578"/>
                    </a:lnTo>
                    <a:lnTo>
                      <a:pt x="465" y="572"/>
                    </a:lnTo>
                    <a:lnTo>
                      <a:pt x="476" y="555"/>
                    </a:lnTo>
                    <a:lnTo>
                      <a:pt x="476" y="544"/>
                    </a:lnTo>
                    <a:lnTo>
                      <a:pt x="482" y="538"/>
                    </a:lnTo>
                    <a:lnTo>
                      <a:pt x="487" y="549"/>
                    </a:lnTo>
                    <a:lnTo>
                      <a:pt x="499" y="544"/>
                    </a:lnTo>
                    <a:lnTo>
                      <a:pt x="499" y="538"/>
                    </a:lnTo>
                    <a:lnTo>
                      <a:pt x="505" y="532"/>
                    </a:lnTo>
                    <a:lnTo>
                      <a:pt x="510" y="538"/>
                    </a:lnTo>
                    <a:lnTo>
                      <a:pt x="522" y="527"/>
                    </a:lnTo>
                    <a:lnTo>
                      <a:pt x="527" y="521"/>
                    </a:lnTo>
                    <a:lnTo>
                      <a:pt x="539" y="521"/>
                    </a:lnTo>
                    <a:lnTo>
                      <a:pt x="539" y="527"/>
                    </a:lnTo>
                    <a:lnTo>
                      <a:pt x="556" y="527"/>
                    </a:lnTo>
                    <a:lnTo>
                      <a:pt x="584" y="504"/>
                    </a:lnTo>
                    <a:lnTo>
                      <a:pt x="590" y="493"/>
                    </a:lnTo>
                    <a:lnTo>
                      <a:pt x="601" y="493"/>
                    </a:lnTo>
                    <a:lnTo>
                      <a:pt x="607" y="481"/>
                    </a:lnTo>
                    <a:lnTo>
                      <a:pt x="618" y="476"/>
                    </a:lnTo>
                    <a:lnTo>
                      <a:pt x="624" y="470"/>
                    </a:lnTo>
                    <a:lnTo>
                      <a:pt x="629" y="476"/>
                    </a:lnTo>
                    <a:lnTo>
                      <a:pt x="629" y="481"/>
                    </a:lnTo>
                    <a:lnTo>
                      <a:pt x="635" y="487"/>
                    </a:lnTo>
                    <a:lnTo>
                      <a:pt x="641" y="504"/>
                    </a:lnTo>
                    <a:lnTo>
                      <a:pt x="635" y="504"/>
                    </a:lnTo>
                    <a:lnTo>
                      <a:pt x="612" y="515"/>
                    </a:lnTo>
                    <a:lnTo>
                      <a:pt x="618" y="527"/>
                    </a:lnTo>
                    <a:lnTo>
                      <a:pt x="607" y="532"/>
                    </a:lnTo>
                    <a:lnTo>
                      <a:pt x="595" y="527"/>
                    </a:lnTo>
                    <a:lnTo>
                      <a:pt x="595" y="544"/>
                    </a:lnTo>
                    <a:lnTo>
                      <a:pt x="601" y="561"/>
                    </a:lnTo>
                    <a:lnTo>
                      <a:pt x="607" y="595"/>
                    </a:lnTo>
                    <a:lnTo>
                      <a:pt x="618" y="600"/>
                    </a:lnTo>
                    <a:lnTo>
                      <a:pt x="624" y="606"/>
                    </a:lnTo>
                    <a:lnTo>
                      <a:pt x="624" y="629"/>
                    </a:lnTo>
                    <a:lnTo>
                      <a:pt x="629" y="634"/>
                    </a:lnTo>
                    <a:lnTo>
                      <a:pt x="635" y="634"/>
                    </a:lnTo>
                    <a:lnTo>
                      <a:pt x="646" y="634"/>
                    </a:lnTo>
                    <a:lnTo>
                      <a:pt x="658" y="651"/>
                    </a:lnTo>
                    <a:lnTo>
                      <a:pt x="663" y="657"/>
                    </a:lnTo>
                    <a:lnTo>
                      <a:pt x="663" y="668"/>
                    </a:lnTo>
                    <a:lnTo>
                      <a:pt x="675" y="668"/>
                    </a:lnTo>
                    <a:lnTo>
                      <a:pt x="686" y="674"/>
                    </a:lnTo>
                    <a:lnTo>
                      <a:pt x="703" y="674"/>
                    </a:lnTo>
                    <a:lnTo>
                      <a:pt x="720" y="663"/>
                    </a:lnTo>
                    <a:lnTo>
                      <a:pt x="731" y="674"/>
                    </a:lnTo>
                    <a:lnTo>
                      <a:pt x="743" y="674"/>
                    </a:lnTo>
                    <a:lnTo>
                      <a:pt x="760" y="674"/>
                    </a:lnTo>
                    <a:lnTo>
                      <a:pt x="765" y="668"/>
                    </a:lnTo>
                    <a:lnTo>
                      <a:pt x="782" y="663"/>
                    </a:lnTo>
                    <a:lnTo>
                      <a:pt x="788" y="640"/>
                    </a:lnTo>
                    <a:lnTo>
                      <a:pt x="788" y="623"/>
                    </a:lnTo>
                    <a:lnTo>
                      <a:pt x="782" y="617"/>
                    </a:lnTo>
                    <a:lnTo>
                      <a:pt x="782" y="612"/>
                    </a:lnTo>
                    <a:lnTo>
                      <a:pt x="794" y="606"/>
                    </a:lnTo>
                    <a:lnTo>
                      <a:pt x="828" y="595"/>
                    </a:lnTo>
                    <a:lnTo>
                      <a:pt x="839" y="600"/>
                    </a:lnTo>
                    <a:lnTo>
                      <a:pt x="879" y="589"/>
                    </a:lnTo>
                    <a:lnTo>
                      <a:pt x="873" y="578"/>
                    </a:lnTo>
                    <a:lnTo>
                      <a:pt x="884" y="561"/>
                    </a:lnTo>
                    <a:lnTo>
                      <a:pt x="890" y="549"/>
                    </a:lnTo>
                    <a:lnTo>
                      <a:pt x="901" y="544"/>
                    </a:lnTo>
                    <a:lnTo>
                      <a:pt x="907" y="538"/>
                    </a:lnTo>
                    <a:lnTo>
                      <a:pt x="913" y="532"/>
                    </a:lnTo>
                    <a:lnTo>
                      <a:pt x="913" y="521"/>
                    </a:lnTo>
                    <a:lnTo>
                      <a:pt x="924" y="527"/>
                    </a:lnTo>
                    <a:lnTo>
                      <a:pt x="941" y="521"/>
                    </a:lnTo>
                    <a:lnTo>
                      <a:pt x="947" y="521"/>
                    </a:lnTo>
                    <a:lnTo>
                      <a:pt x="958" y="510"/>
                    </a:lnTo>
                    <a:lnTo>
                      <a:pt x="964" y="510"/>
                    </a:lnTo>
                    <a:lnTo>
                      <a:pt x="981" y="504"/>
                    </a:lnTo>
                    <a:lnTo>
                      <a:pt x="981" y="487"/>
                    </a:lnTo>
                    <a:lnTo>
                      <a:pt x="998" y="476"/>
                    </a:lnTo>
                    <a:lnTo>
                      <a:pt x="1015" y="487"/>
                    </a:lnTo>
                    <a:lnTo>
                      <a:pt x="1026" y="476"/>
                    </a:lnTo>
                    <a:lnTo>
                      <a:pt x="1037" y="481"/>
                    </a:lnTo>
                    <a:lnTo>
                      <a:pt x="1037" y="487"/>
                    </a:lnTo>
                    <a:lnTo>
                      <a:pt x="1060" y="493"/>
                    </a:lnTo>
                    <a:lnTo>
                      <a:pt x="1077" y="493"/>
                    </a:lnTo>
                    <a:lnTo>
                      <a:pt x="1083" y="481"/>
                    </a:lnTo>
                    <a:lnTo>
                      <a:pt x="1100" y="476"/>
                    </a:lnTo>
                    <a:lnTo>
                      <a:pt x="1100" y="453"/>
                    </a:lnTo>
                    <a:lnTo>
                      <a:pt x="1117" y="442"/>
                    </a:lnTo>
                    <a:lnTo>
                      <a:pt x="1122" y="459"/>
                    </a:lnTo>
                    <a:lnTo>
                      <a:pt x="1134" y="436"/>
                    </a:lnTo>
                    <a:lnTo>
                      <a:pt x="1122" y="430"/>
                    </a:lnTo>
                    <a:lnTo>
                      <a:pt x="1122" y="425"/>
                    </a:lnTo>
                    <a:lnTo>
                      <a:pt x="1122" y="419"/>
                    </a:lnTo>
                    <a:lnTo>
                      <a:pt x="1122" y="413"/>
                    </a:lnTo>
                    <a:lnTo>
                      <a:pt x="1117" y="402"/>
                    </a:lnTo>
                    <a:lnTo>
                      <a:pt x="1122" y="402"/>
                    </a:lnTo>
                    <a:lnTo>
                      <a:pt x="1128" y="396"/>
                    </a:lnTo>
                    <a:lnTo>
                      <a:pt x="1128" y="391"/>
                    </a:lnTo>
                    <a:lnTo>
                      <a:pt x="1122" y="385"/>
                    </a:lnTo>
                    <a:lnTo>
                      <a:pt x="1145" y="391"/>
                    </a:lnTo>
                    <a:lnTo>
                      <a:pt x="1145" y="362"/>
                    </a:lnTo>
                    <a:lnTo>
                      <a:pt x="1162" y="345"/>
                    </a:lnTo>
                    <a:lnTo>
                      <a:pt x="1168" y="328"/>
                    </a:lnTo>
                    <a:lnTo>
                      <a:pt x="1173" y="311"/>
                    </a:lnTo>
                    <a:lnTo>
                      <a:pt x="1179" y="311"/>
                    </a:lnTo>
                    <a:lnTo>
                      <a:pt x="1224" y="334"/>
                    </a:lnTo>
                    <a:lnTo>
                      <a:pt x="1247" y="334"/>
                    </a:lnTo>
                    <a:lnTo>
                      <a:pt x="1247" y="345"/>
                    </a:lnTo>
                    <a:lnTo>
                      <a:pt x="1258" y="351"/>
                    </a:lnTo>
                    <a:lnTo>
                      <a:pt x="1247" y="368"/>
                    </a:lnTo>
                    <a:lnTo>
                      <a:pt x="1264" y="374"/>
                    </a:lnTo>
                    <a:lnTo>
                      <a:pt x="1292" y="374"/>
                    </a:lnTo>
                    <a:lnTo>
                      <a:pt x="1298" y="385"/>
                    </a:lnTo>
                    <a:lnTo>
                      <a:pt x="1321" y="379"/>
                    </a:lnTo>
                    <a:lnTo>
                      <a:pt x="1321" y="385"/>
                    </a:lnTo>
                    <a:lnTo>
                      <a:pt x="1332" y="391"/>
                    </a:lnTo>
                    <a:lnTo>
                      <a:pt x="1349" y="385"/>
                    </a:lnTo>
                    <a:lnTo>
                      <a:pt x="1372" y="391"/>
                    </a:lnTo>
                    <a:lnTo>
                      <a:pt x="1372" y="402"/>
                    </a:lnTo>
                    <a:lnTo>
                      <a:pt x="1377" y="419"/>
                    </a:lnTo>
                    <a:lnTo>
                      <a:pt x="1417" y="391"/>
                    </a:lnTo>
                    <a:lnTo>
                      <a:pt x="1417" y="379"/>
                    </a:lnTo>
                    <a:lnTo>
                      <a:pt x="1429" y="374"/>
                    </a:lnTo>
                    <a:lnTo>
                      <a:pt x="1434" y="357"/>
                    </a:lnTo>
                    <a:lnTo>
                      <a:pt x="1446" y="345"/>
                    </a:lnTo>
                    <a:lnTo>
                      <a:pt x="1468" y="345"/>
                    </a:lnTo>
                    <a:lnTo>
                      <a:pt x="1468" y="340"/>
                    </a:lnTo>
                    <a:lnTo>
                      <a:pt x="1497" y="345"/>
                    </a:lnTo>
                    <a:lnTo>
                      <a:pt x="1502" y="340"/>
                    </a:lnTo>
                    <a:lnTo>
                      <a:pt x="1514" y="340"/>
                    </a:lnTo>
                    <a:lnTo>
                      <a:pt x="1519" y="328"/>
                    </a:lnTo>
                    <a:lnTo>
                      <a:pt x="1525" y="334"/>
                    </a:lnTo>
                    <a:lnTo>
                      <a:pt x="1553" y="334"/>
                    </a:lnTo>
                    <a:lnTo>
                      <a:pt x="1553" y="340"/>
                    </a:lnTo>
                    <a:lnTo>
                      <a:pt x="1582" y="351"/>
                    </a:lnTo>
                    <a:lnTo>
                      <a:pt x="1582" y="357"/>
                    </a:lnTo>
                    <a:lnTo>
                      <a:pt x="1570" y="362"/>
                    </a:lnTo>
                    <a:lnTo>
                      <a:pt x="1582" y="368"/>
                    </a:lnTo>
                    <a:lnTo>
                      <a:pt x="1587" y="379"/>
                    </a:lnTo>
                    <a:lnTo>
                      <a:pt x="1593" y="374"/>
                    </a:lnTo>
                    <a:lnTo>
                      <a:pt x="1599" y="368"/>
                    </a:lnTo>
                    <a:lnTo>
                      <a:pt x="1610" y="362"/>
                    </a:lnTo>
                    <a:lnTo>
                      <a:pt x="1610" y="345"/>
                    </a:lnTo>
                    <a:lnTo>
                      <a:pt x="1633" y="345"/>
                    </a:lnTo>
                    <a:lnTo>
                      <a:pt x="1627" y="351"/>
                    </a:lnTo>
                    <a:lnTo>
                      <a:pt x="1638" y="368"/>
                    </a:lnTo>
                    <a:lnTo>
                      <a:pt x="1661" y="368"/>
                    </a:lnTo>
                    <a:lnTo>
                      <a:pt x="1667" y="374"/>
                    </a:lnTo>
                    <a:lnTo>
                      <a:pt x="1661" y="374"/>
                    </a:lnTo>
                    <a:lnTo>
                      <a:pt x="1661" y="385"/>
                    </a:lnTo>
                    <a:lnTo>
                      <a:pt x="1655" y="385"/>
                    </a:lnTo>
                    <a:lnTo>
                      <a:pt x="1650" y="396"/>
                    </a:lnTo>
                    <a:lnTo>
                      <a:pt x="1661" y="396"/>
                    </a:lnTo>
                    <a:lnTo>
                      <a:pt x="1672" y="402"/>
                    </a:lnTo>
                    <a:lnTo>
                      <a:pt x="1672" y="408"/>
                    </a:lnTo>
                    <a:lnTo>
                      <a:pt x="1678" y="408"/>
                    </a:lnTo>
                    <a:lnTo>
                      <a:pt x="1661" y="425"/>
                    </a:lnTo>
                    <a:lnTo>
                      <a:pt x="1650" y="425"/>
                    </a:lnTo>
                    <a:lnTo>
                      <a:pt x="1650" y="430"/>
                    </a:lnTo>
                    <a:lnTo>
                      <a:pt x="1655" y="430"/>
                    </a:lnTo>
                    <a:lnTo>
                      <a:pt x="1655" y="436"/>
                    </a:lnTo>
                    <a:lnTo>
                      <a:pt x="1644" y="436"/>
                    </a:lnTo>
                    <a:lnTo>
                      <a:pt x="1644" y="447"/>
                    </a:lnTo>
                    <a:lnTo>
                      <a:pt x="1650" y="447"/>
                    </a:lnTo>
                    <a:lnTo>
                      <a:pt x="1650" y="459"/>
                    </a:lnTo>
                    <a:lnTo>
                      <a:pt x="1638" y="464"/>
                    </a:lnTo>
                    <a:lnTo>
                      <a:pt x="1627" y="464"/>
                    </a:lnTo>
                    <a:lnTo>
                      <a:pt x="1627" y="470"/>
                    </a:lnTo>
                    <a:lnTo>
                      <a:pt x="1587" y="493"/>
                    </a:lnTo>
                    <a:lnTo>
                      <a:pt x="1576" y="487"/>
                    </a:lnTo>
                    <a:lnTo>
                      <a:pt x="1570" y="481"/>
                    </a:lnTo>
                    <a:lnTo>
                      <a:pt x="1553" y="470"/>
                    </a:lnTo>
                    <a:lnTo>
                      <a:pt x="1553" y="476"/>
                    </a:lnTo>
                    <a:lnTo>
                      <a:pt x="1531" y="487"/>
                    </a:lnTo>
                    <a:lnTo>
                      <a:pt x="1525" y="504"/>
                    </a:lnTo>
                    <a:lnTo>
                      <a:pt x="1531" y="510"/>
                    </a:lnTo>
                    <a:lnTo>
                      <a:pt x="1525" y="515"/>
                    </a:lnTo>
                    <a:lnTo>
                      <a:pt x="1468" y="510"/>
                    </a:lnTo>
                    <a:lnTo>
                      <a:pt x="1457" y="527"/>
                    </a:lnTo>
                    <a:lnTo>
                      <a:pt x="1440" y="521"/>
                    </a:lnTo>
                    <a:lnTo>
                      <a:pt x="1440" y="527"/>
                    </a:lnTo>
                    <a:lnTo>
                      <a:pt x="1412" y="538"/>
                    </a:lnTo>
                    <a:lnTo>
                      <a:pt x="1417" y="549"/>
                    </a:lnTo>
                    <a:lnTo>
                      <a:pt x="1417" y="561"/>
                    </a:lnTo>
                    <a:lnTo>
                      <a:pt x="1429" y="566"/>
                    </a:lnTo>
                    <a:lnTo>
                      <a:pt x="1434" y="595"/>
                    </a:lnTo>
                    <a:lnTo>
                      <a:pt x="1429" y="600"/>
                    </a:lnTo>
                    <a:lnTo>
                      <a:pt x="1417" y="600"/>
                    </a:lnTo>
                    <a:lnTo>
                      <a:pt x="1440" y="612"/>
                    </a:lnTo>
                    <a:lnTo>
                      <a:pt x="1440" y="629"/>
                    </a:lnTo>
                    <a:lnTo>
                      <a:pt x="1451" y="629"/>
                    </a:lnTo>
                    <a:lnTo>
                      <a:pt x="1446" y="646"/>
                    </a:lnTo>
                    <a:lnTo>
                      <a:pt x="1423" y="640"/>
                    </a:lnTo>
                    <a:lnTo>
                      <a:pt x="1400" y="634"/>
                    </a:lnTo>
                    <a:lnTo>
                      <a:pt x="1383" y="651"/>
                    </a:lnTo>
                    <a:lnTo>
                      <a:pt x="1383" y="646"/>
                    </a:lnTo>
                    <a:lnTo>
                      <a:pt x="1377" y="646"/>
                    </a:lnTo>
                    <a:lnTo>
                      <a:pt x="1377" y="640"/>
                    </a:lnTo>
                    <a:lnTo>
                      <a:pt x="1377" y="634"/>
                    </a:lnTo>
                    <a:lnTo>
                      <a:pt x="1372" y="634"/>
                    </a:lnTo>
                    <a:lnTo>
                      <a:pt x="1372" y="629"/>
                    </a:lnTo>
                    <a:lnTo>
                      <a:pt x="1377" y="657"/>
                    </a:lnTo>
                    <a:lnTo>
                      <a:pt x="1372" y="663"/>
                    </a:lnTo>
                    <a:lnTo>
                      <a:pt x="1355" y="657"/>
                    </a:lnTo>
                    <a:lnTo>
                      <a:pt x="1349" y="668"/>
                    </a:lnTo>
                    <a:lnTo>
                      <a:pt x="1338" y="680"/>
                    </a:lnTo>
                    <a:lnTo>
                      <a:pt x="1338" y="691"/>
                    </a:lnTo>
                    <a:lnTo>
                      <a:pt x="1332" y="697"/>
                    </a:lnTo>
                    <a:lnTo>
                      <a:pt x="1338" y="702"/>
                    </a:lnTo>
                    <a:lnTo>
                      <a:pt x="1332" y="719"/>
                    </a:lnTo>
                    <a:lnTo>
                      <a:pt x="1321" y="731"/>
                    </a:lnTo>
                    <a:lnTo>
                      <a:pt x="1309" y="753"/>
                    </a:lnTo>
                    <a:lnTo>
                      <a:pt x="1304" y="753"/>
                    </a:lnTo>
                    <a:lnTo>
                      <a:pt x="1287" y="776"/>
                    </a:lnTo>
                    <a:lnTo>
                      <a:pt x="1281" y="782"/>
                    </a:lnTo>
                    <a:lnTo>
                      <a:pt x="1281" y="793"/>
                    </a:lnTo>
                    <a:lnTo>
                      <a:pt x="1281" y="799"/>
                    </a:lnTo>
                    <a:lnTo>
                      <a:pt x="1321" y="804"/>
                    </a:lnTo>
                    <a:lnTo>
                      <a:pt x="1360" y="799"/>
                    </a:lnTo>
                    <a:lnTo>
                      <a:pt x="1377" y="799"/>
                    </a:lnTo>
                    <a:lnTo>
                      <a:pt x="1423" y="799"/>
                    </a:lnTo>
                    <a:lnTo>
                      <a:pt x="1434" y="810"/>
                    </a:lnTo>
                    <a:lnTo>
                      <a:pt x="1474" y="810"/>
                    </a:lnTo>
                    <a:lnTo>
                      <a:pt x="1474" y="816"/>
                    </a:lnTo>
                    <a:lnTo>
                      <a:pt x="1497" y="827"/>
                    </a:lnTo>
                    <a:lnTo>
                      <a:pt x="1497" y="844"/>
                    </a:lnTo>
                    <a:lnTo>
                      <a:pt x="1519" y="861"/>
                    </a:lnTo>
                    <a:lnTo>
                      <a:pt x="1514" y="867"/>
                    </a:lnTo>
                    <a:lnTo>
                      <a:pt x="1491" y="873"/>
                    </a:lnTo>
                    <a:lnTo>
                      <a:pt x="1485" y="867"/>
                    </a:lnTo>
                    <a:lnTo>
                      <a:pt x="1480" y="878"/>
                    </a:lnTo>
                    <a:lnTo>
                      <a:pt x="1451" y="884"/>
                    </a:lnTo>
                    <a:lnTo>
                      <a:pt x="1451" y="895"/>
                    </a:lnTo>
                    <a:lnTo>
                      <a:pt x="1440" y="901"/>
                    </a:lnTo>
                    <a:lnTo>
                      <a:pt x="1468" y="907"/>
                    </a:lnTo>
                    <a:lnTo>
                      <a:pt x="1474" y="901"/>
                    </a:lnTo>
                    <a:lnTo>
                      <a:pt x="1485" y="901"/>
                    </a:lnTo>
                    <a:lnTo>
                      <a:pt x="1485" y="918"/>
                    </a:lnTo>
                    <a:lnTo>
                      <a:pt x="1525" y="929"/>
                    </a:lnTo>
                    <a:lnTo>
                      <a:pt x="1519" y="935"/>
                    </a:lnTo>
                    <a:lnTo>
                      <a:pt x="1514" y="935"/>
                    </a:lnTo>
                    <a:lnTo>
                      <a:pt x="1514" y="941"/>
                    </a:lnTo>
                    <a:lnTo>
                      <a:pt x="1508" y="941"/>
                    </a:lnTo>
                    <a:lnTo>
                      <a:pt x="1508" y="946"/>
                    </a:lnTo>
                    <a:lnTo>
                      <a:pt x="1508" y="952"/>
                    </a:lnTo>
                    <a:lnTo>
                      <a:pt x="1508" y="958"/>
                    </a:lnTo>
                    <a:lnTo>
                      <a:pt x="1497" y="958"/>
                    </a:lnTo>
                    <a:lnTo>
                      <a:pt x="1491" y="958"/>
                    </a:lnTo>
                    <a:lnTo>
                      <a:pt x="1485" y="958"/>
                    </a:lnTo>
                    <a:lnTo>
                      <a:pt x="1480" y="963"/>
                    </a:lnTo>
                    <a:lnTo>
                      <a:pt x="1474" y="963"/>
                    </a:lnTo>
                    <a:lnTo>
                      <a:pt x="1468" y="963"/>
                    </a:lnTo>
                    <a:lnTo>
                      <a:pt x="1463" y="963"/>
                    </a:lnTo>
                    <a:lnTo>
                      <a:pt x="1457" y="963"/>
                    </a:lnTo>
                    <a:lnTo>
                      <a:pt x="1451" y="963"/>
                    </a:lnTo>
                    <a:lnTo>
                      <a:pt x="1451" y="969"/>
                    </a:lnTo>
                    <a:lnTo>
                      <a:pt x="1446" y="969"/>
                    </a:lnTo>
                    <a:lnTo>
                      <a:pt x="1440" y="975"/>
                    </a:lnTo>
                    <a:lnTo>
                      <a:pt x="1440" y="980"/>
                    </a:lnTo>
                    <a:lnTo>
                      <a:pt x="1440" y="986"/>
                    </a:lnTo>
                    <a:lnTo>
                      <a:pt x="1446" y="986"/>
                    </a:lnTo>
                    <a:lnTo>
                      <a:pt x="1446" y="992"/>
                    </a:lnTo>
                    <a:lnTo>
                      <a:pt x="1451" y="992"/>
                    </a:lnTo>
                    <a:lnTo>
                      <a:pt x="1446" y="992"/>
                    </a:lnTo>
                    <a:lnTo>
                      <a:pt x="1440" y="986"/>
                    </a:lnTo>
                    <a:lnTo>
                      <a:pt x="1434" y="992"/>
                    </a:lnTo>
                    <a:lnTo>
                      <a:pt x="1429" y="986"/>
                    </a:lnTo>
                    <a:lnTo>
                      <a:pt x="1412" y="986"/>
                    </a:lnTo>
                    <a:lnTo>
                      <a:pt x="1406" y="986"/>
                    </a:lnTo>
                    <a:lnTo>
                      <a:pt x="1400" y="986"/>
                    </a:lnTo>
                    <a:lnTo>
                      <a:pt x="1395" y="986"/>
                    </a:lnTo>
                    <a:lnTo>
                      <a:pt x="1383" y="986"/>
                    </a:lnTo>
                    <a:lnTo>
                      <a:pt x="1377" y="986"/>
                    </a:lnTo>
                    <a:lnTo>
                      <a:pt x="1377" y="980"/>
                    </a:lnTo>
                    <a:lnTo>
                      <a:pt x="1366" y="986"/>
                    </a:lnTo>
                    <a:lnTo>
                      <a:pt x="1360" y="986"/>
                    </a:lnTo>
                    <a:lnTo>
                      <a:pt x="1360" y="980"/>
                    </a:lnTo>
                    <a:lnTo>
                      <a:pt x="1355" y="980"/>
                    </a:lnTo>
                    <a:lnTo>
                      <a:pt x="1360" y="980"/>
                    </a:lnTo>
                    <a:lnTo>
                      <a:pt x="1360" y="975"/>
                    </a:lnTo>
                    <a:lnTo>
                      <a:pt x="1355" y="975"/>
                    </a:lnTo>
                    <a:lnTo>
                      <a:pt x="1360" y="975"/>
                    </a:lnTo>
                    <a:lnTo>
                      <a:pt x="1355" y="975"/>
                    </a:lnTo>
                    <a:lnTo>
                      <a:pt x="1349" y="975"/>
                    </a:lnTo>
                    <a:lnTo>
                      <a:pt x="1343" y="975"/>
                    </a:lnTo>
                    <a:lnTo>
                      <a:pt x="1343" y="969"/>
                    </a:lnTo>
                    <a:lnTo>
                      <a:pt x="1338" y="969"/>
                    </a:lnTo>
                    <a:lnTo>
                      <a:pt x="1343" y="969"/>
                    </a:lnTo>
                    <a:lnTo>
                      <a:pt x="1343" y="975"/>
                    </a:lnTo>
                    <a:lnTo>
                      <a:pt x="1349" y="975"/>
                    </a:lnTo>
                    <a:lnTo>
                      <a:pt x="1355" y="980"/>
                    </a:lnTo>
                    <a:lnTo>
                      <a:pt x="1355" y="986"/>
                    </a:lnTo>
                    <a:lnTo>
                      <a:pt x="1349" y="980"/>
                    </a:lnTo>
                    <a:lnTo>
                      <a:pt x="1343" y="980"/>
                    </a:lnTo>
                    <a:lnTo>
                      <a:pt x="1338" y="980"/>
                    </a:lnTo>
                    <a:lnTo>
                      <a:pt x="1338" y="986"/>
                    </a:lnTo>
                    <a:lnTo>
                      <a:pt x="1332" y="986"/>
                    </a:lnTo>
                    <a:lnTo>
                      <a:pt x="1326" y="980"/>
                    </a:lnTo>
                    <a:lnTo>
                      <a:pt x="1315" y="975"/>
                    </a:lnTo>
                    <a:lnTo>
                      <a:pt x="1304" y="975"/>
                    </a:lnTo>
                    <a:lnTo>
                      <a:pt x="1292" y="969"/>
                    </a:lnTo>
                    <a:lnTo>
                      <a:pt x="1287" y="969"/>
                    </a:lnTo>
                    <a:lnTo>
                      <a:pt x="1281" y="969"/>
                    </a:lnTo>
                    <a:lnTo>
                      <a:pt x="1270" y="969"/>
                    </a:lnTo>
                    <a:lnTo>
                      <a:pt x="1253" y="963"/>
                    </a:lnTo>
                    <a:lnTo>
                      <a:pt x="1247" y="963"/>
                    </a:lnTo>
                    <a:lnTo>
                      <a:pt x="1241" y="963"/>
                    </a:lnTo>
                    <a:lnTo>
                      <a:pt x="1230" y="963"/>
                    </a:lnTo>
                    <a:lnTo>
                      <a:pt x="1224" y="969"/>
                    </a:lnTo>
                    <a:lnTo>
                      <a:pt x="1219" y="969"/>
                    </a:lnTo>
                    <a:lnTo>
                      <a:pt x="1213" y="975"/>
                    </a:lnTo>
                    <a:lnTo>
                      <a:pt x="1207" y="975"/>
                    </a:lnTo>
                    <a:lnTo>
                      <a:pt x="1202" y="975"/>
                    </a:lnTo>
                    <a:lnTo>
                      <a:pt x="1196" y="975"/>
                    </a:lnTo>
                    <a:lnTo>
                      <a:pt x="1190" y="980"/>
                    </a:lnTo>
                    <a:lnTo>
                      <a:pt x="1185" y="980"/>
                    </a:lnTo>
                    <a:lnTo>
                      <a:pt x="1185" y="975"/>
                    </a:lnTo>
                    <a:lnTo>
                      <a:pt x="1185" y="980"/>
                    </a:lnTo>
                    <a:lnTo>
                      <a:pt x="1179" y="980"/>
                    </a:lnTo>
                    <a:lnTo>
                      <a:pt x="1173" y="975"/>
                    </a:lnTo>
                    <a:lnTo>
                      <a:pt x="1168" y="975"/>
                    </a:lnTo>
                    <a:lnTo>
                      <a:pt x="1162" y="975"/>
                    </a:lnTo>
                    <a:lnTo>
                      <a:pt x="1151" y="975"/>
                    </a:lnTo>
                    <a:lnTo>
                      <a:pt x="1145" y="980"/>
                    </a:lnTo>
                    <a:lnTo>
                      <a:pt x="1128" y="980"/>
                    </a:lnTo>
                    <a:lnTo>
                      <a:pt x="1128" y="986"/>
                    </a:lnTo>
                    <a:lnTo>
                      <a:pt x="1122" y="986"/>
                    </a:lnTo>
                    <a:lnTo>
                      <a:pt x="1122" y="992"/>
                    </a:lnTo>
                    <a:lnTo>
                      <a:pt x="1117" y="992"/>
                    </a:lnTo>
                    <a:lnTo>
                      <a:pt x="1111" y="997"/>
                    </a:lnTo>
                    <a:lnTo>
                      <a:pt x="1111" y="1003"/>
                    </a:lnTo>
                    <a:lnTo>
                      <a:pt x="1117" y="1009"/>
                    </a:lnTo>
                    <a:lnTo>
                      <a:pt x="1122" y="1009"/>
                    </a:lnTo>
                    <a:lnTo>
                      <a:pt x="1122" y="1014"/>
                    </a:lnTo>
                    <a:lnTo>
                      <a:pt x="1117" y="1014"/>
                    </a:lnTo>
                    <a:lnTo>
                      <a:pt x="1111" y="1014"/>
                    </a:lnTo>
                    <a:lnTo>
                      <a:pt x="1105" y="1014"/>
                    </a:lnTo>
                    <a:lnTo>
                      <a:pt x="1105" y="1020"/>
                    </a:lnTo>
                    <a:lnTo>
                      <a:pt x="1100" y="1014"/>
                    </a:lnTo>
                    <a:lnTo>
                      <a:pt x="1094" y="1014"/>
                    </a:lnTo>
                    <a:lnTo>
                      <a:pt x="1088" y="1020"/>
                    </a:lnTo>
                    <a:lnTo>
                      <a:pt x="1077" y="1020"/>
                    </a:lnTo>
                    <a:lnTo>
                      <a:pt x="1071" y="1026"/>
                    </a:lnTo>
                    <a:lnTo>
                      <a:pt x="1066" y="1026"/>
                    </a:lnTo>
                    <a:lnTo>
                      <a:pt x="1066" y="1031"/>
                    </a:lnTo>
                    <a:lnTo>
                      <a:pt x="1060" y="1037"/>
                    </a:lnTo>
                    <a:lnTo>
                      <a:pt x="1060" y="1043"/>
                    </a:lnTo>
                    <a:lnTo>
                      <a:pt x="1066" y="1043"/>
                    </a:lnTo>
                    <a:lnTo>
                      <a:pt x="1060" y="1048"/>
                    </a:lnTo>
                    <a:lnTo>
                      <a:pt x="1054" y="1048"/>
                    </a:lnTo>
                    <a:lnTo>
                      <a:pt x="1054" y="1054"/>
                    </a:lnTo>
                    <a:lnTo>
                      <a:pt x="1049" y="1054"/>
                    </a:lnTo>
                    <a:lnTo>
                      <a:pt x="1043" y="1054"/>
                    </a:lnTo>
                    <a:lnTo>
                      <a:pt x="1037" y="1048"/>
                    </a:lnTo>
                    <a:lnTo>
                      <a:pt x="1037" y="1043"/>
                    </a:lnTo>
                    <a:lnTo>
                      <a:pt x="1037" y="1048"/>
                    </a:lnTo>
                    <a:lnTo>
                      <a:pt x="1043" y="1054"/>
                    </a:lnTo>
                    <a:lnTo>
                      <a:pt x="1049" y="1054"/>
                    </a:lnTo>
                    <a:lnTo>
                      <a:pt x="1049" y="1060"/>
                    </a:lnTo>
                    <a:lnTo>
                      <a:pt x="1043" y="1060"/>
                    </a:lnTo>
                    <a:lnTo>
                      <a:pt x="1037" y="1065"/>
                    </a:lnTo>
                    <a:lnTo>
                      <a:pt x="1032" y="1065"/>
                    </a:lnTo>
                    <a:lnTo>
                      <a:pt x="1026" y="1065"/>
                    </a:lnTo>
                    <a:lnTo>
                      <a:pt x="1020" y="1065"/>
                    </a:lnTo>
                    <a:lnTo>
                      <a:pt x="1009" y="1071"/>
                    </a:lnTo>
                    <a:lnTo>
                      <a:pt x="1003" y="1071"/>
                    </a:lnTo>
                    <a:lnTo>
                      <a:pt x="992" y="1065"/>
                    </a:lnTo>
                    <a:lnTo>
                      <a:pt x="975" y="1060"/>
                    </a:lnTo>
                    <a:lnTo>
                      <a:pt x="969" y="1060"/>
                    </a:lnTo>
                    <a:lnTo>
                      <a:pt x="964" y="1060"/>
                    </a:lnTo>
                    <a:lnTo>
                      <a:pt x="958" y="1060"/>
                    </a:lnTo>
                    <a:lnTo>
                      <a:pt x="947" y="1060"/>
                    </a:lnTo>
                    <a:lnTo>
                      <a:pt x="941" y="1060"/>
                    </a:lnTo>
                    <a:lnTo>
                      <a:pt x="935" y="1065"/>
                    </a:lnTo>
                    <a:lnTo>
                      <a:pt x="930" y="1060"/>
                    </a:lnTo>
                    <a:lnTo>
                      <a:pt x="930" y="1065"/>
                    </a:lnTo>
                    <a:lnTo>
                      <a:pt x="930" y="1071"/>
                    </a:lnTo>
                    <a:lnTo>
                      <a:pt x="924" y="1071"/>
                    </a:lnTo>
                    <a:lnTo>
                      <a:pt x="918" y="1071"/>
                    </a:lnTo>
                    <a:lnTo>
                      <a:pt x="918" y="1077"/>
                    </a:lnTo>
                    <a:lnTo>
                      <a:pt x="913" y="1077"/>
                    </a:lnTo>
                    <a:lnTo>
                      <a:pt x="907" y="1077"/>
                    </a:lnTo>
                    <a:lnTo>
                      <a:pt x="901" y="1082"/>
                    </a:lnTo>
                    <a:lnTo>
                      <a:pt x="896" y="1082"/>
                    </a:lnTo>
                    <a:lnTo>
                      <a:pt x="890" y="1077"/>
                    </a:lnTo>
                    <a:lnTo>
                      <a:pt x="884" y="1077"/>
                    </a:lnTo>
                    <a:lnTo>
                      <a:pt x="879" y="1077"/>
                    </a:lnTo>
                    <a:lnTo>
                      <a:pt x="873" y="1071"/>
                    </a:lnTo>
                    <a:lnTo>
                      <a:pt x="856" y="1065"/>
                    </a:lnTo>
                    <a:lnTo>
                      <a:pt x="845" y="1065"/>
                    </a:lnTo>
                    <a:lnTo>
                      <a:pt x="833" y="1060"/>
                    </a:lnTo>
                    <a:lnTo>
                      <a:pt x="828" y="1060"/>
                    </a:lnTo>
                    <a:lnTo>
                      <a:pt x="822" y="1060"/>
                    </a:lnTo>
                    <a:lnTo>
                      <a:pt x="822" y="1054"/>
                    </a:lnTo>
                    <a:lnTo>
                      <a:pt x="822" y="1060"/>
                    </a:lnTo>
                    <a:lnTo>
                      <a:pt x="816" y="1060"/>
                    </a:lnTo>
                    <a:lnTo>
                      <a:pt x="805" y="1060"/>
                    </a:lnTo>
                    <a:lnTo>
                      <a:pt x="799" y="1060"/>
                    </a:lnTo>
                    <a:lnTo>
                      <a:pt x="794" y="1065"/>
                    </a:lnTo>
                    <a:lnTo>
                      <a:pt x="788" y="1065"/>
                    </a:lnTo>
                    <a:lnTo>
                      <a:pt x="782" y="1071"/>
                    </a:lnTo>
                    <a:lnTo>
                      <a:pt x="777" y="1071"/>
                    </a:lnTo>
                    <a:lnTo>
                      <a:pt x="771" y="1071"/>
                    </a:lnTo>
                    <a:lnTo>
                      <a:pt x="765" y="1071"/>
                    </a:lnTo>
                    <a:lnTo>
                      <a:pt x="760" y="1071"/>
                    </a:lnTo>
                    <a:lnTo>
                      <a:pt x="765" y="1071"/>
                    </a:lnTo>
                    <a:lnTo>
                      <a:pt x="771" y="1071"/>
                    </a:lnTo>
                    <a:lnTo>
                      <a:pt x="782" y="1071"/>
                    </a:lnTo>
                    <a:lnTo>
                      <a:pt x="782" y="1077"/>
                    </a:lnTo>
                    <a:lnTo>
                      <a:pt x="788" y="1077"/>
                    </a:lnTo>
                    <a:lnTo>
                      <a:pt x="788" y="1082"/>
                    </a:lnTo>
                    <a:lnTo>
                      <a:pt x="782" y="1088"/>
                    </a:lnTo>
                    <a:lnTo>
                      <a:pt x="771" y="1088"/>
                    </a:lnTo>
                    <a:lnTo>
                      <a:pt x="754" y="1082"/>
                    </a:lnTo>
                    <a:lnTo>
                      <a:pt x="748" y="1082"/>
                    </a:lnTo>
                    <a:lnTo>
                      <a:pt x="743" y="1082"/>
                    </a:lnTo>
                    <a:lnTo>
                      <a:pt x="737" y="1082"/>
                    </a:lnTo>
                    <a:lnTo>
                      <a:pt x="731" y="1082"/>
                    </a:lnTo>
                    <a:lnTo>
                      <a:pt x="726" y="1082"/>
                    </a:lnTo>
                    <a:lnTo>
                      <a:pt x="709" y="1088"/>
                    </a:lnTo>
                    <a:lnTo>
                      <a:pt x="697" y="1088"/>
                    </a:lnTo>
                    <a:lnTo>
                      <a:pt x="692" y="1094"/>
                    </a:lnTo>
                    <a:lnTo>
                      <a:pt x="680" y="1094"/>
                    </a:lnTo>
                    <a:lnTo>
                      <a:pt x="680" y="1099"/>
                    </a:lnTo>
                    <a:lnTo>
                      <a:pt x="675" y="1099"/>
                    </a:lnTo>
                    <a:lnTo>
                      <a:pt x="669" y="1105"/>
                    </a:lnTo>
                    <a:lnTo>
                      <a:pt x="669" y="1111"/>
                    </a:lnTo>
                    <a:lnTo>
                      <a:pt x="669" y="1116"/>
                    </a:lnTo>
                    <a:lnTo>
                      <a:pt x="663" y="1116"/>
                    </a:lnTo>
                    <a:lnTo>
                      <a:pt x="658" y="1122"/>
                    </a:lnTo>
                    <a:lnTo>
                      <a:pt x="646" y="1122"/>
                    </a:lnTo>
                    <a:lnTo>
                      <a:pt x="641" y="1128"/>
                    </a:lnTo>
                    <a:lnTo>
                      <a:pt x="635" y="1133"/>
                    </a:lnTo>
                    <a:lnTo>
                      <a:pt x="624" y="1139"/>
                    </a:lnTo>
                    <a:lnTo>
                      <a:pt x="618" y="1139"/>
                    </a:lnTo>
                    <a:lnTo>
                      <a:pt x="618" y="1145"/>
                    </a:lnTo>
                    <a:lnTo>
                      <a:pt x="618" y="1150"/>
                    </a:lnTo>
                    <a:lnTo>
                      <a:pt x="612" y="1150"/>
                    </a:lnTo>
                    <a:lnTo>
                      <a:pt x="595" y="1150"/>
                    </a:lnTo>
                    <a:lnTo>
                      <a:pt x="590" y="1156"/>
                    </a:lnTo>
                    <a:lnTo>
                      <a:pt x="584" y="1156"/>
                    </a:lnTo>
                    <a:lnTo>
                      <a:pt x="578" y="1162"/>
                    </a:lnTo>
                    <a:lnTo>
                      <a:pt x="573" y="1167"/>
                    </a:lnTo>
                    <a:lnTo>
                      <a:pt x="573" y="1173"/>
                    </a:lnTo>
                    <a:lnTo>
                      <a:pt x="573" y="1179"/>
                    </a:lnTo>
                    <a:lnTo>
                      <a:pt x="573" y="1184"/>
                    </a:lnTo>
                    <a:lnTo>
                      <a:pt x="567" y="1184"/>
                    </a:lnTo>
                    <a:lnTo>
                      <a:pt x="561" y="1184"/>
                    </a:lnTo>
                    <a:lnTo>
                      <a:pt x="561" y="1190"/>
                    </a:lnTo>
                    <a:lnTo>
                      <a:pt x="556" y="1184"/>
                    </a:lnTo>
                    <a:lnTo>
                      <a:pt x="550" y="1184"/>
                    </a:lnTo>
                    <a:lnTo>
                      <a:pt x="544" y="1184"/>
                    </a:lnTo>
                    <a:lnTo>
                      <a:pt x="533" y="1173"/>
                    </a:lnTo>
                    <a:lnTo>
                      <a:pt x="527" y="1173"/>
                    </a:lnTo>
                    <a:lnTo>
                      <a:pt x="527" y="1167"/>
                    </a:lnTo>
                    <a:lnTo>
                      <a:pt x="522" y="1167"/>
                    </a:lnTo>
                    <a:lnTo>
                      <a:pt x="516" y="1167"/>
                    </a:lnTo>
                    <a:lnTo>
                      <a:pt x="510" y="1167"/>
                    </a:lnTo>
                    <a:lnTo>
                      <a:pt x="505" y="1167"/>
                    </a:lnTo>
                    <a:lnTo>
                      <a:pt x="499" y="1167"/>
                    </a:lnTo>
                    <a:lnTo>
                      <a:pt x="493" y="1173"/>
                    </a:lnTo>
                    <a:lnTo>
                      <a:pt x="487" y="1167"/>
                    </a:lnTo>
                    <a:lnTo>
                      <a:pt x="482" y="1167"/>
                    </a:lnTo>
                    <a:lnTo>
                      <a:pt x="476" y="1167"/>
                    </a:lnTo>
                    <a:lnTo>
                      <a:pt x="476" y="1173"/>
                    </a:lnTo>
                    <a:lnTo>
                      <a:pt x="470" y="1173"/>
                    </a:lnTo>
                    <a:lnTo>
                      <a:pt x="465" y="1173"/>
                    </a:lnTo>
                    <a:lnTo>
                      <a:pt x="465" y="1167"/>
                    </a:lnTo>
                    <a:lnTo>
                      <a:pt x="459" y="1167"/>
                    </a:lnTo>
                    <a:lnTo>
                      <a:pt x="453" y="1162"/>
                    </a:lnTo>
                    <a:lnTo>
                      <a:pt x="453" y="1156"/>
                    </a:lnTo>
                    <a:lnTo>
                      <a:pt x="453" y="1162"/>
                    </a:lnTo>
                    <a:lnTo>
                      <a:pt x="448" y="1156"/>
                    </a:lnTo>
                    <a:lnTo>
                      <a:pt x="442" y="1156"/>
                    </a:lnTo>
                    <a:lnTo>
                      <a:pt x="442" y="1150"/>
                    </a:lnTo>
                    <a:lnTo>
                      <a:pt x="436" y="1145"/>
                    </a:lnTo>
                    <a:lnTo>
                      <a:pt x="431" y="1145"/>
                    </a:lnTo>
                    <a:lnTo>
                      <a:pt x="425" y="1139"/>
                    </a:lnTo>
                    <a:lnTo>
                      <a:pt x="419" y="1139"/>
                    </a:lnTo>
                    <a:lnTo>
                      <a:pt x="414" y="1139"/>
                    </a:lnTo>
                    <a:lnTo>
                      <a:pt x="414" y="1133"/>
                    </a:lnTo>
                    <a:lnTo>
                      <a:pt x="408" y="1128"/>
                    </a:lnTo>
                    <a:lnTo>
                      <a:pt x="402" y="1128"/>
                    </a:lnTo>
                    <a:lnTo>
                      <a:pt x="397" y="1128"/>
                    </a:lnTo>
                    <a:lnTo>
                      <a:pt x="391" y="1128"/>
                    </a:lnTo>
                    <a:lnTo>
                      <a:pt x="391" y="1133"/>
                    </a:lnTo>
                    <a:lnTo>
                      <a:pt x="385" y="1133"/>
                    </a:lnTo>
                    <a:lnTo>
                      <a:pt x="380" y="1133"/>
                    </a:lnTo>
                    <a:lnTo>
                      <a:pt x="380" y="1128"/>
                    </a:lnTo>
                    <a:lnTo>
                      <a:pt x="385" y="1128"/>
                    </a:lnTo>
                    <a:lnTo>
                      <a:pt x="391" y="1122"/>
                    </a:lnTo>
                    <a:lnTo>
                      <a:pt x="391" y="1116"/>
                    </a:lnTo>
                    <a:lnTo>
                      <a:pt x="397" y="1111"/>
                    </a:lnTo>
                    <a:lnTo>
                      <a:pt x="397" y="1099"/>
                    </a:lnTo>
                    <a:lnTo>
                      <a:pt x="397" y="1094"/>
                    </a:lnTo>
                    <a:lnTo>
                      <a:pt x="385" y="1082"/>
                    </a:lnTo>
                    <a:lnTo>
                      <a:pt x="385" y="1077"/>
                    </a:lnTo>
                    <a:lnTo>
                      <a:pt x="380" y="1077"/>
                    </a:lnTo>
                    <a:lnTo>
                      <a:pt x="374" y="1077"/>
                    </a:lnTo>
                    <a:lnTo>
                      <a:pt x="368" y="1077"/>
                    </a:lnTo>
                    <a:lnTo>
                      <a:pt x="357" y="1082"/>
                    </a:lnTo>
                    <a:lnTo>
                      <a:pt x="351" y="1077"/>
                    </a:lnTo>
                    <a:lnTo>
                      <a:pt x="346" y="1077"/>
                    </a:lnTo>
                    <a:lnTo>
                      <a:pt x="340" y="1077"/>
                    </a:lnTo>
                    <a:lnTo>
                      <a:pt x="334" y="1077"/>
                    </a:lnTo>
                    <a:lnTo>
                      <a:pt x="334" y="1071"/>
                    </a:lnTo>
                    <a:lnTo>
                      <a:pt x="334" y="1065"/>
                    </a:lnTo>
                    <a:lnTo>
                      <a:pt x="329" y="1065"/>
                    </a:lnTo>
                    <a:lnTo>
                      <a:pt x="323" y="1060"/>
                    </a:lnTo>
                    <a:lnTo>
                      <a:pt x="329" y="1060"/>
                    </a:lnTo>
                    <a:lnTo>
                      <a:pt x="334" y="1060"/>
                    </a:lnTo>
                    <a:lnTo>
                      <a:pt x="334" y="1054"/>
                    </a:lnTo>
                    <a:lnTo>
                      <a:pt x="340" y="1054"/>
                    </a:lnTo>
                    <a:lnTo>
                      <a:pt x="340" y="1048"/>
                    </a:lnTo>
                    <a:lnTo>
                      <a:pt x="346" y="1048"/>
                    </a:lnTo>
                    <a:lnTo>
                      <a:pt x="340" y="1048"/>
                    </a:lnTo>
                    <a:lnTo>
                      <a:pt x="340" y="1043"/>
                    </a:lnTo>
                    <a:lnTo>
                      <a:pt x="340" y="1048"/>
                    </a:lnTo>
                    <a:lnTo>
                      <a:pt x="334" y="1054"/>
                    </a:lnTo>
                    <a:lnTo>
                      <a:pt x="329" y="1054"/>
                    </a:lnTo>
                    <a:lnTo>
                      <a:pt x="329" y="1060"/>
                    </a:lnTo>
                    <a:lnTo>
                      <a:pt x="323" y="1060"/>
                    </a:lnTo>
                    <a:lnTo>
                      <a:pt x="317" y="1054"/>
                    </a:lnTo>
                    <a:lnTo>
                      <a:pt x="323" y="1060"/>
                    </a:lnTo>
                    <a:lnTo>
                      <a:pt x="317" y="1054"/>
                    </a:lnTo>
                    <a:lnTo>
                      <a:pt x="312" y="1054"/>
                    </a:lnTo>
                    <a:lnTo>
                      <a:pt x="306" y="1054"/>
                    </a:lnTo>
                    <a:lnTo>
                      <a:pt x="300" y="1054"/>
                    </a:lnTo>
                    <a:lnTo>
                      <a:pt x="295" y="1060"/>
                    </a:lnTo>
                    <a:lnTo>
                      <a:pt x="283" y="1060"/>
                    </a:lnTo>
                    <a:lnTo>
                      <a:pt x="278" y="1060"/>
                    </a:lnTo>
                    <a:lnTo>
                      <a:pt x="278" y="1065"/>
                    </a:lnTo>
                    <a:lnTo>
                      <a:pt x="272" y="1065"/>
                    </a:lnTo>
                    <a:lnTo>
                      <a:pt x="272" y="1060"/>
                    </a:lnTo>
                    <a:lnTo>
                      <a:pt x="266" y="1060"/>
                    </a:lnTo>
                    <a:lnTo>
                      <a:pt x="266" y="1065"/>
                    </a:lnTo>
                    <a:lnTo>
                      <a:pt x="261" y="1065"/>
                    </a:lnTo>
                    <a:lnTo>
                      <a:pt x="255" y="1065"/>
                    </a:lnTo>
                    <a:lnTo>
                      <a:pt x="255" y="1060"/>
                    </a:lnTo>
                    <a:lnTo>
                      <a:pt x="255" y="1054"/>
                    </a:lnTo>
                    <a:lnTo>
                      <a:pt x="261" y="1054"/>
                    </a:lnTo>
                    <a:lnTo>
                      <a:pt x="255" y="1054"/>
                    </a:lnTo>
                    <a:lnTo>
                      <a:pt x="255" y="1048"/>
                    </a:lnTo>
                    <a:lnTo>
                      <a:pt x="255" y="1043"/>
                    </a:lnTo>
                    <a:lnTo>
                      <a:pt x="255" y="1037"/>
                    </a:lnTo>
                    <a:lnTo>
                      <a:pt x="261" y="1037"/>
                    </a:lnTo>
                    <a:lnTo>
                      <a:pt x="261" y="1031"/>
                    </a:lnTo>
                    <a:lnTo>
                      <a:pt x="266" y="1031"/>
                    </a:lnTo>
                    <a:lnTo>
                      <a:pt x="266" y="1026"/>
                    </a:lnTo>
                    <a:lnTo>
                      <a:pt x="261" y="1020"/>
                    </a:lnTo>
                    <a:lnTo>
                      <a:pt x="255" y="1014"/>
                    </a:lnTo>
                    <a:lnTo>
                      <a:pt x="261" y="1009"/>
                    </a:lnTo>
                    <a:lnTo>
                      <a:pt x="266" y="1009"/>
                    </a:lnTo>
                    <a:lnTo>
                      <a:pt x="266" y="1003"/>
                    </a:lnTo>
                    <a:lnTo>
                      <a:pt x="261" y="992"/>
                    </a:lnTo>
                    <a:lnTo>
                      <a:pt x="255" y="992"/>
                    </a:lnTo>
                    <a:lnTo>
                      <a:pt x="255" y="986"/>
                    </a:lnTo>
                    <a:lnTo>
                      <a:pt x="249" y="986"/>
                    </a:lnTo>
                    <a:lnTo>
                      <a:pt x="244" y="986"/>
                    </a:lnTo>
                    <a:lnTo>
                      <a:pt x="238" y="980"/>
                    </a:lnTo>
                    <a:lnTo>
                      <a:pt x="221" y="980"/>
                    </a:lnTo>
                    <a:lnTo>
                      <a:pt x="210" y="980"/>
                    </a:lnTo>
                    <a:lnTo>
                      <a:pt x="204" y="980"/>
                    </a:lnTo>
                    <a:lnTo>
                      <a:pt x="198" y="986"/>
                    </a:lnTo>
                    <a:lnTo>
                      <a:pt x="187" y="986"/>
                    </a:lnTo>
                    <a:lnTo>
                      <a:pt x="181" y="986"/>
                    </a:lnTo>
                    <a:lnTo>
                      <a:pt x="176" y="986"/>
                    </a:lnTo>
                    <a:lnTo>
                      <a:pt x="170" y="992"/>
                    </a:lnTo>
                    <a:lnTo>
                      <a:pt x="164" y="992"/>
                    </a:lnTo>
                    <a:lnTo>
                      <a:pt x="164" y="997"/>
                    </a:lnTo>
                    <a:lnTo>
                      <a:pt x="159" y="997"/>
                    </a:lnTo>
                    <a:lnTo>
                      <a:pt x="159" y="1003"/>
                    </a:lnTo>
                    <a:lnTo>
                      <a:pt x="159" y="1009"/>
                    </a:lnTo>
                    <a:lnTo>
                      <a:pt x="159" y="1014"/>
                    </a:lnTo>
                    <a:lnTo>
                      <a:pt x="159" y="1009"/>
                    </a:lnTo>
                    <a:lnTo>
                      <a:pt x="159" y="1014"/>
                    </a:lnTo>
                    <a:lnTo>
                      <a:pt x="164" y="1020"/>
                    </a:lnTo>
                    <a:lnTo>
                      <a:pt x="170" y="1026"/>
                    </a:lnTo>
                    <a:lnTo>
                      <a:pt x="170" y="1031"/>
                    </a:lnTo>
                    <a:lnTo>
                      <a:pt x="164" y="1031"/>
                    </a:lnTo>
                    <a:lnTo>
                      <a:pt x="164" y="1037"/>
                    </a:lnTo>
                    <a:lnTo>
                      <a:pt x="164" y="1043"/>
                    </a:lnTo>
                    <a:lnTo>
                      <a:pt x="164" y="1048"/>
                    </a:lnTo>
                    <a:lnTo>
                      <a:pt x="164" y="1054"/>
                    </a:lnTo>
                    <a:lnTo>
                      <a:pt x="170" y="1054"/>
                    </a:lnTo>
                    <a:lnTo>
                      <a:pt x="170" y="1060"/>
                    </a:lnTo>
                    <a:lnTo>
                      <a:pt x="164" y="1054"/>
                    </a:lnTo>
                    <a:lnTo>
                      <a:pt x="159" y="1054"/>
                    </a:lnTo>
                    <a:lnTo>
                      <a:pt x="159" y="1048"/>
                    </a:lnTo>
                    <a:lnTo>
                      <a:pt x="153" y="1048"/>
                    </a:lnTo>
                    <a:lnTo>
                      <a:pt x="147" y="1043"/>
                    </a:lnTo>
                    <a:lnTo>
                      <a:pt x="147" y="1037"/>
                    </a:lnTo>
                    <a:lnTo>
                      <a:pt x="142" y="1037"/>
                    </a:lnTo>
                    <a:lnTo>
                      <a:pt x="142" y="1031"/>
                    </a:lnTo>
                    <a:lnTo>
                      <a:pt x="147" y="1031"/>
                    </a:lnTo>
                    <a:lnTo>
                      <a:pt x="142" y="1031"/>
                    </a:lnTo>
                    <a:lnTo>
                      <a:pt x="142" y="1026"/>
                    </a:lnTo>
                    <a:lnTo>
                      <a:pt x="142" y="1014"/>
                    </a:lnTo>
                    <a:lnTo>
                      <a:pt x="142" y="1009"/>
                    </a:lnTo>
                    <a:lnTo>
                      <a:pt x="136" y="1009"/>
                    </a:lnTo>
                    <a:lnTo>
                      <a:pt x="130" y="1009"/>
                    </a:lnTo>
                    <a:lnTo>
                      <a:pt x="130" y="1003"/>
                    </a:lnTo>
                    <a:lnTo>
                      <a:pt x="130" y="997"/>
                    </a:lnTo>
                    <a:lnTo>
                      <a:pt x="136" y="997"/>
                    </a:lnTo>
                    <a:lnTo>
                      <a:pt x="136" y="992"/>
                    </a:lnTo>
                    <a:lnTo>
                      <a:pt x="136" y="986"/>
                    </a:lnTo>
                    <a:lnTo>
                      <a:pt x="142" y="980"/>
                    </a:lnTo>
                    <a:lnTo>
                      <a:pt x="142" y="975"/>
                    </a:lnTo>
                    <a:lnTo>
                      <a:pt x="136" y="975"/>
                    </a:lnTo>
                    <a:lnTo>
                      <a:pt x="130" y="975"/>
                    </a:lnTo>
                    <a:lnTo>
                      <a:pt x="130" y="969"/>
                    </a:lnTo>
                    <a:lnTo>
                      <a:pt x="136" y="969"/>
                    </a:lnTo>
                    <a:lnTo>
                      <a:pt x="136" y="963"/>
                    </a:lnTo>
                    <a:lnTo>
                      <a:pt x="136" y="958"/>
                    </a:lnTo>
                    <a:lnTo>
                      <a:pt x="142" y="958"/>
                    </a:lnTo>
                    <a:lnTo>
                      <a:pt x="142" y="952"/>
                    </a:lnTo>
                    <a:lnTo>
                      <a:pt x="147" y="941"/>
                    </a:lnTo>
                    <a:lnTo>
                      <a:pt x="147" y="935"/>
                    </a:lnTo>
                    <a:lnTo>
                      <a:pt x="153" y="935"/>
                    </a:lnTo>
                    <a:lnTo>
                      <a:pt x="159" y="935"/>
                    </a:lnTo>
                    <a:lnTo>
                      <a:pt x="159" y="941"/>
                    </a:lnTo>
                    <a:lnTo>
                      <a:pt x="164" y="941"/>
                    </a:lnTo>
                    <a:lnTo>
                      <a:pt x="170" y="935"/>
                    </a:lnTo>
                    <a:lnTo>
                      <a:pt x="170" y="929"/>
                    </a:lnTo>
                    <a:lnTo>
                      <a:pt x="176" y="929"/>
                    </a:lnTo>
                    <a:lnTo>
                      <a:pt x="176" y="924"/>
                    </a:lnTo>
                    <a:lnTo>
                      <a:pt x="170" y="918"/>
                    </a:lnTo>
                    <a:lnTo>
                      <a:pt x="170" y="912"/>
                    </a:lnTo>
                    <a:lnTo>
                      <a:pt x="164" y="901"/>
                    </a:lnTo>
                    <a:lnTo>
                      <a:pt x="164" y="895"/>
                    </a:lnTo>
                    <a:lnTo>
                      <a:pt x="159" y="890"/>
                    </a:lnTo>
                    <a:lnTo>
                      <a:pt x="164" y="890"/>
                    </a:lnTo>
                    <a:lnTo>
                      <a:pt x="164" y="884"/>
                    </a:lnTo>
                    <a:lnTo>
                      <a:pt x="159" y="873"/>
                    </a:lnTo>
                    <a:lnTo>
                      <a:pt x="153" y="867"/>
                    </a:lnTo>
                    <a:lnTo>
                      <a:pt x="153" y="861"/>
                    </a:lnTo>
                    <a:lnTo>
                      <a:pt x="147" y="861"/>
                    </a:lnTo>
                    <a:lnTo>
                      <a:pt x="147" y="855"/>
                    </a:lnTo>
                    <a:lnTo>
                      <a:pt x="142" y="855"/>
                    </a:lnTo>
                    <a:lnTo>
                      <a:pt x="142" y="850"/>
                    </a:lnTo>
                    <a:lnTo>
                      <a:pt x="136" y="844"/>
                    </a:lnTo>
                    <a:lnTo>
                      <a:pt x="130" y="844"/>
                    </a:lnTo>
                    <a:lnTo>
                      <a:pt x="136" y="833"/>
                    </a:lnTo>
                    <a:lnTo>
                      <a:pt x="130" y="827"/>
                    </a:lnTo>
                    <a:lnTo>
                      <a:pt x="130" y="821"/>
                    </a:lnTo>
                    <a:lnTo>
                      <a:pt x="125" y="816"/>
                    </a:lnTo>
                    <a:lnTo>
                      <a:pt x="119" y="810"/>
                    </a:lnTo>
                    <a:lnTo>
                      <a:pt x="113" y="804"/>
                    </a:lnTo>
                    <a:lnTo>
                      <a:pt x="102" y="799"/>
                    </a:lnTo>
                    <a:lnTo>
                      <a:pt x="96" y="793"/>
                    </a:lnTo>
                    <a:lnTo>
                      <a:pt x="91" y="787"/>
                    </a:lnTo>
                    <a:lnTo>
                      <a:pt x="91" y="782"/>
                    </a:lnTo>
                    <a:lnTo>
                      <a:pt x="91" y="770"/>
                    </a:lnTo>
                    <a:lnTo>
                      <a:pt x="85" y="765"/>
                    </a:lnTo>
                    <a:lnTo>
                      <a:pt x="79" y="759"/>
                    </a:lnTo>
                    <a:lnTo>
                      <a:pt x="79" y="753"/>
                    </a:lnTo>
                    <a:lnTo>
                      <a:pt x="57" y="731"/>
                    </a:lnTo>
                    <a:lnTo>
                      <a:pt x="51" y="731"/>
                    </a:lnTo>
                    <a:lnTo>
                      <a:pt x="45" y="731"/>
                    </a:lnTo>
                    <a:lnTo>
                      <a:pt x="45" y="725"/>
                    </a:lnTo>
                    <a:lnTo>
                      <a:pt x="40" y="725"/>
                    </a:lnTo>
                    <a:lnTo>
                      <a:pt x="40" y="719"/>
                    </a:lnTo>
                    <a:lnTo>
                      <a:pt x="45" y="719"/>
                    </a:lnTo>
                    <a:lnTo>
                      <a:pt x="51" y="719"/>
                    </a:lnTo>
                    <a:lnTo>
                      <a:pt x="45" y="714"/>
                    </a:lnTo>
                    <a:lnTo>
                      <a:pt x="51" y="708"/>
                    </a:lnTo>
                    <a:lnTo>
                      <a:pt x="51" y="714"/>
                    </a:lnTo>
                    <a:lnTo>
                      <a:pt x="57" y="714"/>
                    </a:lnTo>
                    <a:lnTo>
                      <a:pt x="57" y="719"/>
                    </a:lnTo>
                    <a:lnTo>
                      <a:pt x="57" y="725"/>
                    </a:lnTo>
                    <a:lnTo>
                      <a:pt x="62" y="725"/>
                    </a:lnTo>
                    <a:lnTo>
                      <a:pt x="62" y="731"/>
                    </a:lnTo>
                    <a:lnTo>
                      <a:pt x="68" y="736"/>
                    </a:lnTo>
                    <a:lnTo>
                      <a:pt x="74" y="742"/>
                    </a:lnTo>
                    <a:lnTo>
                      <a:pt x="79" y="748"/>
                    </a:lnTo>
                    <a:lnTo>
                      <a:pt x="85" y="748"/>
                    </a:lnTo>
                    <a:lnTo>
                      <a:pt x="85" y="742"/>
                    </a:lnTo>
                    <a:lnTo>
                      <a:pt x="79" y="742"/>
                    </a:lnTo>
                    <a:lnTo>
                      <a:pt x="85" y="742"/>
                    </a:lnTo>
                    <a:lnTo>
                      <a:pt x="79" y="742"/>
                    </a:lnTo>
                    <a:lnTo>
                      <a:pt x="74" y="736"/>
                    </a:lnTo>
                    <a:lnTo>
                      <a:pt x="74" y="731"/>
                    </a:lnTo>
                    <a:lnTo>
                      <a:pt x="62" y="725"/>
                    </a:lnTo>
                    <a:lnTo>
                      <a:pt x="62" y="719"/>
                    </a:lnTo>
                    <a:lnTo>
                      <a:pt x="62" y="708"/>
                    </a:lnTo>
                    <a:lnTo>
                      <a:pt x="62" y="702"/>
                    </a:lnTo>
                    <a:lnTo>
                      <a:pt x="62" y="697"/>
                    </a:lnTo>
                    <a:lnTo>
                      <a:pt x="57" y="697"/>
                    </a:lnTo>
                    <a:lnTo>
                      <a:pt x="51" y="691"/>
                    </a:lnTo>
                    <a:lnTo>
                      <a:pt x="45" y="691"/>
                    </a:lnTo>
                    <a:lnTo>
                      <a:pt x="40" y="697"/>
                    </a:lnTo>
                    <a:lnTo>
                      <a:pt x="45" y="702"/>
                    </a:lnTo>
                    <a:lnTo>
                      <a:pt x="40" y="697"/>
                    </a:lnTo>
                    <a:lnTo>
                      <a:pt x="40" y="702"/>
                    </a:lnTo>
                    <a:lnTo>
                      <a:pt x="28" y="708"/>
                    </a:lnTo>
                    <a:lnTo>
                      <a:pt x="28" y="702"/>
                    </a:lnTo>
                    <a:lnTo>
                      <a:pt x="23" y="702"/>
                    </a:lnTo>
                    <a:lnTo>
                      <a:pt x="28" y="702"/>
                    </a:lnTo>
                    <a:lnTo>
                      <a:pt x="28" y="697"/>
                    </a:lnTo>
                    <a:lnTo>
                      <a:pt x="23" y="697"/>
                    </a:lnTo>
                    <a:lnTo>
                      <a:pt x="23" y="691"/>
                    </a:lnTo>
                    <a:lnTo>
                      <a:pt x="23" y="685"/>
                    </a:lnTo>
                    <a:lnTo>
                      <a:pt x="23" y="680"/>
                    </a:lnTo>
                    <a:lnTo>
                      <a:pt x="23" y="674"/>
                    </a:lnTo>
                    <a:lnTo>
                      <a:pt x="23" y="668"/>
                    </a:lnTo>
                    <a:lnTo>
                      <a:pt x="17" y="668"/>
                    </a:lnTo>
                    <a:lnTo>
                      <a:pt x="23" y="663"/>
                    </a:lnTo>
                    <a:lnTo>
                      <a:pt x="17" y="663"/>
                    </a:lnTo>
                    <a:lnTo>
                      <a:pt x="23" y="663"/>
                    </a:lnTo>
                    <a:lnTo>
                      <a:pt x="23" y="657"/>
                    </a:lnTo>
                    <a:lnTo>
                      <a:pt x="23" y="651"/>
                    </a:lnTo>
                    <a:lnTo>
                      <a:pt x="17" y="651"/>
                    </a:lnTo>
                    <a:lnTo>
                      <a:pt x="17" y="646"/>
                    </a:lnTo>
                    <a:lnTo>
                      <a:pt x="23" y="646"/>
                    </a:lnTo>
                    <a:lnTo>
                      <a:pt x="23" y="640"/>
                    </a:lnTo>
                    <a:lnTo>
                      <a:pt x="28" y="640"/>
                    </a:lnTo>
                    <a:lnTo>
                      <a:pt x="34" y="634"/>
                    </a:lnTo>
                    <a:lnTo>
                      <a:pt x="28" y="634"/>
                    </a:lnTo>
                    <a:lnTo>
                      <a:pt x="28" y="623"/>
                    </a:lnTo>
                    <a:lnTo>
                      <a:pt x="34" y="623"/>
                    </a:lnTo>
                    <a:lnTo>
                      <a:pt x="34" y="617"/>
                    </a:lnTo>
                    <a:lnTo>
                      <a:pt x="40" y="617"/>
                    </a:lnTo>
                    <a:lnTo>
                      <a:pt x="45" y="617"/>
                    </a:lnTo>
                    <a:lnTo>
                      <a:pt x="45" y="612"/>
                    </a:lnTo>
                    <a:lnTo>
                      <a:pt x="51" y="612"/>
                    </a:lnTo>
                    <a:lnTo>
                      <a:pt x="51" y="617"/>
                    </a:lnTo>
                    <a:lnTo>
                      <a:pt x="57" y="623"/>
                    </a:lnTo>
                    <a:lnTo>
                      <a:pt x="62" y="623"/>
                    </a:lnTo>
                    <a:lnTo>
                      <a:pt x="57" y="629"/>
                    </a:lnTo>
                    <a:lnTo>
                      <a:pt x="62" y="629"/>
                    </a:lnTo>
                    <a:lnTo>
                      <a:pt x="68" y="629"/>
                    </a:lnTo>
                    <a:lnTo>
                      <a:pt x="68" y="634"/>
                    </a:lnTo>
                    <a:lnTo>
                      <a:pt x="74" y="634"/>
                    </a:lnTo>
                    <a:lnTo>
                      <a:pt x="79" y="634"/>
                    </a:lnTo>
                    <a:lnTo>
                      <a:pt x="91" y="634"/>
                    </a:lnTo>
                    <a:lnTo>
                      <a:pt x="96" y="629"/>
                    </a:lnTo>
                    <a:lnTo>
                      <a:pt x="102" y="623"/>
                    </a:lnTo>
                    <a:lnTo>
                      <a:pt x="102" y="617"/>
                    </a:lnTo>
                    <a:lnTo>
                      <a:pt x="108" y="617"/>
                    </a:lnTo>
                    <a:lnTo>
                      <a:pt x="113" y="612"/>
                    </a:lnTo>
                    <a:lnTo>
                      <a:pt x="119" y="606"/>
                    </a:lnTo>
                    <a:lnTo>
                      <a:pt x="130" y="595"/>
                    </a:lnTo>
                    <a:lnTo>
                      <a:pt x="130" y="589"/>
                    </a:lnTo>
                    <a:lnTo>
                      <a:pt x="136" y="578"/>
                    </a:lnTo>
                    <a:lnTo>
                      <a:pt x="142" y="572"/>
                    </a:lnTo>
                    <a:lnTo>
                      <a:pt x="142" y="561"/>
                    </a:lnTo>
                    <a:lnTo>
                      <a:pt x="142" y="555"/>
                    </a:lnTo>
                    <a:lnTo>
                      <a:pt x="142" y="544"/>
                    </a:lnTo>
                    <a:lnTo>
                      <a:pt x="142" y="538"/>
                    </a:lnTo>
                    <a:lnTo>
                      <a:pt x="142" y="532"/>
                    </a:lnTo>
                    <a:lnTo>
                      <a:pt x="142" y="521"/>
                    </a:lnTo>
                    <a:lnTo>
                      <a:pt x="142" y="510"/>
                    </a:lnTo>
                    <a:lnTo>
                      <a:pt x="147" y="504"/>
                    </a:lnTo>
                    <a:lnTo>
                      <a:pt x="142" y="481"/>
                    </a:lnTo>
                    <a:lnTo>
                      <a:pt x="142" y="470"/>
                    </a:lnTo>
                    <a:lnTo>
                      <a:pt x="136" y="459"/>
                    </a:lnTo>
                    <a:lnTo>
                      <a:pt x="136" y="453"/>
                    </a:lnTo>
                    <a:lnTo>
                      <a:pt x="136" y="447"/>
                    </a:lnTo>
                    <a:lnTo>
                      <a:pt x="142" y="447"/>
                    </a:lnTo>
                    <a:lnTo>
                      <a:pt x="142" y="442"/>
                    </a:lnTo>
                    <a:lnTo>
                      <a:pt x="136" y="430"/>
                    </a:lnTo>
                    <a:lnTo>
                      <a:pt x="136" y="425"/>
                    </a:lnTo>
                    <a:lnTo>
                      <a:pt x="136" y="419"/>
                    </a:lnTo>
                    <a:lnTo>
                      <a:pt x="130" y="413"/>
                    </a:lnTo>
                    <a:lnTo>
                      <a:pt x="130" y="408"/>
                    </a:lnTo>
                    <a:lnTo>
                      <a:pt x="130" y="402"/>
                    </a:lnTo>
                    <a:lnTo>
                      <a:pt x="136" y="402"/>
                    </a:lnTo>
                    <a:lnTo>
                      <a:pt x="136" y="396"/>
                    </a:lnTo>
                    <a:lnTo>
                      <a:pt x="130" y="391"/>
                    </a:lnTo>
                    <a:lnTo>
                      <a:pt x="130" y="385"/>
                    </a:lnTo>
                    <a:lnTo>
                      <a:pt x="125" y="379"/>
                    </a:lnTo>
                    <a:lnTo>
                      <a:pt x="119" y="374"/>
                    </a:lnTo>
                    <a:lnTo>
                      <a:pt x="125" y="374"/>
                    </a:lnTo>
                    <a:lnTo>
                      <a:pt x="119" y="368"/>
                    </a:lnTo>
                    <a:lnTo>
                      <a:pt x="125" y="368"/>
                    </a:lnTo>
                    <a:lnTo>
                      <a:pt x="119" y="362"/>
                    </a:lnTo>
                    <a:lnTo>
                      <a:pt x="119" y="357"/>
                    </a:lnTo>
                    <a:lnTo>
                      <a:pt x="113" y="345"/>
                    </a:lnTo>
                    <a:lnTo>
                      <a:pt x="113" y="340"/>
                    </a:lnTo>
                    <a:lnTo>
                      <a:pt x="113" y="334"/>
                    </a:lnTo>
                    <a:lnTo>
                      <a:pt x="113" y="340"/>
                    </a:lnTo>
                    <a:lnTo>
                      <a:pt x="108" y="340"/>
                    </a:lnTo>
                    <a:lnTo>
                      <a:pt x="102" y="334"/>
                    </a:lnTo>
                    <a:lnTo>
                      <a:pt x="102" y="328"/>
                    </a:lnTo>
                    <a:lnTo>
                      <a:pt x="91" y="317"/>
                    </a:lnTo>
                    <a:lnTo>
                      <a:pt x="91" y="311"/>
                    </a:lnTo>
                    <a:lnTo>
                      <a:pt x="85" y="306"/>
                    </a:lnTo>
                    <a:lnTo>
                      <a:pt x="85" y="300"/>
                    </a:lnTo>
                    <a:lnTo>
                      <a:pt x="79" y="294"/>
                    </a:lnTo>
                    <a:lnTo>
                      <a:pt x="74" y="289"/>
                    </a:lnTo>
                    <a:lnTo>
                      <a:pt x="68" y="283"/>
                    </a:lnTo>
                    <a:lnTo>
                      <a:pt x="62" y="277"/>
                    </a:lnTo>
                    <a:lnTo>
                      <a:pt x="57" y="272"/>
                    </a:lnTo>
                    <a:lnTo>
                      <a:pt x="51" y="266"/>
                    </a:lnTo>
                    <a:lnTo>
                      <a:pt x="51" y="260"/>
                    </a:lnTo>
                    <a:lnTo>
                      <a:pt x="40" y="255"/>
                    </a:lnTo>
                    <a:lnTo>
                      <a:pt x="40" y="249"/>
                    </a:lnTo>
                    <a:lnTo>
                      <a:pt x="34" y="243"/>
                    </a:lnTo>
                    <a:lnTo>
                      <a:pt x="34" y="238"/>
                    </a:lnTo>
                    <a:lnTo>
                      <a:pt x="34" y="232"/>
                    </a:lnTo>
                    <a:lnTo>
                      <a:pt x="28" y="226"/>
                    </a:lnTo>
                    <a:lnTo>
                      <a:pt x="23" y="221"/>
                    </a:lnTo>
                    <a:lnTo>
                      <a:pt x="11" y="215"/>
                    </a:lnTo>
                    <a:lnTo>
                      <a:pt x="6" y="204"/>
                    </a:lnTo>
                    <a:lnTo>
                      <a:pt x="0" y="198"/>
                    </a:lnTo>
                    <a:lnTo>
                      <a:pt x="0" y="192"/>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56" name="Freeform 8"/>
              <p:cNvSpPr>
                <a:spLocks/>
              </p:cNvSpPr>
              <p:nvPr>
                <p:custDataLst>
                  <p:tags r:id="rId6"/>
                </p:custDataLst>
              </p:nvPr>
            </p:nvSpPr>
            <p:spPr bwMode="gray">
              <a:xfrm>
                <a:off x="290513" y="1919783"/>
                <a:ext cx="2051817" cy="1918921"/>
              </a:xfrm>
              <a:custGeom>
                <a:avLst/>
                <a:gdLst>
                  <a:gd name="T0" fmla="*/ 71190 w 2358"/>
                  <a:gd name="T1" fmla="*/ 437980 h 2199"/>
                  <a:gd name="T2" fmla="*/ 55643 w 2358"/>
                  <a:gd name="T3" fmla="*/ 407124 h 2199"/>
                  <a:gd name="T4" fmla="*/ 43369 w 2358"/>
                  <a:gd name="T5" fmla="*/ 374358 h 2199"/>
                  <a:gd name="T6" fmla="*/ 32459 w 2358"/>
                  <a:gd name="T7" fmla="*/ 340499 h 2199"/>
                  <a:gd name="T8" fmla="*/ 20184 w 2358"/>
                  <a:gd name="T9" fmla="*/ 315651 h 2199"/>
                  <a:gd name="T10" fmla="*/ 4637 w 2358"/>
                  <a:gd name="T11" fmla="*/ 290803 h 2199"/>
                  <a:gd name="T12" fmla="*/ 18547 w 2358"/>
                  <a:gd name="T13" fmla="*/ 273874 h 2199"/>
                  <a:gd name="T14" fmla="*/ 24821 w 2358"/>
                  <a:gd name="T15" fmla="*/ 253668 h 2199"/>
                  <a:gd name="T16" fmla="*/ 48006 w 2358"/>
                  <a:gd name="T17" fmla="*/ 243018 h 2199"/>
                  <a:gd name="T18" fmla="*/ 63280 w 2358"/>
                  <a:gd name="T19" fmla="*/ 258309 h 2199"/>
                  <a:gd name="T20" fmla="*/ 67917 w 2358"/>
                  <a:gd name="T21" fmla="*/ 283158 h 2199"/>
                  <a:gd name="T22" fmla="*/ 88101 w 2358"/>
                  <a:gd name="T23" fmla="*/ 294079 h 2199"/>
                  <a:gd name="T24" fmla="*/ 114286 w 2358"/>
                  <a:gd name="T25" fmla="*/ 303364 h 2199"/>
                  <a:gd name="T26" fmla="*/ 146745 w 2358"/>
                  <a:gd name="T27" fmla="*/ 303364 h 2199"/>
                  <a:gd name="T28" fmla="*/ 177839 w 2358"/>
                  <a:gd name="T29" fmla="*/ 301725 h 2199"/>
                  <a:gd name="T30" fmla="*/ 202388 w 2358"/>
                  <a:gd name="T31" fmla="*/ 303364 h 2199"/>
                  <a:gd name="T32" fmla="*/ 216298 w 2358"/>
                  <a:gd name="T33" fmla="*/ 284796 h 2199"/>
                  <a:gd name="T34" fmla="*/ 245756 w 2358"/>
                  <a:gd name="T35" fmla="*/ 270870 h 2199"/>
                  <a:gd name="T36" fmla="*/ 256667 w 2358"/>
                  <a:gd name="T37" fmla="*/ 129974 h 2199"/>
                  <a:gd name="T38" fmla="*/ 258303 w 2358"/>
                  <a:gd name="T39" fmla="*/ 9284 h 2199"/>
                  <a:gd name="T40" fmla="*/ 278214 w 2358"/>
                  <a:gd name="T41" fmla="*/ 13926 h 2199"/>
                  <a:gd name="T42" fmla="*/ 293762 w 2358"/>
                  <a:gd name="T43" fmla="*/ 33859 h 2199"/>
                  <a:gd name="T44" fmla="*/ 303036 w 2358"/>
                  <a:gd name="T45" fmla="*/ 55703 h 2199"/>
                  <a:gd name="T46" fmla="*/ 310673 w 2358"/>
                  <a:gd name="T47" fmla="*/ 77274 h 2199"/>
                  <a:gd name="T48" fmla="*/ 316947 w 2358"/>
                  <a:gd name="T49" fmla="*/ 100484 h 2199"/>
                  <a:gd name="T50" fmla="*/ 304672 w 2358"/>
                  <a:gd name="T51" fmla="*/ 120690 h 2199"/>
                  <a:gd name="T52" fmla="*/ 301399 w 2358"/>
                  <a:gd name="T53" fmla="*/ 153184 h 2199"/>
                  <a:gd name="T54" fmla="*/ 326220 w 2358"/>
                  <a:gd name="T55" fmla="*/ 151545 h 2199"/>
                  <a:gd name="T56" fmla="*/ 355679 w 2358"/>
                  <a:gd name="T57" fmla="*/ 151545 h 2199"/>
                  <a:gd name="T58" fmla="*/ 383500 w 2358"/>
                  <a:gd name="T59" fmla="*/ 145265 h 2199"/>
                  <a:gd name="T60" fmla="*/ 409685 w 2358"/>
                  <a:gd name="T61" fmla="*/ 129974 h 2199"/>
                  <a:gd name="T62" fmla="*/ 425232 w 2358"/>
                  <a:gd name="T63" fmla="*/ 112771 h 2199"/>
                  <a:gd name="T64" fmla="*/ 445143 w 2358"/>
                  <a:gd name="T65" fmla="*/ 98846 h 2199"/>
                  <a:gd name="T66" fmla="*/ 466965 w 2358"/>
                  <a:gd name="T67" fmla="*/ 137619 h 2199"/>
                  <a:gd name="T68" fmla="*/ 476238 w 2358"/>
                  <a:gd name="T69" fmla="*/ 165471 h 2199"/>
                  <a:gd name="T70" fmla="*/ 491786 w 2358"/>
                  <a:gd name="T71" fmla="*/ 190319 h 2199"/>
                  <a:gd name="T72" fmla="*/ 533518 w 2358"/>
                  <a:gd name="T73" fmla="*/ 197965 h 2199"/>
                  <a:gd name="T74" fmla="*/ 570613 w 2358"/>
                  <a:gd name="T75" fmla="*/ 216532 h 2199"/>
                  <a:gd name="T76" fmla="*/ 571977 w 2358"/>
                  <a:gd name="T77" fmla="*/ 241380 h 2199"/>
                  <a:gd name="T78" fmla="*/ 589161 w 2358"/>
                  <a:gd name="T79" fmla="*/ 225816 h 2199"/>
                  <a:gd name="T80" fmla="*/ 598434 w 2358"/>
                  <a:gd name="T81" fmla="*/ 216532 h 2199"/>
                  <a:gd name="T82" fmla="*/ 607708 w 2358"/>
                  <a:gd name="T83" fmla="*/ 246022 h 2199"/>
                  <a:gd name="T84" fmla="*/ 561339 w 2358"/>
                  <a:gd name="T85" fmla="*/ 360432 h 2199"/>
                  <a:gd name="T86" fmla="*/ 581251 w 2358"/>
                  <a:gd name="T87" fmla="*/ 379000 h 2199"/>
                  <a:gd name="T88" fmla="*/ 598434 w 2358"/>
                  <a:gd name="T89" fmla="*/ 396202 h 2199"/>
                  <a:gd name="T90" fmla="*/ 612345 w 2358"/>
                  <a:gd name="T91" fmla="*/ 413132 h 2199"/>
                  <a:gd name="T92" fmla="*/ 632257 w 2358"/>
                  <a:gd name="T93" fmla="*/ 427057 h 2199"/>
                  <a:gd name="T94" fmla="*/ 627620 w 2358"/>
                  <a:gd name="T95" fmla="*/ 475115 h 2199"/>
                  <a:gd name="T96" fmla="*/ 541155 w 2358"/>
                  <a:gd name="T97" fmla="*/ 512250 h 2199"/>
                  <a:gd name="T98" fmla="*/ 496422 w 2358"/>
                  <a:gd name="T99" fmla="*/ 510612 h 2199"/>
                  <a:gd name="T100" fmla="*/ 428232 w 2358"/>
                  <a:gd name="T101" fmla="*/ 507608 h 2199"/>
                  <a:gd name="T102" fmla="*/ 388137 w 2358"/>
                  <a:gd name="T103" fmla="*/ 546382 h 2199"/>
                  <a:gd name="T104" fmla="*/ 329221 w 2358"/>
                  <a:gd name="T105" fmla="*/ 569592 h 2199"/>
                  <a:gd name="T106" fmla="*/ 267577 w 2358"/>
                  <a:gd name="T107" fmla="*/ 594167 h 2199"/>
                  <a:gd name="T108" fmla="*/ 253666 w 2358"/>
                  <a:gd name="T109" fmla="*/ 547747 h 2199"/>
                  <a:gd name="T110" fmla="*/ 211661 w 2358"/>
                  <a:gd name="T111" fmla="*/ 580241 h 2199"/>
                  <a:gd name="T112" fmla="*/ 208661 w 2358"/>
                  <a:gd name="T113" fmla="*/ 538464 h 2199"/>
                  <a:gd name="T114" fmla="*/ 187113 w 2358"/>
                  <a:gd name="T115" fmla="*/ 526176 h 2199"/>
                  <a:gd name="T116" fmla="*/ 176203 w 2358"/>
                  <a:gd name="T117" fmla="*/ 495321 h 2199"/>
                  <a:gd name="T118" fmla="*/ 140744 w 2358"/>
                  <a:gd name="T119" fmla="*/ 422416 h 21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358" h="2199">
                    <a:moveTo>
                      <a:pt x="323" y="1717"/>
                    </a:moveTo>
                    <a:lnTo>
                      <a:pt x="317" y="1712"/>
                    </a:lnTo>
                    <a:lnTo>
                      <a:pt x="317" y="1706"/>
                    </a:lnTo>
                    <a:lnTo>
                      <a:pt x="312" y="1706"/>
                    </a:lnTo>
                    <a:lnTo>
                      <a:pt x="312" y="1700"/>
                    </a:lnTo>
                    <a:lnTo>
                      <a:pt x="312" y="1695"/>
                    </a:lnTo>
                    <a:lnTo>
                      <a:pt x="306" y="1683"/>
                    </a:lnTo>
                    <a:lnTo>
                      <a:pt x="306" y="1678"/>
                    </a:lnTo>
                    <a:lnTo>
                      <a:pt x="300" y="1672"/>
                    </a:lnTo>
                    <a:lnTo>
                      <a:pt x="295" y="1666"/>
                    </a:lnTo>
                    <a:lnTo>
                      <a:pt x="289" y="1661"/>
                    </a:lnTo>
                    <a:lnTo>
                      <a:pt x="283" y="1655"/>
                    </a:lnTo>
                    <a:lnTo>
                      <a:pt x="283" y="1649"/>
                    </a:lnTo>
                    <a:lnTo>
                      <a:pt x="283" y="1644"/>
                    </a:lnTo>
                    <a:lnTo>
                      <a:pt x="278" y="1638"/>
                    </a:lnTo>
                    <a:lnTo>
                      <a:pt x="272" y="1632"/>
                    </a:lnTo>
                    <a:lnTo>
                      <a:pt x="272" y="1621"/>
                    </a:lnTo>
                    <a:lnTo>
                      <a:pt x="266" y="1621"/>
                    </a:lnTo>
                    <a:lnTo>
                      <a:pt x="266" y="1610"/>
                    </a:lnTo>
                    <a:lnTo>
                      <a:pt x="266" y="1604"/>
                    </a:lnTo>
                    <a:lnTo>
                      <a:pt x="261" y="1604"/>
                    </a:lnTo>
                    <a:lnTo>
                      <a:pt x="255" y="1593"/>
                    </a:lnTo>
                    <a:lnTo>
                      <a:pt x="249" y="1587"/>
                    </a:lnTo>
                    <a:lnTo>
                      <a:pt x="244" y="1576"/>
                    </a:lnTo>
                    <a:lnTo>
                      <a:pt x="244" y="1570"/>
                    </a:lnTo>
                    <a:lnTo>
                      <a:pt x="244" y="1564"/>
                    </a:lnTo>
                    <a:lnTo>
                      <a:pt x="238" y="1564"/>
                    </a:lnTo>
                    <a:lnTo>
                      <a:pt x="238" y="1553"/>
                    </a:lnTo>
                    <a:lnTo>
                      <a:pt x="232" y="1553"/>
                    </a:lnTo>
                    <a:lnTo>
                      <a:pt x="227" y="1547"/>
                    </a:lnTo>
                    <a:lnTo>
                      <a:pt x="227" y="1542"/>
                    </a:lnTo>
                    <a:lnTo>
                      <a:pt x="227" y="1536"/>
                    </a:lnTo>
                    <a:lnTo>
                      <a:pt x="221" y="1536"/>
                    </a:lnTo>
                    <a:lnTo>
                      <a:pt x="221" y="1530"/>
                    </a:lnTo>
                    <a:lnTo>
                      <a:pt x="215" y="1525"/>
                    </a:lnTo>
                    <a:lnTo>
                      <a:pt x="215" y="1519"/>
                    </a:lnTo>
                    <a:lnTo>
                      <a:pt x="210" y="1513"/>
                    </a:lnTo>
                    <a:lnTo>
                      <a:pt x="210" y="1508"/>
                    </a:lnTo>
                    <a:lnTo>
                      <a:pt x="210" y="1502"/>
                    </a:lnTo>
                    <a:lnTo>
                      <a:pt x="204" y="1502"/>
                    </a:lnTo>
                    <a:lnTo>
                      <a:pt x="204" y="1496"/>
                    </a:lnTo>
                    <a:lnTo>
                      <a:pt x="204" y="1491"/>
                    </a:lnTo>
                    <a:lnTo>
                      <a:pt x="204" y="1485"/>
                    </a:lnTo>
                    <a:lnTo>
                      <a:pt x="198" y="1485"/>
                    </a:lnTo>
                    <a:lnTo>
                      <a:pt x="198" y="1479"/>
                    </a:lnTo>
                    <a:lnTo>
                      <a:pt x="198" y="1474"/>
                    </a:lnTo>
                    <a:lnTo>
                      <a:pt x="193" y="1468"/>
                    </a:lnTo>
                    <a:lnTo>
                      <a:pt x="193" y="1462"/>
                    </a:lnTo>
                    <a:lnTo>
                      <a:pt x="193" y="1456"/>
                    </a:lnTo>
                    <a:lnTo>
                      <a:pt x="187" y="1451"/>
                    </a:lnTo>
                    <a:lnTo>
                      <a:pt x="187" y="1445"/>
                    </a:lnTo>
                    <a:lnTo>
                      <a:pt x="181" y="1445"/>
                    </a:lnTo>
                    <a:lnTo>
                      <a:pt x="181" y="1439"/>
                    </a:lnTo>
                    <a:lnTo>
                      <a:pt x="181" y="1428"/>
                    </a:lnTo>
                    <a:lnTo>
                      <a:pt x="176" y="1417"/>
                    </a:lnTo>
                    <a:lnTo>
                      <a:pt x="176" y="1411"/>
                    </a:lnTo>
                    <a:lnTo>
                      <a:pt x="170" y="1394"/>
                    </a:lnTo>
                    <a:lnTo>
                      <a:pt x="164" y="1394"/>
                    </a:lnTo>
                    <a:lnTo>
                      <a:pt x="164" y="1388"/>
                    </a:lnTo>
                    <a:lnTo>
                      <a:pt x="159" y="1383"/>
                    </a:lnTo>
                    <a:lnTo>
                      <a:pt x="159" y="1377"/>
                    </a:lnTo>
                    <a:lnTo>
                      <a:pt x="164" y="1377"/>
                    </a:lnTo>
                    <a:lnTo>
                      <a:pt x="159" y="1371"/>
                    </a:lnTo>
                    <a:lnTo>
                      <a:pt x="153" y="1360"/>
                    </a:lnTo>
                    <a:lnTo>
                      <a:pt x="153" y="1354"/>
                    </a:lnTo>
                    <a:lnTo>
                      <a:pt x="153" y="1349"/>
                    </a:lnTo>
                    <a:lnTo>
                      <a:pt x="147" y="1349"/>
                    </a:lnTo>
                    <a:lnTo>
                      <a:pt x="147" y="1343"/>
                    </a:lnTo>
                    <a:lnTo>
                      <a:pt x="147" y="1337"/>
                    </a:lnTo>
                    <a:lnTo>
                      <a:pt x="147" y="1332"/>
                    </a:lnTo>
                    <a:lnTo>
                      <a:pt x="147" y="1326"/>
                    </a:lnTo>
                    <a:lnTo>
                      <a:pt x="147" y="1315"/>
                    </a:lnTo>
                    <a:lnTo>
                      <a:pt x="142" y="1309"/>
                    </a:lnTo>
                    <a:lnTo>
                      <a:pt x="142" y="1303"/>
                    </a:lnTo>
                    <a:lnTo>
                      <a:pt x="136" y="1298"/>
                    </a:lnTo>
                    <a:lnTo>
                      <a:pt x="136" y="1292"/>
                    </a:lnTo>
                    <a:lnTo>
                      <a:pt x="136" y="1286"/>
                    </a:lnTo>
                    <a:lnTo>
                      <a:pt x="136" y="1281"/>
                    </a:lnTo>
                    <a:lnTo>
                      <a:pt x="130" y="1281"/>
                    </a:lnTo>
                    <a:lnTo>
                      <a:pt x="130" y="1269"/>
                    </a:lnTo>
                    <a:lnTo>
                      <a:pt x="130" y="1258"/>
                    </a:lnTo>
                    <a:lnTo>
                      <a:pt x="125" y="1258"/>
                    </a:lnTo>
                    <a:lnTo>
                      <a:pt x="125" y="1252"/>
                    </a:lnTo>
                    <a:lnTo>
                      <a:pt x="119" y="1247"/>
                    </a:lnTo>
                    <a:lnTo>
                      <a:pt x="119" y="1241"/>
                    </a:lnTo>
                    <a:lnTo>
                      <a:pt x="119" y="1235"/>
                    </a:lnTo>
                    <a:lnTo>
                      <a:pt x="113" y="1235"/>
                    </a:lnTo>
                    <a:lnTo>
                      <a:pt x="113" y="1230"/>
                    </a:lnTo>
                    <a:lnTo>
                      <a:pt x="108" y="1224"/>
                    </a:lnTo>
                    <a:lnTo>
                      <a:pt x="102" y="1218"/>
                    </a:lnTo>
                    <a:lnTo>
                      <a:pt x="102" y="1213"/>
                    </a:lnTo>
                    <a:lnTo>
                      <a:pt x="102" y="1207"/>
                    </a:lnTo>
                    <a:lnTo>
                      <a:pt x="96" y="1207"/>
                    </a:lnTo>
                    <a:lnTo>
                      <a:pt x="96" y="1201"/>
                    </a:lnTo>
                    <a:lnTo>
                      <a:pt x="96" y="1196"/>
                    </a:lnTo>
                    <a:lnTo>
                      <a:pt x="96" y="1190"/>
                    </a:lnTo>
                    <a:lnTo>
                      <a:pt x="91" y="1184"/>
                    </a:lnTo>
                    <a:lnTo>
                      <a:pt x="96" y="1184"/>
                    </a:lnTo>
                    <a:lnTo>
                      <a:pt x="91" y="1179"/>
                    </a:lnTo>
                    <a:lnTo>
                      <a:pt x="91" y="1173"/>
                    </a:lnTo>
                    <a:lnTo>
                      <a:pt x="91" y="1167"/>
                    </a:lnTo>
                    <a:lnTo>
                      <a:pt x="85" y="1162"/>
                    </a:lnTo>
                    <a:lnTo>
                      <a:pt x="79" y="1162"/>
                    </a:lnTo>
                    <a:lnTo>
                      <a:pt x="79" y="1156"/>
                    </a:lnTo>
                    <a:lnTo>
                      <a:pt x="74" y="1156"/>
                    </a:lnTo>
                    <a:lnTo>
                      <a:pt x="68" y="1150"/>
                    </a:lnTo>
                    <a:lnTo>
                      <a:pt x="68" y="1145"/>
                    </a:lnTo>
                    <a:lnTo>
                      <a:pt x="62" y="1145"/>
                    </a:lnTo>
                    <a:lnTo>
                      <a:pt x="62" y="1139"/>
                    </a:lnTo>
                    <a:lnTo>
                      <a:pt x="62" y="1133"/>
                    </a:lnTo>
                    <a:lnTo>
                      <a:pt x="57" y="1128"/>
                    </a:lnTo>
                    <a:lnTo>
                      <a:pt x="57" y="1122"/>
                    </a:lnTo>
                    <a:lnTo>
                      <a:pt x="51" y="1116"/>
                    </a:lnTo>
                    <a:lnTo>
                      <a:pt x="45" y="1116"/>
                    </a:lnTo>
                    <a:lnTo>
                      <a:pt x="40" y="1111"/>
                    </a:lnTo>
                    <a:lnTo>
                      <a:pt x="34" y="1111"/>
                    </a:lnTo>
                    <a:lnTo>
                      <a:pt x="34" y="1099"/>
                    </a:lnTo>
                    <a:lnTo>
                      <a:pt x="28" y="1099"/>
                    </a:lnTo>
                    <a:lnTo>
                      <a:pt x="28" y="1094"/>
                    </a:lnTo>
                    <a:lnTo>
                      <a:pt x="28" y="1088"/>
                    </a:lnTo>
                    <a:lnTo>
                      <a:pt x="28" y="1082"/>
                    </a:lnTo>
                    <a:lnTo>
                      <a:pt x="23" y="1077"/>
                    </a:lnTo>
                    <a:lnTo>
                      <a:pt x="28" y="1077"/>
                    </a:lnTo>
                    <a:lnTo>
                      <a:pt x="28" y="1071"/>
                    </a:lnTo>
                    <a:lnTo>
                      <a:pt x="23" y="1065"/>
                    </a:lnTo>
                    <a:lnTo>
                      <a:pt x="17" y="1065"/>
                    </a:lnTo>
                    <a:lnTo>
                      <a:pt x="17" y="1060"/>
                    </a:lnTo>
                    <a:lnTo>
                      <a:pt x="11" y="1054"/>
                    </a:lnTo>
                    <a:lnTo>
                      <a:pt x="6" y="1048"/>
                    </a:lnTo>
                    <a:lnTo>
                      <a:pt x="0" y="1043"/>
                    </a:lnTo>
                    <a:lnTo>
                      <a:pt x="0" y="1037"/>
                    </a:lnTo>
                    <a:lnTo>
                      <a:pt x="0" y="1031"/>
                    </a:lnTo>
                    <a:lnTo>
                      <a:pt x="6" y="1026"/>
                    </a:lnTo>
                    <a:lnTo>
                      <a:pt x="11" y="1026"/>
                    </a:lnTo>
                    <a:lnTo>
                      <a:pt x="17" y="1026"/>
                    </a:lnTo>
                    <a:lnTo>
                      <a:pt x="23" y="1026"/>
                    </a:lnTo>
                    <a:lnTo>
                      <a:pt x="28" y="1020"/>
                    </a:lnTo>
                    <a:lnTo>
                      <a:pt x="34" y="1020"/>
                    </a:lnTo>
                    <a:lnTo>
                      <a:pt x="40" y="1014"/>
                    </a:lnTo>
                    <a:lnTo>
                      <a:pt x="40" y="1009"/>
                    </a:lnTo>
                    <a:lnTo>
                      <a:pt x="45" y="1003"/>
                    </a:lnTo>
                    <a:lnTo>
                      <a:pt x="51" y="1003"/>
                    </a:lnTo>
                    <a:lnTo>
                      <a:pt x="57" y="1003"/>
                    </a:lnTo>
                    <a:lnTo>
                      <a:pt x="62" y="1003"/>
                    </a:lnTo>
                    <a:lnTo>
                      <a:pt x="62" y="1009"/>
                    </a:lnTo>
                    <a:lnTo>
                      <a:pt x="68" y="1009"/>
                    </a:lnTo>
                    <a:lnTo>
                      <a:pt x="68" y="1003"/>
                    </a:lnTo>
                    <a:lnTo>
                      <a:pt x="74" y="1003"/>
                    </a:lnTo>
                    <a:lnTo>
                      <a:pt x="74" y="997"/>
                    </a:lnTo>
                    <a:lnTo>
                      <a:pt x="79" y="997"/>
                    </a:lnTo>
                    <a:lnTo>
                      <a:pt x="79" y="992"/>
                    </a:lnTo>
                    <a:lnTo>
                      <a:pt x="79" y="980"/>
                    </a:lnTo>
                    <a:lnTo>
                      <a:pt x="85" y="975"/>
                    </a:lnTo>
                    <a:lnTo>
                      <a:pt x="91" y="975"/>
                    </a:lnTo>
                    <a:lnTo>
                      <a:pt x="91" y="969"/>
                    </a:lnTo>
                    <a:lnTo>
                      <a:pt x="85" y="969"/>
                    </a:lnTo>
                    <a:lnTo>
                      <a:pt x="85" y="963"/>
                    </a:lnTo>
                    <a:lnTo>
                      <a:pt x="79" y="958"/>
                    </a:lnTo>
                    <a:lnTo>
                      <a:pt x="74" y="952"/>
                    </a:lnTo>
                    <a:lnTo>
                      <a:pt x="79" y="946"/>
                    </a:lnTo>
                    <a:lnTo>
                      <a:pt x="79" y="941"/>
                    </a:lnTo>
                    <a:lnTo>
                      <a:pt x="85" y="941"/>
                    </a:lnTo>
                    <a:lnTo>
                      <a:pt x="85" y="946"/>
                    </a:lnTo>
                    <a:lnTo>
                      <a:pt x="91" y="946"/>
                    </a:lnTo>
                    <a:lnTo>
                      <a:pt x="96" y="946"/>
                    </a:lnTo>
                    <a:lnTo>
                      <a:pt x="96" y="941"/>
                    </a:lnTo>
                    <a:lnTo>
                      <a:pt x="91" y="935"/>
                    </a:lnTo>
                    <a:lnTo>
                      <a:pt x="91" y="929"/>
                    </a:lnTo>
                    <a:lnTo>
                      <a:pt x="96" y="929"/>
                    </a:lnTo>
                    <a:lnTo>
                      <a:pt x="102" y="929"/>
                    </a:lnTo>
                    <a:lnTo>
                      <a:pt x="102" y="924"/>
                    </a:lnTo>
                    <a:lnTo>
                      <a:pt x="96" y="924"/>
                    </a:lnTo>
                    <a:lnTo>
                      <a:pt x="96" y="918"/>
                    </a:lnTo>
                    <a:lnTo>
                      <a:pt x="102" y="918"/>
                    </a:lnTo>
                    <a:lnTo>
                      <a:pt x="108" y="924"/>
                    </a:lnTo>
                    <a:lnTo>
                      <a:pt x="113" y="918"/>
                    </a:lnTo>
                    <a:lnTo>
                      <a:pt x="113" y="912"/>
                    </a:lnTo>
                    <a:lnTo>
                      <a:pt x="113" y="901"/>
                    </a:lnTo>
                    <a:lnTo>
                      <a:pt x="113" y="895"/>
                    </a:lnTo>
                    <a:lnTo>
                      <a:pt x="119" y="890"/>
                    </a:lnTo>
                    <a:lnTo>
                      <a:pt x="125" y="895"/>
                    </a:lnTo>
                    <a:lnTo>
                      <a:pt x="130" y="895"/>
                    </a:lnTo>
                    <a:lnTo>
                      <a:pt x="136" y="890"/>
                    </a:lnTo>
                    <a:lnTo>
                      <a:pt x="142" y="895"/>
                    </a:lnTo>
                    <a:lnTo>
                      <a:pt x="147" y="890"/>
                    </a:lnTo>
                    <a:lnTo>
                      <a:pt x="159" y="884"/>
                    </a:lnTo>
                    <a:lnTo>
                      <a:pt x="164" y="884"/>
                    </a:lnTo>
                    <a:lnTo>
                      <a:pt x="170" y="890"/>
                    </a:lnTo>
                    <a:lnTo>
                      <a:pt x="176" y="890"/>
                    </a:lnTo>
                    <a:lnTo>
                      <a:pt x="176" y="895"/>
                    </a:lnTo>
                    <a:lnTo>
                      <a:pt x="181" y="901"/>
                    </a:lnTo>
                    <a:lnTo>
                      <a:pt x="187" y="901"/>
                    </a:lnTo>
                    <a:lnTo>
                      <a:pt x="193" y="901"/>
                    </a:lnTo>
                    <a:lnTo>
                      <a:pt x="193" y="907"/>
                    </a:lnTo>
                    <a:lnTo>
                      <a:pt x="193" y="912"/>
                    </a:lnTo>
                    <a:lnTo>
                      <a:pt x="187" y="924"/>
                    </a:lnTo>
                    <a:lnTo>
                      <a:pt x="187" y="929"/>
                    </a:lnTo>
                    <a:lnTo>
                      <a:pt x="193" y="935"/>
                    </a:lnTo>
                    <a:lnTo>
                      <a:pt x="198" y="941"/>
                    </a:lnTo>
                    <a:lnTo>
                      <a:pt x="204" y="941"/>
                    </a:lnTo>
                    <a:lnTo>
                      <a:pt x="204" y="935"/>
                    </a:lnTo>
                    <a:lnTo>
                      <a:pt x="210" y="935"/>
                    </a:lnTo>
                    <a:lnTo>
                      <a:pt x="210" y="941"/>
                    </a:lnTo>
                    <a:lnTo>
                      <a:pt x="215" y="941"/>
                    </a:lnTo>
                    <a:lnTo>
                      <a:pt x="215" y="935"/>
                    </a:lnTo>
                    <a:lnTo>
                      <a:pt x="221" y="935"/>
                    </a:lnTo>
                    <a:lnTo>
                      <a:pt x="227" y="935"/>
                    </a:lnTo>
                    <a:lnTo>
                      <a:pt x="232" y="935"/>
                    </a:lnTo>
                    <a:lnTo>
                      <a:pt x="232" y="941"/>
                    </a:lnTo>
                    <a:lnTo>
                      <a:pt x="232" y="946"/>
                    </a:lnTo>
                    <a:lnTo>
                      <a:pt x="238" y="952"/>
                    </a:lnTo>
                    <a:lnTo>
                      <a:pt x="244" y="952"/>
                    </a:lnTo>
                    <a:lnTo>
                      <a:pt x="238" y="958"/>
                    </a:lnTo>
                    <a:lnTo>
                      <a:pt x="238" y="963"/>
                    </a:lnTo>
                    <a:lnTo>
                      <a:pt x="244" y="969"/>
                    </a:lnTo>
                    <a:lnTo>
                      <a:pt x="249" y="969"/>
                    </a:lnTo>
                    <a:lnTo>
                      <a:pt x="249" y="975"/>
                    </a:lnTo>
                    <a:lnTo>
                      <a:pt x="249" y="986"/>
                    </a:lnTo>
                    <a:lnTo>
                      <a:pt x="244" y="992"/>
                    </a:lnTo>
                    <a:lnTo>
                      <a:pt x="232" y="992"/>
                    </a:lnTo>
                    <a:lnTo>
                      <a:pt x="227" y="997"/>
                    </a:lnTo>
                    <a:lnTo>
                      <a:pt x="227" y="1003"/>
                    </a:lnTo>
                    <a:lnTo>
                      <a:pt x="227" y="1009"/>
                    </a:lnTo>
                    <a:lnTo>
                      <a:pt x="232" y="1009"/>
                    </a:lnTo>
                    <a:lnTo>
                      <a:pt x="238" y="1014"/>
                    </a:lnTo>
                    <a:lnTo>
                      <a:pt x="238" y="1020"/>
                    </a:lnTo>
                    <a:lnTo>
                      <a:pt x="238" y="1026"/>
                    </a:lnTo>
                    <a:lnTo>
                      <a:pt x="244" y="1026"/>
                    </a:lnTo>
                    <a:lnTo>
                      <a:pt x="249" y="1026"/>
                    </a:lnTo>
                    <a:lnTo>
                      <a:pt x="249" y="1031"/>
                    </a:lnTo>
                    <a:lnTo>
                      <a:pt x="249" y="1037"/>
                    </a:lnTo>
                    <a:lnTo>
                      <a:pt x="249" y="1043"/>
                    </a:lnTo>
                    <a:lnTo>
                      <a:pt x="249" y="1048"/>
                    </a:lnTo>
                    <a:lnTo>
                      <a:pt x="249" y="1054"/>
                    </a:lnTo>
                    <a:lnTo>
                      <a:pt x="249" y="1060"/>
                    </a:lnTo>
                    <a:lnTo>
                      <a:pt x="244" y="1065"/>
                    </a:lnTo>
                    <a:lnTo>
                      <a:pt x="249" y="1065"/>
                    </a:lnTo>
                    <a:lnTo>
                      <a:pt x="255" y="1065"/>
                    </a:lnTo>
                    <a:lnTo>
                      <a:pt x="261" y="1065"/>
                    </a:lnTo>
                    <a:lnTo>
                      <a:pt x="266" y="1060"/>
                    </a:lnTo>
                    <a:lnTo>
                      <a:pt x="272" y="1060"/>
                    </a:lnTo>
                    <a:lnTo>
                      <a:pt x="283" y="1065"/>
                    </a:lnTo>
                    <a:lnTo>
                      <a:pt x="283" y="1060"/>
                    </a:lnTo>
                    <a:lnTo>
                      <a:pt x="289" y="1060"/>
                    </a:lnTo>
                    <a:lnTo>
                      <a:pt x="295" y="1060"/>
                    </a:lnTo>
                    <a:lnTo>
                      <a:pt x="295" y="1065"/>
                    </a:lnTo>
                    <a:lnTo>
                      <a:pt x="300" y="1071"/>
                    </a:lnTo>
                    <a:lnTo>
                      <a:pt x="300" y="1077"/>
                    </a:lnTo>
                    <a:lnTo>
                      <a:pt x="306" y="1082"/>
                    </a:lnTo>
                    <a:lnTo>
                      <a:pt x="312" y="1082"/>
                    </a:lnTo>
                    <a:lnTo>
                      <a:pt x="317" y="1082"/>
                    </a:lnTo>
                    <a:lnTo>
                      <a:pt x="323" y="1077"/>
                    </a:lnTo>
                    <a:lnTo>
                      <a:pt x="329" y="1077"/>
                    </a:lnTo>
                    <a:lnTo>
                      <a:pt x="334" y="1077"/>
                    </a:lnTo>
                    <a:lnTo>
                      <a:pt x="340" y="1077"/>
                    </a:lnTo>
                    <a:lnTo>
                      <a:pt x="346" y="1077"/>
                    </a:lnTo>
                    <a:lnTo>
                      <a:pt x="351" y="1077"/>
                    </a:lnTo>
                    <a:lnTo>
                      <a:pt x="363" y="1077"/>
                    </a:lnTo>
                    <a:lnTo>
                      <a:pt x="368" y="1077"/>
                    </a:lnTo>
                    <a:lnTo>
                      <a:pt x="368" y="1082"/>
                    </a:lnTo>
                    <a:lnTo>
                      <a:pt x="374" y="1082"/>
                    </a:lnTo>
                    <a:lnTo>
                      <a:pt x="380" y="1077"/>
                    </a:lnTo>
                    <a:lnTo>
                      <a:pt x="380" y="1082"/>
                    </a:lnTo>
                    <a:lnTo>
                      <a:pt x="385" y="1082"/>
                    </a:lnTo>
                    <a:lnTo>
                      <a:pt x="385" y="1088"/>
                    </a:lnTo>
                    <a:lnTo>
                      <a:pt x="391" y="1088"/>
                    </a:lnTo>
                    <a:lnTo>
                      <a:pt x="397" y="1094"/>
                    </a:lnTo>
                    <a:lnTo>
                      <a:pt x="402" y="1094"/>
                    </a:lnTo>
                    <a:lnTo>
                      <a:pt x="402" y="1099"/>
                    </a:lnTo>
                    <a:lnTo>
                      <a:pt x="408" y="1099"/>
                    </a:lnTo>
                    <a:lnTo>
                      <a:pt x="414" y="1105"/>
                    </a:lnTo>
                    <a:lnTo>
                      <a:pt x="414" y="1111"/>
                    </a:lnTo>
                    <a:lnTo>
                      <a:pt x="419" y="1111"/>
                    </a:lnTo>
                    <a:lnTo>
                      <a:pt x="425" y="1111"/>
                    </a:lnTo>
                    <a:lnTo>
                      <a:pt x="431" y="1116"/>
                    </a:lnTo>
                    <a:lnTo>
                      <a:pt x="436" y="1116"/>
                    </a:lnTo>
                    <a:lnTo>
                      <a:pt x="442" y="1116"/>
                    </a:lnTo>
                    <a:lnTo>
                      <a:pt x="448" y="1116"/>
                    </a:lnTo>
                    <a:lnTo>
                      <a:pt x="448" y="1122"/>
                    </a:lnTo>
                    <a:lnTo>
                      <a:pt x="453" y="1116"/>
                    </a:lnTo>
                    <a:lnTo>
                      <a:pt x="459" y="1116"/>
                    </a:lnTo>
                    <a:lnTo>
                      <a:pt x="465" y="1116"/>
                    </a:lnTo>
                    <a:lnTo>
                      <a:pt x="470" y="1111"/>
                    </a:lnTo>
                    <a:lnTo>
                      <a:pt x="476" y="1111"/>
                    </a:lnTo>
                    <a:lnTo>
                      <a:pt x="482" y="1111"/>
                    </a:lnTo>
                    <a:lnTo>
                      <a:pt x="493" y="1111"/>
                    </a:lnTo>
                    <a:lnTo>
                      <a:pt x="499" y="1116"/>
                    </a:lnTo>
                    <a:lnTo>
                      <a:pt x="504" y="1116"/>
                    </a:lnTo>
                    <a:lnTo>
                      <a:pt x="510" y="1116"/>
                    </a:lnTo>
                    <a:lnTo>
                      <a:pt x="516" y="1116"/>
                    </a:lnTo>
                    <a:lnTo>
                      <a:pt x="521" y="1111"/>
                    </a:lnTo>
                    <a:lnTo>
                      <a:pt x="527" y="1111"/>
                    </a:lnTo>
                    <a:lnTo>
                      <a:pt x="533" y="1111"/>
                    </a:lnTo>
                    <a:lnTo>
                      <a:pt x="538" y="1111"/>
                    </a:lnTo>
                    <a:lnTo>
                      <a:pt x="544" y="1111"/>
                    </a:lnTo>
                    <a:lnTo>
                      <a:pt x="544" y="1105"/>
                    </a:lnTo>
                    <a:lnTo>
                      <a:pt x="550" y="1105"/>
                    </a:lnTo>
                    <a:lnTo>
                      <a:pt x="555" y="1105"/>
                    </a:lnTo>
                    <a:lnTo>
                      <a:pt x="567" y="1099"/>
                    </a:lnTo>
                    <a:lnTo>
                      <a:pt x="572" y="1105"/>
                    </a:lnTo>
                    <a:lnTo>
                      <a:pt x="578" y="1105"/>
                    </a:lnTo>
                    <a:lnTo>
                      <a:pt x="584" y="1099"/>
                    </a:lnTo>
                    <a:lnTo>
                      <a:pt x="589" y="1099"/>
                    </a:lnTo>
                    <a:lnTo>
                      <a:pt x="595" y="1099"/>
                    </a:lnTo>
                    <a:lnTo>
                      <a:pt x="601" y="1099"/>
                    </a:lnTo>
                    <a:lnTo>
                      <a:pt x="606" y="1099"/>
                    </a:lnTo>
                    <a:lnTo>
                      <a:pt x="612" y="1099"/>
                    </a:lnTo>
                    <a:lnTo>
                      <a:pt x="618" y="1099"/>
                    </a:lnTo>
                    <a:lnTo>
                      <a:pt x="623" y="1105"/>
                    </a:lnTo>
                    <a:lnTo>
                      <a:pt x="629" y="1099"/>
                    </a:lnTo>
                    <a:lnTo>
                      <a:pt x="629" y="1105"/>
                    </a:lnTo>
                    <a:lnTo>
                      <a:pt x="635" y="1105"/>
                    </a:lnTo>
                    <a:lnTo>
                      <a:pt x="640" y="1105"/>
                    </a:lnTo>
                    <a:lnTo>
                      <a:pt x="646" y="1105"/>
                    </a:lnTo>
                    <a:lnTo>
                      <a:pt x="652" y="1105"/>
                    </a:lnTo>
                    <a:lnTo>
                      <a:pt x="652" y="1111"/>
                    </a:lnTo>
                    <a:lnTo>
                      <a:pt x="657" y="1111"/>
                    </a:lnTo>
                    <a:lnTo>
                      <a:pt x="663" y="1116"/>
                    </a:lnTo>
                    <a:lnTo>
                      <a:pt x="663" y="1122"/>
                    </a:lnTo>
                    <a:lnTo>
                      <a:pt x="663" y="1128"/>
                    </a:lnTo>
                    <a:lnTo>
                      <a:pt x="669" y="1128"/>
                    </a:lnTo>
                    <a:lnTo>
                      <a:pt x="669" y="1122"/>
                    </a:lnTo>
                    <a:lnTo>
                      <a:pt x="669" y="1128"/>
                    </a:lnTo>
                    <a:lnTo>
                      <a:pt x="674" y="1128"/>
                    </a:lnTo>
                    <a:lnTo>
                      <a:pt x="680" y="1128"/>
                    </a:lnTo>
                    <a:lnTo>
                      <a:pt x="686" y="1133"/>
                    </a:lnTo>
                    <a:lnTo>
                      <a:pt x="691" y="1133"/>
                    </a:lnTo>
                    <a:lnTo>
                      <a:pt x="697" y="1133"/>
                    </a:lnTo>
                    <a:lnTo>
                      <a:pt x="703" y="1133"/>
                    </a:lnTo>
                    <a:lnTo>
                      <a:pt x="708" y="1133"/>
                    </a:lnTo>
                    <a:lnTo>
                      <a:pt x="714" y="1128"/>
                    </a:lnTo>
                    <a:lnTo>
                      <a:pt x="720" y="1122"/>
                    </a:lnTo>
                    <a:lnTo>
                      <a:pt x="725" y="1116"/>
                    </a:lnTo>
                    <a:lnTo>
                      <a:pt x="731" y="1116"/>
                    </a:lnTo>
                    <a:lnTo>
                      <a:pt x="737" y="1116"/>
                    </a:lnTo>
                    <a:lnTo>
                      <a:pt x="742" y="1111"/>
                    </a:lnTo>
                    <a:lnTo>
                      <a:pt x="737" y="1111"/>
                    </a:lnTo>
                    <a:lnTo>
                      <a:pt x="731" y="1105"/>
                    </a:lnTo>
                    <a:lnTo>
                      <a:pt x="725" y="1094"/>
                    </a:lnTo>
                    <a:lnTo>
                      <a:pt x="725" y="1088"/>
                    </a:lnTo>
                    <a:lnTo>
                      <a:pt x="731" y="1082"/>
                    </a:lnTo>
                    <a:lnTo>
                      <a:pt x="731" y="1077"/>
                    </a:lnTo>
                    <a:lnTo>
                      <a:pt x="737" y="1071"/>
                    </a:lnTo>
                    <a:lnTo>
                      <a:pt x="742" y="1071"/>
                    </a:lnTo>
                    <a:lnTo>
                      <a:pt x="748" y="1071"/>
                    </a:lnTo>
                    <a:lnTo>
                      <a:pt x="754" y="1071"/>
                    </a:lnTo>
                    <a:lnTo>
                      <a:pt x="759" y="1071"/>
                    </a:lnTo>
                    <a:lnTo>
                      <a:pt x="765" y="1071"/>
                    </a:lnTo>
                    <a:lnTo>
                      <a:pt x="771" y="1071"/>
                    </a:lnTo>
                    <a:lnTo>
                      <a:pt x="776" y="1071"/>
                    </a:lnTo>
                    <a:lnTo>
                      <a:pt x="782" y="1065"/>
                    </a:lnTo>
                    <a:lnTo>
                      <a:pt x="788" y="1065"/>
                    </a:lnTo>
                    <a:lnTo>
                      <a:pt x="788" y="1060"/>
                    </a:lnTo>
                    <a:lnTo>
                      <a:pt x="793" y="1060"/>
                    </a:lnTo>
                    <a:lnTo>
                      <a:pt x="793" y="1054"/>
                    </a:lnTo>
                    <a:lnTo>
                      <a:pt x="793" y="1048"/>
                    </a:lnTo>
                    <a:lnTo>
                      <a:pt x="793" y="1043"/>
                    </a:lnTo>
                    <a:lnTo>
                      <a:pt x="799" y="1037"/>
                    </a:lnTo>
                    <a:lnTo>
                      <a:pt x="799" y="1031"/>
                    </a:lnTo>
                    <a:lnTo>
                      <a:pt x="805" y="1026"/>
                    </a:lnTo>
                    <a:lnTo>
                      <a:pt x="810" y="1020"/>
                    </a:lnTo>
                    <a:lnTo>
                      <a:pt x="810" y="1014"/>
                    </a:lnTo>
                    <a:lnTo>
                      <a:pt x="816" y="1014"/>
                    </a:lnTo>
                    <a:lnTo>
                      <a:pt x="828" y="1014"/>
                    </a:lnTo>
                    <a:lnTo>
                      <a:pt x="833" y="1014"/>
                    </a:lnTo>
                    <a:lnTo>
                      <a:pt x="839" y="1014"/>
                    </a:lnTo>
                    <a:lnTo>
                      <a:pt x="845" y="1014"/>
                    </a:lnTo>
                    <a:lnTo>
                      <a:pt x="850" y="1009"/>
                    </a:lnTo>
                    <a:lnTo>
                      <a:pt x="856" y="1003"/>
                    </a:lnTo>
                    <a:lnTo>
                      <a:pt x="862" y="1003"/>
                    </a:lnTo>
                    <a:lnTo>
                      <a:pt x="867" y="1009"/>
                    </a:lnTo>
                    <a:lnTo>
                      <a:pt x="873" y="1009"/>
                    </a:lnTo>
                    <a:lnTo>
                      <a:pt x="879" y="1009"/>
                    </a:lnTo>
                    <a:lnTo>
                      <a:pt x="884" y="1003"/>
                    </a:lnTo>
                    <a:lnTo>
                      <a:pt x="884" y="997"/>
                    </a:lnTo>
                    <a:lnTo>
                      <a:pt x="890" y="997"/>
                    </a:lnTo>
                    <a:lnTo>
                      <a:pt x="896" y="992"/>
                    </a:lnTo>
                    <a:lnTo>
                      <a:pt x="901" y="992"/>
                    </a:lnTo>
                    <a:lnTo>
                      <a:pt x="907" y="992"/>
                    </a:lnTo>
                    <a:lnTo>
                      <a:pt x="913" y="992"/>
                    </a:lnTo>
                    <a:lnTo>
                      <a:pt x="918" y="986"/>
                    </a:lnTo>
                    <a:lnTo>
                      <a:pt x="924" y="992"/>
                    </a:lnTo>
                    <a:lnTo>
                      <a:pt x="924" y="986"/>
                    </a:lnTo>
                    <a:lnTo>
                      <a:pt x="930" y="952"/>
                    </a:lnTo>
                    <a:lnTo>
                      <a:pt x="930" y="918"/>
                    </a:lnTo>
                    <a:lnTo>
                      <a:pt x="930" y="884"/>
                    </a:lnTo>
                    <a:lnTo>
                      <a:pt x="930" y="850"/>
                    </a:lnTo>
                    <a:lnTo>
                      <a:pt x="930" y="816"/>
                    </a:lnTo>
                    <a:lnTo>
                      <a:pt x="930" y="782"/>
                    </a:lnTo>
                    <a:lnTo>
                      <a:pt x="930" y="748"/>
                    </a:lnTo>
                    <a:lnTo>
                      <a:pt x="935" y="714"/>
                    </a:lnTo>
                    <a:lnTo>
                      <a:pt x="935" y="703"/>
                    </a:lnTo>
                    <a:lnTo>
                      <a:pt x="935" y="680"/>
                    </a:lnTo>
                    <a:lnTo>
                      <a:pt x="935" y="646"/>
                    </a:lnTo>
                    <a:lnTo>
                      <a:pt x="935" y="612"/>
                    </a:lnTo>
                    <a:lnTo>
                      <a:pt x="935" y="578"/>
                    </a:lnTo>
                    <a:lnTo>
                      <a:pt x="935" y="544"/>
                    </a:lnTo>
                    <a:lnTo>
                      <a:pt x="935" y="510"/>
                    </a:lnTo>
                    <a:lnTo>
                      <a:pt x="941" y="476"/>
                    </a:lnTo>
                    <a:lnTo>
                      <a:pt x="941" y="442"/>
                    </a:lnTo>
                    <a:lnTo>
                      <a:pt x="941" y="408"/>
                    </a:lnTo>
                    <a:lnTo>
                      <a:pt x="941" y="374"/>
                    </a:lnTo>
                    <a:lnTo>
                      <a:pt x="941" y="340"/>
                    </a:lnTo>
                    <a:lnTo>
                      <a:pt x="941" y="306"/>
                    </a:lnTo>
                    <a:lnTo>
                      <a:pt x="941" y="272"/>
                    </a:lnTo>
                    <a:lnTo>
                      <a:pt x="941" y="243"/>
                    </a:lnTo>
                    <a:lnTo>
                      <a:pt x="941" y="238"/>
                    </a:lnTo>
                    <a:lnTo>
                      <a:pt x="947" y="232"/>
                    </a:lnTo>
                    <a:lnTo>
                      <a:pt x="947" y="221"/>
                    </a:lnTo>
                    <a:lnTo>
                      <a:pt x="947" y="204"/>
                    </a:lnTo>
                    <a:lnTo>
                      <a:pt x="947" y="181"/>
                    </a:lnTo>
                    <a:lnTo>
                      <a:pt x="947" y="170"/>
                    </a:lnTo>
                    <a:lnTo>
                      <a:pt x="947" y="158"/>
                    </a:lnTo>
                    <a:lnTo>
                      <a:pt x="947" y="136"/>
                    </a:lnTo>
                    <a:lnTo>
                      <a:pt x="947" y="113"/>
                    </a:lnTo>
                    <a:lnTo>
                      <a:pt x="947" y="102"/>
                    </a:lnTo>
                    <a:lnTo>
                      <a:pt x="947" y="90"/>
                    </a:lnTo>
                    <a:lnTo>
                      <a:pt x="947" y="68"/>
                    </a:lnTo>
                    <a:lnTo>
                      <a:pt x="947" y="45"/>
                    </a:lnTo>
                    <a:lnTo>
                      <a:pt x="947" y="34"/>
                    </a:lnTo>
                    <a:lnTo>
                      <a:pt x="947" y="22"/>
                    </a:lnTo>
                    <a:lnTo>
                      <a:pt x="947" y="0"/>
                    </a:lnTo>
                    <a:lnTo>
                      <a:pt x="952" y="5"/>
                    </a:lnTo>
                    <a:lnTo>
                      <a:pt x="958" y="5"/>
                    </a:lnTo>
                    <a:lnTo>
                      <a:pt x="958" y="11"/>
                    </a:lnTo>
                    <a:lnTo>
                      <a:pt x="958" y="17"/>
                    </a:lnTo>
                    <a:lnTo>
                      <a:pt x="964" y="17"/>
                    </a:lnTo>
                    <a:lnTo>
                      <a:pt x="964" y="22"/>
                    </a:lnTo>
                    <a:lnTo>
                      <a:pt x="969" y="22"/>
                    </a:lnTo>
                    <a:lnTo>
                      <a:pt x="975" y="22"/>
                    </a:lnTo>
                    <a:lnTo>
                      <a:pt x="975" y="28"/>
                    </a:lnTo>
                    <a:lnTo>
                      <a:pt x="981" y="34"/>
                    </a:lnTo>
                    <a:lnTo>
                      <a:pt x="986" y="34"/>
                    </a:lnTo>
                    <a:lnTo>
                      <a:pt x="992" y="34"/>
                    </a:lnTo>
                    <a:lnTo>
                      <a:pt x="992" y="39"/>
                    </a:lnTo>
                    <a:lnTo>
                      <a:pt x="998" y="39"/>
                    </a:lnTo>
                    <a:lnTo>
                      <a:pt x="1003" y="39"/>
                    </a:lnTo>
                    <a:lnTo>
                      <a:pt x="1009" y="45"/>
                    </a:lnTo>
                    <a:lnTo>
                      <a:pt x="1015" y="45"/>
                    </a:lnTo>
                    <a:lnTo>
                      <a:pt x="1020" y="45"/>
                    </a:lnTo>
                    <a:lnTo>
                      <a:pt x="1020" y="51"/>
                    </a:lnTo>
                    <a:lnTo>
                      <a:pt x="1020" y="56"/>
                    </a:lnTo>
                    <a:lnTo>
                      <a:pt x="1026" y="56"/>
                    </a:lnTo>
                    <a:lnTo>
                      <a:pt x="1026" y="62"/>
                    </a:lnTo>
                    <a:lnTo>
                      <a:pt x="1032" y="62"/>
                    </a:lnTo>
                    <a:lnTo>
                      <a:pt x="1037" y="68"/>
                    </a:lnTo>
                    <a:lnTo>
                      <a:pt x="1037" y="73"/>
                    </a:lnTo>
                    <a:lnTo>
                      <a:pt x="1043" y="73"/>
                    </a:lnTo>
                    <a:lnTo>
                      <a:pt x="1049" y="73"/>
                    </a:lnTo>
                    <a:lnTo>
                      <a:pt x="1049" y="79"/>
                    </a:lnTo>
                    <a:lnTo>
                      <a:pt x="1054" y="85"/>
                    </a:lnTo>
                    <a:lnTo>
                      <a:pt x="1054" y="90"/>
                    </a:lnTo>
                    <a:lnTo>
                      <a:pt x="1060" y="96"/>
                    </a:lnTo>
                    <a:lnTo>
                      <a:pt x="1060" y="102"/>
                    </a:lnTo>
                    <a:lnTo>
                      <a:pt x="1060" y="107"/>
                    </a:lnTo>
                    <a:lnTo>
                      <a:pt x="1066" y="107"/>
                    </a:lnTo>
                    <a:lnTo>
                      <a:pt x="1071" y="107"/>
                    </a:lnTo>
                    <a:lnTo>
                      <a:pt x="1071" y="113"/>
                    </a:lnTo>
                    <a:lnTo>
                      <a:pt x="1066" y="119"/>
                    </a:lnTo>
                    <a:lnTo>
                      <a:pt x="1066" y="124"/>
                    </a:lnTo>
                    <a:lnTo>
                      <a:pt x="1071" y="124"/>
                    </a:lnTo>
                    <a:lnTo>
                      <a:pt x="1077" y="124"/>
                    </a:lnTo>
                    <a:lnTo>
                      <a:pt x="1077" y="130"/>
                    </a:lnTo>
                    <a:lnTo>
                      <a:pt x="1077" y="136"/>
                    </a:lnTo>
                    <a:lnTo>
                      <a:pt x="1083" y="141"/>
                    </a:lnTo>
                    <a:lnTo>
                      <a:pt x="1088" y="141"/>
                    </a:lnTo>
                    <a:lnTo>
                      <a:pt x="1083" y="147"/>
                    </a:lnTo>
                    <a:lnTo>
                      <a:pt x="1083" y="153"/>
                    </a:lnTo>
                    <a:lnTo>
                      <a:pt x="1088" y="153"/>
                    </a:lnTo>
                    <a:lnTo>
                      <a:pt x="1088" y="158"/>
                    </a:lnTo>
                    <a:lnTo>
                      <a:pt x="1094" y="164"/>
                    </a:lnTo>
                    <a:lnTo>
                      <a:pt x="1094" y="170"/>
                    </a:lnTo>
                    <a:lnTo>
                      <a:pt x="1100" y="170"/>
                    </a:lnTo>
                    <a:lnTo>
                      <a:pt x="1105" y="175"/>
                    </a:lnTo>
                    <a:lnTo>
                      <a:pt x="1105" y="181"/>
                    </a:lnTo>
                    <a:lnTo>
                      <a:pt x="1111" y="181"/>
                    </a:lnTo>
                    <a:lnTo>
                      <a:pt x="1111" y="187"/>
                    </a:lnTo>
                    <a:lnTo>
                      <a:pt x="1117" y="187"/>
                    </a:lnTo>
                    <a:lnTo>
                      <a:pt x="1122" y="187"/>
                    </a:lnTo>
                    <a:lnTo>
                      <a:pt x="1122" y="192"/>
                    </a:lnTo>
                    <a:lnTo>
                      <a:pt x="1117" y="192"/>
                    </a:lnTo>
                    <a:lnTo>
                      <a:pt x="1111" y="198"/>
                    </a:lnTo>
                    <a:lnTo>
                      <a:pt x="1111" y="204"/>
                    </a:lnTo>
                    <a:lnTo>
                      <a:pt x="1111" y="209"/>
                    </a:lnTo>
                    <a:lnTo>
                      <a:pt x="1122" y="215"/>
                    </a:lnTo>
                    <a:lnTo>
                      <a:pt x="1128" y="221"/>
                    </a:lnTo>
                    <a:lnTo>
                      <a:pt x="1128" y="226"/>
                    </a:lnTo>
                    <a:lnTo>
                      <a:pt x="1122" y="226"/>
                    </a:lnTo>
                    <a:lnTo>
                      <a:pt x="1122" y="232"/>
                    </a:lnTo>
                    <a:lnTo>
                      <a:pt x="1117" y="232"/>
                    </a:lnTo>
                    <a:lnTo>
                      <a:pt x="1117" y="238"/>
                    </a:lnTo>
                    <a:lnTo>
                      <a:pt x="1122" y="238"/>
                    </a:lnTo>
                    <a:lnTo>
                      <a:pt x="1128" y="238"/>
                    </a:lnTo>
                    <a:lnTo>
                      <a:pt x="1122" y="249"/>
                    </a:lnTo>
                    <a:lnTo>
                      <a:pt x="1122" y="255"/>
                    </a:lnTo>
                    <a:lnTo>
                      <a:pt x="1128" y="255"/>
                    </a:lnTo>
                    <a:lnTo>
                      <a:pt x="1134" y="260"/>
                    </a:lnTo>
                    <a:lnTo>
                      <a:pt x="1134" y="266"/>
                    </a:lnTo>
                    <a:lnTo>
                      <a:pt x="1134" y="272"/>
                    </a:lnTo>
                    <a:lnTo>
                      <a:pt x="1139" y="272"/>
                    </a:lnTo>
                    <a:lnTo>
                      <a:pt x="1139" y="277"/>
                    </a:lnTo>
                    <a:lnTo>
                      <a:pt x="1145" y="277"/>
                    </a:lnTo>
                    <a:lnTo>
                      <a:pt x="1139" y="277"/>
                    </a:lnTo>
                    <a:lnTo>
                      <a:pt x="1139" y="283"/>
                    </a:lnTo>
                    <a:lnTo>
                      <a:pt x="1139" y="289"/>
                    </a:lnTo>
                    <a:lnTo>
                      <a:pt x="1151" y="283"/>
                    </a:lnTo>
                    <a:lnTo>
                      <a:pt x="1151" y="294"/>
                    </a:lnTo>
                    <a:lnTo>
                      <a:pt x="1151" y="300"/>
                    </a:lnTo>
                    <a:lnTo>
                      <a:pt x="1156" y="300"/>
                    </a:lnTo>
                    <a:lnTo>
                      <a:pt x="1156" y="306"/>
                    </a:lnTo>
                    <a:lnTo>
                      <a:pt x="1151" y="306"/>
                    </a:lnTo>
                    <a:lnTo>
                      <a:pt x="1151" y="311"/>
                    </a:lnTo>
                    <a:lnTo>
                      <a:pt x="1156" y="317"/>
                    </a:lnTo>
                    <a:lnTo>
                      <a:pt x="1162" y="323"/>
                    </a:lnTo>
                    <a:lnTo>
                      <a:pt x="1162" y="328"/>
                    </a:lnTo>
                    <a:lnTo>
                      <a:pt x="1162" y="334"/>
                    </a:lnTo>
                    <a:lnTo>
                      <a:pt x="1156" y="334"/>
                    </a:lnTo>
                    <a:lnTo>
                      <a:pt x="1156" y="340"/>
                    </a:lnTo>
                    <a:lnTo>
                      <a:pt x="1162" y="345"/>
                    </a:lnTo>
                    <a:lnTo>
                      <a:pt x="1162" y="351"/>
                    </a:lnTo>
                    <a:lnTo>
                      <a:pt x="1156" y="351"/>
                    </a:lnTo>
                    <a:lnTo>
                      <a:pt x="1162" y="351"/>
                    </a:lnTo>
                    <a:lnTo>
                      <a:pt x="1162" y="357"/>
                    </a:lnTo>
                    <a:lnTo>
                      <a:pt x="1156" y="362"/>
                    </a:lnTo>
                    <a:lnTo>
                      <a:pt x="1162" y="368"/>
                    </a:lnTo>
                    <a:lnTo>
                      <a:pt x="1168" y="368"/>
                    </a:lnTo>
                    <a:lnTo>
                      <a:pt x="1168" y="374"/>
                    </a:lnTo>
                    <a:lnTo>
                      <a:pt x="1168" y="379"/>
                    </a:lnTo>
                    <a:lnTo>
                      <a:pt x="1162" y="379"/>
                    </a:lnTo>
                    <a:lnTo>
                      <a:pt x="1156" y="379"/>
                    </a:lnTo>
                    <a:lnTo>
                      <a:pt x="1156" y="385"/>
                    </a:lnTo>
                    <a:lnTo>
                      <a:pt x="1156" y="391"/>
                    </a:lnTo>
                    <a:lnTo>
                      <a:pt x="1151" y="396"/>
                    </a:lnTo>
                    <a:lnTo>
                      <a:pt x="1151" y="402"/>
                    </a:lnTo>
                    <a:lnTo>
                      <a:pt x="1151" y="408"/>
                    </a:lnTo>
                    <a:lnTo>
                      <a:pt x="1145" y="408"/>
                    </a:lnTo>
                    <a:lnTo>
                      <a:pt x="1145" y="413"/>
                    </a:lnTo>
                    <a:lnTo>
                      <a:pt x="1139" y="413"/>
                    </a:lnTo>
                    <a:lnTo>
                      <a:pt x="1134" y="419"/>
                    </a:lnTo>
                    <a:lnTo>
                      <a:pt x="1134" y="425"/>
                    </a:lnTo>
                    <a:lnTo>
                      <a:pt x="1128" y="425"/>
                    </a:lnTo>
                    <a:lnTo>
                      <a:pt x="1128" y="430"/>
                    </a:lnTo>
                    <a:lnTo>
                      <a:pt x="1122" y="430"/>
                    </a:lnTo>
                    <a:lnTo>
                      <a:pt x="1122" y="436"/>
                    </a:lnTo>
                    <a:lnTo>
                      <a:pt x="1122" y="442"/>
                    </a:lnTo>
                    <a:lnTo>
                      <a:pt x="1117" y="442"/>
                    </a:lnTo>
                    <a:lnTo>
                      <a:pt x="1111" y="447"/>
                    </a:lnTo>
                    <a:lnTo>
                      <a:pt x="1111" y="453"/>
                    </a:lnTo>
                    <a:lnTo>
                      <a:pt x="1105" y="453"/>
                    </a:lnTo>
                    <a:lnTo>
                      <a:pt x="1100" y="453"/>
                    </a:lnTo>
                    <a:lnTo>
                      <a:pt x="1100" y="464"/>
                    </a:lnTo>
                    <a:lnTo>
                      <a:pt x="1100" y="470"/>
                    </a:lnTo>
                    <a:lnTo>
                      <a:pt x="1100" y="476"/>
                    </a:lnTo>
                    <a:lnTo>
                      <a:pt x="1100" y="487"/>
                    </a:lnTo>
                    <a:lnTo>
                      <a:pt x="1100" y="493"/>
                    </a:lnTo>
                    <a:lnTo>
                      <a:pt x="1105" y="493"/>
                    </a:lnTo>
                    <a:lnTo>
                      <a:pt x="1105" y="504"/>
                    </a:lnTo>
                    <a:lnTo>
                      <a:pt x="1105" y="515"/>
                    </a:lnTo>
                    <a:lnTo>
                      <a:pt x="1100" y="521"/>
                    </a:lnTo>
                    <a:lnTo>
                      <a:pt x="1100" y="527"/>
                    </a:lnTo>
                    <a:lnTo>
                      <a:pt x="1105" y="532"/>
                    </a:lnTo>
                    <a:lnTo>
                      <a:pt x="1105" y="538"/>
                    </a:lnTo>
                    <a:lnTo>
                      <a:pt x="1105" y="544"/>
                    </a:lnTo>
                    <a:lnTo>
                      <a:pt x="1105" y="550"/>
                    </a:lnTo>
                    <a:lnTo>
                      <a:pt x="1111" y="555"/>
                    </a:lnTo>
                    <a:lnTo>
                      <a:pt x="1105" y="555"/>
                    </a:lnTo>
                    <a:lnTo>
                      <a:pt x="1105" y="561"/>
                    </a:lnTo>
                    <a:lnTo>
                      <a:pt x="1111" y="561"/>
                    </a:lnTo>
                    <a:lnTo>
                      <a:pt x="1117" y="561"/>
                    </a:lnTo>
                    <a:lnTo>
                      <a:pt x="1117" y="567"/>
                    </a:lnTo>
                    <a:lnTo>
                      <a:pt x="1117" y="572"/>
                    </a:lnTo>
                    <a:lnTo>
                      <a:pt x="1117" y="578"/>
                    </a:lnTo>
                    <a:lnTo>
                      <a:pt x="1122" y="578"/>
                    </a:lnTo>
                    <a:lnTo>
                      <a:pt x="1122" y="572"/>
                    </a:lnTo>
                    <a:lnTo>
                      <a:pt x="1128" y="572"/>
                    </a:lnTo>
                    <a:lnTo>
                      <a:pt x="1128" y="567"/>
                    </a:lnTo>
                    <a:lnTo>
                      <a:pt x="1134" y="567"/>
                    </a:lnTo>
                    <a:lnTo>
                      <a:pt x="1139" y="567"/>
                    </a:lnTo>
                    <a:lnTo>
                      <a:pt x="1145" y="561"/>
                    </a:lnTo>
                    <a:lnTo>
                      <a:pt x="1151" y="561"/>
                    </a:lnTo>
                    <a:lnTo>
                      <a:pt x="1156" y="555"/>
                    </a:lnTo>
                    <a:lnTo>
                      <a:pt x="1162" y="555"/>
                    </a:lnTo>
                    <a:lnTo>
                      <a:pt x="1168" y="550"/>
                    </a:lnTo>
                    <a:lnTo>
                      <a:pt x="1173" y="550"/>
                    </a:lnTo>
                    <a:lnTo>
                      <a:pt x="1179" y="550"/>
                    </a:lnTo>
                    <a:lnTo>
                      <a:pt x="1185" y="555"/>
                    </a:lnTo>
                    <a:lnTo>
                      <a:pt x="1190" y="550"/>
                    </a:lnTo>
                    <a:lnTo>
                      <a:pt x="1196" y="555"/>
                    </a:lnTo>
                    <a:lnTo>
                      <a:pt x="1202" y="561"/>
                    </a:lnTo>
                    <a:lnTo>
                      <a:pt x="1207" y="561"/>
                    </a:lnTo>
                    <a:lnTo>
                      <a:pt x="1207" y="567"/>
                    </a:lnTo>
                    <a:lnTo>
                      <a:pt x="1213" y="561"/>
                    </a:lnTo>
                    <a:lnTo>
                      <a:pt x="1213" y="567"/>
                    </a:lnTo>
                    <a:lnTo>
                      <a:pt x="1219" y="567"/>
                    </a:lnTo>
                    <a:lnTo>
                      <a:pt x="1236" y="572"/>
                    </a:lnTo>
                    <a:lnTo>
                      <a:pt x="1241" y="572"/>
                    </a:lnTo>
                    <a:lnTo>
                      <a:pt x="1247" y="567"/>
                    </a:lnTo>
                    <a:lnTo>
                      <a:pt x="1253" y="567"/>
                    </a:lnTo>
                    <a:lnTo>
                      <a:pt x="1258" y="561"/>
                    </a:lnTo>
                    <a:lnTo>
                      <a:pt x="1264" y="561"/>
                    </a:lnTo>
                    <a:lnTo>
                      <a:pt x="1270" y="561"/>
                    </a:lnTo>
                    <a:lnTo>
                      <a:pt x="1275" y="561"/>
                    </a:lnTo>
                    <a:lnTo>
                      <a:pt x="1275" y="567"/>
                    </a:lnTo>
                    <a:lnTo>
                      <a:pt x="1281" y="567"/>
                    </a:lnTo>
                    <a:lnTo>
                      <a:pt x="1281" y="561"/>
                    </a:lnTo>
                    <a:lnTo>
                      <a:pt x="1287" y="561"/>
                    </a:lnTo>
                    <a:lnTo>
                      <a:pt x="1292" y="555"/>
                    </a:lnTo>
                    <a:lnTo>
                      <a:pt x="1298" y="561"/>
                    </a:lnTo>
                    <a:lnTo>
                      <a:pt x="1304" y="555"/>
                    </a:lnTo>
                    <a:lnTo>
                      <a:pt x="1309" y="555"/>
                    </a:lnTo>
                    <a:lnTo>
                      <a:pt x="1315" y="555"/>
                    </a:lnTo>
                    <a:lnTo>
                      <a:pt x="1321" y="561"/>
                    </a:lnTo>
                    <a:lnTo>
                      <a:pt x="1326" y="561"/>
                    </a:lnTo>
                    <a:lnTo>
                      <a:pt x="1332" y="567"/>
                    </a:lnTo>
                    <a:lnTo>
                      <a:pt x="1338" y="567"/>
                    </a:lnTo>
                    <a:lnTo>
                      <a:pt x="1343" y="567"/>
                    </a:lnTo>
                    <a:lnTo>
                      <a:pt x="1343" y="561"/>
                    </a:lnTo>
                    <a:lnTo>
                      <a:pt x="1355" y="561"/>
                    </a:lnTo>
                    <a:lnTo>
                      <a:pt x="1360" y="567"/>
                    </a:lnTo>
                    <a:lnTo>
                      <a:pt x="1366" y="567"/>
                    </a:lnTo>
                    <a:lnTo>
                      <a:pt x="1372" y="567"/>
                    </a:lnTo>
                    <a:lnTo>
                      <a:pt x="1377" y="567"/>
                    </a:lnTo>
                    <a:lnTo>
                      <a:pt x="1383" y="567"/>
                    </a:lnTo>
                    <a:lnTo>
                      <a:pt x="1389" y="567"/>
                    </a:lnTo>
                    <a:lnTo>
                      <a:pt x="1394" y="555"/>
                    </a:lnTo>
                    <a:lnTo>
                      <a:pt x="1400" y="555"/>
                    </a:lnTo>
                    <a:lnTo>
                      <a:pt x="1406" y="550"/>
                    </a:lnTo>
                    <a:lnTo>
                      <a:pt x="1406" y="544"/>
                    </a:lnTo>
                    <a:lnTo>
                      <a:pt x="1406" y="538"/>
                    </a:lnTo>
                    <a:lnTo>
                      <a:pt x="1406" y="532"/>
                    </a:lnTo>
                    <a:lnTo>
                      <a:pt x="1406" y="527"/>
                    </a:lnTo>
                    <a:lnTo>
                      <a:pt x="1406" y="521"/>
                    </a:lnTo>
                    <a:lnTo>
                      <a:pt x="1411" y="515"/>
                    </a:lnTo>
                    <a:lnTo>
                      <a:pt x="1417" y="515"/>
                    </a:lnTo>
                    <a:lnTo>
                      <a:pt x="1423" y="515"/>
                    </a:lnTo>
                    <a:lnTo>
                      <a:pt x="1428" y="515"/>
                    </a:lnTo>
                    <a:lnTo>
                      <a:pt x="1440" y="515"/>
                    </a:lnTo>
                    <a:lnTo>
                      <a:pt x="1445" y="515"/>
                    </a:lnTo>
                    <a:lnTo>
                      <a:pt x="1451" y="515"/>
                    </a:lnTo>
                    <a:lnTo>
                      <a:pt x="1457" y="515"/>
                    </a:lnTo>
                    <a:lnTo>
                      <a:pt x="1462" y="510"/>
                    </a:lnTo>
                    <a:lnTo>
                      <a:pt x="1468" y="510"/>
                    </a:lnTo>
                    <a:lnTo>
                      <a:pt x="1474" y="504"/>
                    </a:lnTo>
                    <a:lnTo>
                      <a:pt x="1479" y="504"/>
                    </a:lnTo>
                    <a:lnTo>
                      <a:pt x="1479" y="498"/>
                    </a:lnTo>
                    <a:lnTo>
                      <a:pt x="1485" y="493"/>
                    </a:lnTo>
                    <a:lnTo>
                      <a:pt x="1491" y="493"/>
                    </a:lnTo>
                    <a:lnTo>
                      <a:pt x="1491" y="487"/>
                    </a:lnTo>
                    <a:lnTo>
                      <a:pt x="1491" y="481"/>
                    </a:lnTo>
                    <a:lnTo>
                      <a:pt x="1496" y="481"/>
                    </a:lnTo>
                    <a:lnTo>
                      <a:pt x="1502" y="476"/>
                    </a:lnTo>
                    <a:lnTo>
                      <a:pt x="1508" y="470"/>
                    </a:lnTo>
                    <a:lnTo>
                      <a:pt x="1508" y="464"/>
                    </a:lnTo>
                    <a:lnTo>
                      <a:pt x="1513" y="464"/>
                    </a:lnTo>
                    <a:lnTo>
                      <a:pt x="1513" y="459"/>
                    </a:lnTo>
                    <a:lnTo>
                      <a:pt x="1513" y="453"/>
                    </a:lnTo>
                    <a:lnTo>
                      <a:pt x="1519" y="453"/>
                    </a:lnTo>
                    <a:lnTo>
                      <a:pt x="1519" y="447"/>
                    </a:lnTo>
                    <a:lnTo>
                      <a:pt x="1519" y="442"/>
                    </a:lnTo>
                    <a:lnTo>
                      <a:pt x="1525" y="442"/>
                    </a:lnTo>
                    <a:lnTo>
                      <a:pt x="1525" y="436"/>
                    </a:lnTo>
                    <a:lnTo>
                      <a:pt x="1530" y="436"/>
                    </a:lnTo>
                    <a:lnTo>
                      <a:pt x="1530" y="430"/>
                    </a:lnTo>
                    <a:lnTo>
                      <a:pt x="1536" y="430"/>
                    </a:lnTo>
                    <a:lnTo>
                      <a:pt x="1542" y="430"/>
                    </a:lnTo>
                    <a:lnTo>
                      <a:pt x="1547" y="430"/>
                    </a:lnTo>
                    <a:lnTo>
                      <a:pt x="1547" y="425"/>
                    </a:lnTo>
                    <a:lnTo>
                      <a:pt x="1553" y="425"/>
                    </a:lnTo>
                    <a:lnTo>
                      <a:pt x="1559" y="425"/>
                    </a:lnTo>
                    <a:lnTo>
                      <a:pt x="1564" y="425"/>
                    </a:lnTo>
                    <a:lnTo>
                      <a:pt x="1564" y="419"/>
                    </a:lnTo>
                    <a:lnTo>
                      <a:pt x="1559" y="413"/>
                    </a:lnTo>
                    <a:lnTo>
                      <a:pt x="1564" y="413"/>
                    </a:lnTo>
                    <a:lnTo>
                      <a:pt x="1570" y="413"/>
                    </a:lnTo>
                    <a:lnTo>
                      <a:pt x="1570" y="408"/>
                    </a:lnTo>
                    <a:lnTo>
                      <a:pt x="1570" y="402"/>
                    </a:lnTo>
                    <a:lnTo>
                      <a:pt x="1576" y="396"/>
                    </a:lnTo>
                    <a:lnTo>
                      <a:pt x="1581" y="396"/>
                    </a:lnTo>
                    <a:lnTo>
                      <a:pt x="1587" y="396"/>
                    </a:lnTo>
                    <a:lnTo>
                      <a:pt x="1587" y="391"/>
                    </a:lnTo>
                    <a:lnTo>
                      <a:pt x="1593" y="391"/>
                    </a:lnTo>
                    <a:lnTo>
                      <a:pt x="1598" y="391"/>
                    </a:lnTo>
                    <a:lnTo>
                      <a:pt x="1604" y="391"/>
                    </a:lnTo>
                    <a:lnTo>
                      <a:pt x="1604" y="396"/>
                    </a:lnTo>
                    <a:lnTo>
                      <a:pt x="1610" y="396"/>
                    </a:lnTo>
                    <a:lnTo>
                      <a:pt x="1615" y="396"/>
                    </a:lnTo>
                    <a:lnTo>
                      <a:pt x="1615" y="391"/>
                    </a:lnTo>
                    <a:lnTo>
                      <a:pt x="1621" y="385"/>
                    </a:lnTo>
                    <a:lnTo>
                      <a:pt x="1621" y="379"/>
                    </a:lnTo>
                    <a:lnTo>
                      <a:pt x="1621" y="374"/>
                    </a:lnTo>
                    <a:lnTo>
                      <a:pt x="1627" y="374"/>
                    </a:lnTo>
                    <a:lnTo>
                      <a:pt x="1632" y="368"/>
                    </a:lnTo>
                    <a:lnTo>
                      <a:pt x="1632" y="362"/>
                    </a:lnTo>
                    <a:lnTo>
                      <a:pt x="1649" y="368"/>
                    </a:lnTo>
                    <a:lnTo>
                      <a:pt x="1649" y="447"/>
                    </a:lnTo>
                    <a:lnTo>
                      <a:pt x="1644" y="453"/>
                    </a:lnTo>
                    <a:lnTo>
                      <a:pt x="1644" y="464"/>
                    </a:lnTo>
                    <a:lnTo>
                      <a:pt x="1649" y="470"/>
                    </a:lnTo>
                    <a:lnTo>
                      <a:pt x="1649" y="481"/>
                    </a:lnTo>
                    <a:lnTo>
                      <a:pt x="1649" y="487"/>
                    </a:lnTo>
                    <a:lnTo>
                      <a:pt x="1655" y="487"/>
                    </a:lnTo>
                    <a:lnTo>
                      <a:pt x="1661" y="487"/>
                    </a:lnTo>
                    <a:lnTo>
                      <a:pt x="1666" y="487"/>
                    </a:lnTo>
                    <a:lnTo>
                      <a:pt x="1672" y="487"/>
                    </a:lnTo>
                    <a:lnTo>
                      <a:pt x="1678" y="493"/>
                    </a:lnTo>
                    <a:lnTo>
                      <a:pt x="1683" y="487"/>
                    </a:lnTo>
                    <a:lnTo>
                      <a:pt x="1689" y="493"/>
                    </a:lnTo>
                    <a:lnTo>
                      <a:pt x="1689" y="498"/>
                    </a:lnTo>
                    <a:lnTo>
                      <a:pt x="1695" y="498"/>
                    </a:lnTo>
                    <a:lnTo>
                      <a:pt x="1700" y="493"/>
                    </a:lnTo>
                    <a:lnTo>
                      <a:pt x="1706" y="498"/>
                    </a:lnTo>
                    <a:lnTo>
                      <a:pt x="1712" y="504"/>
                    </a:lnTo>
                    <a:lnTo>
                      <a:pt x="1712" y="510"/>
                    </a:lnTo>
                    <a:lnTo>
                      <a:pt x="1712" y="504"/>
                    </a:lnTo>
                    <a:lnTo>
                      <a:pt x="1718" y="504"/>
                    </a:lnTo>
                    <a:lnTo>
                      <a:pt x="1723" y="510"/>
                    </a:lnTo>
                    <a:lnTo>
                      <a:pt x="1729" y="515"/>
                    </a:lnTo>
                    <a:lnTo>
                      <a:pt x="1735" y="515"/>
                    </a:lnTo>
                    <a:lnTo>
                      <a:pt x="1740" y="515"/>
                    </a:lnTo>
                    <a:lnTo>
                      <a:pt x="1740" y="521"/>
                    </a:lnTo>
                    <a:lnTo>
                      <a:pt x="1735" y="527"/>
                    </a:lnTo>
                    <a:lnTo>
                      <a:pt x="1729" y="532"/>
                    </a:lnTo>
                    <a:lnTo>
                      <a:pt x="1729" y="538"/>
                    </a:lnTo>
                    <a:lnTo>
                      <a:pt x="1735" y="544"/>
                    </a:lnTo>
                    <a:lnTo>
                      <a:pt x="1735" y="550"/>
                    </a:lnTo>
                    <a:lnTo>
                      <a:pt x="1729" y="555"/>
                    </a:lnTo>
                    <a:lnTo>
                      <a:pt x="1723" y="567"/>
                    </a:lnTo>
                    <a:lnTo>
                      <a:pt x="1729" y="572"/>
                    </a:lnTo>
                    <a:lnTo>
                      <a:pt x="1729" y="578"/>
                    </a:lnTo>
                    <a:lnTo>
                      <a:pt x="1735" y="578"/>
                    </a:lnTo>
                    <a:lnTo>
                      <a:pt x="1735" y="589"/>
                    </a:lnTo>
                    <a:lnTo>
                      <a:pt x="1735" y="595"/>
                    </a:lnTo>
                    <a:lnTo>
                      <a:pt x="1740" y="601"/>
                    </a:lnTo>
                    <a:lnTo>
                      <a:pt x="1746" y="601"/>
                    </a:lnTo>
                    <a:lnTo>
                      <a:pt x="1746" y="606"/>
                    </a:lnTo>
                    <a:lnTo>
                      <a:pt x="1740" y="606"/>
                    </a:lnTo>
                    <a:lnTo>
                      <a:pt x="1735" y="612"/>
                    </a:lnTo>
                    <a:lnTo>
                      <a:pt x="1723" y="612"/>
                    </a:lnTo>
                    <a:lnTo>
                      <a:pt x="1723" y="618"/>
                    </a:lnTo>
                    <a:lnTo>
                      <a:pt x="1723" y="623"/>
                    </a:lnTo>
                    <a:lnTo>
                      <a:pt x="1718" y="635"/>
                    </a:lnTo>
                    <a:lnTo>
                      <a:pt x="1723" y="646"/>
                    </a:lnTo>
                    <a:lnTo>
                      <a:pt x="1723" y="652"/>
                    </a:lnTo>
                    <a:lnTo>
                      <a:pt x="1729" y="657"/>
                    </a:lnTo>
                    <a:lnTo>
                      <a:pt x="1729" y="663"/>
                    </a:lnTo>
                    <a:lnTo>
                      <a:pt x="1740" y="663"/>
                    </a:lnTo>
                    <a:lnTo>
                      <a:pt x="1740" y="657"/>
                    </a:lnTo>
                    <a:lnTo>
                      <a:pt x="1746" y="657"/>
                    </a:lnTo>
                    <a:lnTo>
                      <a:pt x="1752" y="669"/>
                    </a:lnTo>
                    <a:lnTo>
                      <a:pt x="1757" y="669"/>
                    </a:lnTo>
                    <a:lnTo>
                      <a:pt x="1757" y="674"/>
                    </a:lnTo>
                    <a:lnTo>
                      <a:pt x="1763" y="680"/>
                    </a:lnTo>
                    <a:lnTo>
                      <a:pt x="1774" y="686"/>
                    </a:lnTo>
                    <a:lnTo>
                      <a:pt x="1780" y="697"/>
                    </a:lnTo>
                    <a:lnTo>
                      <a:pt x="1791" y="697"/>
                    </a:lnTo>
                    <a:lnTo>
                      <a:pt x="1803" y="697"/>
                    </a:lnTo>
                    <a:lnTo>
                      <a:pt x="1808" y="703"/>
                    </a:lnTo>
                    <a:lnTo>
                      <a:pt x="1814" y="703"/>
                    </a:lnTo>
                    <a:lnTo>
                      <a:pt x="1825" y="714"/>
                    </a:lnTo>
                    <a:lnTo>
                      <a:pt x="1831" y="714"/>
                    </a:lnTo>
                    <a:lnTo>
                      <a:pt x="1837" y="714"/>
                    </a:lnTo>
                    <a:lnTo>
                      <a:pt x="1842" y="720"/>
                    </a:lnTo>
                    <a:lnTo>
                      <a:pt x="1848" y="720"/>
                    </a:lnTo>
                    <a:lnTo>
                      <a:pt x="1848" y="725"/>
                    </a:lnTo>
                    <a:lnTo>
                      <a:pt x="1842" y="731"/>
                    </a:lnTo>
                    <a:lnTo>
                      <a:pt x="1859" y="731"/>
                    </a:lnTo>
                    <a:lnTo>
                      <a:pt x="1871" y="731"/>
                    </a:lnTo>
                    <a:lnTo>
                      <a:pt x="1876" y="731"/>
                    </a:lnTo>
                    <a:lnTo>
                      <a:pt x="1888" y="742"/>
                    </a:lnTo>
                    <a:lnTo>
                      <a:pt x="1899" y="742"/>
                    </a:lnTo>
                    <a:lnTo>
                      <a:pt x="1916" y="754"/>
                    </a:lnTo>
                    <a:lnTo>
                      <a:pt x="1927" y="737"/>
                    </a:lnTo>
                    <a:lnTo>
                      <a:pt x="1933" y="737"/>
                    </a:lnTo>
                    <a:lnTo>
                      <a:pt x="1950" y="737"/>
                    </a:lnTo>
                    <a:lnTo>
                      <a:pt x="1956" y="737"/>
                    </a:lnTo>
                    <a:lnTo>
                      <a:pt x="1961" y="731"/>
                    </a:lnTo>
                    <a:lnTo>
                      <a:pt x="1956" y="725"/>
                    </a:lnTo>
                    <a:lnTo>
                      <a:pt x="1950" y="725"/>
                    </a:lnTo>
                    <a:lnTo>
                      <a:pt x="1950" y="720"/>
                    </a:lnTo>
                    <a:lnTo>
                      <a:pt x="1956" y="714"/>
                    </a:lnTo>
                    <a:lnTo>
                      <a:pt x="1973" y="720"/>
                    </a:lnTo>
                    <a:lnTo>
                      <a:pt x="1978" y="720"/>
                    </a:lnTo>
                    <a:lnTo>
                      <a:pt x="1978" y="714"/>
                    </a:lnTo>
                    <a:lnTo>
                      <a:pt x="1978" y="708"/>
                    </a:lnTo>
                    <a:lnTo>
                      <a:pt x="1978" y="703"/>
                    </a:lnTo>
                    <a:lnTo>
                      <a:pt x="1978" y="697"/>
                    </a:lnTo>
                    <a:lnTo>
                      <a:pt x="1984" y="691"/>
                    </a:lnTo>
                    <a:lnTo>
                      <a:pt x="1984" y="686"/>
                    </a:lnTo>
                    <a:lnTo>
                      <a:pt x="2001" y="703"/>
                    </a:lnTo>
                    <a:lnTo>
                      <a:pt x="1995" y="720"/>
                    </a:lnTo>
                    <a:lnTo>
                      <a:pt x="1990" y="765"/>
                    </a:lnTo>
                    <a:lnTo>
                      <a:pt x="2007" y="771"/>
                    </a:lnTo>
                    <a:lnTo>
                      <a:pt x="2001" y="799"/>
                    </a:lnTo>
                    <a:lnTo>
                      <a:pt x="2007" y="805"/>
                    </a:lnTo>
                    <a:lnTo>
                      <a:pt x="2046" y="799"/>
                    </a:lnTo>
                    <a:lnTo>
                      <a:pt x="2092" y="788"/>
                    </a:lnTo>
                    <a:lnTo>
                      <a:pt x="2086" y="793"/>
                    </a:lnTo>
                    <a:lnTo>
                      <a:pt x="2092" y="793"/>
                    </a:lnTo>
                    <a:lnTo>
                      <a:pt x="2097" y="799"/>
                    </a:lnTo>
                    <a:lnTo>
                      <a:pt x="2092" y="799"/>
                    </a:lnTo>
                    <a:lnTo>
                      <a:pt x="2092" y="805"/>
                    </a:lnTo>
                    <a:lnTo>
                      <a:pt x="2092" y="816"/>
                    </a:lnTo>
                    <a:lnTo>
                      <a:pt x="2097" y="816"/>
                    </a:lnTo>
                    <a:lnTo>
                      <a:pt x="2092" y="822"/>
                    </a:lnTo>
                    <a:lnTo>
                      <a:pt x="2092" y="827"/>
                    </a:lnTo>
                    <a:lnTo>
                      <a:pt x="2086" y="833"/>
                    </a:lnTo>
                    <a:lnTo>
                      <a:pt x="2080" y="833"/>
                    </a:lnTo>
                    <a:lnTo>
                      <a:pt x="2080" y="839"/>
                    </a:lnTo>
                    <a:lnTo>
                      <a:pt x="2069" y="844"/>
                    </a:lnTo>
                    <a:lnTo>
                      <a:pt x="2075" y="856"/>
                    </a:lnTo>
                    <a:lnTo>
                      <a:pt x="2080" y="856"/>
                    </a:lnTo>
                    <a:lnTo>
                      <a:pt x="2086" y="856"/>
                    </a:lnTo>
                    <a:lnTo>
                      <a:pt x="2092" y="856"/>
                    </a:lnTo>
                    <a:lnTo>
                      <a:pt x="2092" y="861"/>
                    </a:lnTo>
                    <a:lnTo>
                      <a:pt x="2097" y="867"/>
                    </a:lnTo>
                    <a:lnTo>
                      <a:pt x="2097" y="873"/>
                    </a:lnTo>
                    <a:lnTo>
                      <a:pt x="2092" y="878"/>
                    </a:lnTo>
                    <a:lnTo>
                      <a:pt x="2092" y="884"/>
                    </a:lnTo>
                    <a:lnTo>
                      <a:pt x="2097" y="884"/>
                    </a:lnTo>
                    <a:lnTo>
                      <a:pt x="2109" y="895"/>
                    </a:lnTo>
                    <a:lnTo>
                      <a:pt x="2114" y="901"/>
                    </a:lnTo>
                    <a:lnTo>
                      <a:pt x="2114" y="895"/>
                    </a:lnTo>
                    <a:lnTo>
                      <a:pt x="2120" y="895"/>
                    </a:lnTo>
                    <a:lnTo>
                      <a:pt x="2126" y="890"/>
                    </a:lnTo>
                    <a:lnTo>
                      <a:pt x="2126" y="884"/>
                    </a:lnTo>
                    <a:lnTo>
                      <a:pt x="2131" y="884"/>
                    </a:lnTo>
                    <a:lnTo>
                      <a:pt x="2131" y="878"/>
                    </a:lnTo>
                    <a:lnTo>
                      <a:pt x="2137" y="878"/>
                    </a:lnTo>
                    <a:lnTo>
                      <a:pt x="2137" y="873"/>
                    </a:lnTo>
                    <a:lnTo>
                      <a:pt x="2143" y="873"/>
                    </a:lnTo>
                    <a:lnTo>
                      <a:pt x="2143" y="867"/>
                    </a:lnTo>
                    <a:lnTo>
                      <a:pt x="2143" y="861"/>
                    </a:lnTo>
                    <a:lnTo>
                      <a:pt x="2143" y="856"/>
                    </a:lnTo>
                    <a:lnTo>
                      <a:pt x="2143" y="850"/>
                    </a:lnTo>
                    <a:lnTo>
                      <a:pt x="2143" y="844"/>
                    </a:lnTo>
                    <a:lnTo>
                      <a:pt x="2148" y="844"/>
                    </a:lnTo>
                    <a:lnTo>
                      <a:pt x="2148" y="839"/>
                    </a:lnTo>
                    <a:lnTo>
                      <a:pt x="2154" y="833"/>
                    </a:lnTo>
                    <a:lnTo>
                      <a:pt x="2160" y="833"/>
                    </a:lnTo>
                    <a:lnTo>
                      <a:pt x="2160" y="827"/>
                    </a:lnTo>
                    <a:lnTo>
                      <a:pt x="2165" y="827"/>
                    </a:lnTo>
                    <a:lnTo>
                      <a:pt x="2165" y="822"/>
                    </a:lnTo>
                    <a:lnTo>
                      <a:pt x="2160" y="822"/>
                    </a:lnTo>
                    <a:lnTo>
                      <a:pt x="2160" y="816"/>
                    </a:lnTo>
                    <a:lnTo>
                      <a:pt x="2165" y="810"/>
                    </a:lnTo>
                    <a:lnTo>
                      <a:pt x="2165" y="805"/>
                    </a:lnTo>
                    <a:lnTo>
                      <a:pt x="2165" y="799"/>
                    </a:lnTo>
                    <a:lnTo>
                      <a:pt x="2160" y="799"/>
                    </a:lnTo>
                    <a:lnTo>
                      <a:pt x="2160" y="793"/>
                    </a:lnTo>
                    <a:lnTo>
                      <a:pt x="2160" y="788"/>
                    </a:lnTo>
                    <a:lnTo>
                      <a:pt x="2160" y="782"/>
                    </a:lnTo>
                    <a:lnTo>
                      <a:pt x="2160" y="776"/>
                    </a:lnTo>
                    <a:lnTo>
                      <a:pt x="2165" y="776"/>
                    </a:lnTo>
                    <a:lnTo>
                      <a:pt x="2177" y="776"/>
                    </a:lnTo>
                    <a:lnTo>
                      <a:pt x="2177" y="771"/>
                    </a:lnTo>
                    <a:lnTo>
                      <a:pt x="2182" y="771"/>
                    </a:lnTo>
                    <a:lnTo>
                      <a:pt x="2182" y="776"/>
                    </a:lnTo>
                    <a:lnTo>
                      <a:pt x="2188" y="782"/>
                    </a:lnTo>
                    <a:lnTo>
                      <a:pt x="2188" y="788"/>
                    </a:lnTo>
                    <a:lnTo>
                      <a:pt x="2188" y="793"/>
                    </a:lnTo>
                    <a:lnTo>
                      <a:pt x="2194" y="793"/>
                    </a:lnTo>
                    <a:lnTo>
                      <a:pt x="2205" y="793"/>
                    </a:lnTo>
                    <a:lnTo>
                      <a:pt x="2222" y="788"/>
                    </a:lnTo>
                    <a:lnTo>
                      <a:pt x="2245" y="788"/>
                    </a:lnTo>
                    <a:lnTo>
                      <a:pt x="2250" y="793"/>
                    </a:lnTo>
                    <a:lnTo>
                      <a:pt x="2250" y="799"/>
                    </a:lnTo>
                    <a:lnTo>
                      <a:pt x="2245" y="805"/>
                    </a:lnTo>
                    <a:lnTo>
                      <a:pt x="2239" y="805"/>
                    </a:lnTo>
                    <a:lnTo>
                      <a:pt x="2239" y="810"/>
                    </a:lnTo>
                    <a:lnTo>
                      <a:pt x="2233" y="810"/>
                    </a:lnTo>
                    <a:lnTo>
                      <a:pt x="2228" y="816"/>
                    </a:lnTo>
                    <a:lnTo>
                      <a:pt x="2228" y="822"/>
                    </a:lnTo>
                    <a:lnTo>
                      <a:pt x="2222" y="822"/>
                    </a:lnTo>
                    <a:lnTo>
                      <a:pt x="2222" y="827"/>
                    </a:lnTo>
                    <a:lnTo>
                      <a:pt x="2216" y="833"/>
                    </a:lnTo>
                    <a:lnTo>
                      <a:pt x="2211" y="833"/>
                    </a:lnTo>
                    <a:lnTo>
                      <a:pt x="2211" y="839"/>
                    </a:lnTo>
                    <a:lnTo>
                      <a:pt x="2205" y="844"/>
                    </a:lnTo>
                    <a:lnTo>
                      <a:pt x="2199" y="844"/>
                    </a:lnTo>
                    <a:lnTo>
                      <a:pt x="2199" y="850"/>
                    </a:lnTo>
                    <a:lnTo>
                      <a:pt x="2222" y="901"/>
                    </a:lnTo>
                    <a:lnTo>
                      <a:pt x="2228" y="901"/>
                    </a:lnTo>
                    <a:lnTo>
                      <a:pt x="2233" y="895"/>
                    </a:lnTo>
                    <a:lnTo>
                      <a:pt x="2239" y="895"/>
                    </a:lnTo>
                    <a:lnTo>
                      <a:pt x="2245" y="907"/>
                    </a:lnTo>
                    <a:lnTo>
                      <a:pt x="2228" y="935"/>
                    </a:lnTo>
                    <a:lnTo>
                      <a:pt x="2222" y="941"/>
                    </a:lnTo>
                    <a:lnTo>
                      <a:pt x="2216" y="946"/>
                    </a:lnTo>
                    <a:lnTo>
                      <a:pt x="2211" y="946"/>
                    </a:lnTo>
                    <a:lnTo>
                      <a:pt x="2216" y="958"/>
                    </a:lnTo>
                    <a:lnTo>
                      <a:pt x="2211" y="992"/>
                    </a:lnTo>
                    <a:lnTo>
                      <a:pt x="2199" y="997"/>
                    </a:lnTo>
                    <a:lnTo>
                      <a:pt x="2199" y="1003"/>
                    </a:lnTo>
                    <a:lnTo>
                      <a:pt x="2199" y="1009"/>
                    </a:lnTo>
                    <a:lnTo>
                      <a:pt x="2194" y="1037"/>
                    </a:lnTo>
                    <a:lnTo>
                      <a:pt x="2205" y="1043"/>
                    </a:lnTo>
                    <a:lnTo>
                      <a:pt x="2177" y="1099"/>
                    </a:lnTo>
                    <a:lnTo>
                      <a:pt x="2148" y="1150"/>
                    </a:lnTo>
                    <a:lnTo>
                      <a:pt x="2148" y="1156"/>
                    </a:lnTo>
                    <a:lnTo>
                      <a:pt x="2143" y="1156"/>
                    </a:lnTo>
                    <a:lnTo>
                      <a:pt x="2143" y="1162"/>
                    </a:lnTo>
                    <a:lnTo>
                      <a:pt x="2080" y="1269"/>
                    </a:lnTo>
                    <a:lnTo>
                      <a:pt x="2058" y="1320"/>
                    </a:lnTo>
                    <a:lnTo>
                      <a:pt x="2058" y="1326"/>
                    </a:lnTo>
                    <a:lnTo>
                      <a:pt x="2058" y="1332"/>
                    </a:lnTo>
                    <a:lnTo>
                      <a:pt x="2058" y="1337"/>
                    </a:lnTo>
                    <a:lnTo>
                      <a:pt x="2063" y="1337"/>
                    </a:lnTo>
                    <a:lnTo>
                      <a:pt x="2063" y="1343"/>
                    </a:lnTo>
                    <a:lnTo>
                      <a:pt x="2069" y="1349"/>
                    </a:lnTo>
                    <a:lnTo>
                      <a:pt x="2069" y="1354"/>
                    </a:lnTo>
                    <a:lnTo>
                      <a:pt x="2075" y="1354"/>
                    </a:lnTo>
                    <a:lnTo>
                      <a:pt x="2075" y="1360"/>
                    </a:lnTo>
                    <a:lnTo>
                      <a:pt x="2080" y="1360"/>
                    </a:lnTo>
                    <a:lnTo>
                      <a:pt x="2086" y="1360"/>
                    </a:lnTo>
                    <a:lnTo>
                      <a:pt x="2092" y="1360"/>
                    </a:lnTo>
                    <a:lnTo>
                      <a:pt x="2092" y="1366"/>
                    </a:lnTo>
                    <a:lnTo>
                      <a:pt x="2097" y="1371"/>
                    </a:lnTo>
                    <a:lnTo>
                      <a:pt x="2109" y="1371"/>
                    </a:lnTo>
                    <a:lnTo>
                      <a:pt x="2109" y="1377"/>
                    </a:lnTo>
                    <a:lnTo>
                      <a:pt x="2109" y="1383"/>
                    </a:lnTo>
                    <a:lnTo>
                      <a:pt x="2114" y="1383"/>
                    </a:lnTo>
                    <a:lnTo>
                      <a:pt x="2120" y="1388"/>
                    </a:lnTo>
                    <a:lnTo>
                      <a:pt x="2126" y="1388"/>
                    </a:lnTo>
                    <a:lnTo>
                      <a:pt x="2131" y="1388"/>
                    </a:lnTo>
                    <a:lnTo>
                      <a:pt x="2137" y="1388"/>
                    </a:lnTo>
                    <a:lnTo>
                      <a:pt x="2137" y="1394"/>
                    </a:lnTo>
                    <a:lnTo>
                      <a:pt x="2137" y="1400"/>
                    </a:lnTo>
                    <a:lnTo>
                      <a:pt x="2137" y="1405"/>
                    </a:lnTo>
                    <a:lnTo>
                      <a:pt x="2143" y="1405"/>
                    </a:lnTo>
                    <a:lnTo>
                      <a:pt x="2143" y="1411"/>
                    </a:lnTo>
                    <a:lnTo>
                      <a:pt x="2148" y="1411"/>
                    </a:lnTo>
                    <a:lnTo>
                      <a:pt x="2154" y="1411"/>
                    </a:lnTo>
                    <a:lnTo>
                      <a:pt x="2154" y="1405"/>
                    </a:lnTo>
                    <a:lnTo>
                      <a:pt x="2160" y="1405"/>
                    </a:lnTo>
                    <a:lnTo>
                      <a:pt x="2160" y="1411"/>
                    </a:lnTo>
                    <a:lnTo>
                      <a:pt x="2165" y="1411"/>
                    </a:lnTo>
                    <a:lnTo>
                      <a:pt x="2171" y="1411"/>
                    </a:lnTo>
                    <a:lnTo>
                      <a:pt x="2171" y="1417"/>
                    </a:lnTo>
                    <a:lnTo>
                      <a:pt x="2171" y="1428"/>
                    </a:lnTo>
                    <a:lnTo>
                      <a:pt x="2177" y="1428"/>
                    </a:lnTo>
                    <a:lnTo>
                      <a:pt x="2182" y="1428"/>
                    </a:lnTo>
                    <a:lnTo>
                      <a:pt x="2182" y="1434"/>
                    </a:lnTo>
                    <a:lnTo>
                      <a:pt x="2177" y="1439"/>
                    </a:lnTo>
                    <a:lnTo>
                      <a:pt x="2182" y="1445"/>
                    </a:lnTo>
                    <a:lnTo>
                      <a:pt x="2194" y="1451"/>
                    </a:lnTo>
                    <a:lnTo>
                      <a:pt x="2194" y="1456"/>
                    </a:lnTo>
                    <a:lnTo>
                      <a:pt x="2194" y="1462"/>
                    </a:lnTo>
                    <a:lnTo>
                      <a:pt x="2199" y="1468"/>
                    </a:lnTo>
                    <a:lnTo>
                      <a:pt x="2205" y="1468"/>
                    </a:lnTo>
                    <a:lnTo>
                      <a:pt x="2205" y="1474"/>
                    </a:lnTo>
                    <a:lnTo>
                      <a:pt x="2211" y="1474"/>
                    </a:lnTo>
                    <a:lnTo>
                      <a:pt x="2211" y="1479"/>
                    </a:lnTo>
                    <a:lnTo>
                      <a:pt x="2211" y="1485"/>
                    </a:lnTo>
                    <a:lnTo>
                      <a:pt x="2216" y="1485"/>
                    </a:lnTo>
                    <a:lnTo>
                      <a:pt x="2222" y="1491"/>
                    </a:lnTo>
                    <a:lnTo>
                      <a:pt x="2228" y="1491"/>
                    </a:lnTo>
                    <a:lnTo>
                      <a:pt x="2228" y="1485"/>
                    </a:lnTo>
                    <a:lnTo>
                      <a:pt x="2233" y="1485"/>
                    </a:lnTo>
                    <a:lnTo>
                      <a:pt x="2233" y="1491"/>
                    </a:lnTo>
                    <a:lnTo>
                      <a:pt x="2233" y="1496"/>
                    </a:lnTo>
                    <a:lnTo>
                      <a:pt x="2233" y="1502"/>
                    </a:lnTo>
                    <a:lnTo>
                      <a:pt x="2228" y="1508"/>
                    </a:lnTo>
                    <a:lnTo>
                      <a:pt x="2233" y="1508"/>
                    </a:lnTo>
                    <a:lnTo>
                      <a:pt x="2239" y="1508"/>
                    </a:lnTo>
                    <a:lnTo>
                      <a:pt x="2245" y="1508"/>
                    </a:lnTo>
                    <a:lnTo>
                      <a:pt x="2245" y="1513"/>
                    </a:lnTo>
                    <a:lnTo>
                      <a:pt x="2250" y="1519"/>
                    </a:lnTo>
                    <a:lnTo>
                      <a:pt x="2250" y="1525"/>
                    </a:lnTo>
                    <a:lnTo>
                      <a:pt x="2256" y="1525"/>
                    </a:lnTo>
                    <a:lnTo>
                      <a:pt x="2262" y="1525"/>
                    </a:lnTo>
                    <a:lnTo>
                      <a:pt x="2262" y="1530"/>
                    </a:lnTo>
                    <a:lnTo>
                      <a:pt x="2262" y="1536"/>
                    </a:lnTo>
                    <a:lnTo>
                      <a:pt x="2267" y="1542"/>
                    </a:lnTo>
                    <a:lnTo>
                      <a:pt x="2273" y="1547"/>
                    </a:lnTo>
                    <a:lnTo>
                      <a:pt x="2279" y="1547"/>
                    </a:lnTo>
                    <a:lnTo>
                      <a:pt x="2284" y="1547"/>
                    </a:lnTo>
                    <a:lnTo>
                      <a:pt x="2284" y="1553"/>
                    </a:lnTo>
                    <a:lnTo>
                      <a:pt x="2290" y="1553"/>
                    </a:lnTo>
                    <a:lnTo>
                      <a:pt x="2296" y="1559"/>
                    </a:lnTo>
                    <a:lnTo>
                      <a:pt x="2296" y="1564"/>
                    </a:lnTo>
                    <a:lnTo>
                      <a:pt x="2301" y="1564"/>
                    </a:lnTo>
                    <a:lnTo>
                      <a:pt x="2307" y="1564"/>
                    </a:lnTo>
                    <a:lnTo>
                      <a:pt x="2307" y="1559"/>
                    </a:lnTo>
                    <a:lnTo>
                      <a:pt x="2307" y="1564"/>
                    </a:lnTo>
                    <a:lnTo>
                      <a:pt x="2313" y="1564"/>
                    </a:lnTo>
                    <a:lnTo>
                      <a:pt x="2313" y="1559"/>
                    </a:lnTo>
                    <a:lnTo>
                      <a:pt x="2318" y="1564"/>
                    </a:lnTo>
                    <a:lnTo>
                      <a:pt x="2324" y="1564"/>
                    </a:lnTo>
                    <a:lnTo>
                      <a:pt x="2330" y="1564"/>
                    </a:lnTo>
                    <a:lnTo>
                      <a:pt x="2330" y="1570"/>
                    </a:lnTo>
                    <a:lnTo>
                      <a:pt x="2335" y="1576"/>
                    </a:lnTo>
                    <a:lnTo>
                      <a:pt x="2341" y="1621"/>
                    </a:lnTo>
                    <a:lnTo>
                      <a:pt x="2358" y="1627"/>
                    </a:lnTo>
                    <a:lnTo>
                      <a:pt x="2352" y="1638"/>
                    </a:lnTo>
                    <a:lnTo>
                      <a:pt x="2341" y="1638"/>
                    </a:lnTo>
                    <a:lnTo>
                      <a:pt x="2341" y="1644"/>
                    </a:lnTo>
                    <a:lnTo>
                      <a:pt x="2352" y="1655"/>
                    </a:lnTo>
                    <a:lnTo>
                      <a:pt x="2352" y="1666"/>
                    </a:lnTo>
                    <a:lnTo>
                      <a:pt x="2335" y="1678"/>
                    </a:lnTo>
                    <a:lnTo>
                      <a:pt x="2341" y="1689"/>
                    </a:lnTo>
                    <a:lnTo>
                      <a:pt x="2335" y="1695"/>
                    </a:lnTo>
                    <a:lnTo>
                      <a:pt x="2330" y="1695"/>
                    </a:lnTo>
                    <a:lnTo>
                      <a:pt x="2335" y="1706"/>
                    </a:lnTo>
                    <a:lnTo>
                      <a:pt x="2324" y="1717"/>
                    </a:lnTo>
                    <a:lnTo>
                      <a:pt x="2318" y="1717"/>
                    </a:lnTo>
                    <a:lnTo>
                      <a:pt x="2313" y="1723"/>
                    </a:lnTo>
                    <a:lnTo>
                      <a:pt x="2313" y="1734"/>
                    </a:lnTo>
                    <a:lnTo>
                      <a:pt x="2301" y="1740"/>
                    </a:lnTo>
                    <a:lnTo>
                      <a:pt x="2267" y="1734"/>
                    </a:lnTo>
                    <a:lnTo>
                      <a:pt x="2228" y="1757"/>
                    </a:lnTo>
                    <a:lnTo>
                      <a:pt x="2205" y="1757"/>
                    </a:lnTo>
                    <a:lnTo>
                      <a:pt x="2194" y="1763"/>
                    </a:lnTo>
                    <a:lnTo>
                      <a:pt x="2177" y="1768"/>
                    </a:lnTo>
                    <a:lnTo>
                      <a:pt x="2171" y="1780"/>
                    </a:lnTo>
                    <a:lnTo>
                      <a:pt x="2165" y="1774"/>
                    </a:lnTo>
                    <a:lnTo>
                      <a:pt x="2154" y="1785"/>
                    </a:lnTo>
                    <a:lnTo>
                      <a:pt x="2131" y="1791"/>
                    </a:lnTo>
                    <a:lnTo>
                      <a:pt x="2114" y="1785"/>
                    </a:lnTo>
                    <a:lnTo>
                      <a:pt x="2097" y="1791"/>
                    </a:lnTo>
                    <a:lnTo>
                      <a:pt x="2097" y="1797"/>
                    </a:lnTo>
                    <a:lnTo>
                      <a:pt x="2092" y="1808"/>
                    </a:lnTo>
                    <a:lnTo>
                      <a:pt x="2086" y="1814"/>
                    </a:lnTo>
                    <a:lnTo>
                      <a:pt x="2080" y="1831"/>
                    </a:lnTo>
                    <a:lnTo>
                      <a:pt x="2080" y="1836"/>
                    </a:lnTo>
                    <a:lnTo>
                      <a:pt x="2075" y="1870"/>
                    </a:lnTo>
                    <a:lnTo>
                      <a:pt x="2029" y="1870"/>
                    </a:lnTo>
                    <a:lnTo>
                      <a:pt x="2029" y="1876"/>
                    </a:lnTo>
                    <a:lnTo>
                      <a:pt x="2012" y="1887"/>
                    </a:lnTo>
                    <a:lnTo>
                      <a:pt x="1984" y="1876"/>
                    </a:lnTo>
                    <a:lnTo>
                      <a:pt x="1984" y="1882"/>
                    </a:lnTo>
                    <a:lnTo>
                      <a:pt x="1984" y="1893"/>
                    </a:lnTo>
                    <a:lnTo>
                      <a:pt x="1961" y="1893"/>
                    </a:lnTo>
                    <a:lnTo>
                      <a:pt x="1950" y="1876"/>
                    </a:lnTo>
                    <a:lnTo>
                      <a:pt x="1956" y="1870"/>
                    </a:lnTo>
                    <a:lnTo>
                      <a:pt x="1933" y="1870"/>
                    </a:lnTo>
                    <a:lnTo>
                      <a:pt x="1933" y="1887"/>
                    </a:lnTo>
                    <a:lnTo>
                      <a:pt x="1922" y="1893"/>
                    </a:lnTo>
                    <a:lnTo>
                      <a:pt x="1916" y="1899"/>
                    </a:lnTo>
                    <a:lnTo>
                      <a:pt x="1910" y="1904"/>
                    </a:lnTo>
                    <a:lnTo>
                      <a:pt x="1905" y="1893"/>
                    </a:lnTo>
                    <a:lnTo>
                      <a:pt x="1893" y="1887"/>
                    </a:lnTo>
                    <a:lnTo>
                      <a:pt x="1905" y="1882"/>
                    </a:lnTo>
                    <a:lnTo>
                      <a:pt x="1905" y="1876"/>
                    </a:lnTo>
                    <a:lnTo>
                      <a:pt x="1876" y="1865"/>
                    </a:lnTo>
                    <a:lnTo>
                      <a:pt x="1876" y="1859"/>
                    </a:lnTo>
                    <a:lnTo>
                      <a:pt x="1848" y="1859"/>
                    </a:lnTo>
                    <a:lnTo>
                      <a:pt x="1842" y="1853"/>
                    </a:lnTo>
                    <a:lnTo>
                      <a:pt x="1837" y="1865"/>
                    </a:lnTo>
                    <a:lnTo>
                      <a:pt x="1825" y="1865"/>
                    </a:lnTo>
                    <a:lnTo>
                      <a:pt x="1820" y="1870"/>
                    </a:lnTo>
                    <a:lnTo>
                      <a:pt x="1791" y="1865"/>
                    </a:lnTo>
                    <a:lnTo>
                      <a:pt x="1791" y="1870"/>
                    </a:lnTo>
                    <a:lnTo>
                      <a:pt x="1769" y="1870"/>
                    </a:lnTo>
                    <a:lnTo>
                      <a:pt x="1757" y="1882"/>
                    </a:lnTo>
                    <a:lnTo>
                      <a:pt x="1752" y="1899"/>
                    </a:lnTo>
                    <a:lnTo>
                      <a:pt x="1740" y="1904"/>
                    </a:lnTo>
                    <a:lnTo>
                      <a:pt x="1740" y="1916"/>
                    </a:lnTo>
                    <a:lnTo>
                      <a:pt x="1700" y="1944"/>
                    </a:lnTo>
                    <a:lnTo>
                      <a:pt x="1695" y="1927"/>
                    </a:lnTo>
                    <a:lnTo>
                      <a:pt x="1695" y="1916"/>
                    </a:lnTo>
                    <a:lnTo>
                      <a:pt x="1672" y="1910"/>
                    </a:lnTo>
                    <a:lnTo>
                      <a:pt x="1655" y="1916"/>
                    </a:lnTo>
                    <a:lnTo>
                      <a:pt x="1644" y="1910"/>
                    </a:lnTo>
                    <a:lnTo>
                      <a:pt x="1644" y="1904"/>
                    </a:lnTo>
                    <a:lnTo>
                      <a:pt x="1621" y="1910"/>
                    </a:lnTo>
                    <a:lnTo>
                      <a:pt x="1615" y="1899"/>
                    </a:lnTo>
                    <a:lnTo>
                      <a:pt x="1587" y="1899"/>
                    </a:lnTo>
                    <a:lnTo>
                      <a:pt x="1570" y="1893"/>
                    </a:lnTo>
                    <a:lnTo>
                      <a:pt x="1581" y="1876"/>
                    </a:lnTo>
                    <a:lnTo>
                      <a:pt x="1570" y="1870"/>
                    </a:lnTo>
                    <a:lnTo>
                      <a:pt x="1570" y="1859"/>
                    </a:lnTo>
                    <a:lnTo>
                      <a:pt x="1547" y="1859"/>
                    </a:lnTo>
                    <a:lnTo>
                      <a:pt x="1502" y="1836"/>
                    </a:lnTo>
                    <a:lnTo>
                      <a:pt x="1496" y="1836"/>
                    </a:lnTo>
                    <a:lnTo>
                      <a:pt x="1491" y="1853"/>
                    </a:lnTo>
                    <a:lnTo>
                      <a:pt x="1485" y="1870"/>
                    </a:lnTo>
                    <a:lnTo>
                      <a:pt x="1468" y="1887"/>
                    </a:lnTo>
                    <a:lnTo>
                      <a:pt x="1468" y="1916"/>
                    </a:lnTo>
                    <a:lnTo>
                      <a:pt x="1445" y="1910"/>
                    </a:lnTo>
                    <a:lnTo>
                      <a:pt x="1451" y="1916"/>
                    </a:lnTo>
                    <a:lnTo>
                      <a:pt x="1451" y="1921"/>
                    </a:lnTo>
                    <a:lnTo>
                      <a:pt x="1445" y="1927"/>
                    </a:lnTo>
                    <a:lnTo>
                      <a:pt x="1440" y="1927"/>
                    </a:lnTo>
                    <a:lnTo>
                      <a:pt x="1445" y="1938"/>
                    </a:lnTo>
                    <a:lnTo>
                      <a:pt x="1445" y="1944"/>
                    </a:lnTo>
                    <a:lnTo>
                      <a:pt x="1445" y="1950"/>
                    </a:lnTo>
                    <a:lnTo>
                      <a:pt x="1445" y="1955"/>
                    </a:lnTo>
                    <a:lnTo>
                      <a:pt x="1457" y="1961"/>
                    </a:lnTo>
                    <a:lnTo>
                      <a:pt x="1445" y="1984"/>
                    </a:lnTo>
                    <a:lnTo>
                      <a:pt x="1440" y="1967"/>
                    </a:lnTo>
                    <a:lnTo>
                      <a:pt x="1423" y="1978"/>
                    </a:lnTo>
                    <a:lnTo>
                      <a:pt x="1423" y="2001"/>
                    </a:lnTo>
                    <a:lnTo>
                      <a:pt x="1406" y="2006"/>
                    </a:lnTo>
                    <a:lnTo>
                      <a:pt x="1400" y="2018"/>
                    </a:lnTo>
                    <a:lnTo>
                      <a:pt x="1383" y="2018"/>
                    </a:lnTo>
                    <a:lnTo>
                      <a:pt x="1360" y="2012"/>
                    </a:lnTo>
                    <a:lnTo>
                      <a:pt x="1360" y="2006"/>
                    </a:lnTo>
                    <a:lnTo>
                      <a:pt x="1349" y="2001"/>
                    </a:lnTo>
                    <a:lnTo>
                      <a:pt x="1338" y="2012"/>
                    </a:lnTo>
                    <a:lnTo>
                      <a:pt x="1321" y="2001"/>
                    </a:lnTo>
                    <a:lnTo>
                      <a:pt x="1304" y="2012"/>
                    </a:lnTo>
                    <a:lnTo>
                      <a:pt x="1304" y="2029"/>
                    </a:lnTo>
                    <a:lnTo>
                      <a:pt x="1287" y="2035"/>
                    </a:lnTo>
                    <a:lnTo>
                      <a:pt x="1281" y="2035"/>
                    </a:lnTo>
                    <a:lnTo>
                      <a:pt x="1270" y="2046"/>
                    </a:lnTo>
                    <a:lnTo>
                      <a:pt x="1264" y="2046"/>
                    </a:lnTo>
                    <a:lnTo>
                      <a:pt x="1247" y="2052"/>
                    </a:lnTo>
                    <a:lnTo>
                      <a:pt x="1236" y="2046"/>
                    </a:lnTo>
                    <a:lnTo>
                      <a:pt x="1236" y="2057"/>
                    </a:lnTo>
                    <a:lnTo>
                      <a:pt x="1230" y="2063"/>
                    </a:lnTo>
                    <a:lnTo>
                      <a:pt x="1224" y="2069"/>
                    </a:lnTo>
                    <a:lnTo>
                      <a:pt x="1213" y="2074"/>
                    </a:lnTo>
                    <a:lnTo>
                      <a:pt x="1207" y="2086"/>
                    </a:lnTo>
                    <a:lnTo>
                      <a:pt x="1196" y="2103"/>
                    </a:lnTo>
                    <a:lnTo>
                      <a:pt x="1202" y="2114"/>
                    </a:lnTo>
                    <a:lnTo>
                      <a:pt x="1162" y="2125"/>
                    </a:lnTo>
                    <a:lnTo>
                      <a:pt x="1151" y="2120"/>
                    </a:lnTo>
                    <a:lnTo>
                      <a:pt x="1117" y="2131"/>
                    </a:lnTo>
                    <a:lnTo>
                      <a:pt x="1105" y="2137"/>
                    </a:lnTo>
                    <a:lnTo>
                      <a:pt x="1105" y="2142"/>
                    </a:lnTo>
                    <a:lnTo>
                      <a:pt x="1111" y="2148"/>
                    </a:lnTo>
                    <a:lnTo>
                      <a:pt x="1111" y="2165"/>
                    </a:lnTo>
                    <a:lnTo>
                      <a:pt x="1105" y="2188"/>
                    </a:lnTo>
                    <a:lnTo>
                      <a:pt x="1088" y="2193"/>
                    </a:lnTo>
                    <a:lnTo>
                      <a:pt x="1083" y="2199"/>
                    </a:lnTo>
                    <a:lnTo>
                      <a:pt x="1066" y="2199"/>
                    </a:lnTo>
                    <a:lnTo>
                      <a:pt x="1054" y="2199"/>
                    </a:lnTo>
                    <a:lnTo>
                      <a:pt x="1043" y="2188"/>
                    </a:lnTo>
                    <a:lnTo>
                      <a:pt x="1026" y="2199"/>
                    </a:lnTo>
                    <a:lnTo>
                      <a:pt x="1009" y="2199"/>
                    </a:lnTo>
                    <a:lnTo>
                      <a:pt x="998" y="2193"/>
                    </a:lnTo>
                    <a:lnTo>
                      <a:pt x="986" y="2193"/>
                    </a:lnTo>
                    <a:lnTo>
                      <a:pt x="986" y="2182"/>
                    </a:lnTo>
                    <a:lnTo>
                      <a:pt x="981" y="2176"/>
                    </a:lnTo>
                    <a:lnTo>
                      <a:pt x="969" y="2159"/>
                    </a:lnTo>
                    <a:lnTo>
                      <a:pt x="958" y="2159"/>
                    </a:lnTo>
                    <a:lnTo>
                      <a:pt x="952" y="2159"/>
                    </a:lnTo>
                    <a:lnTo>
                      <a:pt x="947" y="2154"/>
                    </a:lnTo>
                    <a:lnTo>
                      <a:pt x="947" y="2131"/>
                    </a:lnTo>
                    <a:lnTo>
                      <a:pt x="941" y="2125"/>
                    </a:lnTo>
                    <a:lnTo>
                      <a:pt x="930" y="2120"/>
                    </a:lnTo>
                    <a:lnTo>
                      <a:pt x="924" y="2086"/>
                    </a:lnTo>
                    <a:lnTo>
                      <a:pt x="918" y="2069"/>
                    </a:lnTo>
                    <a:lnTo>
                      <a:pt x="918" y="2052"/>
                    </a:lnTo>
                    <a:lnTo>
                      <a:pt x="930" y="2057"/>
                    </a:lnTo>
                    <a:lnTo>
                      <a:pt x="941" y="2052"/>
                    </a:lnTo>
                    <a:lnTo>
                      <a:pt x="935" y="2040"/>
                    </a:lnTo>
                    <a:lnTo>
                      <a:pt x="958" y="2029"/>
                    </a:lnTo>
                    <a:lnTo>
                      <a:pt x="964" y="2029"/>
                    </a:lnTo>
                    <a:lnTo>
                      <a:pt x="958" y="2012"/>
                    </a:lnTo>
                    <a:lnTo>
                      <a:pt x="952" y="2006"/>
                    </a:lnTo>
                    <a:lnTo>
                      <a:pt x="952" y="2001"/>
                    </a:lnTo>
                    <a:lnTo>
                      <a:pt x="947" y="1995"/>
                    </a:lnTo>
                    <a:lnTo>
                      <a:pt x="941" y="2001"/>
                    </a:lnTo>
                    <a:lnTo>
                      <a:pt x="930" y="2006"/>
                    </a:lnTo>
                    <a:lnTo>
                      <a:pt x="924" y="2018"/>
                    </a:lnTo>
                    <a:lnTo>
                      <a:pt x="913" y="2018"/>
                    </a:lnTo>
                    <a:lnTo>
                      <a:pt x="907" y="2029"/>
                    </a:lnTo>
                    <a:lnTo>
                      <a:pt x="879" y="2052"/>
                    </a:lnTo>
                    <a:lnTo>
                      <a:pt x="862" y="2052"/>
                    </a:lnTo>
                    <a:lnTo>
                      <a:pt x="862" y="2046"/>
                    </a:lnTo>
                    <a:lnTo>
                      <a:pt x="850" y="2046"/>
                    </a:lnTo>
                    <a:lnTo>
                      <a:pt x="845" y="2052"/>
                    </a:lnTo>
                    <a:lnTo>
                      <a:pt x="833" y="2063"/>
                    </a:lnTo>
                    <a:lnTo>
                      <a:pt x="828" y="2057"/>
                    </a:lnTo>
                    <a:lnTo>
                      <a:pt x="822" y="2063"/>
                    </a:lnTo>
                    <a:lnTo>
                      <a:pt x="822" y="2069"/>
                    </a:lnTo>
                    <a:lnTo>
                      <a:pt x="810" y="2074"/>
                    </a:lnTo>
                    <a:lnTo>
                      <a:pt x="805" y="2063"/>
                    </a:lnTo>
                    <a:lnTo>
                      <a:pt x="799" y="2069"/>
                    </a:lnTo>
                    <a:lnTo>
                      <a:pt x="799" y="2080"/>
                    </a:lnTo>
                    <a:lnTo>
                      <a:pt x="788" y="2097"/>
                    </a:lnTo>
                    <a:lnTo>
                      <a:pt x="788" y="2103"/>
                    </a:lnTo>
                    <a:lnTo>
                      <a:pt x="793" y="2108"/>
                    </a:lnTo>
                    <a:lnTo>
                      <a:pt x="793" y="2114"/>
                    </a:lnTo>
                    <a:lnTo>
                      <a:pt x="776" y="2125"/>
                    </a:lnTo>
                    <a:lnTo>
                      <a:pt x="765" y="2108"/>
                    </a:lnTo>
                    <a:lnTo>
                      <a:pt x="771" y="2074"/>
                    </a:lnTo>
                    <a:lnTo>
                      <a:pt x="765" y="2074"/>
                    </a:lnTo>
                    <a:lnTo>
                      <a:pt x="765" y="2069"/>
                    </a:lnTo>
                    <a:lnTo>
                      <a:pt x="759" y="2063"/>
                    </a:lnTo>
                    <a:lnTo>
                      <a:pt x="759" y="2057"/>
                    </a:lnTo>
                    <a:lnTo>
                      <a:pt x="754" y="2057"/>
                    </a:lnTo>
                    <a:lnTo>
                      <a:pt x="754" y="2052"/>
                    </a:lnTo>
                    <a:lnTo>
                      <a:pt x="748" y="2046"/>
                    </a:lnTo>
                    <a:lnTo>
                      <a:pt x="742" y="2029"/>
                    </a:lnTo>
                    <a:lnTo>
                      <a:pt x="754" y="2023"/>
                    </a:lnTo>
                    <a:lnTo>
                      <a:pt x="771" y="2018"/>
                    </a:lnTo>
                    <a:lnTo>
                      <a:pt x="771" y="2012"/>
                    </a:lnTo>
                    <a:lnTo>
                      <a:pt x="771" y="2006"/>
                    </a:lnTo>
                    <a:lnTo>
                      <a:pt x="771" y="2001"/>
                    </a:lnTo>
                    <a:lnTo>
                      <a:pt x="765" y="1995"/>
                    </a:lnTo>
                    <a:lnTo>
                      <a:pt x="765" y="1989"/>
                    </a:lnTo>
                    <a:lnTo>
                      <a:pt x="765" y="1984"/>
                    </a:lnTo>
                    <a:lnTo>
                      <a:pt x="765" y="1978"/>
                    </a:lnTo>
                    <a:lnTo>
                      <a:pt x="771" y="1972"/>
                    </a:lnTo>
                    <a:lnTo>
                      <a:pt x="765" y="1972"/>
                    </a:lnTo>
                    <a:lnTo>
                      <a:pt x="759" y="1972"/>
                    </a:lnTo>
                    <a:lnTo>
                      <a:pt x="759" y="1967"/>
                    </a:lnTo>
                    <a:lnTo>
                      <a:pt x="754" y="1967"/>
                    </a:lnTo>
                    <a:lnTo>
                      <a:pt x="754" y="1961"/>
                    </a:lnTo>
                    <a:lnTo>
                      <a:pt x="748" y="1961"/>
                    </a:lnTo>
                    <a:lnTo>
                      <a:pt x="742" y="1961"/>
                    </a:lnTo>
                    <a:lnTo>
                      <a:pt x="737" y="1961"/>
                    </a:lnTo>
                    <a:lnTo>
                      <a:pt x="731" y="1955"/>
                    </a:lnTo>
                    <a:lnTo>
                      <a:pt x="731" y="1961"/>
                    </a:lnTo>
                    <a:lnTo>
                      <a:pt x="725" y="1955"/>
                    </a:lnTo>
                    <a:lnTo>
                      <a:pt x="725" y="1950"/>
                    </a:lnTo>
                    <a:lnTo>
                      <a:pt x="720" y="1944"/>
                    </a:lnTo>
                    <a:lnTo>
                      <a:pt x="714" y="1938"/>
                    </a:lnTo>
                    <a:lnTo>
                      <a:pt x="708" y="1938"/>
                    </a:lnTo>
                    <a:lnTo>
                      <a:pt x="708" y="1933"/>
                    </a:lnTo>
                    <a:lnTo>
                      <a:pt x="708" y="1927"/>
                    </a:lnTo>
                    <a:lnTo>
                      <a:pt x="714" y="1921"/>
                    </a:lnTo>
                    <a:lnTo>
                      <a:pt x="714" y="1916"/>
                    </a:lnTo>
                    <a:lnTo>
                      <a:pt x="691" y="1933"/>
                    </a:lnTo>
                    <a:lnTo>
                      <a:pt x="691" y="1927"/>
                    </a:lnTo>
                    <a:lnTo>
                      <a:pt x="686" y="1927"/>
                    </a:lnTo>
                    <a:lnTo>
                      <a:pt x="680" y="1927"/>
                    </a:lnTo>
                    <a:lnTo>
                      <a:pt x="674" y="1927"/>
                    </a:lnTo>
                    <a:lnTo>
                      <a:pt x="674" y="1921"/>
                    </a:lnTo>
                    <a:lnTo>
                      <a:pt x="669" y="1921"/>
                    </a:lnTo>
                    <a:lnTo>
                      <a:pt x="663" y="1921"/>
                    </a:lnTo>
                    <a:lnTo>
                      <a:pt x="657" y="1921"/>
                    </a:lnTo>
                    <a:lnTo>
                      <a:pt x="652" y="1921"/>
                    </a:lnTo>
                    <a:lnTo>
                      <a:pt x="652" y="1904"/>
                    </a:lnTo>
                    <a:lnTo>
                      <a:pt x="663" y="1893"/>
                    </a:lnTo>
                    <a:lnTo>
                      <a:pt x="663" y="1887"/>
                    </a:lnTo>
                    <a:lnTo>
                      <a:pt x="669" y="1882"/>
                    </a:lnTo>
                    <a:lnTo>
                      <a:pt x="669" y="1876"/>
                    </a:lnTo>
                    <a:lnTo>
                      <a:pt x="663" y="1870"/>
                    </a:lnTo>
                    <a:lnTo>
                      <a:pt x="657" y="1853"/>
                    </a:lnTo>
                    <a:lnTo>
                      <a:pt x="663" y="1853"/>
                    </a:lnTo>
                    <a:lnTo>
                      <a:pt x="663" y="1836"/>
                    </a:lnTo>
                    <a:lnTo>
                      <a:pt x="669" y="1836"/>
                    </a:lnTo>
                    <a:lnTo>
                      <a:pt x="663" y="1831"/>
                    </a:lnTo>
                    <a:lnTo>
                      <a:pt x="657" y="1825"/>
                    </a:lnTo>
                    <a:lnTo>
                      <a:pt x="663" y="1819"/>
                    </a:lnTo>
                    <a:lnTo>
                      <a:pt x="646" y="1814"/>
                    </a:lnTo>
                    <a:lnTo>
                      <a:pt x="652" y="1797"/>
                    </a:lnTo>
                    <a:lnTo>
                      <a:pt x="652" y="1780"/>
                    </a:lnTo>
                    <a:lnTo>
                      <a:pt x="640" y="1768"/>
                    </a:lnTo>
                    <a:lnTo>
                      <a:pt x="652" y="1757"/>
                    </a:lnTo>
                    <a:lnTo>
                      <a:pt x="635" y="1751"/>
                    </a:lnTo>
                    <a:lnTo>
                      <a:pt x="629" y="1740"/>
                    </a:lnTo>
                    <a:lnTo>
                      <a:pt x="635" y="1712"/>
                    </a:lnTo>
                    <a:lnTo>
                      <a:pt x="618" y="1689"/>
                    </a:lnTo>
                    <a:lnTo>
                      <a:pt x="623" y="1672"/>
                    </a:lnTo>
                    <a:lnTo>
                      <a:pt x="640" y="1661"/>
                    </a:lnTo>
                    <a:lnTo>
                      <a:pt x="618" y="1649"/>
                    </a:lnTo>
                    <a:lnTo>
                      <a:pt x="640" y="1644"/>
                    </a:lnTo>
                    <a:lnTo>
                      <a:pt x="635" y="1604"/>
                    </a:lnTo>
                    <a:lnTo>
                      <a:pt x="612" y="1604"/>
                    </a:lnTo>
                    <a:lnTo>
                      <a:pt x="589" y="1587"/>
                    </a:lnTo>
                    <a:lnTo>
                      <a:pt x="595" y="1576"/>
                    </a:lnTo>
                    <a:lnTo>
                      <a:pt x="584" y="1564"/>
                    </a:lnTo>
                    <a:lnTo>
                      <a:pt x="561" y="1559"/>
                    </a:lnTo>
                    <a:lnTo>
                      <a:pt x="538" y="1525"/>
                    </a:lnTo>
                    <a:lnTo>
                      <a:pt x="516" y="1530"/>
                    </a:lnTo>
                    <a:lnTo>
                      <a:pt x="516" y="1547"/>
                    </a:lnTo>
                    <a:lnTo>
                      <a:pt x="521" y="1564"/>
                    </a:lnTo>
                    <a:lnTo>
                      <a:pt x="493" y="1530"/>
                    </a:lnTo>
                    <a:lnTo>
                      <a:pt x="493" y="1547"/>
                    </a:lnTo>
                    <a:lnTo>
                      <a:pt x="487" y="1564"/>
                    </a:lnTo>
                    <a:lnTo>
                      <a:pt x="482" y="1587"/>
                    </a:lnTo>
                    <a:lnTo>
                      <a:pt x="470" y="1610"/>
                    </a:lnTo>
                    <a:lnTo>
                      <a:pt x="453" y="1627"/>
                    </a:lnTo>
                    <a:lnTo>
                      <a:pt x="442" y="1627"/>
                    </a:lnTo>
                    <a:lnTo>
                      <a:pt x="431" y="1638"/>
                    </a:lnTo>
                    <a:lnTo>
                      <a:pt x="414" y="1627"/>
                    </a:lnTo>
                    <a:lnTo>
                      <a:pt x="408" y="1621"/>
                    </a:lnTo>
                    <a:lnTo>
                      <a:pt x="402" y="1621"/>
                    </a:lnTo>
                    <a:lnTo>
                      <a:pt x="397" y="1621"/>
                    </a:lnTo>
                    <a:lnTo>
                      <a:pt x="385" y="1621"/>
                    </a:lnTo>
                    <a:lnTo>
                      <a:pt x="385" y="1655"/>
                    </a:lnTo>
                    <a:lnTo>
                      <a:pt x="351" y="1661"/>
                    </a:lnTo>
                    <a:lnTo>
                      <a:pt x="363" y="1678"/>
                    </a:lnTo>
                    <a:lnTo>
                      <a:pt x="334" y="1700"/>
                    </a:lnTo>
                    <a:lnTo>
                      <a:pt x="340" y="1723"/>
                    </a:lnTo>
                    <a:lnTo>
                      <a:pt x="323" y="1717"/>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57" name="Freeform 9"/>
              <p:cNvSpPr>
                <a:spLocks/>
              </p:cNvSpPr>
              <p:nvPr>
                <p:custDataLst>
                  <p:tags r:id="rId7"/>
                </p:custDataLst>
              </p:nvPr>
            </p:nvSpPr>
            <p:spPr bwMode="gray">
              <a:xfrm>
                <a:off x="2080963" y="2370095"/>
                <a:ext cx="1256758" cy="944555"/>
              </a:xfrm>
              <a:custGeom>
                <a:avLst/>
                <a:gdLst>
                  <a:gd name="T0" fmla="*/ 63219 w 1445"/>
                  <a:gd name="T1" fmla="*/ 283126 h 1083"/>
                  <a:gd name="T2" fmla="*/ 49321 w 1445"/>
                  <a:gd name="T3" fmla="*/ 270852 h 1083"/>
                  <a:gd name="T4" fmla="*/ 40057 w 1445"/>
                  <a:gd name="T5" fmla="*/ 261578 h 1083"/>
                  <a:gd name="T6" fmla="*/ 29157 w 1445"/>
                  <a:gd name="T7" fmla="*/ 244394 h 1083"/>
                  <a:gd name="T8" fmla="*/ 16895 w 1445"/>
                  <a:gd name="T9" fmla="*/ 238121 h 1083"/>
                  <a:gd name="T10" fmla="*/ 1363 w 1445"/>
                  <a:gd name="T11" fmla="*/ 225846 h 1083"/>
                  <a:gd name="T12" fmla="*/ 38422 w 1445"/>
                  <a:gd name="T13" fmla="*/ 134744 h 1083"/>
                  <a:gd name="T14" fmla="*/ 56951 w 1445"/>
                  <a:gd name="T15" fmla="*/ 99013 h 1083"/>
                  <a:gd name="T16" fmla="*/ 70848 w 1445"/>
                  <a:gd name="T17" fmla="*/ 83738 h 1083"/>
                  <a:gd name="T18" fmla="*/ 88015 w 1445"/>
                  <a:gd name="T19" fmla="*/ 75828 h 1083"/>
                  <a:gd name="T20" fmla="*/ 111177 w 1445"/>
                  <a:gd name="T21" fmla="*/ 69827 h 1083"/>
                  <a:gd name="T22" fmla="*/ 128073 w 1445"/>
                  <a:gd name="T23" fmla="*/ 68191 h 1083"/>
                  <a:gd name="T24" fmla="*/ 141970 w 1445"/>
                  <a:gd name="T25" fmla="*/ 55916 h 1083"/>
                  <a:gd name="T26" fmla="*/ 159137 w 1445"/>
                  <a:gd name="T27" fmla="*/ 52643 h 1083"/>
                  <a:gd name="T28" fmla="*/ 157502 w 1445"/>
                  <a:gd name="T29" fmla="*/ 40369 h 1083"/>
                  <a:gd name="T30" fmla="*/ 163769 w 1445"/>
                  <a:gd name="T31" fmla="*/ 31095 h 1083"/>
                  <a:gd name="T32" fmla="*/ 174397 w 1445"/>
                  <a:gd name="T33" fmla="*/ 24822 h 1083"/>
                  <a:gd name="T34" fmla="*/ 191564 w 1445"/>
                  <a:gd name="T35" fmla="*/ 21821 h 1083"/>
                  <a:gd name="T36" fmla="*/ 205461 w 1445"/>
                  <a:gd name="T37" fmla="*/ 20185 h 1083"/>
                  <a:gd name="T38" fmla="*/ 217723 w 1445"/>
                  <a:gd name="T39" fmla="*/ 14183 h 1083"/>
                  <a:gd name="T40" fmla="*/ 233255 w 1445"/>
                  <a:gd name="T41" fmla="*/ 10910 h 1083"/>
                  <a:gd name="T42" fmla="*/ 245517 w 1445"/>
                  <a:gd name="T43" fmla="*/ 6273 h 1083"/>
                  <a:gd name="T44" fmla="*/ 261049 w 1445"/>
                  <a:gd name="T45" fmla="*/ 3273 h 1083"/>
                  <a:gd name="T46" fmla="*/ 270314 w 1445"/>
                  <a:gd name="T47" fmla="*/ 9547 h 1083"/>
                  <a:gd name="T48" fmla="*/ 285574 w 1445"/>
                  <a:gd name="T49" fmla="*/ 17184 h 1083"/>
                  <a:gd name="T50" fmla="*/ 301106 w 1445"/>
                  <a:gd name="T51" fmla="*/ 21821 h 1083"/>
                  <a:gd name="T52" fmla="*/ 312006 w 1445"/>
                  <a:gd name="T53" fmla="*/ 24822 h 1083"/>
                  <a:gd name="T54" fmla="*/ 322633 w 1445"/>
                  <a:gd name="T55" fmla="*/ 24822 h 1083"/>
                  <a:gd name="T56" fmla="*/ 341163 w 1445"/>
                  <a:gd name="T57" fmla="*/ 24822 h 1083"/>
                  <a:gd name="T58" fmla="*/ 355060 w 1445"/>
                  <a:gd name="T59" fmla="*/ 37368 h 1083"/>
                  <a:gd name="T60" fmla="*/ 370593 w 1445"/>
                  <a:gd name="T61" fmla="*/ 46642 h 1083"/>
                  <a:gd name="T62" fmla="*/ 387487 w 1445"/>
                  <a:gd name="T63" fmla="*/ 57280 h 1083"/>
                  <a:gd name="T64" fmla="*/ 387487 w 1445"/>
                  <a:gd name="T65" fmla="*/ 80465 h 1083"/>
                  <a:gd name="T66" fmla="*/ 382854 w 1445"/>
                  <a:gd name="T67" fmla="*/ 105286 h 1083"/>
                  <a:gd name="T68" fmla="*/ 359692 w 1445"/>
                  <a:gd name="T69" fmla="*/ 125470 h 1083"/>
                  <a:gd name="T70" fmla="*/ 331898 w 1445"/>
                  <a:gd name="T71" fmla="*/ 139381 h 1083"/>
                  <a:gd name="T72" fmla="*/ 313368 w 1445"/>
                  <a:gd name="T73" fmla="*/ 147018 h 1083"/>
                  <a:gd name="T74" fmla="*/ 296474 w 1445"/>
                  <a:gd name="T75" fmla="*/ 142382 h 1083"/>
                  <a:gd name="T76" fmla="*/ 279579 w 1445"/>
                  <a:gd name="T77" fmla="*/ 148655 h 1083"/>
                  <a:gd name="T78" fmla="*/ 268679 w 1445"/>
                  <a:gd name="T79" fmla="*/ 156292 h 1083"/>
                  <a:gd name="T80" fmla="*/ 259415 w 1445"/>
                  <a:gd name="T81" fmla="*/ 160929 h 1083"/>
                  <a:gd name="T82" fmla="*/ 245517 w 1445"/>
                  <a:gd name="T83" fmla="*/ 163930 h 1083"/>
                  <a:gd name="T84" fmla="*/ 239250 w 1445"/>
                  <a:gd name="T85" fmla="*/ 174840 h 1083"/>
                  <a:gd name="T86" fmla="*/ 234618 w 1445"/>
                  <a:gd name="T87" fmla="*/ 182477 h 1083"/>
                  <a:gd name="T88" fmla="*/ 222355 w 1445"/>
                  <a:gd name="T89" fmla="*/ 193388 h 1083"/>
                  <a:gd name="T90" fmla="*/ 214726 w 1445"/>
                  <a:gd name="T91" fmla="*/ 205662 h 1083"/>
                  <a:gd name="T92" fmla="*/ 200828 w 1445"/>
                  <a:gd name="T93" fmla="*/ 211936 h 1083"/>
                  <a:gd name="T94" fmla="*/ 196196 w 1445"/>
                  <a:gd name="T95" fmla="*/ 224210 h 1083"/>
                  <a:gd name="T96" fmla="*/ 208458 w 1445"/>
                  <a:gd name="T97" fmla="*/ 249031 h 1083"/>
                  <a:gd name="T98" fmla="*/ 213091 w 1445"/>
                  <a:gd name="T99" fmla="*/ 262942 h 1083"/>
                  <a:gd name="T100" fmla="*/ 214726 w 1445"/>
                  <a:gd name="T101" fmla="*/ 273852 h 1083"/>
                  <a:gd name="T102" fmla="*/ 208458 w 1445"/>
                  <a:gd name="T103" fmla="*/ 280126 h 1083"/>
                  <a:gd name="T104" fmla="*/ 196196 w 1445"/>
                  <a:gd name="T105" fmla="*/ 283126 h 1083"/>
                  <a:gd name="T106" fmla="*/ 183661 w 1445"/>
                  <a:gd name="T107" fmla="*/ 287763 h 1083"/>
                  <a:gd name="T108" fmla="*/ 168402 w 1445"/>
                  <a:gd name="T109" fmla="*/ 292400 h 1083"/>
                  <a:gd name="T110" fmla="*/ 155867 w 1445"/>
                  <a:gd name="T111" fmla="*/ 292400 h 1083"/>
                  <a:gd name="T112" fmla="*/ 135702 w 1445"/>
                  <a:gd name="T113" fmla="*/ 287763 h 1083"/>
                  <a:gd name="T114" fmla="*/ 126437 w 1445"/>
                  <a:gd name="T115" fmla="*/ 283126 h 1083"/>
                  <a:gd name="T116" fmla="*/ 111177 w 1445"/>
                  <a:gd name="T117" fmla="*/ 286127 h 1083"/>
                  <a:gd name="T118" fmla="*/ 101913 w 1445"/>
                  <a:gd name="T119" fmla="*/ 290764 h 1083"/>
                  <a:gd name="T120" fmla="*/ 88015 w 1445"/>
                  <a:gd name="T121" fmla="*/ 289400 h 108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45" h="1083">
                    <a:moveTo>
                      <a:pt x="277" y="1061"/>
                    </a:moveTo>
                    <a:lnTo>
                      <a:pt x="272" y="1055"/>
                    </a:lnTo>
                    <a:lnTo>
                      <a:pt x="272" y="1049"/>
                    </a:lnTo>
                    <a:lnTo>
                      <a:pt x="266" y="1049"/>
                    </a:lnTo>
                    <a:lnTo>
                      <a:pt x="260" y="1049"/>
                    </a:lnTo>
                    <a:lnTo>
                      <a:pt x="255" y="1044"/>
                    </a:lnTo>
                    <a:lnTo>
                      <a:pt x="255" y="1049"/>
                    </a:lnTo>
                    <a:lnTo>
                      <a:pt x="249" y="1049"/>
                    </a:lnTo>
                    <a:lnTo>
                      <a:pt x="249" y="1044"/>
                    </a:lnTo>
                    <a:lnTo>
                      <a:pt x="249" y="1049"/>
                    </a:lnTo>
                    <a:lnTo>
                      <a:pt x="243" y="1049"/>
                    </a:lnTo>
                    <a:lnTo>
                      <a:pt x="238" y="1049"/>
                    </a:lnTo>
                    <a:lnTo>
                      <a:pt x="238" y="1044"/>
                    </a:lnTo>
                    <a:lnTo>
                      <a:pt x="232" y="1038"/>
                    </a:lnTo>
                    <a:lnTo>
                      <a:pt x="226" y="1038"/>
                    </a:lnTo>
                    <a:lnTo>
                      <a:pt x="226" y="1032"/>
                    </a:lnTo>
                    <a:lnTo>
                      <a:pt x="221" y="1032"/>
                    </a:lnTo>
                    <a:lnTo>
                      <a:pt x="215" y="1032"/>
                    </a:lnTo>
                    <a:lnTo>
                      <a:pt x="209" y="1027"/>
                    </a:lnTo>
                    <a:lnTo>
                      <a:pt x="204" y="1021"/>
                    </a:lnTo>
                    <a:lnTo>
                      <a:pt x="204" y="1015"/>
                    </a:lnTo>
                    <a:lnTo>
                      <a:pt x="204" y="1010"/>
                    </a:lnTo>
                    <a:lnTo>
                      <a:pt x="198" y="1010"/>
                    </a:lnTo>
                    <a:lnTo>
                      <a:pt x="192" y="1010"/>
                    </a:lnTo>
                    <a:lnTo>
                      <a:pt x="192" y="1004"/>
                    </a:lnTo>
                    <a:lnTo>
                      <a:pt x="187" y="998"/>
                    </a:lnTo>
                    <a:lnTo>
                      <a:pt x="187" y="993"/>
                    </a:lnTo>
                    <a:lnTo>
                      <a:pt x="181" y="993"/>
                    </a:lnTo>
                    <a:lnTo>
                      <a:pt x="175" y="993"/>
                    </a:lnTo>
                    <a:lnTo>
                      <a:pt x="170" y="993"/>
                    </a:lnTo>
                    <a:lnTo>
                      <a:pt x="175" y="987"/>
                    </a:lnTo>
                    <a:lnTo>
                      <a:pt x="175" y="981"/>
                    </a:lnTo>
                    <a:lnTo>
                      <a:pt x="175" y="976"/>
                    </a:lnTo>
                    <a:lnTo>
                      <a:pt x="175" y="970"/>
                    </a:lnTo>
                    <a:lnTo>
                      <a:pt x="170" y="970"/>
                    </a:lnTo>
                    <a:lnTo>
                      <a:pt x="170" y="976"/>
                    </a:lnTo>
                    <a:lnTo>
                      <a:pt x="164" y="976"/>
                    </a:lnTo>
                    <a:lnTo>
                      <a:pt x="158" y="970"/>
                    </a:lnTo>
                    <a:lnTo>
                      <a:pt x="153" y="970"/>
                    </a:lnTo>
                    <a:lnTo>
                      <a:pt x="153" y="964"/>
                    </a:lnTo>
                    <a:lnTo>
                      <a:pt x="153" y="959"/>
                    </a:lnTo>
                    <a:lnTo>
                      <a:pt x="147" y="959"/>
                    </a:lnTo>
                    <a:lnTo>
                      <a:pt x="147" y="953"/>
                    </a:lnTo>
                    <a:lnTo>
                      <a:pt x="141" y="953"/>
                    </a:lnTo>
                    <a:lnTo>
                      <a:pt x="136" y="947"/>
                    </a:lnTo>
                    <a:lnTo>
                      <a:pt x="136" y="941"/>
                    </a:lnTo>
                    <a:lnTo>
                      <a:pt x="136" y="936"/>
                    </a:lnTo>
                    <a:lnTo>
                      <a:pt x="124" y="930"/>
                    </a:lnTo>
                    <a:lnTo>
                      <a:pt x="119" y="924"/>
                    </a:lnTo>
                    <a:lnTo>
                      <a:pt x="124" y="919"/>
                    </a:lnTo>
                    <a:lnTo>
                      <a:pt x="124" y="913"/>
                    </a:lnTo>
                    <a:lnTo>
                      <a:pt x="119" y="913"/>
                    </a:lnTo>
                    <a:lnTo>
                      <a:pt x="113" y="913"/>
                    </a:lnTo>
                    <a:lnTo>
                      <a:pt x="113" y="902"/>
                    </a:lnTo>
                    <a:lnTo>
                      <a:pt x="113" y="896"/>
                    </a:lnTo>
                    <a:lnTo>
                      <a:pt x="107" y="896"/>
                    </a:lnTo>
                    <a:lnTo>
                      <a:pt x="102" y="896"/>
                    </a:lnTo>
                    <a:lnTo>
                      <a:pt x="102" y="890"/>
                    </a:lnTo>
                    <a:lnTo>
                      <a:pt x="96" y="890"/>
                    </a:lnTo>
                    <a:lnTo>
                      <a:pt x="96" y="896"/>
                    </a:lnTo>
                    <a:lnTo>
                      <a:pt x="90" y="896"/>
                    </a:lnTo>
                    <a:lnTo>
                      <a:pt x="85" y="896"/>
                    </a:lnTo>
                    <a:lnTo>
                      <a:pt x="85" y="890"/>
                    </a:lnTo>
                    <a:lnTo>
                      <a:pt x="79" y="890"/>
                    </a:lnTo>
                    <a:lnTo>
                      <a:pt x="79" y="885"/>
                    </a:lnTo>
                    <a:lnTo>
                      <a:pt x="79" y="879"/>
                    </a:lnTo>
                    <a:lnTo>
                      <a:pt x="79" y="873"/>
                    </a:lnTo>
                    <a:lnTo>
                      <a:pt x="73" y="873"/>
                    </a:lnTo>
                    <a:lnTo>
                      <a:pt x="68" y="873"/>
                    </a:lnTo>
                    <a:lnTo>
                      <a:pt x="62" y="873"/>
                    </a:lnTo>
                    <a:lnTo>
                      <a:pt x="56" y="868"/>
                    </a:lnTo>
                    <a:lnTo>
                      <a:pt x="51" y="868"/>
                    </a:lnTo>
                    <a:lnTo>
                      <a:pt x="51" y="862"/>
                    </a:lnTo>
                    <a:lnTo>
                      <a:pt x="51" y="856"/>
                    </a:lnTo>
                    <a:lnTo>
                      <a:pt x="39" y="856"/>
                    </a:lnTo>
                    <a:lnTo>
                      <a:pt x="34" y="851"/>
                    </a:lnTo>
                    <a:lnTo>
                      <a:pt x="34" y="845"/>
                    </a:lnTo>
                    <a:lnTo>
                      <a:pt x="28" y="845"/>
                    </a:lnTo>
                    <a:lnTo>
                      <a:pt x="22" y="845"/>
                    </a:lnTo>
                    <a:lnTo>
                      <a:pt x="17" y="845"/>
                    </a:lnTo>
                    <a:lnTo>
                      <a:pt x="17" y="839"/>
                    </a:lnTo>
                    <a:lnTo>
                      <a:pt x="11" y="839"/>
                    </a:lnTo>
                    <a:lnTo>
                      <a:pt x="11" y="834"/>
                    </a:lnTo>
                    <a:lnTo>
                      <a:pt x="5" y="828"/>
                    </a:lnTo>
                    <a:lnTo>
                      <a:pt x="5" y="822"/>
                    </a:lnTo>
                    <a:lnTo>
                      <a:pt x="0" y="822"/>
                    </a:lnTo>
                    <a:lnTo>
                      <a:pt x="0" y="817"/>
                    </a:lnTo>
                    <a:lnTo>
                      <a:pt x="0" y="811"/>
                    </a:lnTo>
                    <a:lnTo>
                      <a:pt x="0" y="805"/>
                    </a:lnTo>
                    <a:lnTo>
                      <a:pt x="22" y="754"/>
                    </a:lnTo>
                    <a:lnTo>
                      <a:pt x="85" y="647"/>
                    </a:lnTo>
                    <a:lnTo>
                      <a:pt x="85" y="641"/>
                    </a:lnTo>
                    <a:lnTo>
                      <a:pt x="90" y="641"/>
                    </a:lnTo>
                    <a:lnTo>
                      <a:pt x="90" y="635"/>
                    </a:lnTo>
                    <a:lnTo>
                      <a:pt x="119" y="584"/>
                    </a:lnTo>
                    <a:lnTo>
                      <a:pt x="147" y="528"/>
                    </a:lnTo>
                    <a:lnTo>
                      <a:pt x="136" y="522"/>
                    </a:lnTo>
                    <a:lnTo>
                      <a:pt x="141" y="494"/>
                    </a:lnTo>
                    <a:lnTo>
                      <a:pt x="141" y="488"/>
                    </a:lnTo>
                    <a:lnTo>
                      <a:pt x="141" y="482"/>
                    </a:lnTo>
                    <a:lnTo>
                      <a:pt x="153" y="477"/>
                    </a:lnTo>
                    <a:lnTo>
                      <a:pt x="158" y="443"/>
                    </a:lnTo>
                    <a:lnTo>
                      <a:pt x="153" y="431"/>
                    </a:lnTo>
                    <a:lnTo>
                      <a:pt x="158" y="431"/>
                    </a:lnTo>
                    <a:lnTo>
                      <a:pt x="164" y="426"/>
                    </a:lnTo>
                    <a:lnTo>
                      <a:pt x="170" y="420"/>
                    </a:lnTo>
                    <a:lnTo>
                      <a:pt x="187" y="392"/>
                    </a:lnTo>
                    <a:lnTo>
                      <a:pt x="181" y="380"/>
                    </a:lnTo>
                    <a:lnTo>
                      <a:pt x="192" y="375"/>
                    </a:lnTo>
                    <a:lnTo>
                      <a:pt x="198" y="375"/>
                    </a:lnTo>
                    <a:lnTo>
                      <a:pt x="204" y="375"/>
                    </a:lnTo>
                    <a:lnTo>
                      <a:pt x="209" y="363"/>
                    </a:lnTo>
                    <a:lnTo>
                      <a:pt x="209" y="352"/>
                    </a:lnTo>
                    <a:lnTo>
                      <a:pt x="221" y="346"/>
                    </a:lnTo>
                    <a:lnTo>
                      <a:pt x="221" y="341"/>
                    </a:lnTo>
                    <a:lnTo>
                      <a:pt x="226" y="341"/>
                    </a:lnTo>
                    <a:lnTo>
                      <a:pt x="232" y="335"/>
                    </a:lnTo>
                    <a:lnTo>
                      <a:pt x="238" y="335"/>
                    </a:lnTo>
                    <a:lnTo>
                      <a:pt x="238" y="329"/>
                    </a:lnTo>
                    <a:lnTo>
                      <a:pt x="243" y="329"/>
                    </a:lnTo>
                    <a:lnTo>
                      <a:pt x="249" y="324"/>
                    </a:lnTo>
                    <a:lnTo>
                      <a:pt x="255" y="324"/>
                    </a:lnTo>
                    <a:lnTo>
                      <a:pt x="255" y="318"/>
                    </a:lnTo>
                    <a:lnTo>
                      <a:pt x="249" y="318"/>
                    </a:lnTo>
                    <a:lnTo>
                      <a:pt x="255" y="312"/>
                    </a:lnTo>
                    <a:lnTo>
                      <a:pt x="260" y="307"/>
                    </a:lnTo>
                    <a:lnTo>
                      <a:pt x="266" y="307"/>
                    </a:lnTo>
                    <a:lnTo>
                      <a:pt x="272" y="307"/>
                    </a:lnTo>
                    <a:lnTo>
                      <a:pt x="272" y="301"/>
                    </a:lnTo>
                    <a:lnTo>
                      <a:pt x="277" y="301"/>
                    </a:lnTo>
                    <a:lnTo>
                      <a:pt x="277" y="295"/>
                    </a:lnTo>
                    <a:lnTo>
                      <a:pt x="283" y="295"/>
                    </a:lnTo>
                    <a:lnTo>
                      <a:pt x="283" y="290"/>
                    </a:lnTo>
                    <a:lnTo>
                      <a:pt x="289" y="290"/>
                    </a:lnTo>
                    <a:lnTo>
                      <a:pt x="294" y="284"/>
                    </a:lnTo>
                    <a:lnTo>
                      <a:pt x="300" y="284"/>
                    </a:lnTo>
                    <a:lnTo>
                      <a:pt x="306" y="278"/>
                    </a:lnTo>
                    <a:lnTo>
                      <a:pt x="311" y="278"/>
                    </a:lnTo>
                    <a:lnTo>
                      <a:pt x="317" y="278"/>
                    </a:lnTo>
                    <a:lnTo>
                      <a:pt x="323" y="278"/>
                    </a:lnTo>
                    <a:lnTo>
                      <a:pt x="328" y="278"/>
                    </a:lnTo>
                    <a:lnTo>
                      <a:pt x="328" y="273"/>
                    </a:lnTo>
                    <a:lnTo>
                      <a:pt x="334" y="273"/>
                    </a:lnTo>
                    <a:lnTo>
                      <a:pt x="334" y="267"/>
                    </a:lnTo>
                    <a:lnTo>
                      <a:pt x="345" y="267"/>
                    </a:lnTo>
                    <a:lnTo>
                      <a:pt x="351" y="273"/>
                    </a:lnTo>
                    <a:lnTo>
                      <a:pt x="357" y="273"/>
                    </a:lnTo>
                    <a:lnTo>
                      <a:pt x="362" y="267"/>
                    </a:lnTo>
                    <a:lnTo>
                      <a:pt x="368" y="261"/>
                    </a:lnTo>
                    <a:lnTo>
                      <a:pt x="379" y="256"/>
                    </a:lnTo>
                    <a:lnTo>
                      <a:pt x="396" y="244"/>
                    </a:lnTo>
                    <a:lnTo>
                      <a:pt x="402" y="244"/>
                    </a:lnTo>
                    <a:lnTo>
                      <a:pt x="408" y="244"/>
                    </a:lnTo>
                    <a:lnTo>
                      <a:pt x="408" y="256"/>
                    </a:lnTo>
                    <a:lnTo>
                      <a:pt x="413" y="256"/>
                    </a:lnTo>
                    <a:lnTo>
                      <a:pt x="419" y="256"/>
                    </a:lnTo>
                    <a:lnTo>
                      <a:pt x="430" y="256"/>
                    </a:lnTo>
                    <a:lnTo>
                      <a:pt x="436" y="256"/>
                    </a:lnTo>
                    <a:lnTo>
                      <a:pt x="447" y="261"/>
                    </a:lnTo>
                    <a:lnTo>
                      <a:pt x="453" y="278"/>
                    </a:lnTo>
                    <a:lnTo>
                      <a:pt x="453" y="284"/>
                    </a:lnTo>
                    <a:lnTo>
                      <a:pt x="459" y="284"/>
                    </a:lnTo>
                    <a:lnTo>
                      <a:pt x="464" y="284"/>
                    </a:lnTo>
                    <a:lnTo>
                      <a:pt x="464" y="278"/>
                    </a:lnTo>
                    <a:lnTo>
                      <a:pt x="470" y="278"/>
                    </a:lnTo>
                    <a:lnTo>
                      <a:pt x="464" y="278"/>
                    </a:lnTo>
                    <a:lnTo>
                      <a:pt x="464" y="267"/>
                    </a:lnTo>
                    <a:lnTo>
                      <a:pt x="470" y="250"/>
                    </a:lnTo>
                    <a:lnTo>
                      <a:pt x="476" y="250"/>
                    </a:lnTo>
                    <a:lnTo>
                      <a:pt x="476" y="244"/>
                    </a:lnTo>
                    <a:lnTo>
                      <a:pt x="481" y="244"/>
                    </a:lnTo>
                    <a:lnTo>
                      <a:pt x="487" y="239"/>
                    </a:lnTo>
                    <a:lnTo>
                      <a:pt x="493" y="233"/>
                    </a:lnTo>
                    <a:lnTo>
                      <a:pt x="498" y="233"/>
                    </a:lnTo>
                    <a:lnTo>
                      <a:pt x="498" y="227"/>
                    </a:lnTo>
                    <a:lnTo>
                      <a:pt x="504" y="227"/>
                    </a:lnTo>
                    <a:lnTo>
                      <a:pt x="510" y="227"/>
                    </a:lnTo>
                    <a:lnTo>
                      <a:pt x="510" y="222"/>
                    </a:lnTo>
                    <a:lnTo>
                      <a:pt x="510" y="216"/>
                    </a:lnTo>
                    <a:lnTo>
                      <a:pt x="510" y="210"/>
                    </a:lnTo>
                    <a:lnTo>
                      <a:pt x="515" y="205"/>
                    </a:lnTo>
                    <a:lnTo>
                      <a:pt x="521" y="205"/>
                    </a:lnTo>
                    <a:lnTo>
                      <a:pt x="521" y="199"/>
                    </a:lnTo>
                    <a:lnTo>
                      <a:pt x="527" y="199"/>
                    </a:lnTo>
                    <a:lnTo>
                      <a:pt x="532" y="199"/>
                    </a:lnTo>
                    <a:lnTo>
                      <a:pt x="532" y="205"/>
                    </a:lnTo>
                    <a:lnTo>
                      <a:pt x="538" y="205"/>
                    </a:lnTo>
                    <a:lnTo>
                      <a:pt x="538" y="199"/>
                    </a:lnTo>
                    <a:lnTo>
                      <a:pt x="544" y="193"/>
                    </a:lnTo>
                    <a:lnTo>
                      <a:pt x="555" y="193"/>
                    </a:lnTo>
                    <a:lnTo>
                      <a:pt x="561" y="199"/>
                    </a:lnTo>
                    <a:lnTo>
                      <a:pt x="567" y="199"/>
                    </a:lnTo>
                    <a:lnTo>
                      <a:pt x="567" y="193"/>
                    </a:lnTo>
                    <a:lnTo>
                      <a:pt x="572" y="193"/>
                    </a:lnTo>
                    <a:lnTo>
                      <a:pt x="578" y="193"/>
                    </a:lnTo>
                    <a:lnTo>
                      <a:pt x="584" y="193"/>
                    </a:lnTo>
                    <a:lnTo>
                      <a:pt x="589" y="193"/>
                    </a:lnTo>
                    <a:lnTo>
                      <a:pt x="589" y="188"/>
                    </a:lnTo>
                    <a:lnTo>
                      <a:pt x="584" y="188"/>
                    </a:lnTo>
                    <a:lnTo>
                      <a:pt x="578" y="188"/>
                    </a:lnTo>
                    <a:lnTo>
                      <a:pt x="572" y="182"/>
                    </a:lnTo>
                    <a:lnTo>
                      <a:pt x="578" y="176"/>
                    </a:lnTo>
                    <a:lnTo>
                      <a:pt x="578" y="171"/>
                    </a:lnTo>
                    <a:lnTo>
                      <a:pt x="578" y="176"/>
                    </a:lnTo>
                    <a:lnTo>
                      <a:pt x="584" y="176"/>
                    </a:lnTo>
                    <a:lnTo>
                      <a:pt x="584" y="171"/>
                    </a:lnTo>
                    <a:lnTo>
                      <a:pt x="584" y="165"/>
                    </a:lnTo>
                    <a:lnTo>
                      <a:pt x="584" y="159"/>
                    </a:lnTo>
                    <a:lnTo>
                      <a:pt x="584" y="154"/>
                    </a:lnTo>
                    <a:lnTo>
                      <a:pt x="578" y="148"/>
                    </a:lnTo>
                    <a:lnTo>
                      <a:pt x="572" y="148"/>
                    </a:lnTo>
                    <a:lnTo>
                      <a:pt x="572" y="142"/>
                    </a:lnTo>
                    <a:lnTo>
                      <a:pt x="567" y="137"/>
                    </a:lnTo>
                    <a:lnTo>
                      <a:pt x="567" y="131"/>
                    </a:lnTo>
                    <a:lnTo>
                      <a:pt x="567" y="125"/>
                    </a:lnTo>
                    <a:lnTo>
                      <a:pt x="572" y="125"/>
                    </a:lnTo>
                    <a:lnTo>
                      <a:pt x="572" y="131"/>
                    </a:lnTo>
                    <a:lnTo>
                      <a:pt x="578" y="131"/>
                    </a:lnTo>
                    <a:lnTo>
                      <a:pt x="578" y="125"/>
                    </a:lnTo>
                    <a:lnTo>
                      <a:pt x="584" y="125"/>
                    </a:lnTo>
                    <a:lnTo>
                      <a:pt x="584" y="120"/>
                    </a:lnTo>
                    <a:lnTo>
                      <a:pt x="589" y="120"/>
                    </a:lnTo>
                    <a:lnTo>
                      <a:pt x="595" y="114"/>
                    </a:lnTo>
                    <a:lnTo>
                      <a:pt x="601" y="114"/>
                    </a:lnTo>
                    <a:lnTo>
                      <a:pt x="606" y="114"/>
                    </a:lnTo>
                    <a:lnTo>
                      <a:pt x="612" y="114"/>
                    </a:lnTo>
                    <a:lnTo>
                      <a:pt x="612" y="108"/>
                    </a:lnTo>
                    <a:lnTo>
                      <a:pt x="612" y="103"/>
                    </a:lnTo>
                    <a:lnTo>
                      <a:pt x="606" y="103"/>
                    </a:lnTo>
                    <a:lnTo>
                      <a:pt x="612" y="103"/>
                    </a:lnTo>
                    <a:lnTo>
                      <a:pt x="612" y="97"/>
                    </a:lnTo>
                    <a:lnTo>
                      <a:pt x="618" y="97"/>
                    </a:lnTo>
                    <a:lnTo>
                      <a:pt x="618" y="91"/>
                    </a:lnTo>
                    <a:lnTo>
                      <a:pt x="623" y="86"/>
                    </a:lnTo>
                    <a:lnTo>
                      <a:pt x="629" y="86"/>
                    </a:lnTo>
                    <a:lnTo>
                      <a:pt x="629" y="91"/>
                    </a:lnTo>
                    <a:lnTo>
                      <a:pt x="635" y="91"/>
                    </a:lnTo>
                    <a:lnTo>
                      <a:pt x="640" y="91"/>
                    </a:lnTo>
                    <a:lnTo>
                      <a:pt x="640" y="86"/>
                    </a:lnTo>
                    <a:lnTo>
                      <a:pt x="646" y="80"/>
                    </a:lnTo>
                    <a:lnTo>
                      <a:pt x="652" y="80"/>
                    </a:lnTo>
                    <a:lnTo>
                      <a:pt x="663" y="74"/>
                    </a:lnTo>
                    <a:lnTo>
                      <a:pt x="669" y="69"/>
                    </a:lnTo>
                    <a:lnTo>
                      <a:pt x="669" y="74"/>
                    </a:lnTo>
                    <a:lnTo>
                      <a:pt x="674" y="74"/>
                    </a:lnTo>
                    <a:lnTo>
                      <a:pt x="680" y="69"/>
                    </a:lnTo>
                    <a:lnTo>
                      <a:pt x="686" y="69"/>
                    </a:lnTo>
                    <a:lnTo>
                      <a:pt x="691" y="69"/>
                    </a:lnTo>
                    <a:lnTo>
                      <a:pt x="697" y="69"/>
                    </a:lnTo>
                    <a:lnTo>
                      <a:pt x="697" y="74"/>
                    </a:lnTo>
                    <a:lnTo>
                      <a:pt x="697" y="80"/>
                    </a:lnTo>
                    <a:lnTo>
                      <a:pt x="703" y="80"/>
                    </a:lnTo>
                    <a:lnTo>
                      <a:pt x="697" y="63"/>
                    </a:lnTo>
                    <a:lnTo>
                      <a:pt x="703" y="57"/>
                    </a:lnTo>
                    <a:lnTo>
                      <a:pt x="703" y="52"/>
                    </a:lnTo>
                    <a:lnTo>
                      <a:pt x="708" y="52"/>
                    </a:lnTo>
                    <a:lnTo>
                      <a:pt x="708" y="57"/>
                    </a:lnTo>
                    <a:lnTo>
                      <a:pt x="708" y="63"/>
                    </a:lnTo>
                    <a:lnTo>
                      <a:pt x="720" y="69"/>
                    </a:lnTo>
                    <a:lnTo>
                      <a:pt x="725" y="69"/>
                    </a:lnTo>
                    <a:lnTo>
                      <a:pt x="725" y="74"/>
                    </a:lnTo>
                    <a:lnTo>
                      <a:pt x="731" y="74"/>
                    </a:lnTo>
                    <a:lnTo>
                      <a:pt x="737" y="69"/>
                    </a:lnTo>
                    <a:lnTo>
                      <a:pt x="742" y="69"/>
                    </a:lnTo>
                    <a:lnTo>
                      <a:pt x="748" y="69"/>
                    </a:lnTo>
                    <a:lnTo>
                      <a:pt x="754" y="74"/>
                    </a:lnTo>
                    <a:lnTo>
                      <a:pt x="759" y="74"/>
                    </a:lnTo>
                    <a:lnTo>
                      <a:pt x="759" y="69"/>
                    </a:lnTo>
                    <a:lnTo>
                      <a:pt x="765" y="69"/>
                    </a:lnTo>
                    <a:lnTo>
                      <a:pt x="771" y="69"/>
                    </a:lnTo>
                    <a:lnTo>
                      <a:pt x="771" y="74"/>
                    </a:lnTo>
                    <a:lnTo>
                      <a:pt x="765" y="74"/>
                    </a:lnTo>
                    <a:lnTo>
                      <a:pt x="765" y="80"/>
                    </a:lnTo>
                    <a:lnTo>
                      <a:pt x="771" y="80"/>
                    </a:lnTo>
                    <a:lnTo>
                      <a:pt x="776" y="80"/>
                    </a:lnTo>
                    <a:lnTo>
                      <a:pt x="776" y="74"/>
                    </a:lnTo>
                    <a:lnTo>
                      <a:pt x="782" y="69"/>
                    </a:lnTo>
                    <a:lnTo>
                      <a:pt x="788" y="63"/>
                    </a:lnTo>
                    <a:lnTo>
                      <a:pt x="793" y="57"/>
                    </a:lnTo>
                    <a:lnTo>
                      <a:pt x="799" y="52"/>
                    </a:lnTo>
                    <a:lnTo>
                      <a:pt x="805" y="46"/>
                    </a:lnTo>
                    <a:lnTo>
                      <a:pt x="810" y="46"/>
                    </a:lnTo>
                    <a:lnTo>
                      <a:pt x="810" y="52"/>
                    </a:lnTo>
                    <a:lnTo>
                      <a:pt x="822" y="63"/>
                    </a:lnTo>
                    <a:lnTo>
                      <a:pt x="827" y="69"/>
                    </a:lnTo>
                    <a:lnTo>
                      <a:pt x="833" y="69"/>
                    </a:lnTo>
                    <a:lnTo>
                      <a:pt x="839" y="63"/>
                    </a:lnTo>
                    <a:lnTo>
                      <a:pt x="839" y="57"/>
                    </a:lnTo>
                    <a:lnTo>
                      <a:pt x="844" y="57"/>
                    </a:lnTo>
                    <a:lnTo>
                      <a:pt x="850" y="57"/>
                    </a:lnTo>
                    <a:lnTo>
                      <a:pt x="850" y="52"/>
                    </a:lnTo>
                    <a:lnTo>
                      <a:pt x="850" y="46"/>
                    </a:lnTo>
                    <a:lnTo>
                      <a:pt x="856" y="46"/>
                    </a:lnTo>
                    <a:lnTo>
                      <a:pt x="856" y="40"/>
                    </a:lnTo>
                    <a:lnTo>
                      <a:pt x="856" y="35"/>
                    </a:lnTo>
                    <a:lnTo>
                      <a:pt x="856" y="29"/>
                    </a:lnTo>
                    <a:lnTo>
                      <a:pt x="861" y="29"/>
                    </a:lnTo>
                    <a:lnTo>
                      <a:pt x="867" y="29"/>
                    </a:lnTo>
                    <a:lnTo>
                      <a:pt x="873" y="29"/>
                    </a:lnTo>
                    <a:lnTo>
                      <a:pt x="873" y="23"/>
                    </a:lnTo>
                    <a:lnTo>
                      <a:pt x="873" y="17"/>
                    </a:lnTo>
                    <a:lnTo>
                      <a:pt x="878" y="17"/>
                    </a:lnTo>
                    <a:lnTo>
                      <a:pt x="884" y="17"/>
                    </a:lnTo>
                    <a:lnTo>
                      <a:pt x="890" y="17"/>
                    </a:lnTo>
                    <a:lnTo>
                      <a:pt x="890" y="23"/>
                    </a:lnTo>
                    <a:lnTo>
                      <a:pt x="890" y="29"/>
                    </a:lnTo>
                    <a:lnTo>
                      <a:pt x="895" y="29"/>
                    </a:lnTo>
                    <a:lnTo>
                      <a:pt x="901" y="23"/>
                    </a:lnTo>
                    <a:lnTo>
                      <a:pt x="907" y="23"/>
                    </a:lnTo>
                    <a:lnTo>
                      <a:pt x="912" y="23"/>
                    </a:lnTo>
                    <a:lnTo>
                      <a:pt x="918" y="29"/>
                    </a:lnTo>
                    <a:lnTo>
                      <a:pt x="924" y="35"/>
                    </a:lnTo>
                    <a:lnTo>
                      <a:pt x="924" y="29"/>
                    </a:lnTo>
                    <a:lnTo>
                      <a:pt x="924" y="23"/>
                    </a:lnTo>
                    <a:lnTo>
                      <a:pt x="929" y="23"/>
                    </a:lnTo>
                    <a:lnTo>
                      <a:pt x="935" y="23"/>
                    </a:lnTo>
                    <a:lnTo>
                      <a:pt x="946" y="23"/>
                    </a:lnTo>
                    <a:lnTo>
                      <a:pt x="946" y="17"/>
                    </a:lnTo>
                    <a:lnTo>
                      <a:pt x="952" y="23"/>
                    </a:lnTo>
                    <a:lnTo>
                      <a:pt x="952" y="17"/>
                    </a:lnTo>
                    <a:lnTo>
                      <a:pt x="958" y="17"/>
                    </a:lnTo>
                    <a:lnTo>
                      <a:pt x="958" y="12"/>
                    </a:lnTo>
                    <a:lnTo>
                      <a:pt x="963" y="12"/>
                    </a:lnTo>
                    <a:lnTo>
                      <a:pt x="969" y="6"/>
                    </a:lnTo>
                    <a:lnTo>
                      <a:pt x="969" y="0"/>
                    </a:lnTo>
                    <a:lnTo>
                      <a:pt x="975" y="0"/>
                    </a:lnTo>
                    <a:lnTo>
                      <a:pt x="980" y="0"/>
                    </a:lnTo>
                    <a:lnTo>
                      <a:pt x="986" y="0"/>
                    </a:lnTo>
                    <a:lnTo>
                      <a:pt x="986" y="6"/>
                    </a:lnTo>
                    <a:lnTo>
                      <a:pt x="986" y="12"/>
                    </a:lnTo>
                    <a:lnTo>
                      <a:pt x="986" y="17"/>
                    </a:lnTo>
                    <a:lnTo>
                      <a:pt x="986" y="23"/>
                    </a:lnTo>
                    <a:lnTo>
                      <a:pt x="986" y="29"/>
                    </a:lnTo>
                    <a:lnTo>
                      <a:pt x="992" y="29"/>
                    </a:lnTo>
                    <a:lnTo>
                      <a:pt x="986" y="35"/>
                    </a:lnTo>
                    <a:lnTo>
                      <a:pt x="992" y="35"/>
                    </a:lnTo>
                    <a:lnTo>
                      <a:pt x="997" y="40"/>
                    </a:lnTo>
                    <a:lnTo>
                      <a:pt x="1003" y="46"/>
                    </a:lnTo>
                    <a:lnTo>
                      <a:pt x="1009" y="46"/>
                    </a:lnTo>
                    <a:lnTo>
                      <a:pt x="1014" y="46"/>
                    </a:lnTo>
                    <a:lnTo>
                      <a:pt x="1014" y="52"/>
                    </a:lnTo>
                    <a:lnTo>
                      <a:pt x="1020" y="57"/>
                    </a:lnTo>
                    <a:lnTo>
                      <a:pt x="1026" y="52"/>
                    </a:lnTo>
                    <a:lnTo>
                      <a:pt x="1026" y="57"/>
                    </a:lnTo>
                    <a:lnTo>
                      <a:pt x="1031" y="63"/>
                    </a:lnTo>
                    <a:lnTo>
                      <a:pt x="1037" y="63"/>
                    </a:lnTo>
                    <a:lnTo>
                      <a:pt x="1043" y="63"/>
                    </a:lnTo>
                    <a:lnTo>
                      <a:pt x="1043" y="57"/>
                    </a:lnTo>
                    <a:lnTo>
                      <a:pt x="1048" y="57"/>
                    </a:lnTo>
                    <a:lnTo>
                      <a:pt x="1048" y="63"/>
                    </a:lnTo>
                    <a:lnTo>
                      <a:pt x="1054" y="63"/>
                    </a:lnTo>
                    <a:lnTo>
                      <a:pt x="1060" y="69"/>
                    </a:lnTo>
                    <a:lnTo>
                      <a:pt x="1065" y="69"/>
                    </a:lnTo>
                    <a:lnTo>
                      <a:pt x="1071" y="74"/>
                    </a:lnTo>
                    <a:lnTo>
                      <a:pt x="1077" y="74"/>
                    </a:lnTo>
                    <a:lnTo>
                      <a:pt x="1082" y="69"/>
                    </a:lnTo>
                    <a:lnTo>
                      <a:pt x="1088" y="69"/>
                    </a:lnTo>
                    <a:lnTo>
                      <a:pt x="1088" y="74"/>
                    </a:lnTo>
                    <a:lnTo>
                      <a:pt x="1094" y="80"/>
                    </a:lnTo>
                    <a:lnTo>
                      <a:pt x="1094" y="86"/>
                    </a:lnTo>
                    <a:lnTo>
                      <a:pt x="1094" y="91"/>
                    </a:lnTo>
                    <a:lnTo>
                      <a:pt x="1099" y="86"/>
                    </a:lnTo>
                    <a:lnTo>
                      <a:pt x="1099" y="80"/>
                    </a:lnTo>
                    <a:lnTo>
                      <a:pt x="1105" y="80"/>
                    </a:lnTo>
                    <a:lnTo>
                      <a:pt x="1111" y="80"/>
                    </a:lnTo>
                    <a:lnTo>
                      <a:pt x="1116" y="86"/>
                    </a:lnTo>
                    <a:lnTo>
                      <a:pt x="1116" y="91"/>
                    </a:lnTo>
                    <a:lnTo>
                      <a:pt x="1122" y="97"/>
                    </a:lnTo>
                    <a:lnTo>
                      <a:pt x="1128" y="103"/>
                    </a:lnTo>
                    <a:lnTo>
                      <a:pt x="1122" y="103"/>
                    </a:lnTo>
                    <a:lnTo>
                      <a:pt x="1122" y="108"/>
                    </a:lnTo>
                    <a:lnTo>
                      <a:pt x="1122" y="103"/>
                    </a:lnTo>
                    <a:lnTo>
                      <a:pt x="1128" y="103"/>
                    </a:lnTo>
                    <a:lnTo>
                      <a:pt x="1128" y="97"/>
                    </a:lnTo>
                    <a:lnTo>
                      <a:pt x="1133" y="97"/>
                    </a:lnTo>
                    <a:lnTo>
                      <a:pt x="1139" y="97"/>
                    </a:lnTo>
                    <a:lnTo>
                      <a:pt x="1139" y="91"/>
                    </a:lnTo>
                    <a:lnTo>
                      <a:pt x="1145" y="91"/>
                    </a:lnTo>
                    <a:lnTo>
                      <a:pt x="1150" y="91"/>
                    </a:lnTo>
                    <a:lnTo>
                      <a:pt x="1156" y="86"/>
                    </a:lnTo>
                    <a:lnTo>
                      <a:pt x="1150" y="86"/>
                    </a:lnTo>
                    <a:lnTo>
                      <a:pt x="1145" y="86"/>
                    </a:lnTo>
                    <a:lnTo>
                      <a:pt x="1150" y="80"/>
                    </a:lnTo>
                    <a:lnTo>
                      <a:pt x="1150" y="74"/>
                    </a:lnTo>
                    <a:lnTo>
                      <a:pt x="1162" y="80"/>
                    </a:lnTo>
                    <a:lnTo>
                      <a:pt x="1167" y="80"/>
                    </a:lnTo>
                    <a:lnTo>
                      <a:pt x="1173" y="80"/>
                    </a:lnTo>
                    <a:lnTo>
                      <a:pt x="1173" y="86"/>
                    </a:lnTo>
                    <a:lnTo>
                      <a:pt x="1173" y="91"/>
                    </a:lnTo>
                    <a:lnTo>
                      <a:pt x="1179" y="91"/>
                    </a:lnTo>
                    <a:lnTo>
                      <a:pt x="1179" y="86"/>
                    </a:lnTo>
                    <a:lnTo>
                      <a:pt x="1184" y="91"/>
                    </a:lnTo>
                    <a:lnTo>
                      <a:pt x="1190" y="97"/>
                    </a:lnTo>
                    <a:lnTo>
                      <a:pt x="1196" y="91"/>
                    </a:lnTo>
                    <a:lnTo>
                      <a:pt x="1196" y="97"/>
                    </a:lnTo>
                    <a:lnTo>
                      <a:pt x="1201" y="97"/>
                    </a:lnTo>
                    <a:lnTo>
                      <a:pt x="1207" y="97"/>
                    </a:lnTo>
                    <a:lnTo>
                      <a:pt x="1213" y="103"/>
                    </a:lnTo>
                    <a:lnTo>
                      <a:pt x="1218" y="103"/>
                    </a:lnTo>
                    <a:lnTo>
                      <a:pt x="1218" y="91"/>
                    </a:lnTo>
                    <a:lnTo>
                      <a:pt x="1224" y="91"/>
                    </a:lnTo>
                    <a:lnTo>
                      <a:pt x="1230" y="91"/>
                    </a:lnTo>
                    <a:lnTo>
                      <a:pt x="1235" y="86"/>
                    </a:lnTo>
                    <a:lnTo>
                      <a:pt x="1241" y="86"/>
                    </a:lnTo>
                    <a:lnTo>
                      <a:pt x="1247" y="91"/>
                    </a:lnTo>
                    <a:lnTo>
                      <a:pt x="1252" y="91"/>
                    </a:lnTo>
                    <a:lnTo>
                      <a:pt x="1252" y="97"/>
                    </a:lnTo>
                    <a:lnTo>
                      <a:pt x="1252" y="91"/>
                    </a:lnTo>
                    <a:lnTo>
                      <a:pt x="1258" y="91"/>
                    </a:lnTo>
                    <a:lnTo>
                      <a:pt x="1258" y="97"/>
                    </a:lnTo>
                    <a:lnTo>
                      <a:pt x="1258" y="103"/>
                    </a:lnTo>
                    <a:lnTo>
                      <a:pt x="1258" y="108"/>
                    </a:lnTo>
                    <a:lnTo>
                      <a:pt x="1264" y="114"/>
                    </a:lnTo>
                    <a:lnTo>
                      <a:pt x="1269" y="131"/>
                    </a:lnTo>
                    <a:lnTo>
                      <a:pt x="1275" y="131"/>
                    </a:lnTo>
                    <a:lnTo>
                      <a:pt x="1281" y="125"/>
                    </a:lnTo>
                    <a:lnTo>
                      <a:pt x="1292" y="125"/>
                    </a:lnTo>
                    <a:lnTo>
                      <a:pt x="1298" y="125"/>
                    </a:lnTo>
                    <a:lnTo>
                      <a:pt x="1303" y="131"/>
                    </a:lnTo>
                    <a:lnTo>
                      <a:pt x="1303" y="137"/>
                    </a:lnTo>
                    <a:lnTo>
                      <a:pt x="1309" y="137"/>
                    </a:lnTo>
                    <a:lnTo>
                      <a:pt x="1315" y="137"/>
                    </a:lnTo>
                    <a:lnTo>
                      <a:pt x="1320" y="142"/>
                    </a:lnTo>
                    <a:lnTo>
                      <a:pt x="1326" y="142"/>
                    </a:lnTo>
                    <a:lnTo>
                      <a:pt x="1332" y="148"/>
                    </a:lnTo>
                    <a:lnTo>
                      <a:pt x="1326" y="148"/>
                    </a:lnTo>
                    <a:lnTo>
                      <a:pt x="1326" y="154"/>
                    </a:lnTo>
                    <a:lnTo>
                      <a:pt x="1332" y="154"/>
                    </a:lnTo>
                    <a:lnTo>
                      <a:pt x="1343" y="148"/>
                    </a:lnTo>
                    <a:lnTo>
                      <a:pt x="1349" y="148"/>
                    </a:lnTo>
                    <a:lnTo>
                      <a:pt x="1349" y="154"/>
                    </a:lnTo>
                    <a:lnTo>
                      <a:pt x="1354" y="159"/>
                    </a:lnTo>
                    <a:lnTo>
                      <a:pt x="1360" y="165"/>
                    </a:lnTo>
                    <a:lnTo>
                      <a:pt x="1360" y="171"/>
                    </a:lnTo>
                    <a:lnTo>
                      <a:pt x="1366" y="171"/>
                    </a:lnTo>
                    <a:lnTo>
                      <a:pt x="1366" y="176"/>
                    </a:lnTo>
                    <a:lnTo>
                      <a:pt x="1366" y="182"/>
                    </a:lnTo>
                    <a:lnTo>
                      <a:pt x="1377" y="193"/>
                    </a:lnTo>
                    <a:lnTo>
                      <a:pt x="1383" y="193"/>
                    </a:lnTo>
                    <a:lnTo>
                      <a:pt x="1377" y="199"/>
                    </a:lnTo>
                    <a:lnTo>
                      <a:pt x="1383" y="205"/>
                    </a:lnTo>
                    <a:lnTo>
                      <a:pt x="1388" y="210"/>
                    </a:lnTo>
                    <a:lnTo>
                      <a:pt x="1400" y="227"/>
                    </a:lnTo>
                    <a:lnTo>
                      <a:pt x="1405" y="227"/>
                    </a:lnTo>
                    <a:lnTo>
                      <a:pt x="1411" y="222"/>
                    </a:lnTo>
                    <a:lnTo>
                      <a:pt x="1422" y="222"/>
                    </a:lnTo>
                    <a:lnTo>
                      <a:pt x="1422" y="216"/>
                    </a:lnTo>
                    <a:lnTo>
                      <a:pt x="1422" y="210"/>
                    </a:lnTo>
                    <a:lnTo>
                      <a:pt x="1428" y="210"/>
                    </a:lnTo>
                    <a:lnTo>
                      <a:pt x="1439" y="210"/>
                    </a:lnTo>
                    <a:lnTo>
                      <a:pt x="1428" y="216"/>
                    </a:lnTo>
                    <a:lnTo>
                      <a:pt x="1428" y="222"/>
                    </a:lnTo>
                    <a:lnTo>
                      <a:pt x="1428" y="227"/>
                    </a:lnTo>
                    <a:lnTo>
                      <a:pt x="1439" y="233"/>
                    </a:lnTo>
                    <a:lnTo>
                      <a:pt x="1445" y="244"/>
                    </a:lnTo>
                    <a:lnTo>
                      <a:pt x="1439" y="250"/>
                    </a:lnTo>
                    <a:lnTo>
                      <a:pt x="1422" y="261"/>
                    </a:lnTo>
                    <a:lnTo>
                      <a:pt x="1417" y="267"/>
                    </a:lnTo>
                    <a:lnTo>
                      <a:pt x="1417" y="273"/>
                    </a:lnTo>
                    <a:lnTo>
                      <a:pt x="1422" y="278"/>
                    </a:lnTo>
                    <a:lnTo>
                      <a:pt x="1422" y="284"/>
                    </a:lnTo>
                    <a:lnTo>
                      <a:pt x="1422" y="295"/>
                    </a:lnTo>
                    <a:lnTo>
                      <a:pt x="1422" y="301"/>
                    </a:lnTo>
                    <a:lnTo>
                      <a:pt x="1422" y="307"/>
                    </a:lnTo>
                    <a:lnTo>
                      <a:pt x="1422" y="312"/>
                    </a:lnTo>
                    <a:lnTo>
                      <a:pt x="1417" y="329"/>
                    </a:lnTo>
                    <a:lnTo>
                      <a:pt x="1411" y="335"/>
                    </a:lnTo>
                    <a:lnTo>
                      <a:pt x="1405" y="341"/>
                    </a:lnTo>
                    <a:lnTo>
                      <a:pt x="1411" y="346"/>
                    </a:lnTo>
                    <a:lnTo>
                      <a:pt x="1411" y="352"/>
                    </a:lnTo>
                    <a:lnTo>
                      <a:pt x="1400" y="358"/>
                    </a:lnTo>
                    <a:lnTo>
                      <a:pt x="1394" y="369"/>
                    </a:lnTo>
                    <a:lnTo>
                      <a:pt x="1394" y="375"/>
                    </a:lnTo>
                    <a:lnTo>
                      <a:pt x="1400" y="375"/>
                    </a:lnTo>
                    <a:lnTo>
                      <a:pt x="1405" y="380"/>
                    </a:lnTo>
                    <a:lnTo>
                      <a:pt x="1405" y="386"/>
                    </a:lnTo>
                    <a:lnTo>
                      <a:pt x="1411" y="392"/>
                    </a:lnTo>
                    <a:lnTo>
                      <a:pt x="1411" y="397"/>
                    </a:lnTo>
                    <a:lnTo>
                      <a:pt x="1405" y="403"/>
                    </a:lnTo>
                    <a:lnTo>
                      <a:pt x="1394" y="409"/>
                    </a:lnTo>
                    <a:lnTo>
                      <a:pt x="1394" y="414"/>
                    </a:lnTo>
                    <a:lnTo>
                      <a:pt x="1388" y="420"/>
                    </a:lnTo>
                    <a:lnTo>
                      <a:pt x="1383" y="426"/>
                    </a:lnTo>
                    <a:lnTo>
                      <a:pt x="1360" y="426"/>
                    </a:lnTo>
                    <a:lnTo>
                      <a:pt x="1360" y="431"/>
                    </a:lnTo>
                    <a:lnTo>
                      <a:pt x="1354" y="437"/>
                    </a:lnTo>
                    <a:lnTo>
                      <a:pt x="1349" y="443"/>
                    </a:lnTo>
                    <a:lnTo>
                      <a:pt x="1337" y="454"/>
                    </a:lnTo>
                    <a:lnTo>
                      <a:pt x="1332" y="454"/>
                    </a:lnTo>
                    <a:lnTo>
                      <a:pt x="1320" y="460"/>
                    </a:lnTo>
                    <a:lnTo>
                      <a:pt x="1309" y="471"/>
                    </a:lnTo>
                    <a:lnTo>
                      <a:pt x="1303" y="471"/>
                    </a:lnTo>
                    <a:lnTo>
                      <a:pt x="1298" y="471"/>
                    </a:lnTo>
                    <a:lnTo>
                      <a:pt x="1292" y="477"/>
                    </a:lnTo>
                    <a:lnTo>
                      <a:pt x="1281" y="482"/>
                    </a:lnTo>
                    <a:lnTo>
                      <a:pt x="1281" y="488"/>
                    </a:lnTo>
                    <a:lnTo>
                      <a:pt x="1281" y="494"/>
                    </a:lnTo>
                    <a:lnTo>
                      <a:pt x="1281" y="499"/>
                    </a:lnTo>
                    <a:lnTo>
                      <a:pt x="1275" y="505"/>
                    </a:lnTo>
                    <a:lnTo>
                      <a:pt x="1269" y="499"/>
                    </a:lnTo>
                    <a:lnTo>
                      <a:pt x="1264" y="505"/>
                    </a:lnTo>
                    <a:lnTo>
                      <a:pt x="1252" y="505"/>
                    </a:lnTo>
                    <a:lnTo>
                      <a:pt x="1235" y="505"/>
                    </a:lnTo>
                    <a:lnTo>
                      <a:pt x="1218" y="511"/>
                    </a:lnTo>
                    <a:lnTo>
                      <a:pt x="1218" y="516"/>
                    </a:lnTo>
                    <a:lnTo>
                      <a:pt x="1213" y="522"/>
                    </a:lnTo>
                    <a:lnTo>
                      <a:pt x="1207" y="522"/>
                    </a:lnTo>
                    <a:lnTo>
                      <a:pt x="1207" y="533"/>
                    </a:lnTo>
                    <a:lnTo>
                      <a:pt x="1201" y="539"/>
                    </a:lnTo>
                    <a:lnTo>
                      <a:pt x="1190" y="562"/>
                    </a:lnTo>
                    <a:lnTo>
                      <a:pt x="1179" y="562"/>
                    </a:lnTo>
                    <a:lnTo>
                      <a:pt x="1179" y="556"/>
                    </a:lnTo>
                    <a:lnTo>
                      <a:pt x="1179" y="550"/>
                    </a:lnTo>
                    <a:lnTo>
                      <a:pt x="1173" y="545"/>
                    </a:lnTo>
                    <a:lnTo>
                      <a:pt x="1167" y="545"/>
                    </a:lnTo>
                    <a:lnTo>
                      <a:pt x="1162" y="545"/>
                    </a:lnTo>
                    <a:lnTo>
                      <a:pt x="1156" y="545"/>
                    </a:lnTo>
                    <a:lnTo>
                      <a:pt x="1150" y="539"/>
                    </a:lnTo>
                    <a:lnTo>
                      <a:pt x="1150" y="528"/>
                    </a:lnTo>
                    <a:lnTo>
                      <a:pt x="1150" y="522"/>
                    </a:lnTo>
                    <a:lnTo>
                      <a:pt x="1145" y="516"/>
                    </a:lnTo>
                    <a:lnTo>
                      <a:pt x="1139" y="511"/>
                    </a:lnTo>
                    <a:lnTo>
                      <a:pt x="1133" y="511"/>
                    </a:lnTo>
                    <a:lnTo>
                      <a:pt x="1128" y="516"/>
                    </a:lnTo>
                    <a:lnTo>
                      <a:pt x="1122" y="516"/>
                    </a:lnTo>
                    <a:lnTo>
                      <a:pt x="1116" y="522"/>
                    </a:lnTo>
                    <a:lnTo>
                      <a:pt x="1111" y="522"/>
                    </a:lnTo>
                    <a:lnTo>
                      <a:pt x="1105" y="522"/>
                    </a:lnTo>
                    <a:lnTo>
                      <a:pt x="1105" y="516"/>
                    </a:lnTo>
                    <a:lnTo>
                      <a:pt x="1105" y="522"/>
                    </a:lnTo>
                    <a:lnTo>
                      <a:pt x="1099" y="522"/>
                    </a:lnTo>
                    <a:lnTo>
                      <a:pt x="1088" y="522"/>
                    </a:lnTo>
                    <a:lnTo>
                      <a:pt x="1082" y="522"/>
                    </a:lnTo>
                    <a:lnTo>
                      <a:pt x="1077" y="522"/>
                    </a:lnTo>
                    <a:lnTo>
                      <a:pt x="1071" y="522"/>
                    </a:lnTo>
                    <a:lnTo>
                      <a:pt x="1071" y="528"/>
                    </a:lnTo>
                    <a:lnTo>
                      <a:pt x="1065" y="533"/>
                    </a:lnTo>
                    <a:lnTo>
                      <a:pt x="1060" y="539"/>
                    </a:lnTo>
                    <a:lnTo>
                      <a:pt x="1060" y="545"/>
                    </a:lnTo>
                    <a:lnTo>
                      <a:pt x="1054" y="545"/>
                    </a:lnTo>
                    <a:lnTo>
                      <a:pt x="1048" y="545"/>
                    </a:lnTo>
                    <a:lnTo>
                      <a:pt x="1043" y="545"/>
                    </a:lnTo>
                    <a:lnTo>
                      <a:pt x="1043" y="550"/>
                    </a:lnTo>
                    <a:lnTo>
                      <a:pt x="1037" y="550"/>
                    </a:lnTo>
                    <a:lnTo>
                      <a:pt x="1031" y="545"/>
                    </a:lnTo>
                    <a:lnTo>
                      <a:pt x="1026" y="545"/>
                    </a:lnTo>
                    <a:lnTo>
                      <a:pt x="1020" y="545"/>
                    </a:lnTo>
                    <a:lnTo>
                      <a:pt x="1020" y="550"/>
                    </a:lnTo>
                    <a:lnTo>
                      <a:pt x="1014" y="550"/>
                    </a:lnTo>
                    <a:lnTo>
                      <a:pt x="1014" y="545"/>
                    </a:lnTo>
                    <a:lnTo>
                      <a:pt x="1009" y="545"/>
                    </a:lnTo>
                    <a:lnTo>
                      <a:pt x="1009" y="550"/>
                    </a:lnTo>
                    <a:lnTo>
                      <a:pt x="1003" y="550"/>
                    </a:lnTo>
                    <a:lnTo>
                      <a:pt x="1003" y="556"/>
                    </a:lnTo>
                    <a:lnTo>
                      <a:pt x="997" y="556"/>
                    </a:lnTo>
                    <a:lnTo>
                      <a:pt x="997" y="562"/>
                    </a:lnTo>
                    <a:lnTo>
                      <a:pt x="992" y="562"/>
                    </a:lnTo>
                    <a:lnTo>
                      <a:pt x="992" y="567"/>
                    </a:lnTo>
                    <a:lnTo>
                      <a:pt x="986" y="567"/>
                    </a:lnTo>
                    <a:lnTo>
                      <a:pt x="986" y="573"/>
                    </a:lnTo>
                    <a:lnTo>
                      <a:pt x="986" y="579"/>
                    </a:lnTo>
                    <a:lnTo>
                      <a:pt x="980" y="579"/>
                    </a:lnTo>
                    <a:lnTo>
                      <a:pt x="975" y="579"/>
                    </a:lnTo>
                    <a:lnTo>
                      <a:pt x="980" y="579"/>
                    </a:lnTo>
                    <a:lnTo>
                      <a:pt x="980" y="584"/>
                    </a:lnTo>
                    <a:lnTo>
                      <a:pt x="975" y="584"/>
                    </a:lnTo>
                    <a:lnTo>
                      <a:pt x="969" y="590"/>
                    </a:lnTo>
                    <a:lnTo>
                      <a:pt x="975" y="590"/>
                    </a:lnTo>
                    <a:lnTo>
                      <a:pt x="969" y="596"/>
                    </a:lnTo>
                    <a:lnTo>
                      <a:pt x="963" y="590"/>
                    </a:lnTo>
                    <a:lnTo>
                      <a:pt x="963" y="596"/>
                    </a:lnTo>
                    <a:lnTo>
                      <a:pt x="958" y="596"/>
                    </a:lnTo>
                    <a:lnTo>
                      <a:pt x="958" y="590"/>
                    </a:lnTo>
                    <a:lnTo>
                      <a:pt x="952" y="590"/>
                    </a:lnTo>
                    <a:lnTo>
                      <a:pt x="952" y="584"/>
                    </a:lnTo>
                    <a:lnTo>
                      <a:pt x="946" y="584"/>
                    </a:lnTo>
                    <a:lnTo>
                      <a:pt x="946" y="590"/>
                    </a:lnTo>
                    <a:lnTo>
                      <a:pt x="941" y="590"/>
                    </a:lnTo>
                    <a:lnTo>
                      <a:pt x="941" y="596"/>
                    </a:lnTo>
                    <a:lnTo>
                      <a:pt x="935" y="596"/>
                    </a:lnTo>
                    <a:lnTo>
                      <a:pt x="935" y="601"/>
                    </a:lnTo>
                    <a:lnTo>
                      <a:pt x="929" y="607"/>
                    </a:lnTo>
                    <a:lnTo>
                      <a:pt x="929" y="601"/>
                    </a:lnTo>
                    <a:lnTo>
                      <a:pt x="924" y="601"/>
                    </a:lnTo>
                    <a:lnTo>
                      <a:pt x="918" y="601"/>
                    </a:lnTo>
                    <a:lnTo>
                      <a:pt x="912" y="607"/>
                    </a:lnTo>
                    <a:lnTo>
                      <a:pt x="907" y="601"/>
                    </a:lnTo>
                    <a:lnTo>
                      <a:pt x="901" y="601"/>
                    </a:lnTo>
                    <a:lnTo>
                      <a:pt x="895" y="601"/>
                    </a:lnTo>
                    <a:lnTo>
                      <a:pt x="901" y="601"/>
                    </a:lnTo>
                    <a:lnTo>
                      <a:pt x="901" y="607"/>
                    </a:lnTo>
                    <a:lnTo>
                      <a:pt x="901" y="613"/>
                    </a:lnTo>
                    <a:lnTo>
                      <a:pt x="895" y="613"/>
                    </a:lnTo>
                    <a:lnTo>
                      <a:pt x="890" y="613"/>
                    </a:lnTo>
                    <a:lnTo>
                      <a:pt x="890" y="618"/>
                    </a:lnTo>
                    <a:lnTo>
                      <a:pt x="890" y="624"/>
                    </a:lnTo>
                    <a:lnTo>
                      <a:pt x="890" y="630"/>
                    </a:lnTo>
                    <a:lnTo>
                      <a:pt x="884" y="630"/>
                    </a:lnTo>
                    <a:lnTo>
                      <a:pt x="878" y="630"/>
                    </a:lnTo>
                    <a:lnTo>
                      <a:pt x="884" y="630"/>
                    </a:lnTo>
                    <a:lnTo>
                      <a:pt x="878" y="635"/>
                    </a:lnTo>
                    <a:lnTo>
                      <a:pt x="878" y="641"/>
                    </a:lnTo>
                    <a:lnTo>
                      <a:pt x="873" y="641"/>
                    </a:lnTo>
                    <a:lnTo>
                      <a:pt x="873" y="635"/>
                    </a:lnTo>
                    <a:lnTo>
                      <a:pt x="867" y="635"/>
                    </a:lnTo>
                    <a:lnTo>
                      <a:pt x="867" y="641"/>
                    </a:lnTo>
                    <a:lnTo>
                      <a:pt x="873" y="641"/>
                    </a:lnTo>
                    <a:lnTo>
                      <a:pt x="878" y="647"/>
                    </a:lnTo>
                    <a:lnTo>
                      <a:pt x="873" y="647"/>
                    </a:lnTo>
                    <a:lnTo>
                      <a:pt x="867" y="647"/>
                    </a:lnTo>
                    <a:lnTo>
                      <a:pt x="873" y="647"/>
                    </a:lnTo>
                    <a:lnTo>
                      <a:pt x="873" y="652"/>
                    </a:lnTo>
                    <a:lnTo>
                      <a:pt x="873" y="658"/>
                    </a:lnTo>
                    <a:lnTo>
                      <a:pt x="867" y="658"/>
                    </a:lnTo>
                    <a:lnTo>
                      <a:pt x="861" y="664"/>
                    </a:lnTo>
                    <a:lnTo>
                      <a:pt x="861" y="669"/>
                    </a:lnTo>
                    <a:lnTo>
                      <a:pt x="856" y="669"/>
                    </a:lnTo>
                    <a:lnTo>
                      <a:pt x="850" y="669"/>
                    </a:lnTo>
                    <a:lnTo>
                      <a:pt x="850" y="675"/>
                    </a:lnTo>
                    <a:lnTo>
                      <a:pt x="844" y="681"/>
                    </a:lnTo>
                    <a:lnTo>
                      <a:pt x="839" y="681"/>
                    </a:lnTo>
                    <a:lnTo>
                      <a:pt x="839" y="686"/>
                    </a:lnTo>
                    <a:lnTo>
                      <a:pt x="833" y="686"/>
                    </a:lnTo>
                    <a:lnTo>
                      <a:pt x="839" y="692"/>
                    </a:lnTo>
                    <a:lnTo>
                      <a:pt x="839" y="698"/>
                    </a:lnTo>
                    <a:lnTo>
                      <a:pt x="833" y="698"/>
                    </a:lnTo>
                    <a:lnTo>
                      <a:pt x="827" y="703"/>
                    </a:lnTo>
                    <a:lnTo>
                      <a:pt x="822" y="703"/>
                    </a:lnTo>
                    <a:lnTo>
                      <a:pt x="816" y="703"/>
                    </a:lnTo>
                    <a:lnTo>
                      <a:pt x="816" y="709"/>
                    </a:lnTo>
                    <a:lnTo>
                      <a:pt x="822" y="709"/>
                    </a:lnTo>
                    <a:lnTo>
                      <a:pt x="822" y="715"/>
                    </a:lnTo>
                    <a:lnTo>
                      <a:pt x="816" y="715"/>
                    </a:lnTo>
                    <a:lnTo>
                      <a:pt x="810" y="720"/>
                    </a:lnTo>
                    <a:lnTo>
                      <a:pt x="810" y="726"/>
                    </a:lnTo>
                    <a:lnTo>
                      <a:pt x="805" y="726"/>
                    </a:lnTo>
                    <a:lnTo>
                      <a:pt x="810" y="732"/>
                    </a:lnTo>
                    <a:lnTo>
                      <a:pt x="805" y="737"/>
                    </a:lnTo>
                    <a:lnTo>
                      <a:pt x="799" y="737"/>
                    </a:lnTo>
                    <a:lnTo>
                      <a:pt x="799" y="743"/>
                    </a:lnTo>
                    <a:lnTo>
                      <a:pt x="793" y="749"/>
                    </a:lnTo>
                    <a:lnTo>
                      <a:pt x="788" y="749"/>
                    </a:lnTo>
                    <a:lnTo>
                      <a:pt x="793" y="754"/>
                    </a:lnTo>
                    <a:lnTo>
                      <a:pt x="788" y="754"/>
                    </a:lnTo>
                    <a:lnTo>
                      <a:pt x="782" y="754"/>
                    </a:lnTo>
                    <a:lnTo>
                      <a:pt x="776" y="760"/>
                    </a:lnTo>
                    <a:lnTo>
                      <a:pt x="776" y="766"/>
                    </a:lnTo>
                    <a:lnTo>
                      <a:pt x="776" y="771"/>
                    </a:lnTo>
                    <a:lnTo>
                      <a:pt x="771" y="766"/>
                    </a:lnTo>
                    <a:lnTo>
                      <a:pt x="765" y="766"/>
                    </a:lnTo>
                    <a:lnTo>
                      <a:pt x="765" y="771"/>
                    </a:lnTo>
                    <a:lnTo>
                      <a:pt x="759" y="771"/>
                    </a:lnTo>
                    <a:lnTo>
                      <a:pt x="759" y="777"/>
                    </a:lnTo>
                    <a:lnTo>
                      <a:pt x="759" y="771"/>
                    </a:lnTo>
                    <a:lnTo>
                      <a:pt x="754" y="771"/>
                    </a:lnTo>
                    <a:lnTo>
                      <a:pt x="748" y="777"/>
                    </a:lnTo>
                    <a:lnTo>
                      <a:pt x="742" y="777"/>
                    </a:lnTo>
                    <a:lnTo>
                      <a:pt x="737" y="777"/>
                    </a:lnTo>
                    <a:lnTo>
                      <a:pt x="731" y="777"/>
                    </a:lnTo>
                    <a:lnTo>
                      <a:pt x="725" y="783"/>
                    </a:lnTo>
                    <a:lnTo>
                      <a:pt x="725" y="788"/>
                    </a:lnTo>
                    <a:lnTo>
                      <a:pt x="720" y="788"/>
                    </a:lnTo>
                    <a:lnTo>
                      <a:pt x="714" y="788"/>
                    </a:lnTo>
                    <a:lnTo>
                      <a:pt x="714" y="794"/>
                    </a:lnTo>
                    <a:lnTo>
                      <a:pt x="708" y="794"/>
                    </a:lnTo>
                    <a:lnTo>
                      <a:pt x="703" y="794"/>
                    </a:lnTo>
                    <a:lnTo>
                      <a:pt x="703" y="800"/>
                    </a:lnTo>
                    <a:lnTo>
                      <a:pt x="703" y="811"/>
                    </a:lnTo>
                    <a:lnTo>
                      <a:pt x="708" y="811"/>
                    </a:lnTo>
                    <a:lnTo>
                      <a:pt x="714" y="817"/>
                    </a:lnTo>
                    <a:lnTo>
                      <a:pt x="714" y="822"/>
                    </a:lnTo>
                    <a:lnTo>
                      <a:pt x="720" y="822"/>
                    </a:lnTo>
                    <a:lnTo>
                      <a:pt x="720" y="828"/>
                    </a:lnTo>
                    <a:lnTo>
                      <a:pt x="725" y="828"/>
                    </a:lnTo>
                    <a:lnTo>
                      <a:pt x="725" y="839"/>
                    </a:lnTo>
                    <a:lnTo>
                      <a:pt x="731" y="845"/>
                    </a:lnTo>
                    <a:lnTo>
                      <a:pt x="731" y="851"/>
                    </a:lnTo>
                    <a:lnTo>
                      <a:pt x="737" y="862"/>
                    </a:lnTo>
                    <a:lnTo>
                      <a:pt x="737" y="868"/>
                    </a:lnTo>
                    <a:lnTo>
                      <a:pt x="742" y="879"/>
                    </a:lnTo>
                    <a:lnTo>
                      <a:pt x="742" y="885"/>
                    </a:lnTo>
                    <a:lnTo>
                      <a:pt x="748" y="890"/>
                    </a:lnTo>
                    <a:lnTo>
                      <a:pt x="748" y="896"/>
                    </a:lnTo>
                    <a:lnTo>
                      <a:pt x="754" y="896"/>
                    </a:lnTo>
                    <a:lnTo>
                      <a:pt x="754" y="902"/>
                    </a:lnTo>
                    <a:lnTo>
                      <a:pt x="765" y="913"/>
                    </a:lnTo>
                    <a:lnTo>
                      <a:pt x="771" y="913"/>
                    </a:lnTo>
                    <a:lnTo>
                      <a:pt x="771" y="924"/>
                    </a:lnTo>
                    <a:lnTo>
                      <a:pt x="771" y="930"/>
                    </a:lnTo>
                    <a:lnTo>
                      <a:pt x="776" y="936"/>
                    </a:lnTo>
                    <a:lnTo>
                      <a:pt x="782" y="936"/>
                    </a:lnTo>
                    <a:lnTo>
                      <a:pt x="793" y="936"/>
                    </a:lnTo>
                    <a:lnTo>
                      <a:pt x="793" y="941"/>
                    </a:lnTo>
                    <a:lnTo>
                      <a:pt x="788" y="941"/>
                    </a:lnTo>
                    <a:lnTo>
                      <a:pt x="793" y="947"/>
                    </a:lnTo>
                    <a:lnTo>
                      <a:pt x="788" y="947"/>
                    </a:lnTo>
                    <a:lnTo>
                      <a:pt x="788" y="953"/>
                    </a:lnTo>
                    <a:lnTo>
                      <a:pt x="782" y="953"/>
                    </a:lnTo>
                    <a:lnTo>
                      <a:pt x="782" y="959"/>
                    </a:lnTo>
                    <a:lnTo>
                      <a:pt x="782" y="964"/>
                    </a:lnTo>
                    <a:lnTo>
                      <a:pt x="782" y="970"/>
                    </a:lnTo>
                    <a:lnTo>
                      <a:pt x="788" y="970"/>
                    </a:lnTo>
                    <a:lnTo>
                      <a:pt x="788" y="976"/>
                    </a:lnTo>
                    <a:lnTo>
                      <a:pt x="793" y="976"/>
                    </a:lnTo>
                    <a:lnTo>
                      <a:pt x="793" y="981"/>
                    </a:lnTo>
                    <a:lnTo>
                      <a:pt x="788" y="981"/>
                    </a:lnTo>
                    <a:lnTo>
                      <a:pt x="782" y="981"/>
                    </a:lnTo>
                    <a:lnTo>
                      <a:pt x="776" y="987"/>
                    </a:lnTo>
                    <a:lnTo>
                      <a:pt x="782" y="987"/>
                    </a:lnTo>
                    <a:lnTo>
                      <a:pt x="782" y="993"/>
                    </a:lnTo>
                    <a:lnTo>
                      <a:pt x="788" y="993"/>
                    </a:lnTo>
                    <a:lnTo>
                      <a:pt x="793" y="993"/>
                    </a:lnTo>
                    <a:lnTo>
                      <a:pt x="793" y="998"/>
                    </a:lnTo>
                    <a:lnTo>
                      <a:pt x="788" y="1004"/>
                    </a:lnTo>
                    <a:lnTo>
                      <a:pt x="782" y="1004"/>
                    </a:lnTo>
                    <a:lnTo>
                      <a:pt x="776" y="1004"/>
                    </a:lnTo>
                    <a:lnTo>
                      <a:pt x="771" y="1004"/>
                    </a:lnTo>
                    <a:lnTo>
                      <a:pt x="771" y="1010"/>
                    </a:lnTo>
                    <a:lnTo>
                      <a:pt x="776" y="1010"/>
                    </a:lnTo>
                    <a:lnTo>
                      <a:pt x="782" y="1010"/>
                    </a:lnTo>
                    <a:lnTo>
                      <a:pt x="782" y="1015"/>
                    </a:lnTo>
                    <a:lnTo>
                      <a:pt x="776" y="1015"/>
                    </a:lnTo>
                    <a:lnTo>
                      <a:pt x="771" y="1015"/>
                    </a:lnTo>
                    <a:lnTo>
                      <a:pt x="765" y="1015"/>
                    </a:lnTo>
                    <a:lnTo>
                      <a:pt x="765" y="1021"/>
                    </a:lnTo>
                    <a:lnTo>
                      <a:pt x="771" y="1021"/>
                    </a:lnTo>
                    <a:lnTo>
                      <a:pt x="771" y="1027"/>
                    </a:lnTo>
                    <a:lnTo>
                      <a:pt x="765" y="1027"/>
                    </a:lnTo>
                    <a:lnTo>
                      <a:pt x="765" y="1032"/>
                    </a:lnTo>
                    <a:lnTo>
                      <a:pt x="759" y="1032"/>
                    </a:lnTo>
                    <a:lnTo>
                      <a:pt x="754" y="1032"/>
                    </a:lnTo>
                    <a:lnTo>
                      <a:pt x="754" y="1027"/>
                    </a:lnTo>
                    <a:lnTo>
                      <a:pt x="748" y="1027"/>
                    </a:lnTo>
                    <a:lnTo>
                      <a:pt x="748" y="1032"/>
                    </a:lnTo>
                    <a:lnTo>
                      <a:pt x="742" y="1032"/>
                    </a:lnTo>
                    <a:lnTo>
                      <a:pt x="742" y="1027"/>
                    </a:lnTo>
                    <a:lnTo>
                      <a:pt x="737" y="1027"/>
                    </a:lnTo>
                    <a:lnTo>
                      <a:pt x="737" y="1032"/>
                    </a:lnTo>
                    <a:lnTo>
                      <a:pt x="731" y="1032"/>
                    </a:lnTo>
                    <a:lnTo>
                      <a:pt x="725" y="1032"/>
                    </a:lnTo>
                    <a:lnTo>
                      <a:pt x="720" y="1032"/>
                    </a:lnTo>
                    <a:lnTo>
                      <a:pt x="720" y="1038"/>
                    </a:lnTo>
                    <a:lnTo>
                      <a:pt x="720" y="1044"/>
                    </a:lnTo>
                    <a:lnTo>
                      <a:pt x="714" y="1044"/>
                    </a:lnTo>
                    <a:lnTo>
                      <a:pt x="708" y="1044"/>
                    </a:lnTo>
                    <a:lnTo>
                      <a:pt x="708" y="1038"/>
                    </a:lnTo>
                    <a:lnTo>
                      <a:pt x="703" y="1038"/>
                    </a:lnTo>
                    <a:lnTo>
                      <a:pt x="697" y="1038"/>
                    </a:lnTo>
                    <a:lnTo>
                      <a:pt x="691" y="1038"/>
                    </a:lnTo>
                    <a:lnTo>
                      <a:pt x="686" y="1038"/>
                    </a:lnTo>
                    <a:lnTo>
                      <a:pt x="686" y="1044"/>
                    </a:lnTo>
                    <a:lnTo>
                      <a:pt x="691" y="1049"/>
                    </a:lnTo>
                    <a:lnTo>
                      <a:pt x="691" y="1055"/>
                    </a:lnTo>
                    <a:lnTo>
                      <a:pt x="686" y="1055"/>
                    </a:lnTo>
                    <a:lnTo>
                      <a:pt x="680" y="1055"/>
                    </a:lnTo>
                    <a:lnTo>
                      <a:pt x="674" y="1055"/>
                    </a:lnTo>
                    <a:lnTo>
                      <a:pt x="669" y="1061"/>
                    </a:lnTo>
                    <a:lnTo>
                      <a:pt x="669" y="1066"/>
                    </a:lnTo>
                    <a:lnTo>
                      <a:pt x="669" y="1072"/>
                    </a:lnTo>
                    <a:lnTo>
                      <a:pt x="663" y="1072"/>
                    </a:lnTo>
                    <a:lnTo>
                      <a:pt x="657" y="1072"/>
                    </a:lnTo>
                    <a:lnTo>
                      <a:pt x="652" y="1072"/>
                    </a:lnTo>
                    <a:lnTo>
                      <a:pt x="652" y="1078"/>
                    </a:lnTo>
                    <a:lnTo>
                      <a:pt x="646" y="1078"/>
                    </a:lnTo>
                    <a:lnTo>
                      <a:pt x="640" y="1072"/>
                    </a:lnTo>
                    <a:lnTo>
                      <a:pt x="635" y="1066"/>
                    </a:lnTo>
                    <a:lnTo>
                      <a:pt x="629" y="1066"/>
                    </a:lnTo>
                    <a:lnTo>
                      <a:pt x="623" y="1066"/>
                    </a:lnTo>
                    <a:lnTo>
                      <a:pt x="623" y="1072"/>
                    </a:lnTo>
                    <a:lnTo>
                      <a:pt x="618" y="1072"/>
                    </a:lnTo>
                    <a:lnTo>
                      <a:pt x="612" y="1072"/>
                    </a:lnTo>
                    <a:lnTo>
                      <a:pt x="606" y="1078"/>
                    </a:lnTo>
                    <a:lnTo>
                      <a:pt x="601" y="1078"/>
                    </a:lnTo>
                    <a:lnTo>
                      <a:pt x="601" y="1072"/>
                    </a:lnTo>
                    <a:lnTo>
                      <a:pt x="595" y="1072"/>
                    </a:lnTo>
                    <a:lnTo>
                      <a:pt x="595" y="1078"/>
                    </a:lnTo>
                    <a:lnTo>
                      <a:pt x="589" y="1078"/>
                    </a:lnTo>
                    <a:lnTo>
                      <a:pt x="589" y="1083"/>
                    </a:lnTo>
                    <a:lnTo>
                      <a:pt x="584" y="1078"/>
                    </a:lnTo>
                    <a:lnTo>
                      <a:pt x="589" y="1078"/>
                    </a:lnTo>
                    <a:lnTo>
                      <a:pt x="589" y="1072"/>
                    </a:lnTo>
                    <a:lnTo>
                      <a:pt x="584" y="1072"/>
                    </a:lnTo>
                    <a:lnTo>
                      <a:pt x="578" y="1072"/>
                    </a:lnTo>
                    <a:lnTo>
                      <a:pt x="572" y="1072"/>
                    </a:lnTo>
                    <a:lnTo>
                      <a:pt x="567" y="1072"/>
                    </a:lnTo>
                    <a:lnTo>
                      <a:pt x="561" y="1066"/>
                    </a:lnTo>
                    <a:lnTo>
                      <a:pt x="555" y="1066"/>
                    </a:lnTo>
                    <a:lnTo>
                      <a:pt x="549" y="1066"/>
                    </a:lnTo>
                    <a:lnTo>
                      <a:pt x="549" y="1061"/>
                    </a:lnTo>
                    <a:lnTo>
                      <a:pt x="549" y="1055"/>
                    </a:lnTo>
                    <a:lnTo>
                      <a:pt x="538" y="1049"/>
                    </a:lnTo>
                    <a:lnTo>
                      <a:pt x="532" y="1049"/>
                    </a:lnTo>
                    <a:lnTo>
                      <a:pt x="527" y="1049"/>
                    </a:lnTo>
                    <a:lnTo>
                      <a:pt x="521" y="1049"/>
                    </a:lnTo>
                    <a:lnTo>
                      <a:pt x="515" y="1055"/>
                    </a:lnTo>
                    <a:lnTo>
                      <a:pt x="510" y="1055"/>
                    </a:lnTo>
                    <a:lnTo>
                      <a:pt x="504" y="1055"/>
                    </a:lnTo>
                    <a:lnTo>
                      <a:pt x="498" y="1055"/>
                    </a:lnTo>
                    <a:lnTo>
                      <a:pt x="493" y="1049"/>
                    </a:lnTo>
                    <a:lnTo>
                      <a:pt x="493" y="1044"/>
                    </a:lnTo>
                    <a:lnTo>
                      <a:pt x="487" y="1038"/>
                    </a:lnTo>
                    <a:lnTo>
                      <a:pt x="481" y="1038"/>
                    </a:lnTo>
                    <a:lnTo>
                      <a:pt x="476" y="1038"/>
                    </a:lnTo>
                    <a:lnTo>
                      <a:pt x="476" y="1032"/>
                    </a:lnTo>
                    <a:lnTo>
                      <a:pt x="470" y="1027"/>
                    </a:lnTo>
                    <a:lnTo>
                      <a:pt x="464" y="1027"/>
                    </a:lnTo>
                    <a:lnTo>
                      <a:pt x="459" y="1027"/>
                    </a:lnTo>
                    <a:lnTo>
                      <a:pt x="459" y="1032"/>
                    </a:lnTo>
                    <a:lnTo>
                      <a:pt x="464" y="1032"/>
                    </a:lnTo>
                    <a:lnTo>
                      <a:pt x="464" y="1038"/>
                    </a:lnTo>
                    <a:lnTo>
                      <a:pt x="464" y="1044"/>
                    </a:lnTo>
                    <a:lnTo>
                      <a:pt x="464" y="1038"/>
                    </a:lnTo>
                    <a:lnTo>
                      <a:pt x="459" y="1038"/>
                    </a:lnTo>
                    <a:lnTo>
                      <a:pt x="459" y="1044"/>
                    </a:lnTo>
                    <a:lnTo>
                      <a:pt x="453" y="1038"/>
                    </a:lnTo>
                    <a:lnTo>
                      <a:pt x="447" y="1038"/>
                    </a:lnTo>
                    <a:lnTo>
                      <a:pt x="442" y="1038"/>
                    </a:lnTo>
                    <a:lnTo>
                      <a:pt x="436" y="1038"/>
                    </a:lnTo>
                    <a:lnTo>
                      <a:pt x="436" y="1044"/>
                    </a:lnTo>
                    <a:lnTo>
                      <a:pt x="430" y="1044"/>
                    </a:lnTo>
                    <a:lnTo>
                      <a:pt x="430" y="1038"/>
                    </a:lnTo>
                    <a:lnTo>
                      <a:pt x="425" y="1038"/>
                    </a:lnTo>
                    <a:lnTo>
                      <a:pt x="425" y="1044"/>
                    </a:lnTo>
                    <a:lnTo>
                      <a:pt x="419" y="1044"/>
                    </a:lnTo>
                    <a:lnTo>
                      <a:pt x="413" y="1044"/>
                    </a:lnTo>
                    <a:lnTo>
                      <a:pt x="408" y="1049"/>
                    </a:lnTo>
                    <a:lnTo>
                      <a:pt x="408" y="1055"/>
                    </a:lnTo>
                    <a:lnTo>
                      <a:pt x="402" y="1055"/>
                    </a:lnTo>
                    <a:lnTo>
                      <a:pt x="402" y="1049"/>
                    </a:lnTo>
                    <a:lnTo>
                      <a:pt x="402" y="1044"/>
                    </a:lnTo>
                    <a:lnTo>
                      <a:pt x="396" y="1044"/>
                    </a:lnTo>
                    <a:lnTo>
                      <a:pt x="391" y="1044"/>
                    </a:lnTo>
                    <a:lnTo>
                      <a:pt x="385" y="1044"/>
                    </a:lnTo>
                    <a:lnTo>
                      <a:pt x="385" y="1049"/>
                    </a:lnTo>
                    <a:lnTo>
                      <a:pt x="391" y="1049"/>
                    </a:lnTo>
                    <a:lnTo>
                      <a:pt x="391" y="1055"/>
                    </a:lnTo>
                    <a:lnTo>
                      <a:pt x="391" y="1061"/>
                    </a:lnTo>
                    <a:lnTo>
                      <a:pt x="385" y="1061"/>
                    </a:lnTo>
                    <a:lnTo>
                      <a:pt x="379" y="1066"/>
                    </a:lnTo>
                    <a:lnTo>
                      <a:pt x="374" y="1066"/>
                    </a:lnTo>
                    <a:lnTo>
                      <a:pt x="374" y="1072"/>
                    </a:lnTo>
                    <a:lnTo>
                      <a:pt x="368" y="1072"/>
                    </a:lnTo>
                    <a:lnTo>
                      <a:pt x="362" y="1072"/>
                    </a:lnTo>
                    <a:lnTo>
                      <a:pt x="362" y="1078"/>
                    </a:lnTo>
                    <a:lnTo>
                      <a:pt x="357" y="1078"/>
                    </a:lnTo>
                    <a:lnTo>
                      <a:pt x="351" y="1078"/>
                    </a:lnTo>
                    <a:lnTo>
                      <a:pt x="345" y="1078"/>
                    </a:lnTo>
                    <a:lnTo>
                      <a:pt x="340" y="1078"/>
                    </a:lnTo>
                    <a:lnTo>
                      <a:pt x="334" y="1078"/>
                    </a:lnTo>
                    <a:lnTo>
                      <a:pt x="334" y="1072"/>
                    </a:lnTo>
                    <a:lnTo>
                      <a:pt x="328" y="1072"/>
                    </a:lnTo>
                    <a:lnTo>
                      <a:pt x="323" y="1072"/>
                    </a:lnTo>
                    <a:lnTo>
                      <a:pt x="323" y="1066"/>
                    </a:lnTo>
                    <a:lnTo>
                      <a:pt x="323" y="1061"/>
                    </a:lnTo>
                    <a:lnTo>
                      <a:pt x="317" y="1061"/>
                    </a:lnTo>
                    <a:lnTo>
                      <a:pt x="317" y="1055"/>
                    </a:lnTo>
                    <a:lnTo>
                      <a:pt x="311" y="1055"/>
                    </a:lnTo>
                    <a:lnTo>
                      <a:pt x="311" y="1061"/>
                    </a:lnTo>
                    <a:lnTo>
                      <a:pt x="306" y="1061"/>
                    </a:lnTo>
                    <a:lnTo>
                      <a:pt x="300" y="1061"/>
                    </a:lnTo>
                    <a:lnTo>
                      <a:pt x="294" y="1061"/>
                    </a:lnTo>
                    <a:lnTo>
                      <a:pt x="289" y="1061"/>
                    </a:lnTo>
                    <a:lnTo>
                      <a:pt x="283" y="1061"/>
                    </a:lnTo>
                    <a:lnTo>
                      <a:pt x="277" y="1061"/>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58" name="Freeform 11"/>
              <p:cNvSpPr>
                <a:spLocks/>
              </p:cNvSpPr>
              <p:nvPr>
                <p:custDataLst>
                  <p:tags r:id="rId8"/>
                </p:custDataLst>
              </p:nvPr>
            </p:nvSpPr>
            <p:spPr bwMode="gray">
              <a:xfrm>
                <a:off x="2998098" y="1731501"/>
                <a:ext cx="878008" cy="836292"/>
              </a:xfrm>
              <a:custGeom>
                <a:avLst/>
                <a:gdLst>
                  <a:gd name="T0" fmla="*/ 7638 w 1009"/>
                  <a:gd name="T1" fmla="*/ 201390 h 958"/>
                  <a:gd name="T2" fmla="*/ 35461 w 1009"/>
                  <a:gd name="T3" fmla="*/ 189094 h 958"/>
                  <a:gd name="T4" fmla="*/ 24822 w 1009"/>
                  <a:gd name="T5" fmla="*/ 175157 h 958"/>
                  <a:gd name="T6" fmla="*/ 13912 w 1009"/>
                  <a:gd name="T7" fmla="*/ 157942 h 958"/>
                  <a:gd name="T8" fmla="*/ 44735 w 1009"/>
                  <a:gd name="T9" fmla="*/ 139361 h 958"/>
                  <a:gd name="T10" fmla="*/ 55646 w 1009"/>
                  <a:gd name="T11" fmla="*/ 119413 h 958"/>
                  <a:gd name="T12" fmla="*/ 29459 w 1009"/>
                  <a:gd name="T13" fmla="*/ 120780 h 958"/>
                  <a:gd name="T14" fmla="*/ 29459 w 1009"/>
                  <a:gd name="T15" fmla="*/ 106843 h 958"/>
                  <a:gd name="T16" fmla="*/ 40098 w 1009"/>
                  <a:gd name="T17" fmla="*/ 89901 h 958"/>
                  <a:gd name="T18" fmla="*/ 10911 w 1009"/>
                  <a:gd name="T19" fmla="*/ 94547 h 958"/>
                  <a:gd name="T20" fmla="*/ 26186 w 1009"/>
                  <a:gd name="T21" fmla="*/ 83616 h 958"/>
                  <a:gd name="T22" fmla="*/ 46372 w 1009"/>
                  <a:gd name="T23" fmla="*/ 72959 h 958"/>
                  <a:gd name="T24" fmla="*/ 69558 w 1009"/>
                  <a:gd name="T25" fmla="*/ 69681 h 958"/>
                  <a:gd name="T26" fmla="*/ 83469 w 1009"/>
                  <a:gd name="T27" fmla="*/ 69681 h 958"/>
                  <a:gd name="T28" fmla="*/ 86470 w 1009"/>
                  <a:gd name="T29" fmla="*/ 77605 h 958"/>
                  <a:gd name="T30" fmla="*/ 102018 w 1009"/>
                  <a:gd name="T31" fmla="*/ 91541 h 958"/>
                  <a:gd name="T32" fmla="*/ 111293 w 1009"/>
                  <a:gd name="T33" fmla="*/ 78971 h 958"/>
                  <a:gd name="T34" fmla="*/ 150027 w 1009"/>
                  <a:gd name="T35" fmla="*/ 54378 h 958"/>
                  <a:gd name="T36" fmla="*/ 159301 w 1009"/>
                  <a:gd name="T37" fmla="*/ 51099 h 958"/>
                  <a:gd name="T38" fmla="*/ 174849 w 1009"/>
                  <a:gd name="T39" fmla="*/ 46454 h 958"/>
                  <a:gd name="T40" fmla="*/ 193398 w 1009"/>
                  <a:gd name="T41" fmla="*/ 41808 h 958"/>
                  <a:gd name="T42" fmla="*/ 194762 w 1009"/>
                  <a:gd name="T43" fmla="*/ 59023 h 958"/>
                  <a:gd name="T44" fmla="*/ 208674 w 1009"/>
                  <a:gd name="T45" fmla="*/ 72959 h 958"/>
                  <a:gd name="T46" fmla="*/ 217948 w 1009"/>
                  <a:gd name="T47" fmla="*/ 78971 h 958"/>
                  <a:gd name="T48" fmla="*/ 231859 w 1009"/>
                  <a:gd name="T49" fmla="*/ 75965 h 958"/>
                  <a:gd name="T50" fmla="*/ 225858 w 1009"/>
                  <a:gd name="T51" fmla="*/ 65035 h 958"/>
                  <a:gd name="T52" fmla="*/ 244407 w 1009"/>
                  <a:gd name="T53" fmla="*/ 51099 h 958"/>
                  <a:gd name="T54" fmla="*/ 230495 w 1009"/>
                  <a:gd name="T55" fmla="*/ 34157 h 958"/>
                  <a:gd name="T56" fmla="*/ 224222 w 1009"/>
                  <a:gd name="T57" fmla="*/ 9291 h 958"/>
                  <a:gd name="T58" fmla="*/ 235132 w 1009"/>
                  <a:gd name="T59" fmla="*/ 4645 h 958"/>
                  <a:gd name="T60" fmla="*/ 245771 w 1009"/>
                  <a:gd name="T61" fmla="*/ 7924 h 958"/>
                  <a:gd name="T62" fmla="*/ 255045 w 1009"/>
                  <a:gd name="T63" fmla="*/ 6285 h 958"/>
                  <a:gd name="T64" fmla="*/ 265956 w 1009"/>
                  <a:gd name="T65" fmla="*/ 0 h 958"/>
                  <a:gd name="T66" fmla="*/ 273594 w 1009"/>
                  <a:gd name="T67" fmla="*/ 45087 h 958"/>
                  <a:gd name="T68" fmla="*/ 273594 w 1009"/>
                  <a:gd name="T69" fmla="*/ 100832 h 958"/>
                  <a:gd name="T70" fmla="*/ 272230 w 1009"/>
                  <a:gd name="T71" fmla="*/ 119413 h 958"/>
                  <a:gd name="T72" fmla="*/ 267593 w 1009"/>
                  <a:gd name="T73" fmla="*/ 144006 h 958"/>
                  <a:gd name="T74" fmla="*/ 256682 w 1009"/>
                  <a:gd name="T75" fmla="*/ 148651 h 958"/>
                  <a:gd name="T76" fmla="*/ 239770 w 1009"/>
                  <a:gd name="T77" fmla="*/ 136355 h 958"/>
                  <a:gd name="T78" fmla="*/ 225858 w 1009"/>
                  <a:gd name="T79" fmla="*/ 130070 h 958"/>
                  <a:gd name="T80" fmla="*/ 208674 w 1009"/>
                  <a:gd name="T81" fmla="*/ 144006 h 958"/>
                  <a:gd name="T82" fmla="*/ 202672 w 1009"/>
                  <a:gd name="T83" fmla="*/ 156576 h 958"/>
                  <a:gd name="T84" fmla="*/ 191761 w 1009"/>
                  <a:gd name="T85" fmla="*/ 173518 h 958"/>
                  <a:gd name="T86" fmla="*/ 182487 w 1009"/>
                  <a:gd name="T87" fmla="*/ 189094 h 958"/>
                  <a:gd name="T88" fmla="*/ 180850 w 1009"/>
                  <a:gd name="T89" fmla="*/ 207675 h 958"/>
                  <a:gd name="T90" fmla="*/ 190125 w 1009"/>
                  <a:gd name="T91" fmla="*/ 213960 h 958"/>
                  <a:gd name="T92" fmla="*/ 193398 w 1009"/>
                  <a:gd name="T93" fmla="*/ 224617 h 958"/>
                  <a:gd name="T94" fmla="*/ 198035 w 1009"/>
                  <a:gd name="T95" fmla="*/ 247843 h 958"/>
                  <a:gd name="T96" fmla="*/ 177850 w 1009"/>
                  <a:gd name="T97" fmla="*/ 246477 h 958"/>
                  <a:gd name="T98" fmla="*/ 157664 w 1009"/>
                  <a:gd name="T99" fmla="*/ 246477 h 958"/>
                  <a:gd name="T100" fmla="*/ 137752 w 1009"/>
                  <a:gd name="T101" fmla="*/ 249483 h 958"/>
                  <a:gd name="T102" fmla="*/ 120567 w 1009"/>
                  <a:gd name="T103" fmla="*/ 251123 h 958"/>
                  <a:gd name="T104" fmla="*/ 106656 w 1009"/>
                  <a:gd name="T105" fmla="*/ 257134 h 958"/>
                  <a:gd name="T106" fmla="*/ 89743 w 1009"/>
                  <a:gd name="T107" fmla="*/ 255768 h 958"/>
                  <a:gd name="T108" fmla="*/ 80469 w 1009"/>
                  <a:gd name="T109" fmla="*/ 241832 h 958"/>
                  <a:gd name="T110" fmla="*/ 69558 w 1009"/>
                  <a:gd name="T111" fmla="*/ 237187 h 958"/>
                  <a:gd name="T112" fmla="*/ 55646 w 1009"/>
                  <a:gd name="T113" fmla="*/ 227896 h 958"/>
                  <a:gd name="T114" fmla="*/ 46372 w 1009"/>
                  <a:gd name="T115" fmla="*/ 224617 h 958"/>
                  <a:gd name="T116" fmla="*/ 34097 w 1009"/>
                  <a:gd name="T117" fmla="*/ 223250 h 958"/>
                  <a:gd name="T118" fmla="*/ 26186 w 1009"/>
                  <a:gd name="T119" fmla="*/ 223250 h 958"/>
                  <a:gd name="T120" fmla="*/ 18549 w 1009"/>
                  <a:gd name="T121" fmla="*/ 229262 h 958"/>
                  <a:gd name="T122" fmla="*/ 10911 w 1009"/>
                  <a:gd name="T123" fmla="*/ 224617 h 958"/>
                  <a:gd name="T124" fmla="*/ 0 w 1009"/>
                  <a:gd name="T125" fmla="*/ 216965 h 95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9" h="958">
                    <a:moveTo>
                      <a:pt x="0" y="794"/>
                    </a:moveTo>
                    <a:lnTo>
                      <a:pt x="11" y="783"/>
                    </a:lnTo>
                    <a:lnTo>
                      <a:pt x="6" y="783"/>
                    </a:lnTo>
                    <a:lnTo>
                      <a:pt x="6" y="771"/>
                    </a:lnTo>
                    <a:lnTo>
                      <a:pt x="11" y="771"/>
                    </a:lnTo>
                    <a:lnTo>
                      <a:pt x="11" y="766"/>
                    </a:lnTo>
                    <a:lnTo>
                      <a:pt x="28" y="760"/>
                    </a:lnTo>
                    <a:lnTo>
                      <a:pt x="28" y="754"/>
                    </a:lnTo>
                    <a:lnTo>
                      <a:pt x="23" y="754"/>
                    </a:lnTo>
                    <a:lnTo>
                      <a:pt x="28" y="737"/>
                    </a:lnTo>
                    <a:lnTo>
                      <a:pt x="40" y="731"/>
                    </a:lnTo>
                    <a:lnTo>
                      <a:pt x="51" y="726"/>
                    </a:lnTo>
                    <a:lnTo>
                      <a:pt x="51" y="720"/>
                    </a:lnTo>
                    <a:lnTo>
                      <a:pt x="62" y="714"/>
                    </a:lnTo>
                    <a:lnTo>
                      <a:pt x="62" y="709"/>
                    </a:lnTo>
                    <a:lnTo>
                      <a:pt x="74" y="703"/>
                    </a:lnTo>
                    <a:lnTo>
                      <a:pt x="85" y="703"/>
                    </a:lnTo>
                    <a:lnTo>
                      <a:pt x="91" y="703"/>
                    </a:lnTo>
                    <a:lnTo>
                      <a:pt x="96" y="697"/>
                    </a:lnTo>
                    <a:lnTo>
                      <a:pt x="130" y="692"/>
                    </a:lnTo>
                    <a:lnTo>
                      <a:pt x="130" y="675"/>
                    </a:lnTo>
                    <a:lnTo>
                      <a:pt x="159" y="663"/>
                    </a:lnTo>
                    <a:lnTo>
                      <a:pt x="147" y="641"/>
                    </a:lnTo>
                    <a:lnTo>
                      <a:pt x="142" y="641"/>
                    </a:lnTo>
                    <a:lnTo>
                      <a:pt x="136" y="641"/>
                    </a:lnTo>
                    <a:lnTo>
                      <a:pt x="130" y="641"/>
                    </a:lnTo>
                    <a:lnTo>
                      <a:pt x="113" y="652"/>
                    </a:lnTo>
                    <a:lnTo>
                      <a:pt x="102" y="646"/>
                    </a:lnTo>
                    <a:lnTo>
                      <a:pt x="102" y="641"/>
                    </a:lnTo>
                    <a:lnTo>
                      <a:pt x="91" y="641"/>
                    </a:lnTo>
                    <a:lnTo>
                      <a:pt x="91" y="635"/>
                    </a:lnTo>
                    <a:lnTo>
                      <a:pt x="85" y="624"/>
                    </a:lnTo>
                    <a:lnTo>
                      <a:pt x="79" y="624"/>
                    </a:lnTo>
                    <a:lnTo>
                      <a:pt x="74" y="618"/>
                    </a:lnTo>
                    <a:lnTo>
                      <a:pt x="68" y="612"/>
                    </a:lnTo>
                    <a:lnTo>
                      <a:pt x="68" y="601"/>
                    </a:lnTo>
                    <a:lnTo>
                      <a:pt x="68" y="595"/>
                    </a:lnTo>
                    <a:lnTo>
                      <a:pt x="62" y="595"/>
                    </a:lnTo>
                    <a:lnTo>
                      <a:pt x="62" y="590"/>
                    </a:lnTo>
                    <a:lnTo>
                      <a:pt x="51" y="578"/>
                    </a:lnTo>
                    <a:lnTo>
                      <a:pt x="62" y="573"/>
                    </a:lnTo>
                    <a:lnTo>
                      <a:pt x="68" y="573"/>
                    </a:lnTo>
                    <a:lnTo>
                      <a:pt x="74" y="573"/>
                    </a:lnTo>
                    <a:lnTo>
                      <a:pt x="79" y="573"/>
                    </a:lnTo>
                    <a:lnTo>
                      <a:pt x="85" y="561"/>
                    </a:lnTo>
                    <a:lnTo>
                      <a:pt x="96" y="550"/>
                    </a:lnTo>
                    <a:lnTo>
                      <a:pt x="130" y="550"/>
                    </a:lnTo>
                    <a:lnTo>
                      <a:pt x="136" y="561"/>
                    </a:lnTo>
                    <a:lnTo>
                      <a:pt x="159" y="556"/>
                    </a:lnTo>
                    <a:lnTo>
                      <a:pt x="164" y="510"/>
                    </a:lnTo>
                    <a:lnTo>
                      <a:pt x="181" y="516"/>
                    </a:lnTo>
                    <a:lnTo>
                      <a:pt x="187" y="505"/>
                    </a:lnTo>
                    <a:lnTo>
                      <a:pt x="181" y="499"/>
                    </a:lnTo>
                    <a:lnTo>
                      <a:pt x="198" y="476"/>
                    </a:lnTo>
                    <a:lnTo>
                      <a:pt x="187" y="471"/>
                    </a:lnTo>
                    <a:lnTo>
                      <a:pt x="193" y="459"/>
                    </a:lnTo>
                    <a:lnTo>
                      <a:pt x="215" y="454"/>
                    </a:lnTo>
                    <a:lnTo>
                      <a:pt x="215" y="442"/>
                    </a:lnTo>
                    <a:lnTo>
                      <a:pt x="210" y="431"/>
                    </a:lnTo>
                    <a:lnTo>
                      <a:pt x="204" y="437"/>
                    </a:lnTo>
                    <a:lnTo>
                      <a:pt x="187" y="437"/>
                    </a:lnTo>
                    <a:lnTo>
                      <a:pt x="181" y="442"/>
                    </a:lnTo>
                    <a:lnTo>
                      <a:pt x="170" y="459"/>
                    </a:lnTo>
                    <a:lnTo>
                      <a:pt x="164" y="459"/>
                    </a:lnTo>
                    <a:lnTo>
                      <a:pt x="164" y="465"/>
                    </a:lnTo>
                    <a:lnTo>
                      <a:pt x="159" y="471"/>
                    </a:lnTo>
                    <a:lnTo>
                      <a:pt x="153" y="471"/>
                    </a:lnTo>
                    <a:lnTo>
                      <a:pt x="113" y="465"/>
                    </a:lnTo>
                    <a:lnTo>
                      <a:pt x="113" y="454"/>
                    </a:lnTo>
                    <a:lnTo>
                      <a:pt x="108" y="442"/>
                    </a:lnTo>
                    <a:lnTo>
                      <a:pt x="108" y="437"/>
                    </a:lnTo>
                    <a:lnTo>
                      <a:pt x="102" y="431"/>
                    </a:lnTo>
                    <a:lnTo>
                      <a:pt x="102" y="425"/>
                    </a:lnTo>
                    <a:lnTo>
                      <a:pt x="102" y="420"/>
                    </a:lnTo>
                    <a:lnTo>
                      <a:pt x="108" y="414"/>
                    </a:lnTo>
                    <a:lnTo>
                      <a:pt x="108" y="408"/>
                    </a:lnTo>
                    <a:lnTo>
                      <a:pt x="102" y="403"/>
                    </a:lnTo>
                    <a:lnTo>
                      <a:pt x="108" y="403"/>
                    </a:lnTo>
                    <a:lnTo>
                      <a:pt x="108" y="397"/>
                    </a:lnTo>
                    <a:lnTo>
                      <a:pt x="108" y="391"/>
                    </a:lnTo>
                    <a:lnTo>
                      <a:pt x="108" y="380"/>
                    </a:lnTo>
                    <a:lnTo>
                      <a:pt x="113" y="380"/>
                    </a:lnTo>
                    <a:lnTo>
                      <a:pt x="113" y="369"/>
                    </a:lnTo>
                    <a:lnTo>
                      <a:pt x="113" y="363"/>
                    </a:lnTo>
                    <a:lnTo>
                      <a:pt x="113" y="357"/>
                    </a:lnTo>
                    <a:lnTo>
                      <a:pt x="113" y="352"/>
                    </a:lnTo>
                    <a:lnTo>
                      <a:pt x="130" y="352"/>
                    </a:lnTo>
                    <a:lnTo>
                      <a:pt x="142" y="346"/>
                    </a:lnTo>
                    <a:lnTo>
                      <a:pt x="147" y="340"/>
                    </a:lnTo>
                    <a:lnTo>
                      <a:pt x="147" y="329"/>
                    </a:lnTo>
                    <a:lnTo>
                      <a:pt x="142" y="323"/>
                    </a:lnTo>
                    <a:lnTo>
                      <a:pt x="136" y="323"/>
                    </a:lnTo>
                    <a:lnTo>
                      <a:pt x="119" y="323"/>
                    </a:lnTo>
                    <a:lnTo>
                      <a:pt x="113" y="323"/>
                    </a:lnTo>
                    <a:lnTo>
                      <a:pt x="108" y="323"/>
                    </a:lnTo>
                    <a:lnTo>
                      <a:pt x="102" y="323"/>
                    </a:lnTo>
                    <a:lnTo>
                      <a:pt x="74" y="335"/>
                    </a:lnTo>
                    <a:lnTo>
                      <a:pt x="68" y="340"/>
                    </a:lnTo>
                    <a:lnTo>
                      <a:pt x="57" y="340"/>
                    </a:lnTo>
                    <a:lnTo>
                      <a:pt x="40" y="346"/>
                    </a:lnTo>
                    <a:lnTo>
                      <a:pt x="40" y="335"/>
                    </a:lnTo>
                    <a:lnTo>
                      <a:pt x="34" y="329"/>
                    </a:lnTo>
                    <a:lnTo>
                      <a:pt x="40" y="329"/>
                    </a:lnTo>
                    <a:lnTo>
                      <a:pt x="45" y="323"/>
                    </a:lnTo>
                    <a:lnTo>
                      <a:pt x="57" y="323"/>
                    </a:lnTo>
                    <a:lnTo>
                      <a:pt x="62" y="318"/>
                    </a:lnTo>
                    <a:lnTo>
                      <a:pt x="62" y="312"/>
                    </a:lnTo>
                    <a:lnTo>
                      <a:pt x="68" y="312"/>
                    </a:lnTo>
                    <a:lnTo>
                      <a:pt x="79" y="306"/>
                    </a:lnTo>
                    <a:lnTo>
                      <a:pt x="96" y="306"/>
                    </a:lnTo>
                    <a:lnTo>
                      <a:pt x="102" y="301"/>
                    </a:lnTo>
                    <a:lnTo>
                      <a:pt x="102" y="289"/>
                    </a:lnTo>
                    <a:lnTo>
                      <a:pt x="102" y="284"/>
                    </a:lnTo>
                    <a:lnTo>
                      <a:pt x="113" y="278"/>
                    </a:lnTo>
                    <a:lnTo>
                      <a:pt x="119" y="278"/>
                    </a:lnTo>
                    <a:lnTo>
                      <a:pt x="125" y="272"/>
                    </a:lnTo>
                    <a:lnTo>
                      <a:pt x="130" y="272"/>
                    </a:lnTo>
                    <a:lnTo>
                      <a:pt x="142" y="267"/>
                    </a:lnTo>
                    <a:lnTo>
                      <a:pt x="159" y="261"/>
                    </a:lnTo>
                    <a:lnTo>
                      <a:pt x="170" y="267"/>
                    </a:lnTo>
                    <a:lnTo>
                      <a:pt x="181" y="267"/>
                    </a:lnTo>
                    <a:lnTo>
                      <a:pt x="187" y="261"/>
                    </a:lnTo>
                    <a:lnTo>
                      <a:pt x="193" y="267"/>
                    </a:lnTo>
                    <a:lnTo>
                      <a:pt x="193" y="244"/>
                    </a:lnTo>
                    <a:lnTo>
                      <a:pt x="215" y="250"/>
                    </a:lnTo>
                    <a:lnTo>
                      <a:pt x="215" y="255"/>
                    </a:lnTo>
                    <a:lnTo>
                      <a:pt x="221" y="255"/>
                    </a:lnTo>
                    <a:lnTo>
                      <a:pt x="227" y="278"/>
                    </a:lnTo>
                    <a:lnTo>
                      <a:pt x="255" y="267"/>
                    </a:lnTo>
                    <a:lnTo>
                      <a:pt x="255" y="255"/>
                    </a:lnTo>
                    <a:lnTo>
                      <a:pt x="261" y="255"/>
                    </a:lnTo>
                    <a:lnTo>
                      <a:pt x="261" y="250"/>
                    </a:lnTo>
                    <a:lnTo>
                      <a:pt x="261" y="244"/>
                    </a:lnTo>
                    <a:lnTo>
                      <a:pt x="261" y="238"/>
                    </a:lnTo>
                    <a:lnTo>
                      <a:pt x="278" y="233"/>
                    </a:lnTo>
                    <a:lnTo>
                      <a:pt x="289" y="238"/>
                    </a:lnTo>
                    <a:lnTo>
                      <a:pt x="306" y="238"/>
                    </a:lnTo>
                    <a:lnTo>
                      <a:pt x="300" y="244"/>
                    </a:lnTo>
                    <a:lnTo>
                      <a:pt x="306" y="250"/>
                    </a:lnTo>
                    <a:lnTo>
                      <a:pt x="306" y="255"/>
                    </a:lnTo>
                    <a:lnTo>
                      <a:pt x="312" y="261"/>
                    </a:lnTo>
                    <a:lnTo>
                      <a:pt x="312" y="267"/>
                    </a:lnTo>
                    <a:lnTo>
                      <a:pt x="312" y="272"/>
                    </a:lnTo>
                    <a:lnTo>
                      <a:pt x="306" y="278"/>
                    </a:lnTo>
                    <a:lnTo>
                      <a:pt x="300" y="278"/>
                    </a:lnTo>
                    <a:lnTo>
                      <a:pt x="300" y="284"/>
                    </a:lnTo>
                    <a:lnTo>
                      <a:pt x="306" y="284"/>
                    </a:lnTo>
                    <a:lnTo>
                      <a:pt x="312" y="278"/>
                    </a:lnTo>
                    <a:lnTo>
                      <a:pt x="317" y="278"/>
                    </a:lnTo>
                    <a:lnTo>
                      <a:pt x="317" y="284"/>
                    </a:lnTo>
                    <a:lnTo>
                      <a:pt x="323" y="289"/>
                    </a:lnTo>
                    <a:lnTo>
                      <a:pt x="329" y="295"/>
                    </a:lnTo>
                    <a:lnTo>
                      <a:pt x="329" y="301"/>
                    </a:lnTo>
                    <a:lnTo>
                      <a:pt x="334" y="306"/>
                    </a:lnTo>
                    <a:lnTo>
                      <a:pt x="340" y="312"/>
                    </a:lnTo>
                    <a:lnTo>
                      <a:pt x="340" y="306"/>
                    </a:lnTo>
                    <a:lnTo>
                      <a:pt x="346" y="312"/>
                    </a:lnTo>
                    <a:lnTo>
                      <a:pt x="357" y="323"/>
                    </a:lnTo>
                    <a:lnTo>
                      <a:pt x="357" y="329"/>
                    </a:lnTo>
                    <a:lnTo>
                      <a:pt x="374" y="335"/>
                    </a:lnTo>
                    <a:lnTo>
                      <a:pt x="397" y="335"/>
                    </a:lnTo>
                    <a:lnTo>
                      <a:pt x="403" y="340"/>
                    </a:lnTo>
                    <a:lnTo>
                      <a:pt x="414" y="329"/>
                    </a:lnTo>
                    <a:lnTo>
                      <a:pt x="414" y="323"/>
                    </a:lnTo>
                    <a:lnTo>
                      <a:pt x="425" y="318"/>
                    </a:lnTo>
                    <a:lnTo>
                      <a:pt x="425" y="312"/>
                    </a:lnTo>
                    <a:lnTo>
                      <a:pt x="420" y="301"/>
                    </a:lnTo>
                    <a:lnTo>
                      <a:pt x="414" y="301"/>
                    </a:lnTo>
                    <a:lnTo>
                      <a:pt x="408" y="301"/>
                    </a:lnTo>
                    <a:lnTo>
                      <a:pt x="408" y="289"/>
                    </a:lnTo>
                    <a:lnTo>
                      <a:pt x="425" y="289"/>
                    </a:lnTo>
                    <a:lnTo>
                      <a:pt x="425" y="284"/>
                    </a:lnTo>
                    <a:lnTo>
                      <a:pt x="442" y="272"/>
                    </a:lnTo>
                    <a:lnTo>
                      <a:pt x="459" y="261"/>
                    </a:lnTo>
                    <a:lnTo>
                      <a:pt x="493" y="233"/>
                    </a:lnTo>
                    <a:lnTo>
                      <a:pt x="510" y="227"/>
                    </a:lnTo>
                    <a:lnTo>
                      <a:pt x="510" y="221"/>
                    </a:lnTo>
                    <a:lnTo>
                      <a:pt x="516" y="210"/>
                    </a:lnTo>
                    <a:lnTo>
                      <a:pt x="516" y="204"/>
                    </a:lnTo>
                    <a:lnTo>
                      <a:pt x="550" y="199"/>
                    </a:lnTo>
                    <a:lnTo>
                      <a:pt x="556" y="199"/>
                    </a:lnTo>
                    <a:lnTo>
                      <a:pt x="561" y="199"/>
                    </a:lnTo>
                    <a:lnTo>
                      <a:pt x="561" y="193"/>
                    </a:lnTo>
                    <a:lnTo>
                      <a:pt x="561" y="187"/>
                    </a:lnTo>
                    <a:lnTo>
                      <a:pt x="567" y="187"/>
                    </a:lnTo>
                    <a:lnTo>
                      <a:pt x="573" y="187"/>
                    </a:lnTo>
                    <a:lnTo>
                      <a:pt x="578" y="187"/>
                    </a:lnTo>
                    <a:lnTo>
                      <a:pt x="578" y="182"/>
                    </a:lnTo>
                    <a:lnTo>
                      <a:pt x="584" y="182"/>
                    </a:lnTo>
                    <a:lnTo>
                      <a:pt x="584" y="187"/>
                    </a:lnTo>
                    <a:lnTo>
                      <a:pt x="590" y="187"/>
                    </a:lnTo>
                    <a:lnTo>
                      <a:pt x="595" y="187"/>
                    </a:lnTo>
                    <a:lnTo>
                      <a:pt x="601" y="187"/>
                    </a:lnTo>
                    <a:lnTo>
                      <a:pt x="607" y="187"/>
                    </a:lnTo>
                    <a:lnTo>
                      <a:pt x="607" y="193"/>
                    </a:lnTo>
                    <a:lnTo>
                      <a:pt x="607" y="199"/>
                    </a:lnTo>
                    <a:lnTo>
                      <a:pt x="624" y="187"/>
                    </a:lnTo>
                    <a:lnTo>
                      <a:pt x="635" y="176"/>
                    </a:lnTo>
                    <a:lnTo>
                      <a:pt x="635" y="170"/>
                    </a:lnTo>
                    <a:lnTo>
                      <a:pt x="641" y="170"/>
                    </a:lnTo>
                    <a:lnTo>
                      <a:pt x="641" y="165"/>
                    </a:lnTo>
                    <a:lnTo>
                      <a:pt x="641" y="153"/>
                    </a:lnTo>
                    <a:lnTo>
                      <a:pt x="646" y="153"/>
                    </a:lnTo>
                    <a:lnTo>
                      <a:pt x="652" y="159"/>
                    </a:lnTo>
                    <a:lnTo>
                      <a:pt x="669" y="153"/>
                    </a:lnTo>
                    <a:lnTo>
                      <a:pt x="669" y="142"/>
                    </a:lnTo>
                    <a:lnTo>
                      <a:pt x="675" y="136"/>
                    </a:lnTo>
                    <a:lnTo>
                      <a:pt x="680" y="125"/>
                    </a:lnTo>
                    <a:lnTo>
                      <a:pt x="697" y="142"/>
                    </a:lnTo>
                    <a:lnTo>
                      <a:pt x="709" y="153"/>
                    </a:lnTo>
                    <a:lnTo>
                      <a:pt x="714" y="159"/>
                    </a:lnTo>
                    <a:lnTo>
                      <a:pt x="714" y="165"/>
                    </a:lnTo>
                    <a:lnTo>
                      <a:pt x="709" y="165"/>
                    </a:lnTo>
                    <a:lnTo>
                      <a:pt x="703" y="170"/>
                    </a:lnTo>
                    <a:lnTo>
                      <a:pt x="709" y="176"/>
                    </a:lnTo>
                    <a:lnTo>
                      <a:pt x="709" y="182"/>
                    </a:lnTo>
                    <a:lnTo>
                      <a:pt x="726" y="187"/>
                    </a:lnTo>
                    <a:lnTo>
                      <a:pt x="726" y="193"/>
                    </a:lnTo>
                    <a:lnTo>
                      <a:pt x="726" y="204"/>
                    </a:lnTo>
                    <a:lnTo>
                      <a:pt x="714" y="216"/>
                    </a:lnTo>
                    <a:lnTo>
                      <a:pt x="720" y="227"/>
                    </a:lnTo>
                    <a:lnTo>
                      <a:pt x="720" y="233"/>
                    </a:lnTo>
                    <a:lnTo>
                      <a:pt x="726" y="238"/>
                    </a:lnTo>
                    <a:lnTo>
                      <a:pt x="726" y="244"/>
                    </a:lnTo>
                    <a:lnTo>
                      <a:pt x="726" y="250"/>
                    </a:lnTo>
                    <a:lnTo>
                      <a:pt x="731" y="250"/>
                    </a:lnTo>
                    <a:lnTo>
                      <a:pt x="737" y="250"/>
                    </a:lnTo>
                    <a:lnTo>
                      <a:pt x="760" y="250"/>
                    </a:lnTo>
                    <a:lnTo>
                      <a:pt x="765" y="261"/>
                    </a:lnTo>
                    <a:lnTo>
                      <a:pt x="765" y="267"/>
                    </a:lnTo>
                    <a:lnTo>
                      <a:pt x="765" y="272"/>
                    </a:lnTo>
                    <a:lnTo>
                      <a:pt x="765" y="278"/>
                    </a:lnTo>
                    <a:lnTo>
                      <a:pt x="765" y="284"/>
                    </a:lnTo>
                    <a:lnTo>
                      <a:pt x="765" y="289"/>
                    </a:lnTo>
                    <a:lnTo>
                      <a:pt x="771" y="289"/>
                    </a:lnTo>
                    <a:lnTo>
                      <a:pt x="777" y="289"/>
                    </a:lnTo>
                    <a:lnTo>
                      <a:pt x="782" y="289"/>
                    </a:lnTo>
                    <a:lnTo>
                      <a:pt x="788" y="289"/>
                    </a:lnTo>
                    <a:lnTo>
                      <a:pt x="794" y="289"/>
                    </a:lnTo>
                    <a:lnTo>
                      <a:pt x="799" y="289"/>
                    </a:lnTo>
                    <a:lnTo>
                      <a:pt x="805" y="284"/>
                    </a:lnTo>
                    <a:lnTo>
                      <a:pt x="805" y="278"/>
                    </a:lnTo>
                    <a:lnTo>
                      <a:pt x="811" y="278"/>
                    </a:lnTo>
                    <a:lnTo>
                      <a:pt x="816" y="278"/>
                    </a:lnTo>
                    <a:lnTo>
                      <a:pt x="822" y="278"/>
                    </a:lnTo>
                    <a:lnTo>
                      <a:pt x="828" y="278"/>
                    </a:lnTo>
                    <a:lnTo>
                      <a:pt x="833" y="278"/>
                    </a:lnTo>
                    <a:lnTo>
                      <a:pt x="839" y="278"/>
                    </a:lnTo>
                    <a:lnTo>
                      <a:pt x="845" y="278"/>
                    </a:lnTo>
                    <a:lnTo>
                      <a:pt x="850" y="278"/>
                    </a:lnTo>
                    <a:lnTo>
                      <a:pt x="850" y="267"/>
                    </a:lnTo>
                    <a:lnTo>
                      <a:pt x="862" y="267"/>
                    </a:lnTo>
                    <a:lnTo>
                      <a:pt x="862" y="261"/>
                    </a:lnTo>
                    <a:lnTo>
                      <a:pt x="862" y="250"/>
                    </a:lnTo>
                    <a:lnTo>
                      <a:pt x="850" y="250"/>
                    </a:lnTo>
                    <a:lnTo>
                      <a:pt x="845" y="244"/>
                    </a:lnTo>
                    <a:lnTo>
                      <a:pt x="839" y="244"/>
                    </a:lnTo>
                    <a:lnTo>
                      <a:pt x="833" y="244"/>
                    </a:lnTo>
                    <a:lnTo>
                      <a:pt x="828" y="244"/>
                    </a:lnTo>
                    <a:lnTo>
                      <a:pt x="828" y="238"/>
                    </a:lnTo>
                    <a:lnTo>
                      <a:pt x="828" y="210"/>
                    </a:lnTo>
                    <a:lnTo>
                      <a:pt x="845" y="210"/>
                    </a:lnTo>
                    <a:lnTo>
                      <a:pt x="856" y="210"/>
                    </a:lnTo>
                    <a:lnTo>
                      <a:pt x="879" y="210"/>
                    </a:lnTo>
                    <a:lnTo>
                      <a:pt x="879" y="199"/>
                    </a:lnTo>
                    <a:lnTo>
                      <a:pt x="879" y="193"/>
                    </a:lnTo>
                    <a:lnTo>
                      <a:pt x="884" y="193"/>
                    </a:lnTo>
                    <a:lnTo>
                      <a:pt x="890" y="193"/>
                    </a:lnTo>
                    <a:lnTo>
                      <a:pt x="896" y="193"/>
                    </a:lnTo>
                    <a:lnTo>
                      <a:pt x="896" y="187"/>
                    </a:lnTo>
                    <a:lnTo>
                      <a:pt x="901" y="187"/>
                    </a:lnTo>
                    <a:lnTo>
                      <a:pt x="901" y="182"/>
                    </a:lnTo>
                    <a:lnTo>
                      <a:pt x="890" y="176"/>
                    </a:lnTo>
                    <a:lnTo>
                      <a:pt x="867" y="165"/>
                    </a:lnTo>
                    <a:lnTo>
                      <a:pt x="862" y="159"/>
                    </a:lnTo>
                    <a:lnTo>
                      <a:pt x="862" y="153"/>
                    </a:lnTo>
                    <a:lnTo>
                      <a:pt x="862" y="148"/>
                    </a:lnTo>
                    <a:lnTo>
                      <a:pt x="867" y="142"/>
                    </a:lnTo>
                    <a:lnTo>
                      <a:pt x="839" y="142"/>
                    </a:lnTo>
                    <a:lnTo>
                      <a:pt x="845" y="125"/>
                    </a:lnTo>
                    <a:lnTo>
                      <a:pt x="845" y="119"/>
                    </a:lnTo>
                    <a:lnTo>
                      <a:pt x="850" y="108"/>
                    </a:lnTo>
                    <a:lnTo>
                      <a:pt x="862" y="91"/>
                    </a:lnTo>
                    <a:lnTo>
                      <a:pt x="862" y="80"/>
                    </a:lnTo>
                    <a:lnTo>
                      <a:pt x="862" y="63"/>
                    </a:lnTo>
                    <a:lnTo>
                      <a:pt x="873" y="57"/>
                    </a:lnTo>
                    <a:lnTo>
                      <a:pt x="873" y="46"/>
                    </a:lnTo>
                    <a:lnTo>
                      <a:pt x="816" y="40"/>
                    </a:lnTo>
                    <a:lnTo>
                      <a:pt x="822" y="40"/>
                    </a:lnTo>
                    <a:lnTo>
                      <a:pt x="822" y="34"/>
                    </a:lnTo>
                    <a:lnTo>
                      <a:pt x="828" y="34"/>
                    </a:lnTo>
                    <a:lnTo>
                      <a:pt x="833" y="34"/>
                    </a:lnTo>
                    <a:lnTo>
                      <a:pt x="839" y="34"/>
                    </a:lnTo>
                    <a:lnTo>
                      <a:pt x="839" y="29"/>
                    </a:lnTo>
                    <a:lnTo>
                      <a:pt x="845" y="29"/>
                    </a:lnTo>
                    <a:lnTo>
                      <a:pt x="850" y="29"/>
                    </a:lnTo>
                    <a:lnTo>
                      <a:pt x="856" y="29"/>
                    </a:lnTo>
                    <a:lnTo>
                      <a:pt x="856" y="23"/>
                    </a:lnTo>
                    <a:lnTo>
                      <a:pt x="862" y="23"/>
                    </a:lnTo>
                    <a:lnTo>
                      <a:pt x="862" y="17"/>
                    </a:lnTo>
                    <a:lnTo>
                      <a:pt x="867" y="17"/>
                    </a:lnTo>
                    <a:lnTo>
                      <a:pt x="873" y="17"/>
                    </a:lnTo>
                    <a:lnTo>
                      <a:pt x="873" y="23"/>
                    </a:lnTo>
                    <a:lnTo>
                      <a:pt x="879" y="23"/>
                    </a:lnTo>
                    <a:lnTo>
                      <a:pt x="884" y="23"/>
                    </a:lnTo>
                    <a:lnTo>
                      <a:pt x="884" y="29"/>
                    </a:lnTo>
                    <a:lnTo>
                      <a:pt x="890" y="29"/>
                    </a:lnTo>
                    <a:lnTo>
                      <a:pt x="890" y="23"/>
                    </a:lnTo>
                    <a:lnTo>
                      <a:pt x="896" y="23"/>
                    </a:lnTo>
                    <a:lnTo>
                      <a:pt x="901" y="29"/>
                    </a:lnTo>
                    <a:lnTo>
                      <a:pt x="907" y="29"/>
                    </a:lnTo>
                    <a:lnTo>
                      <a:pt x="907" y="23"/>
                    </a:lnTo>
                    <a:lnTo>
                      <a:pt x="907" y="17"/>
                    </a:lnTo>
                    <a:lnTo>
                      <a:pt x="913" y="17"/>
                    </a:lnTo>
                    <a:lnTo>
                      <a:pt x="918" y="17"/>
                    </a:lnTo>
                    <a:lnTo>
                      <a:pt x="918" y="23"/>
                    </a:lnTo>
                    <a:lnTo>
                      <a:pt x="924" y="29"/>
                    </a:lnTo>
                    <a:lnTo>
                      <a:pt x="930" y="29"/>
                    </a:lnTo>
                    <a:lnTo>
                      <a:pt x="935" y="29"/>
                    </a:lnTo>
                    <a:lnTo>
                      <a:pt x="935" y="23"/>
                    </a:lnTo>
                    <a:lnTo>
                      <a:pt x="941" y="17"/>
                    </a:lnTo>
                    <a:lnTo>
                      <a:pt x="941" y="12"/>
                    </a:lnTo>
                    <a:lnTo>
                      <a:pt x="947" y="12"/>
                    </a:lnTo>
                    <a:lnTo>
                      <a:pt x="947" y="6"/>
                    </a:lnTo>
                    <a:lnTo>
                      <a:pt x="952" y="6"/>
                    </a:lnTo>
                    <a:lnTo>
                      <a:pt x="952" y="0"/>
                    </a:lnTo>
                    <a:lnTo>
                      <a:pt x="958" y="6"/>
                    </a:lnTo>
                    <a:lnTo>
                      <a:pt x="964" y="6"/>
                    </a:lnTo>
                    <a:lnTo>
                      <a:pt x="969" y="6"/>
                    </a:lnTo>
                    <a:lnTo>
                      <a:pt x="975" y="0"/>
                    </a:lnTo>
                    <a:lnTo>
                      <a:pt x="981" y="0"/>
                    </a:lnTo>
                    <a:lnTo>
                      <a:pt x="981" y="6"/>
                    </a:lnTo>
                    <a:lnTo>
                      <a:pt x="981" y="12"/>
                    </a:lnTo>
                    <a:lnTo>
                      <a:pt x="986" y="57"/>
                    </a:lnTo>
                    <a:lnTo>
                      <a:pt x="986" y="63"/>
                    </a:lnTo>
                    <a:lnTo>
                      <a:pt x="1003" y="97"/>
                    </a:lnTo>
                    <a:lnTo>
                      <a:pt x="1003" y="108"/>
                    </a:lnTo>
                    <a:lnTo>
                      <a:pt x="1009" y="125"/>
                    </a:lnTo>
                    <a:lnTo>
                      <a:pt x="1009" y="136"/>
                    </a:lnTo>
                    <a:lnTo>
                      <a:pt x="1003" y="165"/>
                    </a:lnTo>
                    <a:lnTo>
                      <a:pt x="1003" y="193"/>
                    </a:lnTo>
                    <a:lnTo>
                      <a:pt x="1003" y="210"/>
                    </a:lnTo>
                    <a:lnTo>
                      <a:pt x="1009" y="250"/>
                    </a:lnTo>
                    <a:lnTo>
                      <a:pt x="1009" y="272"/>
                    </a:lnTo>
                    <a:lnTo>
                      <a:pt x="1009" y="289"/>
                    </a:lnTo>
                    <a:lnTo>
                      <a:pt x="1009" y="301"/>
                    </a:lnTo>
                    <a:lnTo>
                      <a:pt x="1009" y="312"/>
                    </a:lnTo>
                    <a:lnTo>
                      <a:pt x="1009" y="318"/>
                    </a:lnTo>
                    <a:lnTo>
                      <a:pt x="1009" y="335"/>
                    </a:lnTo>
                    <a:lnTo>
                      <a:pt x="1003" y="369"/>
                    </a:lnTo>
                    <a:lnTo>
                      <a:pt x="1003" y="374"/>
                    </a:lnTo>
                    <a:lnTo>
                      <a:pt x="1003" y="380"/>
                    </a:lnTo>
                    <a:lnTo>
                      <a:pt x="998" y="391"/>
                    </a:lnTo>
                    <a:lnTo>
                      <a:pt x="998" y="397"/>
                    </a:lnTo>
                    <a:lnTo>
                      <a:pt x="992" y="397"/>
                    </a:lnTo>
                    <a:lnTo>
                      <a:pt x="992" y="408"/>
                    </a:lnTo>
                    <a:lnTo>
                      <a:pt x="992" y="414"/>
                    </a:lnTo>
                    <a:lnTo>
                      <a:pt x="992" y="420"/>
                    </a:lnTo>
                    <a:lnTo>
                      <a:pt x="992" y="425"/>
                    </a:lnTo>
                    <a:lnTo>
                      <a:pt x="998" y="437"/>
                    </a:lnTo>
                    <a:lnTo>
                      <a:pt x="998" y="448"/>
                    </a:lnTo>
                    <a:lnTo>
                      <a:pt x="998" y="454"/>
                    </a:lnTo>
                    <a:lnTo>
                      <a:pt x="992" y="459"/>
                    </a:lnTo>
                    <a:lnTo>
                      <a:pt x="986" y="471"/>
                    </a:lnTo>
                    <a:lnTo>
                      <a:pt x="986" y="482"/>
                    </a:lnTo>
                    <a:lnTo>
                      <a:pt x="981" y="488"/>
                    </a:lnTo>
                    <a:lnTo>
                      <a:pt x="981" y="493"/>
                    </a:lnTo>
                    <a:lnTo>
                      <a:pt x="975" y="505"/>
                    </a:lnTo>
                    <a:lnTo>
                      <a:pt x="975" y="510"/>
                    </a:lnTo>
                    <a:lnTo>
                      <a:pt x="981" y="527"/>
                    </a:lnTo>
                    <a:lnTo>
                      <a:pt x="986" y="533"/>
                    </a:lnTo>
                    <a:lnTo>
                      <a:pt x="986" y="539"/>
                    </a:lnTo>
                    <a:lnTo>
                      <a:pt x="981" y="539"/>
                    </a:lnTo>
                    <a:lnTo>
                      <a:pt x="969" y="544"/>
                    </a:lnTo>
                    <a:lnTo>
                      <a:pt x="964" y="550"/>
                    </a:lnTo>
                    <a:lnTo>
                      <a:pt x="964" y="544"/>
                    </a:lnTo>
                    <a:lnTo>
                      <a:pt x="958" y="550"/>
                    </a:lnTo>
                    <a:lnTo>
                      <a:pt x="952" y="550"/>
                    </a:lnTo>
                    <a:lnTo>
                      <a:pt x="947" y="544"/>
                    </a:lnTo>
                    <a:lnTo>
                      <a:pt x="941" y="544"/>
                    </a:lnTo>
                    <a:lnTo>
                      <a:pt x="941" y="539"/>
                    </a:lnTo>
                    <a:lnTo>
                      <a:pt x="935" y="539"/>
                    </a:lnTo>
                    <a:lnTo>
                      <a:pt x="930" y="533"/>
                    </a:lnTo>
                    <a:lnTo>
                      <a:pt x="924" y="533"/>
                    </a:lnTo>
                    <a:lnTo>
                      <a:pt x="918" y="527"/>
                    </a:lnTo>
                    <a:lnTo>
                      <a:pt x="901" y="516"/>
                    </a:lnTo>
                    <a:lnTo>
                      <a:pt x="896" y="510"/>
                    </a:lnTo>
                    <a:lnTo>
                      <a:pt x="890" y="510"/>
                    </a:lnTo>
                    <a:lnTo>
                      <a:pt x="890" y="505"/>
                    </a:lnTo>
                    <a:lnTo>
                      <a:pt x="879" y="499"/>
                    </a:lnTo>
                    <a:lnTo>
                      <a:pt x="873" y="499"/>
                    </a:lnTo>
                    <a:lnTo>
                      <a:pt x="873" y="493"/>
                    </a:lnTo>
                    <a:lnTo>
                      <a:pt x="867" y="493"/>
                    </a:lnTo>
                    <a:lnTo>
                      <a:pt x="862" y="488"/>
                    </a:lnTo>
                    <a:lnTo>
                      <a:pt x="856" y="488"/>
                    </a:lnTo>
                    <a:lnTo>
                      <a:pt x="856" y="482"/>
                    </a:lnTo>
                    <a:lnTo>
                      <a:pt x="845" y="476"/>
                    </a:lnTo>
                    <a:lnTo>
                      <a:pt x="839" y="476"/>
                    </a:lnTo>
                    <a:lnTo>
                      <a:pt x="833" y="476"/>
                    </a:lnTo>
                    <a:lnTo>
                      <a:pt x="828" y="476"/>
                    </a:lnTo>
                    <a:lnTo>
                      <a:pt x="828" y="482"/>
                    </a:lnTo>
                    <a:lnTo>
                      <a:pt x="822" y="482"/>
                    </a:lnTo>
                    <a:lnTo>
                      <a:pt x="816" y="482"/>
                    </a:lnTo>
                    <a:lnTo>
                      <a:pt x="811" y="482"/>
                    </a:lnTo>
                    <a:lnTo>
                      <a:pt x="811" y="488"/>
                    </a:lnTo>
                    <a:lnTo>
                      <a:pt x="805" y="493"/>
                    </a:lnTo>
                    <a:lnTo>
                      <a:pt x="799" y="499"/>
                    </a:lnTo>
                    <a:lnTo>
                      <a:pt x="788" y="505"/>
                    </a:lnTo>
                    <a:lnTo>
                      <a:pt x="771" y="522"/>
                    </a:lnTo>
                    <a:lnTo>
                      <a:pt x="765" y="527"/>
                    </a:lnTo>
                    <a:lnTo>
                      <a:pt x="760" y="527"/>
                    </a:lnTo>
                    <a:lnTo>
                      <a:pt x="760" y="533"/>
                    </a:lnTo>
                    <a:lnTo>
                      <a:pt x="760" y="539"/>
                    </a:lnTo>
                    <a:lnTo>
                      <a:pt x="760" y="544"/>
                    </a:lnTo>
                    <a:lnTo>
                      <a:pt x="760" y="550"/>
                    </a:lnTo>
                    <a:lnTo>
                      <a:pt x="754" y="556"/>
                    </a:lnTo>
                    <a:lnTo>
                      <a:pt x="748" y="561"/>
                    </a:lnTo>
                    <a:lnTo>
                      <a:pt x="748" y="567"/>
                    </a:lnTo>
                    <a:lnTo>
                      <a:pt x="743" y="567"/>
                    </a:lnTo>
                    <a:lnTo>
                      <a:pt x="743" y="573"/>
                    </a:lnTo>
                    <a:lnTo>
                      <a:pt x="743" y="578"/>
                    </a:lnTo>
                    <a:lnTo>
                      <a:pt x="737" y="584"/>
                    </a:lnTo>
                    <a:lnTo>
                      <a:pt x="731" y="590"/>
                    </a:lnTo>
                    <a:lnTo>
                      <a:pt x="731" y="595"/>
                    </a:lnTo>
                    <a:lnTo>
                      <a:pt x="726" y="601"/>
                    </a:lnTo>
                    <a:lnTo>
                      <a:pt x="726" y="607"/>
                    </a:lnTo>
                    <a:lnTo>
                      <a:pt x="720" y="612"/>
                    </a:lnTo>
                    <a:lnTo>
                      <a:pt x="714" y="618"/>
                    </a:lnTo>
                    <a:lnTo>
                      <a:pt x="703" y="629"/>
                    </a:lnTo>
                    <a:lnTo>
                      <a:pt x="703" y="635"/>
                    </a:lnTo>
                    <a:lnTo>
                      <a:pt x="697" y="635"/>
                    </a:lnTo>
                    <a:lnTo>
                      <a:pt x="692" y="641"/>
                    </a:lnTo>
                    <a:lnTo>
                      <a:pt x="692" y="646"/>
                    </a:lnTo>
                    <a:lnTo>
                      <a:pt x="686" y="652"/>
                    </a:lnTo>
                    <a:lnTo>
                      <a:pt x="686" y="658"/>
                    </a:lnTo>
                    <a:lnTo>
                      <a:pt x="680" y="663"/>
                    </a:lnTo>
                    <a:lnTo>
                      <a:pt x="675" y="663"/>
                    </a:lnTo>
                    <a:lnTo>
                      <a:pt x="675" y="669"/>
                    </a:lnTo>
                    <a:lnTo>
                      <a:pt x="675" y="680"/>
                    </a:lnTo>
                    <a:lnTo>
                      <a:pt x="669" y="692"/>
                    </a:lnTo>
                    <a:lnTo>
                      <a:pt x="669" y="703"/>
                    </a:lnTo>
                    <a:lnTo>
                      <a:pt x="663" y="703"/>
                    </a:lnTo>
                    <a:lnTo>
                      <a:pt x="663" y="709"/>
                    </a:lnTo>
                    <a:lnTo>
                      <a:pt x="663" y="714"/>
                    </a:lnTo>
                    <a:lnTo>
                      <a:pt x="663" y="731"/>
                    </a:lnTo>
                    <a:lnTo>
                      <a:pt x="663" y="737"/>
                    </a:lnTo>
                    <a:lnTo>
                      <a:pt x="663" y="743"/>
                    </a:lnTo>
                    <a:lnTo>
                      <a:pt x="663" y="748"/>
                    </a:lnTo>
                    <a:lnTo>
                      <a:pt x="663" y="754"/>
                    </a:lnTo>
                    <a:lnTo>
                      <a:pt x="663" y="760"/>
                    </a:lnTo>
                    <a:lnTo>
                      <a:pt x="669" y="771"/>
                    </a:lnTo>
                    <a:lnTo>
                      <a:pt x="669" y="777"/>
                    </a:lnTo>
                    <a:lnTo>
                      <a:pt x="675" y="777"/>
                    </a:lnTo>
                    <a:lnTo>
                      <a:pt x="680" y="771"/>
                    </a:lnTo>
                    <a:lnTo>
                      <a:pt x="686" y="771"/>
                    </a:lnTo>
                    <a:lnTo>
                      <a:pt x="686" y="766"/>
                    </a:lnTo>
                    <a:lnTo>
                      <a:pt x="692" y="766"/>
                    </a:lnTo>
                    <a:lnTo>
                      <a:pt x="692" y="771"/>
                    </a:lnTo>
                    <a:lnTo>
                      <a:pt x="692" y="777"/>
                    </a:lnTo>
                    <a:lnTo>
                      <a:pt x="697" y="783"/>
                    </a:lnTo>
                    <a:lnTo>
                      <a:pt x="703" y="788"/>
                    </a:lnTo>
                    <a:lnTo>
                      <a:pt x="703" y="794"/>
                    </a:lnTo>
                    <a:lnTo>
                      <a:pt x="709" y="794"/>
                    </a:lnTo>
                    <a:lnTo>
                      <a:pt x="709" y="800"/>
                    </a:lnTo>
                    <a:lnTo>
                      <a:pt x="714" y="800"/>
                    </a:lnTo>
                    <a:lnTo>
                      <a:pt x="714" y="805"/>
                    </a:lnTo>
                    <a:lnTo>
                      <a:pt x="714" y="811"/>
                    </a:lnTo>
                    <a:lnTo>
                      <a:pt x="709" y="811"/>
                    </a:lnTo>
                    <a:lnTo>
                      <a:pt x="709" y="817"/>
                    </a:lnTo>
                    <a:lnTo>
                      <a:pt x="709" y="822"/>
                    </a:lnTo>
                    <a:lnTo>
                      <a:pt x="709" y="828"/>
                    </a:lnTo>
                    <a:lnTo>
                      <a:pt x="714" y="828"/>
                    </a:lnTo>
                    <a:lnTo>
                      <a:pt x="726" y="839"/>
                    </a:lnTo>
                    <a:lnTo>
                      <a:pt x="726" y="845"/>
                    </a:lnTo>
                    <a:lnTo>
                      <a:pt x="731" y="845"/>
                    </a:lnTo>
                    <a:lnTo>
                      <a:pt x="737" y="851"/>
                    </a:lnTo>
                    <a:lnTo>
                      <a:pt x="743" y="856"/>
                    </a:lnTo>
                    <a:lnTo>
                      <a:pt x="748" y="868"/>
                    </a:lnTo>
                    <a:lnTo>
                      <a:pt x="754" y="873"/>
                    </a:lnTo>
                    <a:lnTo>
                      <a:pt x="726" y="907"/>
                    </a:lnTo>
                    <a:lnTo>
                      <a:pt x="703" y="919"/>
                    </a:lnTo>
                    <a:lnTo>
                      <a:pt x="703" y="913"/>
                    </a:lnTo>
                    <a:lnTo>
                      <a:pt x="697" y="913"/>
                    </a:lnTo>
                    <a:lnTo>
                      <a:pt x="692" y="913"/>
                    </a:lnTo>
                    <a:lnTo>
                      <a:pt x="692" y="902"/>
                    </a:lnTo>
                    <a:lnTo>
                      <a:pt x="680" y="902"/>
                    </a:lnTo>
                    <a:lnTo>
                      <a:pt x="675" y="902"/>
                    </a:lnTo>
                    <a:lnTo>
                      <a:pt x="669" y="913"/>
                    </a:lnTo>
                    <a:lnTo>
                      <a:pt x="658" y="902"/>
                    </a:lnTo>
                    <a:lnTo>
                      <a:pt x="652" y="902"/>
                    </a:lnTo>
                    <a:lnTo>
                      <a:pt x="652" y="907"/>
                    </a:lnTo>
                    <a:lnTo>
                      <a:pt x="652" y="902"/>
                    </a:lnTo>
                    <a:lnTo>
                      <a:pt x="646" y="896"/>
                    </a:lnTo>
                    <a:lnTo>
                      <a:pt x="629" y="896"/>
                    </a:lnTo>
                    <a:lnTo>
                      <a:pt x="618" y="896"/>
                    </a:lnTo>
                    <a:lnTo>
                      <a:pt x="612" y="896"/>
                    </a:lnTo>
                    <a:lnTo>
                      <a:pt x="607" y="902"/>
                    </a:lnTo>
                    <a:lnTo>
                      <a:pt x="601" y="907"/>
                    </a:lnTo>
                    <a:lnTo>
                      <a:pt x="584" y="902"/>
                    </a:lnTo>
                    <a:lnTo>
                      <a:pt x="578" y="902"/>
                    </a:lnTo>
                    <a:lnTo>
                      <a:pt x="567" y="902"/>
                    </a:lnTo>
                    <a:lnTo>
                      <a:pt x="561" y="902"/>
                    </a:lnTo>
                    <a:lnTo>
                      <a:pt x="561" y="896"/>
                    </a:lnTo>
                    <a:lnTo>
                      <a:pt x="561" y="890"/>
                    </a:lnTo>
                    <a:lnTo>
                      <a:pt x="550" y="890"/>
                    </a:lnTo>
                    <a:lnTo>
                      <a:pt x="544" y="896"/>
                    </a:lnTo>
                    <a:lnTo>
                      <a:pt x="533" y="896"/>
                    </a:lnTo>
                    <a:lnTo>
                      <a:pt x="527" y="902"/>
                    </a:lnTo>
                    <a:lnTo>
                      <a:pt x="522" y="902"/>
                    </a:lnTo>
                    <a:lnTo>
                      <a:pt x="505" y="913"/>
                    </a:lnTo>
                    <a:lnTo>
                      <a:pt x="493" y="913"/>
                    </a:lnTo>
                    <a:lnTo>
                      <a:pt x="493" y="919"/>
                    </a:lnTo>
                    <a:lnTo>
                      <a:pt x="488" y="924"/>
                    </a:lnTo>
                    <a:lnTo>
                      <a:pt x="482" y="924"/>
                    </a:lnTo>
                    <a:lnTo>
                      <a:pt x="476" y="919"/>
                    </a:lnTo>
                    <a:lnTo>
                      <a:pt x="471" y="919"/>
                    </a:lnTo>
                    <a:lnTo>
                      <a:pt x="465" y="919"/>
                    </a:lnTo>
                    <a:lnTo>
                      <a:pt x="454" y="924"/>
                    </a:lnTo>
                    <a:lnTo>
                      <a:pt x="448" y="919"/>
                    </a:lnTo>
                    <a:lnTo>
                      <a:pt x="442" y="919"/>
                    </a:lnTo>
                    <a:lnTo>
                      <a:pt x="442" y="924"/>
                    </a:lnTo>
                    <a:lnTo>
                      <a:pt x="437" y="924"/>
                    </a:lnTo>
                    <a:lnTo>
                      <a:pt x="431" y="919"/>
                    </a:lnTo>
                    <a:lnTo>
                      <a:pt x="420" y="919"/>
                    </a:lnTo>
                    <a:lnTo>
                      <a:pt x="408" y="924"/>
                    </a:lnTo>
                    <a:lnTo>
                      <a:pt x="403" y="936"/>
                    </a:lnTo>
                    <a:lnTo>
                      <a:pt x="397" y="941"/>
                    </a:lnTo>
                    <a:lnTo>
                      <a:pt x="397" y="947"/>
                    </a:lnTo>
                    <a:lnTo>
                      <a:pt x="391" y="947"/>
                    </a:lnTo>
                    <a:lnTo>
                      <a:pt x="391" y="941"/>
                    </a:lnTo>
                    <a:lnTo>
                      <a:pt x="385" y="941"/>
                    </a:lnTo>
                    <a:lnTo>
                      <a:pt x="374" y="941"/>
                    </a:lnTo>
                    <a:lnTo>
                      <a:pt x="368" y="941"/>
                    </a:lnTo>
                    <a:lnTo>
                      <a:pt x="368" y="947"/>
                    </a:lnTo>
                    <a:lnTo>
                      <a:pt x="368" y="953"/>
                    </a:lnTo>
                    <a:lnTo>
                      <a:pt x="357" y="953"/>
                    </a:lnTo>
                    <a:lnTo>
                      <a:pt x="351" y="958"/>
                    </a:lnTo>
                    <a:lnTo>
                      <a:pt x="346" y="958"/>
                    </a:lnTo>
                    <a:lnTo>
                      <a:pt x="334" y="941"/>
                    </a:lnTo>
                    <a:lnTo>
                      <a:pt x="329" y="936"/>
                    </a:lnTo>
                    <a:lnTo>
                      <a:pt x="323" y="930"/>
                    </a:lnTo>
                    <a:lnTo>
                      <a:pt x="329" y="924"/>
                    </a:lnTo>
                    <a:lnTo>
                      <a:pt x="323" y="924"/>
                    </a:lnTo>
                    <a:lnTo>
                      <a:pt x="312" y="913"/>
                    </a:lnTo>
                    <a:lnTo>
                      <a:pt x="312" y="907"/>
                    </a:lnTo>
                    <a:lnTo>
                      <a:pt x="312" y="902"/>
                    </a:lnTo>
                    <a:lnTo>
                      <a:pt x="306" y="902"/>
                    </a:lnTo>
                    <a:lnTo>
                      <a:pt x="306" y="896"/>
                    </a:lnTo>
                    <a:lnTo>
                      <a:pt x="300" y="890"/>
                    </a:lnTo>
                    <a:lnTo>
                      <a:pt x="295" y="885"/>
                    </a:lnTo>
                    <a:lnTo>
                      <a:pt x="295" y="879"/>
                    </a:lnTo>
                    <a:lnTo>
                      <a:pt x="289" y="879"/>
                    </a:lnTo>
                    <a:lnTo>
                      <a:pt x="278" y="885"/>
                    </a:lnTo>
                    <a:lnTo>
                      <a:pt x="272" y="885"/>
                    </a:lnTo>
                    <a:lnTo>
                      <a:pt x="272" y="879"/>
                    </a:lnTo>
                    <a:lnTo>
                      <a:pt x="278" y="879"/>
                    </a:lnTo>
                    <a:lnTo>
                      <a:pt x="272" y="873"/>
                    </a:lnTo>
                    <a:lnTo>
                      <a:pt x="266" y="873"/>
                    </a:lnTo>
                    <a:lnTo>
                      <a:pt x="261" y="868"/>
                    </a:lnTo>
                    <a:lnTo>
                      <a:pt x="255" y="868"/>
                    </a:lnTo>
                    <a:lnTo>
                      <a:pt x="249" y="868"/>
                    </a:lnTo>
                    <a:lnTo>
                      <a:pt x="249" y="862"/>
                    </a:lnTo>
                    <a:lnTo>
                      <a:pt x="244" y="856"/>
                    </a:lnTo>
                    <a:lnTo>
                      <a:pt x="238" y="856"/>
                    </a:lnTo>
                    <a:lnTo>
                      <a:pt x="227" y="856"/>
                    </a:lnTo>
                    <a:lnTo>
                      <a:pt x="221" y="862"/>
                    </a:lnTo>
                    <a:lnTo>
                      <a:pt x="215" y="862"/>
                    </a:lnTo>
                    <a:lnTo>
                      <a:pt x="210" y="845"/>
                    </a:lnTo>
                    <a:lnTo>
                      <a:pt x="204" y="839"/>
                    </a:lnTo>
                    <a:lnTo>
                      <a:pt x="204" y="834"/>
                    </a:lnTo>
                    <a:lnTo>
                      <a:pt x="204" y="828"/>
                    </a:lnTo>
                    <a:lnTo>
                      <a:pt x="204" y="822"/>
                    </a:lnTo>
                    <a:lnTo>
                      <a:pt x="198" y="822"/>
                    </a:lnTo>
                    <a:lnTo>
                      <a:pt x="198" y="828"/>
                    </a:lnTo>
                    <a:lnTo>
                      <a:pt x="198" y="822"/>
                    </a:lnTo>
                    <a:lnTo>
                      <a:pt x="193" y="822"/>
                    </a:lnTo>
                    <a:lnTo>
                      <a:pt x="187" y="817"/>
                    </a:lnTo>
                    <a:lnTo>
                      <a:pt x="181" y="817"/>
                    </a:lnTo>
                    <a:lnTo>
                      <a:pt x="176" y="822"/>
                    </a:lnTo>
                    <a:lnTo>
                      <a:pt x="170" y="822"/>
                    </a:lnTo>
                    <a:lnTo>
                      <a:pt x="164" y="822"/>
                    </a:lnTo>
                    <a:lnTo>
                      <a:pt x="164" y="834"/>
                    </a:lnTo>
                    <a:lnTo>
                      <a:pt x="159" y="834"/>
                    </a:lnTo>
                    <a:lnTo>
                      <a:pt x="153" y="828"/>
                    </a:lnTo>
                    <a:lnTo>
                      <a:pt x="147" y="828"/>
                    </a:lnTo>
                    <a:lnTo>
                      <a:pt x="142" y="828"/>
                    </a:lnTo>
                    <a:lnTo>
                      <a:pt x="142" y="822"/>
                    </a:lnTo>
                    <a:lnTo>
                      <a:pt x="136" y="828"/>
                    </a:lnTo>
                    <a:lnTo>
                      <a:pt x="130" y="822"/>
                    </a:lnTo>
                    <a:lnTo>
                      <a:pt x="125" y="817"/>
                    </a:lnTo>
                    <a:lnTo>
                      <a:pt x="125" y="822"/>
                    </a:lnTo>
                    <a:lnTo>
                      <a:pt x="119" y="822"/>
                    </a:lnTo>
                    <a:lnTo>
                      <a:pt x="119" y="817"/>
                    </a:lnTo>
                    <a:lnTo>
                      <a:pt x="119" y="811"/>
                    </a:lnTo>
                    <a:lnTo>
                      <a:pt x="113" y="811"/>
                    </a:lnTo>
                    <a:lnTo>
                      <a:pt x="108" y="811"/>
                    </a:lnTo>
                    <a:lnTo>
                      <a:pt x="96" y="805"/>
                    </a:lnTo>
                    <a:lnTo>
                      <a:pt x="96" y="811"/>
                    </a:lnTo>
                    <a:lnTo>
                      <a:pt x="91" y="817"/>
                    </a:lnTo>
                    <a:lnTo>
                      <a:pt x="96" y="817"/>
                    </a:lnTo>
                    <a:lnTo>
                      <a:pt x="102" y="817"/>
                    </a:lnTo>
                    <a:lnTo>
                      <a:pt x="96" y="822"/>
                    </a:lnTo>
                    <a:lnTo>
                      <a:pt x="91" y="822"/>
                    </a:lnTo>
                    <a:lnTo>
                      <a:pt x="85" y="822"/>
                    </a:lnTo>
                    <a:lnTo>
                      <a:pt x="85" y="828"/>
                    </a:lnTo>
                    <a:lnTo>
                      <a:pt x="79" y="828"/>
                    </a:lnTo>
                    <a:lnTo>
                      <a:pt x="74" y="828"/>
                    </a:lnTo>
                    <a:lnTo>
                      <a:pt x="74" y="834"/>
                    </a:lnTo>
                    <a:lnTo>
                      <a:pt x="68" y="834"/>
                    </a:lnTo>
                    <a:lnTo>
                      <a:pt x="68" y="839"/>
                    </a:lnTo>
                    <a:lnTo>
                      <a:pt x="68" y="834"/>
                    </a:lnTo>
                    <a:lnTo>
                      <a:pt x="74" y="834"/>
                    </a:lnTo>
                    <a:lnTo>
                      <a:pt x="68" y="828"/>
                    </a:lnTo>
                    <a:lnTo>
                      <a:pt x="62" y="822"/>
                    </a:lnTo>
                    <a:lnTo>
                      <a:pt x="62" y="817"/>
                    </a:lnTo>
                    <a:lnTo>
                      <a:pt x="57" y="811"/>
                    </a:lnTo>
                    <a:lnTo>
                      <a:pt x="51" y="811"/>
                    </a:lnTo>
                    <a:lnTo>
                      <a:pt x="45" y="811"/>
                    </a:lnTo>
                    <a:lnTo>
                      <a:pt x="45" y="817"/>
                    </a:lnTo>
                    <a:lnTo>
                      <a:pt x="40" y="822"/>
                    </a:lnTo>
                    <a:lnTo>
                      <a:pt x="40" y="817"/>
                    </a:lnTo>
                    <a:lnTo>
                      <a:pt x="40" y="811"/>
                    </a:lnTo>
                    <a:lnTo>
                      <a:pt x="34" y="805"/>
                    </a:lnTo>
                    <a:lnTo>
                      <a:pt x="34" y="800"/>
                    </a:lnTo>
                    <a:lnTo>
                      <a:pt x="28" y="800"/>
                    </a:lnTo>
                    <a:lnTo>
                      <a:pt x="23" y="805"/>
                    </a:lnTo>
                    <a:lnTo>
                      <a:pt x="17" y="805"/>
                    </a:lnTo>
                    <a:lnTo>
                      <a:pt x="11" y="800"/>
                    </a:lnTo>
                    <a:lnTo>
                      <a:pt x="6" y="800"/>
                    </a:lnTo>
                    <a:lnTo>
                      <a:pt x="0" y="794"/>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59" name="Freeform 12"/>
              <p:cNvSpPr>
                <a:spLocks/>
              </p:cNvSpPr>
              <p:nvPr>
                <p:custDataLst>
                  <p:tags r:id="rId9"/>
                </p:custDataLst>
              </p:nvPr>
            </p:nvSpPr>
            <p:spPr bwMode="gray">
              <a:xfrm>
                <a:off x="2589613" y="1301587"/>
                <a:ext cx="1261453" cy="751564"/>
              </a:xfrm>
              <a:custGeom>
                <a:avLst/>
                <a:gdLst>
                  <a:gd name="T0" fmla="*/ 10619 w 1451"/>
                  <a:gd name="T1" fmla="*/ 171456 h 862"/>
                  <a:gd name="T2" fmla="*/ 21509 w 1451"/>
                  <a:gd name="T3" fmla="*/ 162189 h 862"/>
                  <a:gd name="T4" fmla="*/ 33761 w 1451"/>
                  <a:gd name="T5" fmla="*/ 156192 h 862"/>
                  <a:gd name="T6" fmla="*/ 37028 w 1451"/>
                  <a:gd name="T7" fmla="*/ 140654 h 862"/>
                  <a:gd name="T8" fmla="*/ 41657 w 1451"/>
                  <a:gd name="T9" fmla="*/ 125117 h 862"/>
                  <a:gd name="T10" fmla="*/ 44652 w 1451"/>
                  <a:gd name="T11" fmla="*/ 111215 h 862"/>
                  <a:gd name="T12" fmla="*/ 49280 w 1451"/>
                  <a:gd name="T13" fmla="*/ 109852 h 862"/>
                  <a:gd name="T14" fmla="*/ 56904 w 1451"/>
                  <a:gd name="T15" fmla="*/ 103582 h 862"/>
                  <a:gd name="T16" fmla="*/ 66161 w 1451"/>
                  <a:gd name="T17" fmla="*/ 97313 h 862"/>
                  <a:gd name="T18" fmla="*/ 74057 w 1451"/>
                  <a:gd name="T19" fmla="*/ 95951 h 862"/>
                  <a:gd name="T20" fmla="*/ 86309 w 1451"/>
                  <a:gd name="T21" fmla="*/ 86410 h 862"/>
                  <a:gd name="T22" fmla="*/ 93933 w 1451"/>
                  <a:gd name="T23" fmla="*/ 80413 h 862"/>
                  <a:gd name="T24" fmla="*/ 101828 w 1451"/>
                  <a:gd name="T25" fmla="*/ 75779 h 862"/>
                  <a:gd name="T26" fmla="*/ 112447 w 1451"/>
                  <a:gd name="T27" fmla="*/ 66511 h 862"/>
                  <a:gd name="T28" fmla="*/ 121704 w 1451"/>
                  <a:gd name="T29" fmla="*/ 55607 h 862"/>
                  <a:gd name="T30" fmla="*/ 134228 w 1451"/>
                  <a:gd name="T31" fmla="*/ 40070 h 862"/>
                  <a:gd name="T32" fmla="*/ 155737 w 1451"/>
                  <a:gd name="T33" fmla="*/ 34073 h 862"/>
                  <a:gd name="T34" fmla="*/ 171257 w 1451"/>
                  <a:gd name="T35" fmla="*/ 27804 h 862"/>
                  <a:gd name="T36" fmla="*/ 186504 w 1451"/>
                  <a:gd name="T37" fmla="*/ 23170 h 862"/>
                  <a:gd name="T38" fmla="*/ 192766 w 1451"/>
                  <a:gd name="T39" fmla="*/ 7632 h 862"/>
                  <a:gd name="T40" fmla="*/ 208286 w 1451"/>
                  <a:gd name="T41" fmla="*/ 4634 h 862"/>
                  <a:gd name="T42" fmla="*/ 222171 w 1451"/>
                  <a:gd name="T43" fmla="*/ 4634 h 862"/>
                  <a:gd name="T44" fmla="*/ 236057 w 1451"/>
                  <a:gd name="T45" fmla="*/ 2998 h 862"/>
                  <a:gd name="T46" fmla="*/ 251576 w 1451"/>
                  <a:gd name="T47" fmla="*/ 2998 h 862"/>
                  <a:gd name="T48" fmla="*/ 265462 w 1451"/>
                  <a:gd name="T49" fmla="*/ 9268 h 862"/>
                  <a:gd name="T50" fmla="*/ 279348 w 1451"/>
                  <a:gd name="T51" fmla="*/ 12267 h 862"/>
                  <a:gd name="T52" fmla="*/ 299223 w 1451"/>
                  <a:gd name="T53" fmla="*/ 13902 h 862"/>
                  <a:gd name="T54" fmla="*/ 310113 w 1451"/>
                  <a:gd name="T55" fmla="*/ 13902 h 862"/>
                  <a:gd name="T56" fmla="*/ 328628 w 1451"/>
                  <a:gd name="T57" fmla="*/ 12267 h 862"/>
                  <a:gd name="T58" fmla="*/ 344148 w 1451"/>
                  <a:gd name="T59" fmla="*/ 15537 h 862"/>
                  <a:gd name="T60" fmla="*/ 358033 w 1451"/>
                  <a:gd name="T61" fmla="*/ 21534 h 862"/>
                  <a:gd name="T62" fmla="*/ 371919 w 1451"/>
                  <a:gd name="T63" fmla="*/ 94315 h 862"/>
                  <a:gd name="T64" fmla="*/ 390433 w 1451"/>
                  <a:gd name="T65" fmla="*/ 136020 h 862"/>
                  <a:gd name="T66" fmla="*/ 379542 w 1451"/>
                  <a:gd name="T67" fmla="*/ 142290 h 862"/>
                  <a:gd name="T68" fmla="*/ 368651 w 1451"/>
                  <a:gd name="T69" fmla="*/ 142290 h 862"/>
                  <a:gd name="T70" fmla="*/ 358033 w 1451"/>
                  <a:gd name="T71" fmla="*/ 142290 h 862"/>
                  <a:gd name="T72" fmla="*/ 362662 w 1451"/>
                  <a:gd name="T73" fmla="*/ 156192 h 862"/>
                  <a:gd name="T74" fmla="*/ 370285 w 1451"/>
                  <a:gd name="T75" fmla="*/ 182360 h 862"/>
                  <a:gd name="T76" fmla="*/ 358033 w 1451"/>
                  <a:gd name="T77" fmla="*/ 191628 h 862"/>
                  <a:gd name="T78" fmla="*/ 359394 w 1451"/>
                  <a:gd name="T79" fmla="*/ 207165 h 862"/>
                  <a:gd name="T80" fmla="*/ 345508 w 1451"/>
                  <a:gd name="T81" fmla="*/ 213162 h 862"/>
                  <a:gd name="T82" fmla="*/ 336251 w 1451"/>
                  <a:gd name="T83" fmla="*/ 205530 h 862"/>
                  <a:gd name="T84" fmla="*/ 325633 w 1451"/>
                  <a:gd name="T85" fmla="*/ 186994 h 862"/>
                  <a:gd name="T86" fmla="*/ 311748 w 1451"/>
                  <a:gd name="T87" fmla="*/ 171456 h 862"/>
                  <a:gd name="T88" fmla="*/ 293233 w 1451"/>
                  <a:gd name="T89" fmla="*/ 188629 h 862"/>
                  <a:gd name="T90" fmla="*/ 282342 w 1451"/>
                  <a:gd name="T91" fmla="*/ 185359 h 862"/>
                  <a:gd name="T92" fmla="*/ 252937 w 1451"/>
                  <a:gd name="T93" fmla="*/ 205530 h 862"/>
                  <a:gd name="T94" fmla="*/ 240685 w 1451"/>
                  <a:gd name="T95" fmla="*/ 224066 h 862"/>
                  <a:gd name="T96" fmla="*/ 217542 w 1451"/>
                  <a:gd name="T97" fmla="*/ 214798 h 862"/>
                  <a:gd name="T98" fmla="*/ 212914 w 1451"/>
                  <a:gd name="T99" fmla="*/ 205530 h 862"/>
                  <a:gd name="T100" fmla="*/ 197394 w 1451"/>
                  <a:gd name="T101" fmla="*/ 203895 h 862"/>
                  <a:gd name="T102" fmla="*/ 171257 w 1451"/>
                  <a:gd name="T103" fmla="*/ 205530 h 862"/>
                  <a:gd name="T104" fmla="*/ 146480 w 1451"/>
                  <a:gd name="T105" fmla="*/ 219431 h 862"/>
                  <a:gd name="T106" fmla="*/ 148114 w 1451"/>
                  <a:gd name="T107" fmla="*/ 225701 h 862"/>
                  <a:gd name="T108" fmla="*/ 138857 w 1451"/>
                  <a:gd name="T109" fmla="*/ 234969 h 862"/>
                  <a:gd name="T110" fmla="*/ 121704 w 1451"/>
                  <a:gd name="T111" fmla="*/ 224066 h 862"/>
                  <a:gd name="T112" fmla="*/ 127966 w 1451"/>
                  <a:gd name="T113" fmla="*/ 214798 h 862"/>
                  <a:gd name="T114" fmla="*/ 98561 w 1451"/>
                  <a:gd name="T115" fmla="*/ 210164 h 862"/>
                  <a:gd name="T116" fmla="*/ 83314 w 1451"/>
                  <a:gd name="T117" fmla="*/ 214798 h 862"/>
                  <a:gd name="T118" fmla="*/ 66161 w 1451"/>
                  <a:gd name="T119" fmla="*/ 216434 h 862"/>
                  <a:gd name="T120" fmla="*/ 46286 w 1451"/>
                  <a:gd name="T121" fmla="*/ 199260 h 862"/>
                  <a:gd name="T122" fmla="*/ 26138 w 1451"/>
                  <a:gd name="T123" fmla="*/ 200896 h 862"/>
                  <a:gd name="T124" fmla="*/ 1361 w 1451"/>
                  <a:gd name="T125" fmla="*/ 194626 h 86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451" h="862">
                    <a:moveTo>
                      <a:pt x="0" y="675"/>
                    </a:moveTo>
                    <a:lnTo>
                      <a:pt x="5" y="675"/>
                    </a:lnTo>
                    <a:lnTo>
                      <a:pt x="5" y="669"/>
                    </a:lnTo>
                    <a:lnTo>
                      <a:pt x="11" y="669"/>
                    </a:lnTo>
                    <a:lnTo>
                      <a:pt x="17" y="663"/>
                    </a:lnTo>
                    <a:lnTo>
                      <a:pt x="22" y="646"/>
                    </a:lnTo>
                    <a:lnTo>
                      <a:pt x="28" y="641"/>
                    </a:lnTo>
                    <a:lnTo>
                      <a:pt x="28" y="635"/>
                    </a:lnTo>
                    <a:lnTo>
                      <a:pt x="34" y="635"/>
                    </a:lnTo>
                    <a:lnTo>
                      <a:pt x="34" y="629"/>
                    </a:lnTo>
                    <a:lnTo>
                      <a:pt x="39" y="629"/>
                    </a:lnTo>
                    <a:lnTo>
                      <a:pt x="39" y="624"/>
                    </a:lnTo>
                    <a:lnTo>
                      <a:pt x="45" y="624"/>
                    </a:lnTo>
                    <a:lnTo>
                      <a:pt x="45" y="618"/>
                    </a:lnTo>
                    <a:lnTo>
                      <a:pt x="51" y="618"/>
                    </a:lnTo>
                    <a:lnTo>
                      <a:pt x="56" y="612"/>
                    </a:lnTo>
                    <a:lnTo>
                      <a:pt x="62" y="612"/>
                    </a:lnTo>
                    <a:lnTo>
                      <a:pt x="68" y="612"/>
                    </a:lnTo>
                    <a:lnTo>
                      <a:pt x="73" y="607"/>
                    </a:lnTo>
                    <a:lnTo>
                      <a:pt x="73" y="601"/>
                    </a:lnTo>
                    <a:lnTo>
                      <a:pt x="73" y="595"/>
                    </a:lnTo>
                    <a:lnTo>
                      <a:pt x="79" y="595"/>
                    </a:lnTo>
                    <a:lnTo>
                      <a:pt x="79" y="590"/>
                    </a:lnTo>
                    <a:lnTo>
                      <a:pt x="85" y="590"/>
                    </a:lnTo>
                    <a:lnTo>
                      <a:pt x="90" y="590"/>
                    </a:lnTo>
                    <a:lnTo>
                      <a:pt x="96" y="590"/>
                    </a:lnTo>
                    <a:lnTo>
                      <a:pt x="102" y="590"/>
                    </a:lnTo>
                    <a:lnTo>
                      <a:pt x="107" y="584"/>
                    </a:lnTo>
                    <a:lnTo>
                      <a:pt x="113" y="584"/>
                    </a:lnTo>
                    <a:lnTo>
                      <a:pt x="113" y="578"/>
                    </a:lnTo>
                    <a:lnTo>
                      <a:pt x="119" y="578"/>
                    </a:lnTo>
                    <a:lnTo>
                      <a:pt x="124" y="578"/>
                    </a:lnTo>
                    <a:lnTo>
                      <a:pt x="124" y="573"/>
                    </a:lnTo>
                    <a:lnTo>
                      <a:pt x="124" y="567"/>
                    </a:lnTo>
                    <a:lnTo>
                      <a:pt x="124" y="561"/>
                    </a:lnTo>
                    <a:lnTo>
                      <a:pt x="124" y="556"/>
                    </a:lnTo>
                    <a:lnTo>
                      <a:pt x="124" y="550"/>
                    </a:lnTo>
                    <a:lnTo>
                      <a:pt x="130" y="550"/>
                    </a:lnTo>
                    <a:lnTo>
                      <a:pt x="124" y="544"/>
                    </a:lnTo>
                    <a:lnTo>
                      <a:pt x="124" y="539"/>
                    </a:lnTo>
                    <a:lnTo>
                      <a:pt x="124" y="533"/>
                    </a:lnTo>
                    <a:lnTo>
                      <a:pt x="130" y="527"/>
                    </a:lnTo>
                    <a:lnTo>
                      <a:pt x="130" y="522"/>
                    </a:lnTo>
                    <a:lnTo>
                      <a:pt x="136" y="516"/>
                    </a:lnTo>
                    <a:lnTo>
                      <a:pt x="136" y="510"/>
                    </a:lnTo>
                    <a:lnTo>
                      <a:pt x="136" y="505"/>
                    </a:lnTo>
                    <a:lnTo>
                      <a:pt x="136" y="499"/>
                    </a:lnTo>
                    <a:lnTo>
                      <a:pt x="141" y="499"/>
                    </a:lnTo>
                    <a:lnTo>
                      <a:pt x="141" y="493"/>
                    </a:lnTo>
                    <a:lnTo>
                      <a:pt x="141" y="488"/>
                    </a:lnTo>
                    <a:lnTo>
                      <a:pt x="147" y="482"/>
                    </a:lnTo>
                    <a:lnTo>
                      <a:pt x="147" y="476"/>
                    </a:lnTo>
                    <a:lnTo>
                      <a:pt x="147" y="471"/>
                    </a:lnTo>
                    <a:lnTo>
                      <a:pt x="147" y="465"/>
                    </a:lnTo>
                    <a:lnTo>
                      <a:pt x="153" y="459"/>
                    </a:lnTo>
                    <a:lnTo>
                      <a:pt x="147" y="459"/>
                    </a:lnTo>
                    <a:lnTo>
                      <a:pt x="147" y="454"/>
                    </a:lnTo>
                    <a:lnTo>
                      <a:pt x="147" y="448"/>
                    </a:lnTo>
                    <a:lnTo>
                      <a:pt x="153" y="448"/>
                    </a:lnTo>
                    <a:lnTo>
                      <a:pt x="153" y="442"/>
                    </a:lnTo>
                    <a:lnTo>
                      <a:pt x="153" y="437"/>
                    </a:lnTo>
                    <a:lnTo>
                      <a:pt x="158" y="425"/>
                    </a:lnTo>
                    <a:lnTo>
                      <a:pt x="164" y="425"/>
                    </a:lnTo>
                    <a:lnTo>
                      <a:pt x="164" y="420"/>
                    </a:lnTo>
                    <a:lnTo>
                      <a:pt x="164" y="414"/>
                    </a:lnTo>
                    <a:lnTo>
                      <a:pt x="164" y="408"/>
                    </a:lnTo>
                    <a:lnTo>
                      <a:pt x="170" y="408"/>
                    </a:lnTo>
                    <a:lnTo>
                      <a:pt x="170" y="414"/>
                    </a:lnTo>
                    <a:lnTo>
                      <a:pt x="175" y="414"/>
                    </a:lnTo>
                    <a:lnTo>
                      <a:pt x="170" y="420"/>
                    </a:lnTo>
                    <a:lnTo>
                      <a:pt x="175" y="420"/>
                    </a:lnTo>
                    <a:lnTo>
                      <a:pt x="181" y="420"/>
                    </a:lnTo>
                    <a:lnTo>
                      <a:pt x="181" y="414"/>
                    </a:lnTo>
                    <a:lnTo>
                      <a:pt x="187" y="414"/>
                    </a:lnTo>
                    <a:lnTo>
                      <a:pt x="187" y="408"/>
                    </a:lnTo>
                    <a:lnTo>
                      <a:pt x="181" y="408"/>
                    </a:lnTo>
                    <a:lnTo>
                      <a:pt x="181" y="403"/>
                    </a:lnTo>
                    <a:lnTo>
                      <a:pt x="187" y="403"/>
                    </a:lnTo>
                    <a:lnTo>
                      <a:pt x="187" y="397"/>
                    </a:lnTo>
                    <a:lnTo>
                      <a:pt x="192" y="397"/>
                    </a:lnTo>
                    <a:lnTo>
                      <a:pt x="192" y="391"/>
                    </a:lnTo>
                    <a:lnTo>
                      <a:pt x="198" y="391"/>
                    </a:lnTo>
                    <a:lnTo>
                      <a:pt x="204" y="391"/>
                    </a:lnTo>
                    <a:lnTo>
                      <a:pt x="204" y="386"/>
                    </a:lnTo>
                    <a:lnTo>
                      <a:pt x="198" y="386"/>
                    </a:lnTo>
                    <a:lnTo>
                      <a:pt x="198" y="380"/>
                    </a:lnTo>
                    <a:lnTo>
                      <a:pt x="204" y="380"/>
                    </a:lnTo>
                    <a:lnTo>
                      <a:pt x="209" y="380"/>
                    </a:lnTo>
                    <a:lnTo>
                      <a:pt x="215" y="380"/>
                    </a:lnTo>
                    <a:lnTo>
                      <a:pt x="221" y="380"/>
                    </a:lnTo>
                    <a:lnTo>
                      <a:pt x="215" y="374"/>
                    </a:lnTo>
                    <a:lnTo>
                      <a:pt x="221" y="369"/>
                    </a:lnTo>
                    <a:lnTo>
                      <a:pt x="226" y="374"/>
                    </a:lnTo>
                    <a:lnTo>
                      <a:pt x="226" y="369"/>
                    </a:lnTo>
                    <a:lnTo>
                      <a:pt x="232" y="369"/>
                    </a:lnTo>
                    <a:lnTo>
                      <a:pt x="238" y="369"/>
                    </a:lnTo>
                    <a:lnTo>
                      <a:pt x="238" y="363"/>
                    </a:lnTo>
                    <a:lnTo>
                      <a:pt x="243" y="363"/>
                    </a:lnTo>
                    <a:lnTo>
                      <a:pt x="243" y="357"/>
                    </a:lnTo>
                    <a:lnTo>
                      <a:pt x="249" y="357"/>
                    </a:lnTo>
                    <a:lnTo>
                      <a:pt x="249" y="352"/>
                    </a:lnTo>
                    <a:lnTo>
                      <a:pt x="249" y="346"/>
                    </a:lnTo>
                    <a:lnTo>
                      <a:pt x="255" y="346"/>
                    </a:lnTo>
                    <a:lnTo>
                      <a:pt x="260" y="346"/>
                    </a:lnTo>
                    <a:lnTo>
                      <a:pt x="255" y="352"/>
                    </a:lnTo>
                    <a:lnTo>
                      <a:pt x="260" y="352"/>
                    </a:lnTo>
                    <a:lnTo>
                      <a:pt x="266" y="352"/>
                    </a:lnTo>
                    <a:lnTo>
                      <a:pt x="266" y="346"/>
                    </a:lnTo>
                    <a:lnTo>
                      <a:pt x="272" y="346"/>
                    </a:lnTo>
                    <a:lnTo>
                      <a:pt x="272" y="352"/>
                    </a:lnTo>
                    <a:lnTo>
                      <a:pt x="277" y="352"/>
                    </a:lnTo>
                    <a:lnTo>
                      <a:pt x="277" y="346"/>
                    </a:lnTo>
                    <a:lnTo>
                      <a:pt x="283" y="340"/>
                    </a:lnTo>
                    <a:lnTo>
                      <a:pt x="289" y="340"/>
                    </a:lnTo>
                    <a:lnTo>
                      <a:pt x="300" y="340"/>
                    </a:lnTo>
                    <a:lnTo>
                      <a:pt x="306" y="340"/>
                    </a:lnTo>
                    <a:lnTo>
                      <a:pt x="306" y="335"/>
                    </a:lnTo>
                    <a:lnTo>
                      <a:pt x="311" y="335"/>
                    </a:lnTo>
                    <a:lnTo>
                      <a:pt x="317" y="329"/>
                    </a:lnTo>
                    <a:lnTo>
                      <a:pt x="317" y="323"/>
                    </a:lnTo>
                    <a:lnTo>
                      <a:pt x="317" y="317"/>
                    </a:lnTo>
                    <a:lnTo>
                      <a:pt x="317" y="312"/>
                    </a:lnTo>
                    <a:lnTo>
                      <a:pt x="317" y="306"/>
                    </a:lnTo>
                    <a:lnTo>
                      <a:pt x="323" y="306"/>
                    </a:lnTo>
                    <a:lnTo>
                      <a:pt x="323" y="300"/>
                    </a:lnTo>
                    <a:lnTo>
                      <a:pt x="323" y="295"/>
                    </a:lnTo>
                    <a:lnTo>
                      <a:pt x="328" y="295"/>
                    </a:lnTo>
                    <a:lnTo>
                      <a:pt x="328" y="300"/>
                    </a:lnTo>
                    <a:lnTo>
                      <a:pt x="334" y="300"/>
                    </a:lnTo>
                    <a:lnTo>
                      <a:pt x="340" y="300"/>
                    </a:lnTo>
                    <a:lnTo>
                      <a:pt x="340" y="295"/>
                    </a:lnTo>
                    <a:lnTo>
                      <a:pt x="345" y="295"/>
                    </a:lnTo>
                    <a:lnTo>
                      <a:pt x="351" y="295"/>
                    </a:lnTo>
                    <a:lnTo>
                      <a:pt x="357" y="300"/>
                    </a:lnTo>
                    <a:lnTo>
                      <a:pt x="362" y="300"/>
                    </a:lnTo>
                    <a:lnTo>
                      <a:pt x="362" y="295"/>
                    </a:lnTo>
                    <a:lnTo>
                      <a:pt x="368" y="289"/>
                    </a:lnTo>
                    <a:lnTo>
                      <a:pt x="374" y="283"/>
                    </a:lnTo>
                    <a:lnTo>
                      <a:pt x="374" y="278"/>
                    </a:lnTo>
                    <a:lnTo>
                      <a:pt x="368" y="278"/>
                    </a:lnTo>
                    <a:lnTo>
                      <a:pt x="368" y="272"/>
                    </a:lnTo>
                    <a:lnTo>
                      <a:pt x="374" y="272"/>
                    </a:lnTo>
                    <a:lnTo>
                      <a:pt x="374" y="278"/>
                    </a:lnTo>
                    <a:lnTo>
                      <a:pt x="379" y="278"/>
                    </a:lnTo>
                    <a:lnTo>
                      <a:pt x="385" y="272"/>
                    </a:lnTo>
                    <a:lnTo>
                      <a:pt x="385" y="266"/>
                    </a:lnTo>
                    <a:lnTo>
                      <a:pt x="391" y="266"/>
                    </a:lnTo>
                    <a:lnTo>
                      <a:pt x="396" y="266"/>
                    </a:lnTo>
                    <a:lnTo>
                      <a:pt x="396" y="261"/>
                    </a:lnTo>
                    <a:lnTo>
                      <a:pt x="402" y="261"/>
                    </a:lnTo>
                    <a:lnTo>
                      <a:pt x="408" y="255"/>
                    </a:lnTo>
                    <a:lnTo>
                      <a:pt x="413" y="255"/>
                    </a:lnTo>
                    <a:lnTo>
                      <a:pt x="413" y="249"/>
                    </a:lnTo>
                    <a:lnTo>
                      <a:pt x="413" y="244"/>
                    </a:lnTo>
                    <a:lnTo>
                      <a:pt x="413" y="238"/>
                    </a:lnTo>
                    <a:lnTo>
                      <a:pt x="419" y="238"/>
                    </a:lnTo>
                    <a:lnTo>
                      <a:pt x="419" y="232"/>
                    </a:lnTo>
                    <a:lnTo>
                      <a:pt x="413" y="227"/>
                    </a:lnTo>
                    <a:lnTo>
                      <a:pt x="419" y="227"/>
                    </a:lnTo>
                    <a:lnTo>
                      <a:pt x="425" y="227"/>
                    </a:lnTo>
                    <a:lnTo>
                      <a:pt x="430" y="221"/>
                    </a:lnTo>
                    <a:lnTo>
                      <a:pt x="436" y="221"/>
                    </a:lnTo>
                    <a:lnTo>
                      <a:pt x="442" y="215"/>
                    </a:lnTo>
                    <a:lnTo>
                      <a:pt x="447" y="210"/>
                    </a:lnTo>
                    <a:lnTo>
                      <a:pt x="447" y="204"/>
                    </a:lnTo>
                    <a:lnTo>
                      <a:pt x="447" y="198"/>
                    </a:lnTo>
                    <a:lnTo>
                      <a:pt x="447" y="193"/>
                    </a:lnTo>
                    <a:lnTo>
                      <a:pt x="459" y="187"/>
                    </a:lnTo>
                    <a:lnTo>
                      <a:pt x="464" y="181"/>
                    </a:lnTo>
                    <a:lnTo>
                      <a:pt x="476" y="176"/>
                    </a:lnTo>
                    <a:lnTo>
                      <a:pt x="476" y="170"/>
                    </a:lnTo>
                    <a:lnTo>
                      <a:pt x="476" y="159"/>
                    </a:lnTo>
                    <a:lnTo>
                      <a:pt x="481" y="159"/>
                    </a:lnTo>
                    <a:lnTo>
                      <a:pt x="481" y="153"/>
                    </a:lnTo>
                    <a:lnTo>
                      <a:pt x="487" y="147"/>
                    </a:lnTo>
                    <a:lnTo>
                      <a:pt x="493" y="147"/>
                    </a:lnTo>
                    <a:lnTo>
                      <a:pt x="504" y="142"/>
                    </a:lnTo>
                    <a:lnTo>
                      <a:pt x="510" y="136"/>
                    </a:lnTo>
                    <a:lnTo>
                      <a:pt x="515" y="130"/>
                    </a:lnTo>
                    <a:lnTo>
                      <a:pt x="521" y="130"/>
                    </a:lnTo>
                    <a:lnTo>
                      <a:pt x="527" y="125"/>
                    </a:lnTo>
                    <a:lnTo>
                      <a:pt x="532" y="125"/>
                    </a:lnTo>
                    <a:lnTo>
                      <a:pt x="544" y="119"/>
                    </a:lnTo>
                    <a:lnTo>
                      <a:pt x="555" y="119"/>
                    </a:lnTo>
                    <a:lnTo>
                      <a:pt x="561" y="119"/>
                    </a:lnTo>
                    <a:lnTo>
                      <a:pt x="566" y="125"/>
                    </a:lnTo>
                    <a:lnTo>
                      <a:pt x="572" y="125"/>
                    </a:lnTo>
                    <a:lnTo>
                      <a:pt x="578" y="125"/>
                    </a:lnTo>
                    <a:lnTo>
                      <a:pt x="583" y="119"/>
                    </a:lnTo>
                    <a:lnTo>
                      <a:pt x="589" y="119"/>
                    </a:lnTo>
                    <a:lnTo>
                      <a:pt x="595" y="119"/>
                    </a:lnTo>
                    <a:lnTo>
                      <a:pt x="600" y="119"/>
                    </a:lnTo>
                    <a:lnTo>
                      <a:pt x="612" y="113"/>
                    </a:lnTo>
                    <a:lnTo>
                      <a:pt x="617" y="113"/>
                    </a:lnTo>
                    <a:lnTo>
                      <a:pt x="617" y="108"/>
                    </a:lnTo>
                    <a:lnTo>
                      <a:pt x="623" y="108"/>
                    </a:lnTo>
                    <a:lnTo>
                      <a:pt x="629" y="108"/>
                    </a:lnTo>
                    <a:lnTo>
                      <a:pt x="629" y="102"/>
                    </a:lnTo>
                    <a:lnTo>
                      <a:pt x="634" y="102"/>
                    </a:lnTo>
                    <a:lnTo>
                      <a:pt x="640" y="102"/>
                    </a:lnTo>
                    <a:lnTo>
                      <a:pt x="651" y="96"/>
                    </a:lnTo>
                    <a:lnTo>
                      <a:pt x="657" y="96"/>
                    </a:lnTo>
                    <a:lnTo>
                      <a:pt x="657" y="91"/>
                    </a:lnTo>
                    <a:lnTo>
                      <a:pt x="663" y="91"/>
                    </a:lnTo>
                    <a:lnTo>
                      <a:pt x="668" y="91"/>
                    </a:lnTo>
                    <a:lnTo>
                      <a:pt x="668" y="85"/>
                    </a:lnTo>
                    <a:lnTo>
                      <a:pt x="674" y="91"/>
                    </a:lnTo>
                    <a:lnTo>
                      <a:pt x="680" y="91"/>
                    </a:lnTo>
                    <a:lnTo>
                      <a:pt x="685" y="85"/>
                    </a:lnTo>
                    <a:lnTo>
                      <a:pt x="691" y="74"/>
                    </a:lnTo>
                    <a:lnTo>
                      <a:pt x="691" y="68"/>
                    </a:lnTo>
                    <a:lnTo>
                      <a:pt x="697" y="68"/>
                    </a:lnTo>
                    <a:lnTo>
                      <a:pt x="691" y="57"/>
                    </a:lnTo>
                    <a:lnTo>
                      <a:pt x="691" y="51"/>
                    </a:lnTo>
                    <a:lnTo>
                      <a:pt x="697" y="51"/>
                    </a:lnTo>
                    <a:lnTo>
                      <a:pt x="697" y="45"/>
                    </a:lnTo>
                    <a:lnTo>
                      <a:pt x="702" y="45"/>
                    </a:lnTo>
                    <a:lnTo>
                      <a:pt x="702" y="40"/>
                    </a:lnTo>
                    <a:lnTo>
                      <a:pt x="708" y="34"/>
                    </a:lnTo>
                    <a:lnTo>
                      <a:pt x="708" y="28"/>
                    </a:lnTo>
                    <a:lnTo>
                      <a:pt x="714" y="28"/>
                    </a:lnTo>
                    <a:lnTo>
                      <a:pt x="719" y="28"/>
                    </a:lnTo>
                    <a:lnTo>
                      <a:pt x="725" y="28"/>
                    </a:lnTo>
                    <a:lnTo>
                      <a:pt x="731" y="28"/>
                    </a:lnTo>
                    <a:lnTo>
                      <a:pt x="731" y="23"/>
                    </a:lnTo>
                    <a:lnTo>
                      <a:pt x="736" y="23"/>
                    </a:lnTo>
                    <a:lnTo>
                      <a:pt x="742" y="23"/>
                    </a:lnTo>
                    <a:lnTo>
                      <a:pt x="748" y="23"/>
                    </a:lnTo>
                    <a:lnTo>
                      <a:pt x="753" y="17"/>
                    </a:lnTo>
                    <a:lnTo>
                      <a:pt x="759" y="17"/>
                    </a:lnTo>
                    <a:lnTo>
                      <a:pt x="765" y="17"/>
                    </a:lnTo>
                    <a:lnTo>
                      <a:pt x="770" y="17"/>
                    </a:lnTo>
                    <a:lnTo>
                      <a:pt x="776" y="17"/>
                    </a:lnTo>
                    <a:lnTo>
                      <a:pt x="782" y="17"/>
                    </a:lnTo>
                    <a:lnTo>
                      <a:pt x="787" y="17"/>
                    </a:lnTo>
                    <a:lnTo>
                      <a:pt x="787" y="23"/>
                    </a:lnTo>
                    <a:lnTo>
                      <a:pt x="793" y="23"/>
                    </a:lnTo>
                    <a:lnTo>
                      <a:pt x="799" y="23"/>
                    </a:lnTo>
                    <a:lnTo>
                      <a:pt x="804" y="23"/>
                    </a:lnTo>
                    <a:lnTo>
                      <a:pt x="804" y="17"/>
                    </a:lnTo>
                    <a:lnTo>
                      <a:pt x="810" y="17"/>
                    </a:lnTo>
                    <a:lnTo>
                      <a:pt x="816" y="17"/>
                    </a:lnTo>
                    <a:lnTo>
                      <a:pt x="821" y="11"/>
                    </a:lnTo>
                    <a:lnTo>
                      <a:pt x="827" y="11"/>
                    </a:lnTo>
                    <a:lnTo>
                      <a:pt x="833" y="17"/>
                    </a:lnTo>
                    <a:lnTo>
                      <a:pt x="838" y="17"/>
                    </a:lnTo>
                    <a:lnTo>
                      <a:pt x="844" y="17"/>
                    </a:lnTo>
                    <a:lnTo>
                      <a:pt x="844" y="11"/>
                    </a:lnTo>
                    <a:lnTo>
                      <a:pt x="850" y="6"/>
                    </a:lnTo>
                    <a:lnTo>
                      <a:pt x="855" y="6"/>
                    </a:lnTo>
                    <a:lnTo>
                      <a:pt x="861" y="6"/>
                    </a:lnTo>
                    <a:lnTo>
                      <a:pt x="861" y="11"/>
                    </a:lnTo>
                    <a:lnTo>
                      <a:pt x="867" y="11"/>
                    </a:lnTo>
                    <a:lnTo>
                      <a:pt x="867" y="6"/>
                    </a:lnTo>
                    <a:lnTo>
                      <a:pt x="873" y="6"/>
                    </a:lnTo>
                    <a:lnTo>
                      <a:pt x="878" y="0"/>
                    </a:lnTo>
                    <a:lnTo>
                      <a:pt x="878" y="6"/>
                    </a:lnTo>
                    <a:lnTo>
                      <a:pt x="884" y="6"/>
                    </a:lnTo>
                    <a:lnTo>
                      <a:pt x="890" y="6"/>
                    </a:lnTo>
                    <a:lnTo>
                      <a:pt x="895" y="6"/>
                    </a:lnTo>
                    <a:lnTo>
                      <a:pt x="901" y="6"/>
                    </a:lnTo>
                    <a:lnTo>
                      <a:pt x="907" y="6"/>
                    </a:lnTo>
                    <a:lnTo>
                      <a:pt x="918" y="11"/>
                    </a:lnTo>
                    <a:lnTo>
                      <a:pt x="924" y="11"/>
                    </a:lnTo>
                    <a:lnTo>
                      <a:pt x="924" y="17"/>
                    </a:lnTo>
                    <a:lnTo>
                      <a:pt x="929" y="11"/>
                    </a:lnTo>
                    <a:lnTo>
                      <a:pt x="929" y="17"/>
                    </a:lnTo>
                    <a:lnTo>
                      <a:pt x="935" y="17"/>
                    </a:lnTo>
                    <a:lnTo>
                      <a:pt x="941" y="17"/>
                    </a:lnTo>
                    <a:lnTo>
                      <a:pt x="946" y="17"/>
                    </a:lnTo>
                    <a:lnTo>
                      <a:pt x="952" y="23"/>
                    </a:lnTo>
                    <a:lnTo>
                      <a:pt x="958" y="28"/>
                    </a:lnTo>
                    <a:lnTo>
                      <a:pt x="963" y="28"/>
                    </a:lnTo>
                    <a:lnTo>
                      <a:pt x="969" y="28"/>
                    </a:lnTo>
                    <a:lnTo>
                      <a:pt x="975" y="34"/>
                    </a:lnTo>
                    <a:lnTo>
                      <a:pt x="980" y="34"/>
                    </a:lnTo>
                    <a:lnTo>
                      <a:pt x="980" y="40"/>
                    </a:lnTo>
                    <a:lnTo>
                      <a:pt x="986" y="40"/>
                    </a:lnTo>
                    <a:lnTo>
                      <a:pt x="992" y="45"/>
                    </a:lnTo>
                    <a:lnTo>
                      <a:pt x="997" y="45"/>
                    </a:lnTo>
                    <a:lnTo>
                      <a:pt x="1003" y="51"/>
                    </a:lnTo>
                    <a:lnTo>
                      <a:pt x="1009" y="51"/>
                    </a:lnTo>
                    <a:lnTo>
                      <a:pt x="1009" y="45"/>
                    </a:lnTo>
                    <a:lnTo>
                      <a:pt x="1014" y="45"/>
                    </a:lnTo>
                    <a:lnTo>
                      <a:pt x="1020" y="45"/>
                    </a:lnTo>
                    <a:lnTo>
                      <a:pt x="1026" y="45"/>
                    </a:lnTo>
                    <a:lnTo>
                      <a:pt x="1031" y="51"/>
                    </a:lnTo>
                    <a:lnTo>
                      <a:pt x="1037" y="57"/>
                    </a:lnTo>
                    <a:lnTo>
                      <a:pt x="1043" y="62"/>
                    </a:lnTo>
                    <a:lnTo>
                      <a:pt x="1048" y="62"/>
                    </a:lnTo>
                    <a:lnTo>
                      <a:pt x="1060" y="62"/>
                    </a:lnTo>
                    <a:lnTo>
                      <a:pt x="1065" y="62"/>
                    </a:lnTo>
                    <a:lnTo>
                      <a:pt x="1077" y="57"/>
                    </a:lnTo>
                    <a:lnTo>
                      <a:pt x="1082" y="57"/>
                    </a:lnTo>
                    <a:lnTo>
                      <a:pt x="1088" y="57"/>
                    </a:lnTo>
                    <a:lnTo>
                      <a:pt x="1094" y="51"/>
                    </a:lnTo>
                    <a:lnTo>
                      <a:pt x="1099" y="51"/>
                    </a:lnTo>
                    <a:lnTo>
                      <a:pt x="1105" y="51"/>
                    </a:lnTo>
                    <a:lnTo>
                      <a:pt x="1105" y="57"/>
                    </a:lnTo>
                    <a:lnTo>
                      <a:pt x="1111" y="57"/>
                    </a:lnTo>
                    <a:lnTo>
                      <a:pt x="1116" y="57"/>
                    </a:lnTo>
                    <a:lnTo>
                      <a:pt x="1116" y="51"/>
                    </a:lnTo>
                    <a:lnTo>
                      <a:pt x="1122" y="51"/>
                    </a:lnTo>
                    <a:lnTo>
                      <a:pt x="1128" y="51"/>
                    </a:lnTo>
                    <a:lnTo>
                      <a:pt x="1128" y="57"/>
                    </a:lnTo>
                    <a:lnTo>
                      <a:pt x="1133" y="57"/>
                    </a:lnTo>
                    <a:lnTo>
                      <a:pt x="1139" y="57"/>
                    </a:lnTo>
                    <a:lnTo>
                      <a:pt x="1139" y="51"/>
                    </a:lnTo>
                    <a:lnTo>
                      <a:pt x="1145" y="51"/>
                    </a:lnTo>
                    <a:lnTo>
                      <a:pt x="1150" y="51"/>
                    </a:lnTo>
                    <a:lnTo>
                      <a:pt x="1156" y="51"/>
                    </a:lnTo>
                    <a:lnTo>
                      <a:pt x="1162" y="51"/>
                    </a:lnTo>
                    <a:lnTo>
                      <a:pt x="1173" y="51"/>
                    </a:lnTo>
                    <a:lnTo>
                      <a:pt x="1179" y="51"/>
                    </a:lnTo>
                    <a:lnTo>
                      <a:pt x="1184" y="45"/>
                    </a:lnTo>
                    <a:lnTo>
                      <a:pt x="1190" y="45"/>
                    </a:lnTo>
                    <a:lnTo>
                      <a:pt x="1196" y="45"/>
                    </a:lnTo>
                    <a:lnTo>
                      <a:pt x="1201" y="51"/>
                    </a:lnTo>
                    <a:lnTo>
                      <a:pt x="1207" y="45"/>
                    </a:lnTo>
                    <a:lnTo>
                      <a:pt x="1207" y="51"/>
                    </a:lnTo>
                    <a:lnTo>
                      <a:pt x="1213" y="51"/>
                    </a:lnTo>
                    <a:lnTo>
                      <a:pt x="1218" y="51"/>
                    </a:lnTo>
                    <a:lnTo>
                      <a:pt x="1224" y="51"/>
                    </a:lnTo>
                    <a:lnTo>
                      <a:pt x="1230" y="57"/>
                    </a:lnTo>
                    <a:lnTo>
                      <a:pt x="1235" y="57"/>
                    </a:lnTo>
                    <a:lnTo>
                      <a:pt x="1241" y="57"/>
                    </a:lnTo>
                    <a:lnTo>
                      <a:pt x="1247" y="57"/>
                    </a:lnTo>
                    <a:lnTo>
                      <a:pt x="1247" y="62"/>
                    </a:lnTo>
                    <a:lnTo>
                      <a:pt x="1252" y="62"/>
                    </a:lnTo>
                    <a:lnTo>
                      <a:pt x="1264" y="57"/>
                    </a:lnTo>
                    <a:lnTo>
                      <a:pt x="1269" y="57"/>
                    </a:lnTo>
                    <a:lnTo>
                      <a:pt x="1275" y="57"/>
                    </a:lnTo>
                    <a:lnTo>
                      <a:pt x="1281" y="57"/>
                    </a:lnTo>
                    <a:lnTo>
                      <a:pt x="1286" y="62"/>
                    </a:lnTo>
                    <a:lnTo>
                      <a:pt x="1286" y="68"/>
                    </a:lnTo>
                    <a:lnTo>
                      <a:pt x="1292" y="68"/>
                    </a:lnTo>
                    <a:lnTo>
                      <a:pt x="1298" y="62"/>
                    </a:lnTo>
                    <a:lnTo>
                      <a:pt x="1303" y="68"/>
                    </a:lnTo>
                    <a:lnTo>
                      <a:pt x="1309" y="74"/>
                    </a:lnTo>
                    <a:lnTo>
                      <a:pt x="1309" y="79"/>
                    </a:lnTo>
                    <a:lnTo>
                      <a:pt x="1315" y="79"/>
                    </a:lnTo>
                    <a:lnTo>
                      <a:pt x="1326" y="125"/>
                    </a:lnTo>
                    <a:lnTo>
                      <a:pt x="1337" y="170"/>
                    </a:lnTo>
                    <a:lnTo>
                      <a:pt x="1360" y="238"/>
                    </a:lnTo>
                    <a:lnTo>
                      <a:pt x="1360" y="249"/>
                    </a:lnTo>
                    <a:lnTo>
                      <a:pt x="1366" y="255"/>
                    </a:lnTo>
                    <a:lnTo>
                      <a:pt x="1366" y="272"/>
                    </a:lnTo>
                    <a:lnTo>
                      <a:pt x="1371" y="283"/>
                    </a:lnTo>
                    <a:lnTo>
                      <a:pt x="1371" y="300"/>
                    </a:lnTo>
                    <a:lnTo>
                      <a:pt x="1371" y="312"/>
                    </a:lnTo>
                    <a:lnTo>
                      <a:pt x="1371" y="317"/>
                    </a:lnTo>
                    <a:lnTo>
                      <a:pt x="1366" y="346"/>
                    </a:lnTo>
                    <a:lnTo>
                      <a:pt x="1371" y="363"/>
                    </a:lnTo>
                    <a:lnTo>
                      <a:pt x="1371" y="369"/>
                    </a:lnTo>
                    <a:lnTo>
                      <a:pt x="1394" y="391"/>
                    </a:lnTo>
                    <a:lnTo>
                      <a:pt x="1400" y="403"/>
                    </a:lnTo>
                    <a:lnTo>
                      <a:pt x="1405" y="431"/>
                    </a:lnTo>
                    <a:lnTo>
                      <a:pt x="1417" y="476"/>
                    </a:lnTo>
                    <a:lnTo>
                      <a:pt x="1445" y="493"/>
                    </a:lnTo>
                    <a:lnTo>
                      <a:pt x="1451" y="493"/>
                    </a:lnTo>
                    <a:lnTo>
                      <a:pt x="1445" y="493"/>
                    </a:lnTo>
                    <a:lnTo>
                      <a:pt x="1439" y="499"/>
                    </a:lnTo>
                    <a:lnTo>
                      <a:pt x="1434" y="499"/>
                    </a:lnTo>
                    <a:lnTo>
                      <a:pt x="1428" y="499"/>
                    </a:lnTo>
                    <a:lnTo>
                      <a:pt x="1422" y="493"/>
                    </a:lnTo>
                    <a:lnTo>
                      <a:pt x="1422" y="499"/>
                    </a:lnTo>
                    <a:lnTo>
                      <a:pt x="1417" y="499"/>
                    </a:lnTo>
                    <a:lnTo>
                      <a:pt x="1417" y="505"/>
                    </a:lnTo>
                    <a:lnTo>
                      <a:pt x="1411" y="505"/>
                    </a:lnTo>
                    <a:lnTo>
                      <a:pt x="1411" y="510"/>
                    </a:lnTo>
                    <a:lnTo>
                      <a:pt x="1405" y="516"/>
                    </a:lnTo>
                    <a:lnTo>
                      <a:pt x="1405" y="522"/>
                    </a:lnTo>
                    <a:lnTo>
                      <a:pt x="1400" y="522"/>
                    </a:lnTo>
                    <a:lnTo>
                      <a:pt x="1394" y="522"/>
                    </a:lnTo>
                    <a:lnTo>
                      <a:pt x="1388" y="516"/>
                    </a:lnTo>
                    <a:lnTo>
                      <a:pt x="1388" y="510"/>
                    </a:lnTo>
                    <a:lnTo>
                      <a:pt x="1383" y="510"/>
                    </a:lnTo>
                    <a:lnTo>
                      <a:pt x="1377" y="510"/>
                    </a:lnTo>
                    <a:lnTo>
                      <a:pt x="1377" y="516"/>
                    </a:lnTo>
                    <a:lnTo>
                      <a:pt x="1377" y="522"/>
                    </a:lnTo>
                    <a:lnTo>
                      <a:pt x="1371" y="522"/>
                    </a:lnTo>
                    <a:lnTo>
                      <a:pt x="1366" y="516"/>
                    </a:lnTo>
                    <a:lnTo>
                      <a:pt x="1360" y="516"/>
                    </a:lnTo>
                    <a:lnTo>
                      <a:pt x="1360" y="522"/>
                    </a:lnTo>
                    <a:lnTo>
                      <a:pt x="1354" y="522"/>
                    </a:lnTo>
                    <a:lnTo>
                      <a:pt x="1354" y="516"/>
                    </a:lnTo>
                    <a:lnTo>
                      <a:pt x="1349" y="516"/>
                    </a:lnTo>
                    <a:lnTo>
                      <a:pt x="1343" y="516"/>
                    </a:lnTo>
                    <a:lnTo>
                      <a:pt x="1343" y="510"/>
                    </a:lnTo>
                    <a:lnTo>
                      <a:pt x="1337" y="510"/>
                    </a:lnTo>
                    <a:lnTo>
                      <a:pt x="1332" y="510"/>
                    </a:lnTo>
                    <a:lnTo>
                      <a:pt x="1332" y="516"/>
                    </a:lnTo>
                    <a:lnTo>
                      <a:pt x="1326" y="516"/>
                    </a:lnTo>
                    <a:lnTo>
                      <a:pt x="1326" y="522"/>
                    </a:lnTo>
                    <a:lnTo>
                      <a:pt x="1320" y="522"/>
                    </a:lnTo>
                    <a:lnTo>
                      <a:pt x="1315" y="522"/>
                    </a:lnTo>
                    <a:lnTo>
                      <a:pt x="1309" y="522"/>
                    </a:lnTo>
                    <a:lnTo>
                      <a:pt x="1309" y="527"/>
                    </a:lnTo>
                    <a:lnTo>
                      <a:pt x="1303" y="527"/>
                    </a:lnTo>
                    <a:lnTo>
                      <a:pt x="1298" y="527"/>
                    </a:lnTo>
                    <a:lnTo>
                      <a:pt x="1292" y="527"/>
                    </a:lnTo>
                    <a:lnTo>
                      <a:pt x="1292" y="533"/>
                    </a:lnTo>
                    <a:lnTo>
                      <a:pt x="1286" y="533"/>
                    </a:lnTo>
                    <a:lnTo>
                      <a:pt x="1343" y="539"/>
                    </a:lnTo>
                    <a:lnTo>
                      <a:pt x="1343" y="550"/>
                    </a:lnTo>
                    <a:lnTo>
                      <a:pt x="1332" y="556"/>
                    </a:lnTo>
                    <a:lnTo>
                      <a:pt x="1332" y="573"/>
                    </a:lnTo>
                    <a:lnTo>
                      <a:pt x="1332" y="584"/>
                    </a:lnTo>
                    <a:lnTo>
                      <a:pt x="1320" y="601"/>
                    </a:lnTo>
                    <a:lnTo>
                      <a:pt x="1315" y="612"/>
                    </a:lnTo>
                    <a:lnTo>
                      <a:pt x="1315" y="618"/>
                    </a:lnTo>
                    <a:lnTo>
                      <a:pt x="1309" y="635"/>
                    </a:lnTo>
                    <a:lnTo>
                      <a:pt x="1337" y="635"/>
                    </a:lnTo>
                    <a:lnTo>
                      <a:pt x="1332" y="641"/>
                    </a:lnTo>
                    <a:lnTo>
                      <a:pt x="1332" y="646"/>
                    </a:lnTo>
                    <a:lnTo>
                      <a:pt x="1332" y="652"/>
                    </a:lnTo>
                    <a:lnTo>
                      <a:pt x="1337" y="658"/>
                    </a:lnTo>
                    <a:lnTo>
                      <a:pt x="1360" y="669"/>
                    </a:lnTo>
                    <a:lnTo>
                      <a:pt x="1371" y="675"/>
                    </a:lnTo>
                    <a:lnTo>
                      <a:pt x="1371" y="680"/>
                    </a:lnTo>
                    <a:lnTo>
                      <a:pt x="1366" y="680"/>
                    </a:lnTo>
                    <a:lnTo>
                      <a:pt x="1366" y="686"/>
                    </a:lnTo>
                    <a:lnTo>
                      <a:pt x="1360" y="686"/>
                    </a:lnTo>
                    <a:lnTo>
                      <a:pt x="1354" y="686"/>
                    </a:lnTo>
                    <a:lnTo>
                      <a:pt x="1349" y="686"/>
                    </a:lnTo>
                    <a:lnTo>
                      <a:pt x="1349" y="692"/>
                    </a:lnTo>
                    <a:lnTo>
                      <a:pt x="1349" y="703"/>
                    </a:lnTo>
                    <a:lnTo>
                      <a:pt x="1326" y="703"/>
                    </a:lnTo>
                    <a:lnTo>
                      <a:pt x="1315" y="703"/>
                    </a:lnTo>
                    <a:lnTo>
                      <a:pt x="1298" y="703"/>
                    </a:lnTo>
                    <a:lnTo>
                      <a:pt x="1298" y="731"/>
                    </a:lnTo>
                    <a:lnTo>
                      <a:pt x="1298" y="737"/>
                    </a:lnTo>
                    <a:lnTo>
                      <a:pt x="1303" y="737"/>
                    </a:lnTo>
                    <a:lnTo>
                      <a:pt x="1309" y="737"/>
                    </a:lnTo>
                    <a:lnTo>
                      <a:pt x="1315" y="737"/>
                    </a:lnTo>
                    <a:lnTo>
                      <a:pt x="1320" y="743"/>
                    </a:lnTo>
                    <a:lnTo>
                      <a:pt x="1332" y="743"/>
                    </a:lnTo>
                    <a:lnTo>
                      <a:pt x="1332" y="754"/>
                    </a:lnTo>
                    <a:lnTo>
                      <a:pt x="1332" y="760"/>
                    </a:lnTo>
                    <a:lnTo>
                      <a:pt x="1320" y="760"/>
                    </a:lnTo>
                    <a:lnTo>
                      <a:pt x="1320" y="771"/>
                    </a:lnTo>
                    <a:lnTo>
                      <a:pt x="1315" y="771"/>
                    </a:lnTo>
                    <a:lnTo>
                      <a:pt x="1309" y="771"/>
                    </a:lnTo>
                    <a:lnTo>
                      <a:pt x="1303" y="771"/>
                    </a:lnTo>
                    <a:lnTo>
                      <a:pt x="1298" y="771"/>
                    </a:lnTo>
                    <a:lnTo>
                      <a:pt x="1292" y="771"/>
                    </a:lnTo>
                    <a:lnTo>
                      <a:pt x="1286" y="771"/>
                    </a:lnTo>
                    <a:lnTo>
                      <a:pt x="1281" y="771"/>
                    </a:lnTo>
                    <a:lnTo>
                      <a:pt x="1275" y="771"/>
                    </a:lnTo>
                    <a:lnTo>
                      <a:pt x="1275" y="777"/>
                    </a:lnTo>
                    <a:lnTo>
                      <a:pt x="1269" y="782"/>
                    </a:lnTo>
                    <a:lnTo>
                      <a:pt x="1264" y="782"/>
                    </a:lnTo>
                    <a:lnTo>
                      <a:pt x="1258" y="782"/>
                    </a:lnTo>
                    <a:lnTo>
                      <a:pt x="1252" y="782"/>
                    </a:lnTo>
                    <a:lnTo>
                      <a:pt x="1247" y="782"/>
                    </a:lnTo>
                    <a:lnTo>
                      <a:pt x="1241" y="782"/>
                    </a:lnTo>
                    <a:lnTo>
                      <a:pt x="1235" y="782"/>
                    </a:lnTo>
                    <a:lnTo>
                      <a:pt x="1235" y="777"/>
                    </a:lnTo>
                    <a:lnTo>
                      <a:pt x="1235" y="771"/>
                    </a:lnTo>
                    <a:lnTo>
                      <a:pt x="1235" y="765"/>
                    </a:lnTo>
                    <a:lnTo>
                      <a:pt x="1235" y="760"/>
                    </a:lnTo>
                    <a:lnTo>
                      <a:pt x="1235" y="754"/>
                    </a:lnTo>
                    <a:lnTo>
                      <a:pt x="1230" y="743"/>
                    </a:lnTo>
                    <a:lnTo>
                      <a:pt x="1207" y="743"/>
                    </a:lnTo>
                    <a:lnTo>
                      <a:pt x="1201" y="743"/>
                    </a:lnTo>
                    <a:lnTo>
                      <a:pt x="1196" y="743"/>
                    </a:lnTo>
                    <a:lnTo>
                      <a:pt x="1196" y="737"/>
                    </a:lnTo>
                    <a:lnTo>
                      <a:pt x="1196" y="731"/>
                    </a:lnTo>
                    <a:lnTo>
                      <a:pt x="1190" y="726"/>
                    </a:lnTo>
                    <a:lnTo>
                      <a:pt x="1190" y="720"/>
                    </a:lnTo>
                    <a:lnTo>
                      <a:pt x="1184" y="709"/>
                    </a:lnTo>
                    <a:lnTo>
                      <a:pt x="1196" y="697"/>
                    </a:lnTo>
                    <a:lnTo>
                      <a:pt x="1196" y="686"/>
                    </a:lnTo>
                    <a:lnTo>
                      <a:pt x="1196" y="680"/>
                    </a:lnTo>
                    <a:lnTo>
                      <a:pt x="1179" y="675"/>
                    </a:lnTo>
                    <a:lnTo>
                      <a:pt x="1179" y="669"/>
                    </a:lnTo>
                    <a:lnTo>
                      <a:pt x="1173" y="663"/>
                    </a:lnTo>
                    <a:lnTo>
                      <a:pt x="1179" y="658"/>
                    </a:lnTo>
                    <a:lnTo>
                      <a:pt x="1184" y="658"/>
                    </a:lnTo>
                    <a:lnTo>
                      <a:pt x="1184" y="652"/>
                    </a:lnTo>
                    <a:lnTo>
                      <a:pt x="1179" y="646"/>
                    </a:lnTo>
                    <a:lnTo>
                      <a:pt x="1167" y="635"/>
                    </a:lnTo>
                    <a:lnTo>
                      <a:pt x="1150" y="618"/>
                    </a:lnTo>
                    <a:lnTo>
                      <a:pt x="1145" y="629"/>
                    </a:lnTo>
                    <a:lnTo>
                      <a:pt x="1139" y="635"/>
                    </a:lnTo>
                    <a:lnTo>
                      <a:pt x="1139" y="646"/>
                    </a:lnTo>
                    <a:lnTo>
                      <a:pt x="1122" y="652"/>
                    </a:lnTo>
                    <a:lnTo>
                      <a:pt x="1116" y="646"/>
                    </a:lnTo>
                    <a:lnTo>
                      <a:pt x="1111" y="646"/>
                    </a:lnTo>
                    <a:lnTo>
                      <a:pt x="1111" y="658"/>
                    </a:lnTo>
                    <a:lnTo>
                      <a:pt x="1111" y="663"/>
                    </a:lnTo>
                    <a:lnTo>
                      <a:pt x="1105" y="663"/>
                    </a:lnTo>
                    <a:lnTo>
                      <a:pt x="1105" y="669"/>
                    </a:lnTo>
                    <a:lnTo>
                      <a:pt x="1094" y="680"/>
                    </a:lnTo>
                    <a:lnTo>
                      <a:pt x="1077" y="692"/>
                    </a:lnTo>
                    <a:lnTo>
                      <a:pt x="1077" y="686"/>
                    </a:lnTo>
                    <a:lnTo>
                      <a:pt x="1077" y="680"/>
                    </a:lnTo>
                    <a:lnTo>
                      <a:pt x="1071" y="680"/>
                    </a:lnTo>
                    <a:lnTo>
                      <a:pt x="1065" y="680"/>
                    </a:lnTo>
                    <a:lnTo>
                      <a:pt x="1060" y="680"/>
                    </a:lnTo>
                    <a:lnTo>
                      <a:pt x="1054" y="680"/>
                    </a:lnTo>
                    <a:lnTo>
                      <a:pt x="1054" y="675"/>
                    </a:lnTo>
                    <a:lnTo>
                      <a:pt x="1048" y="675"/>
                    </a:lnTo>
                    <a:lnTo>
                      <a:pt x="1048" y="680"/>
                    </a:lnTo>
                    <a:lnTo>
                      <a:pt x="1043" y="680"/>
                    </a:lnTo>
                    <a:lnTo>
                      <a:pt x="1037" y="680"/>
                    </a:lnTo>
                    <a:lnTo>
                      <a:pt x="1031" y="680"/>
                    </a:lnTo>
                    <a:lnTo>
                      <a:pt x="1031" y="686"/>
                    </a:lnTo>
                    <a:lnTo>
                      <a:pt x="1031" y="692"/>
                    </a:lnTo>
                    <a:lnTo>
                      <a:pt x="1026" y="692"/>
                    </a:lnTo>
                    <a:lnTo>
                      <a:pt x="1020" y="692"/>
                    </a:lnTo>
                    <a:lnTo>
                      <a:pt x="986" y="697"/>
                    </a:lnTo>
                    <a:lnTo>
                      <a:pt x="986" y="703"/>
                    </a:lnTo>
                    <a:lnTo>
                      <a:pt x="980" y="714"/>
                    </a:lnTo>
                    <a:lnTo>
                      <a:pt x="980" y="720"/>
                    </a:lnTo>
                    <a:lnTo>
                      <a:pt x="963" y="726"/>
                    </a:lnTo>
                    <a:lnTo>
                      <a:pt x="929" y="754"/>
                    </a:lnTo>
                    <a:lnTo>
                      <a:pt x="912" y="765"/>
                    </a:lnTo>
                    <a:lnTo>
                      <a:pt x="895" y="777"/>
                    </a:lnTo>
                    <a:lnTo>
                      <a:pt x="895" y="782"/>
                    </a:lnTo>
                    <a:lnTo>
                      <a:pt x="878" y="782"/>
                    </a:lnTo>
                    <a:lnTo>
                      <a:pt x="878" y="794"/>
                    </a:lnTo>
                    <a:lnTo>
                      <a:pt x="884" y="794"/>
                    </a:lnTo>
                    <a:lnTo>
                      <a:pt x="890" y="794"/>
                    </a:lnTo>
                    <a:lnTo>
                      <a:pt x="895" y="805"/>
                    </a:lnTo>
                    <a:lnTo>
                      <a:pt x="895" y="811"/>
                    </a:lnTo>
                    <a:lnTo>
                      <a:pt x="884" y="816"/>
                    </a:lnTo>
                    <a:lnTo>
                      <a:pt x="884" y="822"/>
                    </a:lnTo>
                    <a:lnTo>
                      <a:pt x="873" y="833"/>
                    </a:lnTo>
                    <a:lnTo>
                      <a:pt x="867" y="828"/>
                    </a:lnTo>
                    <a:lnTo>
                      <a:pt x="844" y="828"/>
                    </a:lnTo>
                    <a:lnTo>
                      <a:pt x="827" y="822"/>
                    </a:lnTo>
                    <a:lnTo>
                      <a:pt x="827" y="816"/>
                    </a:lnTo>
                    <a:lnTo>
                      <a:pt x="816" y="805"/>
                    </a:lnTo>
                    <a:lnTo>
                      <a:pt x="810" y="799"/>
                    </a:lnTo>
                    <a:lnTo>
                      <a:pt x="810" y="805"/>
                    </a:lnTo>
                    <a:lnTo>
                      <a:pt x="804" y="799"/>
                    </a:lnTo>
                    <a:lnTo>
                      <a:pt x="799" y="794"/>
                    </a:lnTo>
                    <a:lnTo>
                      <a:pt x="799" y="788"/>
                    </a:lnTo>
                    <a:lnTo>
                      <a:pt x="793" y="782"/>
                    </a:lnTo>
                    <a:lnTo>
                      <a:pt x="787" y="777"/>
                    </a:lnTo>
                    <a:lnTo>
                      <a:pt x="787" y="771"/>
                    </a:lnTo>
                    <a:lnTo>
                      <a:pt x="782" y="771"/>
                    </a:lnTo>
                    <a:lnTo>
                      <a:pt x="776" y="777"/>
                    </a:lnTo>
                    <a:lnTo>
                      <a:pt x="770" y="777"/>
                    </a:lnTo>
                    <a:lnTo>
                      <a:pt x="770" y="771"/>
                    </a:lnTo>
                    <a:lnTo>
                      <a:pt x="776" y="771"/>
                    </a:lnTo>
                    <a:lnTo>
                      <a:pt x="782" y="765"/>
                    </a:lnTo>
                    <a:lnTo>
                      <a:pt x="782" y="760"/>
                    </a:lnTo>
                    <a:lnTo>
                      <a:pt x="782" y="754"/>
                    </a:lnTo>
                    <a:lnTo>
                      <a:pt x="776" y="748"/>
                    </a:lnTo>
                    <a:lnTo>
                      <a:pt x="776" y="743"/>
                    </a:lnTo>
                    <a:lnTo>
                      <a:pt x="770" y="737"/>
                    </a:lnTo>
                    <a:lnTo>
                      <a:pt x="776" y="731"/>
                    </a:lnTo>
                    <a:lnTo>
                      <a:pt x="759" y="731"/>
                    </a:lnTo>
                    <a:lnTo>
                      <a:pt x="748" y="726"/>
                    </a:lnTo>
                    <a:lnTo>
                      <a:pt x="731" y="731"/>
                    </a:lnTo>
                    <a:lnTo>
                      <a:pt x="731" y="737"/>
                    </a:lnTo>
                    <a:lnTo>
                      <a:pt x="731" y="743"/>
                    </a:lnTo>
                    <a:lnTo>
                      <a:pt x="731" y="748"/>
                    </a:lnTo>
                    <a:lnTo>
                      <a:pt x="725" y="748"/>
                    </a:lnTo>
                    <a:lnTo>
                      <a:pt x="725" y="760"/>
                    </a:lnTo>
                    <a:lnTo>
                      <a:pt x="697" y="771"/>
                    </a:lnTo>
                    <a:lnTo>
                      <a:pt x="691" y="748"/>
                    </a:lnTo>
                    <a:lnTo>
                      <a:pt x="685" y="748"/>
                    </a:lnTo>
                    <a:lnTo>
                      <a:pt x="685" y="743"/>
                    </a:lnTo>
                    <a:lnTo>
                      <a:pt x="663" y="737"/>
                    </a:lnTo>
                    <a:lnTo>
                      <a:pt x="663" y="760"/>
                    </a:lnTo>
                    <a:lnTo>
                      <a:pt x="657" y="754"/>
                    </a:lnTo>
                    <a:lnTo>
                      <a:pt x="651" y="760"/>
                    </a:lnTo>
                    <a:lnTo>
                      <a:pt x="640" y="760"/>
                    </a:lnTo>
                    <a:lnTo>
                      <a:pt x="629" y="754"/>
                    </a:lnTo>
                    <a:lnTo>
                      <a:pt x="612" y="760"/>
                    </a:lnTo>
                    <a:lnTo>
                      <a:pt x="600" y="765"/>
                    </a:lnTo>
                    <a:lnTo>
                      <a:pt x="595" y="765"/>
                    </a:lnTo>
                    <a:lnTo>
                      <a:pt x="589" y="771"/>
                    </a:lnTo>
                    <a:lnTo>
                      <a:pt x="583" y="771"/>
                    </a:lnTo>
                    <a:lnTo>
                      <a:pt x="572" y="777"/>
                    </a:lnTo>
                    <a:lnTo>
                      <a:pt x="572" y="782"/>
                    </a:lnTo>
                    <a:lnTo>
                      <a:pt x="572" y="794"/>
                    </a:lnTo>
                    <a:lnTo>
                      <a:pt x="566" y="799"/>
                    </a:lnTo>
                    <a:lnTo>
                      <a:pt x="549" y="799"/>
                    </a:lnTo>
                    <a:lnTo>
                      <a:pt x="538" y="805"/>
                    </a:lnTo>
                    <a:lnTo>
                      <a:pt x="532" y="805"/>
                    </a:lnTo>
                    <a:lnTo>
                      <a:pt x="532" y="811"/>
                    </a:lnTo>
                    <a:lnTo>
                      <a:pt x="527" y="816"/>
                    </a:lnTo>
                    <a:lnTo>
                      <a:pt x="515" y="816"/>
                    </a:lnTo>
                    <a:lnTo>
                      <a:pt x="510" y="822"/>
                    </a:lnTo>
                    <a:lnTo>
                      <a:pt x="504" y="822"/>
                    </a:lnTo>
                    <a:lnTo>
                      <a:pt x="510" y="828"/>
                    </a:lnTo>
                    <a:lnTo>
                      <a:pt x="510" y="839"/>
                    </a:lnTo>
                    <a:lnTo>
                      <a:pt x="527" y="833"/>
                    </a:lnTo>
                    <a:lnTo>
                      <a:pt x="538" y="833"/>
                    </a:lnTo>
                    <a:lnTo>
                      <a:pt x="544" y="828"/>
                    </a:lnTo>
                    <a:lnTo>
                      <a:pt x="572" y="816"/>
                    </a:lnTo>
                    <a:lnTo>
                      <a:pt x="578" y="822"/>
                    </a:lnTo>
                    <a:lnTo>
                      <a:pt x="583" y="833"/>
                    </a:lnTo>
                    <a:lnTo>
                      <a:pt x="589" y="833"/>
                    </a:lnTo>
                    <a:lnTo>
                      <a:pt x="583" y="845"/>
                    </a:lnTo>
                    <a:lnTo>
                      <a:pt x="572" y="850"/>
                    </a:lnTo>
                    <a:lnTo>
                      <a:pt x="572" y="845"/>
                    </a:lnTo>
                    <a:lnTo>
                      <a:pt x="544" y="845"/>
                    </a:lnTo>
                    <a:lnTo>
                      <a:pt x="544" y="856"/>
                    </a:lnTo>
                    <a:lnTo>
                      <a:pt x="527" y="862"/>
                    </a:lnTo>
                    <a:lnTo>
                      <a:pt x="510" y="862"/>
                    </a:lnTo>
                    <a:lnTo>
                      <a:pt x="510" y="856"/>
                    </a:lnTo>
                    <a:lnTo>
                      <a:pt x="487" y="862"/>
                    </a:lnTo>
                    <a:lnTo>
                      <a:pt x="487" y="850"/>
                    </a:lnTo>
                    <a:lnTo>
                      <a:pt x="481" y="850"/>
                    </a:lnTo>
                    <a:lnTo>
                      <a:pt x="481" y="845"/>
                    </a:lnTo>
                    <a:lnTo>
                      <a:pt x="476" y="839"/>
                    </a:lnTo>
                    <a:lnTo>
                      <a:pt x="470" y="833"/>
                    </a:lnTo>
                    <a:lnTo>
                      <a:pt x="470" y="828"/>
                    </a:lnTo>
                    <a:lnTo>
                      <a:pt x="453" y="833"/>
                    </a:lnTo>
                    <a:lnTo>
                      <a:pt x="447" y="833"/>
                    </a:lnTo>
                    <a:lnTo>
                      <a:pt x="447" y="822"/>
                    </a:lnTo>
                    <a:lnTo>
                      <a:pt x="442" y="816"/>
                    </a:lnTo>
                    <a:lnTo>
                      <a:pt x="430" y="816"/>
                    </a:lnTo>
                    <a:lnTo>
                      <a:pt x="430" y="811"/>
                    </a:lnTo>
                    <a:lnTo>
                      <a:pt x="436" y="805"/>
                    </a:lnTo>
                    <a:lnTo>
                      <a:pt x="447" y="805"/>
                    </a:lnTo>
                    <a:lnTo>
                      <a:pt x="453" y="805"/>
                    </a:lnTo>
                    <a:lnTo>
                      <a:pt x="459" y="811"/>
                    </a:lnTo>
                    <a:lnTo>
                      <a:pt x="470" y="811"/>
                    </a:lnTo>
                    <a:lnTo>
                      <a:pt x="470" y="805"/>
                    </a:lnTo>
                    <a:lnTo>
                      <a:pt x="476" y="794"/>
                    </a:lnTo>
                    <a:lnTo>
                      <a:pt x="470" y="788"/>
                    </a:lnTo>
                    <a:lnTo>
                      <a:pt x="464" y="788"/>
                    </a:lnTo>
                    <a:lnTo>
                      <a:pt x="447" y="782"/>
                    </a:lnTo>
                    <a:lnTo>
                      <a:pt x="442" y="777"/>
                    </a:lnTo>
                    <a:lnTo>
                      <a:pt x="436" y="777"/>
                    </a:lnTo>
                    <a:lnTo>
                      <a:pt x="413" y="777"/>
                    </a:lnTo>
                    <a:lnTo>
                      <a:pt x="413" y="771"/>
                    </a:lnTo>
                    <a:lnTo>
                      <a:pt x="408" y="771"/>
                    </a:lnTo>
                    <a:lnTo>
                      <a:pt x="396" y="771"/>
                    </a:lnTo>
                    <a:lnTo>
                      <a:pt x="396" y="777"/>
                    </a:lnTo>
                    <a:lnTo>
                      <a:pt x="391" y="777"/>
                    </a:lnTo>
                    <a:lnTo>
                      <a:pt x="362" y="771"/>
                    </a:lnTo>
                    <a:lnTo>
                      <a:pt x="357" y="771"/>
                    </a:lnTo>
                    <a:lnTo>
                      <a:pt x="351" y="771"/>
                    </a:lnTo>
                    <a:lnTo>
                      <a:pt x="345" y="771"/>
                    </a:lnTo>
                    <a:lnTo>
                      <a:pt x="340" y="777"/>
                    </a:lnTo>
                    <a:lnTo>
                      <a:pt x="328" y="765"/>
                    </a:lnTo>
                    <a:lnTo>
                      <a:pt x="323" y="771"/>
                    </a:lnTo>
                    <a:lnTo>
                      <a:pt x="317" y="765"/>
                    </a:lnTo>
                    <a:lnTo>
                      <a:pt x="306" y="771"/>
                    </a:lnTo>
                    <a:lnTo>
                      <a:pt x="306" y="777"/>
                    </a:lnTo>
                    <a:lnTo>
                      <a:pt x="306" y="782"/>
                    </a:lnTo>
                    <a:lnTo>
                      <a:pt x="306" y="788"/>
                    </a:lnTo>
                    <a:lnTo>
                      <a:pt x="306" y="794"/>
                    </a:lnTo>
                    <a:lnTo>
                      <a:pt x="300" y="794"/>
                    </a:lnTo>
                    <a:lnTo>
                      <a:pt x="294" y="805"/>
                    </a:lnTo>
                    <a:lnTo>
                      <a:pt x="289" y="805"/>
                    </a:lnTo>
                    <a:lnTo>
                      <a:pt x="283" y="799"/>
                    </a:lnTo>
                    <a:lnTo>
                      <a:pt x="283" y="794"/>
                    </a:lnTo>
                    <a:lnTo>
                      <a:pt x="277" y="788"/>
                    </a:lnTo>
                    <a:lnTo>
                      <a:pt x="266" y="794"/>
                    </a:lnTo>
                    <a:lnTo>
                      <a:pt x="260" y="794"/>
                    </a:lnTo>
                    <a:lnTo>
                      <a:pt x="249" y="794"/>
                    </a:lnTo>
                    <a:lnTo>
                      <a:pt x="243" y="794"/>
                    </a:lnTo>
                    <a:lnTo>
                      <a:pt x="243" y="788"/>
                    </a:lnTo>
                    <a:lnTo>
                      <a:pt x="232" y="777"/>
                    </a:lnTo>
                    <a:lnTo>
                      <a:pt x="192" y="771"/>
                    </a:lnTo>
                    <a:lnTo>
                      <a:pt x="198" y="765"/>
                    </a:lnTo>
                    <a:lnTo>
                      <a:pt x="192" y="765"/>
                    </a:lnTo>
                    <a:lnTo>
                      <a:pt x="192" y="760"/>
                    </a:lnTo>
                    <a:lnTo>
                      <a:pt x="187" y="754"/>
                    </a:lnTo>
                    <a:lnTo>
                      <a:pt x="175" y="748"/>
                    </a:lnTo>
                    <a:lnTo>
                      <a:pt x="170" y="748"/>
                    </a:lnTo>
                    <a:lnTo>
                      <a:pt x="170" y="737"/>
                    </a:lnTo>
                    <a:lnTo>
                      <a:pt x="170" y="731"/>
                    </a:lnTo>
                    <a:lnTo>
                      <a:pt x="164" y="726"/>
                    </a:lnTo>
                    <a:lnTo>
                      <a:pt x="164" y="714"/>
                    </a:lnTo>
                    <a:lnTo>
                      <a:pt x="164" y="703"/>
                    </a:lnTo>
                    <a:lnTo>
                      <a:pt x="158" y="703"/>
                    </a:lnTo>
                    <a:lnTo>
                      <a:pt x="153" y="703"/>
                    </a:lnTo>
                    <a:lnTo>
                      <a:pt x="153" y="714"/>
                    </a:lnTo>
                    <a:lnTo>
                      <a:pt x="141" y="714"/>
                    </a:lnTo>
                    <a:lnTo>
                      <a:pt x="141" y="720"/>
                    </a:lnTo>
                    <a:lnTo>
                      <a:pt x="124" y="726"/>
                    </a:lnTo>
                    <a:lnTo>
                      <a:pt x="96" y="731"/>
                    </a:lnTo>
                    <a:lnTo>
                      <a:pt x="96" y="737"/>
                    </a:lnTo>
                    <a:lnTo>
                      <a:pt x="90" y="743"/>
                    </a:lnTo>
                    <a:lnTo>
                      <a:pt x="79" y="737"/>
                    </a:lnTo>
                    <a:lnTo>
                      <a:pt x="68" y="737"/>
                    </a:lnTo>
                    <a:lnTo>
                      <a:pt x="56" y="726"/>
                    </a:lnTo>
                    <a:lnTo>
                      <a:pt x="45" y="731"/>
                    </a:lnTo>
                    <a:lnTo>
                      <a:pt x="39" y="726"/>
                    </a:lnTo>
                    <a:lnTo>
                      <a:pt x="17" y="726"/>
                    </a:lnTo>
                    <a:lnTo>
                      <a:pt x="11" y="726"/>
                    </a:lnTo>
                    <a:lnTo>
                      <a:pt x="11" y="720"/>
                    </a:lnTo>
                    <a:lnTo>
                      <a:pt x="11" y="714"/>
                    </a:lnTo>
                    <a:lnTo>
                      <a:pt x="5" y="714"/>
                    </a:lnTo>
                    <a:lnTo>
                      <a:pt x="5" y="703"/>
                    </a:lnTo>
                    <a:lnTo>
                      <a:pt x="0" y="703"/>
                    </a:lnTo>
                    <a:lnTo>
                      <a:pt x="0" y="697"/>
                    </a:lnTo>
                    <a:lnTo>
                      <a:pt x="5" y="692"/>
                    </a:lnTo>
                    <a:lnTo>
                      <a:pt x="5" y="686"/>
                    </a:lnTo>
                    <a:lnTo>
                      <a:pt x="5" y="680"/>
                    </a:lnTo>
                    <a:lnTo>
                      <a:pt x="0" y="680"/>
                    </a:lnTo>
                    <a:lnTo>
                      <a:pt x="0" y="675"/>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60" name="Freeform 13"/>
              <p:cNvSpPr>
                <a:spLocks/>
              </p:cNvSpPr>
              <p:nvPr>
                <p:custDataLst>
                  <p:tags r:id="rId10"/>
                </p:custDataLst>
              </p:nvPr>
            </p:nvSpPr>
            <p:spPr bwMode="gray">
              <a:xfrm>
                <a:off x="1710039" y="1889972"/>
                <a:ext cx="1302145" cy="815895"/>
              </a:xfrm>
              <a:custGeom>
                <a:avLst/>
                <a:gdLst>
                  <a:gd name="T0" fmla="*/ 7904 w 1497"/>
                  <a:gd name="T1" fmla="*/ 95838 h 935"/>
                  <a:gd name="T2" fmla="*/ 9267 w 1497"/>
                  <a:gd name="T3" fmla="*/ 86555 h 935"/>
                  <a:gd name="T4" fmla="*/ 15536 w 1497"/>
                  <a:gd name="T5" fmla="*/ 72629 h 935"/>
                  <a:gd name="T6" fmla="*/ 21805 w 1497"/>
                  <a:gd name="T7" fmla="*/ 63346 h 935"/>
                  <a:gd name="T8" fmla="*/ 29437 w 1497"/>
                  <a:gd name="T9" fmla="*/ 49421 h 935"/>
                  <a:gd name="T10" fmla="*/ 43337 w 1497"/>
                  <a:gd name="T11" fmla="*/ 47783 h 935"/>
                  <a:gd name="T12" fmla="*/ 61871 w 1497"/>
                  <a:gd name="T13" fmla="*/ 47783 h 935"/>
                  <a:gd name="T14" fmla="*/ 72774 w 1497"/>
                  <a:gd name="T15" fmla="*/ 55701 h 935"/>
                  <a:gd name="T16" fmla="*/ 82041 w 1497"/>
                  <a:gd name="T17" fmla="*/ 61708 h 935"/>
                  <a:gd name="T18" fmla="*/ 92943 w 1497"/>
                  <a:gd name="T19" fmla="*/ 70991 h 935"/>
                  <a:gd name="T20" fmla="*/ 103573 w 1497"/>
                  <a:gd name="T21" fmla="*/ 75633 h 935"/>
                  <a:gd name="T22" fmla="*/ 116111 w 1497"/>
                  <a:gd name="T23" fmla="*/ 75633 h 935"/>
                  <a:gd name="T24" fmla="*/ 128376 w 1497"/>
                  <a:gd name="T25" fmla="*/ 81913 h 935"/>
                  <a:gd name="T26" fmla="*/ 149909 w 1497"/>
                  <a:gd name="T27" fmla="*/ 86555 h 935"/>
                  <a:gd name="T28" fmla="*/ 165445 w 1497"/>
                  <a:gd name="T29" fmla="*/ 84916 h 935"/>
                  <a:gd name="T30" fmla="*/ 183979 w 1497"/>
                  <a:gd name="T31" fmla="*/ 83551 h 935"/>
                  <a:gd name="T32" fmla="*/ 208783 w 1497"/>
                  <a:gd name="T33" fmla="*/ 75633 h 935"/>
                  <a:gd name="T34" fmla="*/ 225681 w 1497"/>
                  <a:gd name="T35" fmla="*/ 44779 h 935"/>
                  <a:gd name="T36" fmla="*/ 236584 w 1497"/>
                  <a:gd name="T37" fmla="*/ 16929 h 935"/>
                  <a:gd name="T38" fmla="*/ 245851 w 1497"/>
                  <a:gd name="T39" fmla="*/ 6007 h 935"/>
                  <a:gd name="T40" fmla="*/ 275288 w 1497"/>
                  <a:gd name="T41" fmla="*/ 1365 h 935"/>
                  <a:gd name="T42" fmla="*/ 287552 w 1497"/>
                  <a:gd name="T43" fmla="*/ 15290 h 935"/>
                  <a:gd name="T44" fmla="*/ 319988 w 1497"/>
                  <a:gd name="T45" fmla="*/ 7645 h 935"/>
                  <a:gd name="T46" fmla="*/ 341520 w 1497"/>
                  <a:gd name="T47" fmla="*/ 30854 h 935"/>
                  <a:gd name="T48" fmla="*/ 358691 w 1497"/>
                  <a:gd name="T49" fmla="*/ 29216 h 935"/>
                  <a:gd name="T50" fmla="*/ 383222 w 1497"/>
                  <a:gd name="T51" fmla="*/ 26212 h 935"/>
                  <a:gd name="T52" fmla="*/ 398758 w 1497"/>
                  <a:gd name="T53" fmla="*/ 35496 h 935"/>
                  <a:gd name="T54" fmla="*/ 406390 w 1497"/>
                  <a:gd name="T55" fmla="*/ 47783 h 935"/>
                  <a:gd name="T56" fmla="*/ 397122 w 1497"/>
                  <a:gd name="T57" fmla="*/ 55701 h 935"/>
                  <a:gd name="T58" fmla="*/ 387855 w 1497"/>
                  <a:gd name="T59" fmla="*/ 72629 h 935"/>
                  <a:gd name="T60" fmla="*/ 378588 w 1497"/>
                  <a:gd name="T61" fmla="*/ 89558 h 935"/>
                  <a:gd name="T62" fmla="*/ 338522 w 1497"/>
                  <a:gd name="T63" fmla="*/ 111401 h 935"/>
                  <a:gd name="T64" fmla="*/ 347789 w 1497"/>
                  <a:gd name="T65" fmla="*/ 132972 h 935"/>
                  <a:gd name="T66" fmla="*/ 349424 w 1497"/>
                  <a:gd name="T67" fmla="*/ 159457 h 935"/>
                  <a:gd name="T68" fmla="*/ 336886 w 1497"/>
                  <a:gd name="T69" fmla="*/ 162461 h 935"/>
                  <a:gd name="T70" fmla="*/ 324621 w 1497"/>
                  <a:gd name="T71" fmla="*/ 168740 h 935"/>
                  <a:gd name="T72" fmla="*/ 309085 w 1497"/>
                  <a:gd name="T73" fmla="*/ 164099 h 935"/>
                  <a:gd name="T74" fmla="*/ 298455 w 1497"/>
                  <a:gd name="T75" fmla="*/ 168740 h 935"/>
                  <a:gd name="T76" fmla="*/ 282919 w 1497"/>
                  <a:gd name="T77" fmla="*/ 178024 h 935"/>
                  <a:gd name="T78" fmla="*/ 272017 w 1497"/>
                  <a:gd name="T79" fmla="*/ 185669 h 935"/>
                  <a:gd name="T80" fmla="*/ 273652 w 1497"/>
                  <a:gd name="T81" fmla="*/ 197956 h 935"/>
                  <a:gd name="T82" fmla="*/ 269018 w 1497"/>
                  <a:gd name="T83" fmla="*/ 204236 h 935"/>
                  <a:gd name="T84" fmla="*/ 255118 w 1497"/>
                  <a:gd name="T85" fmla="*/ 210516 h 935"/>
                  <a:gd name="T86" fmla="*/ 244216 w 1497"/>
                  <a:gd name="T87" fmla="*/ 225806 h 935"/>
                  <a:gd name="T88" fmla="*/ 225681 w 1497"/>
                  <a:gd name="T89" fmla="*/ 216523 h 935"/>
                  <a:gd name="T90" fmla="*/ 202513 w 1497"/>
                  <a:gd name="T91" fmla="*/ 225806 h 935"/>
                  <a:gd name="T92" fmla="*/ 186977 w 1497"/>
                  <a:gd name="T93" fmla="*/ 233725 h 935"/>
                  <a:gd name="T94" fmla="*/ 173077 w 1497"/>
                  <a:gd name="T95" fmla="*/ 246012 h 935"/>
                  <a:gd name="T96" fmla="*/ 157813 w 1497"/>
                  <a:gd name="T97" fmla="*/ 236728 h 935"/>
                  <a:gd name="T98" fmla="*/ 160812 w 1497"/>
                  <a:gd name="T99" fmla="*/ 224441 h 935"/>
                  <a:gd name="T100" fmla="*/ 143913 w 1497"/>
                  <a:gd name="T101" fmla="*/ 224441 h 935"/>
                  <a:gd name="T102" fmla="*/ 140642 w 1497"/>
                  <a:gd name="T103" fmla="*/ 238366 h 935"/>
                  <a:gd name="T104" fmla="*/ 134646 w 1497"/>
                  <a:gd name="T105" fmla="*/ 252292 h 935"/>
                  <a:gd name="T106" fmla="*/ 122108 w 1497"/>
                  <a:gd name="T107" fmla="*/ 243008 h 935"/>
                  <a:gd name="T108" fmla="*/ 125379 w 1497"/>
                  <a:gd name="T109" fmla="*/ 225806 h 935"/>
                  <a:gd name="T110" fmla="*/ 94307 w 1497"/>
                  <a:gd name="T111" fmla="*/ 201233 h 935"/>
                  <a:gd name="T112" fmla="*/ 80406 w 1497"/>
                  <a:gd name="T113" fmla="*/ 210516 h 935"/>
                  <a:gd name="T114" fmla="*/ 52604 w 1497"/>
                  <a:gd name="T115" fmla="*/ 204236 h 935"/>
                  <a:gd name="T116" fmla="*/ 29437 w 1497"/>
                  <a:gd name="T117" fmla="*/ 190311 h 935"/>
                  <a:gd name="T118" fmla="*/ 29437 w 1497"/>
                  <a:gd name="T119" fmla="*/ 173382 h 935"/>
                  <a:gd name="T120" fmla="*/ 29437 w 1497"/>
                  <a:gd name="T121" fmla="*/ 151539 h 935"/>
                  <a:gd name="T122" fmla="*/ 15536 w 1497"/>
                  <a:gd name="T123" fmla="*/ 143893 h 935"/>
                  <a:gd name="T124" fmla="*/ 4634 w 1497"/>
                  <a:gd name="T125" fmla="*/ 109763 h 9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497" h="935">
                    <a:moveTo>
                      <a:pt x="0" y="396"/>
                    </a:moveTo>
                    <a:lnTo>
                      <a:pt x="6" y="396"/>
                    </a:lnTo>
                    <a:lnTo>
                      <a:pt x="6" y="391"/>
                    </a:lnTo>
                    <a:lnTo>
                      <a:pt x="12" y="391"/>
                    </a:lnTo>
                    <a:lnTo>
                      <a:pt x="12" y="385"/>
                    </a:lnTo>
                    <a:lnTo>
                      <a:pt x="12" y="379"/>
                    </a:lnTo>
                    <a:lnTo>
                      <a:pt x="12" y="374"/>
                    </a:lnTo>
                    <a:lnTo>
                      <a:pt x="17" y="374"/>
                    </a:lnTo>
                    <a:lnTo>
                      <a:pt x="29" y="374"/>
                    </a:lnTo>
                    <a:lnTo>
                      <a:pt x="29" y="368"/>
                    </a:lnTo>
                    <a:lnTo>
                      <a:pt x="29" y="362"/>
                    </a:lnTo>
                    <a:lnTo>
                      <a:pt x="29" y="357"/>
                    </a:lnTo>
                    <a:lnTo>
                      <a:pt x="29" y="351"/>
                    </a:lnTo>
                    <a:lnTo>
                      <a:pt x="34" y="351"/>
                    </a:lnTo>
                    <a:lnTo>
                      <a:pt x="34" y="345"/>
                    </a:lnTo>
                    <a:lnTo>
                      <a:pt x="29" y="345"/>
                    </a:lnTo>
                    <a:lnTo>
                      <a:pt x="29" y="340"/>
                    </a:lnTo>
                    <a:lnTo>
                      <a:pt x="34" y="340"/>
                    </a:lnTo>
                    <a:lnTo>
                      <a:pt x="34" y="334"/>
                    </a:lnTo>
                    <a:lnTo>
                      <a:pt x="34" y="328"/>
                    </a:lnTo>
                    <a:lnTo>
                      <a:pt x="40" y="328"/>
                    </a:lnTo>
                    <a:lnTo>
                      <a:pt x="40" y="323"/>
                    </a:lnTo>
                    <a:lnTo>
                      <a:pt x="46" y="323"/>
                    </a:lnTo>
                    <a:lnTo>
                      <a:pt x="46" y="317"/>
                    </a:lnTo>
                    <a:lnTo>
                      <a:pt x="40" y="317"/>
                    </a:lnTo>
                    <a:lnTo>
                      <a:pt x="34" y="317"/>
                    </a:lnTo>
                    <a:lnTo>
                      <a:pt x="34" y="311"/>
                    </a:lnTo>
                    <a:lnTo>
                      <a:pt x="40" y="311"/>
                    </a:lnTo>
                    <a:lnTo>
                      <a:pt x="40" y="306"/>
                    </a:lnTo>
                    <a:lnTo>
                      <a:pt x="40" y="300"/>
                    </a:lnTo>
                    <a:lnTo>
                      <a:pt x="46" y="294"/>
                    </a:lnTo>
                    <a:lnTo>
                      <a:pt x="51" y="294"/>
                    </a:lnTo>
                    <a:lnTo>
                      <a:pt x="51" y="289"/>
                    </a:lnTo>
                    <a:lnTo>
                      <a:pt x="57" y="289"/>
                    </a:lnTo>
                    <a:lnTo>
                      <a:pt x="57" y="283"/>
                    </a:lnTo>
                    <a:lnTo>
                      <a:pt x="57" y="277"/>
                    </a:lnTo>
                    <a:lnTo>
                      <a:pt x="51" y="277"/>
                    </a:lnTo>
                    <a:lnTo>
                      <a:pt x="51" y="272"/>
                    </a:lnTo>
                    <a:lnTo>
                      <a:pt x="57" y="266"/>
                    </a:lnTo>
                    <a:lnTo>
                      <a:pt x="63" y="266"/>
                    </a:lnTo>
                    <a:lnTo>
                      <a:pt x="63" y="260"/>
                    </a:lnTo>
                    <a:lnTo>
                      <a:pt x="57" y="255"/>
                    </a:lnTo>
                    <a:lnTo>
                      <a:pt x="57" y="249"/>
                    </a:lnTo>
                    <a:lnTo>
                      <a:pt x="63" y="249"/>
                    </a:lnTo>
                    <a:lnTo>
                      <a:pt x="63" y="243"/>
                    </a:lnTo>
                    <a:lnTo>
                      <a:pt x="63" y="238"/>
                    </a:lnTo>
                    <a:lnTo>
                      <a:pt x="68" y="238"/>
                    </a:lnTo>
                    <a:lnTo>
                      <a:pt x="68" y="232"/>
                    </a:lnTo>
                    <a:lnTo>
                      <a:pt x="63" y="232"/>
                    </a:lnTo>
                    <a:lnTo>
                      <a:pt x="68" y="226"/>
                    </a:lnTo>
                    <a:lnTo>
                      <a:pt x="74" y="232"/>
                    </a:lnTo>
                    <a:lnTo>
                      <a:pt x="80" y="232"/>
                    </a:lnTo>
                    <a:lnTo>
                      <a:pt x="80" y="226"/>
                    </a:lnTo>
                    <a:lnTo>
                      <a:pt x="74" y="226"/>
                    </a:lnTo>
                    <a:lnTo>
                      <a:pt x="80" y="221"/>
                    </a:lnTo>
                    <a:lnTo>
                      <a:pt x="80" y="215"/>
                    </a:lnTo>
                    <a:lnTo>
                      <a:pt x="86" y="209"/>
                    </a:lnTo>
                    <a:lnTo>
                      <a:pt x="91" y="204"/>
                    </a:lnTo>
                    <a:lnTo>
                      <a:pt x="97" y="204"/>
                    </a:lnTo>
                    <a:lnTo>
                      <a:pt x="97" y="198"/>
                    </a:lnTo>
                    <a:lnTo>
                      <a:pt x="97" y="192"/>
                    </a:lnTo>
                    <a:lnTo>
                      <a:pt x="103" y="192"/>
                    </a:lnTo>
                    <a:lnTo>
                      <a:pt x="108" y="192"/>
                    </a:lnTo>
                    <a:lnTo>
                      <a:pt x="108" y="187"/>
                    </a:lnTo>
                    <a:lnTo>
                      <a:pt x="108" y="181"/>
                    </a:lnTo>
                    <a:lnTo>
                      <a:pt x="114" y="181"/>
                    </a:lnTo>
                    <a:lnTo>
                      <a:pt x="120" y="181"/>
                    </a:lnTo>
                    <a:lnTo>
                      <a:pt x="120" y="175"/>
                    </a:lnTo>
                    <a:lnTo>
                      <a:pt x="120" y="181"/>
                    </a:lnTo>
                    <a:lnTo>
                      <a:pt x="120" y="187"/>
                    </a:lnTo>
                    <a:lnTo>
                      <a:pt x="125" y="187"/>
                    </a:lnTo>
                    <a:lnTo>
                      <a:pt x="125" y="181"/>
                    </a:lnTo>
                    <a:lnTo>
                      <a:pt x="131" y="181"/>
                    </a:lnTo>
                    <a:lnTo>
                      <a:pt x="137" y="181"/>
                    </a:lnTo>
                    <a:lnTo>
                      <a:pt x="142" y="181"/>
                    </a:lnTo>
                    <a:lnTo>
                      <a:pt x="148" y="181"/>
                    </a:lnTo>
                    <a:lnTo>
                      <a:pt x="154" y="175"/>
                    </a:lnTo>
                    <a:lnTo>
                      <a:pt x="159" y="175"/>
                    </a:lnTo>
                    <a:lnTo>
                      <a:pt x="165" y="175"/>
                    </a:lnTo>
                    <a:lnTo>
                      <a:pt x="171" y="175"/>
                    </a:lnTo>
                    <a:lnTo>
                      <a:pt x="176" y="175"/>
                    </a:lnTo>
                    <a:lnTo>
                      <a:pt x="176" y="170"/>
                    </a:lnTo>
                    <a:lnTo>
                      <a:pt x="182" y="175"/>
                    </a:lnTo>
                    <a:lnTo>
                      <a:pt x="188" y="175"/>
                    </a:lnTo>
                    <a:lnTo>
                      <a:pt x="199" y="175"/>
                    </a:lnTo>
                    <a:lnTo>
                      <a:pt x="199" y="181"/>
                    </a:lnTo>
                    <a:lnTo>
                      <a:pt x="205" y="181"/>
                    </a:lnTo>
                    <a:lnTo>
                      <a:pt x="210" y="181"/>
                    </a:lnTo>
                    <a:lnTo>
                      <a:pt x="216" y="181"/>
                    </a:lnTo>
                    <a:lnTo>
                      <a:pt x="222" y="175"/>
                    </a:lnTo>
                    <a:lnTo>
                      <a:pt x="227" y="175"/>
                    </a:lnTo>
                    <a:lnTo>
                      <a:pt x="227" y="181"/>
                    </a:lnTo>
                    <a:lnTo>
                      <a:pt x="233" y="181"/>
                    </a:lnTo>
                    <a:lnTo>
                      <a:pt x="233" y="187"/>
                    </a:lnTo>
                    <a:lnTo>
                      <a:pt x="239" y="187"/>
                    </a:lnTo>
                    <a:lnTo>
                      <a:pt x="233" y="192"/>
                    </a:lnTo>
                    <a:lnTo>
                      <a:pt x="239" y="192"/>
                    </a:lnTo>
                    <a:lnTo>
                      <a:pt x="244" y="192"/>
                    </a:lnTo>
                    <a:lnTo>
                      <a:pt x="250" y="192"/>
                    </a:lnTo>
                    <a:lnTo>
                      <a:pt x="250" y="198"/>
                    </a:lnTo>
                    <a:lnTo>
                      <a:pt x="256" y="198"/>
                    </a:lnTo>
                    <a:lnTo>
                      <a:pt x="256" y="204"/>
                    </a:lnTo>
                    <a:lnTo>
                      <a:pt x="261" y="204"/>
                    </a:lnTo>
                    <a:lnTo>
                      <a:pt x="267" y="204"/>
                    </a:lnTo>
                    <a:lnTo>
                      <a:pt x="267" y="209"/>
                    </a:lnTo>
                    <a:lnTo>
                      <a:pt x="273" y="209"/>
                    </a:lnTo>
                    <a:lnTo>
                      <a:pt x="273" y="215"/>
                    </a:lnTo>
                    <a:lnTo>
                      <a:pt x="278" y="215"/>
                    </a:lnTo>
                    <a:lnTo>
                      <a:pt x="278" y="209"/>
                    </a:lnTo>
                    <a:lnTo>
                      <a:pt x="278" y="215"/>
                    </a:lnTo>
                    <a:lnTo>
                      <a:pt x="284" y="215"/>
                    </a:lnTo>
                    <a:lnTo>
                      <a:pt x="278" y="215"/>
                    </a:lnTo>
                    <a:lnTo>
                      <a:pt x="278" y="221"/>
                    </a:lnTo>
                    <a:lnTo>
                      <a:pt x="284" y="221"/>
                    </a:lnTo>
                    <a:lnTo>
                      <a:pt x="290" y="221"/>
                    </a:lnTo>
                    <a:lnTo>
                      <a:pt x="295" y="221"/>
                    </a:lnTo>
                    <a:lnTo>
                      <a:pt x="301" y="226"/>
                    </a:lnTo>
                    <a:lnTo>
                      <a:pt x="301" y="232"/>
                    </a:lnTo>
                    <a:lnTo>
                      <a:pt x="307" y="232"/>
                    </a:lnTo>
                    <a:lnTo>
                      <a:pt x="307" y="238"/>
                    </a:lnTo>
                    <a:lnTo>
                      <a:pt x="312" y="238"/>
                    </a:lnTo>
                    <a:lnTo>
                      <a:pt x="318" y="238"/>
                    </a:lnTo>
                    <a:lnTo>
                      <a:pt x="318" y="243"/>
                    </a:lnTo>
                    <a:lnTo>
                      <a:pt x="318" y="249"/>
                    </a:lnTo>
                    <a:lnTo>
                      <a:pt x="324" y="249"/>
                    </a:lnTo>
                    <a:lnTo>
                      <a:pt x="324" y="255"/>
                    </a:lnTo>
                    <a:lnTo>
                      <a:pt x="329" y="255"/>
                    </a:lnTo>
                    <a:lnTo>
                      <a:pt x="335" y="255"/>
                    </a:lnTo>
                    <a:lnTo>
                      <a:pt x="335" y="260"/>
                    </a:lnTo>
                    <a:lnTo>
                      <a:pt x="341" y="260"/>
                    </a:lnTo>
                    <a:lnTo>
                      <a:pt x="341" y="266"/>
                    </a:lnTo>
                    <a:lnTo>
                      <a:pt x="346" y="272"/>
                    </a:lnTo>
                    <a:lnTo>
                      <a:pt x="352" y="272"/>
                    </a:lnTo>
                    <a:lnTo>
                      <a:pt x="352" y="266"/>
                    </a:lnTo>
                    <a:lnTo>
                      <a:pt x="358" y="266"/>
                    </a:lnTo>
                    <a:lnTo>
                      <a:pt x="363" y="266"/>
                    </a:lnTo>
                    <a:lnTo>
                      <a:pt x="369" y="266"/>
                    </a:lnTo>
                    <a:lnTo>
                      <a:pt x="369" y="272"/>
                    </a:lnTo>
                    <a:lnTo>
                      <a:pt x="369" y="277"/>
                    </a:lnTo>
                    <a:lnTo>
                      <a:pt x="369" y="272"/>
                    </a:lnTo>
                    <a:lnTo>
                      <a:pt x="369" y="277"/>
                    </a:lnTo>
                    <a:lnTo>
                      <a:pt x="375" y="272"/>
                    </a:lnTo>
                    <a:lnTo>
                      <a:pt x="380" y="277"/>
                    </a:lnTo>
                    <a:lnTo>
                      <a:pt x="380" y="272"/>
                    </a:lnTo>
                    <a:lnTo>
                      <a:pt x="386" y="272"/>
                    </a:lnTo>
                    <a:lnTo>
                      <a:pt x="392" y="272"/>
                    </a:lnTo>
                    <a:lnTo>
                      <a:pt x="397" y="272"/>
                    </a:lnTo>
                    <a:lnTo>
                      <a:pt x="403" y="272"/>
                    </a:lnTo>
                    <a:lnTo>
                      <a:pt x="403" y="266"/>
                    </a:lnTo>
                    <a:lnTo>
                      <a:pt x="409" y="266"/>
                    </a:lnTo>
                    <a:lnTo>
                      <a:pt x="409" y="272"/>
                    </a:lnTo>
                    <a:lnTo>
                      <a:pt x="414" y="272"/>
                    </a:lnTo>
                    <a:lnTo>
                      <a:pt x="414" y="266"/>
                    </a:lnTo>
                    <a:lnTo>
                      <a:pt x="420" y="272"/>
                    </a:lnTo>
                    <a:lnTo>
                      <a:pt x="426" y="272"/>
                    </a:lnTo>
                    <a:lnTo>
                      <a:pt x="426" y="277"/>
                    </a:lnTo>
                    <a:lnTo>
                      <a:pt x="431" y="283"/>
                    </a:lnTo>
                    <a:lnTo>
                      <a:pt x="431" y="289"/>
                    </a:lnTo>
                    <a:lnTo>
                      <a:pt x="437" y="289"/>
                    </a:lnTo>
                    <a:lnTo>
                      <a:pt x="443" y="289"/>
                    </a:lnTo>
                    <a:lnTo>
                      <a:pt x="443" y="294"/>
                    </a:lnTo>
                    <a:lnTo>
                      <a:pt x="437" y="294"/>
                    </a:lnTo>
                    <a:lnTo>
                      <a:pt x="443" y="294"/>
                    </a:lnTo>
                    <a:lnTo>
                      <a:pt x="448" y="294"/>
                    </a:lnTo>
                    <a:lnTo>
                      <a:pt x="448" y="300"/>
                    </a:lnTo>
                    <a:lnTo>
                      <a:pt x="460" y="306"/>
                    </a:lnTo>
                    <a:lnTo>
                      <a:pt x="465" y="306"/>
                    </a:lnTo>
                    <a:lnTo>
                      <a:pt x="471" y="306"/>
                    </a:lnTo>
                    <a:lnTo>
                      <a:pt x="471" y="300"/>
                    </a:lnTo>
                    <a:lnTo>
                      <a:pt x="477" y="300"/>
                    </a:lnTo>
                    <a:lnTo>
                      <a:pt x="482" y="300"/>
                    </a:lnTo>
                    <a:lnTo>
                      <a:pt x="488" y="300"/>
                    </a:lnTo>
                    <a:lnTo>
                      <a:pt x="494" y="300"/>
                    </a:lnTo>
                    <a:lnTo>
                      <a:pt x="511" y="306"/>
                    </a:lnTo>
                    <a:lnTo>
                      <a:pt x="511" y="311"/>
                    </a:lnTo>
                    <a:lnTo>
                      <a:pt x="516" y="311"/>
                    </a:lnTo>
                    <a:lnTo>
                      <a:pt x="522" y="317"/>
                    </a:lnTo>
                    <a:lnTo>
                      <a:pt x="528" y="317"/>
                    </a:lnTo>
                    <a:lnTo>
                      <a:pt x="533" y="317"/>
                    </a:lnTo>
                    <a:lnTo>
                      <a:pt x="539" y="323"/>
                    </a:lnTo>
                    <a:lnTo>
                      <a:pt x="545" y="323"/>
                    </a:lnTo>
                    <a:lnTo>
                      <a:pt x="550" y="317"/>
                    </a:lnTo>
                    <a:lnTo>
                      <a:pt x="556" y="317"/>
                    </a:lnTo>
                    <a:lnTo>
                      <a:pt x="562" y="317"/>
                    </a:lnTo>
                    <a:lnTo>
                      <a:pt x="562" y="323"/>
                    </a:lnTo>
                    <a:lnTo>
                      <a:pt x="567" y="323"/>
                    </a:lnTo>
                    <a:lnTo>
                      <a:pt x="573" y="323"/>
                    </a:lnTo>
                    <a:lnTo>
                      <a:pt x="579" y="323"/>
                    </a:lnTo>
                    <a:lnTo>
                      <a:pt x="584" y="317"/>
                    </a:lnTo>
                    <a:lnTo>
                      <a:pt x="584" y="323"/>
                    </a:lnTo>
                    <a:lnTo>
                      <a:pt x="590" y="317"/>
                    </a:lnTo>
                    <a:lnTo>
                      <a:pt x="596" y="317"/>
                    </a:lnTo>
                    <a:lnTo>
                      <a:pt x="601" y="317"/>
                    </a:lnTo>
                    <a:lnTo>
                      <a:pt x="607" y="317"/>
                    </a:lnTo>
                    <a:lnTo>
                      <a:pt x="607" y="311"/>
                    </a:lnTo>
                    <a:lnTo>
                      <a:pt x="618" y="306"/>
                    </a:lnTo>
                    <a:lnTo>
                      <a:pt x="624" y="306"/>
                    </a:lnTo>
                    <a:lnTo>
                      <a:pt x="630" y="300"/>
                    </a:lnTo>
                    <a:lnTo>
                      <a:pt x="630" y="294"/>
                    </a:lnTo>
                    <a:lnTo>
                      <a:pt x="635" y="294"/>
                    </a:lnTo>
                    <a:lnTo>
                      <a:pt x="641" y="294"/>
                    </a:lnTo>
                    <a:lnTo>
                      <a:pt x="647" y="294"/>
                    </a:lnTo>
                    <a:lnTo>
                      <a:pt x="652" y="294"/>
                    </a:lnTo>
                    <a:lnTo>
                      <a:pt x="652" y="300"/>
                    </a:lnTo>
                    <a:lnTo>
                      <a:pt x="658" y="300"/>
                    </a:lnTo>
                    <a:lnTo>
                      <a:pt x="664" y="306"/>
                    </a:lnTo>
                    <a:lnTo>
                      <a:pt x="669" y="306"/>
                    </a:lnTo>
                    <a:lnTo>
                      <a:pt x="675" y="306"/>
                    </a:lnTo>
                    <a:lnTo>
                      <a:pt x="681" y="306"/>
                    </a:lnTo>
                    <a:lnTo>
                      <a:pt x="686" y="306"/>
                    </a:lnTo>
                    <a:lnTo>
                      <a:pt x="692" y="306"/>
                    </a:lnTo>
                    <a:lnTo>
                      <a:pt x="703" y="306"/>
                    </a:lnTo>
                    <a:lnTo>
                      <a:pt x="709" y="306"/>
                    </a:lnTo>
                    <a:lnTo>
                      <a:pt x="715" y="306"/>
                    </a:lnTo>
                    <a:lnTo>
                      <a:pt x="720" y="306"/>
                    </a:lnTo>
                    <a:lnTo>
                      <a:pt x="732" y="300"/>
                    </a:lnTo>
                    <a:lnTo>
                      <a:pt x="737" y="300"/>
                    </a:lnTo>
                    <a:lnTo>
                      <a:pt x="743" y="294"/>
                    </a:lnTo>
                    <a:lnTo>
                      <a:pt x="749" y="294"/>
                    </a:lnTo>
                    <a:lnTo>
                      <a:pt x="749" y="289"/>
                    </a:lnTo>
                    <a:lnTo>
                      <a:pt x="766" y="277"/>
                    </a:lnTo>
                    <a:lnTo>
                      <a:pt x="777" y="272"/>
                    </a:lnTo>
                    <a:lnTo>
                      <a:pt x="783" y="272"/>
                    </a:lnTo>
                    <a:lnTo>
                      <a:pt x="783" y="266"/>
                    </a:lnTo>
                    <a:lnTo>
                      <a:pt x="800" y="238"/>
                    </a:lnTo>
                    <a:lnTo>
                      <a:pt x="800" y="226"/>
                    </a:lnTo>
                    <a:lnTo>
                      <a:pt x="805" y="221"/>
                    </a:lnTo>
                    <a:lnTo>
                      <a:pt x="811" y="215"/>
                    </a:lnTo>
                    <a:lnTo>
                      <a:pt x="811" y="209"/>
                    </a:lnTo>
                    <a:lnTo>
                      <a:pt x="811" y="204"/>
                    </a:lnTo>
                    <a:lnTo>
                      <a:pt x="817" y="198"/>
                    </a:lnTo>
                    <a:lnTo>
                      <a:pt x="817" y="175"/>
                    </a:lnTo>
                    <a:lnTo>
                      <a:pt x="822" y="170"/>
                    </a:lnTo>
                    <a:lnTo>
                      <a:pt x="828" y="164"/>
                    </a:lnTo>
                    <a:lnTo>
                      <a:pt x="828" y="158"/>
                    </a:lnTo>
                    <a:lnTo>
                      <a:pt x="834" y="147"/>
                    </a:lnTo>
                    <a:lnTo>
                      <a:pt x="839" y="141"/>
                    </a:lnTo>
                    <a:lnTo>
                      <a:pt x="845" y="130"/>
                    </a:lnTo>
                    <a:lnTo>
                      <a:pt x="845" y="124"/>
                    </a:lnTo>
                    <a:lnTo>
                      <a:pt x="851" y="113"/>
                    </a:lnTo>
                    <a:lnTo>
                      <a:pt x="856" y="102"/>
                    </a:lnTo>
                    <a:lnTo>
                      <a:pt x="862" y="90"/>
                    </a:lnTo>
                    <a:lnTo>
                      <a:pt x="862" y="85"/>
                    </a:lnTo>
                    <a:lnTo>
                      <a:pt x="862" y="79"/>
                    </a:lnTo>
                    <a:lnTo>
                      <a:pt x="868" y="79"/>
                    </a:lnTo>
                    <a:lnTo>
                      <a:pt x="868" y="68"/>
                    </a:lnTo>
                    <a:lnTo>
                      <a:pt x="868" y="62"/>
                    </a:lnTo>
                    <a:lnTo>
                      <a:pt x="868" y="56"/>
                    </a:lnTo>
                    <a:lnTo>
                      <a:pt x="868" y="51"/>
                    </a:lnTo>
                    <a:lnTo>
                      <a:pt x="862" y="51"/>
                    </a:lnTo>
                    <a:lnTo>
                      <a:pt x="862" y="45"/>
                    </a:lnTo>
                    <a:lnTo>
                      <a:pt x="862" y="39"/>
                    </a:lnTo>
                    <a:lnTo>
                      <a:pt x="862" y="34"/>
                    </a:lnTo>
                    <a:lnTo>
                      <a:pt x="868" y="34"/>
                    </a:lnTo>
                    <a:lnTo>
                      <a:pt x="873" y="34"/>
                    </a:lnTo>
                    <a:lnTo>
                      <a:pt x="879" y="34"/>
                    </a:lnTo>
                    <a:lnTo>
                      <a:pt x="879" y="28"/>
                    </a:lnTo>
                    <a:lnTo>
                      <a:pt x="885" y="22"/>
                    </a:lnTo>
                    <a:lnTo>
                      <a:pt x="896" y="22"/>
                    </a:lnTo>
                    <a:lnTo>
                      <a:pt x="902" y="22"/>
                    </a:lnTo>
                    <a:lnTo>
                      <a:pt x="907" y="22"/>
                    </a:lnTo>
                    <a:lnTo>
                      <a:pt x="913" y="22"/>
                    </a:lnTo>
                    <a:lnTo>
                      <a:pt x="930" y="17"/>
                    </a:lnTo>
                    <a:lnTo>
                      <a:pt x="936" y="17"/>
                    </a:lnTo>
                    <a:lnTo>
                      <a:pt x="947" y="17"/>
                    </a:lnTo>
                    <a:lnTo>
                      <a:pt x="964" y="11"/>
                    </a:lnTo>
                    <a:lnTo>
                      <a:pt x="970" y="11"/>
                    </a:lnTo>
                    <a:lnTo>
                      <a:pt x="993" y="5"/>
                    </a:lnTo>
                    <a:lnTo>
                      <a:pt x="998" y="5"/>
                    </a:lnTo>
                    <a:lnTo>
                      <a:pt x="1004" y="5"/>
                    </a:lnTo>
                    <a:lnTo>
                      <a:pt x="1004" y="0"/>
                    </a:lnTo>
                    <a:lnTo>
                      <a:pt x="1010" y="0"/>
                    </a:lnTo>
                    <a:lnTo>
                      <a:pt x="1010" y="5"/>
                    </a:lnTo>
                    <a:lnTo>
                      <a:pt x="1015" y="5"/>
                    </a:lnTo>
                    <a:lnTo>
                      <a:pt x="1015" y="11"/>
                    </a:lnTo>
                    <a:lnTo>
                      <a:pt x="1015" y="17"/>
                    </a:lnTo>
                    <a:lnTo>
                      <a:pt x="1010" y="22"/>
                    </a:lnTo>
                    <a:lnTo>
                      <a:pt x="1010" y="28"/>
                    </a:lnTo>
                    <a:lnTo>
                      <a:pt x="1015" y="28"/>
                    </a:lnTo>
                    <a:lnTo>
                      <a:pt x="1015" y="39"/>
                    </a:lnTo>
                    <a:lnTo>
                      <a:pt x="1021" y="39"/>
                    </a:lnTo>
                    <a:lnTo>
                      <a:pt x="1021" y="45"/>
                    </a:lnTo>
                    <a:lnTo>
                      <a:pt x="1021" y="51"/>
                    </a:lnTo>
                    <a:lnTo>
                      <a:pt x="1027" y="51"/>
                    </a:lnTo>
                    <a:lnTo>
                      <a:pt x="1049" y="51"/>
                    </a:lnTo>
                    <a:lnTo>
                      <a:pt x="1055" y="56"/>
                    </a:lnTo>
                    <a:lnTo>
                      <a:pt x="1066" y="51"/>
                    </a:lnTo>
                    <a:lnTo>
                      <a:pt x="1078" y="62"/>
                    </a:lnTo>
                    <a:lnTo>
                      <a:pt x="1089" y="62"/>
                    </a:lnTo>
                    <a:lnTo>
                      <a:pt x="1100" y="68"/>
                    </a:lnTo>
                    <a:lnTo>
                      <a:pt x="1106" y="62"/>
                    </a:lnTo>
                    <a:lnTo>
                      <a:pt x="1106" y="56"/>
                    </a:lnTo>
                    <a:lnTo>
                      <a:pt x="1134" y="51"/>
                    </a:lnTo>
                    <a:lnTo>
                      <a:pt x="1151" y="45"/>
                    </a:lnTo>
                    <a:lnTo>
                      <a:pt x="1151" y="39"/>
                    </a:lnTo>
                    <a:lnTo>
                      <a:pt x="1163" y="39"/>
                    </a:lnTo>
                    <a:lnTo>
                      <a:pt x="1163" y="28"/>
                    </a:lnTo>
                    <a:lnTo>
                      <a:pt x="1168" y="28"/>
                    </a:lnTo>
                    <a:lnTo>
                      <a:pt x="1174" y="28"/>
                    </a:lnTo>
                    <a:lnTo>
                      <a:pt x="1174" y="39"/>
                    </a:lnTo>
                    <a:lnTo>
                      <a:pt x="1174" y="51"/>
                    </a:lnTo>
                    <a:lnTo>
                      <a:pt x="1180" y="56"/>
                    </a:lnTo>
                    <a:lnTo>
                      <a:pt x="1180" y="62"/>
                    </a:lnTo>
                    <a:lnTo>
                      <a:pt x="1180" y="73"/>
                    </a:lnTo>
                    <a:lnTo>
                      <a:pt x="1185" y="73"/>
                    </a:lnTo>
                    <a:lnTo>
                      <a:pt x="1197" y="79"/>
                    </a:lnTo>
                    <a:lnTo>
                      <a:pt x="1202" y="85"/>
                    </a:lnTo>
                    <a:lnTo>
                      <a:pt x="1202" y="90"/>
                    </a:lnTo>
                    <a:lnTo>
                      <a:pt x="1208" y="90"/>
                    </a:lnTo>
                    <a:lnTo>
                      <a:pt x="1202" y="96"/>
                    </a:lnTo>
                    <a:lnTo>
                      <a:pt x="1242" y="102"/>
                    </a:lnTo>
                    <a:lnTo>
                      <a:pt x="1253" y="113"/>
                    </a:lnTo>
                    <a:lnTo>
                      <a:pt x="1253" y="119"/>
                    </a:lnTo>
                    <a:lnTo>
                      <a:pt x="1259" y="119"/>
                    </a:lnTo>
                    <a:lnTo>
                      <a:pt x="1270" y="119"/>
                    </a:lnTo>
                    <a:lnTo>
                      <a:pt x="1276" y="119"/>
                    </a:lnTo>
                    <a:lnTo>
                      <a:pt x="1287" y="113"/>
                    </a:lnTo>
                    <a:lnTo>
                      <a:pt x="1293" y="119"/>
                    </a:lnTo>
                    <a:lnTo>
                      <a:pt x="1293" y="124"/>
                    </a:lnTo>
                    <a:lnTo>
                      <a:pt x="1299" y="130"/>
                    </a:lnTo>
                    <a:lnTo>
                      <a:pt x="1304" y="130"/>
                    </a:lnTo>
                    <a:lnTo>
                      <a:pt x="1310" y="119"/>
                    </a:lnTo>
                    <a:lnTo>
                      <a:pt x="1316" y="119"/>
                    </a:lnTo>
                    <a:lnTo>
                      <a:pt x="1316" y="113"/>
                    </a:lnTo>
                    <a:lnTo>
                      <a:pt x="1316" y="107"/>
                    </a:lnTo>
                    <a:lnTo>
                      <a:pt x="1316" y="102"/>
                    </a:lnTo>
                    <a:lnTo>
                      <a:pt x="1316" y="96"/>
                    </a:lnTo>
                    <a:lnTo>
                      <a:pt x="1327" y="90"/>
                    </a:lnTo>
                    <a:lnTo>
                      <a:pt x="1333" y="96"/>
                    </a:lnTo>
                    <a:lnTo>
                      <a:pt x="1338" y="90"/>
                    </a:lnTo>
                    <a:lnTo>
                      <a:pt x="1350" y="102"/>
                    </a:lnTo>
                    <a:lnTo>
                      <a:pt x="1355" y="96"/>
                    </a:lnTo>
                    <a:lnTo>
                      <a:pt x="1361" y="96"/>
                    </a:lnTo>
                    <a:lnTo>
                      <a:pt x="1367" y="96"/>
                    </a:lnTo>
                    <a:lnTo>
                      <a:pt x="1372" y="96"/>
                    </a:lnTo>
                    <a:lnTo>
                      <a:pt x="1401" y="102"/>
                    </a:lnTo>
                    <a:lnTo>
                      <a:pt x="1406" y="102"/>
                    </a:lnTo>
                    <a:lnTo>
                      <a:pt x="1406" y="96"/>
                    </a:lnTo>
                    <a:lnTo>
                      <a:pt x="1418" y="96"/>
                    </a:lnTo>
                    <a:lnTo>
                      <a:pt x="1423" y="96"/>
                    </a:lnTo>
                    <a:lnTo>
                      <a:pt x="1423" y="102"/>
                    </a:lnTo>
                    <a:lnTo>
                      <a:pt x="1446" y="102"/>
                    </a:lnTo>
                    <a:lnTo>
                      <a:pt x="1452" y="102"/>
                    </a:lnTo>
                    <a:lnTo>
                      <a:pt x="1457" y="107"/>
                    </a:lnTo>
                    <a:lnTo>
                      <a:pt x="1474" y="113"/>
                    </a:lnTo>
                    <a:lnTo>
                      <a:pt x="1480" y="113"/>
                    </a:lnTo>
                    <a:lnTo>
                      <a:pt x="1486" y="119"/>
                    </a:lnTo>
                    <a:lnTo>
                      <a:pt x="1480" y="130"/>
                    </a:lnTo>
                    <a:lnTo>
                      <a:pt x="1480" y="136"/>
                    </a:lnTo>
                    <a:lnTo>
                      <a:pt x="1469" y="136"/>
                    </a:lnTo>
                    <a:lnTo>
                      <a:pt x="1463" y="130"/>
                    </a:lnTo>
                    <a:lnTo>
                      <a:pt x="1457" y="130"/>
                    </a:lnTo>
                    <a:lnTo>
                      <a:pt x="1446" y="130"/>
                    </a:lnTo>
                    <a:lnTo>
                      <a:pt x="1440" y="136"/>
                    </a:lnTo>
                    <a:lnTo>
                      <a:pt x="1440" y="141"/>
                    </a:lnTo>
                    <a:lnTo>
                      <a:pt x="1452" y="141"/>
                    </a:lnTo>
                    <a:lnTo>
                      <a:pt x="1457" y="147"/>
                    </a:lnTo>
                    <a:lnTo>
                      <a:pt x="1457" y="158"/>
                    </a:lnTo>
                    <a:lnTo>
                      <a:pt x="1463" y="158"/>
                    </a:lnTo>
                    <a:lnTo>
                      <a:pt x="1480" y="153"/>
                    </a:lnTo>
                    <a:lnTo>
                      <a:pt x="1480" y="158"/>
                    </a:lnTo>
                    <a:lnTo>
                      <a:pt x="1486" y="164"/>
                    </a:lnTo>
                    <a:lnTo>
                      <a:pt x="1491" y="170"/>
                    </a:lnTo>
                    <a:lnTo>
                      <a:pt x="1491" y="175"/>
                    </a:lnTo>
                    <a:lnTo>
                      <a:pt x="1497" y="175"/>
                    </a:lnTo>
                    <a:lnTo>
                      <a:pt x="1497" y="187"/>
                    </a:lnTo>
                    <a:lnTo>
                      <a:pt x="1497" y="209"/>
                    </a:lnTo>
                    <a:lnTo>
                      <a:pt x="1486" y="215"/>
                    </a:lnTo>
                    <a:lnTo>
                      <a:pt x="1480" y="215"/>
                    </a:lnTo>
                    <a:lnTo>
                      <a:pt x="1474" y="215"/>
                    </a:lnTo>
                    <a:lnTo>
                      <a:pt x="1469" y="215"/>
                    </a:lnTo>
                    <a:lnTo>
                      <a:pt x="1463" y="215"/>
                    </a:lnTo>
                    <a:lnTo>
                      <a:pt x="1457" y="221"/>
                    </a:lnTo>
                    <a:lnTo>
                      <a:pt x="1452" y="221"/>
                    </a:lnTo>
                    <a:lnTo>
                      <a:pt x="1452" y="215"/>
                    </a:lnTo>
                    <a:lnTo>
                      <a:pt x="1457" y="209"/>
                    </a:lnTo>
                    <a:lnTo>
                      <a:pt x="1457" y="204"/>
                    </a:lnTo>
                    <a:lnTo>
                      <a:pt x="1446" y="204"/>
                    </a:lnTo>
                    <a:lnTo>
                      <a:pt x="1435" y="209"/>
                    </a:lnTo>
                    <a:lnTo>
                      <a:pt x="1435" y="215"/>
                    </a:lnTo>
                    <a:lnTo>
                      <a:pt x="1440" y="221"/>
                    </a:lnTo>
                    <a:lnTo>
                      <a:pt x="1440" y="226"/>
                    </a:lnTo>
                    <a:lnTo>
                      <a:pt x="1440" y="238"/>
                    </a:lnTo>
                    <a:lnTo>
                      <a:pt x="1446" y="238"/>
                    </a:lnTo>
                    <a:lnTo>
                      <a:pt x="1446" y="249"/>
                    </a:lnTo>
                    <a:lnTo>
                      <a:pt x="1440" y="249"/>
                    </a:lnTo>
                    <a:lnTo>
                      <a:pt x="1435" y="255"/>
                    </a:lnTo>
                    <a:lnTo>
                      <a:pt x="1429" y="260"/>
                    </a:lnTo>
                    <a:lnTo>
                      <a:pt x="1429" y="266"/>
                    </a:lnTo>
                    <a:lnTo>
                      <a:pt x="1423" y="266"/>
                    </a:lnTo>
                    <a:lnTo>
                      <a:pt x="1423" y="272"/>
                    </a:lnTo>
                    <a:lnTo>
                      <a:pt x="1418" y="272"/>
                    </a:lnTo>
                    <a:lnTo>
                      <a:pt x="1412" y="272"/>
                    </a:lnTo>
                    <a:lnTo>
                      <a:pt x="1401" y="272"/>
                    </a:lnTo>
                    <a:lnTo>
                      <a:pt x="1401" y="277"/>
                    </a:lnTo>
                    <a:lnTo>
                      <a:pt x="1406" y="289"/>
                    </a:lnTo>
                    <a:lnTo>
                      <a:pt x="1412" y="300"/>
                    </a:lnTo>
                    <a:lnTo>
                      <a:pt x="1401" y="300"/>
                    </a:lnTo>
                    <a:lnTo>
                      <a:pt x="1406" y="317"/>
                    </a:lnTo>
                    <a:lnTo>
                      <a:pt x="1401" y="323"/>
                    </a:lnTo>
                    <a:lnTo>
                      <a:pt x="1401" y="328"/>
                    </a:lnTo>
                    <a:lnTo>
                      <a:pt x="1389" y="323"/>
                    </a:lnTo>
                    <a:lnTo>
                      <a:pt x="1389" y="328"/>
                    </a:lnTo>
                    <a:lnTo>
                      <a:pt x="1367" y="334"/>
                    </a:lnTo>
                    <a:lnTo>
                      <a:pt x="1344" y="340"/>
                    </a:lnTo>
                    <a:lnTo>
                      <a:pt x="1344" y="328"/>
                    </a:lnTo>
                    <a:lnTo>
                      <a:pt x="1327" y="334"/>
                    </a:lnTo>
                    <a:lnTo>
                      <a:pt x="1321" y="323"/>
                    </a:lnTo>
                    <a:lnTo>
                      <a:pt x="1316" y="311"/>
                    </a:lnTo>
                    <a:lnTo>
                      <a:pt x="1293" y="328"/>
                    </a:lnTo>
                    <a:lnTo>
                      <a:pt x="1270" y="334"/>
                    </a:lnTo>
                    <a:lnTo>
                      <a:pt x="1270" y="357"/>
                    </a:lnTo>
                    <a:lnTo>
                      <a:pt x="1265" y="368"/>
                    </a:lnTo>
                    <a:lnTo>
                      <a:pt x="1259" y="396"/>
                    </a:lnTo>
                    <a:lnTo>
                      <a:pt x="1259" y="402"/>
                    </a:lnTo>
                    <a:lnTo>
                      <a:pt x="1242" y="408"/>
                    </a:lnTo>
                    <a:lnTo>
                      <a:pt x="1242" y="413"/>
                    </a:lnTo>
                    <a:lnTo>
                      <a:pt x="1225" y="413"/>
                    </a:lnTo>
                    <a:lnTo>
                      <a:pt x="1231" y="453"/>
                    </a:lnTo>
                    <a:lnTo>
                      <a:pt x="1208" y="464"/>
                    </a:lnTo>
                    <a:lnTo>
                      <a:pt x="1191" y="476"/>
                    </a:lnTo>
                    <a:lnTo>
                      <a:pt x="1202" y="487"/>
                    </a:lnTo>
                    <a:lnTo>
                      <a:pt x="1202" y="498"/>
                    </a:lnTo>
                    <a:lnTo>
                      <a:pt x="1208" y="498"/>
                    </a:lnTo>
                    <a:lnTo>
                      <a:pt x="1202" y="510"/>
                    </a:lnTo>
                    <a:lnTo>
                      <a:pt x="1236" y="498"/>
                    </a:lnTo>
                    <a:lnTo>
                      <a:pt x="1236" y="487"/>
                    </a:lnTo>
                    <a:lnTo>
                      <a:pt x="1276" y="481"/>
                    </a:lnTo>
                    <a:lnTo>
                      <a:pt x="1276" y="487"/>
                    </a:lnTo>
                    <a:lnTo>
                      <a:pt x="1282" y="487"/>
                    </a:lnTo>
                    <a:lnTo>
                      <a:pt x="1282" y="493"/>
                    </a:lnTo>
                    <a:lnTo>
                      <a:pt x="1304" y="493"/>
                    </a:lnTo>
                    <a:lnTo>
                      <a:pt x="1304" y="504"/>
                    </a:lnTo>
                    <a:lnTo>
                      <a:pt x="1299" y="504"/>
                    </a:lnTo>
                    <a:lnTo>
                      <a:pt x="1299" y="510"/>
                    </a:lnTo>
                    <a:lnTo>
                      <a:pt x="1299" y="515"/>
                    </a:lnTo>
                    <a:lnTo>
                      <a:pt x="1293" y="527"/>
                    </a:lnTo>
                    <a:lnTo>
                      <a:pt x="1287" y="527"/>
                    </a:lnTo>
                    <a:lnTo>
                      <a:pt x="1299" y="538"/>
                    </a:lnTo>
                    <a:lnTo>
                      <a:pt x="1287" y="578"/>
                    </a:lnTo>
                    <a:lnTo>
                      <a:pt x="1282" y="578"/>
                    </a:lnTo>
                    <a:lnTo>
                      <a:pt x="1282" y="584"/>
                    </a:lnTo>
                    <a:lnTo>
                      <a:pt x="1282" y="589"/>
                    </a:lnTo>
                    <a:lnTo>
                      <a:pt x="1282" y="595"/>
                    </a:lnTo>
                    <a:lnTo>
                      <a:pt x="1276" y="595"/>
                    </a:lnTo>
                    <a:lnTo>
                      <a:pt x="1276" y="601"/>
                    </a:lnTo>
                    <a:lnTo>
                      <a:pt x="1276" y="606"/>
                    </a:lnTo>
                    <a:lnTo>
                      <a:pt x="1270" y="606"/>
                    </a:lnTo>
                    <a:lnTo>
                      <a:pt x="1265" y="606"/>
                    </a:lnTo>
                    <a:lnTo>
                      <a:pt x="1265" y="612"/>
                    </a:lnTo>
                    <a:lnTo>
                      <a:pt x="1259" y="618"/>
                    </a:lnTo>
                    <a:lnTo>
                      <a:pt x="1253" y="618"/>
                    </a:lnTo>
                    <a:lnTo>
                      <a:pt x="1248" y="612"/>
                    </a:lnTo>
                    <a:lnTo>
                      <a:pt x="1236" y="601"/>
                    </a:lnTo>
                    <a:lnTo>
                      <a:pt x="1236" y="595"/>
                    </a:lnTo>
                    <a:lnTo>
                      <a:pt x="1231" y="595"/>
                    </a:lnTo>
                    <a:lnTo>
                      <a:pt x="1225" y="601"/>
                    </a:lnTo>
                    <a:lnTo>
                      <a:pt x="1219" y="606"/>
                    </a:lnTo>
                    <a:lnTo>
                      <a:pt x="1214" y="612"/>
                    </a:lnTo>
                    <a:lnTo>
                      <a:pt x="1208" y="618"/>
                    </a:lnTo>
                    <a:lnTo>
                      <a:pt x="1202" y="623"/>
                    </a:lnTo>
                    <a:lnTo>
                      <a:pt x="1202" y="629"/>
                    </a:lnTo>
                    <a:lnTo>
                      <a:pt x="1197" y="629"/>
                    </a:lnTo>
                    <a:lnTo>
                      <a:pt x="1191" y="629"/>
                    </a:lnTo>
                    <a:lnTo>
                      <a:pt x="1191" y="623"/>
                    </a:lnTo>
                    <a:lnTo>
                      <a:pt x="1197" y="623"/>
                    </a:lnTo>
                    <a:lnTo>
                      <a:pt x="1197" y="618"/>
                    </a:lnTo>
                    <a:lnTo>
                      <a:pt x="1191" y="618"/>
                    </a:lnTo>
                    <a:lnTo>
                      <a:pt x="1185" y="618"/>
                    </a:lnTo>
                    <a:lnTo>
                      <a:pt x="1185" y="623"/>
                    </a:lnTo>
                    <a:lnTo>
                      <a:pt x="1180" y="623"/>
                    </a:lnTo>
                    <a:lnTo>
                      <a:pt x="1174" y="618"/>
                    </a:lnTo>
                    <a:lnTo>
                      <a:pt x="1168" y="618"/>
                    </a:lnTo>
                    <a:lnTo>
                      <a:pt x="1163" y="618"/>
                    </a:lnTo>
                    <a:lnTo>
                      <a:pt x="1157" y="623"/>
                    </a:lnTo>
                    <a:lnTo>
                      <a:pt x="1151" y="623"/>
                    </a:lnTo>
                    <a:lnTo>
                      <a:pt x="1151" y="618"/>
                    </a:lnTo>
                    <a:lnTo>
                      <a:pt x="1146" y="618"/>
                    </a:lnTo>
                    <a:lnTo>
                      <a:pt x="1134" y="612"/>
                    </a:lnTo>
                    <a:lnTo>
                      <a:pt x="1134" y="606"/>
                    </a:lnTo>
                    <a:lnTo>
                      <a:pt x="1134" y="601"/>
                    </a:lnTo>
                    <a:lnTo>
                      <a:pt x="1129" y="601"/>
                    </a:lnTo>
                    <a:lnTo>
                      <a:pt x="1129" y="606"/>
                    </a:lnTo>
                    <a:lnTo>
                      <a:pt x="1123" y="612"/>
                    </a:lnTo>
                    <a:lnTo>
                      <a:pt x="1129" y="629"/>
                    </a:lnTo>
                    <a:lnTo>
                      <a:pt x="1123" y="629"/>
                    </a:lnTo>
                    <a:lnTo>
                      <a:pt x="1123" y="623"/>
                    </a:lnTo>
                    <a:lnTo>
                      <a:pt x="1123" y="618"/>
                    </a:lnTo>
                    <a:lnTo>
                      <a:pt x="1117" y="618"/>
                    </a:lnTo>
                    <a:lnTo>
                      <a:pt x="1112" y="618"/>
                    </a:lnTo>
                    <a:lnTo>
                      <a:pt x="1106" y="618"/>
                    </a:lnTo>
                    <a:lnTo>
                      <a:pt x="1100" y="623"/>
                    </a:lnTo>
                    <a:lnTo>
                      <a:pt x="1095" y="623"/>
                    </a:lnTo>
                    <a:lnTo>
                      <a:pt x="1095" y="618"/>
                    </a:lnTo>
                    <a:lnTo>
                      <a:pt x="1089" y="623"/>
                    </a:lnTo>
                    <a:lnTo>
                      <a:pt x="1078" y="629"/>
                    </a:lnTo>
                    <a:lnTo>
                      <a:pt x="1072" y="629"/>
                    </a:lnTo>
                    <a:lnTo>
                      <a:pt x="1066" y="635"/>
                    </a:lnTo>
                    <a:lnTo>
                      <a:pt x="1066" y="640"/>
                    </a:lnTo>
                    <a:lnTo>
                      <a:pt x="1061" y="640"/>
                    </a:lnTo>
                    <a:lnTo>
                      <a:pt x="1055" y="640"/>
                    </a:lnTo>
                    <a:lnTo>
                      <a:pt x="1055" y="635"/>
                    </a:lnTo>
                    <a:lnTo>
                      <a:pt x="1049" y="635"/>
                    </a:lnTo>
                    <a:lnTo>
                      <a:pt x="1044" y="640"/>
                    </a:lnTo>
                    <a:lnTo>
                      <a:pt x="1044" y="646"/>
                    </a:lnTo>
                    <a:lnTo>
                      <a:pt x="1038" y="646"/>
                    </a:lnTo>
                    <a:lnTo>
                      <a:pt x="1038" y="652"/>
                    </a:lnTo>
                    <a:lnTo>
                      <a:pt x="1032" y="652"/>
                    </a:lnTo>
                    <a:lnTo>
                      <a:pt x="1038" y="652"/>
                    </a:lnTo>
                    <a:lnTo>
                      <a:pt x="1038" y="657"/>
                    </a:lnTo>
                    <a:lnTo>
                      <a:pt x="1038" y="663"/>
                    </a:lnTo>
                    <a:lnTo>
                      <a:pt x="1032" y="663"/>
                    </a:lnTo>
                    <a:lnTo>
                      <a:pt x="1027" y="663"/>
                    </a:lnTo>
                    <a:lnTo>
                      <a:pt x="1021" y="663"/>
                    </a:lnTo>
                    <a:lnTo>
                      <a:pt x="1015" y="669"/>
                    </a:lnTo>
                    <a:lnTo>
                      <a:pt x="1010" y="669"/>
                    </a:lnTo>
                    <a:lnTo>
                      <a:pt x="1010" y="674"/>
                    </a:lnTo>
                    <a:lnTo>
                      <a:pt x="1004" y="674"/>
                    </a:lnTo>
                    <a:lnTo>
                      <a:pt x="1004" y="680"/>
                    </a:lnTo>
                    <a:lnTo>
                      <a:pt x="998" y="680"/>
                    </a:lnTo>
                    <a:lnTo>
                      <a:pt x="998" y="674"/>
                    </a:lnTo>
                    <a:lnTo>
                      <a:pt x="993" y="674"/>
                    </a:lnTo>
                    <a:lnTo>
                      <a:pt x="993" y="680"/>
                    </a:lnTo>
                    <a:lnTo>
                      <a:pt x="993" y="686"/>
                    </a:lnTo>
                    <a:lnTo>
                      <a:pt x="998" y="691"/>
                    </a:lnTo>
                    <a:lnTo>
                      <a:pt x="998" y="697"/>
                    </a:lnTo>
                    <a:lnTo>
                      <a:pt x="1004" y="697"/>
                    </a:lnTo>
                    <a:lnTo>
                      <a:pt x="1010" y="703"/>
                    </a:lnTo>
                    <a:lnTo>
                      <a:pt x="1010" y="708"/>
                    </a:lnTo>
                    <a:lnTo>
                      <a:pt x="1010" y="714"/>
                    </a:lnTo>
                    <a:lnTo>
                      <a:pt x="1010" y="720"/>
                    </a:lnTo>
                    <a:lnTo>
                      <a:pt x="1010" y="725"/>
                    </a:lnTo>
                    <a:lnTo>
                      <a:pt x="1004" y="725"/>
                    </a:lnTo>
                    <a:lnTo>
                      <a:pt x="1004" y="720"/>
                    </a:lnTo>
                    <a:lnTo>
                      <a:pt x="1004" y="725"/>
                    </a:lnTo>
                    <a:lnTo>
                      <a:pt x="998" y="731"/>
                    </a:lnTo>
                    <a:lnTo>
                      <a:pt x="1004" y="737"/>
                    </a:lnTo>
                    <a:lnTo>
                      <a:pt x="1010" y="737"/>
                    </a:lnTo>
                    <a:lnTo>
                      <a:pt x="1015" y="737"/>
                    </a:lnTo>
                    <a:lnTo>
                      <a:pt x="1015" y="742"/>
                    </a:lnTo>
                    <a:lnTo>
                      <a:pt x="1010" y="742"/>
                    </a:lnTo>
                    <a:lnTo>
                      <a:pt x="1004" y="742"/>
                    </a:lnTo>
                    <a:lnTo>
                      <a:pt x="998" y="742"/>
                    </a:lnTo>
                    <a:lnTo>
                      <a:pt x="993" y="742"/>
                    </a:lnTo>
                    <a:lnTo>
                      <a:pt x="993" y="748"/>
                    </a:lnTo>
                    <a:lnTo>
                      <a:pt x="987" y="748"/>
                    </a:lnTo>
                    <a:lnTo>
                      <a:pt x="981" y="742"/>
                    </a:lnTo>
                    <a:lnTo>
                      <a:pt x="970" y="742"/>
                    </a:lnTo>
                    <a:lnTo>
                      <a:pt x="964" y="748"/>
                    </a:lnTo>
                    <a:lnTo>
                      <a:pt x="964" y="754"/>
                    </a:lnTo>
                    <a:lnTo>
                      <a:pt x="958" y="754"/>
                    </a:lnTo>
                    <a:lnTo>
                      <a:pt x="958" y="748"/>
                    </a:lnTo>
                    <a:lnTo>
                      <a:pt x="953" y="748"/>
                    </a:lnTo>
                    <a:lnTo>
                      <a:pt x="947" y="748"/>
                    </a:lnTo>
                    <a:lnTo>
                      <a:pt x="947" y="754"/>
                    </a:lnTo>
                    <a:lnTo>
                      <a:pt x="941" y="754"/>
                    </a:lnTo>
                    <a:lnTo>
                      <a:pt x="936" y="759"/>
                    </a:lnTo>
                    <a:lnTo>
                      <a:pt x="936" y="765"/>
                    </a:lnTo>
                    <a:lnTo>
                      <a:pt x="936" y="771"/>
                    </a:lnTo>
                    <a:lnTo>
                      <a:pt x="936" y="776"/>
                    </a:lnTo>
                    <a:lnTo>
                      <a:pt x="930" y="776"/>
                    </a:lnTo>
                    <a:lnTo>
                      <a:pt x="924" y="776"/>
                    </a:lnTo>
                    <a:lnTo>
                      <a:pt x="924" y="782"/>
                    </a:lnTo>
                    <a:lnTo>
                      <a:pt x="919" y="782"/>
                    </a:lnTo>
                    <a:lnTo>
                      <a:pt x="913" y="788"/>
                    </a:lnTo>
                    <a:lnTo>
                      <a:pt x="907" y="793"/>
                    </a:lnTo>
                    <a:lnTo>
                      <a:pt x="902" y="793"/>
                    </a:lnTo>
                    <a:lnTo>
                      <a:pt x="902" y="799"/>
                    </a:lnTo>
                    <a:lnTo>
                      <a:pt x="896" y="799"/>
                    </a:lnTo>
                    <a:lnTo>
                      <a:pt x="890" y="816"/>
                    </a:lnTo>
                    <a:lnTo>
                      <a:pt x="890" y="827"/>
                    </a:lnTo>
                    <a:lnTo>
                      <a:pt x="896" y="827"/>
                    </a:lnTo>
                    <a:lnTo>
                      <a:pt x="890" y="827"/>
                    </a:lnTo>
                    <a:lnTo>
                      <a:pt x="890" y="833"/>
                    </a:lnTo>
                    <a:lnTo>
                      <a:pt x="885" y="833"/>
                    </a:lnTo>
                    <a:lnTo>
                      <a:pt x="879" y="833"/>
                    </a:lnTo>
                    <a:lnTo>
                      <a:pt x="879" y="827"/>
                    </a:lnTo>
                    <a:lnTo>
                      <a:pt x="873" y="810"/>
                    </a:lnTo>
                    <a:lnTo>
                      <a:pt x="862" y="805"/>
                    </a:lnTo>
                    <a:lnTo>
                      <a:pt x="856" y="805"/>
                    </a:lnTo>
                    <a:lnTo>
                      <a:pt x="845" y="805"/>
                    </a:lnTo>
                    <a:lnTo>
                      <a:pt x="839" y="805"/>
                    </a:lnTo>
                    <a:lnTo>
                      <a:pt x="834" y="805"/>
                    </a:lnTo>
                    <a:lnTo>
                      <a:pt x="834" y="793"/>
                    </a:lnTo>
                    <a:lnTo>
                      <a:pt x="828" y="793"/>
                    </a:lnTo>
                    <a:lnTo>
                      <a:pt x="822" y="793"/>
                    </a:lnTo>
                    <a:lnTo>
                      <a:pt x="805" y="805"/>
                    </a:lnTo>
                    <a:lnTo>
                      <a:pt x="794" y="810"/>
                    </a:lnTo>
                    <a:lnTo>
                      <a:pt x="788" y="816"/>
                    </a:lnTo>
                    <a:lnTo>
                      <a:pt x="783" y="822"/>
                    </a:lnTo>
                    <a:lnTo>
                      <a:pt x="777" y="822"/>
                    </a:lnTo>
                    <a:lnTo>
                      <a:pt x="771" y="816"/>
                    </a:lnTo>
                    <a:lnTo>
                      <a:pt x="760" y="816"/>
                    </a:lnTo>
                    <a:lnTo>
                      <a:pt x="760" y="822"/>
                    </a:lnTo>
                    <a:lnTo>
                      <a:pt x="754" y="822"/>
                    </a:lnTo>
                    <a:lnTo>
                      <a:pt x="754" y="827"/>
                    </a:lnTo>
                    <a:lnTo>
                      <a:pt x="749" y="827"/>
                    </a:lnTo>
                    <a:lnTo>
                      <a:pt x="743" y="827"/>
                    </a:lnTo>
                    <a:lnTo>
                      <a:pt x="737" y="827"/>
                    </a:lnTo>
                    <a:lnTo>
                      <a:pt x="732" y="827"/>
                    </a:lnTo>
                    <a:lnTo>
                      <a:pt x="726" y="833"/>
                    </a:lnTo>
                    <a:lnTo>
                      <a:pt x="720" y="833"/>
                    </a:lnTo>
                    <a:lnTo>
                      <a:pt x="715" y="839"/>
                    </a:lnTo>
                    <a:lnTo>
                      <a:pt x="709" y="839"/>
                    </a:lnTo>
                    <a:lnTo>
                      <a:pt x="709" y="844"/>
                    </a:lnTo>
                    <a:lnTo>
                      <a:pt x="703" y="844"/>
                    </a:lnTo>
                    <a:lnTo>
                      <a:pt x="703" y="850"/>
                    </a:lnTo>
                    <a:lnTo>
                      <a:pt x="698" y="850"/>
                    </a:lnTo>
                    <a:lnTo>
                      <a:pt x="698" y="856"/>
                    </a:lnTo>
                    <a:lnTo>
                      <a:pt x="692" y="856"/>
                    </a:lnTo>
                    <a:lnTo>
                      <a:pt x="686" y="856"/>
                    </a:lnTo>
                    <a:lnTo>
                      <a:pt x="681" y="861"/>
                    </a:lnTo>
                    <a:lnTo>
                      <a:pt x="675" y="867"/>
                    </a:lnTo>
                    <a:lnTo>
                      <a:pt x="681" y="867"/>
                    </a:lnTo>
                    <a:lnTo>
                      <a:pt x="681" y="873"/>
                    </a:lnTo>
                    <a:lnTo>
                      <a:pt x="675" y="873"/>
                    </a:lnTo>
                    <a:lnTo>
                      <a:pt x="669" y="878"/>
                    </a:lnTo>
                    <a:lnTo>
                      <a:pt x="664" y="878"/>
                    </a:lnTo>
                    <a:lnTo>
                      <a:pt x="664" y="884"/>
                    </a:lnTo>
                    <a:lnTo>
                      <a:pt x="658" y="884"/>
                    </a:lnTo>
                    <a:lnTo>
                      <a:pt x="652" y="890"/>
                    </a:lnTo>
                    <a:lnTo>
                      <a:pt x="647" y="890"/>
                    </a:lnTo>
                    <a:lnTo>
                      <a:pt x="647" y="895"/>
                    </a:lnTo>
                    <a:lnTo>
                      <a:pt x="635" y="901"/>
                    </a:lnTo>
                    <a:lnTo>
                      <a:pt x="635" y="912"/>
                    </a:lnTo>
                    <a:lnTo>
                      <a:pt x="630" y="924"/>
                    </a:lnTo>
                    <a:lnTo>
                      <a:pt x="624" y="924"/>
                    </a:lnTo>
                    <a:lnTo>
                      <a:pt x="618" y="924"/>
                    </a:lnTo>
                    <a:lnTo>
                      <a:pt x="607" y="929"/>
                    </a:lnTo>
                    <a:lnTo>
                      <a:pt x="601" y="929"/>
                    </a:lnTo>
                    <a:lnTo>
                      <a:pt x="596" y="935"/>
                    </a:lnTo>
                    <a:lnTo>
                      <a:pt x="590" y="935"/>
                    </a:lnTo>
                    <a:lnTo>
                      <a:pt x="567" y="884"/>
                    </a:lnTo>
                    <a:lnTo>
                      <a:pt x="567" y="878"/>
                    </a:lnTo>
                    <a:lnTo>
                      <a:pt x="573" y="878"/>
                    </a:lnTo>
                    <a:lnTo>
                      <a:pt x="579" y="873"/>
                    </a:lnTo>
                    <a:lnTo>
                      <a:pt x="579" y="867"/>
                    </a:lnTo>
                    <a:lnTo>
                      <a:pt x="584" y="867"/>
                    </a:lnTo>
                    <a:lnTo>
                      <a:pt x="590" y="861"/>
                    </a:lnTo>
                    <a:lnTo>
                      <a:pt x="590" y="856"/>
                    </a:lnTo>
                    <a:lnTo>
                      <a:pt x="596" y="856"/>
                    </a:lnTo>
                    <a:lnTo>
                      <a:pt x="596" y="850"/>
                    </a:lnTo>
                    <a:lnTo>
                      <a:pt x="601" y="844"/>
                    </a:lnTo>
                    <a:lnTo>
                      <a:pt x="607" y="844"/>
                    </a:lnTo>
                    <a:lnTo>
                      <a:pt x="607" y="839"/>
                    </a:lnTo>
                    <a:lnTo>
                      <a:pt x="613" y="839"/>
                    </a:lnTo>
                    <a:lnTo>
                      <a:pt x="618" y="833"/>
                    </a:lnTo>
                    <a:lnTo>
                      <a:pt x="618" y="827"/>
                    </a:lnTo>
                    <a:lnTo>
                      <a:pt x="613" y="822"/>
                    </a:lnTo>
                    <a:lnTo>
                      <a:pt x="590" y="822"/>
                    </a:lnTo>
                    <a:lnTo>
                      <a:pt x="573" y="827"/>
                    </a:lnTo>
                    <a:lnTo>
                      <a:pt x="562" y="827"/>
                    </a:lnTo>
                    <a:lnTo>
                      <a:pt x="556" y="827"/>
                    </a:lnTo>
                    <a:lnTo>
                      <a:pt x="556" y="822"/>
                    </a:lnTo>
                    <a:lnTo>
                      <a:pt x="556" y="816"/>
                    </a:lnTo>
                    <a:lnTo>
                      <a:pt x="550" y="810"/>
                    </a:lnTo>
                    <a:lnTo>
                      <a:pt x="550" y="805"/>
                    </a:lnTo>
                    <a:lnTo>
                      <a:pt x="545" y="805"/>
                    </a:lnTo>
                    <a:lnTo>
                      <a:pt x="545" y="810"/>
                    </a:lnTo>
                    <a:lnTo>
                      <a:pt x="533" y="810"/>
                    </a:lnTo>
                    <a:lnTo>
                      <a:pt x="528" y="810"/>
                    </a:lnTo>
                    <a:lnTo>
                      <a:pt x="528" y="816"/>
                    </a:lnTo>
                    <a:lnTo>
                      <a:pt x="528" y="822"/>
                    </a:lnTo>
                    <a:lnTo>
                      <a:pt x="528" y="827"/>
                    </a:lnTo>
                    <a:lnTo>
                      <a:pt x="528" y="833"/>
                    </a:lnTo>
                    <a:lnTo>
                      <a:pt x="533" y="833"/>
                    </a:lnTo>
                    <a:lnTo>
                      <a:pt x="533" y="839"/>
                    </a:lnTo>
                    <a:lnTo>
                      <a:pt x="533" y="844"/>
                    </a:lnTo>
                    <a:lnTo>
                      <a:pt x="528" y="850"/>
                    </a:lnTo>
                    <a:lnTo>
                      <a:pt x="528" y="856"/>
                    </a:lnTo>
                    <a:lnTo>
                      <a:pt x="533" y="856"/>
                    </a:lnTo>
                    <a:lnTo>
                      <a:pt x="533" y="861"/>
                    </a:lnTo>
                    <a:lnTo>
                      <a:pt x="528" y="861"/>
                    </a:lnTo>
                    <a:lnTo>
                      <a:pt x="528" y="867"/>
                    </a:lnTo>
                    <a:lnTo>
                      <a:pt x="522" y="867"/>
                    </a:lnTo>
                    <a:lnTo>
                      <a:pt x="516" y="873"/>
                    </a:lnTo>
                    <a:lnTo>
                      <a:pt x="516" y="878"/>
                    </a:lnTo>
                    <a:lnTo>
                      <a:pt x="511" y="878"/>
                    </a:lnTo>
                    <a:lnTo>
                      <a:pt x="511" y="884"/>
                    </a:lnTo>
                    <a:lnTo>
                      <a:pt x="511" y="890"/>
                    </a:lnTo>
                    <a:lnTo>
                      <a:pt x="511" y="895"/>
                    </a:lnTo>
                    <a:lnTo>
                      <a:pt x="511" y="901"/>
                    </a:lnTo>
                    <a:lnTo>
                      <a:pt x="511" y="907"/>
                    </a:lnTo>
                    <a:lnTo>
                      <a:pt x="505" y="907"/>
                    </a:lnTo>
                    <a:lnTo>
                      <a:pt x="505" y="912"/>
                    </a:lnTo>
                    <a:lnTo>
                      <a:pt x="499" y="912"/>
                    </a:lnTo>
                    <a:lnTo>
                      <a:pt x="499" y="918"/>
                    </a:lnTo>
                    <a:lnTo>
                      <a:pt x="494" y="918"/>
                    </a:lnTo>
                    <a:lnTo>
                      <a:pt x="494" y="924"/>
                    </a:lnTo>
                    <a:lnTo>
                      <a:pt x="488" y="929"/>
                    </a:lnTo>
                    <a:lnTo>
                      <a:pt x="482" y="929"/>
                    </a:lnTo>
                    <a:lnTo>
                      <a:pt x="482" y="935"/>
                    </a:lnTo>
                    <a:lnTo>
                      <a:pt x="477" y="929"/>
                    </a:lnTo>
                    <a:lnTo>
                      <a:pt x="465" y="918"/>
                    </a:lnTo>
                    <a:lnTo>
                      <a:pt x="460" y="918"/>
                    </a:lnTo>
                    <a:lnTo>
                      <a:pt x="460" y="912"/>
                    </a:lnTo>
                    <a:lnTo>
                      <a:pt x="465" y="907"/>
                    </a:lnTo>
                    <a:lnTo>
                      <a:pt x="465" y="901"/>
                    </a:lnTo>
                    <a:lnTo>
                      <a:pt x="460" y="895"/>
                    </a:lnTo>
                    <a:lnTo>
                      <a:pt x="460" y="890"/>
                    </a:lnTo>
                    <a:lnTo>
                      <a:pt x="454" y="890"/>
                    </a:lnTo>
                    <a:lnTo>
                      <a:pt x="448" y="890"/>
                    </a:lnTo>
                    <a:lnTo>
                      <a:pt x="443" y="890"/>
                    </a:lnTo>
                    <a:lnTo>
                      <a:pt x="437" y="878"/>
                    </a:lnTo>
                    <a:lnTo>
                      <a:pt x="448" y="873"/>
                    </a:lnTo>
                    <a:lnTo>
                      <a:pt x="448" y="867"/>
                    </a:lnTo>
                    <a:lnTo>
                      <a:pt x="454" y="867"/>
                    </a:lnTo>
                    <a:lnTo>
                      <a:pt x="460" y="861"/>
                    </a:lnTo>
                    <a:lnTo>
                      <a:pt x="460" y="856"/>
                    </a:lnTo>
                    <a:lnTo>
                      <a:pt x="465" y="850"/>
                    </a:lnTo>
                    <a:lnTo>
                      <a:pt x="460" y="850"/>
                    </a:lnTo>
                    <a:lnTo>
                      <a:pt x="460" y="839"/>
                    </a:lnTo>
                    <a:lnTo>
                      <a:pt x="460" y="833"/>
                    </a:lnTo>
                    <a:lnTo>
                      <a:pt x="465" y="833"/>
                    </a:lnTo>
                    <a:lnTo>
                      <a:pt x="460" y="827"/>
                    </a:lnTo>
                    <a:lnTo>
                      <a:pt x="454" y="827"/>
                    </a:lnTo>
                    <a:lnTo>
                      <a:pt x="460" y="822"/>
                    </a:lnTo>
                    <a:lnTo>
                      <a:pt x="414" y="833"/>
                    </a:lnTo>
                    <a:lnTo>
                      <a:pt x="375" y="839"/>
                    </a:lnTo>
                    <a:lnTo>
                      <a:pt x="369" y="833"/>
                    </a:lnTo>
                    <a:lnTo>
                      <a:pt x="375" y="805"/>
                    </a:lnTo>
                    <a:lnTo>
                      <a:pt x="358" y="799"/>
                    </a:lnTo>
                    <a:lnTo>
                      <a:pt x="363" y="754"/>
                    </a:lnTo>
                    <a:lnTo>
                      <a:pt x="369" y="737"/>
                    </a:lnTo>
                    <a:lnTo>
                      <a:pt x="352" y="720"/>
                    </a:lnTo>
                    <a:lnTo>
                      <a:pt x="352" y="725"/>
                    </a:lnTo>
                    <a:lnTo>
                      <a:pt x="346" y="731"/>
                    </a:lnTo>
                    <a:lnTo>
                      <a:pt x="346" y="737"/>
                    </a:lnTo>
                    <a:lnTo>
                      <a:pt x="346" y="742"/>
                    </a:lnTo>
                    <a:lnTo>
                      <a:pt x="346" y="748"/>
                    </a:lnTo>
                    <a:lnTo>
                      <a:pt x="346" y="754"/>
                    </a:lnTo>
                    <a:lnTo>
                      <a:pt x="341" y="754"/>
                    </a:lnTo>
                    <a:lnTo>
                      <a:pt x="324" y="748"/>
                    </a:lnTo>
                    <a:lnTo>
                      <a:pt x="318" y="754"/>
                    </a:lnTo>
                    <a:lnTo>
                      <a:pt x="318" y="759"/>
                    </a:lnTo>
                    <a:lnTo>
                      <a:pt x="324" y="759"/>
                    </a:lnTo>
                    <a:lnTo>
                      <a:pt x="329" y="765"/>
                    </a:lnTo>
                    <a:lnTo>
                      <a:pt x="324" y="771"/>
                    </a:lnTo>
                    <a:lnTo>
                      <a:pt x="318" y="771"/>
                    </a:lnTo>
                    <a:lnTo>
                      <a:pt x="301" y="771"/>
                    </a:lnTo>
                    <a:lnTo>
                      <a:pt x="295" y="771"/>
                    </a:lnTo>
                    <a:lnTo>
                      <a:pt x="284" y="788"/>
                    </a:lnTo>
                    <a:lnTo>
                      <a:pt x="267" y="776"/>
                    </a:lnTo>
                    <a:lnTo>
                      <a:pt x="256" y="776"/>
                    </a:lnTo>
                    <a:lnTo>
                      <a:pt x="244" y="765"/>
                    </a:lnTo>
                    <a:lnTo>
                      <a:pt x="239" y="765"/>
                    </a:lnTo>
                    <a:lnTo>
                      <a:pt x="227" y="765"/>
                    </a:lnTo>
                    <a:lnTo>
                      <a:pt x="210" y="765"/>
                    </a:lnTo>
                    <a:lnTo>
                      <a:pt x="216" y="759"/>
                    </a:lnTo>
                    <a:lnTo>
                      <a:pt x="216" y="754"/>
                    </a:lnTo>
                    <a:lnTo>
                      <a:pt x="210" y="754"/>
                    </a:lnTo>
                    <a:lnTo>
                      <a:pt x="205" y="748"/>
                    </a:lnTo>
                    <a:lnTo>
                      <a:pt x="199" y="748"/>
                    </a:lnTo>
                    <a:lnTo>
                      <a:pt x="193" y="748"/>
                    </a:lnTo>
                    <a:lnTo>
                      <a:pt x="182" y="737"/>
                    </a:lnTo>
                    <a:lnTo>
                      <a:pt x="176" y="737"/>
                    </a:lnTo>
                    <a:lnTo>
                      <a:pt x="171" y="731"/>
                    </a:lnTo>
                    <a:lnTo>
                      <a:pt x="159" y="731"/>
                    </a:lnTo>
                    <a:lnTo>
                      <a:pt x="148" y="731"/>
                    </a:lnTo>
                    <a:lnTo>
                      <a:pt x="142" y="720"/>
                    </a:lnTo>
                    <a:lnTo>
                      <a:pt x="131" y="714"/>
                    </a:lnTo>
                    <a:lnTo>
                      <a:pt x="125" y="708"/>
                    </a:lnTo>
                    <a:lnTo>
                      <a:pt x="125" y="703"/>
                    </a:lnTo>
                    <a:lnTo>
                      <a:pt x="120" y="703"/>
                    </a:lnTo>
                    <a:lnTo>
                      <a:pt x="114" y="691"/>
                    </a:lnTo>
                    <a:lnTo>
                      <a:pt x="108" y="691"/>
                    </a:lnTo>
                    <a:lnTo>
                      <a:pt x="108" y="697"/>
                    </a:lnTo>
                    <a:lnTo>
                      <a:pt x="97" y="697"/>
                    </a:lnTo>
                    <a:lnTo>
                      <a:pt x="97" y="691"/>
                    </a:lnTo>
                    <a:lnTo>
                      <a:pt x="91" y="686"/>
                    </a:lnTo>
                    <a:lnTo>
                      <a:pt x="91" y="680"/>
                    </a:lnTo>
                    <a:lnTo>
                      <a:pt x="86" y="669"/>
                    </a:lnTo>
                    <a:lnTo>
                      <a:pt x="91" y="657"/>
                    </a:lnTo>
                    <a:lnTo>
                      <a:pt x="91" y="652"/>
                    </a:lnTo>
                    <a:lnTo>
                      <a:pt x="91" y="646"/>
                    </a:lnTo>
                    <a:lnTo>
                      <a:pt x="103" y="646"/>
                    </a:lnTo>
                    <a:lnTo>
                      <a:pt x="108" y="640"/>
                    </a:lnTo>
                    <a:lnTo>
                      <a:pt x="114" y="640"/>
                    </a:lnTo>
                    <a:lnTo>
                      <a:pt x="114" y="635"/>
                    </a:lnTo>
                    <a:lnTo>
                      <a:pt x="108" y="635"/>
                    </a:lnTo>
                    <a:lnTo>
                      <a:pt x="103" y="629"/>
                    </a:lnTo>
                    <a:lnTo>
                      <a:pt x="103" y="623"/>
                    </a:lnTo>
                    <a:lnTo>
                      <a:pt x="103" y="612"/>
                    </a:lnTo>
                    <a:lnTo>
                      <a:pt x="97" y="612"/>
                    </a:lnTo>
                    <a:lnTo>
                      <a:pt x="97" y="606"/>
                    </a:lnTo>
                    <a:lnTo>
                      <a:pt x="91" y="601"/>
                    </a:lnTo>
                    <a:lnTo>
                      <a:pt x="97" y="589"/>
                    </a:lnTo>
                    <a:lnTo>
                      <a:pt x="103" y="584"/>
                    </a:lnTo>
                    <a:lnTo>
                      <a:pt x="103" y="578"/>
                    </a:lnTo>
                    <a:lnTo>
                      <a:pt x="97" y="572"/>
                    </a:lnTo>
                    <a:lnTo>
                      <a:pt x="97" y="566"/>
                    </a:lnTo>
                    <a:lnTo>
                      <a:pt x="103" y="561"/>
                    </a:lnTo>
                    <a:lnTo>
                      <a:pt x="108" y="555"/>
                    </a:lnTo>
                    <a:lnTo>
                      <a:pt x="108" y="549"/>
                    </a:lnTo>
                    <a:lnTo>
                      <a:pt x="103" y="549"/>
                    </a:lnTo>
                    <a:lnTo>
                      <a:pt x="97" y="549"/>
                    </a:lnTo>
                    <a:lnTo>
                      <a:pt x="91" y="544"/>
                    </a:lnTo>
                    <a:lnTo>
                      <a:pt x="86" y="538"/>
                    </a:lnTo>
                    <a:lnTo>
                      <a:pt x="80" y="538"/>
                    </a:lnTo>
                    <a:lnTo>
                      <a:pt x="80" y="544"/>
                    </a:lnTo>
                    <a:lnTo>
                      <a:pt x="80" y="538"/>
                    </a:lnTo>
                    <a:lnTo>
                      <a:pt x="74" y="532"/>
                    </a:lnTo>
                    <a:lnTo>
                      <a:pt x="68" y="527"/>
                    </a:lnTo>
                    <a:lnTo>
                      <a:pt x="63" y="532"/>
                    </a:lnTo>
                    <a:lnTo>
                      <a:pt x="57" y="532"/>
                    </a:lnTo>
                    <a:lnTo>
                      <a:pt x="57" y="527"/>
                    </a:lnTo>
                    <a:lnTo>
                      <a:pt x="51" y="521"/>
                    </a:lnTo>
                    <a:lnTo>
                      <a:pt x="46" y="527"/>
                    </a:lnTo>
                    <a:lnTo>
                      <a:pt x="40" y="521"/>
                    </a:lnTo>
                    <a:lnTo>
                      <a:pt x="34" y="521"/>
                    </a:lnTo>
                    <a:lnTo>
                      <a:pt x="29" y="521"/>
                    </a:lnTo>
                    <a:lnTo>
                      <a:pt x="23" y="521"/>
                    </a:lnTo>
                    <a:lnTo>
                      <a:pt x="17" y="521"/>
                    </a:lnTo>
                    <a:lnTo>
                      <a:pt x="17" y="515"/>
                    </a:lnTo>
                    <a:lnTo>
                      <a:pt x="17" y="504"/>
                    </a:lnTo>
                    <a:lnTo>
                      <a:pt x="12" y="498"/>
                    </a:lnTo>
                    <a:lnTo>
                      <a:pt x="12" y="487"/>
                    </a:lnTo>
                    <a:lnTo>
                      <a:pt x="17" y="481"/>
                    </a:lnTo>
                    <a:lnTo>
                      <a:pt x="17" y="402"/>
                    </a:lnTo>
                    <a:lnTo>
                      <a:pt x="0" y="396"/>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61" name="Freeform 14"/>
              <p:cNvSpPr>
                <a:spLocks/>
              </p:cNvSpPr>
              <p:nvPr>
                <p:custDataLst>
                  <p:tags r:id="rId11"/>
                </p:custDataLst>
              </p:nvPr>
            </p:nvSpPr>
            <p:spPr bwMode="gray">
              <a:xfrm>
                <a:off x="2746120" y="2013925"/>
                <a:ext cx="438222" cy="411086"/>
              </a:xfrm>
              <a:custGeom>
                <a:avLst/>
                <a:gdLst>
                  <a:gd name="T0" fmla="*/ 27779 w 504"/>
                  <a:gd name="T1" fmla="*/ 105437 h 471"/>
                  <a:gd name="T2" fmla="*/ 30774 w 504"/>
                  <a:gd name="T3" fmla="*/ 99155 h 471"/>
                  <a:gd name="T4" fmla="*/ 23149 w 504"/>
                  <a:gd name="T5" fmla="*/ 94511 h 471"/>
                  <a:gd name="T6" fmla="*/ 2996 w 504"/>
                  <a:gd name="T7" fmla="*/ 100794 h 471"/>
                  <a:gd name="T8" fmla="*/ 0 w 504"/>
                  <a:gd name="T9" fmla="*/ 91506 h 471"/>
                  <a:gd name="T10" fmla="*/ 13889 w 504"/>
                  <a:gd name="T11" fmla="*/ 74298 h 471"/>
                  <a:gd name="T12" fmla="*/ 20153 w 504"/>
                  <a:gd name="T13" fmla="*/ 62006 h 471"/>
                  <a:gd name="T14" fmla="*/ 34043 w 504"/>
                  <a:gd name="T15" fmla="*/ 46436 h 471"/>
                  <a:gd name="T16" fmla="*/ 41668 w 504"/>
                  <a:gd name="T17" fmla="*/ 54357 h 471"/>
                  <a:gd name="T18" fmla="*/ 57192 w 504"/>
                  <a:gd name="T19" fmla="*/ 51080 h 471"/>
                  <a:gd name="T20" fmla="*/ 60188 w 504"/>
                  <a:gd name="T21" fmla="*/ 43431 h 471"/>
                  <a:gd name="T22" fmla="*/ 60188 w 504"/>
                  <a:gd name="T23" fmla="*/ 35783 h 471"/>
                  <a:gd name="T24" fmla="*/ 64818 w 504"/>
                  <a:gd name="T25" fmla="*/ 34144 h 471"/>
                  <a:gd name="T26" fmla="*/ 69448 w 504"/>
                  <a:gd name="T27" fmla="*/ 29501 h 471"/>
                  <a:gd name="T28" fmla="*/ 67813 w 504"/>
                  <a:gd name="T29" fmla="*/ 21852 h 471"/>
                  <a:gd name="T30" fmla="*/ 72443 w 504"/>
                  <a:gd name="T31" fmla="*/ 17209 h 471"/>
                  <a:gd name="T32" fmla="*/ 72443 w 504"/>
                  <a:gd name="T33" fmla="*/ 21852 h 471"/>
                  <a:gd name="T34" fmla="*/ 78707 w 504"/>
                  <a:gd name="T35" fmla="*/ 20213 h 471"/>
                  <a:gd name="T36" fmla="*/ 89601 w 504"/>
                  <a:gd name="T37" fmla="*/ 10926 h 471"/>
                  <a:gd name="T38" fmla="*/ 98861 w 504"/>
                  <a:gd name="T39" fmla="*/ 7921 h 471"/>
                  <a:gd name="T40" fmla="*/ 111116 w 504"/>
                  <a:gd name="T41" fmla="*/ 4644 h 471"/>
                  <a:gd name="T42" fmla="*/ 108121 w 504"/>
                  <a:gd name="T43" fmla="*/ 0 h 471"/>
                  <a:gd name="T44" fmla="*/ 117380 w 504"/>
                  <a:gd name="T45" fmla="*/ 0 h 471"/>
                  <a:gd name="T46" fmla="*/ 114112 w 504"/>
                  <a:gd name="T47" fmla="*/ 7921 h 471"/>
                  <a:gd name="T48" fmla="*/ 109482 w 504"/>
                  <a:gd name="T49" fmla="*/ 12565 h 471"/>
                  <a:gd name="T50" fmla="*/ 108121 w 504"/>
                  <a:gd name="T51" fmla="*/ 20213 h 471"/>
                  <a:gd name="T52" fmla="*/ 108121 w 504"/>
                  <a:gd name="T53" fmla="*/ 24857 h 471"/>
                  <a:gd name="T54" fmla="*/ 108121 w 504"/>
                  <a:gd name="T55" fmla="*/ 31140 h 471"/>
                  <a:gd name="T56" fmla="*/ 120376 w 504"/>
                  <a:gd name="T57" fmla="*/ 40427 h 471"/>
                  <a:gd name="T58" fmla="*/ 125006 w 504"/>
                  <a:gd name="T59" fmla="*/ 37149 h 471"/>
                  <a:gd name="T60" fmla="*/ 135899 w 504"/>
                  <a:gd name="T61" fmla="*/ 29501 h 471"/>
                  <a:gd name="T62" fmla="*/ 129636 w 504"/>
                  <a:gd name="T63" fmla="*/ 40427 h 471"/>
                  <a:gd name="T64" fmla="*/ 128002 w 504"/>
                  <a:gd name="T65" fmla="*/ 52719 h 471"/>
                  <a:gd name="T66" fmla="*/ 114112 w 504"/>
                  <a:gd name="T67" fmla="*/ 62006 h 471"/>
                  <a:gd name="T68" fmla="*/ 98861 w 504"/>
                  <a:gd name="T69" fmla="*/ 68289 h 471"/>
                  <a:gd name="T70" fmla="*/ 95593 w 504"/>
                  <a:gd name="T71" fmla="*/ 72932 h 471"/>
                  <a:gd name="T72" fmla="*/ 97227 w 504"/>
                  <a:gd name="T73" fmla="*/ 78942 h 471"/>
                  <a:gd name="T74" fmla="*/ 103491 w 504"/>
                  <a:gd name="T75" fmla="*/ 85224 h 471"/>
                  <a:gd name="T76" fmla="*/ 109482 w 504"/>
                  <a:gd name="T77" fmla="*/ 89868 h 471"/>
                  <a:gd name="T78" fmla="*/ 118742 w 504"/>
                  <a:gd name="T79" fmla="*/ 86863 h 471"/>
                  <a:gd name="T80" fmla="*/ 104852 w 504"/>
                  <a:gd name="T81" fmla="*/ 102159 h 471"/>
                  <a:gd name="T82" fmla="*/ 95593 w 504"/>
                  <a:gd name="T83" fmla="*/ 105437 h 471"/>
                  <a:gd name="T84" fmla="*/ 89601 w 504"/>
                  <a:gd name="T85" fmla="*/ 111447 h 471"/>
                  <a:gd name="T86" fmla="*/ 86333 w 504"/>
                  <a:gd name="T87" fmla="*/ 119369 h 471"/>
                  <a:gd name="T88" fmla="*/ 80341 w 504"/>
                  <a:gd name="T89" fmla="*/ 125651 h 471"/>
                  <a:gd name="T90" fmla="*/ 77073 w 504"/>
                  <a:gd name="T91" fmla="*/ 127017 h 471"/>
                  <a:gd name="T92" fmla="*/ 72443 w 504"/>
                  <a:gd name="T93" fmla="*/ 128655 h 471"/>
                  <a:gd name="T94" fmla="*/ 67813 w 504"/>
                  <a:gd name="T95" fmla="*/ 125651 h 471"/>
                  <a:gd name="T96" fmla="*/ 63184 w 504"/>
                  <a:gd name="T97" fmla="*/ 122373 h 471"/>
                  <a:gd name="T98" fmla="*/ 60188 w 504"/>
                  <a:gd name="T99" fmla="*/ 119369 h 471"/>
                  <a:gd name="T100" fmla="*/ 60188 w 504"/>
                  <a:gd name="T101" fmla="*/ 113086 h 471"/>
                  <a:gd name="T102" fmla="*/ 55558 w 504"/>
                  <a:gd name="T103" fmla="*/ 111447 h 471"/>
                  <a:gd name="T104" fmla="*/ 52562 w 504"/>
                  <a:gd name="T105" fmla="*/ 116090 h 471"/>
                  <a:gd name="T106" fmla="*/ 49294 w 504"/>
                  <a:gd name="T107" fmla="*/ 117729 h 471"/>
                  <a:gd name="T108" fmla="*/ 43302 w 504"/>
                  <a:gd name="T109" fmla="*/ 119369 h 471"/>
                  <a:gd name="T110" fmla="*/ 38673 w 504"/>
                  <a:gd name="T111" fmla="*/ 117729 h 471"/>
                  <a:gd name="T112" fmla="*/ 34043 w 504"/>
                  <a:gd name="T113" fmla="*/ 117729 h 471"/>
                  <a:gd name="T114" fmla="*/ 29413 w 504"/>
                  <a:gd name="T115" fmla="*/ 116090 h 471"/>
                  <a:gd name="T116" fmla="*/ 26145 w 504"/>
                  <a:gd name="T117" fmla="*/ 119369 h 4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04" h="471">
                    <a:moveTo>
                      <a:pt x="96" y="437"/>
                    </a:moveTo>
                    <a:lnTo>
                      <a:pt x="108" y="397"/>
                    </a:lnTo>
                    <a:lnTo>
                      <a:pt x="96" y="386"/>
                    </a:lnTo>
                    <a:lnTo>
                      <a:pt x="102" y="386"/>
                    </a:lnTo>
                    <a:lnTo>
                      <a:pt x="108" y="374"/>
                    </a:lnTo>
                    <a:lnTo>
                      <a:pt x="108" y="369"/>
                    </a:lnTo>
                    <a:lnTo>
                      <a:pt x="108" y="363"/>
                    </a:lnTo>
                    <a:lnTo>
                      <a:pt x="113" y="363"/>
                    </a:lnTo>
                    <a:lnTo>
                      <a:pt x="113" y="352"/>
                    </a:lnTo>
                    <a:lnTo>
                      <a:pt x="91" y="352"/>
                    </a:lnTo>
                    <a:lnTo>
                      <a:pt x="91" y="346"/>
                    </a:lnTo>
                    <a:lnTo>
                      <a:pt x="85" y="346"/>
                    </a:lnTo>
                    <a:lnTo>
                      <a:pt x="85" y="340"/>
                    </a:lnTo>
                    <a:lnTo>
                      <a:pt x="45" y="346"/>
                    </a:lnTo>
                    <a:lnTo>
                      <a:pt x="45" y="357"/>
                    </a:lnTo>
                    <a:lnTo>
                      <a:pt x="11" y="369"/>
                    </a:lnTo>
                    <a:lnTo>
                      <a:pt x="17" y="357"/>
                    </a:lnTo>
                    <a:lnTo>
                      <a:pt x="11" y="357"/>
                    </a:lnTo>
                    <a:lnTo>
                      <a:pt x="11" y="346"/>
                    </a:lnTo>
                    <a:lnTo>
                      <a:pt x="0" y="335"/>
                    </a:lnTo>
                    <a:lnTo>
                      <a:pt x="17" y="323"/>
                    </a:lnTo>
                    <a:lnTo>
                      <a:pt x="40" y="312"/>
                    </a:lnTo>
                    <a:lnTo>
                      <a:pt x="34" y="272"/>
                    </a:lnTo>
                    <a:lnTo>
                      <a:pt x="51" y="272"/>
                    </a:lnTo>
                    <a:lnTo>
                      <a:pt x="51" y="267"/>
                    </a:lnTo>
                    <a:lnTo>
                      <a:pt x="68" y="261"/>
                    </a:lnTo>
                    <a:lnTo>
                      <a:pt x="68" y="255"/>
                    </a:lnTo>
                    <a:lnTo>
                      <a:pt x="74" y="227"/>
                    </a:lnTo>
                    <a:lnTo>
                      <a:pt x="79" y="216"/>
                    </a:lnTo>
                    <a:lnTo>
                      <a:pt x="79" y="193"/>
                    </a:lnTo>
                    <a:lnTo>
                      <a:pt x="102" y="187"/>
                    </a:lnTo>
                    <a:lnTo>
                      <a:pt x="125" y="170"/>
                    </a:lnTo>
                    <a:lnTo>
                      <a:pt x="130" y="182"/>
                    </a:lnTo>
                    <a:lnTo>
                      <a:pt x="136" y="193"/>
                    </a:lnTo>
                    <a:lnTo>
                      <a:pt x="153" y="187"/>
                    </a:lnTo>
                    <a:lnTo>
                      <a:pt x="153" y="199"/>
                    </a:lnTo>
                    <a:lnTo>
                      <a:pt x="176" y="193"/>
                    </a:lnTo>
                    <a:lnTo>
                      <a:pt x="198" y="187"/>
                    </a:lnTo>
                    <a:lnTo>
                      <a:pt x="198" y="182"/>
                    </a:lnTo>
                    <a:lnTo>
                      <a:pt x="210" y="187"/>
                    </a:lnTo>
                    <a:lnTo>
                      <a:pt x="210" y="182"/>
                    </a:lnTo>
                    <a:lnTo>
                      <a:pt x="215" y="176"/>
                    </a:lnTo>
                    <a:lnTo>
                      <a:pt x="210" y="159"/>
                    </a:lnTo>
                    <a:lnTo>
                      <a:pt x="221" y="159"/>
                    </a:lnTo>
                    <a:lnTo>
                      <a:pt x="215" y="148"/>
                    </a:lnTo>
                    <a:lnTo>
                      <a:pt x="210" y="136"/>
                    </a:lnTo>
                    <a:lnTo>
                      <a:pt x="210" y="131"/>
                    </a:lnTo>
                    <a:lnTo>
                      <a:pt x="221" y="131"/>
                    </a:lnTo>
                    <a:lnTo>
                      <a:pt x="227" y="131"/>
                    </a:lnTo>
                    <a:lnTo>
                      <a:pt x="232" y="131"/>
                    </a:lnTo>
                    <a:lnTo>
                      <a:pt x="232" y="125"/>
                    </a:lnTo>
                    <a:lnTo>
                      <a:pt x="238" y="125"/>
                    </a:lnTo>
                    <a:lnTo>
                      <a:pt x="238" y="119"/>
                    </a:lnTo>
                    <a:lnTo>
                      <a:pt x="244" y="114"/>
                    </a:lnTo>
                    <a:lnTo>
                      <a:pt x="249" y="108"/>
                    </a:lnTo>
                    <a:lnTo>
                      <a:pt x="255" y="108"/>
                    </a:lnTo>
                    <a:lnTo>
                      <a:pt x="255" y="97"/>
                    </a:lnTo>
                    <a:lnTo>
                      <a:pt x="249" y="97"/>
                    </a:lnTo>
                    <a:lnTo>
                      <a:pt x="249" y="85"/>
                    </a:lnTo>
                    <a:lnTo>
                      <a:pt x="249" y="80"/>
                    </a:lnTo>
                    <a:lnTo>
                      <a:pt x="244" y="74"/>
                    </a:lnTo>
                    <a:lnTo>
                      <a:pt x="244" y="68"/>
                    </a:lnTo>
                    <a:lnTo>
                      <a:pt x="255" y="63"/>
                    </a:lnTo>
                    <a:lnTo>
                      <a:pt x="266" y="63"/>
                    </a:lnTo>
                    <a:lnTo>
                      <a:pt x="266" y="68"/>
                    </a:lnTo>
                    <a:lnTo>
                      <a:pt x="261" y="74"/>
                    </a:lnTo>
                    <a:lnTo>
                      <a:pt x="261" y="80"/>
                    </a:lnTo>
                    <a:lnTo>
                      <a:pt x="266" y="80"/>
                    </a:lnTo>
                    <a:lnTo>
                      <a:pt x="272" y="74"/>
                    </a:lnTo>
                    <a:lnTo>
                      <a:pt x="278" y="74"/>
                    </a:lnTo>
                    <a:lnTo>
                      <a:pt x="283" y="74"/>
                    </a:lnTo>
                    <a:lnTo>
                      <a:pt x="289" y="74"/>
                    </a:lnTo>
                    <a:lnTo>
                      <a:pt x="295" y="74"/>
                    </a:lnTo>
                    <a:lnTo>
                      <a:pt x="306" y="68"/>
                    </a:lnTo>
                    <a:lnTo>
                      <a:pt x="306" y="46"/>
                    </a:lnTo>
                    <a:lnTo>
                      <a:pt x="329" y="40"/>
                    </a:lnTo>
                    <a:lnTo>
                      <a:pt x="329" y="46"/>
                    </a:lnTo>
                    <a:lnTo>
                      <a:pt x="346" y="46"/>
                    </a:lnTo>
                    <a:lnTo>
                      <a:pt x="363" y="40"/>
                    </a:lnTo>
                    <a:lnTo>
                      <a:pt x="363" y="29"/>
                    </a:lnTo>
                    <a:lnTo>
                      <a:pt x="391" y="29"/>
                    </a:lnTo>
                    <a:lnTo>
                      <a:pt x="391" y="34"/>
                    </a:lnTo>
                    <a:lnTo>
                      <a:pt x="402" y="29"/>
                    </a:lnTo>
                    <a:lnTo>
                      <a:pt x="408" y="17"/>
                    </a:lnTo>
                    <a:lnTo>
                      <a:pt x="402" y="17"/>
                    </a:lnTo>
                    <a:lnTo>
                      <a:pt x="397" y="6"/>
                    </a:lnTo>
                    <a:lnTo>
                      <a:pt x="391" y="0"/>
                    </a:lnTo>
                    <a:lnTo>
                      <a:pt x="397" y="0"/>
                    </a:lnTo>
                    <a:lnTo>
                      <a:pt x="402" y="0"/>
                    </a:lnTo>
                    <a:lnTo>
                      <a:pt x="408" y="0"/>
                    </a:lnTo>
                    <a:lnTo>
                      <a:pt x="425" y="0"/>
                    </a:lnTo>
                    <a:lnTo>
                      <a:pt x="431" y="0"/>
                    </a:lnTo>
                    <a:lnTo>
                      <a:pt x="436" y="6"/>
                    </a:lnTo>
                    <a:lnTo>
                      <a:pt x="436" y="17"/>
                    </a:lnTo>
                    <a:lnTo>
                      <a:pt x="431" y="23"/>
                    </a:lnTo>
                    <a:lnTo>
                      <a:pt x="419" y="29"/>
                    </a:lnTo>
                    <a:lnTo>
                      <a:pt x="402" y="29"/>
                    </a:lnTo>
                    <a:lnTo>
                      <a:pt x="402" y="34"/>
                    </a:lnTo>
                    <a:lnTo>
                      <a:pt x="402" y="40"/>
                    </a:lnTo>
                    <a:lnTo>
                      <a:pt x="402" y="46"/>
                    </a:lnTo>
                    <a:lnTo>
                      <a:pt x="402" y="57"/>
                    </a:lnTo>
                    <a:lnTo>
                      <a:pt x="397" y="57"/>
                    </a:lnTo>
                    <a:lnTo>
                      <a:pt x="397" y="68"/>
                    </a:lnTo>
                    <a:lnTo>
                      <a:pt x="397" y="74"/>
                    </a:lnTo>
                    <a:lnTo>
                      <a:pt x="397" y="80"/>
                    </a:lnTo>
                    <a:lnTo>
                      <a:pt x="391" y="80"/>
                    </a:lnTo>
                    <a:lnTo>
                      <a:pt x="397" y="85"/>
                    </a:lnTo>
                    <a:lnTo>
                      <a:pt x="397" y="91"/>
                    </a:lnTo>
                    <a:lnTo>
                      <a:pt x="391" y="97"/>
                    </a:lnTo>
                    <a:lnTo>
                      <a:pt x="391" y="102"/>
                    </a:lnTo>
                    <a:lnTo>
                      <a:pt x="391" y="108"/>
                    </a:lnTo>
                    <a:lnTo>
                      <a:pt x="397" y="114"/>
                    </a:lnTo>
                    <a:lnTo>
                      <a:pt x="397" y="119"/>
                    </a:lnTo>
                    <a:lnTo>
                      <a:pt x="402" y="131"/>
                    </a:lnTo>
                    <a:lnTo>
                      <a:pt x="402" y="142"/>
                    </a:lnTo>
                    <a:lnTo>
                      <a:pt x="442" y="148"/>
                    </a:lnTo>
                    <a:lnTo>
                      <a:pt x="448" y="148"/>
                    </a:lnTo>
                    <a:lnTo>
                      <a:pt x="453" y="142"/>
                    </a:lnTo>
                    <a:lnTo>
                      <a:pt x="453" y="136"/>
                    </a:lnTo>
                    <a:lnTo>
                      <a:pt x="459" y="136"/>
                    </a:lnTo>
                    <a:lnTo>
                      <a:pt x="470" y="119"/>
                    </a:lnTo>
                    <a:lnTo>
                      <a:pt x="476" y="114"/>
                    </a:lnTo>
                    <a:lnTo>
                      <a:pt x="493" y="114"/>
                    </a:lnTo>
                    <a:lnTo>
                      <a:pt x="499" y="108"/>
                    </a:lnTo>
                    <a:lnTo>
                      <a:pt x="504" y="119"/>
                    </a:lnTo>
                    <a:lnTo>
                      <a:pt x="504" y="131"/>
                    </a:lnTo>
                    <a:lnTo>
                      <a:pt x="482" y="136"/>
                    </a:lnTo>
                    <a:lnTo>
                      <a:pt x="476" y="148"/>
                    </a:lnTo>
                    <a:lnTo>
                      <a:pt x="487" y="153"/>
                    </a:lnTo>
                    <a:lnTo>
                      <a:pt x="470" y="176"/>
                    </a:lnTo>
                    <a:lnTo>
                      <a:pt x="476" y="182"/>
                    </a:lnTo>
                    <a:lnTo>
                      <a:pt x="470" y="193"/>
                    </a:lnTo>
                    <a:lnTo>
                      <a:pt x="453" y="187"/>
                    </a:lnTo>
                    <a:lnTo>
                      <a:pt x="448" y="233"/>
                    </a:lnTo>
                    <a:lnTo>
                      <a:pt x="425" y="238"/>
                    </a:lnTo>
                    <a:lnTo>
                      <a:pt x="419" y="227"/>
                    </a:lnTo>
                    <a:lnTo>
                      <a:pt x="385" y="227"/>
                    </a:lnTo>
                    <a:lnTo>
                      <a:pt x="374" y="238"/>
                    </a:lnTo>
                    <a:lnTo>
                      <a:pt x="368" y="250"/>
                    </a:lnTo>
                    <a:lnTo>
                      <a:pt x="363" y="250"/>
                    </a:lnTo>
                    <a:lnTo>
                      <a:pt x="357" y="250"/>
                    </a:lnTo>
                    <a:lnTo>
                      <a:pt x="351" y="250"/>
                    </a:lnTo>
                    <a:lnTo>
                      <a:pt x="340" y="255"/>
                    </a:lnTo>
                    <a:lnTo>
                      <a:pt x="351" y="267"/>
                    </a:lnTo>
                    <a:lnTo>
                      <a:pt x="351" y="272"/>
                    </a:lnTo>
                    <a:lnTo>
                      <a:pt x="357" y="272"/>
                    </a:lnTo>
                    <a:lnTo>
                      <a:pt x="357" y="278"/>
                    </a:lnTo>
                    <a:lnTo>
                      <a:pt x="357" y="289"/>
                    </a:lnTo>
                    <a:lnTo>
                      <a:pt x="363" y="295"/>
                    </a:lnTo>
                    <a:lnTo>
                      <a:pt x="368" y="301"/>
                    </a:lnTo>
                    <a:lnTo>
                      <a:pt x="374" y="301"/>
                    </a:lnTo>
                    <a:lnTo>
                      <a:pt x="380" y="312"/>
                    </a:lnTo>
                    <a:lnTo>
                      <a:pt x="380" y="318"/>
                    </a:lnTo>
                    <a:lnTo>
                      <a:pt x="391" y="318"/>
                    </a:lnTo>
                    <a:lnTo>
                      <a:pt x="391" y="323"/>
                    </a:lnTo>
                    <a:lnTo>
                      <a:pt x="402" y="329"/>
                    </a:lnTo>
                    <a:lnTo>
                      <a:pt x="419" y="318"/>
                    </a:lnTo>
                    <a:lnTo>
                      <a:pt x="425" y="318"/>
                    </a:lnTo>
                    <a:lnTo>
                      <a:pt x="431" y="318"/>
                    </a:lnTo>
                    <a:lnTo>
                      <a:pt x="436" y="318"/>
                    </a:lnTo>
                    <a:lnTo>
                      <a:pt x="448" y="340"/>
                    </a:lnTo>
                    <a:lnTo>
                      <a:pt x="419" y="352"/>
                    </a:lnTo>
                    <a:lnTo>
                      <a:pt x="419" y="369"/>
                    </a:lnTo>
                    <a:lnTo>
                      <a:pt x="385" y="374"/>
                    </a:lnTo>
                    <a:lnTo>
                      <a:pt x="380" y="380"/>
                    </a:lnTo>
                    <a:lnTo>
                      <a:pt x="374" y="380"/>
                    </a:lnTo>
                    <a:lnTo>
                      <a:pt x="363" y="380"/>
                    </a:lnTo>
                    <a:lnTo>
                      <a:pt x="351" y="386"/>
                    </a:lnTo>
                    <a:lnTo>
                      <a:pt x="351" y="391"/>
                    </a:lnTo>
                    <a:lnTo>
                      <a:pt x="340" y="397"/>
                    </a:lnTo>
                    <a:lnTo>
                      <a:pt x="340" y="403"/>
                    </a:lnTo>
                    <a:lnTo>
                      <a:pt x="329" y="408"/>
                    </a:lnTo>
                    <a:lnTo>
                      <a:pt x="317" y="414"/>
                    </a:lnTo>
                    <a:lnTo>
                      <a:pt x="312" y="431"/>
                    </a:lnTo>
                    <a:lnTo>
                      <a:pt x="317" y="431"/>
                    </a:lnTo>
                    <a:lnTo>
                      <a:pt x="317" y="437"/>
                    </a:lnTo>
                    <a:lnTo>
                      <a:pt x="300" y="443"/>
                    </a:lnTo>
                    <a:lnTo>
                      <a:pt x="300" y="448"/>
                    </a:lnTo>
                    <a:lnTo>
                      <a:pt x="295" y="448"/>
                    </a:lnTo>
                    <a:lnTo>
                      <a:pt x="295" y="460"/>
                    </a:lnTo>
                    <a:lnTo>
                      <a:pt x="300" y="460"/>
                    </a:lnTo>
                    <a:lnTo>
                      <a:pt x="289" y="471"/>
                    </a:lnTo>
                    <a:lnTo>
                      <a:pt x="283" y="471"/>
                    </a:lnTo>
                    <a:lnTo>
                      <a:pt x="283" y="465"/>
                    </a:lnTo>
                    <a:lnTo>
                      <a:pt x="278" y="465"/>
                    </a:lnTo>
                    <a:lnTo>
                      <a:pt x="278" y="471"/>
                    </a:lnTo>
                    <a:lnTo>
                      <a:pt x="272" y="471"/>
                    </a:lnTo>
                    <a:lnTo>
                      <a:pt x="266" y="471"/>
                    </a:lnTo>
                    <a:lnTo>
                      <a:pt x="261" y="465"/>
                    </a:lnTo>
                    <a:lnTo>
                      <a:pt x="261" y="460"/>
                    </a:lnTo>
                    <a:lnTo>
                      <a:pt x="255" y="465"/>
                    </a:lnTo>
                    <a:lnTo>
                      <a:pt x="249" y="460"/>
                    </a:lnTo>
                    <a:lnTo>
                      <a:pt x="249" y="454"/>
                    </a:lnTo>
                    <a:lnTo>
                      <a:pt x="244" y="454"/>
                    </a:lnTo>
                    <a:lnTo>
                      <a:pt x="238" y="454"/>
                    </a:lnTo>
                    <a:lnTo>
                      <a:pt x="232" y="448"/>
                    </a:lnTo>
                    <a:lnTo>
                      <a:pt x="227" y="443"/>
                    </a:lnTo>
                    <a:lnTo>
                      <a:pt x="221" y="443"/>
                    </a:lnTo>
                    <a:lnTo>
                      <a:pt x="227" y="437"/>
                    </a:lnTo>
                    <a:lnTo>
                      <a:pt x="221" y="437"/>
                    </a:lnTo>
                    <a:lnTo>
                      <a:pt x="221" y="431"/>
                    </a:lnTo>
                    <a:lnTo>
                      <a:pt x="221" y="425"/>
                    </a:lnTo>
                    <a:lnTo>
                      <a:pt x="221" y="420"/>
                    </a:lnTo>
                    <a:lnTo>
                      <a:pt x="221" y="414"/>
                    </a:lnTo>
                    <a:lnTo>
                      <a:pt x="221" y="408"/>
                    </a:lnTo>
                    <a:lnTo>
                      <a:pt x="215" y="408"/>
                    </a:lnTo>
                    <a:lnTo>
                      <a:pt x="210" y="408"/>
                    </a:lnTo>
                    <a:lnTo>
                      <a:pt x="204" y="408"/>
                    </a:lnTo>
                    <a:lnTo>
                      <a:pt x="204" y="414"/>
                    </a:lnTo>
                    <a:lnTo>
                      <a:pt x="198" y="420"/>
                    </a:lnTo>
                    <a:lnTo>
                      <a:pt x="193" y="420"/>
                    </a:lnTo>
                    <a:lnTo>
                      <a:pt x="193" y="425"/>
                    </a:lnTo>
                    <a:lnTo>
                      <a:pt x="187" y="425"/>
                    </a:lnTo>
                    <a:lnTo>
                      <a:pt x="187" y="431"/>
                    </a:lnTo>
                    <a:lnTo>
                      <a:pt x="181" y="425"/>
                    </a:lnTo>
                    <a:lnTo>
                      <a:pt x="181" y="431"/>
                    </a:lnTo>
                    <a:lnTo>
                      <a:pt x="170" y="431"/>
                    </a:lnTo>
                    <a:lnTo>
                      <a:pt x="164" y="431"/>
                    </a:lnTo>
                    <a:lnTo>
                      <a:pt x="159" y="431"/>
                    </a:lnTo>
                    <a:lnTo>
                      <a:pt x="159" y="437"/>
                    </a:lnTo>
                    <a:lnTo>
                      <a:pt x="159" y="443"/>
                    </a:lnTo>
                    <a:lnTo>
                      <a:pt x="153" y="437"/>
                    </a:lnTo>
                    <a:lnTo>
                      <a:pt x="147" y="431"/>
                    </a:lnTo>
                    <a:lnTo>
                      <a:pt x="142" y="431"/>
                    </a:lnTo>
                    <a:lnTo>
                      <a:pt x="136" y="431"/>
                    </a:lnTo>
                    <a:lnTo>
                      <a:pt x="130" y="437"/>
                    </a:lnTo>
                    <a:lnTo>
                      <a:pt x="125" y="437"/>
                    </a:lnTo>
                    <a:lnTo>
                      <a:pt x="125" y="431"/>
                    </a:lnTo>
                    <a:lnTo>
                      <a:pt x="125" y="425"/>
                    </a:lnTo>
                    <a:lnTo>
                      <a:pt x="119" y="425"/>
                    </a:lnTo>
                    <a:lnTo>
                      <a:pt x="113" y="425"/>
                    </a:lnTo>
                    <a:lnTo>
                      <a:pt x="108" y="425"/>
                    </a:lnTo>
                    <a:lnTo>
                      <a:pt x="108" y="431"/>
                    </a:lnTo>
                    <a:lnTo>
                      <a:pt x="108" y="437"/>
                    </a:lnTo>
                    <a:lnTo>
                      <a:pt x="102" y="437"/>
                    </a:lnTo>
                    <a:lnTo>
                      <a:pt x="96" y="437"/>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62" name="Freeform 15"/>
              <p:cNvSpPr>
                <a:spLocks/>
              </p:cNvSpPr>
              <p:nvPr>
                <p:custDataLst>
                  <p:tags r:id="rId12"/>
                </p:custDataLst>
              </p:nvPr>
            </p:nvSpPr>
            <p:spPr bwMode="gray">
              <a:xfrm>
                <a:off x="1678737" y="3154609"/>
                <a:ext cx="1712195" cy="988488"/>
              </a:xfrm>
              <a:custGeom>
                <a:avLst/>
                <a:gdLst>
                  <a:gd name="T0" fmla="*/ 32 w 1094"/>
                  <a:gd name="T1" fmla="*/ 446 h 630"/>
                  <a:gd name="T2" fmla="*/ 63 w 1094"/>
                  <a:gd name="T3" fmla="*/ 422 h 630"/>
                  <a:gd name="T4" fmla="*/ 87 w 1094"/>
                  <a:gd name="T5" fmla="*/ 400 h 630"/>
                  <a:gd name="T6" fmla="*/ 77 w 1094"/>
                  <a:gd name="T7" fmla="*/ 364 h 630"/>
                  <a:gd name="T8" fmla="*/ 144 w 1094"/>
                  <a:gd name="T9" fmla="*/ 344 h 630"/>
                  <a:gd name="T10" fmla="*/ 192 w 1094"/>
                  <a:gd name="T11" fmla="*/ 326 h 630"/>
                  <a:gd name="T12" fmla="*/ 210 w 1094"/>
                  <a:gd name="T13" fmla="*/ 283 h 630"/>
                  <a:gd name="T14" fmla="*/ 269 w 1094"/>
                  <a:gd name="T15" fmla="*/ 253 h 630"/>
                  <a:gd name="T16" fmla="*/ 300 w 1094"/>
                  <a:gd name="T17" fmla="*/ 209 h 630"/>
                  <a:gd name="T18" fmla="*/ 369 w 1094"/>
                  <a:gd name="T19" fmla="*/ 178 h 630"/>
                  <a:gd name="T20" fmla="*/ 408 w 1094"/>
                  <a:gd name="T21" fmla="*/ 154 h 630"/>
                  <a:gd name="T22" fmla="*/ 411 w 1094"/>
                  <a:gd name="T23" fmla="*/ 98 h 630"/>
                  <a:gd name="T24" fmla="*/ 465 w 1094"/>
                  <a:gd name="T25" fmla="*/ 94 h 630"/>
                  <a:gd name="T26" fmla="*/ 536 w 1094"/>
                  <a:gd name="T27" fmla="*/ 86 h 630"/>
                  <a:gd name="T28" fmla="*/ 608 w 1094"/>
                  <a:gd name="T29" fmla="*/ 95 h 630"/>
                  <a:gd name="T30" fmla="*/ 665 w 1094"/>
                  <a:gd name="T31" fmla="*/ 71 h 630"/>
                  <a:gd name="T32" fmla="*/ 702 w 1094"/>
                  <a:gd name="T33" fmla="*/ 49 h 630"/>
                  <a:gd name="T34" fmla="*/ 767 w 1094"/>
                  <a:gd name="T35" fmla="*/ 92 h 630"/>
                  <a:gd name="T36" fmla="*/ 804 w 1094"/>
                  <a:gd name="T37" fmla="*/ 67 h 630"/>
                  <a:gd name="T38" fmla="*/ 836 w 1094"/>
                  <a:gd name="T39" fmla="*/ 26 h 630"/>
                  <a:gd name="T40" fmla="*/ 879 w 1094"/>
                  <a:gd name="T41" fmla="*/ 19 h 630"/>
                  <a:gd name="T42" fmla="*/ 944 w 1094"/>
                  <a:gd name="T43" fmla="*/ 13 h 630"/>
                  <a:gd name="T44" fmla="*/ 896 w 1094"/>
                  <a:gd name="T45" fmla="*/ 43 h 630"/>
                  <a:gd name="T46" fmla="*/ 909 w 1094"/>
                  <a:gd name="T47" fmla="*/ 86 h 630"/>
                  <a:gd name="T48" fmla="*/ 954 w 1094"/>
                  <a:gd name="T49" fmla="*/ 91 h 630"/>
                  <a:gd name="T50" fmla="*/ 1011 w 1094"/>
                  <a:gd name="T51" fmla="*/ 100 h 630"/>
                  <a:gd name="T52" fmla="*/ 1064 w 1094"/>
                  <a:gd name="T53" fmla="*/ 113 h 630"/>
                  <a:gd name="T54" fmla="*/ 1085 w 1094"/>
                  <a:gd name="T55" fmla="*/ 148 h 630"/>
                  <a:gd name="T56" fmla="*/ 1064 w 1094"/>
                  <a:gd name="T57" fmla="*/ 196 h 630"/>
                  <a:gd name="T58" fmla="*/ 1001 w 1094"/>
                  <a:gd name="T59" fmla="*/ 239 h 630"/>
                  <a:gd name="T60" fmla="*/ 948 w 1094"/>
                  <a:gd name="T61" fmla="*/ 283 h 630"/>
                  <a:gd name="T62" fmla="*/ 902 w 1094"/>
                  <a:gd name="T63" fmla="*/ 332 h 630"/>
                  <a:gd name="T64" fmla="*/ 849 w 1094"/>
                  <a:gd name="T65" fmla="*/ 382 h 630"/>
                  <a:gd name="T66" fmla="*/ 807 w 1094"/>
                  <a:gd name="T67" fmla="*/ 406 h 630"/>
                  <a:gd name="T68" fmla="*/ 747 w 1094"/>
                  <a:gd name="T69" fmla="*/ 449 h 630"/>
                  <a:gd name="T70" fmla="*/ 699 w 1094"/>
                  <a:gd name="T71" fmla="*/ 479 h 630"/>
                  <a:gd name="T72" fmla="*/ 668 w 1094"/>
                  <a:gd name="T73" fmla="*/ 502 h 630"/>
                  <a:gd name="T74" fmla="*/ 621 w 1094"/>
                  <a:gd name="T75" fmla="*/ 532 h 630"/>
                  <a:gd name="T76" fmla="*/ 552 w 1094"/>
                  <a:gd name="T77" fmla="*/ 560 h 630"/>
                  <a:gd name="T78" fmla="*/ 465 w 1094"/>
                  <a:gd name="T79" fmla="*/ 551 h 630"/>
                  <a:gd name="T80" fmla="*/ 422 w 1094"/>
                  <a:gd name="T81" fmla="*/ 571 h 630"/>
                  <a:gd name="T82" fmla="*/ 395 w 1094"/>
                  <a:gd name="T83" fmla="*/ 601 h 630"/>
                  <a:gd name="T84" fmla="*/ 318 w 1094"/>
                  <a:gd name="T85" fmla="*/ 595 h 630"/>
                  <a:gd name="T86" fmla="*/ 299 w 1094"/>
                  <a:gd name="T87" fmla="*/ 626 h 630"/>
                  <a:gd name="T88" fmla="*/ 228 w 1094"/>
                  <a:gd name="T89" fmla="*/ 611 h 630"/>
                  <a:gd name="T90" fmla="*/ 156 w 1094"/>
                  <a:gd name="T91" fmla="*/ 596 h 630"/>
                  <a:gd name="T92" fmla="*/ 108 w 1094"/>
                  <a:gd name="T93" fmla="*/ 562 h 630"/>
                  <a:gd name="T94" fmla="*/ 131 w 1094"/>
                  <a:gd name="T95" fmla="*/ 541 h 630"/>
                  <a:gd name="T96" fmla="*/ 78 w 1094"/>
                  <a:gd name="T97" fmla="*/ 505 h 630"/>
                  <a:gd name="T98" fmla="*/ 17 w 1094"/>
                  <a:gd name="T99" fmla="*/ 506 h 6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94" h="630">
                    <a:moveTo>
                      <a:pt x="2" y="496"/>
                    </a:moveTo>
                    <a:cubicBezTo>
                      <a:pt x="8" y="493"/>
                      <a:pt x="10" y="488"/>
                      <a:pt x="17" y="485"/>
                    </a:cubicBezTo>
                    <a:cubicBezTo>
                      <a:pt x="19" y="472"/>
                      <a:pt x="23" y="470"/>
                      <a:pt x="33" y="463"/>
                    </a:cubicBezTo>
                    <a:cubicBezTo>
                      <a:pt x="36" y="456"/>
                      <a:pt x="31" y="451"/>
                      <a:pt x="32" y="446"/>
                    </a:cubicBezTo>
                    <a:cubicBezTo>
                      <a:pt x="33" y="441"/>
                      <a:pt x="37" y="433"/>
                      <a:pt x="41" y="430"/>
                    </a:cubicBezTo>
                    <a:cubicBezTo>
                      <a:pt x="45" y="427"/>
                      <a:pt x="52" y="430"/>
                      <a:pt x="54" y="427"/>
                    </a:cubicBezTo>
                    <a:cubicBezTo>
                      <a:pt x="58" y="414"/>
                      <a:pt x="44" y="415"/>
                      <a:pt x="54" y="412"/>
                    </a:cubicBezTo>
                    <a:cubicBezTo>
                      <a:pt x="56" y="410"/>
                      <a:pt x="59" y="421"/>
                      <a:pt x="63" y="422"/>
                    </a:cubicBezTo>
                    <a:cubicBezTo>
                      <a:pt x="66" y="422"/>
                      <a:pt x="65" y="414"/>
                      <a:pt x="71" y="413"/>
                    </a:cubicBezTo>
                    <a:cubicBezTo>
                      <a:pt x="82" y="417"/>
                      <a:pt x="86" y="419"/>
                      <a:pt x="99" y="418"/>
                    </a:cubicBezTo>
                    <a:cubicBezTo>
                      <a:pt x="96" y="405"/>
                      <a:pt x="101" y="418"/>
                      <a:pt x="93" y="410"/>
                    </a:cubicBezTo>
                    <a:cubicBezTo>
                      <a:pt x="87" y="404"/>
                      <a:pt x="99" y="407"/>
                      <a:pt x="87" y="400"/>
                    </a:cubicBezTo>
                    <a:cubicBezTo>
                      <a:pt x="86" y="399"/>
                      <a:pt x="77" y="395"/>
                      <a:pt x="78" y="394"/>
                    </a:cubicBezTo>
                    <a:cubicBezTo>
                      <a:pt x="80" y="392"/>
                      <a:pt x="85" y="395"/>
                      <a:pt x="87" y="392"/>
                    </a:cubicBezTo>
                    <a:cubicBezTo>
                      <a:pt x="93" y="382"/>
                      <a:pt x="86" y="380"/>
                      <a:pt x="81" y="377"/>
                    </a:cubicBezTo>
                    <a:cubicBezTo>
                      <a:pt x="79" y="367"/>
                      <a:pt x="65" y="367"/>
                      <a:pt x="77" y="364"/>
                    </a:cubicBezTo>
                    <a:cubicBezTo>
                      <a:pt x="79" y="350"/>
                      <a:pt x="89" y="353"/>
                      <a:pt x="99" y="353"/>
                    </a:cubicBezTo>
                    <a:cubicBezTo>
                      <a:pt x="103" y="350"/>
                      <a:pt x="105" y="345"/>
                      <a:pt x="110" y="344"/>
                    </a:cubicBezTo>
                    <a:cubicBezTo>
                      <a:pt x="115" y="343"/>
                      <a:pt x="125" y="347"/>
                      <a:pt x="131" y="347"/>
                    </a:cubicBezTo>
                    <a:cubicBezTo>
                      <a:pt x="135" y="346"/>
                      <a:pt x="142" y="347"/>
                      <a:pt x="144" y="344"/>
                    </a:cubicBezTo>
                    <a:cubicBezTo>
                      <a:pt x="146" y="341"/>
                      <a:pt x="141" y="334"/>
                      <a:pt x="143" y="331"/>
                    </a:cubicBezTo>
                    <a:cubicBezTo>
                      <a:pt x="148" y="328"/>
                      <a:pt x="153" y="325"/>
                      <a:pt x="158" y="325"/>
                    </a:cubicBezTo>
                    <a:cubicBezTo>
                      <a:pt x="163" y="325"/>
                      <a:pt x="170" y="334"/>
                      <a:pt x="176" y="334"/>
                    </a:cubicBezTo>
                    <a:cubicBezTo>
                      <a:pt x="178" y="334"/>
                      <a:pt x="191" y="328"/>
                      <a:pt x="192" y="326"/>
                    </a:cubicBezTo>
                    <a:cubicBezTo>
                      <a:pt x="195" y="320"/>
                      <a:pt x="200" y="320"/>
                      <a:pt x="206" y="319"/>
                    </a:cubicBezTo>
                    <a:cubicBezTo>
                      <a:pt x="207" y="313"/>
                      <a:pt x="206" y="307"/>
                      <a:pt x="209" y="302"/>
                    </a:cubicBezTo>
                    <a:cubicBezTo>
                      <a:pt x="210" y="300"/>
                      <a:pt x="222" y="293"/>
                      <a:pt x="225" y="287"/>
                    </a:cubicBezTo>
                    <a:cubicBezTo>
                      <a:pt x="220" y="286"/>
                      <a:pt x="215" y="284"/>
                      <a:pt x="210" y="283"/>
                    </a:cubicBezTo>
                    <a:cubicBezTo>
                      <a:pt x="203" y="280"/>
                      <a:pt x="209" y="277"/>
                      <a:pt x="212" y="272"/>
                    </a:cubicBezTo>
                    <a:cubicBezTo>
                      <a:pt x="213" y="253"/>
                      <a:pt x="211" y="261"/>
                      <a:pt x="224" y="263"/>
                    </a:cubicBezTo>
                    <a:cubicBezTo>
                      <a:pt x="250" y="260"/>
                      <a:pt x="224" y="266"/>
                      <a:pt x="237" y="257"/>
                    </a:cubicBezTo>
                    <a:cubicBezTo>
                      <a:pt x="244" y="252"/>
                      <a:pt x="260" y="254"/>
                      <a:pt x="269" y="253"/>
                    </a:cubicBezTo>
                    <a:cubicBezTo>
                      <a:pt x="265" y="245"/>
                      <a:pt x="263" y="236"/>
                      <a:pt x="269" y="232"/>
                    </a:cubicBezTo>
                    <a:cubicBezTo>
                      <a:pt x="269" y="227"/>
                      <a:pt x="267" y="216"/>
                      <a:pt x="278" y="214"/>
                    </a:cubicBezTo>
                    <a:cubicBezTo>
                      <a:pt x="281" y="210"/>
                      <a:pt x="279" y="207"/>
                      <a:pt x="285" y="206"/>
                    </a:cubicBezTo>
                    <a:cubicBezTo>
                      <a:pt x="289" y="205"/>
                      <a:pt x="295" y="210"/>
                      <a:pt x="300" y="209"/>
                    </a:cubicBezTo>
                    <a:cubicBezTo>
                      <a:pt x="305" y="206"/>
                      <a:pt x="315" y="204"/>
                      <a:pt x="318" y="199"/>
                    </a:cubicBezTo>
                    <a:cubicBezTo>
                      <a:pt x="324" y="196"/>
                      <a:pt x="326" y="193"/>
                      <a:pt x="333" y="191"/>
                    </a:cubicBezTo>
                    <a:cubicBezTo>
                      <a:pt x="339" y="190"/>
                      <a:pt x="347" y="193"/>
                      <a:pt x="353" y="191"/>
                    </a:cubicBezTo>
                    <a:cubicBezTo>
                      <a:pt x="360" y="189"/>
                      <a:pt x="362" y="180"/>
                      <a:pt x="369" y="178"/>
                    </a:cubicBezTo>
                    <a:cubicBezTo>
                      <a:pt x="375" y="176"/>
                      <a:pt x="385" y="181"/>
                      <a:pt x="390" y="181"/>
                    </a:cubicBezTo>
                    <a:cubicBezTo>
                      <a:pt x="395" y="180"/>
                      <a:pt x="395" y="177"/>
                      <a:pt x="398" y="175"/>
                    </a:cubicBezTo>
                    <a:cubicBezTo>
                      <a:pt x="401" y="172"/>
                      <a:pt x="405" y="167"/>
                      <a:pt x="407" y="164"/>
                    </a:cubicBezTo>
                    <a:cubicBezTo>
                      <a:pt x="412" y="156"/>
                      <a:pt x="410" y="164"/>
                      <a:pt x="408" y="154"/>
                    </a:cubicBezTo>
                    <a:cubicBezTo>
                      <a:pt x="413" y="147"/>
                      <a:pt x="418" y="144"/>
                      <a:pt x="420" y="134"/>
                    </a:cubicBezTo>
                    <a:cubicBezTo>
                      <a:pt x="417" y="129"/>
                      <a:pt x="419" y="128"/>
                      <a:pt x="414" y="125"/>
                    </a:cubicBezTo>
                    <a:cubicBezTo>
                      <a:pt x="424" y="124"/>
                      <a:pt x="422" y="118"/>
                      <a:pt x="413" y="113"/>
                    </a:cubicBezTo>
                    <a:cubicBezTo>
                      <a:pt x="412" y="109"/>
                      <a:pt x="410" y="102"/>
                      <a:pt x="411" y="98"/>
                    </a:cubicBezTo>
                    <a:cubicBezTo>
                      <a:pt x="412" y="94"/>
                      <a:pt x="413" y="91"/>
                      <a:pt x="416" y="89"/>
                    </a:cubicBezTo>
                    <a:cubicBezTo>
                      <a:pt x="419" y="88"/>
                      <a:pt x="428" y="87"/>
                      <a:pt x="432" y="88"/>
                    </a:cubicBezTo>
                    <a:cubicBezTo>
                      <a:pt x="437" y="90"/>
                      <a:pt x="439" y="99"/>
                      <a:pt x="444" y="100"/>
                    </a:cubicBezTo>
                    <a:cubicBezTo>
                      <a:pt x="451" y="105"/>
                      <a:pt x="465" y="94"/>
                      <a:pt x="465" y="94"/>
                    </a:cubicBezTo>
                    <a:cubicBezTo>
                      <a:pt x="471" y="93"/>
                      <a:pt x="470" y="85"/>
                      <a:pt x="474" y="83"/>
                    </a:cubicBezTo>
                    <a:cubicBezTo>
                      <a:pt x="478" y="81"/>
                      <a:pt x="483" y="83"/>
                      <a:pt x="489" y="82"/>
                    </a:cubicBezTo>
                    <a:cubicBezTo>
                      <a:pt x="498" y="80"/>
                      <a:pt x="503" y="75"/>
                      <a:pt x="512" y="75"/>
                    </a:cubicBezTo>
                    <a:cubicBezTo>
                      <a:pt x="522" y="77"/>
                      <a:pt x="527" y="81"/>
                      <a:pt x="536" y="86"/>
                    </a:cubicBezTo>
                    <a:cubicBezTo>
                      <a:pt x="548" y="85"/>
                      <a:pt x="544" y="83"/>
                      <a:pt x="555" y="85"/>
                    </a:cubicBezTo>
                    <a:cubicBezTo>
                      <a:pt x="559" y="88"/>
                      <a:pt x="571" y="95"/>
                      <a:pt x="576" y="97"/>
                    </a:cubicBezTo>
                    <a:cubicBezTo>
                      <a:pt x="582" y="98"/>
                      <a:pt x="586" y="97"/>
                      <a:pt x="591" y="97"/>
                    </a:cubicBezTo>
                    <a:cubicBezTo>
                      <a:pt x="596" y="97"/>
                      <a:pt x="603" y="95"/>
                      <a:pt x="608" y="95"/>
                    </a:cubicBezTo>
                    <a:cubicBezTo>
                      <a:pt x="617" y="102"/>
                      <a:pt x="615" y="99"/>
                      <a:pt x="624" y="95"/>
                    </a:cubicBezTo>
                    <a:cubicBezTo>
                      <a:pt x="628" y="88"/>
                      <a:pt x="627" y="85"/>
                      <a:pt x="635" y="83"/>
                    </a:cubicBezTo>
                    <a:cubicBezTo>
                      <a:pt x="633" y="72"/>
                      <a:pt x="644" y="83"/>
                      <a:pt x="653" y="80"/>
                    </a:cubicBezTo>
                    <a:cubicBezTo>
                      <a:pt x="657" y="79"/>
                      <a:pt x="659" y="72"/>
                      <a:pt x="665" y="71"/>
                    </a:cubicBezTo>
                    <a:cubicBezTo>
                      <a:pt x="670" y="70"/>
                      <a:pt x="678" y="75"/>
                      <a:pt x="681" y="73"/>
                    </a:cubicBezTo>
                    <a:cubicBezTo>
                      <a:pt x="685" y="71"/>
                      <a:pt x="685" y="63"/>
                      <a:pt x="686" y="59"/>
                    </a:cubicBezTo>
                    <a:cubicBezTo>
                      <a:pt x="687" y="55"/>
                      <a:pt x="688" y="49"/>
                      <a:pt x="690" y="47"/>
                    </a:cubicBezTo>
                    <a:cubicBezTo>
                      <a:pt x="693" y="46"/>
                      <a:pt x="698" y="47"/>
                      <a:pt x="702" y="49"/>
                    </a:cubicBezTo>
                    <a:cubicBezTo>
                      <a:pt x="706" y="51"/>
                      <a:pt x="712" y="54"/>
                      <a:pt x="717" y="58"/>
                    </a:cubicBezTo>
                    <a:cubicBezTo>
                      <a:pt x="721" y="74"/>
                      <a:pt x="718" y="65"/>
                      <a:pt x="732" y="71"/>
                    </a:cubicBezTo>
                    <a:cubicBezTo>
                      <a:pt x="739" y="74"/>
                      <a:pt x="739" y="88"/>
                      <a:pt x="749" y="89"/>
                    </a:cubicBezTo>
                    <a:cubicBezTo>
                      <a:pt x="756" y="90"/>
                      <a:pt x="760" y="92"/>
                      <a:pt x="767" y="92"/>
                    </a:cubicBezTo>
                    <a:cubicBezTo>
                      <a:pt x="776" y="97"/>
                      <a:pt x="785" y="95"/>
                      <a:pt x="795" y="94"/>
                    </a:cubicBezTo>
                    <a:cubicBezTo>
                      <a:pt x="796" y="92"/>
                      <a:pt x="796" y="90"/>
                      <a:pt x="797" y="89"/>
                    </a:cubicBezTo>
                    <a:cubicBezTo>
                      <a:pt x="798" y="88"/>
                      <a:pt x="800" y="87"/>
                      <a:pt x="801" y="86"/>
                    </a:cubicBezTo>
                    <a:cubicBezTo>
                      <a:pt x="802" y="83"/>
                      <a:pt x="802" y="71"/>
                      <a:pt x="804" y="67"/>
                    </a:cubicBezTo>
                    <a:cubicBezTo>
                      <a:pt x="806" y="63"/>
                      <a:pt x="813" y="65"/>
                      <a:pt x="815" y="61"/>
                    </a:cubicBezTo>
                    <a:cubicBezTo>
                      <a:pt x="822" y="58"/>
                      <a:pt x="819" y="45"/>
                      <a:pt x="815" y="40"/>
                    </a:cubicBezTo>
                    <a:cubicBezTo>
                      <a:pt x="817" y="20"/>
                      <a:pt x="812" y="44"/>
                      <a:pt x="831" y="37"/>
                    </a:cubicBezTo>
                    <a:cubicBezTo>
                      <a:pt x="835" y="36"/>
                      <a:pt x="833" y="28"/>
                      <a:pt x="836" y="26"/>
                    </a:cubicBezTo>
                    <a:cubicBezTo>
                      <a:pt x="839" y="23"/>
                      <a:pt x="845" y="21"/>
                      <a:pt x="848" y="20"/>
                    </a:cubicBezTo>
                    <a:cubicBezTo>
                      <a:pt x="851" y="19"/>
                      <a:pt x="852" y="17"/>
                      <a:pt x="855" y="17"/>
                    </a:cubicBezTo>
                    <a:cubicBezTo>
                      <a:pt x="860" y="15"/>
                      <a:pt x="863" y="17"/>
                      <a:pt x="867" y="17"/>
                    </a:cubicBezTo>
                    <a:cubicBezTo>
                      <a:pt x="871" y="17"/>
                      <a:pt x="874" y="20"/>
                      <a:pt x="879" y="19"/>
                    </a:cubicBezTo>
                    <a:cubicBezTo>
                      <a:pt x="886" y="15"/>
                      <a:pt x="891" y="15"/>
                      <a:pt x="899" y="13"/>
                    </a:cubicBezTo>
                    <a:cubicBezTo>
                      <a:pt x="909" y="8"/>
                      <a:pt x="907" y="15"/>
                      <a:pt x="915" y="5"/>
                    </a:cubicBezTo>
                    <a:cubicBezTo>
                      <a:pt x="921" y="3"/>
                      <a:pt x="928" y="0"/>
                      <a:pt x="933" y="1"/>
                    </a:cubicBezTo>
                    <a:cubicBezTo>
                      <a:pt x="938" y="2"/>
                      <a:pt x="945" y="9"/>
                      <a:pt x="944" y="13"/>
                    </a:cubicBezTo>
                    <a:cubicBezTo>
                      <a:pt x="940" y="21"/>
                      <a:pt x="936" y="20"/>
                      <a:pt x="927" y="22"/>
                    </a:cubicBezTo>
                    <a:cubicBezTo>
                      <a:pt x="926" y="30"/>
                      <a:pt x="922" y="30"/>
                      <a:pt x="917" y="35"/>
                    </a:cubicBezTo>
                    <a:cubicBezTo>
                      <a:pt x="914" y="38"/>
                      <a:pt x="909" y="42"/>
                      <a:pt x="906" y="43"/>
                    </a:cubicBezTo>
                    <a:cubicBezTo>
                      <a:pt x="903" y="44"/>
                      <a:pt x="898" y="40"/>
                      <a:pt x="896" y="43"/>
                    </a:cubicBezTo>
                    <a:cubicBezTo>
                      <a:pt x="894" y="45"/>
                      <a:pt x="894" y="55"/>
                      <a:pt x="893" y="59"/>
                    </a:cubicBezTo>
                    <a:cubicBezTo>
                      <a:pt x="892" y="63"/>
                      <a:pt x="888" y="68"/>
                      <a:pt x="890" y="70"/>
                    </a:cubicBezTo>
                    <a:cubicBezTo>
                      <a:pt x="891" y="73"/>
                      <a:pt x="899" y="71"/>
                      <a:pt x="903" y="74"/>
                    </a:cubicBezTo>
                    <a:cubicBezTo>
                      <a:pt x="906" y="77"/>
                      <a:pt x="906" y="85"/>
                      <a:pt x="909" y="86"/>
                    </a:cubicBezTo>
                    <a:cubicBezTo>
                      <a:pt x="912" y="87"/>
                      <a:pt x="918" y="85"/>
                      <a:pt x="921" y="83"/>
                    </a:cubicBezTo>
                    <a:cubicBezTo>
                      <a:pt x="925" y="84"/>
                      <a:pt x="925" y="75"/>
                      <a:pt x="928" y="76"/>
                    </a:cubicBezTo>
                    <a:cubicBezTo>
                      <a:pt x="931" y="77"/>
                      <a:pt x="937" y="85"/>
                      <a:pt x="941" y="88"/>
                    </a:cubicBezTo>
                    <a:cubicBezTo>
                      <a:pt x="946" y="91"/>
                      <a:pt x="949" y="90"/>
                      <a:pt x="954" y="91"/>
                    </a:cubicBezTo>
                    <a:cubicBezTo>
                      <a:pt x="959" y="92"/>
                      <a:pt x="966" y="97"/>
                      <a:pt x="972" y="97"/>
                    </a:cubicBezTo>
                    <a:cubicBezTo>
                      <a:pt x="978" y="97"/>
                      <a:pt x="985" y="92"/>
                      <a:pt x="990" y="92"/>
                    </a:cubicBezTo>
                    <a:cubicBezTo>
                      <a:pt x="994" y="92"/>
                      <a:pt x="1000" y="94"/>
                      <a:pt x="1003" y="95"/>
                    </a:cubicBezTo>
                    <a:cubicBezTo>
                      <a:pt x="1006" y="96"/>
                      <a:pt x="1007" y="99"/>
                      <a:pt x="1011" y="100"/>
                    </a:cubicBezTo>
                    <a:cubicBezTo>
                      <a:pt x="1017" y="102"/>
                      <a:pt x="1021" y="103"/>
                      <a:pt x="1026" y="103"/>
                    </a:cubicBezTo>
                    <a:cubicBezTo>
                      <a:pt x="1031" y="103"/>
                      <a:pt x="1035" y="102"/>
                      <a:pt x="1039" y="103"/>
                    </a:cubicBezTo>
                    <a:cubicBezTo>
                      <a:pt x="1043" y="104"/>
                      <a:pt x="1045" y="108"/>
                      <a:pt x="1049" y="110"/>
                    </a:cubicBezTo>
                    <a:cubicBezTo>
                      <a:pt x="1054" y="114"/>
                      <a:pt x="1058" y="112"/>
                      <a:pt x="1064" y="113"/>
                    </a:cubicBezTo>
                    <a:cubicBezTo>
                      <a:pt x="1065" y="120"/>
                      <a:pt x="1065" y="118"/>
                      <a:pt x="1071" y="122"/>
                    </a:cubicBezTo>
                    <a:cubicBezTo>
                      <a:pt x="1074" y="136"/>
                      <a:pt x="1073" y="116"/>
                      <a:pt x="1081" y="128"/>
                    </a:cubicBezTo>
                    <a:cubicBezTo>
                      <a:pt x="1083" y="130"/>
                      <a:pt x="1087" y="137"/>
                      <a:pt x="1088" y="140"/>
                    </a:cubicBezTo>
                    <a:cubicBezTo>
                      <a:pt x="1089" y="143"/>
                      <a:pt x="1084" y="145"/>
                      <a:pt x="1085" y="148"/>
                    </a:cubicBezTo>
                    <a:cubicBezTo>
                      <a:pt x="1086" y="151"/>
                      <a:pt x="1091" y="154"/>
                      <a:pt x="1092" y="158"/>
                    </a:cubicBezTo>
                    <a:cubicBezTo>
                      <a:pt x="1092" y="162"/>
                      <a:pt x="1094" y="169"/>
                      <a:pt x="1091" y="172"/>
                    </a:cubicBezTo>
                    <a:cubicBezTo>
                      <a:pt x="1089" y="175"/>
                      <a:pt x="1084" y="174"/>
                      <a:pt x="1079" y="178"/>
                    </a:cubicBezTo>
                    <a:cubicBezTo>
                      <a:pt x="1073" y="186"/>
                      <a:pt x="1074" y="194"/>
                      <a:pt x="1064" y="196"/>
                    </a:cubicBezTo>
                    <a:cubicBezTo>
                      <a:pt x="1060" y="202"/>
                      <a:pt x="1053" y="208"/>
                      <a:pt x="1046" y="209"/>
                    </a:cubicBezTo>
                    <a:cubicBezTo>
                      <a:pt x="1038" y="213"/>
                      <a:pt x="1034" y="213"/>
                      <a:pt x="1025" y="214"/>
                    </a:cubicBezTo>
                    <a:cubicBezTo>
                      <a:pt x="1023" y="218"/>
                      <a:pt x="1023" y="224"/>
                      <a:pt x="1019" y="227"/>
                    </a:cubicBezTo>
                    <a:cubicBezTo>
                      <a:pt x="1012" y="232"/>
                      <a:pt x="1005" y="230"/>
                      <a:pt x="1001" y="239"/>
                    </a:cubicBezTo>
                    <a:cubicBezTo>
                      <a:pt x="996" y="243"/>
                      <a:pt x="994" y="245"/>
                      <a:pt x="990" y="247"/>
                    </a:cubicBezTo>
                    <a:cubicBezTo>
                      <a:pt x="986" y="249"/>
                      <a:pt x="983" y="247"/>
                      <a:pt x="978" y="251"/>
                    </a:cubicBezTo>
                    <a:cubicBezTo>
                      <a:pt x="976" y="260"/>
                      <a:pt x="970" y="264"/>
                      <a:pt x="962" y="268"/>
                    </a:cubicBezTo>
                    <a:cubicBezTo>
                      <a:pt x="958" y="273"/>
                      <a:pt x="952" y="278"/>
                      <a:pt x="948" y="283"/>
                    </a:cubicBezTo>
                    <a:cubicBezTo>
                      <a:pt x="944" y="288"/>
                      <a:pt x="941" y="294"/>
                      <a:pt x="936" y="299"/>
                    </a:cubicBezTo>
                    <a:cubicBezTo>
                      <a:pt x="930" y="302"/>
                      <a:pt x="925" y="307"/>
                      <a:pt x="920" y="311"/>
                    </a:cubicBezTo>
                    <a:cubicBezTo>
                      <a:pt x="918" y="316"/>
                      <a:pt x="915" y="320"/>
                      <a:pt x="912" y="325"/>
                    </a:cubicBezTo>
                    <a:cubicBezTo>
                      <a:pt x="909" y="329"/>
                      <a:pt x="906" y="328"/>
                      <a:pt x="902" y="332"/>
                    </a:cubicBezTo>
                    <a:cubicBezTo>
                      <a:pt x="898" y="336"/>
                      <a:pt x="892" y="343"/>
                      <a:pt x="888" y="347"/>
                    </a:cubicBezTo>
                    <a:cubicBezTo>
                      <a:pt x="880" y="353"/>
                      <a:pt x="885" y="353"/>
                      <a:pt x="875" y="355"/>
                    </a:cubicBezTo>
                    <a:cubicBezTo>
                      <a:pt x="872" y="357"/>
                      <a:pt x="860" y="365"/>
                      <a:pt x="858" y="368"/>
                    </a:cubicBezTo>
                    <a:cubicBezTo>
                      <a:pt x="854" y="374"/>
                      <a:pt x="857" y="377"/>
                      <a:pt x="849" y="382"/>
                    </a:cubicBezTo>
                    <a:cubicBezTo>
                      <a:pt x="842" y="380"/>
                      <a:pt x="841" y="380"/>
                      <a:pt x="836" y="386"/>
                    </a:cubicBezTo>
                    <a:cubicBezTo>
                      <a:pt x="833" y="395"/>
                      <a:pt x="836" y="397"/>
                      <a:pt x="825" y="398"/>
                    </a:cubicBezTo>
                    <a:cubicBezTo>
                      <a:pt x="820" y="400"/>
                      <a:pt x="815" y="399"/>
                      <a:pt x="810" y="401"/>
                    </a:cubicBezTo>
                    <a:cubicBezTo>
                      <a:pt x="808" y="402"/>
                      <a:pt x="809" y="405"/>
                      <a:pt x="807" y="406"/>
                    </a:cubicBezTo>
                    <a:cubicBezTo>
                      <a:pt x="805" y="407"/>
                      <a:pt x="803" y="407"/>
                      <a:pt x="801" y="407"/>
                    </a:cubicBezTo>
                    <a:cubicBezTo>
                      <a:pt x="795" y="410"/>
                      <a:pt x="786" y="417"/>
                      <a:pt x="780" y="421"/>
                    </a:cubicBezTo>
                    <a:cubicBezTo>
                      <a:pt x="768" y="437"/>
                      <a:pt x="784" y="436"/>
                      <a:pt x="759" y="439"/>
                    </a:cubicBezTo>
                    <a:cubicBezTo>
                      <a:pt x="754" y="442"/>
                      <a:pt x="752" y="446"/>
                      <a:pt x="747" y="449"/>
                    </a:cubicBezTo>
                    <a:cubicBezTo>
                      <a:pt x="747" y="451"/>
                      <a:pt x="747" y="453"/>
                      <a:pt x="746" y="454"/>
                    </a:cubicBezTo>
                    <a:cubicBezTo>
                      <a:pt x="744" y="456"/>
                      <a:pt x="729" y="459"/>
                      <a:pt x="726" y="461"/>
                    </a:cubicBezTo>
                    <a:cubicBezTo>
                      <a:pt x="718" y="465"/>
                      <a:pt x="722" y="469"/>
                      <a:pt x="714" y="472"/>
                    </a:cubicBezTo>
                    <a:cubicBezTo>
                      <a:pt x="709" y="477"/>
                      <a:pt x="706" y="478"/>
                      <a:pt x="699" y="479"/>
                    </a:cubicBezTo>
                    <a:cubicBezTo>
                      <a:pt x="695" y="481"/>
                      <a:pt x="691" y="487"/>
                      <a:pt x="687" y="488"/>
                    </a:cubicBezTo>
                    <a:cubicBezTo>
                      <a:pt x="683" y="489"/>
                      <a:pt x="678" y="484"/>
                      <a:pt x="677" y="485"/>
                    </a:cubicBezTo>
                    <a:cubicBezTo>
                      <a:pt x="676" y="486"/>
                      <a:pt x="682" y="491"/>
                      <a:pt x="681" y="494"/>
                    </a:cubicBezTo>
                    <a:cubicBezTo>
                      <a:pt x="680" y="497"/>
                      <a:pt x="674" y="499"/>
                      <a:pt x="668" y="502"/>
                    </a:cubicBezTo>
                    <a:cubicBezTo>
                      <a:pt x="655" y="508"/>
                      <a:pt x="661" y="508"/>
                      <a:pt x="647" y="511"/>
                    </a:cubicBezTo>
                    <a:cubicBezTo>
                      <a:pt x="645" y="518"/>
                      <a:pt x="647" y="522"/>
                      <a:pt x="639" y="524"/>
                    </a:cubicBezTo>
                    <a:cubicBezTo>
                      <a:pt x="628" y="529"/>
                      <a:pt x="654" y="515"/>
                      <a:pt x="630" y="520"/>
                    </a:cubicBezTo>
                    <a:cubicBezTo>
                      <a:pt x="626" y="520"/>
                      <a:pt x="625" y="530"/>
                      <a:pt x="621" y="532"/>
                    </a:cubicBezTo>
                    <a:cubicBezTo>
                      <a:pt x="617" y="534"/>
                      <a:pt x="612" y="531"/>
                      <a:pt x="606" y="533"/>
                    </a:cubicBezTo>
                    <a:cubicBezTo>
                      <a:pt x="599" y="536"/>
                      <a:pt x="589" y="542"/>
                      <a:pt x="582" y="544"/>
                    </a:cubicBezTo>
                    <a:cubicBezTo>
                      <a:pt x="576" y="546"/>
                      <a:pt x="564" y="547"/>
                      <a:pt x="564" y="547"/>
                    </a:cubicBezTo>
                    <a:cubicBezTo>
                      <a:pt x="557" y="553"/>
                      <a:pt x="559" y="555"/>
                      <a:pt x="552" y="560"/>
                    </a:cubicBezTo>
                    <a:cubicBezTo>
                      <a:pt x="544" y="562"/>
                      <a:pt x="530" y="563"/>
                      <a:pt x="521" y="563"/>
                    </a:cubicBezTo>
                    <a:cubicBezTo>
                      <a:pt x="512" y="563"/>
                      <a:pt x="501" y="561"/>
                      <a:pt x="495" y="559"/>
                    </a:cubicBezTo>
                    <a:cubicBezTo>
                      <a:pt x="485" y="551"/>
                      <a:pt x="501" y="555"/>
                      <a:pt x="486" y="553"/>
                    </a:cubicBezTo>
                    <a:cubicBezTo>
                      <a:pt x="478" y="549"/>
                      <a:pt x="474" y="550"/>
                      <a:pt x="465" y="551"/>
                    </a:cubicBezTo>
                    <a:cubicBezTo>
                      <a:pt x="459" y="552"/>
                      <a:pt x="456" y="553"/>
                      <a:pt x="450" y="554"/>
                    </a:cubicBezTo>
                    <a:cubicBezTo>
                      <a:pt x="444" y="556"/>
                      <a:pt x="436" y="561"/>
                      <a:pt x="431" y="562"/>
                    </a:cubicBezTo>
                    <a:cubicBezTo>
                      <a:pt x="426" y="563"/>
                      <a:pt x="420" y="558"/>
                      <a:pt x="419" y="559"/>
                    </a:cubicBezTo>
                    <a:cubicBezTo>
                      <a:pt x="415" y="566"/>
                      <a:pt x="430" y="570"/>
                      <a:pt x="422" y="571"/>
                    </a:cubicBezTo>
                    <a:cubicBezTo>
                      <a:pt x="423" y="575"/>
                      <a:pt x="410" y="567"/>
                      <a:pt x="410" y="571"/>
                    </a:cubicBezTo>
                    <a:cubicBezTo>
                      <a:pt x="411" y="575"/>
                      <a:pt x="412" y="586"/>
                      <a:pt x="413" y="590"/>
                    </a:cubicBezTo>
                    <a:cubicBezTo>
                      <a:pt x="414" y="593"/>
                      <a:pt x="428" y="601"/>
                      <a:pt x="425" y="601"/>
                    </a:cubicBezTo>
                    <a:cubicBezTo>
                      <a:pt x="421" y="603"/>
                      <a:pt x="406" y="601"/>
                      <a:pt x="395" y="601"/>
                    </a:cubicBezTo>
                    <a:cubicBezTo>
                      <a:pt x="387" y="601"/>
                      <a:pt x="380" y="600"/>
                      <a:pt x="375" y="599"/>
                    </a:cubicBezTo>
                    <a:cubicBezTo>
                      <a:pt x="370" y="598"/>
                      <a:pt x="368" y="595"/>
                      <a:pt x="362" y="593"/>
                    </a:cubicBezTo>
                    <a:cubicBezTo>
                      <a:pt x="353" y="589"/>
                      <a:pt x="348" y="590"/>
                      <a:pt x="338" y="587"/>
                    </a:cubicBezTo>
                    <a:cubicBezTo>
                      <a:pt x="330" y="590"/>
                      <a:pt x="327" y="593"/>
                      <a:pt x="318" y="595"/>
                    </a:cubicBezTo>
                    <a:cubicBezTo>
                      <a:pt x="311" y="601"/>
                      <a:pt x="323" y="605"/>
                      <a:pt x="315" y="607"/>
                    </a:cubicBezTo>
                    <a:cubicBezTo>
                      <a:pt x="313" y="609"/>
                      <a:pt x="307" y="612"/>
                      <a:pt x="303" y="613"/>
                    </a:cubicBezTo>
                    <a:cubicBezTo>
                      <a:pt x="299" y="614"/>
                      <a:pt x="294" y="609"/>
                      <a:pt x="293" y="611"/>
                    </a:cubicBezTo>
                    <a:cubicBezTo>
                      <a:pt x="294" y="615"/>
                      <a:pt x="299" y="622"/>
                      <a:pt x="299" y="626"/>
                    </a:cubicBezTo>
                    <a:cubicBezTo>
                      <a:pt x="299" y="630"/>
                      <a:pt x="292" y="623"/>
                      <a:pt x="288" y="623"/>
                    </a:cubicBezTo>
                    <a:cubicBezTo>
                      <a:pt x="283" y="622"/>
                      <a:pt x="275" y="623"/>
                      <a:pt x="267" y="623"/>
                    </a:cubicBezTo>
                    <a:cubicBezTo>
                      <a:pt x="260" y="623"/>
                      <a:pt x="254" y="622"/>
                      <a:pt x="248" y="620"/>
                    </a:cubicBezTo>
                    <a:cubicBezTo>
                      <a:pt x="242" y="618"/>
                      <a:pt x="234" y="613"/>
                      <a:pt x="228" y="611"/>
                    </a:cubicBezTo>
                    <a:cubicBezTo>
                      <a:pt x="222" y="609"/>
                      <a:pt x="216" y="608"/>
                      <a:pt x="210" y="607"/>
                    </a:cubicBezTo>
                    <a:cubicBezTo>
                      <a:pt x="201" y="604"/>
                      <a:pt x="197" y="605"/>
                      <a:pt x="191" y="604"/>
                    </a:cubicBezTo>
                    <a:cubicBezTo>
                      <a:pt x="185" y="603"/>
                      <a:pt x="180" y="600"/>
                      <a:pt x="174" y="599"/>
                    </a:cubicBezTo>
                    <a:cubicBezTo>
                      <a:pt x="165" y="597"/>
                      <a:pt x="163" y="597"/>
                      <a:pt x="156" y="596"/>
                    </a:cubicBezTo>
                    <a:cubicBezTo>
                      <a:pt x="149" y="595"/>
                      <a:pt x="137" y="597"/>
                      <a:pt x="134" y="593"/>
                    </a:cubicBezTo>
                    <a:cubicBezTo>
                      <a:pt x="125" y="591"/>
                      <a:pt x="134" y="579"/>
                      <a:pt x="140" y="575"/>
                    </a:cubicBezTo>
                    <a:cubicBezTo>
                      <a:pt x="137" y="566"/>
                      <a:pt x="129" y="573"/>
                      <a:pt x="120" y="571"/>
                    </a:cubicBezTo>
                    <a:cubicBezTo>
                      <a:pt x="115" y="567"/>
                      <a:pt x="115" y="563"/>
                      <a:pt x="108" y="562"/>
                    </a:cubicBezTo>
                    <a:cubicBezTo>
                      <a:pt x="106" y="562"/>
                      <a:pt x="88" y="566"/>
                      <a:pt x="99" y="560"/>
                    </a:cubicBezTo>
                    <a:cubicBezTo>
                      <a:pt x="102" y="554"/>
                      <a:pt x="101" y="552"/>
                      <a:pt x="107" y="548"/>
                    </a:cubicBezTo>
                    <a:cubicBezTo>
                      <a:pt x="117" y="553"/>
                      <a:pt x="114" y="545"/>
                      <a:pt x="119" y="542"/>
                    </a:cubicBezTo>
                    <a:cubicBezTo>
                      <a:pt x="123" y="540"/>
                      <a:pt x="127" y="541"/>
                      <a:pt x="131" y="541"/>
                    </a:cubicBezTo>
                    <a:cubicBezTo>
                      <a:pt x="136" y="533"/>
                      <a:pt x="131" y="537"/>
                      <a:pt x="125" y="532"/>
                    </a:cubicBezTo>
                    <a:cubicBezTo>
                      <a:pt x="124" y="529"/>
                      <a:pt x="126" y="526"/>
                      <a:pt x="125" y="523"/>
                    </a:cubicBezTo>
                    <a:cubicBezTo>
                      <a:pt x="123" y="518"/>
                      <a:pt x="106" y="512"/>
                      <a:pt x="101" y="511"/>
                    </a:cubicBezTo>
                    <a:cubicBezTo>
                      <a:pt x="76" y="513"/>
                      <a:pt x="91" y="508"/>
                      <a:pt x="78" y="505"/>
                    </a:cubicBezTo>
                    <a:cubicBezTo>
                      <a:pt x="71" y="504"/>
                      <a:pt x="65" y="505"/>
                      <a:pt x="59" y="505"/>
                    </a:cubicBezTo>
                    <a:cubicBezTo>
                      <a:pt x="53" y="505"/>
                      <a:pt x="46" y="504"/>
                      <a:pt x="41" y="505"/>
                    </a:cubicBezTo>
                    <a:cubicBezTo>
                      <a:pt x="33" y="506"/>
                      <a:pt x="34" y="509"/>
                      <a:pt x="30" y="509"/>
                    </a:cubicBezTo>
                    <a:cubicBezTo>
                      <a:pt x="26" y="509"/>
                      <a:pt x="22" y="507"/>
                      <a:pt x="17" y="506"/>
                    </a:cubicBezTo>
                    <a:cubicBezTo>
                      <a:pt x="9" y="503"/>
                      <a:pt x="7" y="509"/>
                      <a:pt x="0" y="505"/>
                    </a:cubicBezTo>
                    <a:cubicBezTo>
                      <a:pt x="1" y="501"/>
                      <a:pt x="9" y="489"/>
                      <a:pt x="2" y="496"/>
                    </a:cubicBez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63" name="Freeform 16"/>
              <p:cNvSpPr>
                <a:spLocks/>
              </p:cNvSpPr>
              <p:nvPr>
                <p:custDataLst>
                  <p:tags r:id="rId13"/>
                </p:custDataLst>
              </p:nvPr>
            </p:nvSpPr>
            <p:spPr bwMode="gray">
              <a:xfrm>
                <a:off x="3071656" y="2393630"/>
                <a:ext cx="990695" cy="1016730"/>
              </a:xfrm>
              <a:custGeom>
                <a:avLst/>
                <a:gdLst>
                  <a:gd name="T0" fmla="*/ 183 w 633"/>
                  <a:gd name="T1" fmla="*/ 613 h 648"/>
                  <a:gd name="T2" fmla="*/ 137 w 633"/>
                  <a:gd name="T3" fmla="*/ 585 h 648"/>
                  <a:gd name="T4" fmla="*/ 77 w 633"/>
                  <a:gd name="T5" fmla="*/ 584 h 648"/>
                  <a:gd name="T6" fmla="*/ 32 w 633"/>
                  <a:gd name="T7" fmla="*/ 567 h 648"/>
                  <a:gd name="T8" fmla="*/ 0 w 633"/>
                  <a:gd name="T9" fmla="*/ 536 h 648"/>
                  <a:gd name="T10" fmla="*/ 32 w 633"/>
                  <a:gd name="T11" fmla="*/ 516 h 648"/>
                  <a:gd name="T12" fmla="*/ 56 w 633"/>
                  <a:gd name="T13" fmla="*/ 495 h 648"/>
                  <a:gd name="T14" fmla="*/ 63 w 633"/>
                  <a:gd name="T15" fmla="*/ 471 h 648"/>
                  <a:gd name="T16" fmla="*/ 65 w 633"/>
                  <a:gd name="T17" fmla="*/ 437 h 648"/>
                  <a:gd name="T18" fmla="*/ 89 w 633"/>
                  <a:gd name="T19" fmla="*/ 405 h 648"/>
                  <a:gd name="T20" fmla="*/ 111 w 633"/>
                  <a:gd name="T21" fmla="*/ 386 h 648"/>
                  <a:gd name="T22" fmla="*/ 81 w 633"/>
                  <a:gd name="T23" fmla="*/ 344 h 648"/>
                  <a:gd name="T24" fmla="*/ 53 w 633"/>
                  <a:gd name="T25" fmla="*/ 326 h 648"/>
                  <a:gd name="T26" fmla="*/ 35 w 633"/>
                  <a:gd name="T27" fmla="*/ 287 h 648"/>
                  <a:gd name="T28" fmla="*/ 68 w 633"/>
                  <a:gd name="T29" fmla="*/ 261 h 648"/>
                  <a:gd name="T30" fmla="*/ 105 w 633"/>
                  <a:gd name="T31" fmla="*/ 239 h 648"/>
                  <a:gd name="T32" fmla="*/ 147 w 633"/>
                  <a:gd name="T33" fmla="*/ 213 h 648"/>
                  <a:gd name="T34" fmla="*/ 150 w 633"/>
                  <a:gd name="T35" fmla="*/ 180 h 648"/>
                  <a:gd name="T36" fmla="*/ 159 w 633"/>
                  <a:gd name="T37" fmla="*/ 143 h 648"/>
                  <a:gd name="T38" fmla="*/ 159 w 633"/>
                  <a:gd name="T39" fmla="*/ 113 h 648"/>
                  <a:gd name="T40" fmla="*/ 212 w 633"/>
                  <a:gd name="T41" fmla="*/ 92 h 648"/>
                  <a:gd name="T42" fmla="*/ 263 w 633"/>
                  <a:gd name="T43" fmla="*/ 74 h 648"/>
                  <a:gd name="T44" fmla="*/ 290 w 633"/>
                  <a:gd name="T45" fmla="*/ 74 h 648"/>
                  <a:gd name="T46" fmla="*/ 333 w 633"/>
                  <a:gd name="T47" fmla="*/ 75 h 648"/>
                  <a:gd name="T48" fmla="*/ 374 w 633"/>
                  <a:gd name="T49" fmla="*/ 62 h 648"/>
                  <a:gd name="T50" fmla="*/ 485 w 633"/>
                  <a:gd name="T51" fmla="*/ 83 h 648"/>
                  <a:gd name="T52" fmla="*/ 497 w 633"/>
                  <a:gd name="T53" fmla="*/ 6 h 648"/>
                  <a:gd name="T54" fmla="*/ 531 w 633"/>
                  <a:gd name="T55" fmla="*/ 11 h 648"/>
                  <a:gd name="T56" fmla="*/ 629 w 633"/>
                  <a:gd name="T57" fmla="*/ 12 h 648"/>
                  <a:gd name="T58" fmla="*/ 602 w 633"/>
                  <a:gd name="T59" fmla="*/ 92 h 648"/>
                  <a:gd name="T60" fmla="*/ 576 w 633"/>
                  <a:gd name="T61" fmla="*/ 164 h 648"/>
                  <a:gd name="T62" fmla="*/ 570 w 633"/>
                  <a:gd name="T63" fmla="*/ 207 h 648"/>
                  <a:gd name="T64" fmla="*/ 549 w 633"/>
                  <a:gd name="T65" fmla="*/ 245 h 648"/>
                  <a:gd name="T66" fmla="*/ 524 w 633"/>
                  <a:gd name="T67" fmla="*/ 285 h 648"/>
                  <a:gd name="T68" fmla="*/ 473 w 633"/>
                  <a:gd name="T69" fmla="*/ 318 h 648"/>
                  <a:gd name="T70" fmla="*/ 447 w 633"/>
                  <a:gd name="T71" fmla="*/ 329 h 648"/>
                  <a:gd name="T72" fmla="*/ 413 w 633"/>
                  <a:gd name="T73" fmla="*/ 362 h 648"/>
                  <a:gd name="T74" fmla="*/ 381 w 633"/>
                  <a:gd name="T75" fmla="*/ 389 h 648"/>
                  <a:gd name="T76" fmla="*/ 348 w 633"/>
                  <a:gd name="T77" fmla="*/ 434 h 648"/>
                  <a:gd name="T78" fmla="*/ 336 w 633"/>
                  <a:gd name="T79" fmla="*/ 455 h 648"/>
                  <a:gd name="T80" fmla="*/ 330 w 633"/>
                  <a:gd name="T81" fmla="*/ 474 h 648"/>
                  <a:gd name="T82" fmla="*/ 293 w 633"/>
                  <a:gd name="T83" fmla="*/ 527 h 648"/>
                  <a:gd name="T84" fmla="*/ 258 w 633"/>
                  <a:gd name="T85" fmla="*/ 578 h 648"/>
                  <a:gd name="T86" fmla="*/ 207 w 633"/>
                  <a:gd name="T87" fmla="*/ 641 h 64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3" h="648">
                    <a:moveTo>
                      <a:pt x="204" y="647"/>
                    </a:moveTo>
                    <a:cubicBezTo>
                      <a:pt x="203" y="639"/>
                      <a:pt x="200" y="641"/>
                      <a:pt x="195" y="635"/>
                    </a:cubicBezTo>
                    <a:cubicBezTo>
                      <a:pt x="200" y="622"/>
                      <a:pt x="197" y="615"/>
                      <a:pt x="183" y="613"/>
                    </a:cubicBezTo>
                    <a:cubicBezTo>
                      <a:pt x="174" y="610"/>
                      <a:pt x="177" y="597"/>
                      <a:pt x="167" y="594"/>
                    </a:cubicBezTo>
                    <a:cubicBezTo>
                      <a:pt x="163" y="593"/>
                      <a:pt x="160" y="593"/>
                      <a:pt x="156" y="593"/>
                    </a:cubicBezTo>
                    <a:cubicBezTo>
                      <a:pt x="150" y="592"/>
                      <a:pt x="144" y="586"/>
                      <a:pt x="137" y="585"/>
                    </a:cubicBezTo>
                    <a:cubicBezTo>
                      <a:pt x="130" y="584"/>
                      <a:pt x="122" y="586"/>
                      <a:pt x="116" y="585"/>
                    </a:cubicBezTo>
                    <a:cubicBezTo>
                      <a:pt x="109" y="584"/>
                      <a:pt x="107" y="581"/>
                      <a:pt x="101" y="578"/>
                    </a:cubicBezTo>
                    <a:cubicBezTo>
                      <a:pt x="78" y="581"/>
                      <a:pt x="89" y="578"/>
                      <a:pt x="77" y="584"/>
                    </a:cubicBezTo>
                    <a:cubicBezTo>
                      <a:pt x="66" y="577"/>
                      <a:pt x="68" y="575"/>
                      <a:pt x="51" y="573"/>
                    </a:cubicBezTo>
                    <a:cubicBezTo>
                      <a:pt x="43" y="567"/>
                      <a:pt x="48" y="562"/>
                      <a:pt x="36" y="560"/>
                    </a:cubicBezTo>
                    <a:cubicBezTo>
                      <a:pt x="32" y="558"/>
                      <a:pt x="36" y="566"/>
                      <a:pt x="32" y="567"/>
                    </a:cubicBezTo>
                    <a:cubicBezTo>
                      <a:pt x="28" y="568"/>
                      <a:pt x="18" y="570"/>
                      <a:pt x="14" y="569"/>
                    </a:cubicBezTo>
                    <a:cubicBezTo>
                      <a:pt x="12" y="563"/>
                      <a:pt x="10" y="561"/>
                      <a:pt x="5" y="558"/>
                    </a:cubicBezTo>
                    <a:cubicBezTo>
                      <a:pt x="7" y="532"/>
                      <a:pt x="7" y="549"/>
                      <a:pt x="0" y="536"/>
                    </a:cubicBezTo>
                    <a:cubicBezTo>
                      <a:pt x="3" y="526"/>
                      <a:pt x="4" y="526"/>
                      <a:pt x="14" y="528"/>
                    </a:cubicBezTo>
                    <a:cubicBezTo>
                      <a:pt x="24" y="533"/>
                      <a:pt x="21" y="523"/>
                      <a:pt x="29" y="521"/>
                    </a:cubicBezTo>
                    <a:cubicBezTo>
                      <a:pt x="30" y="519"/>
                      <a:pt x="30" y="517"/>
                      <a:pt x="32" y="516"/>
                    </a:cubicBezTo>
                    <a:cubicBezTo>
                      <a:pt x="34" y="515"/>
                      <a:pt x="36" y="516"/>
                      <a:pt x="38" y="515"/>
                    </a:cubicBezTo>
                    <a:cubicBezTo>
                      <a:pt x="40" y="513"/>
                      <a:pt x="48" y="510"/>
                      <a:pt x="51" y="507"/>
                    </a:cubicBezTo>
                    <a:cubicBezTo>
                      <a:pt x="54" y="504"/>
                      <a:pt x="57" y="499"/>
                      <a:pt x="56" y="495"/>
                    </a:cubicBezTo>
                    <a:cubicBezTo>
                      <a:pt x="57" y="488"/>
                      <a:pt x="52" y="489"/>
                      <a:pt x="45" y="485"/>
                    </a:cubicBezTo>
                    <a:cubicBezTo>
                      <a:pt x="40" y="478"/>
                      <a:pt x="49" y="483"/>
                      <a:pt x="56" y="482"/>
                    </a:cubicBezTo>
                    <a:cubicBezTo>
                      <a:pt x="58" y="473"/>
                      <a:pt x="61" y="480"/>
                      <a:pt x="63" y="471"/>
                    </a:cubicBezTo>
                    <a:cubicBezTo>
                      <a:pt x="64" y="467"/>
                      <a:pt x="59" y="463"/>
                      <a:pt x="59" y="459"/>
                    </a:cubicBezTo>
                    <a:cubicBezTo>
                      <a:pt x="59" y="455"/>
                      <a:pt x="61" y="453"/>
                      <a:pt x="62" y="449"/>
                    </a:cubicBezTo>
                    <a:cubicBezTo>
                      <a:pt x="63" y="445"/>
                      <a:pt x="62" y="440"/>
                      <a:pt x="65" y="437"/>
                    </a:cubicBezTo>
                    <a:cubicBezTo>
                      <a:pt x="76" y="432"/>
                      <a:pt x="62" y="432"/>
                      <a:pt x="78" y="428"/>
                    </a:cubicBezTo>
                    <a:cubicBezTo>
                      <a:pt x="81" y="424"/>
                      <a:pt x="87" y="424"/>
                      <a:pt x="89" y="420"/>
                    </a:cubicBezTo>
                    <a:cubicBezTo>
                      <a:pt x="91" y="416"/>
                      <a:pt x="87" y="407"/>
                      <a:pt x="89" y="405"/>
                    </a:cubicBezTo>
                    <a:cubicBezTo>
                      <a:pt x="91" y="403"/>
                      <a:pt x="96" y="407"/>
                      <a:pt x="99" y="405"/>
                    </a:cubicBezTo>
                    <a:cubicBezTo>
                      <a:pt x="102" y="399"/>
                      <a:pt x="101" y="397"/>
                      <a:pt x="107" y="393"/>
                    </a:cubicBezTo>
                    <a:cubicBezTo>
                      <a:pt x="108" y="389"/>
                      <a:pt x="111" y="389"/>
                      <a:pt x="111" y="386"/>
                    </a:cubicBezTo>
                    <a:cubicBezTo>
                      <a:pt x="111" y="383"/>
                      <a:pt x="111" y="380"/>
                      <a:pt x="108" y="375"/>
                    </a:cubicBezTo>
                    <a:cubicBezTo>
                      <a:pt x="105" y="370"/>
                      <a:pt x="99" y="361"/>
                      <a:pt x="95" y="356"/>
                    </a:cubicBezTo>
                    <a:cubicBezTo>
                      <a:pt x="91" y="335"/>
                      <a:pt x="98" y="352"/>
                      <a:pt x="81" y="344"/>
                    </a:cubicBezTo>
                    <a:cubicBezTo>
                      <a:pt x="79" y="343"/>
                      <a:pt x="81" y="340"/>
                      <a:pt x="80" y="339"/>
                    </a:cubicBezTo>
                    <a:cubicBezTo>
                      <a:pt x="79" y="338"/>
                      <a:pt x="77" y="338"/>
                      <a:pt x="75" y="338"/>
                    </a:cubicBezTo>
                    <a:cubicBezTo>
                      <a:pt x="67" y="334"/>
                      <a:pt x="60" y="331"/>
                      <a:pt x="53" y="326"/>
                    </a:cubicBezTo>
                    <a:cubicBezTo>
                      <a:pt x="49" y="320"/>
                      <a:pt x="46" y="318"/>
                      <a:pt x="39" y="315"/>
                    </a:cubicBezTo>
                    <a:cubicBezTo>
                      <a:pt x="38" y="307"/>
                      <a:pt x="36" y="301"/>
                      <a:pt x="27" y="299"/>
                    </a:cubicBezTo>
                    <a:cubicBezTo>
                      <a:pt x="29" y="294"/>
                      <a:pt x="32" y="292"/>
                      <a:pt x="35" y="287"/>
                    </a:cubicBezTo>
                    <a:cubicBezTo>
                      <a:pt x="38" y="283"/>
                      <a:pt x="38" y="272"/>
                      <a:pt x="42" y="269"/>
                    </a:cubicBezTo>
                    <a:cubicBezTo>
                      <a:pt x="45" y="265"/>
                      <a:pt x="52" y="265"/>
                      <a:pt x="56" y="264"/>
                    </a:cubicBezTo>
                    <a:cubicBezTo>
                      <a:pt x="61" y="263"/>
                      <a:pt x="64" y="261"/>
                      <a:pt x="68" y="261"/>
                    </a:cubicBezTo>
                    <a:cubicBezTo>
                      <a:pt x="72" y="260"/>
                      <a:pt x="74" y="263"/>
                      <a:pt x="78" y="260"/>
                    </a:cubicBezTo>
                    <a:cubicBezTo>
                      <a:pt x="80" y="249"/>
                      <a:pt x="83" y="248"/>
                      <a:pt x="93" y="246"/>
                    </a:cubicBezTo>
                    <a:cubicBezTo>
                      <a:pt x="98" y="244"/>
                      <a:pt x="100" y="242"/>
                      <a:pt x="105" y="239"/>
                    </a:cubicBezTo>
                    <a:cubicBezTo>
                      <a:pt x="110" y="236"/>
                      <a:pt x="120" y="224"/>
                      <a:pt x="125" y="222"/>
                    </a:cubicBezTo>
                    <a:cubicBezTo>
                      <a:pt x="130" y="220"/>
                      <a:pt x="133" y="226"/>
                      <a:pt x="137" y="224"/>
                    </a:cubicBezTo>
                    <a:cubicBezTo>
                      <a:pt x="138" y="213"/>
                      <a:pt x="139" y="217"/>
                      <a:pt x="147" y="213"/>
                    </a:cubicBezTo>
                    <a:cubicBezTo>
                      <a:pt x="151" y="208"/>
                      <a:pt x="150" y="206"/>
                      <a:pt x="147" y="200"/>
                    </a:cubicBezTo>
                    <a:cubicBezTo>
                      <a:pt x="146" y="195"/>
                      <a:pt x="142" y="193"/>
                      <a:pt x="141" y="188"/>
                    </a:cubicBezTo>
                    <a:cubicBezTo>
                      <a:pt x="141" y="184"/>
                      <a:pt x="149" y="183"/>
                      <a:pt x="150" y="180"/>
                    </a:cubicBezTo>
                    <a:cubicBezTo>
                      <a:pt x="151" y="177"/>
                      <a:pt x="149" y="174"/>
                      <a:pt x="150" y="171"/>
                    </a:cubicBezTo>
                    <a:cubicBezTo>
                      <a:pt x="151" y="168"/>
                      <a:pt x="155" y="164"/>
                      <a:pt x="156" y="159"/>
                    </a:cubicBezTo>
                    <a:cubicBezTo>
                      <a:pt x="158" y="152"/>
                      <a:pt x="159" y="148"/>
                      <a:pt x="159" y="143"/>
                    </a:cubicBezTo>
                    <a:cubicBezTo>
                      <a:pt x="159" y="138"/>
                      <a:pt x="153" y="134"/>
                      <a:pt x="155" y="131"/>
                    </a:cubicBezTo>
                    <a:cubicBezTo>
                      <a:pt x="157" y="128"/>
                      <a:pt x="169" y="126"/>
                      <a:pt x="170" y="123"/>
                    </a:cubicBezTo>
                    <a:cubicBezTo>
                      <a:pt x="166" y="118"/>
                      <a:pt x="166" y="114"/>
                      <a:pt x="159" y="113"/>
                    </a:cubicBezTo>
                    <a:cubicBezTo>
                      <a:pt x="162" y="103"/>
                      <a:pt x="165" y="100"/>
                      <a:pt x="176" y="99"/>
                    </a:cubicBezTo>
                    <a:cubicBezTo>
                      <a:pt x="182" y="96"/>
                      <a:pt x="182" y="90"/>
                      <a:pt x="189" y="89"/>
                    </a:cubicBezTo>
                    <a:cubicBezTo>
                      <a:pt x="197" y="87"/>
                      <a:pt x="212" y="92"/>
                      <a:pt x="212" y="92"/>
                    </a:cubicBezTo>
                    <a:cubicBezTo>
                      <a:pt x="219" y="88"/>
                      <a:pt x="219" y="94"/>
                      <a:pt x="227" y="90"/>
                    </a:cubicBezTo>
                    <a:cubicBezTo>
                      <a:pt x="233" y="82"/>
                      <a:pt x="236" y="79"/>
                      <a:pt x="246" y="77"/>
                    </a:cubicBezTo>
                    <a:cubicBezTo>
                      <a:pt x="251" y="75"/>
                      <a:pt x="257" y="73"/>
                      <a:pt x="263" y="74"/>
                    </a:cubicBezTo>
                    <a:cubicBezTo>
                      <a:pt x="267" y="74"/>
                      <a:pt x="266" y="79"/>
                      <a:pt x="269" y="80"/>
                    </a:cubicBezTo>
                    <a:cubicBezTo>
                      <a:pt x="272" y="81"/>
                      <a:pt x="280" y="84"/>
                      <a:pt x="284" y="83"/>
                    </a:cubicBezTo>
                    <a:cubicBezTo>
                      <a:pt x="290" y="84"/>
                      <a:pt x="285" y="75"/>
                      <a:pt x="290" y="74"/>
                    </a:cubicBezTo>
                    <a:cubicBezTo>
                      <a:pt x="295" y="73"/>
                      <a:pt x="309" y="76"/>
                      <a:pt x="315" y="78"/>
                    </a:cubicBezTo>
                    <a:cubicBezTo>
                      <a:pt x="318" y="86"/>
                      <a:pt x="319" y="80"/>
                      <a:pt x="326" y="84"/>
                    </a:cubicBezTo>
                    <a:cubicBezTo>
                      <a:pt x="329" y="85"/>
                      <a:pt x="331" y="75"/>
                      <a:pt x="333" y="75"/>
                    </a:cubicBezTo>
                    <a:cubicBezTo>
                      <a:pt x="336" y="75"/>
                      <a:pt x="339" y="86"/>
                      <a:pt x="344" y="86"/>
                    </a:cubicBezTo>
                    <a:cubicBezTo>
                      <a:pt x="355" y="84"/>
                      <a:pt x="355" y="79"/>
                      <a:pt x="365" y="77"/>
                    </a:cubicBezTo>
                    <a:cubicBezTo>
                      <a:pt x="367" y="69"/>
                      <a:pt x="366" y="64"/>
                      <a:pt x="374" y="62"/>
                    </a:cubicBezTo>
                    <a:cubicBezTo>
                      <a:pt x="387" y="63"/>
                      <a:pt x="388" y="67"/>
                      <a:pt x="398" y="69"/>
                    </a:cubicBezTo>
                    <a:cubicBezTo>
                      <a:pt x="404" y="72"/>
                      <a:pt x="412" y="76"/>
                      <a:pt x="419" y="77"/>
                    </a:cubicBezTo>
                    <a:cubicBezTo>
                      <a:pt x="440" y="88"/>
                      <a:pt x="463" y="74"/>
                      <a:pt x="485" y="83"/>
                    </a:cubicBezTo>
                    <a:cubicBezTo>
                      <a:pt x="498" y="81"/>
                      <a:pt x="489" y="68"/>
                      <a:pt x="491" y="62"/>
                    </a:cubicBezTo>
                    <a:cubicBezTo>
                      <a:pt x="493" y="56"/>
                      <a:pt x="494" y="54"/>
                      <a:pt x="495" y="45"/>
                    </a:cubicBezTo>
                    <a:cubicBezTo>
                      <a:pt x="497" y="37"/>
                      <a:pt x="494" y="12"/>
                      <a:pt x="497" y="6"/>
                    </a:cubicBezTo>
                    <a:cubicBezTo>
                      <a:pt x="499" y="0"/>
                      <a:pt x="504" y="8"/>
                      <a:pt x="507" y="8"/>
                    </a:cubicBezTo>
                    <a:cubicBezTo>
                      <a:pt x="510" y="8"/>
                      <a:pt x="512" y="4"/>
                      <a:pt x="516" y="5"/>
                    </a:cubicBezTo>
                    <a:cubicBezTo>
                      <a:pt x="522" y="11"/>
                      <a:pt x="524" y="10"/>
                      <a:pt x="531" y="11"/>
                    </a:cubicBezTo>
                    <a:cubicBezTo>
                      <a:pt x="538" y="12"/>
                      <a:pt x="550" y="12"/>
                      <a:pt x="561" y="12"/>
                    </a:cubicBezTo>
                    <a:cubicBezTo>
                      <a:pt x="572" y="12"/>
                      <a:pt x="588" y="9"/>
                      <a:pt x="599" y="9"/>
                    </a:cubicBezTo>
                    <a:cubicBezTo>
                      <a:pt x="609" y="10"/>
                      <a:pt x="625" y="7"/>
                      <a:pt x="629" y="12"/>
                    </a:cubicBezTo>
                    <a:cubicBezTo>
                      <a:pt x="633" y="17"/>
                      <a:pt x="624" y="31"/>
                      <a:pt x="621" y="39"/>
                    </a:cubicBezTo>
                    <a:cubicBezTo>
                      <a:pt x="620" y="56"/>
                      <a:pt x="624" y="54"/>
                      <a:pt x="612" y="63"/>
                    </a:cubicBezTo>
                    <a:cubicBezTo>
                      <a:pt x="609" y="72"/>
                      <a:pt x="607" y="84"/>
                      <a:pt x="602" y="92"/>
                    </a:cubicBezTo>
                    <a:cubicBezTo>
                      <a:pt x="599" y="101"/>
                      <a:pt x="599" y="106"/>
                      <a:pt x="591" y="111"/>
                    </a:cubicBezTo>
                    <a:cubicBezTo>
                      <a:pt x="588" y="125"/>
                      <a:pt x="595" y="112"/>
                      <a:pt x="587" y="125"/>
                    </a:cubicBezTo>
                    <a:cubicBezTo>
                      <a:pt x="582" y="134"/>
                      <a:pt x="581" y="150"/>
                      <a:pt x="576" y="164"/>
                    </a:cubicBezTo>
                    <a:cubicBezTo>
                      <a:pt x="574" y="173"/>
                      <a:pt x="576" y="166"/>
                      <a:pt x="575" y="173"/>
                    </a:cubicBezTo>
                    <a:cubicBezTo>
                      <a:pt x="575" y="178"/>
                      <a:pt x="576" y="186"/>
                      <a:pt x="575" y="192"/>
                    </a:cubicBezTo>
                    <a:cubicBezTo>
                      <a:pt x="574" y="198"/>
                      <a:pt x="572" y="203"/>
                      <a:pt x="570" y="207"/>
                    </a:cubicBezTo>
                    <a:cubicBezTo>
                      <a:pt x="569" y="210"/>
                      <a:pt x="566" y="213"/>
                      <a:pt x="563" y="215"/>
                    </a:cubicBezTo>
                    <a:cubicBezTo>
                      <a:pt x="561" y="219"/>
                      <a:pt x="557" y="228"/>
                      <a:pt x="555" y="233"/>
                    </a:cubicBezTo>
                    <a:cubicBezTo>
                      <a:pt x="553" y="238"/>
                      <a:pt x="551" y="239"/>
                      <a:pt x="549" y="245"/>
                    </a:cubicBezTo>
                    <a:cubicBezTo>
                      <a:pt x="548" y="254"/>
                      <a:pt x="544" y="259"/>
                      <a:pt x="540" y="267"/>
                    </a:cubicBezTo>
                    <a:cubicBezTo>
                      <a:pt x="538" y="275"/>
                      <a:pt x="534" y="272"/>
                      <a:pt x="528" y="276"/>
                    </a:cubicBezTo>
                    <a:cubicBezTo>
                      <a:pt x="527" y="279"/>
                      <a:pt x="527" y="284"/>
                      <a:pt x="524" y="285"/>
                    </a:cubicBezTo>
                    <a:cubicBezTo>
                      <a:pt x="520" y="287"/>
                      <a:pt x="510" y="288"/>
                      <a:pt x="510" y="288"/>
                    </a:cubicBezTo>
                    <a:cubicBezTo>
                      <a:pt x="508" y="300"/>
                      <a:pt x="502" y="303"/>
                      <a:pt x="492" y="309"/>
                    </a:cubicBezTo>
                    <a:cubicBezTo>
                      <a:pt x="490" y="317"/>
                      <a:pt x="481" y="317"/>
                      <a:pt x="473" y="318"/>
                    </a:cubicBezTo>
                    <a:cubicBezTo>
                      <a:pt x="467" y="320"/>
                      <a:pt x="463" y="324"/>
                      <a:pt x="459" y="324"/>
                    </a:cubicBezTo>
                    <a:cubicBezTo>
                      <a:pt x="455" y="324"/>
                      <a:pt x="449" y="320"/>
                      <a:pt x="447" y="321"/>
                    </a:cubicBezTo>
                    <a:cubicBezTo>
                      <a:pt x="443" y="323"/>
                      <a:pt x="448" y="326"/>
                      <a:pt x="447" y="329"/>
                    </a:cubicBezTo>
                    <a:cubicBezTo>
                      <a:pt x="446" y="332"/>
                      <a:pt x="442" y="335"/>
                      <a:pt x="438" y="339"/>
                    </a:cubicBezTo>
                    <a:cubicBezTo>
                      <a:pt x="433" y="347"/>
                      <a:pt x="432" y="350"/>
                      <a:pt x="423" y="351"/>
                    </a:cubicBezTo>
                    <a:cubicBezTo>
                      <a:pt x="420" y="358"/>
                      <a:pt x="421" y="360"/>
                      <a:pt x="413" y="362"/>
                    </a:cubicBezTo>
                    <a:cubicBezTo>
                      <a:pt x="405" y="366"/>
                      <a:pt x="406" y="354"/>
                      <a:pt x="398" y="362"/>
                    </a:cubicBezTo>
                    <a:cubicBezTo>
                      <a:pt x="395" y="364"/>
                      <a:pt x="404" y="370"/>
                      <a:pt x="401" y="374"/>
                    </a:cubicBezTo>
                    <a:cubicBezTo>
                      <a:pt x="398" y="378"/>
                      <a:pt x="386" y="384"/>
                      <a:pt x="381" y="389"/>
                    </a:cubicBezTo>
                    <a:cubicBezTo>
                      <a:pt x="379" y="398"/>
                      <a:pt x="377" y="404"/>
                      <a:pt x="369" y="407"/>
                    </a:cubicBezTo>
                    <a:cubicBezTo>
                      <a:pt x="368" y="414"/>
                      <a:pt x="367" y="422"/>
                      <a:pt x="360" y="423"/>
                    </a:cubicBezTo>
                    <a:cubicBezTo>
                      <a:pt x="355" y="427"/>
                      <a:pt x="353" y="431"/>
                      <a:pt x="348" y="434"/>
                    </a:cubicBezTo>
                    <a:cubicBezTo>
                      <a:pt x="345" y="441"/>
                      <a:pt x="343" y="439"/>
                      <a:pt x="341" y="447"/>
                    </a:cubicBezTo>
                    <a:cubicBezTo>
                      <a:pt x="338" y="450"/>
                      <a:pt x="327" y="449"/>
                      <a:pt x="327" y="452"/>
                    </a:cubicBezTo>
                    <a:cubicBezTo>
                      <a:pt x="326" y="453"/>
                      <a:pt x="334" y="453"/>
                      <a:pt x="336" y="455"/>
                    </a:cubicBezTo>
                    <a:cubicBezTo>
                      <a:pt x="338" y="457"/>
                      <a:pt x="340" y="460"/>
                      <a:pt x="339" y="462"/>
                    </a:cubicBezTo>
                    <a:cubicBezTo>
                      <a:pt x="335" y="468"/>
                      <a:pt x="335" y="468"/>
                      <a:pt x="329" y="465"/>
                    </a:cubicBezTo>
                    <a:cubicBezTo>
                      <a:pt x="327" y="467"/>
                      <a:pt x="332" y="471"/>
                      <a:pt x="330" y="474"/>
                    </a:cubicBezTo>
                    <a:cubicBezTo>
                      <a:pt x="328" y="477"/>
                      <a:pt x="321" y="480"/>
                      <a:pt x="317" y="485"/>
                    </a:cubicBezTo>
                    <a:cubicBezTo>
                      <a:pt x="314" y="493"/>
                      <a:pt x="312" y="499"/>
                      <a:pt x="305" y="504"/>
                    </a:cubicBezTo>
                    <a:cubicBezTo>
                      <a:pt x="300" y="512"/>
                      <a:pt x="302" y="522"/>
                      <a:pt x="293" y="527"/>
                    </a:cubicBezTo>
                    <a:cubicBezTo>
                      <a:pt x="289" y="534"/>
                      <a:pt x="283" y="538"/>
                      <a:pt x="279" y="543"/>
                    </a:cubicBezTo>
                    <a:cubicBezTo>
                      <a:pt x="275" y="548"/>
                      <a:pt x="273" y="554"/>
                      <a:pt x="270" y="560"/>
                    </a:cubicBezTo>
                    <a:cubicBezTo>
                      <a:pt x="268" y="571"/>
                      <a:pt x="270" y="576"/>
                      <a:pt x="258" y="578"/>
                    </a:cubicBezTo>
                    <a:cubicBezTo>
                      <a:pt x="251" y="582"/>
                      <a:pt x="249" y="589"/>
                      <a:pt x="246" y="596"/>
                    </a:cubicBezTo>
                    <a:cubicBezTo>
                      <a:pt x="244" y="605"/>
                      <a:pt x="236" y="612"/>
                      <a:pt x="228" y="617"/>
                    </a:cubicBezTo>
                    <a:cubicBezTo>
                      <a:pt x="226" y="629"/>
                      <a:pt x="217" y="635"/>
                      <a:pt x="207" y="641"/>
                    </a:cubicBezTo>
                    <a:cubicBezTo>
                      <a:pt x="206" y="648"/>
                      <a:pt x="208" y="647"/>
                      <a:pt x="204" y="647"/>
                    </a:cubicBez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27" name="Oval 26"/>
              <p:cNvSpPr/>
              <p:nvPr/>
            </p:nvSpPr>
            <p:spPr bwMode="gray">
              <a:xfrm>
                <a:off x="3699782" y="1944953"/>
                <a:ext cx="135357" cy="158600"/>
              </a:xfrm>
              <a:prstGeom prst="ellipse">
                <a:avLst/>
              </a:prstGeom>
              <a:solidFill>
                <a:schemeClr val="accent3"/>
              </a:solidFill>
              <a:ln w="38100">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sz="1100" dirty="0">
                  <a:solidFill>
                    <a:schemeClr val="tx1"/>
                  </a:solidFill>
                </a:endParaRPr>
              </a:p>
            </p:txBody>
          </p:sp>
          <p:sp>
            <p:nvSpPr>
              <p:cNvPr id="17" name="Oval 16"/>
              <p:cNvSpPr/>
              <p:nvPr/>
            </p:nvSpPr>
            <p:spPr bwMode="gray">
              <a:xfrm>
                <a:off x="3720240" y="2610116"/>
                <a:ext cx="130826" cy="167390"/>
              </a:xfrm>
              <a:prstGeom prst="ellipse">
                <a:avLst/>
              </a:prstGeom>
              <a:solidFill>
                <a:schemeClr val="accent3"/>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sz="1100" dirty="0">
                  <a:solidFill>
                    <a:schemeClr val="tx1"/>
                  </a:solidFill>
                </a:endParaRPr>
              </a:p>
            </p:txBody>
          </p:sp>
        </p:grpSp>
      </p:grpSp>
      <p:sp>
        <p:nvSpPr>
          <p:cNvPr id="37" name="Title 1"/>
          <p:cNvSpPr txBox="1">
            <a:spLocks/>
          </p:cNvSpPr>
          <p:nvPr/>
        </p:nvSpPr>
        <p:spPr bwMode="auto">
          <a:xfrm>
            <a:off x="171451" y="230188"/>
            <a:ext cx="8618537"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1900" b="1"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400050"/>
            <a:r>
              <a:rPr lang="en-GB" dirty="0" smtClean="0"/>
              <a:t>The </a:t>
            </a:r>
            <a:r>
              <a:rPr lang="en-GB" dirty="0"/>
              <a:t>launch of 11 biodiversity economy nodes across the country will accelerate growth of the wildlife economy </a:t>
            </a:r>
            <a:endParaRPr lang="en-US" dirty="0"/>
          </a:p>
        </p:txBody>
      </p:sp>
      <p:sp>
        <p:nvSpPr>
          <p:cNvPr id="36" name="Marvin Title Tracker Circle"/>
          <p:cNvSpPr/>
          <p:nvPr/>
        </p:nvSpPr>
        <p:spPr>
          <a:xfrm>
            <a:off x="171451" y="188611"/>
            <a:ext cx="354056" cy="35405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900" b="1" dirty="0" smtClean="0">
                <a:solidFill>
                  <a:schemeClr val="bg1"/>
                </a:solidFill>
                <a:latin typeface="Arial" panose="020B0604020202020204" pitchFamily="34" charset="0"/>
              </a:rPr>
              <a:t>5</a:t>
            </a:r>
            <a:endParaRPr lang="en-US" sz="1900" b="1" dirty="0">
              <a:solidFill>
                <a:schemeClr val="bg1"/>
              </a:solidFill>
              <a:latin typeface="Arial" panose="020B0604020202020204" pitchFamily="34" charset="0"/>
            </a:endParaRPr>
          </a:p>
        </p:txBody>
      </p:sp>
      <p:sp>
        <p:nvSpPr>
          <p:cNvPr id="43" name="Rectangle 19"/>
          <p:cNvSpPr txBox="1">
            <a:spLocks/>
          </p:cNvSpPr>
          <p:nvPr>
            <p:custDataLst>
              <p:tags r:id="rId4"/>
            </p:custDataLst>
          </p:nvPr>
        </p:nvSpPr>
        <p:spPr bwMode="gray">
          <a:xfrm>
            <a:off x="4652892" y="1044492"/>
            <a:ext cx="4137095" cy="2239651"/>
          </a:xfrm>
          <a:prstGeom prst="rect">
            <a:avLst/>
          </a:prstGeom>
          <a:solidFill>
            <a:schemeClr val="accent2"/>
          </a:solidFill>
          <a:ln w="9525">
            <a:solidFill>
              <a:schemeClr val="bg1"/>
            </a:solidFill>
            <a:miter lim="800000"/>
            <a:headEnd/>
            <a:tailEnd/>
          </a:ln>
          <a:effectLst/>
        </p:spPr>
        <p:txBody>
          <a:bodyPr lIns="76200" tIns="76200" rIns="76200" bIns="76200" anchor="ctr">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chemeClr val="bg1"/>
              </a:buClr>
              <a:defRPr/>
            </a:pPr>
            <a:r>
              <a:rPr lang="en-US" sz="1100" b="1" dirty="0">
                <a:solidFill>
                  <a:schemeClr val="bg1"/>
                </a:solidFill>
              </a:rPr>
              <a:t>Process to operationalize a node</a:t>
            </a:r>
          </a:p>
          <a:p>
            <a:pPr marL="228600" indent="-228600">
              <a:buClr>
                <a:schemeClr val="bg1"/>
              </a:buClr>
              <a:buFont typeface="+mj-lt"/>
              <a:buAutoNum type="arabicPeriod"/>
              <a:defRPr/>
            </a:pPr>
            <a:r>
              <a:rPr lang="en-US" sz="1100" dirty="0">
                <a:solidFill>
                  <a:schemeClr val="bg1"/>
                </a:solidFill>
              </a:rPr>
              <a:t>Use land audit data to identify high land-use capability and low risk from competitive land uses</a:t>
            </a:r>
          </a:p>
          <a:p>
            <a:pPr marL="228600" indent="-228600">
              <a:buClr>
                <a:schemeClr val="bg1"/>
              </a:buClr>
              <a:buFont typeface="+mj-lt"/>
              <a:buAutoNum type="arabicPeriod"/>
              <a:defRPr/>
            </a:pPr>
            <a:r>
              <a:rPr lang="en-US" sz="1100" dirty="0">
                <a:solidFill>
                  <a:schemeClr val="bg1"/>
                </a:solidFill>
              </a:rPr>
              <a:t>Appoint node champions to facilitate alignment and strategic focus of public and private sector interventions</a:t>
            </a:r>
          </a:p>
          <a:p>
            <a:pPr marL="228600" indent="-228600">
              <a:buClr>
                <a:schemeClr val="bg1"/>
              </a:buClr>
              <a:buFont typeface="+mj-lt"/>
              <a:buAutoNum type="arabicPeriod"/>
              <a:defRPr/>
            </a:pPr>
            <a:r>
              <a:rPr lang="en-US" sz="1100" dirty="0">
                <a:solidFill>
                  <a:schemeClr val="bg1"/>
                </a:solidFill>
              </a:rPr>
              <a:t>Conduct socio-economic study to identify high impact interventions and investment opportunities</a:t>
            </a:r>
          </a:p>
          <a:p>
            <a:pPr marL="228600" indent="-228600">
              <a:buClr>
                <a:schemeClr val="bg1"/>
              </a:buClr>
              <a:buFont typeface="+mj-lt"/>
              <a:buAutoNum type="arabicPeriod"/>
              <a:defRPr/>
            </a:pPr>
            <a:r>
              <a:rPr lang="en-US" sz="1100" dirty="0">
                <a:solidFill>
                  <a:schemeClr val="bg1"/>
                </a:solidFill>
              </a:rPr>
              <a:t>Conduct strategic environmental assessment (reduce regulatory impediments)</a:t>
            </a:r>
          </a:p>
          <a:p>
            <a:pPr marL="228600" indent="-228600">
              <a:buClr>
                <a:schemeClr val="bg1"/>
              </a:buClr>
              <a:buFont typeface="+mj-lt"/>
              <a:buAutoNum type="arabicPeriod"/>
              <a:defRPr/>
            </a:pPr>
            <a:r>
              <a:rPr lang="en-US" sz="1100" dirty="0">
                <a:solidFill>
                  <a:schemeClr val="bg1"/>
                </a:solidFill>
              </a:rPr>
              <a:t>Facilitate </a:t>
            </a:r>
            <a:r>
              <a:rPr lang="en-US" sz="1100" dirty="0" err="1">
                <a:solidFill>
                  <a:schemeClr val="bg1"/>
                </a:solidFill>
              </a:rPr>
              <a:t>PPC</a:t>
            </a:r>
            <a:r>
              <a:rPr lang="en-US" sz="1100" dirty="0">
                <a:solidFill>
                  <a:schemeClr val="bg1"/>
                </a:solidFill>
              </a:rPr>
              <a:t> partnerships and mentorship </a:t>
            </a:r>
            <a:r>
              <a:rPr lang="en-US" sz="1100" dirty="0" err="1">
                <a:solidFill>
                  <a:schemeClr val="bg1"/>
                </a:solidFill>
              </a:rPr>
              <a:t>programmes</a:t>
            </a:r>
            <a:endParaRPr lang="en-US" sz="1100" dirty="0">
              <a:solidFill>
                <a:schemeClr val="bg1"/>
              </a:solidFill>
            </a:endParaRPr>
          </a:p>
          <a:p>
            <a:pPr marL="228600" indent="-228600">
              <a:buClr>
                <a:schemeClr val="bg1"/>
              </a:buClr>
              <a:buFont typeface="+mj-lt"/>
              <a:buAutoNum type="arabicPeriod"/>
              <a:defRPr/>
            </a:pPr>
            <a:r>
              <a:rPr lang="en-US" sz="1100" dirty="0">
                <a:solidFill>
                  <a:schemeClr val="bg1"/>
                </a:solidFill>
              </a:rPr>
              <a:t>Develop operational plan for the node</a:t>
            </a:r>
          </a:p>
          <a:p>
            <a:pPr marL="228600" indent="-228600">
              <a:buClr>
                <a:schemeClr val="bg1"/>
              </a:buClr>
              <a:buFont typeface="+mj-lt"/>
              <a:buAutoNum type="arabicPeriod"/>
              <a:defRPr/>
            </a:pPr>
            <a:r>
              <a:rPr lang="en-US" sz="1100" dirty="0">
                <a:solidFill>
                  <a:schemeClr val="bg1"/>
                </a:solidFill>
              </a:rPr>
              <a:t>Coordinate implementation and support</a:t>
            </a:r>
          </a:p>
        </p:txBody>
      </p:sp>
      <p:pic>
        <p:nvPicPr>
          <p:cNvPr id="4" name="Picture 3"/>
          <p:cNvPicPr>
            <a:picLocks/>
          </p:cNvPicPr>
          <p:nvPr/>
        </p:nvPicPr>
        <p:blipFill>
          <a:blip r:embed="rId17" cstate="print">
            <a:extLst>
              <a:ext uri="{28A0092B-C50C-407E-A947-70E740481C1C}">
                <a14:useLocalDpi xmlns:a14="http://schemas.microsoft.com/office/drawing/2010/main" val="0"/>
              </a:ext>
            </a:extLst>
          </a:blip>
          <a:stretch>
            <a:fillRect/>
          </a:stretch>
        </p:blipFill>
        <p:spPr>
          <a:xfrm>
            <a:off x="4640659" y="3308557"/>
            <a:ext cx="4137095" cy="2869821"/>
          </a:xfrm>
          <a:prstGeom prst="rect">
            <a:avLst/>
          </a:prstGeom>
        </p:spPr>
      </p:pic>
      <p:sp>
        <p:nvSpPr>
          <p:cNvPr id="26" name="Marvin Title Tracker Circle"/>
          <p:cNvSpPr/>
          <p:nvPr/>
        </p:nvSpPr>
        <p:spPr>
          <a:xfrm>
            <a:off x="197247" y="596348"/>
            <a:ext cx="326724" cy="332965"/>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900" b="1" dirty="0" smtClean="0">
                <a:solidFill>
                  <a:schemeClr val="bg1"/>
                </a:solidFill>
                <a:latin typeface="Arial" panose="020B0604020202020204" pitchFamily="34" charset="0"/>
              </a:rPr>
              <a:t>15</a:t>
            </a:r>
            <a:endParaRPr lang="en-US" sz="1900" b="1" dirty="0">
              <a:solidFill>
                <a:schemeClr val="bg1"/>
              </a:solidFill>
              <a:latin typeface="Arial" panose="020B0604020202020204" pitchFamily="34" charset="0"/>
            </a:endParaRPr>
          </a:p>
        </p:txBody>
      </p:sp>
    </p:spTree>
    <p:extLst>
      <p:ext uri="{BB962C8B-B14F-4D97-AF65-F5344CB8AC3E}">
        <p14:creationId xmlns:p14="http://schemas.microsoft.com/office/powerpoint/2010/main" val="171873896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3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78" name="think-cell Slide" r:id="rId4" imgW="524" imgH="526" progId="TCLayout.ActiveDocument.1">
                  <p:embed/>
                </p:oleObj>
              </mc:Choice>
              <mc:Fallback>
                <p:oleObj name="think-cell Slide" r:id="rId4" imgW="524" imgH="526"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Rectangle 39"/>
          <p:cNvSpPr>
            <a:spLocks/>
          </p:cNvSpPr>
          <p:nvPr/>
        </p:nvSpPr>
        <p:spPr>
          <a:xfrm>
            <a:off x="1" y="929313"/>
            <a:ext cx="8961438" cy="914400"/>
          </a:xfrm>
          <a:prstGeom prst="rect">
            <a:avLst/>
          </a:prstGeom>
          <a:gradFill>
            <a:gsLst>
              <a:gs pos="0">
                <a:schemeClr val="bg1">
                  <a:lumMod val="95000"/>
                </a:schemeClr>
              </a:gs>
              <a:gs pos="100000">
                <a:schemeClr val="bg1">
                  <a:alpha val="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6" name="Marvin Title Tracker Circle"/>
          <p:cNvSpPr/>
          <p:nvPr/>
        </p:nvSpPr>
        <p:spPr>
          <a:xfrm>
            <a:off x="171451" y="201311"/>
            <a:ext cx="354056" cy="35405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900" b="1" dirty="0">
                <a:solidFill>
                  <a:schemeClr val="bg1"/>
                </a:solidFill>
                <a:latin typeface="Arial" panose="020B0604020202020204" pitchFamily="34" charset="0"/>
              </a:rPr>
              <a:t>5</a:t>
            </a:r>
          </a:p>
        </p:txBody>
      </p:sp>
      <p:sp>
        <p:nvSpPr>
          <p:cNvPr id="158" name="Title 1"/>
          <p:cNvSpPr>
            <a:spLocks noGrp="1"/>
          </p:cNvSpPr>
          <p:nvPr>
            <p:ph type="title"/>
          </p:nvPr>
        </p:nvSpPr>
        <p:spPr>
          <a:xfrm>
            <a:off x="171451" y="230188"/>
            <a:ext cx="8618537" cy="584775"/>
          </a:xfrm>
        </p:spPr>
        <p:txBody>
          <a:bodyPr/>
          <a:lstStyle/>
          <a:p>
            <a:pPr marL="396875"/>
            <a:r>
              <a:rPr lang="en-US" dirty="0"/>
              <a:t>26 high potential node locations have been already identified across the country; these will require further consultation</a:t>
            </a:r>
          </a:p>
        </p:txBody>
      </p:sp>
      <p:cxnSp>
        <p:nvCxnSpPr>
          <p:cNvPr id="41" name="Straight Connector 40"/>
          <p:cNvCxnSpPr>
            <a:cxnSpLocks/>
          </p:cNvCxnSpPr>
          <p:nvPr/>
        </p:nvCxnSpPr>
        <p:spPr>
          <a:xfrm>
            <a:off x="0" y="929313"/>
            <a:ext cx="896143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465" name="TextBox 36"/>
          <p:cNvSpPr txBox="1">
            <a:spLocks noChangeArrowheads="1"/>
          </p:cNvSpPr>
          <p:nvPr/>
        </p:nvSpPr>
        <p:spPr bwMode="gray">
          <a:xfrm>
            <a:off x="906217" y="1275745"/>
            <a:ext cx="135133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defTabSz="893763">
              <a:buClr>
                <a:schemeClr val="tx2"/>
              </a:buClr>
              <a:defRPr sz="1600">
                <a:solidFill>
                  <a:schemeClr val="tx1"/>
                </a:solidFill>
                <a:latin typeface="Arial" panose="020B0604020202020204" pitchFamily="34" charset="0"/>
              </a:defRPr>
            </a:lvl1pPr>
            <a:lvl2pPr marL="192088" indent="-190500" defTabSz="893763">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5613" indent="-260350" defTabSz="893763">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2775" indent="-153988" defTabSz="893763">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9300" indent="-128588" defTabSz="893763">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6500" indent="-128588" defTabSz="89376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3700" indent="-128588" defTabSz="89376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20900" indent="-128588" defTabSz="89376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8100" indent="-128588" defTabSz="89376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eaLnBrk="1" hangingPunct="1"/>
            <a:r>
              <a:rPr lang="en-US" altLang="en-US" sz="1000" dirty="0"/>
              <a:t>Potential node locations</a:t>
            </a:r>
          </a:p>
        </p:txBody>
      </p:sp>
      <p:sp>
        <p:nvSpPr>
          <p:cNvPr id="18455" name="Freeform 6"/>
          <p:cNvSpPr>
            <a:spLocks noEditPoints="1"/>
          </p:cNvSpPr>
          <p:nvPr/>
        </p:nvSpPr>
        <p:spPr bwMode="gray">
          <a:xfrm>
            <a:off x="594820" y="3991992"/>
            <a:ext cx="2171190" cy="1534252"/>
          </a:xfrm>
          <a:custGeom>
            <a:avLst/>
            <a:gdLst>
              <a:gd name="T0" fmla="*/ 16877 w 1678"/>
              <a:gd name="T1" fmla="*/ 35515 h 1190"/>
              <a:gd name="T2" fmla="*/ 52537 w 1678"/>
              <a:gd name="T3" fmla="*/ 6010 h 1190"/>
              <a:gd name="T4" fmla="*/ 83297 w 1678"/>
              <a:gd name="T5" fmla="*/ 58736 h 1190"/>
              <a:gd name="T6" fmla="*/ 94186 w 1678"/>
              <a:gd name="T7" fmla="*/ 95890 h 1190"/>
              <a:gd name="T8" fmla="*/ 106436 w 1678"/>
              <a:gd name="T9" fmla="*/ 106818 h 1190"/>
              <a:gd name="T10" fmla="*/ 117324 w 1678"/>
              <a:gd name="T11" fmla="*/ 120751 h 1190"/>
              <a:gd name="T12" fmla="*/ 115691 w 1678"/>
              <a:gd name="T13" fmla="*/ 142333 h 1190"/>
              <a:gd name="T14" fmla="*/ 129574 w 1678"/>
              <a:gd name="T15" fmla="*/ 148617 h 1190"/>
              <a:gd name="T16" fmla="*/ 165234 w 1678"/>
              <a:gd name="T17" fmla="*/ 131406 h 1190"/>
              <a:gd name="T18" fmla="*/ 168228 w 1678"/>
              <a:gd name="T19" fmla="*/ 163916 h 1190"/>
              <a:gd name="T20" fmla="*/ 206882 w 1678"/>
              <a:gd name="T21" fmla="*/ 184132 h 1190"/>
              <a:gd name="T22" fmla="*/ 246898 w 1678"/>
              <a:gd name="T23" fmla="*/ 146978 h 1190"/>
              <a:gd name="T24" fmla="*/ 288547 w 1678"/>
              <a:gd name="T25" fmla="*/ 134684 h 1190"/>
              <a:gd name="T26" fmla="*/ 307057 w 1678"/>
              <a:gd name="T27" fmla="*/ 106818 h 1190"/>
              <a:gd name="T28" fmla="*/ 353334 w 1678"/>
              <a:gd name="T29" fmla="*/ 105179 h 1190"/>
              <a:gd name="T30" fmla="*/ 407504 w 1678"/>
              <a:gd name="T31" fmla="*/ 94252 h 1190"/>
              <a:gd name="T32" fmla="*/ 438264 w 1678"/>
              <a:gd name="T33" fmla="*/ 94252 h 1190"/>
              <a:gd name="T34" fmla="*/ 449153 w 1678"/>
              <a:gd name="T35" fmla="*/ 116107 h 1190"/>
              <a:gd name="T36" fmla="*/ 422748 w 1678"/>
              <a:gd name="T37" fmla="*/ 130040 h 1190"/>
              <a:gd name="T38" fmla="*/ 385727 w 1678"/>
              <a:gd name="T39" fmla="*/ 163916 h 1190"/>
              <a:gd name="T40" fmla="*/ 373478 w 1678"/>
              <a:gd name="T41" fmla="*/ 181127 h 1190"/>
              <a:gd name="T42" fmla="*/ 359595 w 1678"/>
              <a:gd name="T43" fmla="*/ 219647 h 1190"/>
              <a:gd name="T44" fmla="*/ 394982 w 1678"/>
              <a:gd name="T45" fmla="*/ 244507 h 1190"/>
              <a:gd name="T46" fmla="*/ 405870 w 1678"/>
              <a:gd name="T47" fmla="*/ 261719 h 1190"/>
              <a:gd name="T48" fmla="*/ 394982 w 1678"/>
              <a:gd name="T49" fmla="*/ 271007 h 1190"/>
              <a:gd name="T50" fmla="*/ 368850 w 1678"/>
              <a:gd name="T51" fmla="*/ 267729 h 1190"/>
              <a:gd name="T52" fmla="*/ 367216 w 1678"/>
              <a:gd name="T53" fmla="*/ 267729 h 1190"/>
              <a:gd name="T54" fmla="*/ 334823 w 1678"/>
              <a:gd name="T55" fmla="*/ 263084 h 1190"/>
              <a:gd name="T56" fmla="*/ 313318 w 1678"/>
              <a:gd name="T57" fmla="*/ 266363 h 1190"/>
              <a:gd name="T58" fmla="*/ 300797 w 1678"/>
              <a:gd name="T59" fmla="*/ 278656 h 1190"/>
              <a:gd name="T60" fmla="*/ 283919 w 1678"/>
              <a:gd name="T61" fmla="*/ 287945 h 1190"/>
              <a:gd name="T62" fmla="*/ 265408 w 1678"/>
              <a:gd name="T63" fmla="*/ 289584 h 1190"/>
              <a:gd name="T64" fmla="*/ 245264 w 1678"/>
              <a:gd name="T65" fmla="*/ 295595 h 1190"/>
              <a:gd name="T66" fmla="*/ 217499 w 1678"/>
              <a:gd name="T67" fmla="*/ 289584 h 1190"/>
              <a:gd name="T68" fmla="*/ 209877 w 1678"/>
              <a:gd name="T69" fmla="*/ 297234 h 1190"/>
              <a:gd name="T70" fmla="*/ 182111 w 1678"/>
              <a:gd name="T71" fmla="*/ 304883 h 1190"/>
              <a:gd name="T72" fmla="*/ 155978 w 1678"/>
              <a:gd name="T73" fmla="*/ 318816 h 1190"/>
              <a:gd name="T74" fmla="*/ 138829 w 1678"/>
              <a:gd name="T75" fmla="*/ 318816 h 1190"/>
              <a:gd name="T76" fmla="*/ 121951 w 1678"/>
              <a:gd name="T77" fmla="*/ 315811 h 1190"/>
              <a:gd name="T78" fmla="*/ 103441 w 1678"/>
              <a:gd name="T79" fmla="*/ 309527 h 1190"/>
              <a:gd name="T80" fmla="*/ 94186 w 1678"/>
              <a:gd name="T81" fmla="*/ 294228 h 1190"/>
              <a:gd name="T82" fmla="*/ 92553 w 1678"/>
              <a:gd name="T83" fmla="*/ 286306 h 1190"/>
              <a:gd name="T84" fmla="*/ 74042 w 1678"/>
              <a:gd name="T85" fmla="*/ 290950 h 1190"/>
              <a:gd name="T86" fmla="*/ 72409 w 1678"/>
              <a:gd name="T87" fmla="*/ 281662 h 1190"/>
              <a:gd name="T88" fmla="*/ 55532 w 1678"/>
              <a:gd name="T89" fmla="*/ 267729 h 1190"/>
              <a:gd name="T90" fmla="*/ 46276 w 1678"/>
              <a:gd name="T91" fmla="*/ 280296 h 1190"/>
              <a:gd name="T92" fmla="*/ 38655 w 1678"/>
              <a:gd name="T93" fmla="*/ 283301 h 1190"/>
              <a:gd name="T94" fmla="*/ 38655 w 1678"/>
              <a:gd name="T95" fmla="*/ 266363 h 1190"/>
              <a:gd name="T96" fmla="*/ 46276 w 1678"/>
              <a:gd name="T97" fmla="*/ 255435 h 1190"/>
              <a:gd name="T98" fmla="*/ 40015 w 1678"/>
              <a:gd name="T99" fmla="*/ 233580 h 1190"/>
              <a:gd name="T100" fmla="*/ 24771 w 1678"/>
              <a:gd name="T101" fmla="*/ 210359 h 1190"/>
              <a:gd name="T102" fmla="*/ 15516 w 1678"/>
              <a:gd name="T103" fmla="*/ 195060 h 1190"/>
              <a:gd name="T104" fmla="*/ 16877 w 1678"/>
              <a:gd name="T105" fmla="*/ 198065 h 1190"/>
              <a:gd name="T106" fmla="*/ 7622 w 1678"/>
              <a:gd name="T107" fmla="*/ 191781 h 1190"/>
              <a:gd name="T108" fmla="*/ 4628 w 1678"/>
              <a:gd name="T109" fmla="*/ 176483 h 1190"/>
              <a:gd name="T110" fmla="*/ 16877 w 1678"/>
              <a:gd name="T111" fmla="*/ 170199 h 1190"/>
              <a:gd name="T112" fmla="*/ 35388 w 1678"/>
              <a:gd name="T113" fmla="*/ 160911 h 1190"/>
              <a:gd name="T114" fmla="*/ 37021 w 1678"/>
              <a:gd name="T115" fmla="*/ 122117 h 1190"/>
              <a:gd name="T116" fmla="*/ 34027 w 1678"/>
              <a:gd name="T117" fmla="*/ 102174 h 1190"/>
              <a:gd name="T118" fmla="*/ 23138 w 1678"/>
              <a:gd name="T119" fmla="*/ 81958 h 1190"/>
              <a:gd name="T120" fmla="*/ 2994 w 1678"/>
              <a:gd name="T121" fmla="*/ 58736 h 11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678" h="1190">
                <a:moveTo>
                  <a:pt x="74" y="810"/>
                </a:moveTo>
                <a:lnTo>
                  <a:pt x="68" y="804"/>
                </a:lnTo>
                <a:lnTo>
                  <a:pt x="74" y="804"/>
                </a:lnTo>
                <a:lnTo>
                  <a:pt x="74" y="810"/>
                </a:lnTo>
                <a:close/>
                <a:moveTo>
                  <a:pt x="147" y="912"/>
                </a:moveTo>
                <a:lnTo>
                  <a:pt x="142" y="912"/>
                </a:lnTo>
                <a:lnTo>
                  <a:pt x="142" y="907"/>
                </a:lnTo>
                <a:lnTo>
                  <a:pt x="147" y="907"/>
                </a:lnTo>
                <a:lnTo>
                  <a:pt x="147" y="912"/>
                </a:lnTo>
                <a:close/>
                <a:moveTo>
                  <a:pt x="0" y="192"/>
                </a:moveTo>
                <a:lnTo>
                  <a:pt x="17" y="198"/>
                </a:lnTo>
                <a:lnTo>
                  <a:pt x="11" y="175"/>
                </a:lnTo>
                <a:lnTo>
                  <a:pt x="40" y="153"/>
                </a:lnTo>
                <a:lnTo>
                  <a:pt x="28" y="136"/>
                </a:lnTo>
                <a:lnTo>
                  <a:pt x="62" y="130"/>
                </a:lnTo>
                <a:lnTo>
                  <a:pt x="62" y="96"/>
                </a:lnTo>
                <a:lnTo>
                  <a:pt x="74" y="96"/>
                </a:lnTo>
                <a:lnTo>
                  <a:pt x="79" y="96"/>
                </a:lnTo>
                <a:lnTo>
                  <a:pt x="85" y="96"/>
                </a:lnTo>
                <a:lnTo>
                  <a:pt x="91" y="102"/>
                </a:lnTo>
                <a:lnTo>
                  <a:pt x="108" y="113"/>
                </a:lnTo>
                <a:lnTo>
                  <a:pt x="119" y="102"/>
                </a:lnTo>
                <a:lnTo>
                  <a:pt x="130" y="102"/>
                </a:lnTo>
                <a:lnTo>
                  <a:pt x="147" y="85"/>
                </a:lnTo>
                <a:lnTo>
                  <a:pt x="159" y="62"/>
                </a:lnTo>
                <a:lnTo>
                  <a:pt x="164" y="39"/>
                </a:lnTo>
                <a:lnTo>
                  <a:pt x="170" y="22"/>
                </a:lnTo>
                <a:lnTo>
                  <a:pt x="170" y="5"/>
                </a:lnTo>
                <a:lnTo>
                  <a:pt x="198" y="39"/>
                </a:lnTo>
                <a:lnTo>
                  <a:pt x="193" y="22"/>
                </a:lnTo>
                <a:lnTo>
                  <a:pt x="193" y="5"/>
                </a:lnTo>
                <a:lnTo>
                  <a:pt x="215" y="0"/>
                </a:lnTo>
                <a:lnTo>
                  <a:pt x="238" y="34"/>
                </a:lnTo>
                <a:lnTo>
                  <a:pt x="261" y="39"/>
                </a:lnTo>
                <a:lnTo>
                  <a:pt x="272" y="51"/>
                </a:lnTo>
                <a:lnTo>
                  <a:pt x="266" y="62"/>
                </a:lnTo>
                <a:lnTo>
                  <a:pt x="289" y="79"/>
                </a:lnTo>
                <a:lnTo>
                  <a:pt x="312" y="79"/>
                </a:lnTo>
                <a:lnTo>
                  <a:pt x="317" y="119"/>
                </a:lnTo>
                <a:lnTo>
                  <a:pt x="295" y="124"/>
                </a:lnTo>
                <a:lnTo>
                  <a:pt x="317" y="136"/>
                </a:lnTo>
                <a:lnTo>
                  <a:pt x="300" y="147"/>
                </a:lnTo>
                <a:lnTo>
                  <a:pt x="295" y="164"/>
                </a:lnTo>
                <a:lnTo>
                  <a:pt x="312" y="187"/>
                </a:lnTo>
                <a:lnTo>
                  <a:pt x="306" y="215"/>
                </a:lnTo>
                <a:lnTo>
                  <a:pt x="312" y="226"/>
                </a:lnTo>
                <a:lnTo>
                  <a:pt x="329" y="232"/>
                </a:lnTo>
                <a:lnTo>
                  <a:pt x="317" y="243"/>
                </a:lnTo>
                <a:lnTo>
                  <a:pt x="329" y="255"/>
                </a:lnTo>
                <a:lnTo>
                  <a:pt x="329" y="272"/>
                </a:lnTo>
                <a:lnTo>
                  <a:pt x="323" y="289"/>
                </a:lnTo>
                <a:lnTo>
                  <a:pt x="340" y="294"/>
                </a:lnTo>
                <a:lnTo>
                  <a:pt x="334" y="300"/>
                </a:lnTo>
                <a:lnTo>
                  <a:pt x="340" y="306"/>
                </a:lnTo>
                <a:lnTo>
                  <a:pt x="346" y="311"/>
                </a:lnTo>
                <a:lnTo>
                  <a:pt x="340" y="311"/>
                </a:lnTo>
                <a:lnTo>
                  <a:pt x="340" y="328"/>
                </a:lnTo>
                <a:lnTo>
                  <a:pt x="334" y="328"/>
                </a:lnTo>
                <a:lnTo>
                  <a:pt x="340" y="345"/>
                </a:lnTo>
                <a:lnTo>
                  <a:pt x="346" y="351"/>
                </a:lnTo>
                <a:lnTo>
                  <a:pt x="346" y="357"/>
                </a:lnTo>
                <a:lnTo>
                  <a:pt x="340" y="362"/>
                </a:lnTo>
                <a:lnTo>
                  <a:pt x="340" y="368"/>
                </a:lnTo>
                <a:lnTo>
                  <a:pt x="329" y="379"/>
                </a:lnTo>
                <a:lnTo>
                  <a:pt x="329" y="396"/>
                </a:lnTo>
                <a:lnTo>
                  <a:pt x="334" y="396"/>
                </a:lnTo>
                <a:lnTo>
                  <a:pt x="340" y="396"/>
                </a:lnTo>
                <a:lnTo>
                  <a:pt x="346" y="396"/>
                </a:lnTo>
                <a:lnTo>
                  <a:pt x="351" y="396"/>
                </a:lnTo>
                <a:lnTo>
                  <a:pt x="351" y="402"/>
                </a:lnTo>
                <a:lnTo>
                  <a:pt x="357" y="402"/>
                </a:lnTo>
                <a:lnTo>
                  <a:pt x="363" y="402"/>
                </a:lnTo>
                <a:lnTo>
                  <a:pt x="368" y="402"/>
                </a:lnTo>
                <a:lnTo>
                  <a:pt x="368" y="408"/>
                </a:lnTo>
                <a:lnTo>
                  <a:pt x="391" y="391"/>
                </a:lnTo>
                <a:lnTo>
                  <a:pt x="391" y="396"/>
                </a:lnTo>
                <a:lnTo>
                  <a:pt x="385" y="402"/>
                </a:lnTo>
                <a:lnTo>
                  <a:pt x="385" y="408"/>
                </a:lnTo>
                <a:lnTo>
                  <a:pt x="385" y="413"/>
                </a:lnTo>
                <a:lnTo>
                  <a:pt x="391" y="413"/>
                </a:lnTo>
                <a:lnTo>
                  <a:pt x="397" y="419"/>
                </a:lnTo>
                <a:lnTo>
                  <a:pt x="402" y="425"/>
                </a:lnTo>
                <a:lnTo>
                  <a:pt x="402" y="430"/>
                </a:lnTo>
                <a:lnTo>
                  <a:pt x="408" y="436"/>
                </a:lnTo>
                <a:lnTo>
                  <a:pt x="408" y="430"/>
                </a:lnTo>
                <a:lnTo>
                  <a:pt x="414" y="436"/>
                </a:lnTo>
                <a:lnTo>
                  <a:pt x="419" y="436"/>
                </a:lnTo>
                <a:lnTo>
                  <a:pt x="425" y="436"/>
                </a:lnTo>
                <a:lnTo>
                  <a:pt x="431" y="436"/>
                </a:lnTo>
                <a:lnTo>
                  <a:pt x="431" y="442"/>
                </a:lnTo>
                <a:lnTo>
                  <a:pt x="436" y="442"/>
                </a:lnTo>
                <a:lnTo>
                  <a:pt x="436" y="447"/>
                </a:lnTo>
                <a:lnTo>
                  <a:pt x="442" y="447"/>
                </a:lnTo>
                <a:lnTo>
                  <a:pt x="448" y="447"/>
                </a:lnTo>
                <a:lnTo>
                  <a:pt x="442" y="453"/>
                </a:lnTo>
                <a:lnTo>
                  <a:pt x="442" y="459"/>
                </a:lnTo>
                <a:lnTo>
                  <a:pt x="442" y="464"/>
                </a:lnTo>
                <a:lnTo>
                  <a:pt x="442" y="470"/>
                </a:lnTo>
                <a:lnTo>
                  <a:pt x="448" y="476"/>
                </a:lnTo>
                <a:lnTo>
                  <a:pt x="448" y="481"/>
                </a:lnTo>
                <a:lnTo>
                  <a:pt x="448" y="487"/>
                </a:lnTo>
                <a:lnTo>
                  <a:pt x="448" y="493"/>
                </a:lnTo>
                <a:lnTo>
                  <a:pt x="431" y="498"/>
                </a:lnTo>
                <a:lnTo>
                  <a:pt x="419" y="504"/>
                </a:lnTo>
                <a:lnTo>
                  <a:pt x="425" y="521"/>
                </a:lnTo>
                <a:lnTo>
                  <a:pt x="431" y="527"/>
                </a:lnTo>
                <a:lnTo>
                  <a:pt x="431" y="532"/>
                </a:lnTo>
                <a:lnTo>
                  <a:pt x="436" y="532"/>
                </a:lnTo>
                <a:lnTo>
                  <a:pt x="436" y="538"/>
                </a:lnTo>
                <a:lnTo>
                  <a:pt x="442" y="544"/>
                </a:lnTo>
                <a:lnTo>
                  <a:pt x="442" y="549"/>
                </a:lnTo>
                <a:lnTo>
                  <a:pt x="448" y="549"/>
                </a:lnTo>
                <a:lnTo>
                  <a:pt x="442" y="583"/>
                </a:lnTo>
                <a:lnTo>
                  <a:pt x="453" y="600"/>
                </a:lnTo>
                <a:lnTo>
                  <a:pt x="470" y="589"/>
                </a:lnTo>
                <a:lnTo>
                  <a:pt x="470" y="583"/>
                </a:lnTo>
                <a:lnTo>
                  <a:pt x="465" y="578"/>
                </a:lnTo>
                <a:lnTo>
                  <a:pt x="465" y="572"/>
                </a:lnTo>
                <a:lnTo>
                  <a:pt x="476" y="555"/>
                </a:lnTo>
                <a:lnTo>
                  <a:pt x="476" y="544"/>
                </a:lnTo>
                <a:lnTo>
                  <a:pt x="482" y="538"/>
                </a:lnTo>
                <a:lnTo>
                  <a:pt x="487" y="549"/>
                </a:lnTo>
                <a:lnTo>
                  <a:pt x="499" y="544"/>
                </a:lnTo>
                <a:lnTo>
                  <a:pt x="499" y="538"/>
                </a:lnTo>
                <a:lnTo>
                  <a:pt x="505" y="532"/>
                </a:lnTo>
                <a:lnTo>
                  <a:pt x="510" y="538"/>
                </a:lnTo>
                <a:lnTo>
                  <a:pt x="522" y="527"/>
                </a:lnTo>
                <a:lnTo>
                  <a:pt x="527" y="521"/>
                </a:lnTo>
                <a:lnTo>
                  <a:pt x="539" y="521"/>
                </a:lnTo>
                <a:lnTo>
                  <a:pt x="539" y="527"/>
                </a:lnTo>
                <a:lnTo>
                  <a:pt x="556" y="527"/>
                </a:lnTo>
                <a:lnTo>
                  <a:pt x="584" y="504"/>
                </a:lnTo>
                <a:lnTo>
                  <a:pt x="590" y="493"/>
                </a:lnTo>
                <a:lnTo>
                  <a:pt x="601" y="493"/>
                </a:lnTo>
                <a:lnTo>
                  <a:pt x="607" y="481"/>
                </a:lnTo>
                <a:lnTo>
                  <a:pt x="618" y="476"/>
                </a:lnTo>
                <a:lnTo>
                  <a:pt x="624" y="470"/>
                </a:lnTo>
                <a:lnTo>
                  <a:pt x="629" y="476"/>
                </a:lnTo>
                <a:lnTo>
                  <a:pt x="629" y="481"/>
                </a:lnTo>
                <a:lnTo>
                  <a:pt x="635" y="487"/>
                </a:lnTo>
                <a:lnTo>
                  <a:pt x="641" y="504"/>
                </a:lnTo>
                <a:lnTo>
                  <a:pt x="635" y="504"/>
                </a:lnTo>
                <a:lnTo>
                  <a:pt x="612" y="515"/>
                </a:lnTo>
                <a:lnTo>
                  <a:pt x="618" y="527"/>
                </a:lnTo>
                <a:lnTo>
                  <a:pt x="607" y="532"/>
                </a:lnTo>
                <a:lnTo>
                  <a:pt x="595" y="527"/>
                </a:lnTo>
                <a:lnTo>
                  <a:pt x="595" y="544"/>
                </a:lnTo>
                <a:lnTo>
                  <a:pt x="601" y="561"/>
                </a:lnTo>
                <a:lnTo>
                  <a:pt x="607" y="595"/>
                </a:lnTo>
                <a:lnTo>
                  <a:pt x="618" y="600"/>
                </a:lnTo>
                <a:lnTo>
                  <a:pt x="624" y="606"/>
                </a:lnTo>
                <a:lnTo>
                  <a:pt x="624" y="629"/>
                </a:lnTo>
                <a:lnTo>
                  <a:pt x="629" y="634"/>
                </a:lnTo>
                <a:lnTo>
                  <a:pt x="635" y="634"/>
                </a:lnTo>
                <a:lnTo>
                  <a:pt x="646" y="634"/>
                </a:lnTo>
                <a:lnTo>
                  <a:pt x="658" y="651"/>
                </a:lnTo>
                <a:lnTo>
                  <a:pt x="663" y="657"/>
                </a:lnTo>
                <a:lnTo>
                  <a:pt x="663" y="668"/>
                </a:lnTo>
                <a:lnTo>
                  <a:pt x="675" y="668"/>
                </a:lnTo>
                <a:lnTo>
                  <a:pt x="686" y="674"/>
                </a:lnTo>
                <a:lnTo>
                  <a:pt x="703" y="674"/>
                </a:lnTo>
                <a:lnTo>
                  <a:pt x="720" y="663"/>
                </a:lnTo>
                <a:lnTo>
                  <a:pt x="731" y="674"/>
                </a:lnTo>
                <a:lnTo>
                  <a:pt x="743" y="674"/>
                </a:lnTo>
                <a:lnTo>
                  <a:pt x="760" y="674"/>
                </a:lnTo>
                <a:lnTo>
                  <a:pt x="765" y="668"/>
                </a:lnTo>
                <a:lnTo>
                  <a:pt x="782" y="663"/>
                </a:lnTo>
                <a:lnTo>
                  <a:pt x="788" y="640"/>
                </a:lnTo>
                <a:lnTo>
                  <a:pt x="788" y="623"/>
                </a:lnTo>
                <a:lnTo>
                  <a:pt x="782" y="617"/>
                </a:lnTo>
                <a:lnTo>
                  <a:pt x="782" y="612"/>
                </a:lnTo>
                <a:lnTo>
                  <a:pt x="794" y="606"/>
                </a:lnTo>
                <a:lnTo>
                  <a:pt x="828" y="595"/>
                </a:lnTo>
                <a:lnTo>
                  <a:pt x="839" y="600"/>
                </a:lnTo>
                <a:lnTo>
                  <a:pt x="879" y="589"/>
                </a:lnTo>
                <a:lnTo>
                  <a:pt x="873" y="578"/>
                </a:lnTo>
                <a:lnTo>
                  <a:pt x="884" y="561"/>
                </a:lnTo>
                <a:lnTo>
                  <a:pt x="890" y="549"/>
                </a:lnTo>
                <a:lnTo>
                  <a:pt x="901" y="544"/>
                </a:lnTo>
                <a:lnTo>
                  <a:pt x="907" y="538"/>
                </a:lnTo>
                <a:lnTo>
                  <a:pt x="913" y="532"/>
                </a:lnTo>
                <a:lnTo>
                  <a:pt x="913" y="521"/>
                </a:lnTo>
                <a:lnTo>
                  <a:pt x="924" y="527"/>
                </a:lnTo>
                <a:lnTo>
                  <a:pt x="941" y="521"/>
                </a:lnTo>
                <a:lnTo>
                  <a:pt x="947" y="521"/>
                </a:lnTo>
                <a:lnTo>
                  <a:pt x="958" y="510"/>
                </a:lnTo>
                <a:lnTo>
                  <a:pt x="964" y="510"/>
                </a:lnTo>
                <a:lnTo>
                  <a:pt x="981" y="504"/>
                </a:lnTo>
                <a:lnTo>
                  <a:pt x="981" y="487"/>
                </a:lnTo>
                <a:lnTo>
                  <a:pt x="998" y="476"/>
                </a:lnTo>
                <a:lnTo>
                  <a:pt x="1015" y="487"/>
                </a:lnTo>
                <a:lnTo>
                  <a:pt x="1026" y="476"/>
                </a:lnTo>
                <a:lnTo>
                  <a:pt x="1037" y="481"/>
                </a:lnTo>
                <a:lnTo>
                  <a:pt x="1037" y="487"/>
                </a:lnTo>
                <a:lnTo>
                  <a:pt x="1060" y="493"/>
                </a:lnTo>
                <a:lnTo>
                  <a:pt x="1077" y="493"/>
                </a:lnTo>
                <a:lnTo>
                  <a:pt x="1083" y="481"/>
                </a:lnTo>
                <a:lnTo>
                  <a:pt x="1100" y="476"/>
                </a:lnTo>
                <a:lnTo>
                  <a:pt x="1100" y="453"/>
                </a:lnTo>
                <a:lnTo>
                  <a:pt x="1117" y="442"/>
                </a:lnTo>
                <a:lnTo>
                  <a:pt x="1122" y="459"/>
                </a:lnTo>
                <a:lnTo>
                  <a:pt x="1134" y="436"/>
                </a:lnTo>
                <a:lnTo>
                  <a:pt x="1122" y="430"/>
                </a:lnTo>
                <a:lnTo>
                  <a:pt x="1122" y="425"/>
                </a:lnTo>
                <a:lnTo>
                  <a:pt x="1122" y="419"/>
                </a:lnTo>
                <a:lnTo>
                  <a:pt x="1122" y="413"/>
                </a:lnTo>
                <a:lnTo>
                  <a:pt x="1117" y="402"/>
                </a:lnTo>
                <a:lnTo>
                  <a:pt x="1122" y="402"/>
                </a:lnTo>
                <a:lnTo>
                  <a:pt x="1128" y="396"/>
                </a:lnTo>
                <a:lnTo>
                  <a:pt x="1128" y="391"/>
                </a:lnTo>
                <a:lnTo>
                  <a:pt x="1122" y="385"/>
                </a:lnTo>
                <a:lnTo>
                  <a:pt x="1145" y="391"/>
                </a:lnTo>
                <a:lnTo>
                  <a:pt x="1145" y="362"/>
                </a:lnTo>
                <a:lnTo>
                  <a:pt x="1162" y="345"/>
                </a:lnTo>
                <a:lnTo>
                  <a:pt x="1168" y="328"/>
                </a:lnTo>
                <a:lnTo>
                  <a:pt x="1173" y="311"/>
                </a:lnTo>
                <a:lnTo>
                  <a:pt x="1179" y="311"/>
                </a:lnTo>
                <a:lnTo>
                  <a:pt x="1224" y="334"/>
                </a:lnTo>
                <a:lnTo>
                  <a:pt x="1247" y="334"/>
                </a:lnTo>
                <a:lnTo>
                  <a:pt x="1247" y="345"/>
                </a:lnTo>
                <a:lnTo>
                  <a:pt x="1258" y="351"/>
                </a:lnTo>
                <a:lnTo>
                  <a:pt x="1247" y="368"/>
                </a:lnTo>
                <a:lnTo>
                  <a:pt x="1264" y="374"/>
                </a:lnTo>
                <a:lnTo>
                  <a:pt x="1292" y="374"/>
                </a:lnTo>
                <a:lnTo>
                  <a:pt x="1298" y="385"/>
                </a:lnTo>
                <a:lnTo>
                  <a:pt x="1321" y="379"/>
                </a:lnTo>
                <a:lnTo>
                  <a:pt x="1321" y="385"/>
                </a:lnTo>
                <a:lnTo>
                  <a:pt x="1332" y="391"/>
                </a:lnTo>
                <a:lnTo>
                  <a:pt x="1349" y="385"/>
                </a:lnTo>
                <a:lnTo>
                  <a:pt x="1372" y="391"/>
                </a:lnTo>
                <a:lnTo>
                  <a:pt x="1372" y="402"/>
                </a:lnTo>
                <a:lnTo>
                  <a:pt x="1377" y="419"/>
                </a:lnTo>
                <a:lnTo>
                  <a:pt x="1417" y="391"/>
                </a:lnTo>
                <a:lnTo>
                  <a:pt x="1417" y="379"/>
                </a:lnTo>
                <a:lnTo>
                  <a:pt x="1429" y="374"/>
                </a:lnTo>
                <a:lnTo>
                  <a:pt x="1434" y="357"/>
                </a:lnTo>
                <a:lnTo>
                  <a:pt x="1446" y="345"/>
                </a:lnTo>
                <a:lnTo>
                  <a:pt x="1468" y="345"/>
                </a:lnTo>
                <a:lnTo>
                  <a:pt x="1468" y="340"/>
                </a:lnTo>
                <a:lnTo>
                  <a:pt x="1497" y="345"/>
                </a:lnTo>
                <a:lnTo>
                  <a:pt x="1502" y="340"/>
                </a:lnTo>
                <a:lnTo>
                  <a:pt x="1514" y="340"/>
                </a:lnTo>
                <a:lnTo>
                  <a:pt x="1519" y="328"/>
                </a:lnTo>
                <a:lnTo>
                  <a:pt x="1525" y="334"/>
                </a:lnTo>
                <a:lnTo>
                  <a:pt x="1553" y="334"/>
                </a:lnTo>
                <a:lnTo>
                  <a:pt x="1553" y="340"/>
                </a:lnTo>
                <a:lnTo>
                  <a:pt x="1582" y="351"/>
                </a:lnTo>
                <a:lnTo>
                  <a:pt x="1582" y="357"/>
                </a:lnTo>
                <a:lnTo>
                  <a:pt x="1570" y="362"/>
                </a:lnTo>
                <a:lnTo>
                  <a:pt x="1582" y="368"/>
                </a:lnTo>
                <a:lnTo>
                  <a:pt x="1587" y="379"/>
                </a:lnTo>
                <a:lnTo>
                  <a:pt x="1593" y="374"/>
                </a:lnTo>
                <a:lnTo>
                  <a:pt x="1599" y="368"/>
                </a:lnTo>
                <a:lnTo>
                  <a:pt x="1610" y="362"/>
                </a:lnTo>
                <a:lnTo>
                  <a:pt x="1610" y="345"/>
                </a:lnTo>
                <a:lnTo>
                  <a:pt x="1633" y="345"/>
                </a:lnTo>
                <a:lnTo>
                  <a:pt x="1627" y="351"/>
                </a:lnTo>
                <a:lnTo>
                  <a:pt x="1638" y="368"/>
                </a:lnTo>
                <a:lnTo>
                  <a:pt x="1661" y="368"/>
                </a:lnTo>
                <a:lnTo>
                  <a:pt x="1667" y="374"/>
                </a:lnTo>
                <a:lnTo>
                  <a:pt x="1661" y="374"/>
                </a:lnTo>
                <a:lnTo>
                  <a:pt x="1661" y="385"/>
                </a:lnTo>
                <a:lnTo>
                  <a:pt x="1655" y="385"/>
                </a:lnTo>
                <a:lnTo>
                  <a:pt x="1650" y="396"/>
                </a:lnTo>
                <a:lnTo>
                  <a:pt x="1661" y="396"/>
                </a:lnTo>
                <a:lnTo>
                  <a:pt x="1672" y="402"/>
                </a:lnTo>
                <a:lnTo>
                  <a:pt x="1672" y="408"/>
                </a:lnTo>
                <a:lnTo>
                  <a:pt x="1678" y="408"/>
                </a:lnTo>
                <a:lnTo>
                  <a:pt x="1661" y="425"/>
                </a:lnTo>
                <a:lnTo>
                  <a:pt x="1650" y="425"/>
                </a:lnTo>
                <a:lnTo>
                  <a:pt x="1650" y="430"/>
                </a:lnTo>
                <a:lnTo>
                  <a:pt x="1655" y="430"/>
                </a:lnTo>
                <a:lnTo>
                  <a:pt x="1655" y="436"/>
                </a:lnTo>
                <a:lnTo>
                  <a:pt x="1644" y="436"/>
                </a:lnTo>
                <a:lnTo>
                  <a:pt x="1644" y="447"/>
                </a:lnTo>
                <a:lnTo>
                  <a:pt x="1650" y="447"/>
                </a:lnTo>
                <a:lnTo>
                  <a:pt x="1650" y="459"/>
                </a:lnTo>
                <a:lnTo>
                  <a:pt x="1638" y="464"/>
                </a:lnTo>
                <a:lnTo>
                  <a:pt x="1627" y="464"/>
                </a:lnTo>
                <a:lnTo>
                  <a:pt x="1627" y="470"/>
                </a:lnTo>
                <a:lnTo>
                  <a:pt x="1587" y="493"/>
                </a:lnTo>
                <a:lnTo>
                  <a:pt x="1576" y="487"/>
                </a:lnTo>
                <a:lnTo>
                  <a:pt x="1570" y="481"/>
                </a:lnTo>
                <a:lnTo>
                  <a:pt x="1553" y="470"/>
                </a:lnTo>
                <a:lnTo>
                  <a:pt x="1553" y="476"/>
                </a:lnTo>
                <a:lnTo>
                  <a:pt x="1531" y="487"/>
                </a:lnTo>
                <a:lnTo>
                  <a:pt x="1525" y="504"/>
                </a:lnTo>
                <a:lnTo>
                  <a:pt x="1531" y="510"/>
                </a:lnTo>
                <a:lnTo>
                  <a:pt x="1525" y="515"/>
                </a:lnTo>
                <a:lnTo>
                  <a:pt x="1468" y="510"/>
                </a:lnTo>
                <a:lnTo>
                  <a:pt x="1457" y="527"/>
                </a:lnTo>
                <a:lnTo>
                  <a:pt x="1440" y="521"/>
                </a:lnTo>
                <a:lnTo>
                  <a:pt x="1440" y="527"/>
                </a:lnTo>
                <a:lnTo>
                  <a:pt x="1412" y="538"/>
                </a:lnTo>
                <a:lnTo>
                  <a:pt x="1417" y="549"/>
                </a:lnTo>
                <a:lnTo>
                  <a:pt x="1417" y="561"/>
                </a:lnTo>
                <a:lnTo>
                  <a:pt x="1429" y="566"/>
                </a:lnTo>
                <a:lnTo>
                  <a:pt x="1434" y="595"/>
                </a:lnTo>
                <a:lnTo>
                  <a:pt x="1429" y="600"/>
                </a:lnTo>
                <a:lnTo>
                  <a:pt x="1417" y="600"/>
                </a:lnTo>
                <a:lnTo>
                  <a:pt x="1440" y="612"/>
                </a:lnTo>
                <a:lnTo>
                  <a:pt x="1440" y="629"/>
                </a:lnTo>
                <a:lnTo>
                  <a:pt x="1451" y="629"/>
                </a:lnTo>
                <a:lnTo>
                  <a:pt x="1446" y="646"/>
                </a:lnTo>
                <a:lnTo>
                  <a:pt x="1423" y="640"/>
                </a:lnTo>
                <a:lnTo>
                  <a:pt x="1400" y="634"/>
                </a:lnTo>
                <a:lnTo>
                  <a:pt x="1383" y="651"/>
                </a:lnTo>
                <a:lnTo>
                  <a:pt x="1383" y="646"/>
                </a:lnTo>
                <a:lnTo>
                  <a:pt x="1377" y="646"/>
                </a:lnTo>
                <a:lnTo>
                  <a:pt x="1377" y="640"/>
                </a:lnTo>
                <a:lnTo>
                  <a:pt x="1377" y="634"/>
                </a:lnTo>
                <a:lnTo>
                  <a:pt x="1372" y="634"/>
                </a:lnTo>
                <a:lnTo>
                  <a:pt x="1372" y="629"/>
                </a:lnTo>
                <a:lnTo>
                  <a:pt x="1377" y="657"/>
                </a:lnTo>
                <a:lnTo>
                  <a:pt x="1372" y="663"/>
                </a:lnTo>
                <a:lnTo>
                  <a:pt x="1355" y="657"/>
                </a:lnTo>
                <a:lnTo>
                  <a:pt x="1349" y="668"/>
                </a:lnTo>
                <a:lnTo>
                  <a:pt x="1338" y="680"/>
                </a:lnTo>
                <a:lnTo>
                  <a:pt x="1338" y="691"/>
                </a:lnTo>
                <a:lnTo>
                  <a:pt x="1332" y="697"/>
                </a:lnTo>
                <a:lnTo>
                  <a:pt x="1338" y="702"/>
                </a:lnTo>
                <a:lnTo>
                  <a:pt x="1332" y="719"/>
                </a:lnTo>
                <a:lnTo>
                  <a:pt x="1321" y="731"/>
                </a:lnTo>
                <a:lnTo>
                  <a:pt x="1309" y="753"/>
                </a:lnTo>
                <a:lnTo>
                  <a:pt x="1304" y="753"/>
                </a:lnTo>
                <a:lnTo>
                  <a:pt x="1287" y="776"/>
                </a:lnTo>
                <a:lnTo>
                  <a:pt x="1281" y="782"/>
                </a:lnTo>
                <a:lnTo>
                  <a:pt x="1281" y="793"/>
                </a:lnTo>
                <a:lnTo>
                  <a:pt x="1281" y="799"/>
                </a:lnTo>
                <a:lnTo>
                  <a:pt x="1321" y="804"/>
                </a:lnTo>
                <a:lnTo>
                  <a:pt x="1360" y="799"/>
                </a:lnTo>
                <a:lnTo>
                  <a:pt x="1377" y="799"/>
                </a:lnTo>
                <a:lnTo>
                  <a:pt x="1423" y="799"/>
                </a:lnTo>
                <a:lnTo>
                  <a:pt x="1434" y="810"/>
                </a:lnTo>
                <a:lnTo>
                  <a:pt x="1474" y="810"/>
                </a:lnTo>
                <a:lnTo>
                  <a:pt x="1474" y="816"/>
                </a:lnTo>
                <a:lnTo>
                  <a:pt x="1497" y="827"/>
                </a:lnTo>
                <a:lnTo>
                  <a:pt x="1497" y="844"/>
                </a:lnTo>
                <a:lnTo>
                  <a:pt x="1519" y="861"/>
                </a:lnTo>
                <a:lnTo>
                  <a:pt x="1514" y="867"/>
                </a:lnTo>
                <a:lnTo>
                  <a:pt x="1491" y="873"/>
                </a:lnTo>
                <a:lnTo>
                  <a:pt x="1485" y="867"/>
                </a:lnTo>
                <a:lnTo>
                  <a:pt x="1480" y="878"/>
                </a:lnTo>
                <a:lnTo>
                  <a:pt x="1451" y="884"/>
                </a:lnTo>
                <a:lnTo>
                  <a:pt x="1451" y="895"/>
                </a:lnTo>
                <a:lnTo>
                  <a:pt x="1440" y="901"/>
                </a:lnTo>
                <a:lnTo>
                  <a:pt x="1468" y="907"/>
                </a:lnTo>
                <a:lnTo>
                  <a:pt x="1474" y="901"/>
                </a:lnTo>
                <a:lnTo>
                  <a:pt x="1485" y="901"/>
                </a:lnTo>
                <a:lnTo>
                  <a:pt x="1485" y="918"/>
                </a:lnTo>
                <a:lnTo>
                  <a:pt x="1525" y="929"/>
                </a:lnTo>
                <a:lnTo>
                  <a:pt x="1519" y="935"/>
                </a:lnTo>
                <a:lnTo>
                  <a:pt x="1514" y="935"/>
                </a:lnTo>
                <a:lnTo>
                  <a:pt x="1514" y="941"/>
                </a:lnTo>
                <a:lnTo>
                  <a:pt x="1508" y="941"/>
                </a:lnTo>
                <a:lnTo>
                  <a:pt x="1508" y="946"/>
                </a:lnTo>
                <a:lnTo>
                  <a:pt x="1508" y="952"/>
                </a:lnTo>
                <a:lnTo>
                  <a:pt x="1508" y="958"/>
                </a:lnTo>
                <a:lnTo>
                  <a:pt x="1497" y="958"/>
                </a:lnTo>
                <a:lnTo>
                  <a:pt x="1491" y="958"/>
                </a:lnTo>
                <a:lnTo>
                  <a:pt x="1485" y="958"/>
                </a:lnTo>
                <a:lnTo>
                  <a:pt x="1480" y="963"/>
                </a:lnTo>
                <a:lnTo>
                  <a:pt x="1474" y="963"/>
                </a:lnTo>
                <a:lnTo>
                  <a:pt x="1468" y="963"/>
                </a:lnTo>
                <a:lnTo>
                  <a:pt x="1463" y="963"/>
                </a:lnTo>
                <a:lnTo>
                  <a:pt x="1457" y="963"/>
                </a:lnTo>
                <a:lnTo>
                  <a:pt x="1451" y="963"/>
                </a:lnTo>
                <a:lnTo>
                  <a:pt x="1451" y="969"/>
                </a:lnTo>
                <a:lnTo>
                  <a:pt x="1446" y="969"/>
                </a:lnTo>
                <a:lnTo>
                  <a:pt x="1440" y="975"/>
                </a:lnTo>
                <a:lnTo>
                  <a:pt x="1440" y="980"/>
                </a:lnTo>
                <a:lnTo>
                  <a:pt x="1440" y="986"/>
                </a:lnTo>
                <a:lnTo>
                  <a:pt x="1446" y="986"/>
                </a:lnTo>
                <a:lnTo>
                  <a:pt x="1446" y="992"/>
                </a:lnTo>
                <a:lnTo>
                  <a:pt x="1451" y="992"/>
                </a:lnTo>
                <a:lnTo>
                  <a:pt x="1446" y="992"/>
                </a:lnTo>
                <a:lnTo>
                  <a:pt x="1440" y="986"/>
                </a:lnTo>
                <a:lnTo>
                  <a:pt x="1434" y="992"/>
                </a:lnTo>
                <a:lnTo>
                  <a:pt x="1429" y="986"/>
                </a:lnTo>
                <a:lnTo>
                  <a:pt x="1412" y="986"/>
                </a:lnTo>
                <a:lnTo>
                  <a:pt x="1406" y="986"/>
                </a:lnTo>
                <a:lnTo>
                  <a:pt x="1400" y="986"/>
                </a:lnTo>
                <a:lnTo>
                  <a:pt x="1395" y="986"/>
                </a:lnTo>
                <a:lnTo>
                  <a:pt x="1383" y="986"/>
                </a:lnTo>
                <a:lnTo>
                  <a:pt x="1377" y="986"/>
                </a:lnTo>
                <a:lnTo>
                  <a:pt x="1377" y="980"/>
                </a:lnTo>
                <a:lnTo>
                  <a:pt x="1366" y="986"/>
                </a:lnTo>
                <a:lnTo>
                  <a:pt x="1360" y="986"/>
                </a:lnTo>
                <a:lnTo>
                  <a:pt x="1360" y="980"/>
                </a:lnTo>
                <a:lnTo>
                  <a:pt x="1355" y="980"/>
                </a:lnTo>
                <a:lnTo>
                  <a:pt x="1360" y="980"/>
                </a:lnTo>
                <a:lnTo>
                  <a:pt x="1360" y="975"/>
                </a:lnTo>
                <a:lnTo>
                  <a:pt x="1355" y="975"/>
                </a:lnTo>
                <a:lnTo>
                  <a:pt x="1360" y="975"/>
                </a:lnTo>
                <a:lnTo>
                  <a:pt x="1355" y="975"/>
                </a:lnTo>
                <a:lnTo>
                  <a:pt x="1349" y="975"/>
                </a:lnTo>
                <a:lnTo>
                  <a:pt x="1343" y="975"/>
                </a:lnTo>
                <a:lnTo>
                  <a:pt x="1343" y="969"/>
                </a:lnTo>
                <a:lnTo>
                  <a:pt x="1338" y="969"/>
                </a:lnTo>
                <a:lnTo>
                  <a:pt x="1343" y="969"/>
                </a:lnTo>
                <a:lnTo>
                  <a:pt x="1343" y="975"/>
                </a:lnTo>
                <a:lnTo>
                  <a:pt x="1349" y="975"/>
                </a:lnTo>
                <a:lnTo>
                  <a:pt x="1355" y="980"/>
                </a:lnTo>
                <a:lnTo>
                  <a:pt x="1355" y="986"/>
                </a:lnTo>
                <a:lnTo>
                  <a:pt x="1349" y="980"/>
                </a:lnTo>
                <a:lnTo>
                  <a:pt x="1343" y="980"/>
                </a:lnTo>
                <a:lnTo>
                  <a:pt x="1338" y="980"/>
                </a:lnTo>
                <a:lnTo>
                  <a:pt x="1338" y="986"/>
                </a:lnTo>
                <a:lnTo>
                  <a:pt x="1332" y="986"/>
                </a:lnTo>
                <a:lnTo>
                  <a:pt x="1326" y="980"/>
                </a:lnTo>
                <a:lnTo>
                  <a:pt x="1315" y="975"/>
                </a:lnTo>
                <a:lnTo>
                  <a:pt x="1304" y="975"/>
                </a:lnTo>
                <a:lnTo>
                  <a:pt x="1292" y="969"/>
                </a:lnTo>
                <a:lnTo>
                  <a:pt x="1287" y="969"/>
                </a:lnTo>
                <a:lnTo>
                  <a:pt x="1281" y="969"/>
                </a:lnTo>
                <a:lnTo>
                  <a:pt x="1270" y="969"/>
                </a:lnTo>
                <a:lnTo>
                  <a:pt x="1253" y="963"/>
                </a:lnTo>
                <a:lnTo>
                  <a:pt x="1247" y="963"/>
                </a:lnTo>
                <a:lnTo>
                  <a:pt x="1241" y="963"/>
                </a:lnTo>
                <a:lnTo>
                  <a:pt x="1230" y="963"/>
                </a:lnTo>
                <a:lnTo>
                  <a:pt x="1224" y="969"/>
                </a:lnTo>
                <a:lnTo>
                  <a:pt x="1219" y="969"/>
                </a:lnTo>
                <a:lnTo>
                  <a:pt x="1213" y="975"/>
                </a:lnTo>
                <a:lnTo>
                  <a:pt x="1207" y="975"/>
                </a:lnTo>
                <a:lnTo>
                  <a:pt x="1202" y="975"/>
                </a:lnTo>
                <a:lnTo>
                  <a:pt x="1196" y="975"/>
                </a:lnTo>
                <a:lnTo>
                  <a:pt x="1190" y="980"/>
                </a:lnTo>
                <a:lnTo>
                  <a:pt x="1185" y="980"/>
                </a:lnTo>
                <a:lnTo>
                  <a:pt x="1185" y="975"/>
                </a:lnTo>
                <a:lnTo>
                  <a:pt x="1185" y="980"/>
                </a:lnTo>
                <a:lnTo>
                  <a:pt x="1179" y="980"/>
                </a:lnTo>
                <a:lnTo>
                  <a:pt x="1173" y="975"/>
                </a:lnTo>
                <a:lnTo>
                  <a:pt x="1168" y="975"/>
                </a:lnTo>
                <a:lnTo>
                  <a:pt x="1162" y="975"/>
                </a:lnTo>
                <a:lnTo>
                  <a:pt x="1151" y="975"/>
                </a:lnTo>
                <a:lnTo>
                  <a:pt x="1145" y="980"/>
                </a:lnTo>
                <a:lnTo>
                  <a:pt x="1128" y="980"/>
                </a:lnTo>
                <a:lnTo>
                  <a:pt x="1128" y="986"/>
                </a:lnTo>
                <a:lnTo>
                  <a:pt x="1122" y="986"/>
                </a:lnTo>
                <a:lnTo>
                  <a:pt x="1122" y="992"/>
                </a:lnTo>
                <a:lnTo>
                  <a:pt x="1117" y="992"/>
                </a:lnTo>
                <a:lnTo>
                  <a:pt x="1111" y="997"/>
                </a:lnTo>
                <a:lnTo>
                  <a:pt x="1111" y="1003"/>
                </a:lnTo>
                <a:lnTo>
                  <a:pt x="1117" y="1009"/>
                </a:lnTo>
                <a:lnTo>
                  <a:pt x="1122" y="1009"/>
                </a:lnTo>
                <a:lnTo>
                  <a:pt x="1122" y="1014"/>
                </a:lnTo>
                <a:lnTo>
                  <a:pt x="1117" y="1014"/>
                </a:lnTo>
                <a:lnTo>
                  <a:pt x="1111" y="1014"/>
                </a:lnTo>
                <a:lnTo>
                  <a:pt x="1105" y="1014"/>
                </a:lnTo>
                <a:lnTo>
                  <a:pt x="1105" y="1020"/>
                </a:lnTo>
                <a:lnTo>
                  <a:pt x="1100" y="1014"/>
                </a:lnTo>
                <a:lnTo>
                  <a:pt x="1094" y="1014"/>
                </a:lnTo>
                <a:lnTo>
                  <a:pt x="1088" y="1020"/>
                </a:lnTo>
                <a:lnTo>
                  <a:pt x="1077" y="1020"/>
                </a:lnTo>
                <a:lnTo>
                  <a:pt x="1071" y="1026"/>
                </a:lnTo>
                <a:lnTo>
                  <a:pt x="1066" y="1026"/>
                </a:lnTo>
                <a:lnTo>
                  <a:pt x="1066" y="1031"/>
                </a:lnTo>
                <a:lnTo>
                  <a:pt x="1060" y="1037"/>
                </a:lnTo>
                <a:lnTo>
                  <a:pt x="1060" y="1043"/>
                </a:lnTo>
                <a:lnTo>
                  <a:pt x="1066" y="1043"/>
                </a:lnTo>
                <a:lnTo>
                  <a:pt x="1060" y="1048"/>
                </a:lnTo>
                <a:lnTo>
                  <a:pt x="1054" y="1048"/>
                </a:lnTo>
                <a:lnTo>
                  <a:pt x="1054" y="1054"/>
                </a:lnTo>
                <a:lnTo>
                  <a:pt x="1049" y="1054"/>
                </a:lnTo>
                <a:lnTo>
                  <a:pt x="1043" y="1054"/>
                </a:lnTo>
                <a:lnTo>
                  <a:pt x="1037" y="1048"/>
                </a:lnTo>
                <a:lnTo>
                  <a:pt x="1037" y="1043"/>
                </a:lnTo>
                <a:lnTo>
                  <a:pt x="1037" y="1048"/>
                </a:lnTo>
                <a:lnTo>
                  <a:pt x="1043" y="1054"/>
                </a:lnTo>
                <a:lnTo>
                  <a:pt x="1049" y="1054"/>
                </a:lnTo>
                <a:lnTo>
                  <a:pt x="1049" y="1060"/>
                </a:lnTo>
                <a:lnTo>
                  <a:pt x="1043" y="1060"/>
                </a:lnTo>
                <a:lnTo>
                  <a:pt x="1037" y="1065"/>
                </a:lnTo>
                <a:lnTo>
                  <a:pt x="1032" y="1065"/>
                </a:lnTo>
                <a:lnTo>
                  <a:pt x="1026" y="1065"/>
                </a:lnTo>
                <a:lnTo>
                  <a:pt x="1020" y="1065"/>
                </a:lnTo>
                <a:lnTo>
                  <a:pt x="1009" y="1071"/>
                </a:lnTo>
                <a:lnTo>
                  <a:pt x="1003" y="1071"/>
                </a:lnTo>
                <a:lnTo>
                  <a:pt x="992" y="1065"/>
                </a:lnTo>
                <a:lnTo>
                  <a:pt x="975" y="1060"/>
                </a:lnTo>
                <a:lnTo>
                  <a:pt x="969" y="1060"/>
                </a:lnTo>
                <a:lnTo>
                  <a:pt x="964" y="1060"/>
                </a:lnTo>
                <a:lnTo>
                  <a:pt x="958" y="1060"/>
                </a:lnTo>
                <a:lnTo>
                  <a:pt x="947" y="1060"/>
                </a:lnTo>
                <a:lnTo>
                  <a:pt x="941" y="1060"/>
                </a:lnTo>
                <a:lnTo>
                  <a:pt x="935" y="1065"/>
                </a:lnTo>
                <a:lnTo>
                  <a:pt x="930" y="1060"/>
                </a:lnTo>
                <a:lnTo>
                  <a:pt x="930" y="1065"/>
                </a:lnTo>
                <a:lnTo>
                  <a:pt x="930" y="1071"/>
                </a:lnTo>
                <a:lnTo>
                  <a:pt x="924" y="1071"/>
                </a:lnTo>
                <a:lnTo>
                  <a:pt x="918" y="1071"/>
                </a:lnTo>
                <a:lnTo>
                  <a:pt x="918" y="1077"/>
                </a:lnTo>
                <a:lnTo>
                  <a:pt x="913" y="1077"/>
                </a:lnTo>
                <a:lnTo>
                  <a:pt x="907" y="1077"/>
                </a:lnTo>
                <a:lnTo>
                  <a:pt x="901" y="1082"/>
                </a:lnTo>
                <a:lnTo>
                  <a:pt x="896" y="1082"/>
                </a:lnTo>
                <a:lnTo>
                  <a:pt x="890" y="1077"/>
                </a:lnTo>
                <a:lnTo>
                  <a:pt x="884" y="1077"/>
                </a:lnTo>
                <a:lnTo>
                  <a:pt x="879" y="1077"/>
                </a:lnTo>
                <a:lnTo>
                  <a:pt x="873" y="1071"/>
                </a:lnTo>
                <a:lnTo>
                  <a:pt x="856" y="1065"/>
                </a:lnTo>
                <a:lnTo>
                  <a:pt x="845" y="1065"/>
                </a:lnTo>
                <a:lnTo>
                  <a:pt x="833" y="1060"/>
                </a:lnTo>
                <a:lnTo>
                  <a:pt x="828" y="1060"/>
                </a:lnTo>
                <a:lnTo>
                  <a:pt x="822" y="1060"/>
                </a:lnTo>
                <a:lnTo>
                  <a:pt x="822" y="1054"/>
                </a:lnTo>
                <a:lnTo>
                  <a:pt x="822" y="1060"/>
                </a:lnTo>
                <a:lnTo>
                  <a:pt x="816" y="1060"/>
                </a:lnTo>
                <a:lnTo>
                  <a:pt x="805" y="1060"/>
                </a:lnTo>
                <a:lnTo>
                  <a:pt x="799" y="1060"/>
                </a:lnTo>
                <a:lnTo>
                  <a:pt x="794" y="1065"/>
                </a:lnTo>
                <a:lnTo>
                  <a:pt x="788" y="1065"/>
                </a:lnTo>
                <a:lnTo>
                  <a:pt x="782" y="1071"/>
                </a:lnTo>
                <a:lnTo>
                  <a:pt x="777" y="1071"/>
                </a:lnTo>
                <a:lnTo>
                  <a:pt x="771" y="1071"/>
                </a:lnTo>
                <a:lnTo>
                  <a:pt x="765" y="1071"/>
                </a:lnTo>
                <a:lnTo>
                  <a:pt x="760" y="1071"/>
                </a:lnTo>
                <a:lnTo>
                  <a:pt x="765" y="1071"/>
                </a:lnTo>
                <a:lnTo>
                  <a:pt x="771" y="1071"/>
                </a:lnTo>
                <a:lnTo>
                  <a:pt x="782" y="1071"/>
                </a:lnTo>
                <a:lnTo>
                  <a:pt x="782" y="1077"/>
                </a:lnTo>
                <a:lnTo>
                  <a:pt x="788" y="1077"/>
                </a:lnTo>
                <a:lnTo>
                  <a:pt x="788" y="1082"/>
                </a:lnTo>
                <a:lnTo>
                  <a:pt x="782" y="1088"/>
                </a:lnTo>
                <a:lnTo>
                  <a:pt x="771" y="1088"/>
                </a:lnTo>
                <a:lnTo>
                  <a:pt x="754" y="1082"/>
                </a:lnTo>
                <a:lnTo>
                  <a:pt x="748" y="1082"/>
                </a:lnTo>
                <a:lnTo>
                  <a:pt x="743" y="1082"/>
                </a:lnTo>
                <a:lnTo>
                  <a:pt x="737" y="1082"/>
                </a:lnTo>
                <a:lnTo>
                  <a:pt x="731" y="1082"/>
                </a:lnTo>
                <a:lnTo>
                  <a:pt x="726" y="1082"/>
                </a:lnTo>
                <a:lnTo>
                  <a:pt x="709" y="1088"/>
                </a:lnTo>
                <a:lnTo>
                  <a:pt x="697" y="1088"/>
                </a:lnTo>
                <a:lnTo>
                  <a:pt x="692" y="1094"/>
                </a:lnTo>
                <a:lnTo>
                  <a:pt x="680" y="1094"/>
                </a:lnTo>
                <a:lnTo>
                  <a:pt x="680" y="1099"/>
                </a:lnTo>
                <a:lnTo>
                  <a:pt x="675" y="1099"/>
                </a:lnTo>
                <a:lnTo>
                  <a:pt x="669" y="1105"/>
                </a:lnTo>
                <a:lnTo>
                  <a:pt x="669" y="1111"/>
                </a:lnTo>
                <a:lnTo>
                  <a:pt x="669" y="1116"/>
                </a:lnTo>
                <a:lnTo>
                  <a:pt x="663" y="1116"/>
                </a:lnTo>
                <a:lnTo>
                  <a:pt x="658" y="1122"/>
                </a:lnTo>
                <a:lnTo>
                  <a:pt x="646" y="1122"/>
                </a:lnTo>
                <a:lnTo>
                  <a:pt x="641" y="1128"/>
                </a:lnTo>
                <a:lnTo>
                  <a:pt x="635" y="1133"/>
                </a:lnTo>
                <a:lnTo>
                  <a:pt x="624" y="1139"/>
                </a:lnTo>
                <a:lnTo>
                  <a:pt x="618" y="1139"/>
                </a:lnTo>
                <a:lnTo>
                  <a:pt x="618" y="1145"/>
                </a:lnTo>
                <a:lnTo>
                  <a:pt x="618" y="1150"/>
                </a:lnTo>
                <a:lnTo>
                  <a:pt x="612" y="1150"/>
                </a:lnTo>
                <a:lnTo>
                  <a:pt x="595" y="1150"/>
                </a:lnTo>
                <a:lnTo>
                  <a:pt x="590" y="1156"/>
                </a:lnTo>
                <a:lnTo>
                  <a:pt x="584" y="1156"/>
                </a:lnTo>
                <a:lnTo>
                  <a:pt x="578" y="1162"/>
                </a:lnTo>
                <a:lnTo>
                  <a:pt x="573" y="1167"/>
                </a:lnTo>
                <a:lnTo>
                  <a:pt x="573" y="1173"/>
                </a:lnTo>
                <a:lnTo>
                  <a:pt x="573" y="1179"/>
                </a:lnTo>
                <a:lnTo>
                  <a:pt x="573" y="1184"/>
                </a:lnTo>
                <a:lnTo>
                  <a:pt x="567" y="1184"/>
                </a:lnTo>
                <a:lnTo>
                  <a:pt x="561" y="1184"/>
                </a:lnTo>
                <a:lnTo>
                  <a:pt x="561" y="1190"/>
                </a:lnTo>
                <a:lnTo>
                  <a:pt x="556" y="1184"/>
                </a:lnTo>
                <a:lnTo>
                  <a:pt x="550" y="1184"/>
                </a:lnTo>
                <a:lnTo>
                  <a:pt x="544" y="1184"/>
                </a:lnTo>
                <a:lnTo>
                  <a:pt x="533" y="1173"/>
                </a:lnTo>
                <a:lnTo>
                  <a:pt x="527" y="1173"/>
                </a:lnTo>
                <a:lnTo>
                  <a:pt x="527" y="1167"/>
                </a:lnTo>
                <a:lnTo>
                  <a:pt x="522" y="1167"/>
                </a:lnTo>
                <a:lnTo>
                  <a:pt x="516" y="1167"/>
                </a:lnTo>
                <a:lnTo>
                  <a:pt x="510" y="1167"/>
                </a:lnTo>
                <a:lnTo>
                  <a:pt x="505" y="1167"/>
                </a:lnTo>
                <a:lnTo>
                  <a:pt x="499" y="1167"/>
                </a:lnTo>
                <a:lnTo>
                  <a:pt x="493" y="1173"/>
                </a:lnTo>
                <a:lnTo>
                  <a:pt x="487" y="1167"/>
                </a:lnTo>
                <a:lnTo>
                  <a:pt x="482" y="1167"/>
                </a:lnTo>
                <a:lnTo>
                  <a:pt x="476" y="1167"/>
                </a:lnTo>
                <a:lnTo>
                  <a:pt x="476" y="1173"/>
                </a:lnTo>
                <a:lnTo>
                  <a:pt x="470" y="1173"/>
                </a:lnTo>
                <a:lnTo>
                  <a:pt x="465" y="1173"/>
                </a:lnTo>
                <a:lnTo>
                  <a:pt x="465" y="1167"/>
                </a:lnTo>
                <a:lnTo>
                  <a:pt x="459" y="1167"/>
                </a:lnTo>
                <a:lnTo>
                  <a:pt x="453" y="1162"/>
                </a:lnTo>
                <a:lnTo>
                  <a:pt x="453" y="1156"/>
                </a:lnTo>
                <a:lnTo>
                  <a:pt x="453" y="1162"/>
                </a:lnTo>
                <a:lnTo>
                  <a:pt x="448" y="1156"/>
                </a:lnTo>
                <a:lnTo>
                  <a:pt x="442" y="1156"/>
                </a:lnTo>
                <a:lnTo>
                  <a:pt x="442" y="1150"/>
                </a:lnTo>
                <a:lnTo>
                  <a:pt x="436" y="1145"/>
                </a:lnTo>
                <a:lnTo>
                  <a:pt x="431" y="1145"/>
                </a:lnTo>
                <a:lnTo>
                  <a:pt x="425" y="1139"/>
                </a:lnTo>
                <a:lnTo>
                  <a:pt x="419" y="1139"/>
                </a:lnTo>
                <a:lnTo>
                  <a:pt x="414" y="1139"/>
                </a:lnTo>
                <a:lnTo>
                  <a:pt x="414" y="1133"/>
                </a:lnTo>
                <a:lnTo>
                  <a:pt x="408" y="1128"/>
                </a:lnTo>
                <a:lnTo>
                  <a:pt x="402" y="1128"/>
                </a:lnTo>
                <a:lnTo>
                  <a:pt x="397" y="1128"/>
                </a:lnTo>
                <a:lnTo>
                  <a:pt x="391" y="1128"/>
                </a:lnTo>
                <a:lnTo>
                  <a:pt x="391" y="1133"/>
                </a:lnTo>
                <a:lnTo>
                  <a:pt x="385" y="1133"/>
                </a:lnTo>
                <a:lnTo>
                  <a:pt x="380" y="1133"/>
                </a:lnTo>
                <a:lnTo>
                  <a:pt x="380" y="1128"/>
                </a:lnTo>
                <a:lnTo>
                  <a:pt x="385" y="1128"/>
                </a:lnTo>
                <a:lnTo>
                  <a:pt x="391" y="1122"/>
                </a:lnTo>
                <a:lnTo>
                  <a:pt x="391" y="1116"/>
                </a:lnTo>
                <a:lnTo>
                  <a:pt x="397" y="1111"/>
                </a:lnTo>
                <a:lnTo>
                  <a:pt x="397" y="1099"/>
                </a:lnTo>
                <a:lnTo>
                  <a:pt x="397" y="1094"/>
                </a:lnTo>
                <a:lnTo>
                  <a:pt x="385" y="1082"/>
                </a:lnTo>
                <a:lnTo>
                  <a:pt x="385" y="1077"/>
                </a:lnTo>
                <a:lnTo>
                  <a:pt x="380" y="1077"/>
                </a:lnTo>
                <a:lnTo>
                  <a:pt x="374" y="1077"/>
                </a:lnTo>
                <a:lnTo>
                  <a:pt x="368" y="1077"/>
                </a:lnTo>
                <a:lnTo>
                  <a:pt x="357" y="1082"/>
                </a:lnTo>
                <a:lnTo>
                  <a:pt x="351" y="1077"/>
                </a:lnTo>
                <a:lnTo>
                  <a:pt x="346" y="1077"/>
                </a:lnTo>
                <a:lnTo>
                  <a:pt x="340" y="1077"/>
                </a:lnTo>
                <a:lnTo>
                  <a:pt x="334" y="1077"/>
                </a:lnTo>
                <a:lnTo>
                  <a:pt x="334" y="1071"/>
                </a:lnTo>
                <a:lnTo>
                  <a:pt x="334" y="1065"/>
                </a:lnTo>
                <a:lnTo>
                  <a:pt x="329" y="1065"/>
                </a:lnTo>
                <a:lnTo>
                  <a:pt x="323" y="1060"/>
                </a:lnTo>
                <a:lnTo>
                  <a:pt x="329" y="1060"/>
                </a:lnTo>
                <a:lnTo>
                  <a:pt x="334" y="1060"/>
                </a:lnTo>
                <a:lnTo>
                  <a:pt x="334" y="1054"/>
                </a:lnTo>
                <a:lnTo>
                  <a:pt x="340" y="1054"/>
                </a:lnTo>
                <a:lnTo>
                  <a:pt x="340" y="1048"/>
                </a:lnTo>
                <a:lnTo>
                  <a:pt x="346" y="1048"/>
                </a:lnTo>
                <a:lnTo>
                  <a:pt x="340" y="1048"/>
                </a:lnTo>
                <a:lnTo>
                  <a:pt x="340" y="1043"/>
                </a:lnTo>
                <a:lnTo>
                  <a:pt x="340" y="1048"/>
                </a:lnTo>
                <a:lnTo>
                  <a:pt x="334" y="1054"/>
                </a:lnTo>
                <a:lnTo>
                  <a:pt x="329" y="1054"/>
                </a:lnTo>
                <a:lnTo>
                  <a:pt x="329" y="1060"/>
                </a:lnTo>
                <a:lnTo>
                  <a:pt x="323" y="1060"/>
                </a:lnTo>
                <a:lnTo>
                  <a:pt x="317" y="1054"/>
                </a:lnTo>
                <a:lnTo>
                  <a:pt x="323" y="1060"/>
                </a:lnTo>
                <a:lnTo>
                  <a:pt x="317" y="1054"/>
                </a:lnTo>
                <a:lnTo>
                  <a:pt x="312" y="1054"/>
                </a:lnTo>
                <a:lnTo>
                  <a:pt x="306" y="1054"/>
                </a:lnTo>
                <a:lnTo>
                  <a:pt x="300" y="1054"/>
                </a:lnTo>
                <a:lnTo>
                  <a:pt x="295" y="1060"/>
                </a:lnTo>
                <a:lnTo>
                  <a:pt x="283" y="1060"/>
                </a:lnTo>
                <a:lnTo>
                  <a:pt x="278" y="1060"/>
                </a:lnTo>
                <a:lnTo>
                  <a:pt x="278" y="1065"/>
                </a:lnTo>
                <a:lnTo>
                  <a:pt x="272" y="1065"/>
                </a:lnTo>
                <a:lnTo>
                  <a:pt x="272" y="1060"/>
                </a:lnTo>
                <a:lnTo>
                  <a:pt x="266" y="1060"/>
                </a:lnTo>
                <a:lnTo>
                  <a:pt x="266" y="1065"/>
                </a:lnTo>
                <a:lnTo>
                  <a:pt x="261" y="1065"/>
                </a:lnTo>
                <a:lnTo>
                  <a:pt x="255" y="1065"/>
                </a:lnTo>
                <a:lnTo>
                  <a:pt x="255" y="1060"/>
                </a:lnTo>
                <a:lnTo>
                  <a:pt x="255" y="1054"/>
                </a:lnTo>
                <a:lnTo>
                  <a:pt x="261" y="1054"/>
                </a:lnTo>
                <a:lnTo>
                  <a:pt x="255" y="1054"/>
                </a:lnTo>
                <a:lnTo>
                  <a:pt x="255" y="1048"/>
                </a:lnTo>
                <a:lnTo>
                  <a:pt x="255" y="1043"/>
                </a:lnTo>
                <a:lnTo>
                  <a:pt x="255" y="1037"/>
                </a:lnTo>
                <a:lnTo>
                  <a:pt x="261" y="1037"/>
                </a:lnTo>
                <a:lnTo>
                  <a:pt x="261" y="1031"/>
                </a:lnTo>
                <a:lnTo>
                  <a:pt x="266" y="1031"/>
                </a:lnTo>
                <a:lnTo>
                  <a:pt x="266" y="1026"/>
                </a:lnTo>
                <a:lnTo>
                  <a:pt x="261" y="1020"/>
                </a:lnTo>
                <a:lnTo>
                  <a:pt x="255" y="1014"/>
                </a:lnTo>
                <a:lnTo>
                  <a:pt x="261" y="1009"/>
                </a:lnTo>
                <a:lnTo>
                  <a:pt x="266" y="1009"/>
                </a:lnTo>
                <a:lnTo>
                  <a:pt x="266" y="1003"/>
                </a:lnTo>
                <a:lnTo>
                  <a:pt x="261" y="992"/>
                </a:lnTo>
                <a:lnTo>
                  <a:pt x="255" y="992"/>
                </a:lnTo>
                <a:lnTo>
                  <a:pt x="255" y="986"/>
                </a:lnTo>
                <a:lnTo>
                  <a:pt x="249" y="986"/>
                </a:lnTo>
                <a:lnTo>
                  <a:pt x="244" y="986"/>
                </a:lnTo>
                <a:lnTo>
                  <a:pt x="238" y="980"/>
                </a:lnTo>
                <a:lnTo>
                  <a:pt x="221" y="980"/>
                </a:lnTo>
                <a:lnTo>
                  <a:pt x="210" y="980"/>
                </a:lnTo>
                <a:lnTo>
                  <a:pt x="204" y="980"/>
                </a:lnTo>
                <a:lnTo>
                  <a:pt x="198" y="986"/>
                </a:lnTo>
                <a:lnTo>
                  <a:pt x="187" y="986"/>
                </a:lnTo>
                <a:lnTo>
                  <a:pt x="181" y="986"/>
                </a:lnTo>
                <a:lnTo>
                  <a:pt x="176" y="986"/>
                </a:lnTo>
                <a:lnTo>
                  <a:pt x="170" y="992"/>
                </a:lnTo>
                <a:lnTo>
                  <a:pt x="164" y="992"/>
                </a:lnTo>
                <a:lnTo>
                  <a:pt x="164" y="997"/>
                </a:lnTo>
                <a:lnTo>
                  <a:pt x="159" y="997"/>
                </a:lnTo>
                <a:lnTo>
                  <a:pt x="159" y="1003"/>
                </a:lnTo>
                <a:lnTo>
                  <a:pt x="159" y="1009"/>
                </a:lnTo>
                <a:lnTo>
                  <a:pt x="159" y="1014"/>
                </a:lnTo>
                <a:lnTo>
                  <a:pt x="159" y="1009"/>
                </a:lnTo>
                <a:lnTo>
                  <a:pt x="159" y="1014"/>
                </a:lnTo>
                <a:lnTo>
                  <a:pt x="164" y="1020"/>
                </a:lnTo>
                <a:lnTo>
                  <a:pt x="170" y="1026"/>
                </a:lnTo>
                <a:lnTo>
                  <a:pt x="170" y="1031"/>
                </a:lnTo>
                <a:lnTo>
                  <a:pt x="164" y="1031"/>
                </a:lnTo>
                <a:lnTo>
                  <a:pt x="164" y="1037"/>
                </a:lnTo>
                <a:lnTo>
                  <a:pt x="164" y="1043"/>
                </a:lnTo>
                <a:lnTo>
                  <a:pt x="164" y="1048"/>
                </a:lnTo>
                <a:lnTo>
                  <a:pt x="164" y="1054"/>
                </a:lnTo>
                <a:lnTo>
                  <a:pt x="170" y="1054"/>
                </a:lnTo>
                <a:lnTo>
                  <a:pt x="170" y="1060"/>
                </a:lnTo>
                <a:lnTo>
                  <a:pt x="164" y="1054"/>
                </a:lnTo>
                <a:lnTo>
                  <a:pt x="159" y="1054"/>
                </a:lnTo>
                <a:lnTo>
                  <a:pt x="159" y="1048"/>
                </a:lnTo>
                <a:lnTo>
                  <a:pt x="153" y="1048"/>
                </a:lnTo>
                <a:lnTo>
                  <a:pt x="147" y="1043"/>
                </a:lnTo>
                <a:lnTo>
                  <a:pt x="147" y="1037"/>
                </a:lnTo>
                <a:lnTo>
                  <a:pt x="142" y="1037"/>
                </a:lnTo>
                <a:lnTo>
                  <a:pt x="142" y="1031"/>
                </a:lnTo>
                <a:lnTo>
                  <a:pt x="147" y="1031"/>
                </a:lnTo>
                <a:lnTo>
                  <a:pt x="142" y="1031"/>
                </a:lnTo>
                <a:lnTo>
                  <a:pt x="142" y="1026"/>
                </a:lnTo>
                <a:lnTo>
                  <a:pt x="142" y="1014"/>
                </a:lnTo>
                <a:lnTo>
                  <a:pt x="142" y="1009"/>
                </a:lnTo>
                <a:lnTo>
                  <a:pt x="136" y="1009"/>
                </a:lnTo>
                <a:lnTo>
                  <a:pt x="130" y="1009"/>
                </a:lnTo>
                <a:lnTo>
                  <a:pt x="130" y="1003"/>
                </a:lnTo>
                <a:lnTo>
                  <a:pt x="130" y="997"/>
                </a:lnTo>
                <a:lnTo>
                  <a:pt x="136" y="997"/>
                </a:lnTo>
                <a:lnTo>
                  <a:pt x="136" y="992"/>
                </a:lnTo>
                <a:lnTo>
                  <a:pt x="136" y="986"/>
                </a:lnTo>
                <a:lnTo>
                  <a:pt x="142" y="980"/>
                </a:lnTo>
                <a:lnTo>
                  <a:pt x="142" y="975"/>
                </a:lnTo>
                <a:lnTo>
                  <a:pt x="136" y="975"/>
                </a:lnTo>
                <a:lnTo>
                  <a:pt x="130" y="975"/>
                </a:lnTo>
                <a:lnTo>
                  <a:pt x="130" y="969"/>
                </a:lnTo>
                <a:lnTo>
                  <a:pt x="136" y="969"/>
                </a:lnTo>
                <a:lnTo>
                  <a:pt x="136" y="963"/>
                </a:lnTo>
                <a:lnTo>
                  <a:pt x="136" y="958"/>
                </a:lnTo>
                <a:lnTo>
                  <a:pt x="142" y="958"/>
                </a:lnTo>
                <a:lnTo>
                  <a:pt x="142" y="952"/>
                </a:lnTo>
                <a:lnTo>
                  <a:pt x="147" y="941"/>
                </a:lnTo>
                <a:lnTo>
                  <a:pt x="147" y="935"/>
                </a:lnTo>
                <a:lnTo>
                  <a:pt x="153" y="935"/>
                </a:lnTo>
                <a:lnTo>
                  <a:pt x="159" y="935"/>
                </a:lnTo>
                <a:lnTo>
                  <a:pt x="159" y="941"/>
                </a:lnTo>
                <a:lnTo>
                  <a:pt x="164" y="941"/>
                </a:lnTo>
                <a:lnTo>
                  <a:pt x="170" y="935"/>
                </a:lnTo>
                <a:lnTo>
                  <a:pt x="170" y="929"/>
                </a:lnTo>
                <a:lnTo>
                  <a:pt x="176" y="929"/>
                </a:lnTo>
                <a:lnTo>
                  <a:pt x="176" y="924"/>
                </a:lnTo>
                <a:lnTo>
                  <a:pt x="170" y="918"/>
                </a:lnTo>
                <a:lnTo>
                  <a:pt x="170" y="912"/>
                </a:lnTo>
                <a:lnTo>
                  <a:pt x="164" y="901"/>
                </a:lnTo>
                <a:lnTo>
                  <a:pt x="164" y="895"/>
                </a:lnTo>
                <a:lnTo>
                  <a:pt x="159" y="890"/>
                </a:lnTo>
                <a:lnTo>
                  <a:pt x="164" y="890"/>
                </a:lnTo>
                <a:lnTo>
                  <a:pt x="164" y="884"/>
                </a:lnTo>
                <a:lnTo>
                  <a:pt x="159" y="873"/>
                </a:lnTo>
                <a:lnTo>
                  <a:pt x="153" y="867"/>
                </a:lnTo>
                <a:lnTo>
                  <a:pt x="153" y="861"/>
                </a:lnTo>
                <a:lnTo>
                  <a:pt x="147" y="861"/>
                </a:lnTo>
                <a:lnTo>
                  <a:pt x="147" y="855"/>
                </a:lnTo>
                <a:lnTo>
                  <a:pt x="142" y="855"/>
                </a:lnTo>
                <a:lnTo>
                  <a:pt x="142" y="850"/>
                </a:lnTo>
                <a:lnTo>
                  <a:pt x="136" y="844"/>
                </a:lnTo>
                <a:lnTo>
                  <a:pt x="130" y="844"/>
                </a:lnTo>
                <a:lnTo>
                  <a:pt x="136" y="833"/>
                </a:lnTo>
                <a:lnTo>
                  <a:pt x="130" y="827"/>
                </a:lnTo>
                <a:lnTo>
                  <a:pt x="130" y="821"/>
                </a:lnTo>
                <a:lnTo>
                  <a:pt x="125" y="816"/>
                </a:lnTo>
                <a:lnTo>
                  <a:pt x="119" y="810"/>
                </a:lnTo>
                <a:lnTo>
                  <a:pt x="113" y="804"/>
                </a:lnTo>
                <a:lnTo>
                  <a:pt x="102" y="799"/>
                </a:lnTo>
                <a:lnTo>
                  <a:pt x="96" y="793"/>
                </a:lnTo>
                <a:lnTo>
                  <a:pt x="91" y="787"/>
                </a:lnTo>
                <a:lnTo>
                  <a:pt x="91" y="782"/>
                </a:lnTo>
                <a:lnTo>
                  <a:pt x="91" y="770"/>
                </a:lnTo>
                <a:lnTo>
                  <a:pt x="85" y="765"/>
                </a:lnTo>
                <a:lnTo>
                  <a:pt x="79" y="759"/>
                </a:lnTo>
                <a:lnTo>
                  <a:pt x="79" y="753"/>
                </a:lnTo>
                <a:lnTo>
                  <a:pt x="57" y="731"/>
                </a:lnTo>
                <a:lnTo>
                  <a:pt x="51" y="731"/>
                </a:lnTo>
                <a:lnTo>
                  <a:pt x="45" y="731"/>
                </a:lnTo>
                <a:lnTo>
                  <a:pt x="45" y="725"/>
                </a:lnTo>
                <a:lnTo>
                  <a:pt x="40" y="725"/>
                </a:lnTo>
                <a:lnTo>
                  <a:pt x="40" y="719"/>
                </a:lnTo>
                <a:lnTo>
                  <a:pt x="45" y="719"/>
                </a:lnTo>
                <a:lnTo>
                  <a:pt x="51" y="719"/>
                </a:lnTo>
                <a:lnTo>
                  <a:pt x="45" y="714"/>
                </a:lnTo>
                <a:lnTo>
                  <a:pt x="51" y="708"/>
                </a:lnTo>
                <a:lnTo>
                  <a:pt x="51" y="714"/>
                </a:lnTo>
                <a:lnTo>
                  <a:pt x="57" y="714"/>
                </a:lnTo>
                <a:lnTo>
                  <a:pt x="57" y="719"/>
                </a:lnTo>
                <a:lnTo>
                  <a:pt x="57" y="725"/>
                </a:lnTo>
                <a:lnTo>
                  <a:pt x="62" y="725"/>
                </a:lnTo>
                <a:lnTo>
                  <a:pt x="62" y="731"/>
                </a:lnTo>
                <a:lnTo>
                  <a:pt x="68" y="736"/>
                </a:lnTo>
                <a:lnTo>
                  <a:pt x="74" y="742"/>
                </a:lnTo>
                <a:lnTo>
                  <a:pt x="79" y="748"/>
                </a:lnTo>
                <a:lnTo>
                  <a:pt x="85" y="748"/>
                </a:lnTo>
                <a:lnTo>
                  <a:pt x="85" y="742"/>
                </a:lnTo>
                <a:lnTo>
                  <a:pt x="79" y="742"/>
                </a:lnTo>
                <a:lnTo>
                  <a:pt x="85" y="742"/>
                </a:lnTo>
                <a:lnTo>
                  <a:pt x="79" y="742"/>
                </a:lnTo>
                <a:lnTo>
                  <a:pt x="74" y="736"/>
                </a:lnTo>
                <a:lnTo>
                  <a:pt x="74" y="731"/>
                </a:lnTo>
                <a:lnTo>
                  <a:pt x="62" y="725"/>
                </a:lnTo>
                <a:lnTo>
                  <a:pt x="62" y="719"/>
                </a:lnTo>
                <a:lnTo>
                  <a:pt x="62" y="708"/>
                </a:lnTo>
                <a:lnTo>
                  <a:pt x="62" y="702"/>
                </a:lnTo>
                <a:lnTo>
                  <a:pt x="62" y="697"/>
                </a:lnTo>
                <a:lnTo>
                  <a:pt x="57" y="697"/>
                </a:lnTo>
                <a:lnTo>
                  <a:pt x="51" y="691"/>
                </a:lnTo>
                <a:lnTo>
                  <a:pt x="45" y="691"/>
                </a:lnTo>
                <a:lnTo>
                  <a:pt x="40" y="697"/>
                </a:lnTo>
                <a:lnTo>
                  <a:pt x="45" y="702"/>
                </a:lnTo>
                <a:lnTo>
                  <a:pt x="40" y="697"/>
                </a:lnTo>
                <a:lnTo>
                  <a:pt x="40" y="702"/>
                </a:lnTo>
                <a:lnTo>
                  <a:pt x="28" y="708"/>
                </a:lnTo>
                <a:lnTo>
                  <a:pt x="28" y="702"/>
                </a:lnTo>
                <a:lnTo>
                  <a:pt x="23" y="702"/>
                </a:lnTo>
                <a:lnTo>
                  <a:pt x="28" y="702"/>
                </a:lnTo>
                <a:lnTo>
                  <a:pt x="28" y="697"/>
                </a:lnTo>
                <a:lnTo>
                  <a:pt x="23" y="697"/>
                </a:lnTo>
                <a:lnTo>
                  <a:pt x="23" y="691"/>
                </a:lnTo>
                <a:lnTo>
                  <a:pt x="23" y="685"/>
                </a:lnTo>
                <a:lnTo>
                  <a:pt x="23" y="680"/>
                </a:lnTo>
                <a:lnTo>
                  <a:pt x="23" y="674"/>
                </a:lnTo>
                <a:lnTo>
                  <a:pt x="23" y="668"/>
                </a:lnTo>
                <a:lnTo>
                  <a:pt x="17" y="668"/>
                </a:lnTo>
                <a:lnTo>
                  <a:pt x="23" y="663"/>
                </a:lnTo>
                <a:lnTo>
                  <a:pt x="17" y="663"/>
                </a:lnTo>
                <a:lnTo>
                  <a:pt x="23" y="663"/>
                </a:lnTo>
                <a:lnTo>
                  <a:pt x="23" y="657"/>
                </a:lnTo>
                <a:lnTo>
                  <a:pt x="23" y="651"/>
                </a:lnTo>
                <a:lnTo>
                  <a:pt x="17" y="651"/>
                </a:lnTo>
                <a:lnTo>
                  <a:pt x="17" y="646"/>
                </a:lnTo>
                <a:lnTo>
                  <a:pt x="23" y="646"/>
                </a:lnTo>
                <a:lnTo>
                  <a:pt x="23" y="640"/>
                </a:lnTo>
                <a:lnTo>
                  <a:pt x="28" y="640"/>
                </a:lnTo>
                <a:lnTo>
                  <a:pt x="34" y="634"/>
                </a:lnTo>
                <a:lnTo>
                  <a:pt x="28" y="634"/>
                </a:lnTo>
                <a:lnTo>
                  <a:pt x="28" y="623"/>
                </a:lnTo>
                <a:lnTo>
                  <a:pt x="34" y="623"/>
                </a:lnTo>
                <a:lnTo>
                  <a:pt x="34" y="617"/>
                </a:lnTo>
                <a:lnTo>
                  <a:pt x="40" y="617"/>
                </a:lnTo>
                <a:lnTo>
                  <a:pt x="45" y="617"/>
                </a:lnTo>
                <a:lnTo>
                  <a:pt x="45" y="612"/>
                </a:lnTo>
                <a:lnTo>
                  <a:pt x="51" y="612"/>
                </a:lnTo>
                <a:lnTo>
                  <a:pt x="51" y="617"/>
                </a:lnTo>
                <a:lnTo>
                  <a:pt x="57" y="623"/>
                </a:lnTo>
                <a:lnTo>
                  <a:pt x="62" y="623"/>
                </a:lnTo>
                <a:lnTo>
                  <a:pt x="57" y="629"/>
                </a:lnTo>
                <a:lnTo>
                  <a:pt x="62" y="629"/>
                </a:lnTo>
                <a:lnTo>
                  <a:pt x="68" y="629"/>
                </a:lnTo>
                <a:lnTo>
                  <a:pt x="68" y="634"/>
                </a:lnTo>
                <a:lnTo>
                  <a:pt x="74" y="634"/>
                </a:lnTo>
                <a:lnTo>
                  <a:pt x="79" y="634"/>
                </a:lnTo>
                <a:lnTo>
                  <a:pt x="91" y="634"/>
                </a:lnTo>
                <a:lnTo>
                  <a:pt x="96" y="629"/>
                </a:lnTo>
                <a:lnTo>
                  <a:pt x="102" y="623"/>
                </a:lnTo>
                <a:lnTo>
                  <a:pt x="102" y="617"/>
                </a:lnTo>
                <a:lnTo>
                  <a:pt x="108" y="617"/>
                </a:lnTo>
                <a:lnTo>
                  <a:pt x="113" y="612"/>
                </a:lnTo>
                <a:lnTo>
                  <a:pt x="119" y="606"/>
                </a:lnTo>
                <a:lnTo>
                  <a:pt x="130" y="595"/>
                </a:lnTo>
                <a:lnTo>
                  <a:pt x="130" y="589"/>
                </a:lnTo>
                <a:lnTo>
                  <a:pt x="136" y="578"/>
                </a:lnTo>
                <a:lnTo>
                  <a:pt x="142" y="572"/>
                </a:lnTo>
                <a:lnTo>
                  <a:pt x="142" y="561"/>
                </a:lnTo>
                <a:lnTo>
                  <a:pt x="142" y="555"/>
                </a:lnTo>
                <a:lnTo>
                  <a:pt x="142" y="544"/>
                </a:lnTo>
                <a:lnTo>
                  <a:pt x="142" y="538"/>
                </a:lnTo>
                <a:lnTo>
                  <a:pt x="142" y="532"/>
                </a:lnTo>
                <a:lnTo>
                  <a:pt x="142" y="521"/>
                </a:lnTo>
                <a:lnTo>
                  <a:pt x="142" y="510"/>
                </a:lnTo>
                <a:lnTo>
                  <a:pt x="147" y="504"/>
                </a:lnTo>
                <a:lnTo>
                  <a:pt x="142" y="481"/>
                </a:lnTo>
                <a:lnTo>
                  <a:pt x="142" y="470"/>
                </a:lnTo>
                <a:lnTo>
                  <a:pt x="136" y="459"/>
                </a:lnTo>
                <a:lnTo>
                  <a:pt x="136" y="453"/>
                </a:lnTo>
                <a:lnTo>
                  <a:pt x="136" y="447"/>
                </a:lnTo>
                <a:lnTo>
                  <a:pt x="142" y="447"/>
                </a:lnTo>
                <a:lnTo>
                  <a:pt x="142" y="442"/>
                </a:lnTo>
                <a:lnTo>
                  <a:pt x="136" y="430"/>
                </a:lnTo>
                <a:lnTo>
                  <a:pt x="136" y="425"/>
                </a:lnTo>
                <a:lnTo>
                  <a:pt x="136" y="419"/>
                </a:lnTo>
                <a:lnTo>
                  <a:pt x="130" y="413"/>
                </a:lnTo>
                <a:lnTo>
                  <a:pt x="130" y="408"/>
                </a:lnTo>
                <a:lnTo>
                  <a:pt x="130" y="402"/>
                </a:lnTo>
                <a:lnTo>
                  <a:pt x="136" y="402"/>
                </a:lnTo>
                <a:lnTo>
                  <a:pt x="136" y="396"/>
                </a:lnTo>
                <a:lnTo>
                  <a:pt x="130" y="391"/>
                </a:lnTo>
                <a:lnTo>
                  <a:pt x="130" y="385"/>
                </a:lnTo>
                <a:lnTo>
                  <a:pt x="125" y="379"/>
                </a:lnTo>
                <a:lnTo>
                  <a:pt x="119" y="374"/>
                </a:lnTo>
                <a:lnTo>
                  <a:pt x="125" y="374"/>
                </a:lnTo>
                <a:lnTo>
                  <a:pt x="119" y="368"/>
                </a:lnTo>
                <a:lnTo>
                  <a:pt x="125" y="368"/>
                </a:lnTo>
                <a:lnTo>
                  <a:pt x="119" y="362"/>
                </a:lnTo>
                <a:lnTo>
                  <a:pt x="119" y="357"/>
                </a:lnTo>
                <a:lnTo>
                  <a:pt x="113" y="345"/>
                </a:lnTo>
                <a:lnTo>
                  <a:pt x="113" y="340"/>
                </a:lnTo>
                <a:lnTo>
                  <a:pt x="113" y="334"/>
                </a:lnTo>
                <a:lnTo>
                  <a:pt x="113" y="340"/>
                </a:lnTo>
                <a:lnTo>
                  <a:pt x="108" y="340"/>
                </a:lnTo>
                <a:lnTo>
                  <a:pt x="102" y="334"/>
                </a:lnTo>
                <a:lnTo>
                  <a:pt x="102" y="328"/>
                </a:lnTo>
                <a:lnTo>
                  <a:pt x="91" y="317"/>
                </a:lnTo>
                <a:lnTo>
                  <a:pt x="91" y="311"/>
                </a:lnTo>
                <a:lnTo>
                  <a:pt x="85" y="306"/>
                </a:lnTo>
                <a:lnTo>
                  <a:pt x="85" y="300"/>
                </a:lnTo>
                <a:lnTo>
                  <a:pt x="79" y="294"/>
                </a:lnTo>
                <a:lnTo>
                  <a:pt x="74" y="289"/>
                </a:lnTo>
                <a:lnTo>
                  <a:pt x="68" y="283"/>
                </a:lnTo>
                <a:lnTo>
                  <a:pt x="62" y="277"/>
                </a:lnTo>
                <a:lnTo>
                  <a:pt x="57" y="272"/>
                </a:lnTo>
                <a:lnTo>
                  <a:pt x="51" y="266"/>
                </a:lnTo>
                <a:lnTo>
                  <a:pt x="51" y="260"/>
                </a:lnTo>
                <a:lnTo>
                  <a:pt x="40" y="255"/>
                </a:lnTo>
                <a:lnTo>
                  <a:pt x="40" y="249"/>
                </a:lnTo>
                <a:lnTo>
                  <a:pt x="34" y="243"/>
                </a:lnTo>
                <a:lnTo>
                  <a:pt x="34" y="238"/>
                </a:lnTo>
                <a:lnTo>
                  <a:pt x="34" y="232"/>
                </a:lnTo>
                <a:lnTo>
                  <a:pt x="28" y="226"/>
                </a:lnTo>
                <a:lnTo>
                  <a:pt x="23" y="221"/>
                </a:lnTo>
                <a:lnTo>
                  <a:pt x="11" y="215"/>
                </a:lnTo>
                <a:lnTo>
                  <a:pt x="6" y="204"/>
                </a:lnTo>
                <a:lnTo>
                  <a:pt x="0" y="198"/>
                </a:lnTo>
                <a:lnTo>
                  <a:pt x="0" y="192"/>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56" name="Freeform 8"/>
          <p:cNvSpPr>
            <a:spLocks/>
          </p:cNvSpPr>
          <p:nvPr/>
        </p:nvSpPr>
        <p:spPr bwMode="gray">
          <a:xfrm>
            <a:off x="175491" y="2026666"/>
            <a:ext cx="3054108" cy="2834426"/>
          </a:xfrm>
          <a:custGeom>
            <a:avLst/>
            <a:gdLst>
              <a:gd name="T0" fmla="*/ 71190 w 2358"/>
              <a:gd name="T1" fmla="*/ 437980 h 2199"/>
              <a:gd name="T2" fmla="*/ 55643 w 2358"/>
              <a:gd name="T3" fmla="*/ 407124 h 2199"/>
              <a:gd name="T4" fmla="*/ 43369 w 2358"/>
              <a:gd name="T5" fmla="*/ 374358 h 2199"/>
              <a:gd name="T6" fmla="*/ 32459 w 2358"/>
              <a:gd name="T7" fmla="*/ 340499 h 2199"/>
              <a:gd name="T8" fmla="*/ 20184 w 2358"/>
              <a:gd name="T9" fmla="*/ 315651 h 2199"/>
              <a:gd name="T10" fmla="*/ 4637 w 2358"/>
              <a:gd name="T11" fmla="*/ 290803 h 2199"/>
              <a:gd name="T12" fmla="*/ 18547 w 2358"/>
              <a:gd name="T13" fmla="*/ 273874 h 2199"/>
              <a:gd name="T14" fmla="*/ 24821 w 2358"/>
              <a:gd name="T15" fmla="*/ 253668 h 2199"/>
              <a:gd name="T16" fmla="*/ 48006 w 2358"/>
              <a:gd name="T17" fmla="*/ 243018 h 2199"/>
              <a:gd name="T18" fmla="*/ 63280 w 2358"/>
              <a:gd name="T19" fmla="*/ 258309 h 2199"/>
              <a:gd name="T20" fmla="*/ 67917 w 2358"/>
              <a:gd name="T21" fmla="*/ 283158 h 2199"/>
              <a:gd name="T22" fmla="*/ 88101 w 2358"/>
              <a:gd name="T23" fmla="*/ 294079 h 2199"/>
              <a:gd name="T24" fmla="*/ 114286 w 2358"/>
              <a:gd name="T25" fmla="*/ 303364 h 2199"/>
              <a:gd name="T26" fmla="*/ 146745 w 2358"/>
              <a:gd name="T27" fmla="*/ 303364 h 2199"/>
              <a:gd name="T28" fmla="*/ 177839 w 2358"/>
              <a:gd name="T29" fmla="*/ 301725 h 2199"/>
              <a:gd name="T30" fmla="*/ 202388 w 2358"/>
              <a:gd name="T31" fmla="*/ 303364 h 2199"/>
              <a:gd name="T32" fmla="*/ 216298 w 2358"/>
              <a:gd name="T33" fmla="*/ 284796 h 2199"/>
              <a:gd name="T34" fmla="*/ 245756 w 2358"/>
              <a:gd name="T35" fmla="*/ 270870 h 2199"/>
              <a:gd name="T36" fmla="*/ 256667 w 2358"/>
              <a:gd name="T37" fmla="*/ 129974 h 2199"/>
              <a:gd name="T38" fmla="*/ 258303 w 2358"/>
              <a:gd name="T39" fmla="*/ 9284 h 2199"/>
              <a:gd name="T40" fmla="*/ 278214 w 2358"/>
              <a:gd name="T41" fmla="*/ 13926 h 2199"/>
              <a:gd name="T42" fmla="*/ 293762 w 2358"/>
              <a:gd name="T43" fmla="*/ 33859 h 2199"/>
              <a:gd name="T44" fmla="*/ 303036 w 2358"/>
              <a:gd name="T45" fmla="*/ 55703 h 2199"/>
              <a:gd name="T46" fmla="*/ 310673 w 2358"/>
              <a:gd name="T47" fmla="*/ 77274 h 2199"/>
              <a:gd name="T48" fmla="*/ 316947 w 2358"/>
              <a:gd name="T49" fmla="*/ 100484 h 2199"/>
              <a:gd name="T50" fmla="*/ 304672 w 2358"/>
              <a:gd name="T51" fmla="*/ 120690 h 2199"/>
              <a:gd name="T52" fmla="*/ 301399 w 2358"/>
              <a:gd name="T53" fmla="*/ 153184 h 2199"/>
              <a:gd name="T54" fmla="*/ 326220 w 2358"/>
              <a:gd name="T55" fmla="*/ 151545 h 2199"/>
              <a:gd name="T56" fmla="*/ 355679 w 2358"/>
              <a:gd name="T57" fmla="*/ 151545 h 2199"/>
              <a:gd name="T58" fmla="*/ 383500 w 2358"/>
              <a:gd name="T59" fmla="*/ 145265 h 2199"/>
              <a:gd name="T60" fmla="*/ 409685 w 2358"/>
              <a:gd name="T61" fmla="*/ 129974 h 2199"/>
              <a:gd name="T62" fmla="*/ 425232 w 2358"/>
              <a:gd name="T63" fmla="*/ 112771 h 2199"/>
              <a:gd name="T64" fmla="*/ 445143 w 2358"/>
              <a:gd name="T65" fmla="*/ 98846 h 2199"/>
              <a:gd name="T66" fmla="*/ 466965 w 2358"/>
              <a:gd name="T67" fmla="*/ 137619 h 2199"/>
              <a:gd name="T68" fmla="*/ 476238 w 2358"/>
              <a:gd name="T69" fmla="*/ 165471 h 2199"/>
              <a:gd name="T70" fmla="*/ 491786 w 2358"/>
              <a:gd name="T71" fmla="*/ 190319 h 2199"/>
              <a:gd name="T72" fmla="*/ 533518 w 2358"/>
              <a:gd name="T73" fmla="*/ 197965 h 2199"/>
              <a:gd name="T74" fmla="*/ 570613 w 2358"/>
              <a:gd name="T75" fmla="*/ 216532 h 2199"/>
              <a:gd name="T76" fmla="*/ 571977 w 2358"/>
              <a:gd name="T77" fmla="*/ 241380 h 2199"/>
              <a:gd name="T78" fmla="*/ 589161 w 2358"/>
              <a:gd name="T79" fmla="*/ 225816 h 2199"/>
              <a:gd name="T80" fmla="*/ 598434 w 2358"/>
              <a:gd name="T81" fmla="*/ 216532 h 2199"/>
              <a:gd name="T82" fmla="*/ 607708 w 2358"/>
              <a:gd name="T83" fmla="*/ 246022 h 2199"/>
              <a:gd name="T84" fmla="*/ 561339 w 2358"/>
              <a:gd name="T85" fmla="*/ 360432 h 2199"/>
              <a:gd name="T86" fmla="*/ 581251 w 2358"/>
              <a:gd name="T87" fmla="*/ 379000 h 2199"/>
              <a:gd name="T88" fmla="*/ 598434 w 2358"/>
              <a:gd name="T89" fmla="*/ 396202 h 2199"/>
              <a:gd name="T90" fmla="*/ 612345 w 2358"/>
              <a:gd name="T91" fmla="*/ 413132 h 2199"/>
              <a:gd name="T92" fmla="*/ 632257 w 2358"/>
              <a:gd name="T93" fmla="*/ 427057 h 2199"/>
              <a:gd name="T94" fmla="*/ 627620 w 2358"/>
              <a:gd name="T95" fmla="*/ 475115 h 2199"/>
              <a:gd name="T96" fmla="*/ 541155 w 2358"/>
              <a:gd name="T97" fmla="*/ 512250 h 2199"/>
              <a:gd name="T98" fmla="*/ 496422 w 2358"/>
              <a:gd name="T99" fmla="*/ 510612 h 2199"/>
              <a:gd name="T100" fmla="*/ 428232 w 2358"/>
              <a:gd name="T101" fmla="*/ 507608 h 2199"/>
              <a:gd name="T102" fmla="*/ 388137 w 2358"/>
              <a:gd name="T103" fmla="*/ 546382 h 2199"/>
              <a:gd name="T104" fmla="*/ 329221 w 2358"/>
              <a:gd name="T105" fmla="*/ 569592 h 2199"/>
              <a:gd name="T106" fmla="*/ 267577 w 2358"/>
              <a:gd name="T107" fmla="*/ 594167 h 2199"/>
              <a:gd name="T108" fmla="*/ 253666 w 2358"/>
              <a:gd name="T109" fmla="*/ 547747 h 2199"/>
              <a:gd name="T110" fmla="*/ 211661 w 2358"/>
              <a:gd name="T111" fmla="*/ 580241 h 2199"/>
              <a:gd name="T112" fmla="*/ 208661 w 2358"/>
              <a:gd name="T113" fmla="*/ 538464 h 2199"/>
              <a:gd name="T114" fmla="*/ 187113 w 2358"/>
              <a:gd name="T115" fmla="*/ 526176 h 2199"/>
              <a:gd name="T116" fmla="*/ 176203 w 2358"/>
              <a:gd name="T117" fmla="*/ 495321 h 2199"/>
              <a:gd name="T118" fmla="*/ 140744 w 2358"/>
              <a:gd name="T119" fmla="*/ 422416 h 21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358" h="2199">
                <a:moveTo>
                  <a:pt x="323" y="1717"/>
                </a:moveTo>
                <a:lnTo>
                  <a:pt x="317" y="1712"/>
                </a:lnTo>
                <a:lnTo>
                  <a:pt x="317" y="1706"/>
                </a:lnTo>
                <a:lnTo>
                  <a:pt x="312" y="1706"/>
                </a:lnTo>
                <a:lnTo>
                  <a:pt x="312" y="1700"/>
                </a:lnTo>
                <a:lnTo>
                  <a:pt x="312" y="1695"/>
                </a:lnTo>
                <a:lnTo>
                  <a:pt x="306" y="1683"/>
                </a:lnTo>
                <a:lnTo>
                  <a:pt x="306" y="1678"/>
                </a:lnTo>
                <a:lnTo>
                  <a:pt x="300" y="1672"/>
                </a:lnTo>
                <a:lnTo>
                  <a:pt x="295" y="1666"/>
                </a:lnTo>
                <a:lnTo>
                  <a:pt x="289" y="1661"/>
                </a:lnTo>
                <a:lnTo>
                  <a:pt x="283" y="1655"/>
                </a:lnTo>
                <a:lnTo>
                  <a:pt x="283" y="1649"/>
                </a:lnTo>
                <a:lnTo>
                  <a:pt x="283" y="1644"/>
                </a:lnTo>
                <a:lnTo>
                  <a:pt x="278" y="1638"/>
                </a:lnTo>
                <a:lnTo>
                  <a:pt x="272" y="1632"/>
                </a:lnTo>
                <a:lnTo>
                  <a:pt x="272" y="1621"/>
                </a:lnTo>
                <a:lnTo>
                  <a:pt x="266" y="1621"/>
                </a:lnTo>
                <a:lnTo>
                  <a:pt x="266" y="1610"/>
                </a:lnTo>
                <a:lnTo>
                  <a:pt x="266" y="1604"/>
                </a:lnTo>
                <a:lnTo>
                  <a:pt x="261" y="1604"/>
                </a:lnTo>
                <a:lnTo>
                  <a:pt x="255" y="1593"/>
                </a:lnTo>
                <a:lnTo>
                  <a:pt x="249" y="1587"/>
                </a:lnTo>
                <a:lnTo>
                  <a:pt x="244" y="1576"/>
                </a:lnTo>
                <a:lnTo>
                  <a:pt x="244" y="1570"/>
                </a:lnTo>
                <a:lnTo>
                  <a:pt x="244" y="1564"/>
                </a:lnTo>
                <a:lnTo>
                  <a:pt x="238" y="1564"/>
                </a:lnTo>
                <a:lnTo>
                  <a:pt x="238" y="1553"/>
                </a:lnTo>
                <a:lnTo>
                  <a:pt x="232" y="1553"/>
                </a:lnTo>
                <a:lnTo>
                  <a:pt x="227" y="1547"/>
                </a:lnTo>
                <a:lnTo>
                  <a:pt x="227" y="1542"/>
                </a:lnTo>
                <a:lnTo>
                  <a:pt x="227" y="1536"/>
                </a:lnTo>
                <a:lnTo>
                  <a:pt x="221" y="1536"/>
                </a:lnTo>
                <a:lnTo>
                  <a:pt x="221" y="1530"/>
                </a:lnTo>
                <a:lnTo>
                  <a:pt x="215" y="1525"/>
                </a:lnTo>
                <a:lnTo>
                  <a:pt x="215" y="1519"/>
                </a:lnTo>
                <a:lnTo>
                  <a:pt x="210" y="1513"/>
                </a:lnTo>
                <a:lnTo>
                  <a:pt x="210" y="1508"/>
                </a:lnTo>
                <a:lnTo>
                  <a:pt x="210" y="1502"/>
                </a:lnTo>
                <a:lnTo>
                  <a:pt x="204" y="1502"/>
                </a:lnTo>
                <a:lnTo>
                  <a:pt x="204" y="1496"/>
                </a:lnTo>
                <a:lnTo>
                  <a:pt x="204" y="1491"/>
                </a:lnTo>
                <a:lnTo>
                  <a:pt x="204" y="1485"/>
                </a:lnTo>
                <a:lnTo>
                  <a:pt x="198" y="1485"/>
                </a:lnTo>
                <a:lnTo>
                  <a:pt x="198" y="1479"/>
                </a:lnTo>
                <a:lnTo>
                  <a:pt x="198" y="1474"/>
                </a:lnTo>
                <a:lnTo>
                  <a:pt x="193" y="1468"/>
                </a:lnTo>
                <a:lnTo>
                  <a:pt x="193" y="1462"/>
                </a:lnTo>
                <a:lnTo>
                  <a:pt x="193" y="1456"/>
                </a:lnTo>
                <a:lnTo>
                  <a:pt x="187" y="1451"/>
                </a:lnTo>
                <a:lnTo>
                  <a:pt x="187" y="1445"/>
                </a:lnTo>
                <a:lnTo>
                  <a:pt x="181" y="1445"/>
                </a:lnTo>
                <a:lnTo>
                  <a:pt x="181" y="1439"/>
                </a:lnTo>
                <a:lnTo>
                  <a:pt x="181" y="1428"/>
                </a:lnTo>
                <a:lnTo>
                  <a:pt x="176" y="1417"/>
                </a:lnTo>
                <a:lnTo>
                  <a:pt x="176" y="1411"/>
                </a:lnTo>
                <a:lnTo>
                  <a:pt x="170" y="1394"/>
                </a:lnTo>
                <a:lnTo>
                  <a:pt x="164" y="1394"/>
                </a:lnTo>
                <a:lnTo>
                  <a:pt x="164" y="1388"/>
                </a:lnTo>
                <a:lnTo>
                  <a:pt x="159" y="1383"/>
                </a:lnTo>
                <a:lnTo>
                  <a:pt x="159" y="1377"/>
                </a:lnTo>
                <a:lnTo>
                  <a:pt x="164" y="1377"/>
                </a:lnTo>
                <a:lnTo>
                  <a:pt x="159" y="1371"/>
                </a:lnTo>
                <a:lnTo>
                  <a:pt x="153" y="1360"/>
                </a:lnTo>
                <a:lnTo>
                  <a:pt x="153" y="1354"/>
                </a:lnTo>
                <a:lnTo>
                  <a:pt x="153" y="1349"/>
                </a:lnTo>
                <a:lnTo>
                  <a:pt x="147" y="1349"/>
                </a:lnTo>
                <a:lnTo>
                  <a:pt x="147" y="1343"/>
                </a:lnTo>
                <a:lnTo>
                  <a:pt x="147" y="1337"/>
                </a:lnTo>
                <a:lnTo>
                  <a:pt x="147" y="1332"/>
                </a:lnTo>
                <a:lnTo>
                  <a:pt x="147" y="1326"/>
                </a:lnTo>
                <a:lnTo>
                  <a:pt x="147" y="1315"/>
                </a:lnTo>
                <a:lnTo>
                  <a:pt x="142" y="1309"/>
                </a:lnTo>
                <a:lnTo>
                  <a:pt x="142" y="1303"/>
                </a:lnTo>
                <a:lnTo>
                  <a:pt x="136" y="1298"/>
                </a:lnTo>
                <a:lnTo>
                  <a:pt x="136" y="1292"/>
                </a:lnTo>
                <a:lnTo>
                  <a:pt x="136" y="1286"/>
                </a:lnTo>
                <a:lnTo>
                  <a:pt x="136" y="1281"/>
                </a:lnTo>
                <a:lnTo>
                  <a:pt x="130" y="1281"/>
                </a:lnTo>
                <a:lnTo>
                  <a:pt x="130" y="1269"/>
                </a:lnTo>
                <a:lnTo>
                  <a:pt x="130" y="1258"/>
                </a:lnTo>
                <a:lnTo>
                  <a:pt x="125" y="1258"/>
                </a:lnTo>
                <a:lnTo>
                  <a:pt x="125" y="1252"/>
                </a:lnTo>
                <a:lnTo>
                  <a:pt x="119" y="1247"/>
                </a:lnTo>
                <a:lnTo>
                  <a:pt x="119" y="1241"/>
                </a:lnTo>
                <a:lnTo>
                  <a:pt x="119" y="1235"/>
                </a:lnTo>
                <a:lnTo>
                  <a:pt x="113" y="1235"/>
                </a:lnTo>
                <a:lnTo>
                  <a:pt x="113" y="1230"/>
                </a:lnTo>
                <a:lnTo>
                  <a:pt x="108" y="1224"/>
                </a:lnTo>
                <a:lnTo>
                  <a:pt x="102" y="1218"/>
                </a:lnTo>
                <a:lnTo>
                  <a:pt x="102" y="1213"/>
                </a:lnTo>
                <a:lnTo>
                  <a:pt x="102" y="1207"/>
                </a:lnTo>
                <a:lnTo>
                  <a:pt x="96" y="1207"/>
                </a:lnTo>
                <a:lnTo>
                  <a:pt x="96" y="1201"/>
                </a:lnTo>
                <a:lnTo>
                  <a:pt x="96" y="1196"/>
                </a:lnTo>
                <a:lnTo>
                  <a:pt x="96" y="1190"/>
                </a:lnTo>
                <a:lnTo>
                  <a:pt x="91" y="1184"/>
                </a:lnTo>
                <a:lnTo>
                  <a:pt x="96" y="1184"/>
                </a:lnTo>
                <a:lnTo>
                  <a:pt x="91" y="1179"/>
                </a:lnTo>
                <a:lnTo>
                  <a:pt x="91" y="1173"/>
                </a:lnTo>
                <a:lnTo>
                  <a:pt x="91" y="1167"/>
                </a:lnTo>
                <a:lnTo>
                  <a:pt x="85" y="1162"/>
                </a:lnTo>
                <a:lnTo>
                  <a:pt x="79" y="1162"/>
                </a:lnTo>
                <a:lnTo>
                  <a:pt x="79" y="1156"/>
                </a:lnTo>
                <a:lnTo>
                  <a:pt x="74" y="1156"/>
                </a:lnTo>
                <a:lnTo>
                  <a:pt x="68" y="1150"/>
                </a:lnTo>
                <a:lnTo>
                  <a:pt x="68" y="1145"/>
                </a:lnTo>
                <a:lnTo>
                  <a:pt x="62" y="1145"/>
                </a:lnTo>
                <a:lnTo>
                  <a:pt x="62" y="1139"/>
                </a:lnTo>
                <a:lnTo>
                  <a:pt x="62" y="1133"/>
                </a:lnTo>
                <a:lnTo>
                  <a:pt x="57" y="1128"/>
                </a:lnTo>
                <a:lnTo>
                  <a:pt x="57" y="1122"/>
                </a:lnTo>
                <a:lnTo>
                  <a:pt x="51" y="1116"/>
                </a:lnTo>
                <a:lnTo>
                  <a:pt x="45" y="1116"/>
                </a:lnTo>
                <a:lnTo>
                  <a:pt x="40" y="1111"/>
                </a:lnTo>
                <a:lnTo>
                  <a:pt x="34" y="1111"/>
                </a:lnTo>
                <a:lnTo>
                  <a:pt x="34" y="1099"/>
                </a:lnTo>
                <a:lnTo>
                  <a:pt x="28" y="1099"/>
                </a:lnTo>
                <a:lnTo>
                  <a:pt x="28" y="1094"/>
                </a:lnTo>
                <a:lnTo>
                  <a:pt x="28" y="1088"/>
                </a:lnTo>
                <a:lnTo>
                  <a:pt x="28" y="1082"/>
                </a:lnTo>
                <a:lnTo>
                  <a:pt x="23" y="1077"/>
                </a:lnTo>
                <a:lnTo>
                  <a:pt x="28" y="1077"/>
                </a:lnTo>
                <a:lnTo>
                  <a:pt x="28" y="1071"/>
                </a:lnTo>
                <a:lnTo>
                  <a:pt x="23" y="1065"/>
                </a:lnTo>
                <a:lnTo>
                  <a:pt x="17" y="1065"/>
                </a:lnTo>
                <a:lnTo>
                  <a:pt x="17" y="1060"/>
                </a:lnTo>
                <a:lnTo>
                  <a:pt x="11" y="1054"/>
                </a:lnTo>
                <a:lnTo>
                  <a:pt x="6" y="1048"/>
                </a:lnTo>
                <a:lnTo>
                  <a:pt x="0" y="1043"/>
                </a:lnTo>
                <a:lnTo>
                  <a:pt x="0" y="1037"/>
                </a:lnTo>
                <a:lnTo>
                  <a:pt x="0" y="1031"/>
                </a:lnTo>
                <a:lnTo>
                  <a:pt x="6" y="1026"/>
                </a:lnTo>
                <a:lnTo>
                  <a:pt x="11" y="1026"/>
                </a:lnTo>
                <a:lnTo>
                  <a:pt x="17" y="1026"/>
                </a:lnTo>
                <a:lnTo>
                  <a:pt x="23" y="1026"/>
                </a:lnTo>
                <a:lnTo>
                  <a:pt x="28" y="1020"/>
                </a:lnTo>
                <a:lnTo>
                  <a:pt x="34" y="1020"/>
                </a:lnTo>
                <a:lnTo>
                  <a:pt x="40" y="1014"/>
                </a:lnTo>
                <a:lnTo>
                  <a:pt x="40" y="1009"/>
                </a:lnTo>
                <a:lnTo>
                  <a:pt x="45" y="1003"/>
                </a:lnTo>
                <a:lnTo>
                  <a:pt x="51" y="1003"/>
                </a:lnTo>
                <a:lnTo>
                  <a:pt x="57" y="1003"/>
                </a:lnTo>
                <a:lnTo>
                  <a:pt x="62" y="1003"/>
                </a:lnTo>
                <a:lnTo>
                  <a:pt x="62" y="1009"/>
                </a:lnTo>
                <a:lnTo>
                  <a:pt x="68" y="1009"/>
                </a:lnTo>
                <a:lnTo>
                  <a:pt x="68" y="1003"/>
                </a:lnTo>
                <a:lnTo>
                  <a:pt x="74" y="1003"/>
                </a:lnTo>
                <a:lnTo>
                  <a:pt x="74" y="997"/>
                </a:lnTo>
                <a:lnTo>
                  <a:pt x="79" y="997"/>
                </a:lnTo>
                <a:lnTo>
                  <a:pt x="79" y="992"/>
                </a:lnTo>
                <a:lnTo>
                  <a:pt x="79" y="980"/>
                </a:lnTo>
                <a:lnTo>
                  <a:pt x="85" y="975"/>
                </a:lnTo>
                <a:lnTo>
                  <a:pt x="91" y="975"/>
                </a:lnTo>
                <a:lnTo>
                  <a:pt x="91" y="969"/>
                </a:lnTo>
                <a:lnTo>
                  <a:pt x="85" y="969"/>
                </a:lnTo>
                <a:lnTo>
                  <a:pt x="85" y="963"/>
                </a:lnTo>
                <a:lnTo>
                  <a:pt x="79" y="958"/>
                </a:lnTo>
                <a:lnTo>
                  <a:pt x="74" y="952"/>
                </a:lnTo>
                <a:lnTo>
                  <a:pt x="79" y="946"/>
                </a:lnTo>
                <a:lnTo>
                  <a:pt x="79" y="941"/>
                </a:lnTo>
                <a:lnTo>
                  <a:pt x="85" y="941"/>
                </a:lnTo>
                <a:lnTo>
                  <a:pt x="85" y="946"/>
                </a:lnTo>
                <a:lnTo>
                  <a:pt x="91" y="946"/>
                </a:lnTo>
                <a:lnTo>
                  <a:pt x="96" y="946"/>
                </a:lnTo>
                <a:lnTo>
                  <a:pt x="96" y="941"/>
                </a:lnTo>
                <a:lnTo>
                  <a:pt x="91" y="935"/>
                </a:lnTo>
                <a:lnTo>
                  <a:pt x="91" y="929"/>
                </a:lnTo>
                <a:lnTo>
                  <a:pt x="96" y="929"/>
                </a:lnTo>
                <a:lnTo>
                  <a:pt x="102" y="929"/>
                </a:lnTo>
                <a:lnTo>
                  <a:pt x="102" y="924"/>
                </a:lnTo>
                <a:lnTo>
                  <a:pt x="96" y="924"/>
                </a:lnTo>
                <a:lnTo>
                  <a:pt x="96" y="918"/>
                </a:lnTo>
                <a:lnTo>
                  <a:pt x="102" y="918"/>
                </a:lnTo>
                <a:lnTo>
                  <a:pt x="108" y="924"/>
                </a:lnTo>
                <a:lnTo>
                  <a:pt x="113" y="918"/>
                </a:lnTo>
                <a:lnTo>
                  <a:pt x="113" y="912"/>
                </a:lnTo>
                <a:lnTo>
                  <a:pt x="113" y="901"/>
                </a:lnTo>
                <a:lnTo>
                  <a:pt x="113" y="895"/>
                </a:lnTo>
                <a:lnTo>
                  <a:pt x="119" y="890"/>
                </a:lnTo>
                <a:lnTo>
                  <a:pt x="125" y="895"/>
                </a:lnTo>
                <a:lnTo>
                  <a:pt x="130" y="895"/>
                </a:lnTo>
                <a:lnTo>
                  <a:pt x="136" y="890"/>
                </a:lnTo>
                <a:lnTo>
                  <a:pt x="142" y="895"/>
                </a:lnTo>
                <a:lnTo>
                  <a:pt x="147" y="890"/>
                </a:lnTo>
                <a:lnTo>
                  <a:pt x="159" y="884"/>
                </a:lnTo>
                <a:lnTo>
                  <a:pt x="164" y="884"/>
                </a:lnTo>
                <a:lnTo>
                  <a:pt x="170" y="890"/>
                </a:lnTo>
                <a:lnTo>
                  <a:pt x="176" y="890"/>
                </a:lnTo>
                <a:lnTo>
                  <a:pt x="176" y="895"/>
                </a:lnTo>
                <a:lnTo>
                  <a:pt x="181" y="901"/>
                </a:lnTo>
                <a:lnTo>
                  <a:pt x="187" y="901"/>
                </a:lnTo>
                <a:lnTo>
                  <a:pt x="193" y="901"/>
                </a:lnTo>
                <a:lnTo>
                  <a:pt x="193" y="907"/>
                </a:lnTo>
                <a:lnTo>
                  <a:pt x="193" y="912"/>
                </a:lnTo>
                <a:lnTo>
                  <a:pt x="187" y="924"/>
                </a:lnTo>
                <a:lnTo>
                  <a:pt x="187" y="929"/>
                </a:lnTo>
                <a:lnTo>
                  <a:pt x="193" y="935"/>
                </a:lnTo>
                <a:lnTo>
                  <a:pt x="198" y="941"/>
                </a:lnTo>
                <a:lnTo>
                  <a:pt x="204" y="941"/>
                </a:lnTo>
                <a:lnTo>
                  <a:pt x="204" y="935"/>
                </a:lnTo>
                <a:lnTo>
                  <a:pt x="210" y="935"/>
                </a:lnTo>
                <a:lnTo>
                  <a:pt x="210" y="941"/>
                </a:lnTo>
                <a:lnTo>
                  <a:pt x="215" y="941"/>
                </a:lnTo>
                <a:lnTo>
                  <a:pt x="215" y="935"/>
                </a:lnTo>
                <a:lnTo>
                  <a:pt x="221" y="935"/>
                </a:lnTo>
                <a:lnTo>
                  <a:pt x="227" y="935"/>
                </a:lnTo>
                <a:lnTo>
                  <a:pt x="232" y="935"/>
                </a:lnTo>
                <a:lnTo>
                  <a:pt x="232" y="941"/>
                </a:lnTo>
                <a:lnTo>
                  <a:pt x="232" y="946"/>
                </a:lnTo>
                <a:lnTo>
                  <a:pt x="238" y="952"/>
                </a:lnTo>
                <a:lnTo>
                  <a:pt x="244" y="952"/>
                </a:lnTo>
                <a:lnTo>
                  <a:pt x="238" y="958"/>
                </a:lnTo>
                <a:lnTo>
                  <a:pt x="238" y="963"/>
                </a:lnTo>
                <a:lnTo>
                  <a:pt x="244" y="969"/>
                </a:lnTo>
                <a:lnTo>
                  <a:pt x="249" y="969"/>
                </a:lnTo>
                <a:lnTo>
                  <a:pt x="249" y="975"/>
                </a:lnTo>
                <a:lnTo>
                  <a:pt x="249" y="986"/>
                </a:lnTo>
                <a:lnTo>
                  <a:pt x="244" y="992"/>
                </a:lnTo>
                <a:lnTo>
                  <a:pt x="232" y="992"/>
                </a:lnTo>
                <a:lnTo>
                  <a:pt x="227" y="997"/>
                </a:lnTo>
                <a:lnTo>
                  <a:pt x="227" y="1003"/>
                </a:lnTo>
                <a:lnTo>
                  <a:pt x="227" y="1009"/>
                </a:lnTo>
                <a:lnTo>
                  <a:pt x="232" y="1009"/>
                </a:lnTo>
                <a:lnTo>
                  <a:pt x="238" y="1014"/>
                </a:lnTo>
                <a:lnTo>
                  <a:pt x="238" y="1020"/>
                </a:lnTo>
                <a:lnTo>
                  <a:pt x="238" y="1026"/>
                </a:lnTo>
                <a:lnTo>
                  <a:pt x="244" y="1026"/>
                </a:lnTo>
                <a:lnTo>
                  <a:pt x="249" y="1026"/>
                </a:lnTo>
                <a:lnTo>
                  <a:pt x="249" y="1031"/>
                </a:lnTo>
                <a:lnTo>
                  <a:pt x="249" y="1037"/>
                </a:lnTo>
                <a:lnTo>
                  <a:pt x="249" y="1043"/>
                </a:lnTo>
                <a:lnTo>
                  <a:pt x="249" y="1048"/>
                </a:lnTo>
                <a:lnTo>
                  <a:pt x="249" y="1054"/>
                </a:lnTo>
                <a:lnTo>
                  <a:pt x="249" y="1060"/>
                </a:lnTo>
                <a:lnTo>
                  <a:pt x="244" y="1065"/>
                </a:lnTo>
                <a:lnTo>
                  <a:pt x="249" y="1065"/>
                </a:lnTo>
                <a:lnTo>
                  <a:pt x="255" y="1065"/>
                </a:lnTo>
                <a:lnTo>
                  <a:pt x="261" y="1065"/>
                </a:lnTo>
                <a:lnTo>
                  <a:pt x="266" y="1060"/>
                </a:lnTo>
                <a:lnTo>
                  <a:pt x="272" y="1060"/>
                </a:lnTo>
                <a:lnTo>
                  <a:pt x="283" y="1065"/>
                </a:lnTo>
                <a:lnTo>
                  <a:pt x="283" y="1060"/>
                </a:lnTo>
                <a:lnTo>
                  <a:pt x="289" y="1060"/>
                </a:lnTo>
                <a:lnTo>
                  <a:pt x="295" y="1060"/>
                </a:lnTo>
                <a:lnTo>
                  <a:pt x="295" y="1065"/>
                </a:lnTo>
                <a:lnTo>
                  <a:pt x="300" y="1071"/>
                </a:lnTo>
                <a:lnTo>
                  <a:pt x="300" y="1077"/>
                </a:lnTo>
                <a:lnTo>
                  <a:pt x="306" y="1082"/>
                </a:lnTo>
                <a:lnTo>
                  <a:pt x="312" y="1082"/>
                </a:lnTo>
                <a:lnTo>
                  <a:pt x="317" y="1082"/>
                </a:lnTo>
                <a:lnTo>
                  <a:pt x="323" y="1077"/>
                </a:lnTo>
                <a:lnTo>
                  <a:pt x="329" y="1077"/>
                </a:lnTo>
                <a:lnTo>
                  <a:pt x="334" y="1077"/>
                </a:lnTo>
                <a:lnTo>
                  <a:pt x="340" y="1077"/>
                </a:lnTo>
                <a:lnTo>
                  <a:pt x="346" y="1077"/>
                </a:lnTo>
                <a:lnTo>
                  <a:pt x="351" y="1077"/>
                </a:lnTo>
                <a:lnTo>
                  <a:pt x="363" y="1077"/>
                </a:lnTo>
                <a:lnTo>
                  <a:pt x="368" y="1077"/>
                </a:lnTo>
                <a:lnTo>
                  <a:pt x="368" y="1082"/>
                </a:lnTo>
                <a:lnTo>
                  <a:pt x="374" y="1082"/>
                </a:lnTo>
                <a:lnTo>
                  <a:pt x="380" y="1077"/>
                </a:lnTo>
                <a:lnTo>
                  <a:pt x="380" y="1082"/>
                </a:lnTo>
                <a:lnTo>
                  <a:pt x="385" y="1082"/>
                </a:lnTo>
                <a:lnTo>
                  <a:pt x="385" y="1088"/>
                </a:lnTo>
                <a:lnTo>
                  <a:pt x="391" y="1088"/>
                </a:lnTo>
                <a:lnTo>
                  <a:pt x="397" y="1094"/>
                </a:lnTo>
                <a:lnTo>
                  <a:pt x="402" y="1094"/>
                </a:lnTo>
                <a:lnTo>
                  <a:pt x="402" y="1099"/>
                </a:lnTo>
                <a:lnTo>
                  <a:pt x="408" y="1099"/>
                </a:lnTo>
                <a:lnTo>
                  <a:pt x="414" y="1105"/>
                </a:lnTo>
                <a:lnTo>
                  <a:pt x="414" y="1111"/>
                </a:lnTo>
                <a:lnTo>
                  <a:pt x="419" y="1111"/>
                </a:lnTo>
                <a:lnTo>
                  <a:pt x="425" y="1111"/>
                </a:lnTo>
                <a:lnTo>
                  <a:pt x="431" y="1116"/>
                </a:lnTo>
                <a:lnTo>
                  <a:pt x="436" y="1116"/>
                </a:lnTo>
                <a:lnTo>
                  <a:pt x="442" y="1116"/>
                </a:lnTo>
                <a:lnTo>
                  <a:pt x="448" y="1116"/>
                </a:lnTo>
                <a:lnTo>
                  <a:pt x="448" y="1122"/>
                </a:lnTo>
                <a:lnTo>
                  <a:pt x="453" y="1116"/>
                </a:lnTo>
                <a:lnTo>
                  <a:pt x="459" y="1116"/>
                </a:lnTo>
                <a:lnTo>
                  <a:pt x="465" y="1116"/>
                </a:lnTo>
                <a:lnTo>
                  <a:pt x="470" y="1111"/>
                </a:lnTo>
                <a:lnTo>
                  <a:pt x="476" y="1111"/>
                </a:lnTo>
                <a:lnTo>
                  <a:pt x="482" y="1111"/>
                </a:lnTo>
                <a:lnTo>
                  <a:pt x="493" y="1111"/>
                </a:lnTo>
                <a:lnTo>
                  <a:pt x="499" y="1116"/>
                </a:lnTo>
                <a:lnTo>
                  <a:pt x="504" y="1116"/>
                </a:lnTo>
                <a:lnTo>
                  <a:pt x="510" y="1116"/>
                </a:lnTo>
                <a:lnTo>
                  <a:pt x="516" y="1116"/>
                </a:lnTo>
                <a:lnTo>
                  <a:pt x="521" y="1111"/>
                </a:lnTo>
                <a:lnTo>
                  <a:pt x="527" y="1111"/>
                </a:lnTo>
                <a:lnTo>
                  <a:pt x="533" y="1111"/>
                </a:lnTo>
                <a:lnTo>
                  <a:pt x="538" y="1111"/>
                </a:lnTo>
                <a:lnTo>
                  <a:pt x="544" y="1111"/>
                </a:lnTo>
                <a:lnTo>
                  <a:pt x="544" y="1105"/>
                </a:lnTo>
                <a:lnTo>
                  <a:pt x="550" y="1105"/>
                </a:lnTo>
                <a:lnTo>
                  <a:pt x="555" y="1105"/>
                </a:lnTo>
                <a:lnTo>
                  <a:pt x="567" y="1099"/>
                </a:lnTo>
                <a:lnTo>
                  <a:pt x="572" y="1105"/>
                </a:lnTo>
                <a:lnTo>
                  <a:pt x="578" y="1105"/>
                </a:lnTo>
                <a:lnTo>
                  <a:pt x="584" y="1099"/>
                </a:lnTo>
                <a:lnTo>
                  <a:pt x="589" y="1099"/>
                </a:lnTo>
                <a:lnTo>
                  <a:pt x="595" y="1099"/>
                </a:lnTo>
                <a:lnTo>
                  <a:pt x="601" y="1099"/>
                </a:lnTo>
                <a:lnTo>
                  <a:pt x="606" y="1099"/>
                </a:lnTo>
                <a:lnTo>
                  <a:pt x="612" y="1099"/>
                </a:lnTo>
                <a:lnTo>
                  <a:pt x="618" y="1099"/>
                </a:lnTo>
                <a:lnTo>
                  <a:pt x="623" y="1105"/>
                </a:lnTo>
                <a:lnTo>
                  <a:pt x="629" y="1099"/>
                </a:lnTo>
                <a:lnTo>
                  <a:pt x="629" y="1105"/>
                </a:lnTo>
                <a:lnTo>
                  <a:pt x="635" y="1105"/>
                </a:lnTo>
                <a:lnTo>
                  <a:pt x="640" y="1105"/>
                </a:lnTo>
                <a:lnTo>
                  <a:pt x="646" y="1105"/>
                </a:lnTo>
                <a:lnTo>
                  <a:pt x="652" y="1105"/>
                </a:lnTo>
                <a:lnTo>
                  <a:pt x="652" y="1111"/>
                </a:lnTo>
                <a:lnTo>
                  <a:pt x="657" y="1111"/>
                </a:lnTo>
                <a:lnTo>
                  <a:pt x="663" y="1116"/>
                </a:lnTo>
                <a:lnTo>
                  <a:pt x="663" y="1122"/>
                </a:lnTo>
                <a:lnTo>
                  <a:pt x="663" y="1128"/>
                </a:lnTo>
                <a:lnTo>
                  <a:pt x="669" y="1128"/>
                </a:lnTo>
                <a:lnTo>
                  <a:pt x="669" y="1122"/>
                </a:lnTo>
                <a:lnTo>
                  <a:pt x="669" y="1128"/>
                </a:lnTo>
                <a:lnTo>
                  <a:pt x="674" y="1128"/>
                </a:lnTo>
                <a:lnTo>
                  <a:pt x="680" y="1128"/>
                </a:lnTo>
                <a:lnTo>
                  <a:pt x="686" y="1133"/>
                </a:lnTo>
                <a:lnTo>
                  <a:pt x="691" y="1133"/>
                </a:lnTo>
                <a:lnTo>
                  <a:pt x="697" y="1133"/>
                </a:lnTo>
                <a:lnTo>
                  <a:pt x="703" y="1133"/>
                </a:lnTo>
                <a:lnTo>
                  <a:pt x="708" y="1133"/>
                </a:lnTo>
                <a:lnTo>
                  <a:pt x="714" y="1128"/>
                </a:lnTo>
                <a:lnTo>
                  <a:pt x="720" y="1122"/>
                </a:lnTo>
                <a:lnTo>
                  <a:pt x="725" y="1116"/>
                </a:lnTo>
                <a:lnTo>
                  <a:pt x="731" y="1116"/>
                </a:lnTo>
                <a:lnTo>
                  <a:pt x="737" y="1116"/>
                </a:lnTo>
                <a:lnTo>
                  <a:pt x="742" y="1111"/>
                </a:lnTo>
                <a:lnTo>
                  <a:pt x="737" y="1111"/>
                </a:lnTo>
                <a:lnTo>
                  <a:pt x="731" y="1105"/>
                </a:lnTo>
                <a:lnTo>
                  <a:pt x="725" y="1094"/>
                </a:lnTo>
                <a:lnTo>
                  <a:pt x="725" y="1088"/>
                </a:lnTo>
                <a:lnTo>
                  <a:pt x="731" y="1082"/>
                </a:lnTo>
                <a:lnTo>
                  <a:pt x="731" y="1077"/>
                </a:lnTo>
                <a:lnTo>
                  <a:pt x="737" y="1071"/>
                </a:lnTo>
                <a:lnTo>
                  <a:pt x="742" y="1071"/>
                </a:lnTo>
                <a:lnTo>
                  <a:pt x="748" y="1071"/>
                </a:lnTo>
                <a:lnTo>
                  <a:pt x="754" y="1071"/>
                </a:lnTo>
                <a:lnTo>
                  <a:pt x="759" y="1071"/>
                </a:lnTo>
                <a:lnTo>
                  <a:pt x="765" y="1071"/>
                </a:lnTo>
                <a:lnTo>
                  <a:pt x="771" y="1071"/>
                </a:lnTo>
                <a:lnTo>
                  <a:pt x="776" y="1071"/>
                </a:lnTo>
                <a:lnTo>
                  <a:pt x="782" y="1065"/>
                </a:lnTo>
                <a:lnTo>
                  <a:pt x="788" y="1065"/>
                </a:lnTo>
                <a:lnTo>
                  <a:pt x="788" y="1060"/>
                </a:lnTo>
                <a:lnTo>
                  <a:pt x="793" y="1060"/>
                </a:lnTo>
                <a:lnTo>
                  <a:pt x="793" y="1054"/>
                </a:lnTo>
                <a:lnTo>
                  <a:pt x="793" y="1048"/>
                </a:lnTo>
                <a:lnTo>
                  <a:pt x="793" y="1043"/>
                </a:lnTo>
                <a:lnTo>
                  <a:pt x="799" y="1037"/>
                </a:lnTo>
                <a:lnTo>
                  <a:pt x="799" y="1031"/>
                </a:lnTo>
                <a:lnTo>
                  <a:pt x="805" y="1026"/>
                </a:lnTo>
                <a:lnTo>
                  <a:pt x="810" y="1020"/>
                </a:lnTo>
                <a:lnTo>
                  <a:pt x="810" y="1014"/>
                </a:lnTo>
                <a:lnTo>
                  <a:pt x="816" y="1014"/>
                </a:lnTo>
                <a:lnTo>
                  <a:pt x="828" y="1014"/>
                </a:lnTo>
                <a:lnTo>
                  <a:pt x="833" y="1014"/>
                </a:lnTo>
                <a:lnTo>
                  <a:pt x="839" y="1014"/>
                </a:lnTo>
                <a:lnTo>
                  <a:pt x="845" y="1014"/>
                </a:lnTo>
                <a:lnTo>
                  <a:pt x="850" y="1009"/>
                </a:lnTo>
                <a:lnTo>
                  <a:pt x="856" y="1003"/>
                </a:lnTo>
                <a:lnTo>
                  <a:pt x="862" y="1003"/>
                </a:lnTo>
                <a:lnTo>
                  <a:pt x="867" y="1009"/>
                </a:lnTo>
                <a:lnTo>
                  <a:pt x="873" y="1009"/>
                </a:lnTo>
                <a:lnTo>
                  <a:pt x="879" y="1009"/>
                </a:lnTo>
                <a:lnTo>
                  <a:pt x="884" y="1003"/>
                </a:lnTo>
                <a:lnTo>
                  <a:pt x="884" y="997"/>
                </a:lnTo>
                <a:lnTo>
                  <a:pt x="890" y="997"/>
                </a:lnTo>
                <a:lnTo>
                  <a:pt x="896" y="992"/>
                </a:lnTo>
                <a:lnTo>
                  <a:pt x="901" y="992"/>
                </a:lnTo>
                <a:lnTo>
                  <a:pt x="907" y="992"/>
                </a:lnTo>
                <a:lnTo>
                  <a:pt x="913" y="992"/>
                </a:lnTo>
                <a:lnTo>
                  <a:pt x="918" y="986"/>
                </a:lnTo>
                <a:lnTo>
                  <a:pt x="924" y="992"/>
                </a:lnTo>
                <a:lnTo>
                  <a:pt x="924" y="986"/>
                </a:lnTo>
                <a:lnTo>
                  <a:pt x="930" y="952"/>
                </a:lnTo>
                <a:lnTo>
                  <a:pt x="930" y="918"/>
                </a:lnTo>
                <a:lnTo>
                  <a:pt x="930" y="884"/>
                </a:lnTo>
                <a:lnTo>
                  <a:pt x="930" y="850"/>
                </a:lnTo>
                <a:lnTo>
                  <a:pt x="930" y="816"/>
                </a:lnTo>
                <a:lnTo>
                  <a:pt x="930" y="782"/>
                </a:lnTo>
                <a:lnTo>
                  <a:pt x="930" y="748"/>
                </a:lnTo>
                <a:lnTo>
                  <a:pt x="935" y="714"/>
                </a:lnTo>
                <a:lnTo>
                  <a:pt x="935" y="703"/>
                </a:lnTo>
                <a:lnTo>
                  <a:pt x="935" y="680"/>
                </a:lnTo>
                <a:lnTo>
                  <a:pt x="935" y="646"/>
                </a:lnTo>
                <a:lnTo>
                  <a:pt x="935" y="612"/>
                </a:lnTo>
                <a:lnTo>
                  <a:pt x="935" y="578"/>
                </a:lnTo>
                <a:lnTo>
                  <a:pt x="935" y="544"/>
                </a:lnTo>
                <a:lnTo>
                  <a:pt x="935" y="510"/>
                </a:lnTo>
                <a:lnTo>
                  <a:pt x="941" y="476"/>
                </a:lnTo>
                <a:lnTo>
                  <a:pt x="941" y="442"/>
                </a:lnTo>
                <a:lnTo>
                  <a:pt x="941" y="408"/>
                </a:lnTo>
                <a:lnTo>
                  <a:pt x="941" y="374"/>
                </a:lnTo>
                <a:lnTo>
                  <a:pt x="941" y="340"/>
                </a:lnTo>
                <a:lnTo>
                  <a:pt x="941" y="306"/>
                </a:lnTo>
                <a:lnTo>
                  <a:pt x="941" y="272"/>
                </a:lnTo>
                <a:lnTo>
                  <a:pt x="941" y="243"/>
                </a:lnTo>
                <a:lnTo>
                  <a:pt x="941" y="238"/>
                </a:lnTo>
                <a:lnTo>
                  <a:pt x="947" y="232"/>
                </a:lnTo>
                <a:lnTo>
                  <a:pt x="947" y="221"/>
                </a:lnTo>
                <a:lnTo>
                  <a:pt x="947" y="204"/>
                </a:lnTo>
                <a:lnTo>
                  <a:pt x="947" y="181"/>
                </a:lnTo>
                <a:lnTo>
                  <a:pt x="947" y="170"/>
                </a:lnTo>
                <a:lnTo>
                  <a:pt x="947" y="158"/>
                </a:lnTo>
                <a:lnTo>
                  <a:pt x="947" y="136"/>
                </a:lnTo>
                <a:lnTo>
                  <a:pt x="947" y="113"/>
                </a:lnTo>
                <a:lnTo>
                  <a:pt x="947" y="102"/>
                </a:lnTo>
                <a:lnTo>
                  <a:pt x="947" y="90"/>
                </a:lnTo>
                <a:lnTo>
                  <a:pt x="947" y="68"/>
                </a:lnTo>
                <a:lnTo>
                  <a:pt x="947" y="45"/>
                </a:lnTo>
                <a:lnTo>
                  <a:pt x="947" y="34"/>
                </a:lnTo>
                <a:lnTo>
                  <a:pt x="947" y="22"/>
                </a:lnTo>
                <a:lnTo>
                  <a:pt x="947" y="0"/>
                </a:lnTo>
                <a:lnTo>
                  <a:pt x="952" y="5"/>
                </a:lnTo>
                <a:lnTo>
                  <a:pt x="958" y="5"/>
                </a:lnTo>
                <a:lnTo>
                  <a:pt x="958" y="11"/>
                </a:lnTo>
                <a:lnTo>
                  <a:pt x="958" y="17"/>
                </a:lnTo>
                <a:lnTo>
                  <a:pt x="964" y="17"/>
                </a:lnTo>
                <a:lnTo>
                  <a:pt x="964" y="22"/>
                </a:lnTo>
                <a:lnTo>
                  <a:pt x="969" y="22"/>
                </a:lnTo>
                <a:lnTo>
                  <a:pt x="975" y="22"/>
                </a:lnTo>
                <a:lnTo>
                  <a:pt x="975" y="28"/>
                </a:lnTo>
                <a:lnTo>
                  <a:pt x="981" y="34"/>
                </a:lnTo>
                <a:lnTo>
                  <a:pt x="986" y="34"/>
                </a:lnTo>
                <a:lnTo>
                  <a:pt x="992" y="34"/>
                </a:lnTo>
                <a:lnTo>
                  <a:pt x="992" y="39"/>
                </a:lnTo>
                <a:lnTo>
                  <a:pt x="998" y="39"/>
                </a:lnTo>
                <a:lnTo>
                  <a:pt x="1003" y="39"/>
                </a:lnTo>
                <a:lnTo>
                  <a:pt x="1009" y="45"/>
                </a:lnTo>
                <a:lnTo>
                  <a:pt x="1015" y="45"/>
                </a:lnTo>
                <a:lnTo>
                  <a:pt x="1020" y="45"/>
                </a:lnTo>
                <a:lnTo>
                  <a:pt x="1020" y="51"/>
                </a:lnTo>
                <a:lnTo>
                  <a:pt x="1020" y="56"/>
                </a:lnTo>
                <a:lnTo>
                  <a:pt x="1026" y="56"/>
                </a:lnTo>
                <a:lnTo>
                  <a:pt x="1026" y="62"/>
                </a:lnTo>
                <a:lnTo>
                  <a:pt x="1032" y="62"/>
                </a:lnTo>
                <a:lnTo>
                  <a:pt x="1037" y="68"/>
                </a:lnTo>
                <a:lnTo>
                  <a:pt x="1037" y="73"/>
                </a:lnTo>
                <a:lnTo>
                  <a:pt x="1043" y="73"/>
                </a:lnTo>
                <a:lnTo>
                  <a:pt x="1049" y="73"/>
                </a:lnTo>
                <a:lnTo>
                  <a:pt x="1049" y="79"/>
                </a:lnTo>
                <a:lnTo>
                  <a:pt x="1054" y="85"/>
                </a:lnTo>
                <a:lnTo>
                  <a:pt x="1054" y="90"/>
                </a:lnTo>
                <a:lnTo>
                  <a:pt x="1060" y="96"/>
                </a:lnTo>
                <a:lnTo>
                  <a:pt x="1060" y="102"/>
                </a:lnTo>
                <a:lnTo>
                  <a:pt x="1060" y="107"/>
                </a:lnTo>
                <a:lnTo>
                  <a:pt x="1066" y="107"/>
                </a:lnTo>
                <a:lnTo>
                  <a:pt x="1071" y="107"/>
                </a:lnTo>
                <a:lnTo>
                  <a:pt x="1071" y="113"/>
                </a:lnTo>
                <a:lnTo>
                  <a:pt x="1066" y="119"/>
                </a:lnTo>
                <a:lnTo>
                  <a:pt x="1066" y="124"/>
                </a:lnTo>
                <a:lnTo>
                  <a:pt x="1071" y="124"/>
                </a:lnTo>
                <a:lnTo>
                  <a:pt x="1077" y="124"/>
                </a:lnTo>
                <a:lnTo>
                  <a:pt x="1077" y="130"/>
                </a:lnTo>
                <a:lnTo>
                  <a:pt x="1077" y="136"/>
                </a:lnTo>
                <a:lnTo>
                  <a:pt x="1083" y="141"/>
                </a:lnTo>
                <a:lnTo>
                  <a:pt x="1088" y="141"/>
                </a:lnTo>
                <a:lnTo>
                  <a:pt x="1083" y="147"/>
                </a:lnTo>
                <a:lnTo>
                  <a:pt x="1083" y="153"/>
                </a:lnTo>
                <a:lnTo>
                  <a:pt x="1088" y="153"/>
                </a:lnTo>
                <a:lnTo>
                  <a:pt x="1088" y="158"/>
                </a:lnTo>
                <a:lnTo>
                  <a:pt x="1094" y="164"/>
                </a:lnTo>
                <a:lnTo>
                  <a:pt x="1094" y="170"/>
                </a:lnTo>
                <a:lnTo>
                  <a:pt x="1100" y="170"/>
                </a:lnTo>
                <a:lnTo>
                  <a:pt x="1105" y="175"/>
                </a:lnTo>
                <a:lnTo>
                  <a:pt x="1105" y="181"/>
                </a:lnTo>
                <a:lnTo>
                  <a:pt x="1111" y="181"/>
                </a:lnTo>
                <a:lnTo>
                  <a:pt x="1111" y="187"/>
                </a:lnTo>
                <a:lnTo>
                  <a:pt x="1117" y="187"/>
                </a:lnTo>
                <a:lnTo>
                  <a:pt x="1122" y="187"/>
                </a:lnTo>
                <a:lnTo>
                  <a:pt x="1122" y="192"/>
                </a:lnTo>
                <a:lnTo>
                  <a:pt x="1117" y="192"/>
                </a:lnTo>
                <a:lnTo>
                  <a:pt x="1111" y="198"/>
                </a:lnTo>
                <a:lnTo>
                  <a:pt x="1111" y="204"/>
                </a:lnTo>
                <a:lnTo>
                  <a:pt x="1111" y="209"/>
                </a:lnTo>
                <a:lnTo>
                  <a:pt x="1122" y="215"/>
                </a:lnTo>
                <a:lnTo>
                  <a:pt x="1128" y="221"/>
                </a:lnTo>
                <a:lnTo>
                  <a:pt x="1128" y="226"/>
                </a:lnTo>
                <a:lnTo>
                  <a:pt x="1122" y="226"/>
                </a:lnTo>
                <a:lnTo>
                  <a:pt x="1122" y="232"/>
                </a:lnTo>
                <a:lnTo>
                  <a:pt x="1117" y="232"/>
                </a:lnTo>
                <a:lnTo>
                  <a:pt x="1117" y="238"/>
                </a:lnTo>
                <a:lnTo>
                  <a:pt x="1122" y="238"/>
                </a:lnTo>
                <a:lnTo>
                  <a:pt x="1128" y="238"/>
                </a:lnTo>
                <a:lnTo>
                  <a:pt x="1122" y="249"/>
                </a:lnTo>
                <a:lnTo>
                  <a:pt x="1122" y="255"/>
                </a:lnTo>
                <a:lnTo>
                  <a:pt x="1128" y="255"/>
                </a:lnTo>
                <a:lnTo>
                  <a:pt x="1134" y="260"/>
                </a:lnTo>
                <a:lnTo>
                  <a:pt x="1134" y="266"/>
                </a:lnTo>
                <a:lnTo>
                  <a:pt x="1134" y="272"/>
                </a:lnTo>
                <a:lnTo>
                  <a:pt x="1139" y="272"/>
                </a:lnTo>
                <a:lnTo>
                  <a:pt x="1139" y="277"/>
                </a:lnTo>
                <a:lnTo>
                  <a:pt x="1145" y="277"/>
                </a:lnTo>
                <a:lnTo>
                  <a:pt x="1139" y="277"/>
                </a:lnTo>
                <a:lnTo>
                  <a:pt x="1139" y="283"/>
                </a:lnTo>
                <a:lnTo>
                  <a:pt x="1139" y="289"/>
                </a:lnTo>
                <a:lnTo>
                  <a:pt x="1151" y="283"/>
                </a:lnTo>
                <a:lnTo>
                  <a:pt x="1151" y="294"/>
                </a:lnTo>
                <a:lnTo>
                  <a:pt x="1151" y="300"/>
                </a:lnTo>
                <a:lnTo>
                  <a:pt x="1156" y="300"/>
                </a:lnTo>
                <a:lnTo>
                  <a:pt x="1156" y="306"/>
                </a:lnTo>
                <a:lnTo>
                  <a:pt x="1151" y="306"/>
                </a:lnTo>
                <a:lnTo>
                  <a:pt x="1151" y="311"/>
                </a:lnTo>
                <a:lnTo>
                  <a:pt x="1156" y="317"/>
                </a:lnTo>
                <a:lnTo>
                  <a:pt x="1162" y="323"/>
                </a:lnTo>
                <a:lnTo>
                  <a:pt x="1162" y="328"/>
                </a:lnTo>
                <a:lnTo>
                  <a:pt x="1162" y="334"/>
                </a:lnTo>
                <a:lnTo>
                  <a:pt x="1156" y="334"/>
                </a:lnTo>
                <a:lnTo>
                  <a:pt x="1156" y="340"/>
                </a:lnTo>
                <a:lnTo>
                  <a:pt x="1162" y="345"/>
                </a:lnTo>
                <a:lnTo>
                  <a:pt x="1162" y="351"/>
                </a:lnTo>
                <a:lnTo>
                  <a:pt x="1156" y="351"/>
                </a:lnTo>
                <a:lnTo>
                  <a:pt x="1162" y="351"/>
                </a:lnTo>
                <a:lnTo>
                  <a:pt x="1162" y="357"/>
                </a:lnTo>
                <a:lnTo>
                  <a:pt x="1156" y="362"/>
                </a:lnTo>
                <a:lnTo>
                  <a:pt x="1162" y="368"/>
                </a:lnTo>
                <a:lnTo>
                  <a:pt x="1168" y="368"/>
                </a:lnTo>
                <a:lnTo>
                  <a:pt x="1168" y="374"/>
                </a:lnTo>
                <a:lnTo>
                  <a:pt x="1168" y="379"/>
                </a:lnTo>
                <a:lnTo>
                  <a:pt x="1162" y="379"/>
                </a:lnTo>
                <a:lnTo>
                  <a:pt x="1156" y="379"/>
                </a:lnTo>
                <a:lnTo>
                  <a:pt x="1156" y="385"/>
                </a:lnTo>
                <a:lnTo>
                  <a:pt x="1156" y="391"/>
                </a:lnTo>
                <a:lnTo>
                  <a:pt x="1151" y="396"/>
                </a:lnTo>
                <a:lnTo>
                  <a:pt x="1151" y="402"/>
                </a:lnTo>
                <a:lnTo>
                  <a:pt x="1151" y="408"/>
                </a:lnTo>
                <a:lnTo>
                  <a:pt x="1145" y="408"/>
                </a:lnTo>
                <a:lnTo>
                  <a:pt x="1145" y="413"/>
                </a:lnTo>
                <a:lnTo>
                  <a:pt x="1139" y="413"/>
                </a:lnTo>
                <a:lnTo>
                  <a:pt x="1134" y="419"/>
                </a:lnTo>
                <a:lnTo>
                  <a:pt x="1134" y="425"/>
                </a:lnTo>
                <a:lnTo>
                  <a:pt x="1128" y="425"/>
                </a:lnTo>
                <a:lnTo>
                  <a:pt x="1128" y="430"/>
                </a:lnTo>
                <a:lnTo>
                  <a:pt x="1122" y="430"/>
                </a:lnTo>
                <a:lnTo>
                  <a:pt x="1122" y="436"/>
                </a:lnTo>
                <a:lnTo>
                  <a:pt x="1122" y="442"/>
                </a:lnTo>
                <a:lnTo>
                  <a:pt x="1117" y="442"/>
                </a:lnTo>
                <a:lnTo>
                  <a:pt x="1111" y="447"/>
                </a:lnTo>
                <a:lnTo>
                  <a:pt x="1111" y="453"/>
                </a:lnTo>
                <a:lnTo>
                  <a:pt x="1105" y="453"/>
                </a:lnTo>
                <a:lnTo>
                  <a:pt x="1100" y="453"/>
                </a:lnTo>
                <a:lnTo>
                  <a:pt x="1100" y="464"/>
                </a:lnTo>
                <a:lnTo>
                  <a:pt x="1100" y="470"/>
                </a:lnTo>
                <a:lnTo>
                  <a:pt x="1100" y="476"/>
                </a:lnTo>
                <a:lnTo>
                  <a:pt x="1100" y="487"/>
                </a:lnTo>
                <a:lnTo>
                  <a:pt x="1100" y="493"/>
                </a:lnTo>
                <a:lnTo>
                  <a:pt x="1105" y="493"/>
                </a:lnTo>
                <a:lnTo>
                  <a:pt x="1105" y="504"/>
                </a:lnTo>
                <a:lnTo>
                  <a:pt x="1105" y="515"/>
                </a:lnTo>
                <a:lnTo>
                  <a:pt x="1100" y="521"/>
                </a:lnTo>
                <a:lnTo>
                  <a:pt x="1100" y="527"/>
                </a:lnTo>
                <a:lnTo>
                  <a:pt x="1105" y="532"/>
                </a:lnTo>
                <a:lnTo>
                  <a:pt x="1105" y="538"/>
                </a:lnTo>
                <a:lnTo>
                  <a:pt x="1105" y="544"/>
                </a:lnTo>
                <a:lnTo>
                  <a:pt x="1105" y="550"/>
                </a:lnTo>
                <a:lnTo>
                  <a:pt x="1111" y="555"/>
                </a:lnTo>
                <a:lnTo>
                  <a:pt x="1105" y="555"/>
                </a:lnTo>
                <a:lnTo>
                  <a:pt x="1105" y="561"/>
                </a:lnTo>
                <a:lnTo>
                  <a:pt x="1111" y="561"/>
                </a:lnTo>
                <a:lnTo>
                  <a:pt x="1117" y="561"/>
                </a:lnTo>
                <a:lnTo>
                  <a:pt x="1117" y="567"/>
                </a:lnTo>
                <a:lnTo>
                  <a:pt x="1117" y="572"/>
                </a:lnTo>
                <a:lnTo>
                  <a:pt x="1117" y="578"/>
                </a:lnTo>
                <a:lnTo>
                  <a:pt x="1122" y="578"/>
                </a:lnTo>
                <a:lnTo>
                  <a:pt x="1122" y="572"/>
                </a:lnTo>
                <a:lnTo>
                  <a:pt x="1128" y="572"/>
                </a:lnTo>
                <a:lnTo>
                  <a:pt x="1128" y="567"/>
                </a:lnTo>
                <a:lnTo>
                  <a:pt x="1134" y="567"/>
                </a:lnTo>
                <a:lnTo>
                  <a:pt x="1139" y="567"/>
                </a:lnTo>
                <a:lnTo>
                  <a:pt x="1145" y="561"/>
                </a:lnTo>
                <a:lnTo>
                  <a:pt x="1151" y="561"/>
                </a:lnTo>
                <a:lnTo>
                  <a:pt x="1156" y="555"/>
                </a:lnTo>
                <a:lnTo>
                  <a:pt x="1162" y="555"/>
                </a:lnTo>
                <a:lnTo>
                  <a:pt x="1168" y="550"/>
                </a:lnTo>
                <a:lnTo>
                  <a:pt x="1173" y="550"/>
                </a:lnTo>
                <a:lnTo>
                  <a:pt x="1179" y="550"/>
                </a:lnTo>
                <a:lnTo>
                  <a:pt x="1185" y="555"/>
                </a:lnTo>
                <a:lnTo>
                  <a:pt x="1190" y="550"/>
                </a:lnTo>
                <a:lnTo>
                  <a:pt x="1196" y="555"/>
                </a:lnTo>
                <a:lnTo>
                  <a:pt x="1202" y="561"/>
                </a:lnTo>
                <a:lnTo>
                  <a:pt x="1207" y="561"/>
                </a:lnTo>
                <a:lnTo>
                  <a:pt x="1207" y="567"/>
                </a:lnTo>
                <a:lnTo>
                  <a:pt x="1213" y="561"/>
                </a:lnTo>
                <a:lnTo>
                  <a:pt x="1213" y="567"/>
                </a:lnTo>
                <a:lnTo>
                  <a:pt x="1219" y="567"/>
                </a:lnTo>
                <a:lnTo>
                  <a:pt x="1236" y="572"/>
                </a:lnTo>
                <a:lnTo>
                  <a:pt x="1241" y="572"/>
                </a:lnTo>
                <a:lnTo>
                  <a:pt x="1247" y="567"/>
                </a:lnTo>
                <a:lnTo>
                  <a:pt x="1253" y="567"/>
                </a:lnTo>
                <a:lnTo>
                  <a:pt x="1258" y="561"/>
                </a:lnTo>
                <a:lnTo>
                  <a:pt x="1264" y="561"/>
                </a:lnTo>
                <a:lnTo>
                  <a:pt x="1270" y="561"/>
                </a:lnTo>
                <a:lnTo>
                  <a:pt x="1275" y="561"/>
                </a:lnTo>
                <a:lnTo>
                  <a:pt x="1275" y="567"/>
                </a:lnTo>
                <a:lnTo>
                  <a:pt x="1281" y="567"/>
                </a:lnTo>
                <a:lnTo>
                  <a:pt x="1281" y="561"/>
                </a:lnTo>
                <a:lnTo>
                  <a:pt x="1287" y="561"/>
                </a:lnTo>
                <a:lnTo>
                  <a:pt x="1292" y="555"/>
                </a:lnTo>
                <a:lnTo>
                  <a:pt x="1298" y="561"/>
                </a:lnTo>
                <a:lnTo>
                  <a:pt x="1304" y="555"/>
                </a:lnTo>
                <a:lnTo>
                  <a:pt x="1309" y="555"/>
                </a:lnTo>
                <a:lnTo>
                  <a:pt x="1315" y="555"/>
                </a:lnTo>
                <a:lnTo>
                  <a:pt x="1321" y="561"/>
                </a:lnTo>
                <a:lnTo>
                  <a:pt x="1326" y="561"/>
                </a:lnTo>
                <a:lnTo>
                  <a:pt x="1332" y="567"/>
                </a:lnTo>
                <a:lnTo>
                  <a:pt x="1338" y="567"/>
                </a:lnTo>
                <a:lnTo>
                  <a:pt x="1343" y="567"/>
                </a:lnTo>
                <a:lnTo>
                  <a:pt x="1343" y="561"/>
                </a:lnTo>
                <a:lnTo>
                  <a:pt x="1355" y="561"/>
                </a:lnTo>
                <a:lnTo>
                  <a:pt x="1360" y="567"/>
                </a:lnTo>
                <a:lnTo>
                  <a:pt x="1366" y="567"/>
                </a:lnTo>
                <a:lnTo>
                  <a:pt x="1372" y="567"/>
                </a:lnTo>
                <a:lnTo>
                  <a:pt x="1377" y="567"/>
                </a:lnTo>
                <a:lnTo>
                  <a:pt x="1383" y="567"/>
                </a:lnTo>
                <a:lnTo>
                  <a:pt x="1389" y="567"/>
                </a:lnTo>
                <a:lnTo>
                  <a:pt x="1394" y="555"/>
                </a:lnTo>
                <a:lnTo>
                  <a:pt x="1400" y="555"/>
                </a:lnTo>
                <a:lnTo>
                  <a:pt x="1406" y="550"/>
                </a:lnTo>
                <a:lnTo>
                  <a:pt x="1406" y="544"/>
                </a:lnTo>
                <a:lnTo>
                  <a:pt x="1406" y="538"/>
                </a:lnTo>
                <a:lnTo>
                  <a:pt x="1406" y="532"/>
                </a:lnTo>
                <a:lnTo>
                  <a:pt x="1406" y="527"/>
                </a:lnTo>
                <a:lnTo>
                  <a:pt x="1406" y="521"/>
                </a:lnTo>
                <a:lnTo>
                  <a:pt x="1411" y="515"/>
                </a:lnTo>
                <a:lnTo>
                  <a:pt x="1417" y="515"/>
                </a:lnTo>
                <a:lnTo>
                  <a:pt x="1423" y="515"/>
                </a:lnTo>
                <a:lnTo>
                  <a:pt x="1428" y="515"/>
                </a:lnTo>
                <a:lnTo>
                  <a:pt x="1440" y="515"/>
                </a:lnTo>
                <a:lnTo>
                  <a:pt x="1445" y="515"/>
                </a:lnTo>
                <a:lnTo>
                  <a:pt x="1451" y="515"/>
                </a:lnTo>
                <a:lnTo>
                  <a:pt x="1457" y="515"/>
                </a:lnTo>
                <a:lnTo>
                  <a:pt x="1462" y="510"/>
                </a:lnTo>
                <a:lnTo>
                  <a:pt x="1468" y="510"/>
                </a:lnTo>
                <a:lnTo>
                  <a:pt x="1474" y="504"/>
                </a:lnTo>
                <a:lnTo>
                  <a:pt x="1479" y="504"/>
                </a:lnTo>
                <a:lnTo>
                  <a:pt x="1479" y="498"/>
                </a:lnTo>
                <a:lnTo>
                  <a:pt x="1485" y="493"/>
                </a:lnTo>
                <a:lnTo>
                  <a:pt x="1491" y="493"/>
                </a:lnTo>
                <a:lnTo>
                  <a:pt x="1491" y="487"/>
                </a:lnTo>
                <a:lnTo>
                  <a:pt x="1491" y="481"/>
                </a:lnTo>
                <a:lnTo>
                  <a:pt x="1496" y="481"/>
                </a:lnTo>
                <a:lnTo>
                  <a:pt x="1502" y="476"/>
                </a:lnTo>
                <a:lnTo>
                  <a:pt x="1508" y="470"/>
                </a:lnTo>
                <a:lnTo>
                  <a:pt x="1508" y="464"/>
                </a:lnTo>
                <a:lnTo>
                  <a:pt x="1513" y="464"/>
                </a:lnTo>
                <a:lnTo>
                  <a:pt x="1513" y="459"/>
                </a:lnTo>
                <a:lnTo>
                  <a:pt x="1513" y="453"/>
                </a:lnTo>
                <a:lnTo>
                  <a:pt x="1519" y="453"/>
                </a:lnTo>
                <a:lnTo>
                  <a:pt x="1519" y="447"/>
                </a:lnTo>
                <a:lnTo>
                  <a:pt x="1519" y="442"/>
                </a:lnTo>
                <a:lnTo>
                  <a:pt x="1525" y="442"/>
                </a:lnTo>
                <a:lnTo>
                  <a:pt x="1525" y="436"/>
                </a:lnTo>
                <a:lnTo>
                  <a:pt x="1530" y="436"/>
                </a:lnTo>
                <a:lnTo>
                  <a:pt x="1530" y="430"/>
                </a:lnTo>
                <a:lnTo>
                  <a:pt x="1536" y="430"/>
                </a:lnTo>
                <a:lnTo>
                  <a:pt x="1542" y="430"/>
                </a:lnTo>
                <a:lnTo>
                  <a:pt x="1547" y="430"/>
                </a:lnTo>
                <a:lnTo>
                  <a:pt x="1547" y="425"/>
                </a:lnTo>
                <a:lnTo>
                  <a:pt x="1553" y="425"/>
                </a:lnTo>
                <a:lnTo>
                  <a:pt x="1559" y="425"/>
                </a:lnTo>
                <a:lnTo>
                  <a:pt x="1564" y="425"/>
                </a:lnTo>
                <a:lnTo>
                  <a:pt x="1564" y="419"/>
                </a:lnTo>
                <a:lnTo>
                  <a:pt x="1559" y="413"/>
                </a:lnTo>
                <a:lnTo>
                  <a:pt x="1564" y="413"/>
                </a:lnTo>
                <a:lnTo>
                  <a:pt x="1570" y="413"/>
                </a:lnTo>
                <a:lnTo>
                  <a:pt x="1570" y="408"/>
                </a:lnTo>
                <a:lnTo>
                  <a:pt x="1570" y="402"/>
                </a:lnTo>
                <a:lnTo>
                  <a:pt x="1576" y="396"/>
                </a:lnTo>
                <a:lnTo>
                  <a:pt x="1581" y="396"/>
                </a:lnTo>
                <a:lnTo>
                  <a:pt x="1587" y="396"/>
                </a:lnTo>
                <a:lnTo>
                  <a:pt x="1587" y="391"/>
                </a:lnTo>
                <a:lnTo>
                  <a:pt x="1593" y="391"/>
                </a:lnTo>
                <a:lnTo>
                  <a:pt x="1598" y="391"/>
                </a:lnTo>
                <a:lnTo>
                  <a:pt x="1604" y="391"/>
                </a:lnTo>
                <a:lnTo>
                  <a:pt x="1604" y="396"/>
                </a:lnTo>
                <a:lnTo>
                  <a:pt x="1610" y="396"/>
                </a:lnTo>
                <a:lnTo>
                  <a:pt x="1615" y="396"/>
                </a:lnTo>
                <a:lnTo>
                  <a:pt x="1615" y="391"/>
                </a:lnTo>
                <a:lnTo>
                  <a:pt x="1621" y="385"/>
                </a:lnTo>
                <a:lnTo>
                  <a:pt x="1621" y="379"/>
                </a:lnTo>
                <a:lnTo>
                  <a:pt x="1621" y="374"/>
                </a:lnTo>
                <a:lnTo>
                  <a:pt x="1627" y="374"/>
                </a:lnTo>
                <a:lnTo>
                  <a:pt x="1632" y="368"/>
                </a:lnTo>
                <a:lnTo>
                  <a:pt x="1632" y="362"/>
                </a:lnTo>
                <a:lnTo>
                  <a:pt x="1649" y="368"/>
                </a:lnTo>
                <a:lnTo>
                  <a:pt x="1649" y="447"/>
                </a:lnTo>
                <a:lnTo>
                  <a:pt x="1644" y="453"/>
                </a:lnTo>
                <a:lnTo>
                  <a:pt x="1644" y="464"/>
                </a:lnTo>
                <a:lnTo>
                  <a:pt x="1649" y="470"/>
                </a:lnTo>
                <a:lnTo>
                  <a:pt x="1649" y="481"/>
                </a:lnTo>
                <a:lnTo>
                  <a:pt x="1649" y="487"/>
                </a:lnTo>
                <a:lnTo>
                  <a:pt x="1655" y="487"/>
                </a:lnTo>
                <a:lnTo>
                  <a:pt x="1661" y="487"/>
                </a:lnTo>
                <a:lnTo>
                  <a:pt x="1666" y="487"/>
                </a:lnTo>
                <a:lnTo>
                  <a:pt x="1672" y="487"/>
                </a:lnTo>
                <a:lnTo>
                  <a:pt x="1678" y="493"/>
                </a:lnTo>
                <a:lnTo>
                  <a:pt x="1683" y="487"/>
                </a:lnTo>
                <a:lnTo>
                  <a:pt x="1689" y="493"/>
                </a:lnTo>
                <a:lnTo>
                  <a:pt x="1689" y="498"/>
                </a:lnTo>
                <a:lnTo>
                  <a:pt x="1695" y="498"/>
                </a:lnTo>
                <a:lnTo>
                  <a:pt x="1700" y="493"/>
                </a:lnTo>
                <a:lnTo>
                  <a:pt x="1706" y="498"/>
                </a:lnTo>
                <a:lnTo>
                  <a:pt x="1712" y="504"/>
                </a:lnTo>
                <a:lnTo>
                  <a:pt x="1712" y="510"/>
                </a:lnTo>
                <a:lnTo>
                  <a:pt x="1712" y="504"/>
                </a:lnTo>
                <a:lnTo>
                  <a:pt x="1718" y="504"/>
                </a:lnTo>
                <a:lnTo>
                  <a:pt x="1723" y="510"/>
                </a:lnTo>
                <a:lnTo>
                  <a:pt x="1729" y="515"/>
                </a:lnTo>
                <a:lnTo>
                  <a:pt x="1735" y="515"/>
                </a:lnTo>
                <a:lnTo>
                  <a:pt x="1740" y="515"/>
                </a:lnTo>
                <a:lnTo>
                  <a:pt x="1740" y="521"/>
                </a:lnTo>
                <a:lnTo>
                  <a:pt x="1735" y="527"/>
                </a:lnTo>
                <a:lnTo>
                  <a:pt x="1729" y="532"/>
                </a:lnTo>
                <a:lnTo>
                  <a:pt x="1729" y="538"/>
                </a:lnTo>
                <a:lnTo>
                  <a:pt x="1735" y="544"/>
                </a:lnTo>
                <a:lnTo>
                  <a:pt x="1735" y="550"/>
                </a:lnTo>
                <a:lnTo>
                  <a:pt x="1729" y="555"/>
                </a:lnTo>
                <a:lnTo>
                  <a:pt x="1723" y="567"/>
                </a:lnTo>
                <a:lnTo>
                  <a:pt x="1729" y="572"/>
                </a:lnTo>
                <a:lnTo>
                  <a:pt x="1729" y="578"/>
                </a:lnTo>
                <a:lnTo>
                  <a:pt x="1735" y="578"/>
                </a:lnTo>
                <a:lnTo>
                  <a:pt x="1735" y="589"/>
                </a:lnTo>
                <a:lnTo>
                  <a:pt x="1735" y="595"/>
                </a:lnTo>
                <a:lnTo>
                  <a:pt x="1740" y="601"/>
                </a:lnTo>
                <a:lnTo>
                  <a:pt x="1746" y="601"/>
                </a:lnTo>
                <a:lnTo>
                  <a:pt x="1746" y="606"/>
                </a:lnTo>
                <a:lnTo>
                  <a:pt x="1740" y="606"/>
                </a:lnTo>
                <a:lnTo>
                  <a:pt x="1735" y="612"/>
                </a:lnTo>
                <a:lnTo>
                  <a:pt x="1723" y="612"/>
                </a:lnTo>
                <a:lnTo>
                  <a:pt x="1723" y="618"/>
                </a:lnTo>
                <a:lnTo>
                  <a:pt x="1723" y="623"/>
                </a:lnTo>
                <a:lnTo>
                  <a:pt x="1718" y="635"/>
                </a:lnTo>
                <a:lnTo>
                  <a:pt x="1723" y="646"/>
                </a:lnTo>
                <a:lnTo>
                  <a:pt x="1723" y="652"/>
                </a:lnTo>
                <a:lnTo>
                  <a:pt x="1729" y="657"/>
                </a:lnTo>
                <a:lnTo>
                  <a:pt x="1729" y="663"/>
                </a:lnTo>
                <a:lnTo>
                  <a:pt x="1740" y="663"/>
                </a:lnTo>
                <a:lnTo>
                  <a:pt x="1740" y="657"/>
                </a:lnTo>
                <a:lnTo>
                  <a:pt x="1746" y="657"/>
                </a:lnTo>
                <a:lnTo>
                  <a:pt x="1752" y="669"/>
                </a:lnTo>
                <a:lnTo>
                  <a:pt x="1757" y="669"/>
                </a:lnTo>
                <a:lnTo>
                  <a:pt x="1757" y="674"/>
                </a:lnTo>
                <a:lnTo>
                  <a:pt x="1763" y="680"/>
                </a:lnTo>
                <a:lnTo>
                  <a:pt x="1774" y="686"/>
                </a:lnTo>
                <a:lnTo>
                  <a:pt x="1780" y="697"/>
                </a:lnTo>
                <a:lnTo>
                  <a:pt x="1791" y="697"/>
                </a:lnTo>
                <a:lnTo>
                  <a:pt x="1803" y="697"/>
                </a:lnTo>
                <a:lnTo>
                  <a:pt x="1808" y="703"/>
                </a:lnTo>
                <a:lnTo>
                  <a:pt x="1814" y="703"/>
                </a:lnTo>
                <a:lnTo>
                  <a:pt x="1825" y="714"/>
                </a:lnTo>
                <a:lnTo>
                  <a:pt x="1831" y="714"/>
                </a:lnTo>
                <a:lnTo>
                  <a:pt x="1837" y="714"/>
                </a:lnTo>
                <a:lnTo>
                  <a:pt x="1842" y="720"/>
                </a:lnTo>
                <a:lnTo>
                  <a:pt x="1848" y="720"/>
                </a:lnTo>
                <a:lnTo>
                  <a:pt x="1848" y="725"/>
                </a:lnTo>
                <a:lnTo>
                  <a:pt x="1842" y="731"/>
                </a:lnTo>
                <a:lnTo>
                  <a:pt x="1859" y="731"/>
                </a:lnTo>
                <a:lnTo>
                  <a:pt x="1871" y="731"/>
                </a:lnTo>
                <a:lnTo>
                  <a:pt x="1876" y="731"/>
                </a:lnTo>
                <a:lnTo>
                  <a:pt x="1888" y="742"/>
                </a:lnTo>
                <a:lnTo>
                  <a:pt x="1899" y="742"/>
                </a:lnTo>
                <a:lnTo>
                  <a:pt x="1916" y="754"/>
                </a:lnTo>
                <a:lnTo>
                  <a:pt x="1927" y="737"/>
                </a:lnTo>
                <a:lnTo>
                  <a:pt x="1933" y="737"/>
                </a:lnTo>
                <a:lnTo>
                  <a:pt x="1950" y="737"/>
                </a:lnTo>
                <a:lnTo>
                  <a:pt x="1956" y="737"/>
                </a:lnTo>
                <a:lnTo>
                  <a:pt x="1961" y="731"/>
                </a:lnTo>
                <a:lnTo>
                  <a:pt x="1956" y="725"/>
                </a:lnTo>
                <a:lnTo>
                  <a:pt x="1950" y="725"/>
                </a:lnTo>
                <a:lnTo>
                  <a:pt x="1950" y="720"/>
                </a:lnTo>
                <a:lnTo>
                  <a:pt x="1956" y="714"/>
                </a:lnTo>
                <a:lnTo>
                  <a:pt x="1973" y="720"/>
                </a:lnTo>
                <a:lnTo>
                  <a:pt x="1978" y="720"/>
                </a:lnTo>
                <a:lnTo>
                  <a:pt x="1978" y="714"/>
                </a:lnTo>
                <a:lnTo>
                  <a:pt x="1978" y="708"/>
                </a:lnTo>
                <a:lnTo>
                  <a:pt x="1978" y="703"/>
                </a:lnTo>
                <a:lnTo>
                  <a:pt x="1978" y="697"/>
                </a:lnTo>
                <a:lnTo>
                  <a:pt x="1984" y="691"/>
                </a:lnTo>
                <a:lnTo>
                  <a:pt x="1984" y="686"/>
                </a:lnTo>
                <a:lnTo>
                  <a:pt x="2001" y="703"/>
                </a:lnTo>
                <a:lnTo>
                  <a:pt x="1995" y="720"/>
                </a:lnTo>
                <a:lnTo>
                  <a:pt x="1990" y="765"/>
                </a:lnTo>
                <a:lnTo>
                  <a:pt x="2007" y="771"/>
                </a:lnTo>
                <a:lnTo>
                  <a:pt x="2001" y="799"/>
                </a:lnTo>
                <a:lnTo>
                  <a:pt x="2007" y="805"/>
                </a:lnTo>
                <a:lnTo>
                  <a:pt x="2046" y="799"/>
                </a:lnTo>
                <a:lnTo>
                  <a:pt x="2092" y="788"/>
                </a:lnTo>
                <a:lnTo>
                  <a:pt x="2086" y="793"/>
                </a:lnTo>
                <a:lnTo>
                  <a:pt x="2092" y="793"/>
                </a:lnTo>
                <a:lnTo>
                  <a:pt x="2097" y="799"/>
                </a:lnTo>
                <a:lnTo>
                  <a:pt x="2092" y="799"/>
                </a:lnTo>
                <a:lnTo>
                  <a:pt x="2092" y="805"/>
                </a:lnTo>
                <a:lnTo>
                  <a:pt x="2092" y="816"/>
                </a:lnTo>
                <a:lnTo>
                  <a:pt x="2097" y="816"/>
                </a:lnTo>
                <a:lnTo>
                  <a:pt x="2092" y="822"/>
                </a:lnTo>
                <a:lnTo>
                  <a:pt x="2092" y="827"/>
                </a:lnTo>
                <a:lnTo>
                  <a:pt x="2086" y="833"/>
                </a:lnTo>
                <a:lnTo>
                  <a:pt x="2080" y="833"/>
                </a:lnTo>
                <a:lnTo>
                  <a:pt x="2080" y="839"/>
                </a:lnTo>
                <a:lnTo>
                  <a:pt x="2069" y="844"/>
                </a:lnTo>
                <a:lnTo>
                  <a:pt x="2075" y="856"/>
                </a:lnTo>
                <a:lnTo>
                  <a:pt x="2080" y="856"/>
                </a:lnTo>
                <a:lnTo>
                  <a:pt x="2086" y="856"/>
                </a:lnTo>
                <a:lnTo>
                  <a:pt x="2092" y="856"/>
                </a:lnTo>
                <a:lnTo>
                  <a:pt x="2092" y="861"/>
                </a:lnTo>
                <a:lnTo>
                  <a:pt x="2097" y="867"/>
                </a:lnTo>
                <a:lnTo>
                  <a:pt x="2097" y="873"/>
                </a:lnTo>
                <a:lnTo>
                  <a:pt x="2092" y="878"/>
                </a:lnTo>
                <a:lnTo>
                  <a:pt x="2092" y="884"/>
                </a:lnTo>
                <a:lnTo>
                  <a:pt x="2097" y="884"/>
                </a:lnTo>
                <a:lnTo>
                  <a:pt x="2109" y="895"/>
                </a:lnTo>
                <a:lnTo>
                  <a:pt x="2114" y="901"/>
                </a:lnTo>
                <a:lnTo>
                  <a:pt x="2114" y="895"/>
                </a:lnTo>
                <a:lnTo>
                  <a:pt x="2120" y="895"/>
                </a:lnTo>
                <a:lnTo>
                  <a:pt x="2126" y="890"/>
                </a:lnTo>
                <a:lnTo>
                  <a:pt x="2126" y="884"/>
                </a:lnTo>
                <a:lnTo>
                  <a:pt x="2131" y="884"/>
                </a:lnTo>
                <a:lnTo>
                  <a:pt x="2131" y="878"/>
                </a:lnTo>
                <a:lnTo>
                  <a:pt x="2137" y="878"/>
                </a:lnTo>
                <a:lnTo>
                  <a:pt x="2137" y="873"/>
                </a:lnTo>
                <a:lnTo>
                  <a:pt x="2143" y="873"/>
                </a:lnTo>
                <a:lnTo>
                  <a:pt x="2143" y="867"/>
                </a:lnTo>
                <a:lnTo>
                  <a:pt x="2143" y="861"/>
                </a:lnTo>
                <a:lnTo>
                  <a:pt x="2143" y="856"/>
                </a:lnTo>
                <a:lnTo>
                  <a:pt x="2143" y="850"/>
                </a:lnTo>
                <a:lnTo>
                  <a:pt x="2143" y="844"/>
                </a:lnTo>
                <a:lnTo>
                  <a:pt x="2148" y="844"/>
                </a:lnTo>
                <a:lnTo>
                  <a:pt x="2148" y="839"/>
                </a:lnTo>
                <a:lnTo>
                  <a:pt x="2154" y="833"/>
                </a:lnTo>
                <a:lnTo>
                  <a:pt x="2160" y="833"/>
                </a:lnTo>
                <a:lnTo>
                  <a:pt x="2160" y="827"/>
                </a:lnTo>
                <a:lnTo>
                  <a:pt x="2165" y="827"/>
                </a:lnTo>
                <a:lnTo>
                  <a:pt x="2165" y="822"/>
                </a:lnTo>
                <a:lnTo>
                  <a:pt x="2160" y="822"/>
                </a:lnTo>
                <a:lnTo>
                  <a:pt x="2160" y="816"/>
                </a:lnTo>
                <a:lnTo>
                  <a:pt x="2165" y="810"/>
                </a:lnTo>
                <a:lnTo>
                  <a:pt x="2165" y="805"/>
                </a:lnTo>
                <a:lnTo>
                  <a:pt x="2165" y="799"/>
                </a:lnTo>
                <a:lnTo>
                  <a:pt x="2160" y="799"/>
                </a:lnTo>
                <a:lnTo>
                  <a:pt x="2160" y="793"/>
                </a:lnTo>
                <a:lnTo>
                  <a:pt x="2160" y="788"/>
                </a:lnTo>
                <a:lnTo>
                  <a:pt x="2160" y="782"/>
                </a:lnTo>
                <a:lnTo>
                  <a:pt x="2160" y="776"/>
                </a:lnTo>
                <a:lnTo>
                  <a:pt x="2165" y="776"/>
                </a:lnTo>
                <a:lnTo>
                  <a:pt x="2177" y="776"/>
                </a:lnTo>
                <a:lnTo>
                  <a:pt x="2177" y="771"/>
                </a:lnTo>
                <a:lnTo>
                  <a:pt x="2182" y="771"/>
                </a:lnTo>
                <a:lnTo>
                  <a:pt x="2182" y="776"/>
                </a:lnTo>
                <a:lnTo>
                  <a:pt x="2188" y="782"/>
                </a:lnTo>
                <a:lnTo>
                  <a:pt x="2188" y="788"/>
                </a:lnTo>
                <a:lnTo>
                  <a:pt x="2188" y="793"/>
                </a:lnTo>
                <a:lnTo>
                  <a:pt x="2194" y="793"/>
                </a:lnTo>
                <a:lnTo>
                  <a:pt x="2205" y="793"/>
                </a:lnTo>
                <a:lnTo>
                  <a:pt x="2222" y="788"/>
                </a:lnTo>
                <a:lnTo>
                  <a:pt x="2245" y="788"/>
                </a:lnTo>
                <a:lnTo>
                  <a:pt x="2250" y="793"/>
                </a:lnTo>
                <a:lnTo>
                  <a:pt x="2250" y="799"/>
                </a:lnTo>
                <a:lnTo>
                  <a:pt x="2245" y="805"/>
                </a:lnTo>
                <a:lnTo>
                  <a:pt x="2239" y="805"/>
                </a:lnTo>
                <a:lnTo>
                  <a:pt x="2239" y="810"/>
                </a:lnTo>
                <a:lnTo>
                  <a:pt x="2233" y="810"/>
                </a:lnTo>
                <a:lnTo>
                  <a:pt x="2228" y="816"/>
                </a:lnTo>
                <a:lnTo>
                  <a:pt x="2228" y="822"/>
                </a:lnTo>
                <a:lnTo>
                  <a:pt x="2222" y="822"/>
                </a:lnTo>
                <a:lnTo>
                  <a:pt x="2222" y="827"/>
                </a:lnTo>
                <a:lnTo>
                  <a:pt x="2216" y="833"/>
                </a:lnTo>
                <a:lnTo>
                  <a:pt x="2211" y="833"/>
                </a:lnTo>
                <a:lnTo>
                  <a:pt x="2211" y="839"/>
                </a:lnTo>
                <a:lnTo>
                  <a:pt x="2205" y="844"/>
                </a:lnTo>
                <a:lnTo>
                  <a:pt x="2199" y="844"/>
                </a:lnTo>
                <a:lnTo>
                  <a:pt x="2199" y="850"/>
                </a:lnTo>
                <a:lnTo>
                  <a:pt x="2222" y="901"/>
                </a:lnTo>
                <a:lnTo>
                  <a:pt x="2228" y="901"/>
                </a:lnTo>
                <a:lnTo>
                  <a:pt x="2233" y="895"/>
                </a:lnTo>
                <a:lnTo>
                  <a:pt x="2239" y="895"/>
                </a:lnTo>
                <a:lnTo>
                  <a:pt x="2245" y="907"/>
                </a:lnTo>
                <a:lnTo>
                  <a:pt x="2228" y="935"/>
                </a:lnTo>
                <a:lnTo>
                  <a:pt x="2222" y="941"/>
                </a:lnTo>
                <a:lnTo>
                  <a:pt x="2216" y="946"/>
                </a:lnTo>
                <a:lnTo>
                  <a:pt x="2211" y="946"/>
                </a:lnTo>
                <a:lnTo>
                  <a:pt x="2216" y="958"/>
                </a:lnTo>
                <a:lnTo>
                  <a:pt x="2211" y="992"/>
                </a:lnTo>
                <a:lnTo>
                  <a:pt x="2199" y="997"/>
                </a:lnTo>
                <a:lnTo>
                  <a:pt x="2199" y="1003"/>
                </a:lnTo>
                <a:lnTo>
                  <a:pt x="2199" y="1009"/>
                </a:lnTo>
                <a:lnTo>
                  <a:pt x="2194" y="1037"/>
                </a:lnTo>
                <a:lnTo>
                  <a:pt x="2205" y="1043"/>
                </a:lnTo>
                <a:lnTo>
                  <a:pt x="2177" y="1099"/>
                </a:lnTo>
                <a:lnTo>
                  <a:pt x="2148" y="1150"/>
                </a:lnTo>
                <a:lnTo>
                  <a:pt x="2148" y="1156"/>
                </a:lnTo>
                <a:lnTo>
                  <a:pt x="2143" y="1156"/>
                </a:lnTo>
                <a:lnTo>
                  <a:pt x="2143" y="1162"/>
                </a:lnTo>
                <a:lnTo>
                  <a:pt x="2080" y="1269"/>
                </a:lnTo>
                <a:lnTo>
                  <a:pt x="2058" y="1320"/>
                </a:lnTo>
                <a:lnTo>
                  <a:pt x="2058" y="1326"/>
                </a:lnTo>
                <a:lnTo>
                  <a:pt x="2058" y="1332"/>
                </a:lnTo>
                <a:lnTo>
                  <a:pt x="2058" y="1337"/>
                </a:lnTo>
                <a:lnTo>
                  <a:pt x="2063" y="1337"/>
                </a:lnTo>
                <a:lnTo>
                  <a:pt x="2063" y="1343"/>
                </a:lnTo>
                <a:lnTo>
                  <a:pt x="2069" y="1349"/>
                </a:lnTo>
                <a:lnTo>
                  <a:pt x="2069" y="1354"/>
                </a:lnTo>
                <a:lnTo>
                  <a:pt x="2075" y="1354"/>
                </a:lnTo>
                <a:lnTo>
                  <a:pt x="2075" y="1360"/>
                </a:lnTo>
                <a:lnTo>
                  <a:pt x="2080" y="1360"/>
                </a:lnTo>
                <a:lnTo>
                  <a:pt x="2086" y="1360"/>
                </a:lnTo>
                <a:lnTo>
                  <a:pt x="2092" y="1360"/>
                </a:lnTo>
                <a:lnTo>
                  <a:pt x="2092" y="1366"/>
                </a:lnTo>
                <a:lnTo>
                  <a:pt x="2097" y="1371"/>
                </a:lnTo>
                <a:lnTo>
                  <a:pt x="2109" y="1371"/>
                </a:lnTo>
                <a:lnTo>
                  <a:pt x="2109" y="1377"/>
                </a:lnTo>
                <a:lnTo>
                  <a:pt x="2109" y="1383"/>
                </a:lnTo>
                <a:lnTo>
                  <a:pt x="2114" y="1383"/>
                </a:lnTo>
                <a:lnTo>
                  <a:pt x="2120" y="1388"/>
                </a:lnTo>
                <a:lnTo>
                  <a:pt x="2126" y="1388"/>
                </a:lnTo>
                <a:lnTo>
                  <a:pt x="2131" y="1388"/>
                </a:lnTo>
                <a:lnTo>
                  <a:pt x="2137" y="1388"/>
                </a:lnTo>
                <a:lnTo>
                  <a:pt x="2137" y="1394"/>
                </a:lnTo>
                <a:lnTo>
                  <a:pt x="2137" y="1400"/>
                </a:lnTo>
                <a:lnTo>
                  <a:pt x="2137" y="1405"/>
                </a:lnTo>
                <a:lnTo>
                  <a:pt x="2143" y="1405"/>
                </a:lnTo>
                <a:lnTo>
                  <a:pt x="2143" y="1411"/>
                </a:lnTo>
                <a:lnTo>
                  <a:pt x="2148" y="1411"/>
                </a:lnTo>
                <a:lnTo>
                  <a:pt x="2154" y="1411"/>
                </a:lnTo>
                <a:lnTo>
                  <a:pt x="2154" y="1405"/>
                </a:lnTo>
                <a:lnTo>
                  <a:pt x="2160" y="1405"/>
                </a:lnTo>
                <a:lnTo>
                  <a:pt x="2160" y="1411"/>
                </a:lnTo>
                <a:lnTo>
                  <a:pt x="2165" y="1411"/>
                </a:lnTo>
                <a:lnTo>
                  <a:pt x="2171" y="1411"/>
                </a:lnTo>
                <a:lnTo>
                  <a:pt x="2171" y="1417"/>
                </a:lnTo>
                <a:lnTo>
                  <a:pt x="2171" y="1428"/>
                </a:lnTo>
                <a:lnTo>
                  <a:pt x="2177" y="1428"/>
                </a:lnTo>
                <a:lnTo>
                  <a:pt x="2182" y="1428"/>
                </a:lnTo>
                <a:lnTo>
                  <a:pt x="2182" y="1434"/>
                </a:lnTo>
                <a:lnTo>
                  <a:pt x="2177" y="1439"/>
                </a:lnTo>
                <a:lnTo>
                  <a:pt x="2182" y="1445"/>
                </a:lnTo>
                <a:lnTo>
                  <a:pt x="2194" y="1451"/>
                </a:lnTo>
                <a:lnTo>
                  <a:pt x="2194" y="1456"/>
                </a:lnTo>
                <a:lnTo>
                  <a:pt x="2194" y="1462"/>
                </a:lnTo>
                <a:lnTo>
                  <a:pt x="2199" y="1468"/>
                </a:lnTo>
                <a:lnTo>
                  <a:pt x="2205" y="1468"/>
                </a:lnTo>
                <a:lnTo>
                  <a:pt x="2205" y="1474"/>
                </a:lnTo>
                <a:lnTo>
                  <a:pt x="2211" y="1474"/>
                </a:lnTo>
                <a:lnTo>
                  <a:pt x="2211" y="1479"/>
                </a:lnTo>
                <a:lnTo>
                  <a:pt x="2211" y="1485"/>
                </a:lnTo>
                <a:lnTo>
                  <a:pt x="2216" y="1485"/>
                </a:lnTo>
                <a:lnTo>
                  <a:pt x="2222" y="1491"/>
                </a:lnTo>
                <a:lnTo>
                  <a:pt x="2228" y="1491"/>
                </a:lnTo>
                <a:lnTo>
                  <a:pt x="2228" y="1485"/>
                </a:lnTo>
                <a:lnTo>
                  <a:pt x="2233" y="1485"/>
                </a:lnTo>
                <a:lnTo>
                  <a:pt x="2233" y="1491"/>
                </a:lnTo>
                <a:lnTo>
                  <a:pt x="2233" y="1496"/>
                </a:lnTo>
                <a:lnTo>
                  <a:pt x="2233" y="1502"/>
                </a:lnTo>
                <a:lnTo>
                  <a:pt x="2228" y="1508"/>
                </a:lnTo>
                <a:lnTo>
                  <a:pt x="2233" y="1508"/>
                </a:lnTo>
                <a:lnTo>
                  <a:pt x="2239" y="1508"/>
                </a:lnTo>
                <a:lnTo>
                  <a:pt x="2245" y="1508"/>
                </a:lnTo>
                <a:lnTo>
                  <a:pt x="2245" y="1513"/>
                </a:lnTo>
                <a:lnTo>
                  <a:pt x="2250" y="1519"/>
                </a:lnTo>
                <a:lnTo>
                  <a:pt x="2250" y="1525"/>
                </a:lnTo>
                <a:lnTo>
                  <a:pt x="2256" y="1525"/>
                </a:lnTo>
                <a:lnTo>
                  <a:pt x="2262" y="1525"/>
                </a:lnTo>
                <a:lnTo>
                  <a:pt x="2262" y="1530"/>
                </a:lnTo>
                <a:lnTo>
                  <a:pt x="2262" y="1536"/>
                </a:lnTo>
                <a:lnTo>
                  <a:pt x="2267" y="1542"/>
                </a:lnTo>
                <a:lnTo>
                  <a:pt x="2273" y="1547"/>
                </a:lnTo>
                <a:lnTo>
                  <a:pt x="2279" y="1547"/>
                </a:lnTo>
                <a:lnTo>
                  <a:pt x="2284" y="1547"/>
                </a:lnTo>
                <a:lnTo>
                  <a:pt x="2284" y="1553"/>
                </a:lnTo>
                <a:lnTo>
                  <a:pt x="2290" y="1553"/>
                </a:lnTo>
                <a:lnTo>
                  <a:pt x="2296" y="1559"/>
                </a:lnTo>
                <a:lnTo>
                  <a:pt x="2296" y="1564"/>
                </a:lnTo>
                <a:lnTo>
                  <a:pt x="2301" y="1564"/>
                </a:lnTo>
                <a:lnTo>
                  <a:pt x="2307" y="1564"/>
                </a:lnTo>
                <a:lnTo>
                  <a:pt x="2307" y="1559"/>
                </a:lnTo>
                <a:lnTo>
                  <a:pt x="2307" y="1564"/>
                </a:lnTo>
                <a:lnTo>
                  <a:pt x="2313" y="1564"/>
                </a:lnTo>
                <a:lnTo>
                  <a:pt x="2313" y="1559"/>
                </a:lnTo>
                <a:lnTo>
                  <a:pt x="2318" y="1564"/>
                </a:lnTo>
                <a:lnTo>
                  <a:pt x="2324" y="1564"/>
                </a:lnTo>
                <a:lnTo>
                  <a:pt x="2330" y="1564"/>
                </a:lnTo>
                <a:lnTo>
                  <a:pt x="2330" y="1570"/>
                </a:lnTo>
                <a:lnTo>
                  <a:pt x="2335" y="1576"/>
                </a:lnTo>
                <a:lnTo>
                  <a:pt x="2341" y="1621"/>
                </a:lnTo>
                <a:lnTo>
                  <a:pt x="2358" y="1627"/>
                </a:lnTo>
                <a:lnTo>
                  <a:pt x="2352" y="1638"/>
                </a:lnTo>
                <a:lnTo>
                  <a:pt x="2341" y="1638"/>
                </a:lnTo>
                <a:lnTo>
                  <a:pt x="2341" y="1644"/>
                </a:lnTo>
                <a:lnTo>
                  <a:pt x="2352" y="1655"/>
                </a:lnTo>
                <a:lnTo>
                  <a:pt x="2352" y="1666"/>
                </a:lnTo>
                <a:lnTo>
                  <a:pt x="2335" y="1678"/>
                </a:lnTo>
                <a:lnTo>
                  <a:pt x="2341" y="1689"/>
                </a:lnTo>
                <a:lnTo>
                  <a:pt x="2335" y="1695"/>
                </a:lnTo>
                <a:lnTo>
                  <a:pt x="2330" y="1695"/>
                </a:lnTo>
                <a:lnTo>
                  <a:pt x="2335" y="1706"/>
                </a:lnTo>
                <a:lnTo>
                  <a:pt x="2324" y="1717"/>
                </a:lnTo>
                <a:lnTo>
                  <a:pt x="2318" y="1717"/>
                </a:lnTo>
                <a:lnTo>
                  <a:pt x="2313" y="1723"/>
                </a:lnTo>
                <a:lnTo>
                  <a:pt x="2313" y="1734"/>
                </a:lnTo>
                <a:lnTo>
                  <a:pt x="2301" y="1740"/>
                </a:lnTo>
                <a:lnTo>
                  <a:pt x="2267" y="1734"/>
                </a:lnTo>
                <a:lnTo>
                  <a:pt x="2228" y="1757"/>
                </a:lnTo>
                <a:lnTo>
                  <a:pt x="2205" y="1757"/>
                </a:lnTo>
                <a:lnTo>
                  <a:pt x="2194" y="1763"/>
                </a:lnTo>
                <a:lnTo>
                  <a:pt x="2177" y="1768"/>
                </a:lnTo>
                <a:lnTo>
                  <a:pt x="2171" y="1780"/>
                </a:lnTo>
                <a:lnTo>
                  <a:pt x="2165" y="1774"/>
                </a:lnTo>
                <a:lnTo>
                  <a:pt x="2154" y="1785"/>
                </a:lnTo>
                <a:lnTo>
                  <a:pt x="2131" y="1791"/>
                </a:lnTo>
                <a:lnTo>
                  <a:pt x="2114" y="1785"/>
                </a:lnTo>
                <a:lnTo>
                  <a:pt x="2097" y="1791"/>
                </a:lnTo>
                <a:lnTo>
                  <a:pt x="2097" y="1797"/>
                </a:lnTo>
                <a:lnTo>
                  <a:pt x="2092" y="1808"/>
                </a:lnTo>
                <a:lnTo>
                  <a:pt x="2086" y="1814"/>
                </a:lnTo>
                <a:lnTo>
                  <a:pt x="2080" y="1831"/>
                </a:lnTo>
                <a:lnTo>
                  <a:pt x="2080" y="1836"/>
                </a:lnTo>
                <a:lnTo>
                  <a:pt x="2075" y="1870"/>
                </a:lnTo>
                <a:lnTo>
                  <a:pt x="2029" y="1870"/>
                </a:lnTo>
                <a:lnTo>
                  <a:pt x="2029" y="1876"/>
                </a:lnTo>
                <a:lnTo>
                  <a:pt x="2012" y="1887"/>
                </a:lnTo>
                <a:lnTo>
                  <a:pt x="1984" y="1876"/>
                </a:lnTo>
                <a:lnTo>
                  <a:pt x="1984" y="1882"/>
                </a:lnTo>
                <a:lnTo>
                  <a:pt x="1984" y="1893"/>
                </a:lnTo>
                <a:lnTo>
                  <a:pt x="1961" y="1893"/>
                </a:lnTo>
                <a:lnTo>
                  <a:pt x="1950" y="1876"/>
                </a:lnTo>
                <a:lnTo>
                  <a:pt x="1956" y="1870"/>
                </a:lnTo>
                <a:lnTo>
                  <a:pt x="1933" y="1870"/>
                </a:lnTo>
                <a:lnTo>
                  <a:pt x="1933" y="1887"/>
                </a:lnTo>
                <a:lnTo>
                  <a:pt x="1922" y="1893"/>
                </a:lnTo>
                <a:lnTo>
                  <a:pt x="1916" y="1899"/>
                </a:lnTo>
                <a:lnTo>
                  <a:pt x="1910" y="1904"/>
                </a:lnTo>
                <a:lnTo>
                  <a:pt x="1905" y="1893"/>
                </a:lnTo>
                <a:lnTo>
                  <a:pt x="1893" y="1887"/>
                </a:lnTo>
                <a:lnTo>
                  <a:pt x="1905" y="1882"/>
                </a:lnTo>
                <a:lnTo>
                  <a:pt x="1905" y="1876"/>
                </a:lnTo>
                <a:lnTo>
                  <a:pt x="1876" y="1865"/>
                </a:lnTo>
                <a:lnTo>
                  <a:pt x="1876" y="1859"/>
                </a:lnTo>
                <a:lnTo>
                  <a:pt x="1848" y="1859"/>
                </a:lnTo>
                <a:lnTo>
                  <a:pt x="1842" y="1853"/>
                </a:lnTo>
                <a:lnTo>
                  <a:pt x="1837" y="1865"/>
                </a:lnTo>
                <a:lnTo>
                  <a:pt x="1825" y="1865"/>
                </a:lnTo>
                <a:lnTo>
                  <a:pt x="1820" y="1870"/>
                </a:lnTo>
                <a:lnTo>
                  <a:pt x="1791" y="1865"/>
                </a:lnTo>
                <a:lnTo>
                  <a:pt x="1791" y="1870"/>
                </a:lnTo>
                <a:lnTo>
                  <a:pt x="1769" y="1870"/>
                </a:lnTo>
                <a:lnTo>
                  <a:pt x="1757" y="1882"/>
                </a:lnTo>
                <a:lnTo>
                  <a:pt x="1752" y="1899"/>
                </a:lnTo>
                <a:lnTo>
                  <a:pt x="1740" y="1904"/>
                </a:lnTo>
                <a:lnTo>
                  <a:pt x="1740" y="1916"/>
                </a:lnTo>
                <a:lnTo>
                  <a:pt x="1700" y="1944"/>
                </a:lnTo>
                <a:lnTo>
                  <a:pt x="1695" y="1927"/>
                </a:lnTo>
                <a:lnTo>
                  <a:pt x="1695" y="1916"/>
                </a:lnTo>
                <a:lnTo>
                  <a:pt x="1672" y="1910"/>
                </a:lnTo>
                <a:lnTo>
                  <a:pt x="1655" y="1916"/>
                </a:lnTo>
                <a:lnTo>
                  <a:pt x="1644" y="1910"/>
                </a:lnTo>
                <a:lnTo>
                  <a:pt x="1644" y="1904"/>
                </a:lnTo>
                <a:lnTo>
                  <a:pt x="1621" y="1910"/>
                </a:lnTo>
                <a:lnTo>
                  <a:pt x="1615" y="1899"/>
                </a:lnTo>
                <a:lnTo>
                  <a:pt x="1587" y="1899"/>
                </a:lnTo>
                <a:lnTo>
                  <a:pt x="1570" y="1893"/>
                </a:lnTo>
                <a:lnTo>
                  <a:pt x="1581" y="1876"/>
                </a:lnTo>
                <a:lnTo>
                  <a:pt x="1570" y="1870"/>
                </a:lnTo>
                <a:lnTo>
                  <a:pt x="1570" y="1859"/>
                </a:lnTo>
                <a:lnTo>
                  <a:pt x="1547" y="1859"/>
                </a:lnTo>
                <a:lnTo>
                  <a:pt x="1502" y="1836"/>
                </a:lnTo>
                <a:lnTo>
                  <a:pt x="1496" y="1836"/>
                </a:lnTo>
                <a:lnTo>
                  <a:pt x="1491" y="1853"/>
                </a:lnTo>
                <a:lnTo>
                  <a:pt x="1485" y="1870"/>
                </a:lnTo>
                <a:lnTo>
                  <a:pt x="1468" y="1887"/>
                </a:lnTo>
                <a:lnTo>
                  <a:pt x="1468" y="1916"/>
                </a:lnTo>
                <a:lnTo>
                  <a:pt x="1445" y="1910"/>
                </a:lnTo>
                <a:lnTo>
                  <a:pt x="1451" y="1916"/>
                </a:lnTo>
                <a:lnTo>
                  <a:pt x="1451" y="1921"/>
                </a:lnTo>
                <a:lnTo>
                  <a:pt x="1445" y="1927"/>
                </a:lnTo>
                <a:lnTo>
                  <a:pt x="1440" y="1927"/>
                </a:lnTo>
                <a:lnTo>
                  <a:pt x="1445" y="1938"/>
                </a:lnTo>
                <a:lnTo>
                  <a:pt x="1445" y="1944"/>
                </a:lnTo>
                <a:lnTo>
                  <a:pt x="1445" y="1950"/>
                </a:lnTo>
                <a:lnTo>
                  <a:pt x="1445" y="1955"/>
                </a:lnTo>
                <a:lnTo>
                  <a:pt x="1457" y="1961"/>
                </a:lnTo>
                <a:lnTo>
                  <a:pt x="1445" y="1984"/>
                </a:lnTo>
                <a:lnTo>
                  <a:pt x="1440" y="1967"/>
                </a:lnTo>
                <a:lnTo>
                  <a:pt x="1423" y="1978"/>
                </a:lnTo>
                <a:lnTo>
                  <a:pt x="1423" y="2001"/>
                </a:lnTo>
                <a:lnTo>
                  <a:pt x="1406" y="2006"/>
                </a:lnTo>
                <a:lnTo>
                  <a:pt x="1400" y="2018"/>
                </a:lnTo>
                <a:lnTo>
                  <a:pt x="1383" y="2018"/>
                </a:lnTo>
                <a:lnTo>
                  <a:pt x="1360" y="2012"/>
                </a:lnTo>
                <a:lnTo>
                  <a:pt x="1360" y="2006"/>
                </a:lnTo>
                <a:lnTo>
                  <a:pt x="1349" y="2001"/>
                </a:lnTo>
                <a:lnTo>
                  <a:pt x="1338" y="2012"/>
                </a:lnTo>
                <a:lnTo>
                  <a:pt x="1321" y="2001"/>
                </a:lnTo>
                <a:lnTo>
                  <a:pt x="1304" y="2012"/>
                </a:lnTo>
                <a:lnTo>
                  <a:pt x="1304" y="2029"/>
                </a:lnTo>
                <a:lnTo>
                  <a:pt x="1287" y="2035"/>
                </a:lnTo>
                <a:lnTo>
                  <a:pt x="1281" y="2035"/>
                </a:lnTo>
                <a:lnTo>
                  <a:pt x="1270" y="2046"/>
                </a:lnTo>
                <a:lnTo>
                  <a:pt x="1264" y="2046"/>
                </a:lnTo>
                <a:lnTo>
                  <a:pt x="1247" y="2052"/>
                </a:lnTo>
                <a:lnTo>
                  <a:pt x="1236" y="2046"/>
                </a:lnTo>
                <a:lnTo>
                  <a:pt x="1236" y="2057"/>
                </a:lnTo>
                <a:lnTo>
                  <a:pt x="1230" y="2063"/>
                </a:lnTo>
                <a:lnTo>
                  <a:pt x="1224" y="2069"/>
                </a:lnTo>
                <a:lnTo>
                  <a:pt x="1213" y="2074"/>
                </a:lnTo>
                <a:lnTo>
                  <a:pt x="1207" y="2086"/>
                </a:lnTo>
                <a:lnTo>
                  <a:pt x="1196" y="2103"/>
                </a:lnTo>
                <a:lnTo>
                  <a:pt x="1202" y="2114"/>
                </a:lnTo>
                <a:lnTo>
                  <a:pt x="1162" y="2125"/>
                </a:lnTo>
                <a:lnTo>
                  <a:pt x="1151" y="2120"/>
                </a:lnTo>
                <a:lnTo>
                  <a:pt x="1117" y="2131"/>
                </a:lnTo>
                <a:lnTo>
                  <a:pt x="1105" y="2137"/>
                </a:lnTo>
                <a:lnTo>
                  <a:pt x="1105" y="2142"/>
                </a:lnTo>
                <a:lnTo>
                  <a:pt x="1111" y="2148"/>
                </a:lnTo>
                <a:lnTo>
                  <a:pt x="1111" y="2165"/>
                </a:lnTo>
                <a:lnTo>
                  <a:pt x="1105" y="2188"/>
                </a:lnTo>
                <a:lnTo>
                  <a:pt x="1088" y="2193"/>
                </a:lnTo>
                <a:lnTo>
                  <a:pt x="1083" y="2199"/>
                </a:lnTo>
                <a:lnTo>
                  <a:pt x="1066" y="2199"/>
                </a:lnTo>
                <a:lnTo>
                  <a:pt x="1054" y="2199"/>
                </a:lnTo>
                <a:lnTo>
                  <a:pt x="1043" y="2188"/>
                </a:lnTo>
                <a:lnTo>
                  <a:pt x="1026" y="2199"/>
                </a:lnTo>
                <a:lnTo>
                  <a:pt x="1009" y="2199"/>
                </a:lnTo>
                <a:lnTo>
                  <a:pt x="998" y="2193"/>
                </a:lnTo>
                <a:lnTo>
                  <a:pt x="986" y="2193"/>
                </a:lnTo>
                <a:lnTo>
                  <a:pt x="986" y="2182"/>
                </a:lnTo>
                <a:lnTo>
                  <a:pt x="981" y="2176"/>
                </a:lnTo>
                <a:lnTo>
                  <a:pt x="969" y="2159"/>
                </a:lnTo>
                <a:lnTo>
                  <a:pt x="958" y="2159"/>
                </a:lnTo>
                <a:lnTo>
                  <a:pt x="952" y="2159"/>
                </a:lnTo>
                <a:lnTo>
                  <a:pt x="947" y="2154"/>
                </a:lnTo>
                <a:lnTo>
                  <a:pt x="947" y="2131"/>
                </a:lnTo>
                <a:lnTo>
                  <a:pt x="941" y="2125"/>
                </a:lnTo>
                <a:lnTo>
                  <a:pt x="930" y="2120"/>
                </a:lnTo>
                <a:lnTo>
                  <a:pt x="924" y="2086"/>
                </a:lnTo>
                <a:lnTo>
                  <a:pt x="918" y="2069"/>
                </a:lnTo>
                <a:lnTo>
                  <a:pt x="918" y="2052"/>
                </a:lnTo>
                <a:lnTo>
                  <a:pt x="930" y="2057"/>
                </a:lnTo>
                <a:lnTo>
                  <a:pt x="941" y="2052"/>
                </a:lnTo>
                <a:lnTo>
                  <a:pt x="935" y="2040"/>
                </a:lnTo>
                <a:lnTo>
                  <a:pt x="958" y="2029"/>
                </a:lnTo>
                <a:lnTo>
                  <a:pt x="964" y="2029"/>
                </a:lnTo>
                <a:lnTo>
                  <a:pt x="958" y="2012"/>
                </a:lnTo>
                <a:lnTo>
                  <a:pt x="952" y="2006"/>
                </a:lnTo>
                <a:lnTo>
                  <a:pt x="952" y="2001"/>
                </a:lnTo>
                <a:lnTo>
                  <a:pt x="947" y="1995"/>
                </a:lnTo>
                <a:lnTo>
                  <a:pt x="941" y="2001"/>
                </a:lnTo>
                <a:lnTo>
                  <a:pt x="930" y="2006"/>
                </a:lnTo>
                <a:lnTo>
                  <a:pt x="924" y="2018"/>
                </a:lnTo>
                <a:lnTo>
                  <a:pt x="913" y="2018"/>
                </a:lnTo>
                <a:lnTo>
                  <a:pt x="907" y="2029"/>
                </a:lnTo>
                <a:lnTo>
                  <a:pt x="879" y="2052"/>
                </a:lnTo>
                <a:lnTo>
                  <a:pt x="862" y="2052"/>
                </a:lnTo>
                <a:lnTo>
                  <a:pt x="862" y="2046"/>
                </a:lnTo>
                <a:lnTo>
                  <a:pt x="850" y="2046"/>
                </a:lnTo>
                <a:lnTo>
                  <a:pt x="845" y="2052"/>
                </a:lnTo>
                <a:lnTo>
                  <a:pt x="833" y="2063"/>
                </a:lnTo>
                <a:lnTo>
                  <a:pt x="828" y="2057"/>
                </a:lnTo>
                <a:lnTo>
                  <a:pt x="822" y="2063"/>
                </a:lnTo>
                <a:lnTo>
                  <a:pt x="822" y="2069"/>
                </a:lnTo>
                <a:lnTo>
                  <a:pt x="810" y="2074"/>
                </a:lnTo>
                <a:lnTo>
                  <a:pt x="805" y="2063"/>
                </a:lnTo>
                <a:lnTo>
                  <a:pt x="799" y="2069"/>
                </a:lnTo>
                <a:lnTo>
                  <a:pt x="799" y="2080"/>
                </a:lnTo>
                <a:lnTo>
                  <a:pt x="788" y="2097"/>
                </a:lnTo>
                <a:lnTo>
                  <a:pt x="788" y="2103"/>
                </a:lnTo>
                <a:lnTo>
                  <a:pt x="793" y="2108"/>
                </a:lnTo>
                <a:lnTo>
                  <a:pt x="793" y="2114"/>
                </a:lnTo>
                <a:lnTo>
                  <a:pt x="776" y="2125"/>
                </a:lnTo>
                <a:lnTo>
                  <a:pt x="765" y="2108"/>
                </a:lnTo>
                <a:lnTo>
                  <a:pt x="771" y="2074"/>
                </a:lnTo>
                <a:lnTo>
                  <a:pt x="765" y="2074"/>
                </a:lnTo>
                <a:lnTo>
                  <a:pt x="765" y="2069"/>
                </a:lnTo>
                <a:lnTo>
                  <a:pt x="759" y="2063"/>
                </a:lnTo>
                <a:lnTo>
                  <a:pt x="759" y="2057"/>
                </a:lnTo>
                <a:lnTo>
                  <a:pt x="754" y="2057"/>
                </a:lnTo>
                <a:lnTo>
                  <a:pt x="754" y="2052"/>
                </a:lnTo>
                <a:lnTo>
                  <a:pt x="748" y="2046"/>
                </a:lnTo>
                <a:lnTo>
                  <a:pt x="742" y="2029"/>
                </a:lnTo>
                <a:lnTo>
                  <a:pt x="754" y="2023"/>
                </a:lnTo>
                <a:lnTo>
                  <a:pt x="771" y="2018"/>
                </a:lnTo>
                <a:lnTo>
                  <a:pt x="771" y="2012"/>
                </a:lnTo>
                <a:lnTo>
                  <a:pt x="771" y="2006"/>
                </a:lnTo>
                <a:lnTo>
                  <a:pt x="771" y="2001"/>
                </a:lnTo>
                <a:lnTo>
                  <a:pt x="765" y="1995"/>
                </a:lnTo>
                <a:lnTo>
                  <a:pt x="765" y="1989"/>
                </a:lnTo>
                <a:lnTo>
                  <a:pt x="765" y="1984"/>
                </a:lnTo>
                <a:lnTo>
                  <a:pt x="765" y="1978"/>
                </a:lnTo>
                <a:lnTo>
                  <a:pt x="771" y="1972"/>
                </a:lnTo>
                <a:lnTo>
                  <a:pt x="765" y="1972"/>
                </a:lnTo>
                <a:lnTo>
                  <a:pt x="759" y="1972"/>
                </a:lnTo>
                <a:lnTo>
                  <a:pt x="759" y="1967"/>
                </a:lnTo>
                <a:lnTo>
                  <a:pt x="754" y="1967"/>
                </a:lnTo>
                <a:lnTo>
                  <a:pt x="754" y="1961"/>
                </a:lnTo>
                <a:lnTo>
                  <a:pt x="748" y="1961"/>
                </a:lnTo>
                <a:lnTo>
                  <a:pt x="742" y="1961"/>
                </a:lnTo>
                <a:lnTo>
                  <a:pt x="737" y="1961"/>
                </a:lnTo>
                <a:lnTo>
                  <a:pt x="731" y="1955"/>
                </a:lnTo>
                <a:lnTo>
                  <a:pt x="731" y="1961"/>
                </a:lnTo>
                <a:lnTo>
                  <a:pt x="725" y="1955"/>
                </a:lnTo>
                <a:lnTo>
                  <a:pt x="725" y="1950"/>
                </a:lnTo>
                <a:lnTo>
                  <a:pt x="720" y="1944"/>
                </a:lnTo>
                <a:lnTo>
                  <a:pt x="714" y="1938"/>
                </a:lnTo>
                <a:lnTo>
                  <a:pt x="708" y="1938"/>
                </a:lnTo>
                <a:lnTo>
                  <a:pt x="708" y="1933"/>
                </a:lnTo>
                <a:lnTo>
                  <a:pt x="708" y="1927"/>
                </a:lnTo>
                <a:lnTo>
                  <a:pt x="714" y="1921"/>
                </a:lnTo>
                <a:lnTo>
                  <a:pt x="714" y="1916"/>
                </a:lnTo>
                <a:lnTo>
                  <a:pt x="691" y="1933"/>
                </a:lnTo>
                <a:lnTo>
                  <a:pt x="691" y="1927"/>
                </a:lnTo>
                <a:lnTo>
                  <a:pt x="686" y="1927"/>
                </a:lnTo>
                <a:lnTo>
                  <a:pt x="680" y="1927"/>
                </a:lnTo>
                <a:lnTo>
                  <a:pt x="674" y="1927"/>
                </a:lnTo>
                <a:lnTo>
                  <a:pt x="674" y="1921"/>
                </a:lnTo>
                <a:lnTo>
                  <a:pt x="669" y="1921"/>
                </a:lnTo>
                <a:lnTo>
                  <a:pt x="663" y="1921"/>
                </a:lnTo>
                <a:lnTo>
                  <a:pt x="657" y="1921"/>
                </a:lnTo>
                <a:lnTo>
                  <a:pt x="652" y="1921"/>
                </a:lnTo>
                <a:lnTo>
                  <a:pt x="652" y="1904"/>
                </a:lnTo>
                <a:lnTo>
                  <a:pt x="663" y="1893"/>
                </a:lnTo>
                <a:lnTo>
                  <a:pt x="663" y="1887"/>
                </a:lnTo>
                <a:lnTo>
                  <a:pt x="669" y="1882"/>
                </a:lnTo>
                <a:lnTo>
                  <a:pt x="669" y="1876"/>
                </a:lnTo>
                <a:lnTo>
                  <a:pt x="663" y="1870"/>
                </a:lnTo>
                <a:lnTo>
                  <a:pt x="657" y="1853"/>
                </a:lnTo>
                <a:lnTo>
                  <a:pt x="663" y="1853"/>
                </a:lnTo>
                <a:lnTo>
                  <a:pt x="663" y="1836"/>
                </a:lnTo>
                <a:lnTo>
                  <a:pt x="669" y="1836"/>
                </a:lnTo>
                <a:lnTo>
                  <a:pt x="663" y="1831"/>
                </a:lnTo>
                <a:lnTo>
                  <a:pt x="657" y="1825"/>
                </a:lnTo>
                <a:lnTo>
                  <a:pt x="663" y="1819"/>
                </a:lnTo>
                <a:lnTo>
                  <a:pt x="646" y="1814"/>
                </a:lnTo>
                <a:lnTo>
                  <a:pt x="652" y="1797"/>
                </a:lnTo>
                <a:lnTo>
                  <a:pt x="652" y="1780"/>
                </a:lnTo>
                <a:lnTo>
                  <a:pt x="640" y="1768"/>
                </a:lnTo>
                <a:lnTo>
                  <a:pt x="652" y="1757"/>
                </a:lnTo>
                <a:lnTo>
                  <a:pt x="635" y="1751"/>
                </a:lnTo>
                <a:lnTo>
                  <a:pt x="629" y="1740"/>
                </a:lnTo>
                <a:lnTo>
                  <a:pt x="635" y="1712"/>
                </a:lnTo>
                <a:lnTo>
                  <a:pt x="618" y="1689"/>
                </a:lnTo>
                <a:lnTo>
                  <a:pt x="623" y="1672"/>
                </a:lnTo>
                <a:lnTo>
                  <a:pt x="640" y="1661"/>
                </a:lnTo>
                <a:lnTo>
                  <a:pt x="618" y="1649"/>
                </a:lnTo>
                <a:lnTo>
                  <a:pt x="640" y="1644"/>
                </a:lnTo>
                <a:lnTo>
                  <a:pt x="635" y="1604"/>
                </a:lnTo>
                <a:lnTo>
                  <a:pt x="612" y="1604"/>
                </a:lnTo>
                <a:lnTo>
                  <a:pt x="589" y="1587"/>
                </a:lnTo>
                <a:lnTo>
                  <a:pt x="595" y="1576"/>
                </a:lnTo>
                <a:lnTo>
                  <a:pt x="584" y="1564"/>
                </a:lnTo>
                <a:lnTo>
                  <a:pt x="561" y="1559"/>
                </a:lnTo>
                <a:lnTo>
                  <a:pt x="538" y="1525"/>
                </a:lnTo>
                <a:lnTo>
                  <a:pt x="516" y="1530"/>
                </a:lnTo>
                <a:lnTo>
                  <a:pt x="516" y="1547"/>
                </a:lnTo>
                <a:lnTo>
                  <a:pt x="521" y="1564"/>
                </a:lnTo>
                <a:lnTo>
                  <a:pt x="493" y="1530"/>
                </a:lnTo>
                <a:lnTo>
                  <a:pt x="493" y="1547"/>
                </a:lnTo>
                <a:lnTo>
                  <a:pt x="487" y="1564"/>
                </a:lnTo>
                <a:lnTo>
                  <a:pt x="482" y="1587"/>
                </a:lnTo>
                <a:lnTo>
                  <a:pt x="470" y="1610"/>
                </a:lnTo>
                <a:lnTo>
                  <a:pt x="453" y="1627"/>
                </a:lnTo>
                <a:lnTo>
                  <a:pt x="442" y="1627"/>
                </a:lnTo>
                <a:lnTo>
                  <a:pt x="431" y="1638"/>
                </a:lnTo>
                <a:lnTo>
                  <a:pt x="414" y="1627"/>
                </a:lnTo>
                <a:lnTo>
                  <a:pt x="408" y="1621"/>
                </a:lnTo>
                <a:lnTo>
                  <a:pt x="402" y="1621"/>
                </a:lnTo>
                <a:lnTo>
                  <a:pt x="397" y="1621"/>
                </a:lnTo>
                <a:lnTo>
                  <a:pt x="385" y="1621"/>
                </a:lnTo>
                <a:lnTo>
                  <a:pt x="385" y="1655"/>
                </a:lnTo>
                <a:lnTo>
                  <a:pt x="351" y="1661"/>
                </a:lnTo>
                <a:lnTo>
                  <a:pt x="363" y="1678"/>
                </a:lnTo>
                <a:lnTo>
                  <a:pt x="334" y="1700"/>
                </a:lnTo>
                <a:lnTo>
                  <a:pt x="340" y="1723"/>
                </a:lnTo>
                <a:lnTo>
                  <a:pt x="323" y="1717"/>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57" name="Freeform 9"/>
          <p:cNvSpPr>
            <a:spLocks/>
          </p:cNvSpPr>
          <p:nvPr/>
        </p:nvSpPr>
        <p:spPr bwMode="gray">
          <a:xfrm>
            <a:off x="2840557" y="2691818"/>
            <a:ext cx="1870671" cy="1395196"/>
          </a:xfrm>
          <a:custGeom>
            <a:avLst/>
            <a:gdLst>
              <a:gd name="T0" fmla="*/ 63219 w 1445"/>
              <a:gd name="T1" fmla="*/ 283126 h 1083"/>
              <a:gd name="T2" fmla="*/ 49321 w 1445"/>
              <a:gd name="T3" fmla="*/ 270852 h 1083"/>
              <a:gd name="T4" fmla="*/ 40057 w 1445"/>
              <a:gd name="T5" fmla="*/ 261578 h 1083"/>
              <a:gd name="T6" fmla="*/ 29157 w 1445"/>
              <a:gd name="T7" fmla="*/ 244394 h 1083"/>
              <a:gd name="T8" fmla="*/ 16895 w 1445"/>
              <a:gd name="T9" fmla="*/ 238121 h 1083"/>
              <a:gd name="T10" fmla="*/ 1363 w 1445"/>
              <a:gd name="T11" fmla="*/ 225846 h 1083"/>
              <a:gd name="T12" fmla="*/ 38422 w 1445"/>
              <a:gd name="T13" fmla="*/ 134744 h 1083"/>
              <a:gd name="T14" fmla="*/ 56951 w 1445"/>
              <a:gd name="T15" fmla="*/ 99013 h 1083"/>
              <a:gd name="T16" fmla="*/ 70848 w 1445"/>
              <a:gd name="T17" fmla="*/ 83738 h 1083"/>
              <a:gd name="T18" fmla="*/ 88015 w 1445"/>
              <a:gd name="T19" fmla="*/ 75828 h 1083"/>
              <a:gd name="T20" fmla="*/ 111177 w 1445"/>
              <a:gd name="T21" fmla="*/ 69827 h 1083"/>
              <a:gd name="T22" fmla="*/ 128073 w 1445"/>
              <a:gd name="T23" fmla="*/ 68191 h 1083"/>
              <a:gd name="T24" fmla="*/ 141970 w 1445"/>
              <a:gd name="T25" fmla="*/ 55916 h 1083"/>
              <a:gd name="T26" fmla="*/ 159137 w 1445"/>
              <a:gd name="T27" fmla="*/ 52643 h 1083"/>
              <a:gd name="T28" fmla="*/ 157502 w 1445"/>
              <a:gd name="T29" fmla="*/ 40369 h 1083"/>
              <a:gd name="T30" fmla="*/ 163769 w 1445"/>
              <a:gd name="T31" fmla="*/ 31095 h 1083"/>
              <a:gd name="T32" fmla="*/ 174397 w 1445"/>
              <a:gd name="T33" fmla="*/ 24822 h 1083"/>
              <a:gd name="T34" fmla="*/ 191564 w 1445"/>
              <a:gd name="T35" fmla="*/ 21821 h 1083"/>
              <a:gd name="T36" fmla="*/ 205461 w 1445"/>
              <a:gd name="T37" fmla="*/ 20185 h 1083"/>
              <a:gd name="T38" fmla="*/ 217723 w 1445"/>
              <a:gd name="T39" fmla="*/ 14183 h 1083"/>
              <a:gd name="T40" fmla="*/ 233255 w 1445"/>
              <a:gd name="T41" fmla="*/ 10910 h 1083"/>
              <a:gd name="T42" fmla="*/ 245517 w 1445"/>
              <a:gd name="T43" fmla="*/ 6273 h 1083"/>
              <a:gd name="T44" fmla="*/ 261049 w 1445"/>
              <a:gd name="T45" fmla="*/ 3273 h 1083"/>
              <a:gd name="T46" fmla="*/ 270314 w 1445"/>
              <a:gd name="T47" fmla="*/ 9547 h 1083"/>
              <a:gd name="T48" fmla="*/ 285574 w 1445"/>
              <a:gd name="T49" fmla="*/ 17184 h 1083"/>
              <a:gd name="T50" fmla="*/ 301106 w 1445"/>
              <a:gd name="T51" fmla="*/ 21821 h 1083"/>
              <a:gd name="T52" fmla="*/ 312006 w 1445"/>
              <a:gd name="T53" fmla="*/ 24822 h 1083"/>
              <a:gd name="T54" fmla="*/ 322633 w 1445"/>
              <a:gd name="T55" fmla="*/ 24822 h 1083"/>
              <a:gd name="T56" fmla="*/ 341163 w 1445"/>
              <a:gd name="T57" fmla="*/ 24822 h 1083"/>
              <a:gd name="T58" fmla="*/ 355060 w 1445"/>
              <a:gd name="T59" fmla="*/ 37368 h 1083"/>
              <a:gd name="T60" fmla="*/ 370593 w 1445"/>
              <a:gd name="T61" fmla="*/ 46642 h 1083"/>
              <a:gd name="T62" fmla="*/ 387487 w 1445"/>
              <a:gd name="T63" fmla="*/ 57280 h 1083"/>
              <a:gd name="T64" fmla="*/ 387487 w 1445"/>
              <a:gd name="T65" fmla="*/ 80465 h 1083"/>
              <a:gd name="T66" fmla="*/ 382854 w 1445"/>
              <a:gd name="T67" fmla="*/ 105286 h 1083"/>
              <a:gd name="T68" fmla="*/ 359692 w 1445"/>
              <a:gd name="T69" fmla="*/ 125470 h 1083"/>
              <a:gd name="T70" fmla="*/ 331898 w 1445"/>
              <a:gd name="T71" fmla="*/ 139381 h 1083"/>
              <a:gd name="T72" fmla="*/ 313368 w 1445"/>
              <a:gd name="T73" fmla="*/ 147018 h 1083"/>
              <a:gd name="T74" fmla="*/ 296474 w 1445"/>
              <a:gd name="T75" fmla="*/ 142382 h 1083"/>
              <a:gd name="T76" fmla="*/ 279579 w 1445"/>
              <a:gd name="T77" fmla="*/ 148655 h 1083"/>
              <a:gd name="T78" fmla="*/ 268679 w 1445"/>
              <a:gd name="T79" fmla="*/ 156292 h 1083"/>
              <a:gd name="T80" fmla="*/ 259415 w 1445"/>
              <a:gd name="T81" fmla="*/ 160929 h 1083"/>
              <a:gd name="T82" fmla="*/ 245517 w 1445"/>
              <a:gd name="T83" fmla="*/ 163930 h 1083"/>
              <a:gd name="T84" fmla="*/ 239250 w 1445"/>
              <a:gd name="T85" fmla="*/ 174840 h 1083"/>
              <a:gd name="T86" fmla="*/ 234618 w 1445"/>
              <a:gd name="T87" fmla="*/ 182477 h 1083"/>
              <a:gd name="T88" fmla="*/ 222355 w 1445"/>
              <a:gd name="T89" fmla="*/ 193388 h 1083"/>
              <a:gd name="T90" fmla="*/ 214726 w 1445"/>
              <a:gd name="T91" fmla="*/ 205662 h 1083"/>
              <a:gd name="T92" fmla="*/ 200828 w 1445"/>
              <a:gd name="T93" fmla="*/ 211936 h 1083"/>
              <a:gd name="T94" fmla="*/ 196196 w 1445"/>
              <a:gd name="T95" fmla="*/ 224210 h 1083"/>
              <a:gd name="T96" fmla="*/ 208458 w 1445"/>
              <a:gd name="T97" fmla="*/ 249031 h 1083"/>
              <a:gd name="T98" fmla="*/ 213091 w 1445"/>
              <a:gd name="T99" fmla="*/ 262942 h 1083"/>
              <a:gd name="T100" fmla="*/ 214726 w 1445"/>
              <a:gd name="T101" fmla="*/ 273852 h 1083"/>
              <a:gd name="T102" fmla="*/ 208458 w 1445"/>
              <a:gd name="T103" fmla="*/ 280126 h 1083"/>
              <a:gd name="T104" fmla="*/ 196196 w 1445"/>
              <a:gd name="T105" fmla="*/ 283126 h 1083"/>
              <a:gd name="T106" fmla="*/ 183661 w 1445"/>
              <a:gd name="T107" fmla="*/ 287763 h 1083"/>
              <a:gd name="T108" fmla="*/ 168402 w 1445"/>
              <a:gd name="T109" fmla="*/ 292400 h 1083"/>
              <a:gd name="T110" fmla="*/ 155867 w 1445"/>
              <a:gd name="T111" fmla="*/ 292400 h 1083"/>
              <a:gd name="T112" fmla="*/ 135702 w 1445"/>
              <a:gd name="T113" fmla="*/ 287763 h 1083"/>
              <a:gd name="T114" fmla="*/ 126437 w 1445"/>
              <a:gd name="T115" fmla="*/ 283126 h 1083"/>
              <a:gd name="T116" fmla="*/ 111177 w 1445"/>
              <a:gd name="T117" fmla="*/ 286127 h 1083"/>
              <a:gd name="T118" fmla="*/ 101913 w 1445"/>
              <a:gd name="T119" fmla="*/ 290764 h 1083"/>
              <a:gd name="T120" fmla="*/ 88015 w 1445"/>
              <a:gd name="T121" fmla="*/ 289400 h 108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45" h="1083">
                <a:moveTo>
                  <a:pt x="277" y="1061"/>
                </a:moveTo>
                <a:lnTo>
                  <a:pt x="272" y="1055"/>
                </a:lnTo>
                <a:lnTo>
                  <a:pt x="272" y="1049"/>
                </a:lnTo>
                <a:lnTo>
                  <a:pt x="266" y="1049"/>
                </a:lnTo>
                <a:lnTo>
                  <a:pt x="260" y="1049"/>
                </a:lnTo>
                <a:lnTo>
                  <a:pt x="255" y="1044"/>
                </a:lnTo>
                <a:lnTo>
                  <a:pt x="255" y="1049"/>
                </a:lnTo>
                <a:lnTo>
                  <a:pt x="249" y="1049"/>
                </a:lnTo>
                <a:lnTo>
                  <a:pt x="249" y="1044"/>
                </a:lnTo>
                <a:lnTo>
                  <a:pt x="249" y="1049"/>
                </a:lnTo>
                <a:lnTo>
                  <a:pt x="243" y="1049"/>
                </a:lnTo>
                <a:lnTo>
                  <a:pt x="238" y="1049"/>
                </a:lnTo>
                <a:lnTo>
                  <a:pt x="238" y="1044"/>
                </a:lnTo>
                <a:lnTo>
                  <a:pt x="232" y="1038"/>
                </a:lnTo>
                <a:lnTo>
                  <a:pt x="226" y="1038"/>
                </a:lnTo>
                <a:lnTo>
                  <a:pt x="226" y="1032"/>
                </a:lnTo>
                <a:lnTo>
                  <a:pt x="221" y="1032"/>
                </a:lnTo>
                <a:lnTo>
                  <a:pt x="215" y="1032"/>
                </a:lnTo>
                <a:lnTo>
                  <a:pt x="209" y="1027"/>
                </a:lnTo>
                <a:lnTo>
                  <a:pt x="204" y="1021"/>
                </a:lnTo>
                <a:lnTo>
                  <a:pt x="204" y="1015"/>
                </a:lnTo>
                <a:lnTo>
                  <a:pt x="204" y="1010"/>
                </a:lnTo>
                <a:lnTo>
                  <a:pt x="198" y="1010"/>
                </a:lnTo>
                <a:lnTo>
                  <a:pt x="192" y="1010"/>
                </a:lnTo>
                <a:lnTo>
                  <a:pt x="192" y="1004"/>
                </a:lnTo>
                <a:lnTo>
                  <a:pt x="187" y="998"/>
                </a:lnTo>
                <a:lnTo>
                  <a:pt x="187" y="993"/>
                </a:lnTo>
                <a:lnTo>
                  <a:pt x="181" y="993"/>
                </a:lnTo>
                <a:lnTo>
                  <a:pt x="175" y="993"/>
                </a:lnTo>
                <a:lnTo>
                  <a:pt x="170" y="993"/>
                </a:lnTo>
                <a:lnTo>
                  <a:pt x="175" y="987"/>
                </a:lnTo>
                <a:lnTo>
                  <a:pt x="175" y="981"/>
                </a:lnTo>
                <a:lnTo>
                  <a:pt x="175" y="976"/>
                </a:lnTo>
                <a:lnTo>
                  <a:pt x="175" y="970"/>
                </a:lnTo>
                <a:lnTo>
                  <a:pt x="170" y="970"/>
                </a:lnTo>
                <a:lnTo>
                  <a:pt x="170" y="976"/>
                </a:lnTo>
                <a:lnTo>
                  <a:pt x="164" y="976"/>
                </a:lnTo>
                <a:lnTo>
                  <a:pt x="158" y="970"/>
                </a:lnTo>
                <a:lnTo>
                  <a:pt x="153" y="970"/>
                </a:lnTo>
                <a:lnTo>
                  <a:pt x="153" y="964"/>
                </a:lnTo>
                <a:lnTo>
                  <a:pt x="153" y="959"/>
                </a:lnTo>
                <a:lnTo>
                  <a:pt x="147" y="959"/>
                </a:lnTo>
                <a:lnTo>
                  <a:pt x="147" y="953"/>
                </a:lnTo>
                <a:lnTo>
                  <a:pt x="141" y="953"/>
                </a:lnTo>
                <a:lnTo>
                  <a:pt x="136" y="947"/>
                </a:lnTo>
                <a:lnTo>
                  <a:pt x="136" y="941"/>
                </a:lnTo>
                <a:lnTo>
                  <a:pt x="136" y="936"/>
                </a:lnTo>
                <a:lnTo>
                  <a:pt x="124" y="930"/>
                </a:lnTo>
                <a:lnTo>
                  <a:pt x="119" y="924"/>
                </a:lnTo>
                <a:lnTo>
                  <a:pt x="124" y="919"/>
                </a:lnTo>
                <a:lnTo>
                  <a:pt x="124" y="913"/>
                </a:lnTo>
                <a:lnTo>
                  <a:pt x="119" y="913"/>
                </a:lnTo>
                <a:lnTo>
                  <a:pt x="113" y="913"/>
                </a:lnTo>
                <a:lnTo>
                  <a:pt x="113" y="902"/>
                </a:lnTo>
                <a:lnTo>
                  <a:pt x="113" y="896"/>
                </a:lnTo>
                <a:lnTo>
                  <a:pt x="107" y="896"/>
                </a:lnTo>
                <a:lnTo>
                  <a:pt x="102" y="896"/>
                </a:lnTo>
                <a:lnTo>
                  <a:pt x="102" y="890"/>
                </a:lnTo>
                <a:lnTo>
                  <a:pt x="96" y="890"/>
                </a:lnTo>
                <a:lnTo>
                  <a:pt x="96" y="896"/>
                </a:lnTo>
                <a:lnTo>
                  <a:pt x="90" y="896"/>
                </a:lnTo>
                <a:lnTo>
                  <a:pt x="85" y="896"/>
                </a:lnTo>
                <a:lnTo>
                  <a:pt x="85" y="890"/>
                </a:lnTo>
                <a:lnTo>
                  <a:pt x="79" y="890"/>
                </a:lnTo>
                <a:lnTo>
                  <a:pt x="79" y="885"/>
                </a:lnTo>
                <a:lnTo>
                  <a:pt x="79" y="879"/>
                </a:lnTo>
                <a:lnTo>
                  <a:pt x="79" y="873"/>
                </a:lnTo>
                <a:lnTo>
                  <a:pt x="73" y="873"/>
                </a:lnTo>
                <a:lnTo>
                  <a:pt x="68" y="873"/>
                </a:lnTo>
                <a:lnTo>
                  <a:pt x="62" y="873"/>
                </a:lnTo>
                <a:lnTo>
                  <a:pt x="56" y="868"/>
                </a:lnTo>
                <a:lnTo>
                  <a:pt x="51" y="868"/>
                </a:lnTo>
                <a:lnTo>
                  <a:pt x="51" y="862"/>
                </a:lnTo>
                <a:lnTo>
                  <a:pt x="51" y="856"/>
                </a:lnTo>
                <a:lnTo>
                  <a:pt x="39" y="856"/>
                </a:lnTo>
                <a:lnTo>
                  <a:pt x="34" y="851"/>
                </a:lnTo>
                <a:lnTo>
                  <a:pt x="34" y="845"/>
                </a:lnTo>
                <a:lnTo>
                  <a:pt x="28" y="845"/>
                </a:lnTo>
                <a:lnTo>
                  <a:pt x="22" y="845"/>
                </a:lnTo>
                <a:lnTo>
                  <a:pt x="17" y="845"/>
                </a:lnTo>
                <a:lnTo>
                  <a:pt x="17" y="839"/>
                </a:lnTo>
                <a:lnTo>
                  <a:pt x="11" y="839"/>
                </a:lnTo>
                <a:lnTo>
                  <a:pt x="11" y="834"/>
                </a:lnTo>
                <a:lnTo>
                  <a:pt x="5" y="828"/>
                </a:lnTo>
                <a:lnTo>
                  <a:pt x="5" y="822"/>
                </a:lnTo>
                <a:lnTo>
                  <a:pt x="0" y="822"/>
                </a:lnTo>
                <a:lnTo>
                  <a:pt x="0" y="817"/>
                </a:lnTo>
                <a:lnTo>
                  <a:pt x="0" y="811"/>
                </a:lnTo>
                <a:lnTo>
                  <a:pt x="0" y="805"/>
                </a:lnTo>
                <a:lnTo>
                  <a:pt x="22" y="754"/>
                </a:lnTo>
                <a:lnTo>
                  <a:pt x="85" y="647"/>
                </a:lnTo>
                <a:lnTo>
                  <a:pt x="85" y="641"/>
                </a:lnTo>
                <a:lnTo>
                  <a:pt x="90" y="641"/>
                </a:lnTo>
                <a:lnTo>
                  <a:pt x="90" y="635"/>
                </a:lnTo>
                <a:lnTo>
                  <a:pt x="119" y="584"/>
                </a:lnTo>
                <a:lnTo>
                  <a:pt x="147" y="528"/>
                </a:lnTo>
                <a:lnTo>
                  <a:pt x="136" y="522"/>
                </a:lnTo>
                <a:lnTo>
                  <a:pt x="141" y="494"/>
                </a:lnTo>
                <a:lnTo>
                  <a:pt x="141" y="488"/>
                </a:lnTo>
                <a:lnTo>
                  <a:pt x="141" y="482"/>
                </a:lnTo>
                <a:lnTo>
                  <a:pt x="153" y="477"/>
                </a:lnTo>
                <a:lnTo>
                  <a:pt x="158" y="443"/>
                </a:lnTo>
                <a:lnTo>
                  <a:pt x="153" y="431"/>
                </a:lnTo>
                <a:lnTo>
                  <a:pt x="158" y="431"/>
                </a:lnTo>
                <a:lnTo>
                  <a:pt x="164" y="426"/>
                </a:lnTo>
                <a:lnTo>
                  <a:pt x="170" y="420"/>
                </a:lnTo>
                <a:lnTo>
                  <a:pt x="187" y="392"/>
                </a:lnTo>
                <a:lnTo>
                  <a:pt x="181" y="380"/>
                </a:lnTo>
                <a:lnTo>
                  <a:pt x="192" y="375"/>
                </a:lnTo>
                <a:lnTo>
                  <a:pt x="198" y="375"/>
                </a:lnTo>
                <a:lnTo>
                  <a:pt x="204" y="375"/>
                </a:lnTo>
                <a:lnTo>
                  <a:pt x="209" y="363"/>
                </a:lnTo>
                <a:lnTo>
                  <a:pt x="209" y="352"/>
                </a:lnTo>
                <a:lnTo>
                  <a:pt x="221" y="346"/>
                </a:lnTo>
                <a:lnTo>
                  <a:pt x="221" y="341"/>
                </a:lnTo>
                <a:lnTo>
                  <a:pt x="226" y="341"/>
                </a:lnTo>
                <a:lnTo>
                  <a:pt x="232" y="335"/>
                </a:lnTo>
                <a:lnTo>
                  <a:pt x="238" y="335"/>
                </a:lnTo>
                <a:lnTo>
                  <a:pt x="238" y="329"/>
                </a:lnTo>
                <a:lnTo>
                  <a:pt x="243" y="329"/>
                </a:lnTo>
                <a:lnTo>
                  <a:pt x="249" y="324"/>
                </a:lnTo>
                <a:lnTo>
                  <a:pt x="255" y="324"/>
                </a:lnTo>
                <a:lnTo>
                  <a:pt x="255" y="318"/>
                </a:lnTo>
                <a:lnTo>
                  <a:pt x="249" y="318"/>
                </a:lnTo>
                <a:lnTo>
                  <a:pt x="255" y="312"/>
                </a:lnTo>
                <a:lnTo>
                  <a:pt x="260" y="307"/>
                </a:lnTo>
                <a:lnTo>
                  <a:pt x="266" y="307"/>
                </a:lnTo>
                <a:lnTo>
                  <a:pt x="272" y="307"/>
                </a:lnTo>
                <a:lnTo>
                  <a:pt x="272" y="301"/>
                </a:lnTo>
                <a:lnTo>
                  <a:pt x="277" y="301"/>
                </a:lnTo>
                <a:lnTo>
                  <a:pt x="277" y="295"/>
                </a:lnTo>
                <a:lnTo>
                  <a:pt x="283" y="295"/>
                </a:lnTo>
                <a:lnTo>
                  <a:pt x="283" y="290"/>
                </a:lnTo>
                <a:lnTo>
                  <a:pt x="289" y="290"/>
                </a:lnTo>
                <a:lnTo>
                  <a:pt x="294" y="284"/>
                </a:lnTo>
                <a:lnTo>
                  <a:pt x="300" y="284"/>
                </a:lnTo>
                <a:lnTo>
                  <a:pt x="306" y="278"/>
                </a:lnTo>
                <a:lnTo>
                  <a:pt x="311" y="278"/>
                </a:lnTo>
                <a:lnTo>
                  <a:pt x="317" y="278"/>
                </a:lnTo>
                <a:lnTo>
                  <a:pt x="323" y="278"/>
                </a:lnTo>
                <a:lnTo>
                  <a:pt x="328" y="278"/>
                </a:lnTo>
                <a:lnTo>
                  <a:pt x="328" y="273"/>
                </a:lnTo>
                <a:lnTo>
                  <a:pt x="334" y="273"/>
                </a:lnTo>
                <a:lnTo>
                  <a:pt x="334" y="267"/>
                </a:lnTo>
                <a:lnTo>
                  <a:pt x="345" y="267"/>
                </a:lnTo>
                <a:lnTo>
                  <a:pt x="351" y="273"/>
                </a:lnTo>
                <a:lnTo>
                  <a:pt x="357" y="273"/>
                </a:lnTo>
                <a:lnTo>
                  <a:pt x="362" y="267"/>
                </a:lnTo>
                <a:lnTo>
                  <a:pt x="368" y="261"/>
                </a:lnTo>
                <a:lnTo>
                  <a:pt x="379" y="256"/>
                </a:lnTo>
                <a:lnTo>
                  <a:pt x="396" y="244"/>
                </a:lnTo>
                <a:lnTo>
                  <a:pt x="402" y="244"/>
                </a:lnTo>
                <a:lnTo>
                  <a:pt x="408" y="244"/>
                </a:lnTo>
                <a:lnTo>
                  <a:pt x="408" y="256"/>
                </a:lnTo>
                <a:lnTo>
                  <a:pt x="413" y="256"/>
                </a:lnTo>
                <a:lnTo>
                  <a:pt x="419" y="256"/>
                </a:lnTo>
                <a:lnTo>
                  <a:pt x="430" y="256"/>
                </a:lnTo>
                <a:lnTo>
                  <a:pt x="436" y="256"/>
                </a:lnTo>
                <a:lnTo>
                  <a:pt x="447" y="261"/>
                </a:lnTo>
                <a:lnTo>
                  <a:pt x="453" y="278"/>
                </a:lnTo>
                <a:lnTo>
                  <a:pt x="453" y="284"/>
                </a:lnTo>
                <a:lnTo>
                  <a:pt x="459" y="284"/>
                </a:lnTo>
                <a:lnTo>
                  <a:pt x="464" y="284"/>
                </a:lnTo>
                <a:lnTo>
                  <a:pt x="464" y="278"/>
                </a:lnTo>
                <a:lnTo>
                  <a:pt x="470" y="278"/>
                </a:lnTo>
                <a:lnTo>
                  <a:pt x="464" y="278"/>
                </a:lnTo>
                <a:lnTo>
                  <a:pt x="464" y="267"/>
                </a:lnTo>
                <a:lnTo>
                  <a:pt x="470" y="250"/>
                </a:lnTo>
                <a:lnTo>
                  <a:pt x="476" y="250"/>
                </a:lnTo>
                <a:lnTo>
                  <a:pt x="476" y="244"/>
                </a:lnTo>
                <a:lnTo>
                  <a:pt x="481" y="244"/>
                </a:lnTo>
                <a:lnTo>
                  <a:pt x="487" y="239"/>
                </a:lnTo>
                <a:lnTo>
                  <a:pt x="493" y="233"/>
                </a:lnTo>
                <a:lnTo>
                  <a:pt x="498" y="233"/>
                </a:lnTo>
                <a:lnTo>
                  <a:pt x="498" y="227"/>
                </a:lnTo>
                <a:lnTo>
                  <a:pt x="504" y="227"/>
                </a:lnTo>
                <a:lnTo>
                  <a:pt x="510" y="227"/>
                </a:lnTo>
                <a:lnTo>
                  <a:pt x="510" y="222"/>
                </a:lnTo>
                <a:lnTo>
                  <a:pt x="510" y="216"/>
                </a:lnTo>
                <a:lnTo>
                  <a:pt x="510" y="210"/>
                </a:lnTo>
                <a:lnTo>
                  <a:pt x="515" y="205"/>
                </a:lnTo>
                <a:lnTo>
                  <a:pt x="521" y="205"/>
                </a:lnTo>
                <a:lnTo>
                  <a:pt x="521" y="199"/>
                </a:lnTo>
                <a:lnTo>
                  <a:pt x="527" y="199"/>
                </a:lnTo>
                <a:lnTo>
                  <a:pt x="532" y="199"/>
                </a:lnTo>
                <a:lnTo>
                  <a:pt x="532" y="205"/>
                </a:lnTo>
                <a:lnTo>
                  <a:pt x="538" y="205"/>
                </a:lnTo>
                <a:lnTo>
                  <a:pt x="538" y="199"/>
                </a:lnTo>
                <a:lnTo>
                  <a:pt x="544" y="193"/>
                </a:lnTo>
                <a:lnTo>
                  <a:pt x="555" y="193"/>
                </a:lnTo>
                <a:lnTo>
                  <a:pt x="561" y="199"/>
                </a:lnTo>
                <a:lnTo>
                  <a:pt x="567" y="199"/>
                </a:lnTo>
                <a:lnTo>
                  <a:pt x="567" y="193"/>
                </a:lnTo>
                <a:lnTo>
                  <a:pt x="572" y="193"/>
                </a:lnTo>
                <a:lnTo>
                  <a:pt x="578" y="193"/>
                </a:lnTo>
                <a:lnTo>
                  <a:pt x="584" y="193"/>
                </a:lnTo>
                <a:lnTo>
                  <a:pt x="589" y="193"/>
                </a:lnTo>
                <a:lnTo>
                  <a:pt x="589" y="188"/>
                </a:lnTo>
                <a:lnTo>
                  <a:pt x="584" y="188"/>
                </a:lnTo>
                <a:lnTo>
                  <a:pt x="578" y="188"/>
                </a:lnTo>
                <a:lnTo>
                  <a:pt x="572" y="182"/>
                </a:lnTo>
                <a:lnTo>
                  <a:pt x="578" y="176"/>
                </a:lnTo>
                <a:lnTo>
                  <a:pt x="578" y="171"/>
                </a:lnTo>
                <a:lnTo>
                  <a:pt x="578" y="176"/>
                </a:lnTo>
                <a:lnTo>
                  <a:pt x="584" y="176"/>
                </a:lnTo>
                <a:lnTo>
                  <a:pt x="584" y="171"/>
                </a:lnTo>
                <a:lnTo>
                  <a:pt x="584" y="165"/>
                </a:lnTo>
                <a:lnTo>
                  <a:pt x="584" y="159"/>
                </a:lnTo>
                <a:lnTo>
                  <a:pt x="584" y="154"/>
                </a:lnTo>
                <a:lnTo>
                  <a:pt x="578" y="148"/>
                </a:lnTo>
                <a:lnTo>
                  <a:pt x="572" y="148"/>
                </a:lnTo>
                <a:lnTo>
                  <a:pt x="572" y="142"/>
                </a:lnTo>
                <a:lnTo>
                  <a:pt x="567" y="137"/>
                </a:lnTo>
                <a:lnTo>
                  <a:pt x="567" y="131"/>
                </a:lnTo>
                <a:lnTo>
                  <a:pt x="567" y="125"/>
                </a:lnTo>
                <a:lnTo>
                  <a:pt x="572" y="125"/>
                </a:lnTo>
                <a:lnTo>
                  <a:pt x="572" y="131"/>
                </a:lnTo>
                <a:lnTo>
                  <a:pt x="578" y="131"/>
                </a:lnTo>
                <a:lnTo>
                  <a:pt x="578" y="125"/>
                </a:lnTo>
                <a:lnTo>
                  <a:pt x="584" y="125"/>
                </a:lnTo>
                <a:lnTo>
                  <a:pt x="584" y="120"/>
                </a:lnTo>
                <a:lnTo>
                  <a:pt x="589" y="120"/>
                </a:lnTo>
                <a:lnTo>
                  <a:pt x="595" y="114"/>
                </a:lnTo>
                <a:lnTo>
                  <a:pt x="601" y="114"/>
                </a:lnTo>
                <a:lnTo>
                  <a:pt x="606" y="114"/>
                </a:lnTo>
                <a:lnTo>
                  <a:pt x="612" y="114"/>
                </a:lnTo>
                <a:lnTo>
                  <a:pt x="612" y="108"/>
                </a:lnTo>
                <a:lnTo>
                  <a:pt x="612" y="103"/>
                </a:lnTo>
                <a:lnTo>
                  <a:pt x="606" y="103"/>
                </a:lnTo>
                <a:lnTo>
                  <a:pt x="612" y="103"/>
                </a:lnTo>
                <a:lnTo>
                  <a:pt x="612" y="97"/>
                </a:lnTo>
                <a:lnTo>
                  <a:pt x="618" y="97"/>
                </a:lnTo>
                <a:lnTo>
                  <a:pt x="618" y="91"/>
                </a:lnTo>
                <a:lnTo>
                  <a:pt x="623" y="86"/>
                </a:lnTo>
                <a:lnTo>
                  <a:pt x="629" y="86"/>
                </a:lnTo>
                <a:lnTo>
                  <a:pt x="629" y="91"/>
                </a:lnTo>
                <a:lnTo>
                  <a:pt x="635" y="91"/>
                </a:lnTo>
                <a:lnTo>
                  <a:pt x="640" y="91"/>
                </a:lnTo>
                <a:lnTo>
                  <a:pt x="640" y="86"/>
                </a:lnTo>
                <a:lnTo>
                  <a:pt x="646" y="80"/>
                </a:lnTo>
                <a:lnTo>
                  <a:pt x="652" y="80"/>
                </a:lnTo>
                <a:lnTo>
                  <a:pt x="663" y="74"/>
                </a:lnTo>
                <a:lnTo>
                  <a:pt x="669" y="69"/>
                </a:lnTo>
                <a:lnTo>
                  <a:pt x="669" y="74"/>
                </a:lnTo>
                <a:lnTo>
                  <a:pt x="674" y="74"/>
                </a:lnTo>
                <a:lnTo>
                  <a:pt x="680" y="69"/>
                </a:lnTo>
                <a:lnTo>
                  <a:pt x="686" y="69"/>
                </a:lnTo>
                <a:lnTo>
                  <a:pt x="691" y="69"/>
                </a:lnTo>
                <a:lnTo>
                  <a:pt x="697" y="69"/>
                </a:lnTo>
                <a:lnTo>
                  <a:pt x="697" y="74"/>
                </a:lnTo>
                <a:lnTo>
                  <a:pt x="697" y="80"/>
                </a:lnTo>
                <a:lnTo>
                  <a:pt x="703" y="80"/>
                </a:lnTo>
                <a:lnTo>
                  <a:pt x="697" y="63"/>
                </a:lnTo>
                <a:lnTo>
                  <a:pt x="703" y="57"/>
                </a:lnTo>
                <a:lnTo>
                  <a:pt x="703" y="52"/>
                </a:lnTo>
                <a:lnTo>
                  <a:pt x="708" y="52"/>
                </a:lnTo>
                <a:lnTo>
                  <a:pt x="708" y="57"/>
                </a:lnTo>
                <a:lnTo>
                  <a:pt x="708" y="63"/>
                </a:lnTo>
                <a:lnTo>
                  <a:pt x="720" y="69"/>
                </a:lnTo>
                <a:lnTo>
                  <a:pt x="725" y="69"/>
                </a:lnTo>
                <a:lnTo>
                  <a:pt x="725" y="74"/>
                </a:lnTo>
                <a:lnTo>
                  <a:pt x="731" y="74"/>
                </a:lnTo>
                <a:lnTo>
                  <a:pt x="737" y="69"/>
                </a:lnTo>
                <a:lnTo>
                  <a:pt x="742" y="69"/>
                </a:lnTo>
                <a:lnTo>
                  <a:pt x="748" y="69"/>
                </a:lnTo>
                <a:lnTo>
                  <a:pt x="754" y="74"/>
                </a:lnTo>
                <a:lnTo>
                  <a:pt x="759" y="74"/>
                </a:lnTo>
                <a:lnTo>
                  <a:pt x="759" y="69"/>
                </a:lnTo>
                <a:lnTo>
                  <a:pt x="765" y="69"/>
                </a:lnTo>
                <a:lnTo>
                  <a:pt x="771" y="69"/>
                </a:lnTo>
                <a:lnTo>
                  <a:pt x="771" y="74"/>
                </a:lnTo>
                <a:lnTo>
                  <a:pt x="765" y="74"/>
                </a:lnTo>
                <a:lnTo>
                  <a:pt x="765" y="80"/>
                </a:lnTo>
                <a:lnTo>
                  <a:pt x="771" y="80"/>
                </a:lnTo>
                <a:lnTo>
                  <a:pt x="776" y="80"/>
                </a:lnTo>
                <a:lnTo>
                  <a:pt x="776" y="74"/>
                </a:lnTo>
                <a:lnTo>
                  <a:pt x="782" y="69"/>
                </a:lnTo>
                <a:lnTo>
                  <a:pt x="788" y="63"/>
                </a:lnTo>
                <a:lnTo>
                  <a:pt x="793" y="57"/>
                </a:lnTo>
                <a:lnTo>
                  <a:pt x="799" y="52"/>
                </a:lnTo>
                <a:lnTo>
                  <a:pt x="805" y="46"/>
                </a:lnTo>
                <a:lnTo>
                  <a:pt x="810" y="46"/>
                </a:lnTo>
                <a:lnTo>
                  <a:pt x="810" y="52"/>
                </a:lnTo>
                <a:lnTo>
                  <a:pt x="822" y="63"/>
                </a:lnTo>
                <a:lnTo>
                  <a:pt x="827" y="69"/>
                </a:lnTo>
                <a:lnTo>
                  <a:pt x="833" y="69"/>
                </a:lnTo>
                <a:lnTo>
                  <a:pt x="839" y="63"/>
                </a:lnTo>
                <a:lnTo>
                  <a:pt x="839" y="57"/>
                </a:lnTo>
                <a:lnTo>
                  <a:pt x="844" y="57"/>
                </a:lnTo>
                <a:lnTo>
                  <a:pt x="850" y="57"/>
                </a:lnTo>
                <a:lnTo>
                  <a:pt x="850" y="52"/>
                </a:lnTo>
                <a:lnTo>
                  <a:pt x="850" y="46"/>
                </a:lnTo>
                <a:lnTo>
                  <a:pt x="856" y="46"/>
                </a:lnTo>
                <a:lnTo>
                  <a:pt x="856" y="40"/>
                </a:lnTo>
                <a:lnTo>
                  <a:pt x="856" y="35"/>
                </a:lnTo>
                <a:lnTo>
                  <a:pt x="856" y="29"/>
                </a:lnTo>
                <a:lnTo>
                  <a:pt x="861" y="29"/>
                </a:lnTo>
                <a:lnTo>
                  <a:pt x="867" y="29"/>
                </a:lnTo>
                <a:lnTo>
                  <a:pt x="873" y="29"/>
                </a:lnTo>
                <a:lnTo>
                  <a:pt x="873" y="23"/>
                </a:lnTo>
                <a:lnTo>
                  <a:pt x="873" y="17"/>
                </a:lnTo>
                <a:lnTo>
                  <a:pt x="878" y="17"/>
                </a:lnTo>
                <a:lnTo>
                  <a:pt x="884" y="17"/>
                </a:lnTo>
                <a:lnTo>
                  <a:pt x="890" y="17"/>
                </a:lnTo>
                <a:lnTo>
                  <a:pt x="890" y="23"/>
                </a:lnTo>
                <a:lnTo>
                  <a:pt x="890" y="29"/>
                </a:lnTo>
                <a:lnTo>
                  <a:pt x="895" y="29"/>
                </a:lnTo>
                <a:lnTo>
                  <a:pt x="901" y="23"/>
                </a:lnTo>
                <a:lnTo>
                  <a:pt x="907" y="23"/>
                </a:lnTo>
                <a:lnTo>
                  <a:pt x="912" y="23"/>
                </a:lnTo>
                <a:lnTo>
                  <a:pt x="918" y="29"/>
                </a:lnTo>
                <a:lnTo>
                  <a:pt x="924" y="35"/>
                </a:lnTo>
                <a:lnTo>
                  <a:pt x="924" y="29"/>
                </a:lnTo>
                <a:lnTo>
                  <a:pt x="924" y="23"/>
                </a:lnTo>
                <a:lnTo>
                  <a:pt x="929" y="23"/>
                </a:lnTo>
                <a:lnTo>
                  <a:pt x="935" y="23"/>
                </a:lnTo>
                <a:lnTo>
                  <a:pt x="946" y="23"/>
                </a:lnTo>
                <a:lnTo>
                  <a:pt x="946" y="17"/>
                </a:lnTo>
                <a:lnTo>
                  <a:pt x="952" y="23"/>
                </a:lnTo>
                <a:lnTo>
                  <a:pt x="952" y="17"/>
                </a:lnTo>
                <a:lnTo>
                  <a:pt x="958" y="17"/>
                </a:lnTo>
                <a:lnTo>
                  <a:pt x="958" y="12"/>
                </a:lnTo>
                <a:lnTo>
                  <a:pt x="963" y="12"/>
                </a:lnTo>
                <a:lnTo>
                  <a:pt x="969" y="6"/>
                </a:lnTo>
                <a:lnTo>
                  <a:pt x="969" y="0"/>
                </a:lnTo>
                <a:lnTo>
                  <a:pt x="975" y="0"/>
                </a:lnTo>
                <a:lnTo>
                  <a:pt x="980" y="0"/>
                </a:lnTo>
                <a:lnTo>
                  <a:pt x="986" y="0"/>
                </a:lnTo>
                <a:lnTo>
                  <a:pt x="986" y="6"/>
                </a:lnTo>
                <a:lnTo>
                  <a:pt x="986" y="12"/>
                </a:lnTo>
                <a:lnTo>
                  <a:pt x="986" y="17"/>
                </a:lnTo>
                <a:lnTo>
                  <a:pt x="986" y="23"/>
                </a:lnTo>
                <a:lnTo>
                  <a:pt x="986" y="29"/>
                </a:lnTo>
                <a:lnTo>
                  <a:pt x="992" y="29"/>
                </a:lnTo>
                <a:lnTo>
                  <a:pt x="986" y="35"/>
                </a:lnTo>
                <a:lnTo>
                  <a:pt x="992" y="35"/>
                </a:lnTo>
                <a:lnTo>
                  <a:pt x="997" y="40"/>
                </a:lnTo>
                <a:lnTo>
                  <a:pt x="1003" y="46"/>
                </a:lnTo>
                <a:lnTo>
                  <a:pt x="1009" y="46"/>
                </a:lnTo>
                <a:lnTo>
                  <a:pt x="1014" y="46"/>
                </a:lnTo>
                <a:lnTo>
                  <a:pt x="1014" y="52"/>
                </a:lnTo>
                <a:lnTo>
                  <a:pt x="1020" y="57"/>
                </a:lnTo>
                <a:lnTo>
                  <a:pt x="1026" y="52"/>
                </a:lnTo>
                <a:lnTo>
                  <a:pt x="1026" y="57"/>
                </a:lnTo>
                <a:lnTo>
                  <a:pt x="1031" y="63"/>
                </a:lnTo>
                <a:lnTo>
                  <a:pt x="1037" y="63"/>
                </a:lnTo>
                <a:lnTo>
                  <a:pt x="1043" y="63"/>
                </a:lnTo>
                <a:lnTo>
                  <a:pt x="1043" y="57"/>
                </a:lnTo>
                <a:lnTo>
                  <a:pt x="1048" y="57"/>
                </a:lnTo>
                <a:lnTo>
                  <a:pt x="1048" y="63"/>
                </a:lnTo>
                <a:lnTo>
                  <a:pt x="1054" y="63"/>
                </a:lnTo>
                <a:lnTo>
                  <a:pt x="1060" y="69"/>
                </a:lnTo>
                <a:lnTo>
                  <a:pt x="1065" y="69"/>
                </a:lnTo>
                <a:lnTo>
                  <a:pt x="1071" y="74"/>
                </a:lnTo>
                <a:lnTo>
                  <a:pt x="1077" y="74"/>
                </a:lnTo>
                <a:lnTo>
                  <a:pt x="1082" y="69"/>
                </a:lnTo>
                <a:lnTo>
                  <a:pt x="1088" y="69"/>
                </a:lnTo>
                <a:lnTo>
                  <a:pt x="1088" y="74"/>
                </a:lnTo>
                <a:lnTo>
                  <a:pt x="1094" y="80"/>
                </a:lnTo>
                <a:lnTo>
                  <a:pt x="1094" y="86"/>
                </a:lnTo>
                <a:lnTo>
                  <a:pt x="1094" y="91"/>
                </a:lnTo>
                <a:lnTo>
                  <a:pt x="1099" y="86"/>
                </a:lnTo>
                <a:lnTo>
                  <a:pt x="1099" y="80"/>
                </a:lnTo>
                <a:lnTo>
                  <a:pt x="1105" y="80"/>
                </a:lnTo>
                <a:lnTo>
                  <a:pt x="1111" y="80"/>
                </a:lnTo>
                <a:lnTo>
                  <a:pt x="1116" y="86"/>
                </a:lnTo>
                <a:lnTo>
                  <a:pt x="1116" y="91"/>
                </a:lnTo>
                <a:lnTo>
                  <a:pt x="1122" y="97"/>
                </a:lnTo>
                <a:lnTo>
                  <a:pt x="1128" y="103"/>
                </a:lnTo>
                <a:lnTo>
                  <a:pt x="1122" y="103"/>
                </a:lnTo>
                <a:lnTo>
                  <a:pt x="1122" y="108"/>
                </a:lnTo>
                <a:lnTo>
                  <a:pt x="1122" y="103"/>
                </a:lnTo>
                <a:lnTo>
                  <a:pt x="1128" y="103"/>
                </a:lnTo>
                <a:lnTo>
                  <a:pt x="1128" y="97"/>
                </a:lnTo>
                <a:lnTo>
                  <a:pt x="1133" y="97"/>
                </a:lnTo>
                <a:lnTo>
                  <a:pt x="1139" y="97"/>
                </a:lnTo>
                <a:lnTo>
                  <a:pt x="1139" y="91"/>
                </a:lnTo>
                <a:lnTo>
                  <a:pt x="1145" y="91"/>
                </a:lnTo>
                <a:lnTo>
                  <a:pt x="1150" y="91"/>
                </a:lnTo>
                <a:lnTo>
                  <a:pt x="1156" y="86"/>
                </a:lnTo>
                <a:lnTo>
                  <a:pt x="1150" y="86"/>
                </a:lnTo>
                <a:lnTo>
                  <a:pt x="1145" y="86"/>
                </a:lnTo>
                <a:lnTo>
                  <a:pt x="1150" y="80"/>
                </a:lnTo>
                <a:lnTo>
                  <a:pt x="1150" y="74"/>
                </a:lnTo>
                <a:lnTo>
                  <a:pt x="1162" y="80"/>
                </a:lnTo>
                <a:lnTo>
                  <a:pt x="1167" y="80"/>
                </a:lnTo>
                <a:lnTo>
                  <a:pt x="1173" y="80"/>
                </a:lnTo>
                <a:lnTo>
                  <a:pt x="1173" y="86"/>
                </a:lnTo>
                <a:lnTo>
                  <a:pt x="1173" y="91"/>
                </a:lnTo>
                <a:lnTo>
                  <a:pt x="1179" y="91"/>
                </a:lnTo>
                <a:lnTo>
                  <a:pt x="1179" y="86"/>
                </a:lnTo>
                <a:lnTo>
                  <a:pt x="1184" y="91"/>
                </a:lnTo>
                <a:lnTo>
                  <a:pt x="1190" y="97"/>
                </a:lnTo>
                <a:lnTo>
                  <a:pt x="1196" y="91"/>
                </a:lnTo>
                <a:lnTo>
                  <a:pt x="1196" y="97"/>
                </a:lnTo>
                <a:lnTo>
                  <a:pt x="1201" y="97"/>
                </a:lnTo>
                <a:lnTo>
                  <a:pt x="1207" y="97"/>
                </a:lnTo>
                <a:lnTo>
                  <a:pt x="1213" y="103"/>
                </a:lnTo>
                <a:lnTo>
                  <a:pt x="1218" y="103"/>
                </a:lnTo>
                <a:lnTo>
                  <a:pt x="1218" y="91"/>
                </a:lnTo>
                <a:lnTo>
                  <a:pt x="1224" y="91"/>
                </a:lnTo>
                <a:lnTo>
                  <a:pt x="1230" y="91"/>
                </a:lnTo>
                <a:lnTo>
                  <a:pt x="1235" y="86"/>
                </a:lnTo>
                <a:lnTo>
                  <a:pt x="1241" y="86"/>
                </a:lnTo>
                <a:lnTo>
                  <a:pt x="1247" y="91"/>
                </a:lnTo>
                <a:lnTo>
                  <a:pt x="1252" y="91"/>
                </a:lnTo>
                <a:lnTo>
                  <a:pt x="1252" y="97"/>
                </a:lnTo>
                <a:lnTo>
                  <a:pt x="1252" y="91"/>
                </a:lnTo>
                <a:lnTo>
                  <a:pt x="1258" y="91"/>
                </a:lnTo>
                <a:lnTo>
                  <a:pt x="1258" y="97"/>
                </a:lnTo>
                <a:lnTo>
                  <a:pt x="1258" y="103"/>
                </a:lnTo>
                <a:lnTo>
                  <a:pt x="1258" y="108"/>
                </a:lnTo>
                <a:lnTo>
                  <a:pt x="1264" y="114"/>
                </a:lnTo>
                <a:lnTo>
                  <a:pt x="1269" y="131"/>
                </a:lnTo>
                <a:lnTo>
                  <a:pt x="1275" y="131"/>
                </a:lnTo>
                <a:lnTo>
                  <a:pt x="1281" y="125"/>
                </a:lnTo>
                <a:lnTo>
                  <a:pt x="1292" y="125"/>
                </a:lnTo>
                <a:lnTo>
                  <a:pt x="1298" y="125"/>
                </a:lnTo>
                <a:lnTo>
                  <a:pt x="1303" y="131"/>
                </a:lnTo>
                <a:lnTo>
                  <a:pt x="1303" y="137"/>
                </a:lnTo>
                <a:lnTo>
                  <a:pt x="1309" y="137"/>
                </a:lnTo>
                <a:lnTo>
                  <a:pt x="1315" y="137"/>
                </a:lnTo>
                <a:lnTo>
                  <a:pt x="1320" y="142"/>
                </a:lnTo>
                <a:lnTo>
                  <a:pt x="1326" y="142"/>
                </a:lnTo>
                <a:lnTo>
                  <a:pt x="1332" y="148"/>
                </a:lnTo>
                <a:lnTo>
                  <a:pt x="1326" y="148"/>
                </a:lnTo>
                <a:lnTo>
                  <a:pt x="1326" y="154"/>
                </a:lnTo>
                <a:lnTo>
                  <a:pt x="1332" y="154"/>
                </a:lnTo>
                <a:lnTo>
                  <a:pt x="1343" y="148"/>
                </a:lnTo>
                <a:lnTo>
                  <a:pt x="1349" y="148"/>
                </a:lnTo>
                <a:lnTo>
                  <a:pt x="1349" y="154"/>
                </a:lnTo>
                <a:lnTo>
                  <a:pt x="1354" y="159"/>
                </a:lnTo>
                <a:lnTo>
                  <a:pt x="1360" y="165"/>
                </a:lnTo>
                <a:lnTo>
                  <a:pt x="1360" y="171"/>
                </a:lnTo>
                <a:lnTo>
                  <a:pt x="1366" y="171"/>
                </a:lnTo>
                <a:lnTo>
                  <a:pt x="1366" y="176"/>
                </a:lnTo>
                <a:lnTo>
                  <a:pt x="1366" y="182"/>
                </a:lnTo>
                <a:lnTo>
                  <a:pt x="1377" y="193"/>
                </a:lnTo>
                <a:lnTo>
                  <a:pt x="1383" y="193"/>
                </a:lnTo>
                <a:lnTo>
                  <a:pt x="1377" y="199"/>
                </a:lnTo>
                <a:lnTo>
                  <a:pt x="1383" y="205"/>
                </a:lnTo>
                <a:lnTo>
                  <a:pt x="1388" y="210"/>
                </a:lnTo>
                <a:lnTo>
                  <a:pt x="1400" y="227"/>
                </a:lnTo>
                <a:lnTo>
                  <a:pt x="1405" y="227"/>
                </a:lnTo>
                <a:lnTo>
                  <a:pt x="1411" y="222"/>
                </a:lnTo>
                <a:lnTo>
                  <a:pt x="1422" y="222"/>
                </a:lnTo>
                <a:lnTo>
                  <a:pt x="1422" y="216"/>
                </a:lnTo>
                <a:lnTo>
                  <a:pt x="1422" y="210"/>
                </a:lnTo>
                <a:lnTo>
                  <a:pt x="1428" y="210"/>
                </a:lnTo>
                <a:lnTo>
                  <a:pt x="1439" y="210"/>
                </a:lnTo>
                <a:lnTo>
                  <a:pt x="1428" y="216"/>
                </a:lnTo>
                <a:lnTo>
                  <a:pt x="1428" y="222"/>
                </a:lnTo>
                <a:lnTo>
                  <a:pt x="1428" y="227"/>
                </a:lnTo>
                <a:lnTo>
                  <a:pt x="1439" y="233"/>
                </a:lnTo>
                <a:lnTo>
                  <a:pt x="1445" y="244"/>
                </a:lnTo>
                <a:lnTo>
                  <a:pt x="1439" y="250"/>
                </a:lnTo>
                <a:lnTo>
                  <a:pt x="1422" y="261"/>
                </a:lnTo>
                <a:lnTo>
                  <a:pt x="1417" y="267"/>
                </a:lnTo>
                <a:lnTo>
                  <a:pt x="1417" y="273"/>
                </a:lnTo>
                <a:lnTo>
                  <a:pt x="1422" y="278"/>
                </a:lnTo>
                <a:lnTo>
                  <a:pt x="1422" y="284"/>
                </a:lnTo>
                <a:lnTo>
                  <a:pt x="1422" y="295"/>
                </a:lnTo>
                <a:lnTo>
                  <a:pt x="1422" y="301"/>
                </a:lnTo>
                <a:lnTo>
                  <a:pt x="1422" y="307"/>
                </a:lnTo>
                <a:lnTo>
                  <a:pt x="1422" y="312"/>
                </a:lnTo>
                <a:lnTo>
                  <a:pt x="1417" y="329"/>
                </a:lnTo>
                <a:lnTo>
                  <a:pt x="1411" y="335"/>
                </a:lnTo>
                <a:lnTo>
                  <a:pt x="1405" y="341"/>
                </a:lnTo>
                <a:lnTo>
                  <a:pt x="1411" y="346"/>
                </a:lnTo>
                <a:lnTo>
                  <a:pt x="1411" y="352"/>
                </a:lnTo>
                <a:lnTo>
                  <a:pt x="1400" y="358"/>
                </a:lnTo>
                <a:lnTo>
                  <a:pt x="1394" y="369"/>
                </a:lnTo>
                <a:lnTo>
                  <a:pt x="1394" y="375"/>
                </a:lnTo>
                <a:lnTo>
                  <a:pt x="1400" y="375"/>
                </a:lnTo>
                <a:lnTo>
                  <a:pt x="1405" y="380"/>
                </a:lnTo>
                <a:lnTo>
                  <a:pt x="1405" y="386"/>
                </a:lnTo>
                <a:lnTo>
                  <a:pt x="1411" y="392"/>
                </a:lnTo>
                <a:lnTo>
                  <a:pt x="1411" y="397"/>
                </a:lnTo>
                <a:lnTo>
                  <a:pt x="1405" y="403"/>
                </a:lnTo>
                <a:lnTo>
                  <a:pt x="1394" y="409"/>
                </a:lnTo>
                <a:lnTo>
                  <a:pt x="1394" y="414"/>
                </a:lnTo>
                <a:lnTo>
                  <a:pt x="1388" y="420"/>
                </a:lnTo>
                <a:lnTo>
                  <a:pt x="1383" y="426"/>
                </a:lnTo>
                <a:lnTo>
                  <a:pt x="1360" y="426"/>
                </a:lnTo>
                <a:lnTo>
                  <a:pt x="1360" y="431"/>
                </a:lnTo>
                <a:lnTo>
                  <a:pt x="1354" y="437"/>
                </a:lnTo>
                <a:lnTo>
                  <a:pt x="1349" y="443"/>
                </a:lnTo>
                <a:lnTo>
                  <a:pt x="1337" y="454"/>
                </a:lnTo>
                <a:lnTo>
                  <a:pt x="1332" y="454"/>
                </a:lnTo>
                <a:lnTo>
                  <a:pt x="1320" y="460"/>
                </a:lnTo>
                <a:lnTo>
                  <a:pt x="1309" y="471"/>
                </a:lnTo>
                <a:lnTo>
                  <a:pt x="1303" y="471"/>
                </a:lnTo>
                <a:lnTo>
                  <a:pt x="1298" y="471"/>
                </a:lnTo>
                <a:lnTo>
                  <a:pt x="1292" y="477"/>
                </a:lnTo>
                <a:lnTo>
                  <a:pt x="1281" y="482"/>
                </a:lnTo>
                <a:lnTo>
                  <a:pt x="1281" y="488"/>
                </a:lnTo>
                <a:lnTo>
                  <a:pt x="1281" y="494"/>
                </a:lnTo>
                <a:lnTo>
                  <a:pt x="1281" y="499"/>
                </a:lnTo>
                <a:lnTo>
                  <a:pt x="1275" y="505"/>
                </a:lnTo>
                <a:lnTo>
                  <a:pt x="1269" y="499"/>
                </a:lnTo>
                <a:lnTo>
                  <a:pt x="1264" y="505"/>
                </a:lnTo>
                <a:lnTo>
                  <a:pt x="1252" y="505"/>
                </a:lnTo>
                <a:lnTo>
                  <a:pt x="1235" y="505"/>
                </a:lnTo>
                <a:lnTo>
                  <a:pt x="1218" y="511"/>
                </a:lnTo>
                <a:lnTo>
                  <a:pt x="1218" y="516"/>
                </a:lnTo>
                <a:lnTo>
                  <a:pt x="1213" y="522"/>
                </a:lnTo>
                <a:lnTo>
                  <a:pt x="1207" y="522"/>
                </a:lnTo>
                <a:lnTo>
                  <a:pt x="1207" y="533"/>
                </a:lnTo>
                <a:lnTo>
                  <a:pt x="1201" y="539"/>
                </a:lnTo>
                <a:lnTo>
                  <a:pt x="1190" y="562"/>
                </a:lnTo>
                <a:lnTo>
                  <a:pt x="1179" y="562"/>
                </a:lnTo>
                <a:lnTo>
                  <a:pt x="1179" y="556"/>
                </a:lnTo>
                <a:lnTo>
                  <a:pt x="1179" y="550"/>
                </a:lnTo>
                <a:lnTo>
                  <a:pt x="1173" y="545"/>
                </a:lnTo>
                <a:lnTo>
                  <a:pt x="1167" y="545"/>
                </a:lnTo>
                <a:lnTo>
                  <a:pt x="1162" y="545"/>
                </a:lnTo>
                <a:lnTo>
                  <a:pt x="1156" y="545"/>
                </a:lnTo>
                <a:lnTo>
                  <a:pt x="1150" y="539"/>
                </a:lnTo>
                <a:lnTo>
                  <a:pt x="1150" y="528"/>
                </a:lnTo>
                <a:lnTo>
                  <a:pt x="1150" y="522"/>
                </a:lnTo>
                <a:lnTo>
                  <a:pt x="1145" y="516"/>
                </a:lnTo>
                <a:lnTo>
                  <a:pt x="1139" y="511"/>
                </a:lnTo>
                <a:lnTo>
                  <a:pt x="1133" y="511"/>
                </a:lnTo>
                <a:lnTo>
                  <a:pt x="1128" y="516"/>
                </a:lnTo>
                <a:lnTo>
                  <a:pt x="1122" y="516"/>
                </a:lnTo>
                <a:lnTo>
                  <a:pt x="1116" y="522"/>
                </a:lnTo>
                <a:lnTo>
                  <a:pt x="1111" y="522"/>
                </a:lnTo>
                <a:lnTo>
                  <a:pt x="1105" y="522"/>
                </a:lnTo>
                <a:lnTo>
                  <a:pt x="1105" y="516"/>
                </a:lnTo>
                <a:lnTo>
                  <a:pt x="1105" y="522"/>
                </a:lnTo>
                <a:lnTo>
                  <a:pt x="1099" y="522"/>
                </a:lnTo>
                <a:lnTo>
                  <a:pt x="1088" y="522"/>
                </a:lnTo>
                <a:lnTo>
                  <a:pt x="1082" y="522"/>
                </a:lnTo>
                <a:lnTo>
                  <a:pt x="1077" y="522"/>
                </a:lnTo>
                <a:lnTo>
                  <a:pt x="1071" y="522"/>
                </a:lnTo>
                <a:lnTo>
                  <a:pt x="1071" y="528"/>
                </a:lnTo>
                <a:lnTo>
                  <a:pt x="1065" y="533"/>
                </a:lnTo>
                <a:lnTo>
                  <a:pt x="1060" y="539"/>
                </a:lnTo>
                <a:lnTo>
                  <a:pt x="1060" y="545"/>
                </a:lnTo>
                <a:lnTo>
                  <a:pt x="1054" y="545"/>
                </a:lnTo>
                <a:lnTo>
                  <a:pt x="1048" y="545"/>
                </a:lnTo>
                <a:lnTo>
                  <a:pt x="1043" y="545"/>
                </a:lnTo>
                <a:lnTo>
                  <a:pt x="1043" y="550"/>
                </a:lnTo>
                <a:lnTo>
                  <a:pt x="1037" y="550"/>
                </a:lnTo>
                <a:lnTo>
                  <a:pt x="1031" y="545"/>
                </a:lnTo>
                <a:lnTo>
                  <a:pt x="1026" y="545"/>
                </a:lnTo>
                <a:lnTo>
                  <a:pt x="1020" y="545"/>
                </a:lnTo>
                <a:lnTo>
                  <a:pt x="1020" y="550"/>
                </a:lnTo>
                <a:lnTo>
                  <a:pt x="1014" y="550"/>
                </a:lnTo>
                <a:lnTo>
                  <a:pt x="1014" y="545"/>
                </a:lnTo>
                <a:lnTo>
                  <a:pt x="1009" y="545"/>
                </a:lnTo>
                <a:lnTo>
                  <a:pt x="1009" y="550"/>
                </a:lnTo>
                <a:lnTo>
                  <a:pt x="1003" y="550"/>
                </a:lnTo>
                <a:lnTo>
                  <a:pt x="1003" y="556"/>
                </a:lnTo>
                <a:lnTo>
                  <a:pt x="997" y="556"/>
                </a:lnTo>
                <a:lnTo>
                  <a:pt x="997" y="562"/>
                </a:lnTo>
                <a:lnTo>
                  <a:pt x="992" y="562"/>
                </a:lnTo>
                <a:lnTo>
                  <a:pt x="992" y="567"/>
                </a:lnTo>
                <a:lnTo>
                  <a:pt x="986" y="567"/>
                </a:lnTo>
                <a:lnTo>
                  <a:pt x="986" y="573"/>
                </a:lnTo>
                <a:lnTo>
                  <a:pt x="986" y="579"/>
                </a:lnTo>
                <a:lnTo>
                  <a:pt x="980" y="579"/>
                </a:lnTo>
                <a:lnTo>
                  <a:pt x="975" y="579"/>
                </a:lnTo>
                <a:lnTo>
                  <a:pt x="980" y="579"/>
                </a:lnTo>
                <a:lnTo>
                  <a:pt x="980" y="584"/>
                </a:lnTo>
                <a:lnTo>
                  <a:pt x="975" y="584"/>
                </a:lnTo>
                <a:lnTo>
                  <a:pt x="969" y="590"/>
                </a:lnTo>
                <a:lnTo>
                  <a:pt x="975" y="590"/>
                </a:lnTo>
                <a:lnTo>
                  <a:pt x="969" y="596"/>
                </a:lnTo>
                <a:lnTo>
                  <a:pt x="963" y="590"/>
                </a:lnTo>
                <a:lnTo>
                  <a:pt x="963" y="596"/>
                </a:lnTo>
                <a:lnTo>
                  <a:pt x="958" y="596"/>
                </a:lnTo>
                <a:lnTo>
                  <a:pt x="958" y="590"/>
                </a:lnTo>
                <a:lnTo>
                  <a:pt x="952" y="590"/>
                </a:lnTo>
                <a:lnTo>
                  <a:pt x="952" y="584"/>
                </a:lnTo>
                <a:lnTo>
                  <a:pt x="946" y="584"/>
                </a:lnTo>
                <a:lnTo>
                  <a:pt x="946" y="590"/>
                </a:lnTo>
                <a:lnTo>
                  <a:pt x="941" y="590"/>
                </a:lnTo>
                <a:lnTo>
                  <a:pt x="941" y="596"/>
                </a:lnTo>
                <a:lnTo>
                  <a:pt x="935" y="596"/>
                </a:lnTo>
                <a:lnTo>
                  <a:pt x="935" y="601"/>
                </a:lnTo>
                <a:lnTo>
                  <a:pt x="929" y="607"/>
                </a:lnTo>
                <a:lnTo>
                  <a:pt x="929" y="601"/>
                </a:lnTo>
                <a:lnTo>
                  <a:pt x="924" y="601"/>
                </a:lnTo>
                <a:lnTo>
                  <a:pt x="918" y="601"/>
                </a:lnTo>
                <a:lnTo>
                  <a:pt x="912" y="607"/>
                </a:lnTo>
                <a:lnTo>
                  <a:pt x="907" y="601"/>
                </a:lnTo>
                <a:lnTo>
                  <a:pt x="901" y="601"/>
                </a:lnTo>
                <a:lnTo>
                  <a:pt x="895" y="601"/>
                </a:lnTo>
                <a:lnTo>
                  <a:pt x="901" y="601"/>
                </a:lnTo>
                <a:lnTo>
                  <a:pt x="901" y="607"/>
                </a:lnTo>
                <a:lnTo>
                  <a:pt x="901" y="613"/>
                </a:lnTo>
                <a:lnTo>
                  <a:pt x="895" y="613"/>
                </a:lnTo>
                <a:lnTo>
                  <a:pt x="890" y="613"/>
                </a:lnTo>
                <a:lnTo>
                  <a:pt x="890" y="618"/>
                </a:lnTo>
                <a:lnTo>
                  <a:pt x="890" y="624"/>
                </a:lnTo>
                <a:lnTo>
                  <a:pt x="890" y="630"/>
                </a:lnTo>
                <a:lnTo>
                  <a:pt x="884" y="630"/>
                </a:lnTo>
                <a:lnTo>
                  <a:pt x="878" y="630"/>
                </a:lnTo>
                <a:lnTo>
                  <a:pt x="884" y="630"/>
                </a:lnTo>
                <a:lnTo>
                  <a:pt x="878" y="635"/>
                </a:lnTo>
                <a:lnTo>
                  <a:pt x="878" y="641"/>
                </a:lnTo>
                <a:lnTo>
                  <a:pt x="873" y="641"/>
                </a:lnTo>
                <a:lnTo>
                  <a:pt x="873" y="635"/>
                </a:lnTo>
                <a:lnTo>
                  <a:pt x="867" y="635"/>
                </a:lnTo>
                <a:lnTo>
                  <a:pt x="867" y="641"/>
                </a:lnTo>
                <a:lnTo>
                  <a:pt x="873" y="641"/>
                </a:lnTo>
                <a:lnTo>
                  <a:pt x="878" y="647"/>
                </a:lnTo>
                <a:lnTo>
                  <a:pt x="873" y="647"/>
                </a:lnTo>
                <a:lnTo>
                  <a:pt x="867" y="647"/>
                </a:lnTo>
                <a:lnTo>
                  <a:pt x="873" y="647"/>
                </a:lnTo>
                <a:lnTo>
                  <a:pt x="873" y="652"/>
                </a:lnTo>
                <a:lnTo>
                  <a:pt x="873" y="658"/>
                </a:lnTo>
                <a:lnTo>
                  <a:pt x="867" y="658"/>
                </a:lnTo>
                <a:lnTo>
                  <a:pt x="861" y="664"/>
                </a:lnTo>
                <a:lnTo>
                  <a:pt x="861" y="669"/>
                </a:lnTo>
                <a:lnTo>
                  <a:pt x="856" y="669"/>
                </a:lnTo>
                <a:lnTo>
                  <a:pt x="850" y="669"/>
                </a:lnTo>
                <a:lnTo>
                  <a:pt x="850" y="675"/>
                </a:lnTo>
                <a:lnTo>
                  <a:pt x="844" y="681"/>
                </a:lnTo>
                <a:lnTo>
                  <a:pt x="839" y="681"/>
                </a:lnTo>
                <a:lnTo>
                  <a:pt x="839" y="686"/>
                </a:lnTo>
                <a:lnTo>
                  <a:pt x="833" y="686"/>
                </a:lnTo>
                <a:lnTo>
                  <a:pt x="839" y="692"/>
                </a:lnTo>
                <a:lnTo>
                  <a:pt x="839" y="698"/>
                </a:lnTo>
                <a:lnTo>
                  <a:pt x="833" y="698"/>
                </a:lnTo>
                <a:lnTo>
                  <a:pt x="827" y="703"/>
                </a:lnTo>
                <a:lnTo>
                  <a:pt x="822" y="703"/>
                </a:lnTo>
                <a:lnTo>
                  <a:pt x="816" y="703"/>
                </a:lnTo>
                <a:lnTo>
                  <a:pt x="816" y="709"/>
                </a:lnTo>
                <a:lnTo>
                  <a:pt x="822" y="709"/>
                </a:lnTo>
                <a:lnTo>
                  <a:pt x="822" y="715"/>
                </a:lnTo>
                <a:lnTo>
                  <a:pt x="816" y="715"/>
                </a:lnTo>
                <a:lnTo>
                  <a:pt x="810" y="720"/>
                </a:lnTo>
                <a:lnTo>
                  <a:pt x="810" y="726"/>
                </a:lnTo>
                <a:lnTo>
                  <a:pt x="805" y="726"/>
                </a:lnTo>
                <a:lnTo>
                  <a:pt x="810" y="732"/>
                </a:lnTo>
                <a:lnTo>
                  <a:pt x="805" y="737"/>
                </a:lnTo>
                <a:lnTo>
                  <a:pt x="799" y="737"/>
                </a:lnTo>
                <a:lnTo>
                  <a:pt x="799" y="743"/>
                </a:lnTo>
                <a:lnTo>
                  <a:pt x="793" y="749"/>
                </a:lnTo>
                <a:lnTo>
                  <a:pt x="788" y="749"/>
                </a:lnTo>
                <a:lnTo>
                  <a:pt x="793" y="754"/>
                </a:lnTo>
                <a:lnTo>
                  <a:pt x="788" y="754"/>
                </a:lnTo>
                <a:lnTo>
                  <a:pt x="782" y="754"/>
                </a:lnTo>
                <a:lnTo>
                  <a:pt x="776" y="760"/>
                </a:lnTo>
                <a:lnTo>
                  <a:pt x="776" y="766"/>
                </a:lnTo>
                <a:lnTo>
                  <a:pt x="776" y="771"/>
                </a:lnTo>
                <a:lnTo>
                  <a:pt x="771" y="766"/>
                </a:lnTo>
                <a:lnTo>
                  <a:pt x="765" y="766"/>
                </a:lnTo>
                <a:lnTo>
                  <a:pt x="765" y="771"/>
                </a:lnTo>
                <a:lnTo>
                  <a:pt x="759" y="771"/>
                </a:lnTo>
                <a:lnTo>
                  <a:pt x="759" y="777"/>
                </a:lnTo>
                <a:lnTo>
                  <a:pt x="759" y="771"/>
                </a:lnTo>
                <a:lnTo>
                  <a:pt x="754" y="771"/>
                </a:lnTo>
                <a:lnTo>
                  <a:pt x="748" y="777"/>
                </a:lnTo>
                <a:lnTo>
                  <a:pt x="742" y="777"/>
                </a:lnTo>
                <a:lnTo>
                  <a:pt x="737" y="777"/>
                </a:lnTo>
                <a:lnTo>
                  <a:pt x="731" y="777"/>
                </a:lnTo>
                <a:lnTo>
                  <a:pt x="725" y="783"/>
                </a:lnTo>
                <a:lnTo>
                  <a:pt x="725" y="788"/>
                </a:lnTo>
                <a:lnTo>
                  <a:pt x="720" y="788"/>
                </a:lnTo>
                <a:lnTo>
                  <a:pt x="714" y="788"/>
                </a:lnTo>
                <a:lnTo>
                  <a:pt x="714" y="794"/>
                </a:lnTo>
                <a:lnTo>
                  <a:pt x="708" y="794"/>
                </a:lnTo>
                <a:lnTo>
                  <a:pt x="703" y="794"/>
                </a:lnTo>
                <a:lnTo>
                  <a:pt x="703" y="800"/>
                </a:lnTo>
                <a:lnTo>
                  <a:pt x="703" y="811"/>
                </a:lnTo>
                <a:lnTo>
                  <a:pt x="708" y="811"/>
                </a:lnTo>
                <a:lnTo>
                  <a:pt x="714" y="817"/>
                </a:lnTo>
                <a:lnTo>
                  <a:pt x="714" y="822"/>
                </a:lnTo>
                <a:lnTo>
                  <a:pt x="720" y="822"/>
                </a:lnTo>
                <a:lnTo>
                  <a:pt x="720" y="828"/>
                </a:lnTo>
                <a:lnTo>
                  <a:pt x="725" y="828"/>
                </a:lnTo>
                <a:lnTo>
                  <a:pt x="725" y="839"/>
                </a:lnTo>
                <a:lnTo>
                  <a:pt x="731" y="845"/>
                </a:lnTo>
                <a:lnTo>
                  <a:pt x="731" y="851"/>
                </a:lnTo>
                <a:lnTo>
                  <a:pt x="737" y="862"/>
                </a:lnTo>
                <a:lnTo>
                  <a:pt x="737" y="868"/>
                </a:lnTo>
                <a:lnTo>
                  <a:pt x="742" y="879"/>
                </a:lnTo>
                <a:lnTo>
                  <a:pt x="742" y="885"/>
                </a:lnTo>
                <a:lnTo>
                  <a:pt x="748" y="890"/>
                </a:lnTo>
                <a:lnTo>
                  <a:pt x="748" y="896"/>
                </a:lnTo>
                <a:lnTo>
                  <a:pt x="754" y="896"/>
                </a:lnTo>
                <a:lnTo>
                  <a:pt x="754" y="902"/>
                </a:lnTo>
                <a:lnTo>
                  <a:pt x="765" y="913"/>
                </a:lnTo>
                <a:lnTo>
                  <a:pt x="771" y="913"/>
                </a:lnTo>
                <a:lnTo>
                  <a:pt x="771" y="924"/>
                </a:lnTo>
                <a:lnTo>
                  <a:pt x="771" y="930"/>
                </a:lnTo>
                <a:lnTo>
                  <a:pt x="776" y="936"/>
                </a:lnTo>
                <a:lnTo>
                  <a:pt x="782" y="936"/>
                </a:lnTo>
                <a:lnTo>
                  <a:pt x="793" y="936"/>
                </a:lnTo>
                <a:lnTo>
                  <a:pt x="793" y="941"/>
                </a:lnTo>
                <a:lnTo>
                  <a:pt x="788" y="941"/>
                </a:lnTo>
                <a:lnTo>
                  <a:pt x="793" y="947"/>
                </a:lnTo>
                <a:lnTo>
                  <a:pt x="788" y="947"/>
                </a:lnTo>
                <a:lnTo>
                  <a:pt x="788" y="953"/>
                </a:lnTo>
                <a:lnTo>
                  <a:pt x="782" y="953"/>
                </a:lnTo>
                <a:lnTo>
                  <a:pt x="782" y="959"/>
                </a:lnTo>
                <a:lnTo>
                  <a:pt x="782" y="964"/>
                </a:lnTo>
                <a:lnTo>
                  <a:pt x="782" y="970"/>
                </a:lnTo>
                <a:lnTo>
                  <a:pt x="788" y="970"/>
                </a:lnTo>
                <a:lnTo>
                  <a:pt x="788" y="976"/>
                </a:lnTo>
                <a:lnTo>
                  <a:pt x="793" y="976"/>
                </a:lnTo>
                <a:lnTo>
                  <a:pt x="793" y="981"/>
                </a:lnTo>
                <a:lnTo>
                  <a:pt x="788" y="981"/>
                </a:lnTo>
                <a:lnTo>
                  <a:pt x="782" y="981"/>
                </a:lnTo>
                <a:lnTo>
                  <a:pt x="776" y="987"/>
                </a:lnTo>
                <a:lnTo>
                  <a:pt x="782" y="987"/>
                </a:lnTo>
                <a:lnTo>
                  <a:pt x="782" y="993"/>
                </a:lnTo>
                <a:lnTo>
                  <a:pt x="788" y="993"/>
                </a:lnTo>
                <a:lnTo>
                  <a:pt x="793" y="993"/>
                </a:lnTo>
                <a:lnTo>
                  <a:pt x="793" y="998"/>
                </a:lnTo>
                <a:lnTo>
                  <a:pt x="788" y="1004"/>
                </a:lnTo>
                <a:lnTo>
                  <a:pt x="782" y="1004"/>
                </a:lnTo>
                <a:lnTo>
                  <a:pt x="776" y="1004"/>
                </a:lnTo>
                <a:lnTo>
                  <a:pt x="771" y="1004"/>
                </a:lnTo>
                <a:lnTo>
                  <a:pt x="771" y="1010"/>
                </a:lnTo>
                <a:lnTo>
                  <a:pt x="776" y="1010"/>
                </a:lnTo>
                <a:lnTo>
                  <a:pt x="782" y="1010"/>
                </a:lnTo>
                <a:lnTo>
                  <a:pt x="782" y="1015"/>
                </a:lnTo>
                <a:lnTo>
                  <a:pt x="776" y="1015"/>
                </a:lnTo>
                <a:lnTo>
                  <a:pt x="771" y="1015"/>
                </a:lnTo>
                <a:lnTo>
                  <a:pt x="765" y="1015"/>
                </a:lnTo>
                <a:lnTo>
                  <a:pt x="765" y="1021"/>
                </a:lnTo>
                <a:lnTo>
                  <a:pt x="771" y="1021"/>
                </a:lnTo>
                <a:lnTo>
                  <a:pt x="771" y="1027"/>
                </a:lnTo>
                <a:lnTo>
                  <a:pt x="765" y="1027"/>
                </a:lnTo>
                <a:lnTo>
                  <a:pt x="765" y="1032"/>
                </a:lnTo>
                <a:lnTo>
                  <a:pt x="759" y="1032"/>
                </a:lnTo>
                <a:lnTo>
                  <a:pt x="754" y="1032"/>
                </a:lnTo>
                <a:lnTo>
                  <a:pt x="754" y="1027"/>
                </a:lnTo>
                <a:lnTo>
                  <a:pt x="748" y="1027"/>
                </a:lnTo>
                <a:lnTo>
                  <a:pt x="748" y="1032"/>
                </a:lnTo>
                <a:lnTo>
                  <a:pt x="742" y="1032"/>
                </a:lnTo>
                <a:lnTo>
                  <a:pt x="742" y="1027"/>
                </a:lnTo>
                <a:lnTo>
                  <a:pt x="737" y="1027"/>
                </a:lnTo>
                <a:lnTo>
                  <a:pt x="737" y="1032"/>
                </a:lnTo>
                <a:lnTo>
                  <a:pt x="731" y="1032"/>
                </a:lnTo>
                <a:lnTo>
                  <a:pt x="725" y="1032"/>
                </a:lnTo>
                <a:lnTo>
                  <a:pt x="720" y="1032"/>
                </a:lnTo>
                <a:lnTo>
                  <a:pt x="720" y="1038"/>
                </a:lnTo>
                <a:lnTo>
                  <a:pt x="720" y="1044"/>
                </a:lnTo>
                <a:lnTo>
                  <a:pt x="714" y="1044"/>
                </a:lnTo>
                <a:lnTo>
                  <a:pt x="708" y="1044"/>
                </a:lnTo>
                <a:lnTo>
                  <a:pt x="708" y="1038"/>
                </a:lnTo>
                <a:lnTo>
                  <a:pt x="703" y="1038"/>
                </a:lnTo>
                <a:lnTo>
                  <a:pt x="697" y="1038"/>
                </a:lnTo>
                <a:lnTo>
                  <a:pt x="691" y="1038"/>
                </a:lnTo>
                <a:lnTo>
                  <a:pt x="686" y="1038"/>
                </a:lnTo>
                <a:lnTo>
                  <a:pt x="686" y="1044"/>
                </a:lnTo>
                <a:lnTo>
                  <a:pt x="691" y="1049"/>
                </a:lnTo>
                <a:lnTo>
                  <a:pt x="691" y="1055"/>
                </a:lnTo>
                <a:lnTo>
                  <a:pt x="686" y="1055"/>
                </a:lnTo>
                <a:lnTo>
                  <a:pt x="680" y="1055"/>
                </a:lnTo>
                <a:lnTo>
                  <a:pt x="674" y="1055"/>
                </a:lnTo>
                <a:lnTo>
                  <a:pt x="669" y="1061"/>
                </a:lnTo>
                <a:lnTo>
                  <a:pt x="669" y="1066"/>
                </a:lnTo>
                <a:lnTo>
                  <a:pt x="669" y="1072"/>
                </a:lnTo>
                <a:lnTo>
                  <a:pt x="663" y="1072"/>
                </a:lnTo>
                <a:lnTo>
                  <a:pt x="657" y="1072"/>
                </a:lnTo>
                <a:lnTo>
                  <a:pt x="652" y="1072"/>
                </a:lnTo>
                <a:lnTo>
                  <a:pt x="652" y="1078"/>
                </a:lnTo>
                <a:lnTo>
                  <a:pt x="646" y="1078"/>
                </a:lnTo>
                <a:lnTo>
                  <a:pt x="640" y="1072"/>
                </a:lnTo>
                <a:lnTo>
                  <a:pt x="635" y="1066"/>
                </a:lnTo>
                <a:lnTo>
                  <a:pt x="629" y="1066"/>
                </a:lnTo>
                <a:lnTo>
                  <a:pt x="623" y="1066"/>
                </a:lnTo>
                <a:lnTo>
                  <a:pt x="623" y="1072"/>
                </a:lnTo>
                <a:lnTo>
                  <a:pt x="618" y="1072"/>
                </a:lnTo>
                <a:lnTo>
                  <a:pt x="612" y="1072"/>
                </a:lnTo>
                <a:lnTo>
                  <a:pt x="606" y="1078"/>
                </a:lnTo>
                <a:lnTo>
                  <a:pt x="601" y="1078"/>
                </a:lnTo>
                <a:lnTo>
                  <a:pt x="601" y="1072"/>
                </a:lnTo>
                <a:lnTo>
                  <a:pt x="595" y="1072"/>
                </a:lnTo>
                <a:lnTo>
                  <a:pt x="595" y="1078"/>
                </a:lnTo>
                <a:lnTo>
                  <a:pt x="589" y="1078"/>
                </a:lnTo>
                <a:lnTo>
                  <a:pt x="589" y="1083"/>
                </a:lnTo>
                <a:lnTo>
                  <a:pt x="584" y="1078"/>
                </a:lnTo>
                <a:lnTo>
                  <a:pt x="589" y="1078"/>
                </a:lnTo>
                <a:lnTo>
                  <a:pt x="589" y="1072"/>
                </a:lnTo>
                <a:lnTo>
                  <a:pt x="584" y="1072"/>
                </a:lnTo>
                <a:lnTo>
                  <a:pt x="578" y="1072"/>
                </a:lnTo>
                <a:lnTo>
                  <a:pt x="572" y="1072"/>
                </a:lnTo>
                <a:lnTo>
                  <a:pt x="567" y="1072"/>
                </a:lnTo>
                <a:lnTo>
                  <a:pt x="561" y="1066"/>
                </a:lnTo>
                <a:lnTo>
                  <a:pt x="555" y="1066"/>
                </a:lnTo>
                <a:lnTo>
                  <a:pt x="549" y="1066"/>
                </a:lnTo>
                <a:lnTo>
                  <a:pt x="549" y="1061"/>
                </a:lnTo>
                <a:lnTo>
                  <a:pt x="549" y="1055"/>
                </a:lnTo>
                <a:lnTo>
                  <a:pt x="538" y="1049"/>
                </a:lnTo>
                <a:lnTo>
                  <a:pt x="532" y="1049"/>
                </a:lnTo>
                <a:lnTo>
                  <a:pt x="527" y="1049"/>
                </a:lnTo>
                <a:lnTo>
                  <a:pt x="521" y="1049"/>
                </a:lnTo>
                <a:lnTo>
                  <a:pt x="515" y="1055"/>
                </a:lnTo>
                <a:lnTo>
                  <a:pt x="510" y="1055"/>
                </a:lnTo>
                <a:lnTo>
                  <a:pt x="504" y="1055"/>
                </a:lnTo>
                <a:lnTo>
                  <a:pt x="498" y="1055"/>
                </a:lnTo>
                <a:lnTo>
                  <a:pt x="493" y="1049"/>
                </a:lnTo>
                <a:lnTo>
                  <a:pt x="493" y="1044"/>
                </a:lnTo>
                <a:lnTo>
                  <a:pt x="487" y="1038"/>
                </a:lnTo>
                <a:lnTo>
                  <a:pt x="481" y="1038"/>
                </a:lnTo>
                <a:lnTo>
                  <a:pt x="476" y="1038"/>
                </a:lnTo>
                <a:lnTo>
                  <a:pt x="476" y="1032"/>
                </a:lnTo>
                <a:lnTo>
                  <a:pt x="470" y="1027"/>
                </a:lnTo>
                <a:lnTo>
                  <a:pt x="464" y="1027"/>
                </a:lnTo>
                <a:lnTo>
                  <a:pt x="459" y="1027"/>
                </a:lnTo>
                <a:lnTo>
                  <a:pt x="459" y="1032"/>
                </a:lnTo>
                <a:lnTo>
                  <a:pt x="464" y="1032"/>
                </a:lnTo>
                <a:lnTo>
                  <a:pt x="464" y="1038"/>
                </a:lnTo>
                <a:lnTo>
                  <a:pt x="464" y="1044"/>
                </a:lnTo>
                <a:lnTo>
                  <a:pt x="464" y="1038"/>
                </a:lnTo>
                <a:lnTo>
                  <a:pt x="459" y="1038"/>
                </a:lnTo>
                <a:lnTo>
                  <a:pt x="459" y="1044"/>
                </a:lnTo>
                <a:lnTo>
                  <a:pt x="453" y="1038"/>
                </a:lnTo>
                <a:lnTo>
                  <a:pt x="447" y="1038"/>
                </a:lnTo>
                <a:lnTo>
                  <a:pt x="442" y="1038"/>
                </a:lnTo>
                <a:lnTo>
                  <a:pt x="436" y="1038"/>
                </a:lnTo>
                <a:lnTo>
                  <a:pt x="436" y="1044"/>
                </a:lnTo>
                <a:lnTo>
                  <a:pt x="430" y="1044"/>
                </a:lnTo>
                <a:lnTo>
                  <a:pt x="430" y="1038"/>
                </a:lnTo>
                <a:lnTo>
                  <a:pt x="425" y="1038"/>
                </a:lnTo>
                <a:lnTo>
                  <a:pt x="425" y="1044"/>
                </a:lnTo>
                <a:lnTo>
                  <a:pt x="419" y="1044"/>
                </a:lnTo>
                <a:lnTo>
                  <a:pt x="413" y="1044"/>
                </a:lnTo>
                <a:lnTo>
                  <a:pt x="408" y="1049"/>
                </a:lnTo>
                <a:lnTo>
                  <a:pt x="408" y="1055"/>
                </a:lnTo>
                <a:lnTo>
                  <a:pt x="402" y="1055"/>
                </a:lnTo>
                <a:lnTo>
                  <a:pt x="402" y="1049"/>
                </a:lnTo>
                <a:lnTo>
                  <a:pt x="402" y="1044"/>
                </a:lnTo>
                <a:lnTo>
                  <a:pt x="396" y="1044"/>
                </a:lnTo>
                <a:lnTo>
                  <a:pt x="391" y="1044"/>
                </a:lnTo>
                <a:lnTo>
                  <a:pt x="385" y="1044"/>
                </a:lnTo>
                <a:lnTo>
                  <a:pt x="385" y="1049"/>
                </a:lnTo>
                <a:lnTo>
                  <a:pt x="391" y="1049"/>
                </a:lnTo>
                <a:lnTo>
                  <a:pt x="391" y="1055"/>
                </a:lnTo>
                <a:lnTo>
                  <a:pt x="391" y="1061"/>
                </a:lnTo>
                <a:lnTo>
                  <a:pt x="385" y="1061"/>
                </a:lnTo>
                <a:lnTo>
                  <a:pt x="379" y="1066"/>
                </a:lnTo>
                <a:lnTo>
                  <a:pt x="374" y="1066"/>
                </a:lnTo>
                <a:lnTo>
                  <a:pt x="374" y="1072"/>
                </a:lnTo>
                <a:lnTo>
                  <a:pt x="368" y="1072"/>
                </a:lnTo>
                <a:lnTo>
                  <a:pt x="362" y="1072"/>
                </a:lnTo>
                <a:lnTo>
                  <a:pt x="362" y="1078"/>
                </a:lnTo>
                <a:lnTo>
                  <a:pt x="357" y="1078"/>
                </a:lnTo>
                <a:lnTo>
                  <a:pt x="351" y="1078"/>
                </a:lnTo>
                <a:lnTo>
                  <a:pt x="345" y="1078"/>
                </a:lnTo>
                <a:lnTo>
                  <a:pt x="340" y="1078"/>
                </a:lnTo>
                <a:lnTo>
                  <a:pt x="334" y="1078"/>
                </a:lnTo>
                <a:lnTo>
                  <a:pt x="334" y="1072"/>
                </a:lnTo>
                <a:lnTo>
                  <a:pt x="328" y="1072"/>
                </a:lnTo>
                <a:lnTo>
                  <a:pt x="323" y="1072"/>
                </a:lnTo>
                <a:lnTo>
                  <a:pt x="323" y="1066"/>
                </a:lnTo>
                <a:lnTo>
                  <a:pt x="323" y="1061"/>
                </a:lnTo>
                <a:lnTo>
                  <a:pt x="317" y="1061"/>
                </a:lnTo>
                <a:lnTo>
                  <a:pt x="317" y="1055"/>
                </a:lnTo>
                <a:lnTo>
                  <a:pt x="311" y="1055"/>
                </a:lnTo>
                <a:lnTo>
                  <a:pt x="311" y="1061"/>
                </a:lnTo>
                <a:lnTo>
                  <a:pt x="306" y="1061"/>
                </a:lnTo>
                <a:lnTo>
                  <a:pt x="300" y="1061"/>
                </a:lnTo>
                <a:lnTo>
                  <a:pt x="294" y="1061"/>
                </a:lnTo>
                <a:lnTo>
                  <a:pt x="289" y="1061"/>
                </a:lnTo>
                <a:lnTo>
                  <a:pt x="283" y="1061"/>
                </a:lnTo>
                <a:lnTo>
                  <a:pt x="277" y="1061"/>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58" name="Freeform 11"/>
          <p:cNvSpPr>
            <a:spLocks/>
          </p:cNvSpPr>
          <p:nvPr/>
        </p:nvSpPr>
        <p:spPr bwMode="gray">
          <a:xfrm>
            <a:off x="4205703" y="1748556"/>
            <a:ext cx="1306906" cy="1235282"/>
          </a:xfrm>
          <a:custGeom>
            <a:avLst/>
            <a:gdLst>
              <a:gd name="T0" fmla="*/ 7638 w 1009"/>
              <a:gd name="T1" fmla="*/ 201390 h 958"/>
              <a:gd name="T2" fmla="*/ 35461 w 1009"/>
              <a:gd name="T3" fmla="*/ 189094 h 958"/>
              <a:gd name="T4" fmla="*/ 24822 w 1009"/>
              <a:gd name="T5" fmla="*/ 175157 h 958"/>
              <a:gd name="T6" fmla="*/ 13912 w 1009"/>
              <a:gd name="T7" fmla="*/ 157942 h 958"/>
              <a:gd name="T8" fmla="*/ 44735 w 1009"/>
              <a:gd name="T9" fmla="*/ 139361 h 958"/>
              <a:gd name="T10" fmla="*/ 55646 w 1009"/>
              <a:gd name="T11" fmla="*/ 119413 h 958"/>
              <a:gd name="T12" fmla="*/ 29459 w 1009"/>
              <a:gd name="T13" fmla="*/ 120780 h 958"/>
              <a:gd name="T14" fmla="*/ 29459 w 1009"/>
              <a:gd name="T15" fmla="*/ 106843 h 958"/>
              <a:gd name="T16" fmla="*/ 40098 w 1009"/>
              <a:gd name="T17" fmla="*/ 89901 h 958"/>
              <a:gd name="T18" fmla="*/ 10911 w 1009"/>
              <a:gd name="T19" fmla="*/ 94547 h 958"/>
              <a:gd name="T20" fmla="*/ 26186 w 1009"/>
              <a:gd name="T21" fmla="*/ 83616 h 958"/>
              <a:gd name="T22" fmla="*/ 46372 w 1009"/>
              <a:gd name="T23" fmla="*/ 72959 h 958"/>
              <a:gd name="T24" fmla="*/ 69558 w 1009"/>
              <a:gd name="T25" fmla="*/ 69681 h 958"/>
              <a:gd name="T26" fmla="*/ 83469 w 1009"/>
              <a:gd name="T27" fmla="*/ 69681 h 958"/>
              <a:gd name="T28" fmla="*/ 86470 w 1009"/>
              <a:gd name="T29" fmla="*/ 77605 h 958"/>
              <a:gd name="T30" fmla="*/ 102018 w 1009"/>
              <a:gd name="T31" fmla="*/ 91541 h 958"/>
              <a:gd name="T32" fmla="*/ 111293 w 1009"/>
              <a:gd name="T33" fmla="*/ 78971 h 958"/>
              <a:gd name="T34" fmla="*/ 150027 w 1009"/>
              <a:gd name="T35" fmla="*/ 54378 h 958"/>
              <a:gd name="T36" fmla="*/ 159301 w 1009"/>
              <a:gd name="T37" fmla="*/ 51099 h 958"/>
              <a:gd name="T38" fmla="*/ 174849 w 1009"/>
              <a:gd name="T39" fmla="*/ 46454 h 958"/>
              <a:gd name="T40" fmla="*/ 193398 w 1009"/>
              <a:gd name="T41" fmla="*/ 41808 h 958"/>
              <a:gd name="T42" fmla="*/ 194762 w 1009"/>
              <a:gd name="T43" fmla="*/ 59023 h 958"/>
              <a:gd name="T44" fmla="*/ 208674 w 1009"/>
              <a:gd name="T45" fmla="*/ 72959 h 958"/>
              <a:gd name="T46" fmla="*/ 217948 w 1009"/>
              <a:gd name="T47" fmla="*/ 78971 h 958"/>
              <a:gd name="T48" fmla="*/ 231859 w 1009"/>
              <a:gd name="T49" fmla="*/ 75965 h 958"/>
              <a:gd name="T50" fmla="*/ 225858 w 1009"/>
              <a:gd name="T51" fmla="*/ 65035 h 958"/>
              <a:gd name="T52" fmla="*/ 244407 w 1009"/>
              <a:gd name="T53" fmla="*/ 51099 h 958"/>
              <a:gd name="T54" fmla="*/ 230495 w 1009"/>
              <a:gd name="T55" fmla="*/ 34157 h 958"/>
              <a:gd name="T56" fmla="*/ 224222 w 1009"/>
              <a:gd name="T57" fmla="*/ 9291 h 958"/>
              <a:gd name="T58" fmla="*/ 235132 w 1009"/>
              <a:gd name="T59" fmla="*/ 4645 h 958"/>
              <a:gd name="T60" fmla="*/ 245771 w 1009"/>
              <a:gd name="T61" fmla="*/ 7924 h 958"/>
              <a:gd name="T62" fmla="*/ 255045 w 1009"/>
              <a:gd name="T63" fmla="*/ 6285 h 958"/>
              <a:gd name="T64" fmla="*/ 265956 w 1009"/>
              <a:gd name="T65" fmla="*/ 0 h 958"/>
              <a:gd name="T66" fmla="*/ 273594 w 1009"/>
              <a:gd name="T67" fmla="*/ 45087 h 958"/>
              <a:gd name="T68" fmla="*/ 273594 w 1009"/>
              <a:gd name="T69" fmla="*/ 100832 h 958"/>
              <a:gd name="T70" fmla="*/ 272230 w 1009"/>
              <a:gd name="T71" fmla="*/ 119413 h 958"/>
              <a:gd name="T72" fmla="*/ 267593 w 1009"/>
              <a:gd name="T73" fmla="*/ 144006 h 958"/>
              <a:gd name="T74" fmla="*/ 256682 w 1009"/>
              <a:gd name="T75" fmla="*/ 148651 h 958"/>
              <a:gd name="T76" fmla="*/ 239770 w 1009"/>
              <a:gd name="T77" fmla="*/ 136355 h 958"/>
              <a:gd name="T78" fmla="*/ 225858 w 1009"/>
              <a:gd name="T79" fmla="*/ 130070 h 958"/>
              <a:gd name="T80" fmla="*/ 208674 w 1009"/>
              <a:gd name="T81" fmla="*/ 144006 h 958"/>
              <a:gd name="T82" fmla="*/ 202672 w 1009"/>
              <a:gd name="T83" fmla="*/ 156576 h 958"/>
              <a:gd name="T84" fmla="*/ 191761 w 1009"/>
              <a:gd name="T85" fmla="*/ 173518 h 958"/>
              <a:gd name="T86" fmla="*/ 182487 w 1009"/>
              <a:gd name="T87" fmla="*/ 189094 h 958"/>
              <a:gd name="T88" fmla="*/ 180850 w 1009"/>
              <a:gd name="T89" fmla="*/ 207675 h 958"/>
              <a:gd name="T90" fmla="*/ 190125 w 1009"/>
              <a:gd name="T91" fmla="*/ 213960 h 958"/>
              <a:gd name="T92" fmla="*/ 193398 w 1009"/>
              <a:gd name="T93" fmla="*/ 224617 h 958"/>
              <a:gd name="T94" fmla="*/ 198035 w 1009"/>
              <a:gd name="T95" fmla="*/ 247843 h 958"/>
              <a:gd name="T96" fmla="*/ 177850 w 1009"/>
              <a:gd name="T97" fmla="*/ 246477 h 958"/>
              <a:gd name="T98" fmla="*/ 157664 w 1009"/>
              <a:gd name="T99" fmla="*/ 246477 h 958"/>
              <a:gd name="T100" fmla="*/ 137752 w 1009"/>
              <a:gd name="T101" fmla="*/ 249483 h 958"/>
              <a:gd name="T102" fmla="*/ 120567 w 1009"/>
              <a:gd name="T103" fmla="*/ 251123 h 958"/>
              <a:gd name="T104" fmla="*/ 106656 w 1009"/>
              <a:gd name="T105" fmla="*/ 257134 h 958"/>
              <a:gd name="T106" fmla="*/ 89743 w 1009"/>
              <a:gd name="T107" fmla="*/ 255768 h 958"/>
              <a:gd name="T108" fmla="*/ 80469 w 1009"/>
              <a:gd name="T109" fmla="*/ 241832 h 958"/>
              <a:gd name="T110" fmla="*/ 69558 w 1009"/>
              <a:gd name="T111" fmla="*/ 237187 h 958"/>
              <a:gd name="T112" fmla="*/ 55646 w 1009"/>
              <a:gd name="T113" fmla="*/ 227896 h 958"/>
              <a:gd name="T114" fmla="*/ 46372 w 1009"/>
              <a:gd name="T115" fmla="*/ 224617 h 958"/>
              <a:gd name="T116" fmla="*/ 34097 w 1009"/>
              <a:gd name="T117" fmla="*/ 223250 h 958"/>
              <a:gd name="T118" fmla="*/ 26186 w 1009"/>
              <a:gd name="T119" fmla="*/ 223250 h 958"/>
              <a:gd name="T120" fmla="*/ 18549 w 1009"/>
              <a:gd name="T121" fmla="*/ 229262 h 958"/>
              <a:gd name="T122" fmla="*/ 10911 w 1009"/>
              <a:gd name="T123" fmla="*/ 224617 h 958"/>
              <a:gd name="T124" fmla="*/ 0 w 1009"/>
              <a:gd name="T125" fmla="*/ 216965 h 95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9" h="958">
                <a:moveTo>
                  <a:pt x="0" y="794"/>
                </a:moveTo>
                <a:lnTo>
                  <a:pt x="11" y="783"/>
                </a:lnTo>
                <a:lnTo>
                  <a:pt x="6" y="783"/>
                </a:lnTo>
                <a:lnTo>
                  <a:pt x="6" y="771"/>
                </a:lnTo>
                <a:lnTo>
                  <a:pt x="11" y="771"/>
                </a:lnTo>
                <a:lnTo>
                  <a:pt x="11" y="766"/>
                </a:lnTo>
                <a:lnTo>
                  <a:pt x="28" y="760"/>
                </a:lnTo>
                <a:lnTo>
                  <a:pt x="28" y="754"/>
                </a:lnTo>
                <a:lnTo>
                  <a:pt x="23" y="754"/>
                </a:lnTo>
                <a:lnTo>
                  <a:pt x="28" y="737"/>
                </a:lnTo>
                <a:lnTo>
                  <a:pt x="40" y="731"/>
                </a:lnTo>
                <a:lnTo>
                  <a:pt x="51" y="726"/>
                </a:lnTo>
                <a:lnTo>
                  <a:pt x="51" y="720"/>
                </a:lnTo>
                <a:lnTo>
                  <a:pt x="62" y="714"/>
                </a:lnTo>
                <a:lnTo>
                  <a:pt x="62" y="709"/>
                </a:lnTo>
                <a:lnTo>
                  <a:pt x="74" y="703"/>
                </a:lnTo>
                <a:lnTo>
                  <a:pt x="85" y="703"/>
                </a:lnTo>
                <a:lnTo>
                  <a:pt x="91" y="703"/>
                </a:lnTo>
                <a:lnTo>
                  <a:pt x="96" y="697"/>
                </a:lnTo>
                <a:lnTo>
                  <a:pt x="130" y="692"/>
                </a:lnTo>
                <a:lnTo>
                  <a:pt x="130" y="675"/>
                </a:lnTo>
                <a:lnTo>
                  <a:pt x="159" y="663"/>
                </a:lnTo>
                <a:lnTo>
                  <a:pt x="147" y="641"/>
                </a:lnTo>
                <a:lnTo>
                  <a:pt x="142" y="641"/>
                </a:lnTo>
                <a:lnTo>
                  <a:pt x="136" y="641"/>
                </a:lnTo>
                <a:lnTo>
                  <a:pt x="130" y="641"/>
                </a:lnTo>
                <a:lnTo>
                  <a:pt x="113" y="652"/>
                </a:lnTo>
                <a:lnTo>
                  <a:pt x="102" y="646"/>
                </a:lnTo>
                <a:lnTo>
                  <a:pt x="102" y="641"/>
                </a:lnTo>
                <a:lnTo>
                  <a:pt x="91" y="641"/>
                </a:lnTo>
                <a:lnTo>
                  <a:pt x="91" y="635"/>
                </a:lnTo>
                <a:lnTo>
                  <a:pt x="85" y="624"/>
                </a:lnTo>
                <a:lnTo>
                  <a:pt x="79" y="624"/>
                </a:lnTo>
                <a:lnTo>
                  <a:pt x="74" y="618"/>
                </a:lnTo>
                <a:lnTo>
                  <a:pt x="68" y="612"/>
                </a:lnTo>
                <a:lnTo>
                  <a:pt x="68" y="601"/>
                </a:lnTo>
                <a:lnTo>
                  <a:pt x="68" y="595"/>
                </a:lnTo>
                <a:lnTo>
                  <a:pt x="62" y="595"/>
                </a:lnTo>
                <a:lnTo>
                  <a:pt x="62" y="590"/>
                </a:lnTo>
                <a:lnTo>
                  <a:pt x="51" y="578"/>
                </a:lnTo>
                <a:lnTo>
                  <a:pt x="62" y="573"/>
                </a:lnTo>
                <a:lnTo>
                  <a:pt x="68" y="573"/>
                </a:lnTo>
                <a:lnTo>
                  <a:pt x="74" y="573"/>
                </a:lnTo>
                <a:lnTo>
                  <a:pt x="79" y="573"/>
                </a:lnTo>
                <a:lnTo>
                  <a:pt x="85" y="561"/>
                </a:lnTo>
                <a:lnTo>
                  <a:pt x="96" y="550"/>
                </a:lnTo>
                <a:lnTo>
                  <a:pt x="130" y="550"/>
                </a:lnTo>
                <a:lnTo>
                  <a:pt x="136" y="561"/>
                </a:lnTo>
                <a:lnTo>
                  <a:pt x="159" y="556"/>
                </a:lnTo>
                <a:lnTo>
                  <a:pt x="164" y="510"/>
                </a:lnTo>
                <a:lnTo>
                  <a:pt x="181" y="516"/>
                </a:lnTo>
                <a:lnTo>
                  <a:pt x="187" y="505"/>
                </a:lnTo>
                <a:lnTo>
                  <a:pt x="181" y="499"/>
                </a:lnTo>
                <a:lnTo>
                  <a:pt x="198" y="476"/>
                </a:lnTo>
                <a:lnTo>
                  <a:pt x="187" y="471"/>
                </a:lnTo>
                <a:lnTo>
                  <a:pt x="193" y="459"/>
                </a:lnTo>
                <a:lnTo>
                  <a:pt x="215" y="454"/>
                </a:lnTo>
                <a:lnTo>
                  <a:pt x="215" y="442"/>
                </a:lnTo>
                <a:lnTo>
                  <a:pt x="210" y="431"/>
                </a:lnTo>
                <a:lnTo>
                  <a:pt x="204" y="437"/>
                </a:lnTo>
                <a:lnTo>
                  <a:pt x="187" y="437"/>
                </a:lnTo>
                <a:lnTo>
                  <a:pt x="181" y="442"/>
                </a:lnTo>
                <a:lnTo>
                  <a:pt x="170" y="459"/>
                </a:lnTo>
                <a:lnTo>
                  <a:pt x="164" y="459"/>
                </a:lnTo>
                <a:lnTo>
                  <a:pt x="164" y="465"/>
                </a:lnTo>
                <a:lnTo>
                  <a:pt x="159" y="471"/>
                </a:lnTo>
                <a:lnTo>
                  <a:pt x="153" y="471"/>
                </a:lnTo>
                <a:lnTo>
                  <a:pt x="113" y="465"/>
                </a:lnTo>
                <a:lnTo>
                  <a:pt x="113" y="454"/>
                </a:lnTo>
                <a:lnTo>
                  <a:pt x="108" y="442"/>
                </a:lnTo>
                <a:lnTo>
                  <a:pt x="108" y="437"/>
                </a:lnTo>
                <a:lnTo>
                  <a:pt x="102" y="431"/>
                </a:lnTo>
                <a:lnTo>
                  <a:pt x="102" y="425"/>
                </a:lnTo>
                <a:lnTo>
                  <a:pt x="102" y="420"/>
                </a:lnTo>
                <a:lnTo>
                  <a:pt x="108" y="414"/>
                </a:lnTo>
                <a:lnTo>
                  <a:pt x="108" y="408"/>
                </a:lnTo>
                <a:lnTo>
                  <a:pt x="102" y="403"/>
                </a:lnTo>
                <a:lnTo>
                  <a:pt x="108" y="403"/>
                </a:lnTo>
                <a:lnTo>
                  <a:pt x="108" y="397"/>
                </a:lnTo>
                <a:lnTo>
                  <a:pt x="108" y="391"/>
                </a:lnTo>
                <a:lnTo>
                  <a:pt x="108" y="380"/>
                </a:lnTo>
                <a:lnTo>
                  <a:pt x="113" y="380"/>
                </a:lnTo>
                <a:lnTo>
                  <a:pt x="113" y="369"/>
                </a:lnTo>
                <a:lnTo>
                  <a:pt x="113" y="363"/>
                </a:lnTo>
                <a:lnTo>
                  <a:pt x="113" y="357"/>
                </a:lnTo>
                <a:lnTo>
                  <a:pt x="113" y="352"/>
                </a:lnTo>
                <a:lnTo>
                  <a:pt x="130" y="352"/>
                </a:lnTo>
                <a:lnTo>
                  <a:pt x="142" y="346"/>
                </a:lnTo>
                <a:lnTo>
                  <a:pt x="147" y="340"/>
                </a:lnTo>
                <a:lnTo>
                  <a:pt x="147" y="329"/>
                </a:lnTo>
                <a:lnTo>
                  <a:pt x="142" y="323"/>
                </a:lnTo>
                <a:lnTo>
                  <a:pt x="136" y="323"/>
                </a:lnTo>
                <a:lnTo>
                  <a:pt x="119" y="323"/>
                </a:lnTo>
                <a:lnTo>
                  <a:pt x="113" y="323"/>
                </a:lnTo>
                <a:lnTo>
                  <a:pt x="108" y="323"/>
                </a:lnTo>
                <a:lnTo>
                  <a:pt x="102" y="323"/>
                </a:lnTo>
                <a:lnTo>
                  <a:pt x="74" y="335"/>
                </a:lnTo>
                <a:lnTo>
                  <a:pt x="68" y="340"/>
                </a:lnTo>
                <a:lnTo>
                  <a:pt x="57" y="340"/>
                </a:lnTo>
                <a:lnTo>
                  <a:pt x="40" y="346"/>
                </a:lnTo>
                <a:lnTo>
                  <a:pt x="40" y="335"/>
                </a:lnTo>
                <a:lnTo>
                  <a:pt x="34" y="329"/>
                </a:lnTo>
                <a:lnTo>
                  <a:pt x="40" y="329"/>
                </a:lnTo>
                <a:lnTo>
                  <a:pt x="45" y="323"/>
                </a:lnTo>
                <a:lnTo>
                  <a:pt x="57" y="323"/>
                </a:lnTo>
                <a:lnTo>
                  <a:pt x="62" y="318"/>
                </a:lnTo>
                <a:lnTo>
                  <a:pt x="62" y="312"/>
                </a:lnTo>
                <a:lnTo>
                  <a:pt x="68" y="312"/>
                </a:lnTo>
                <a:lnTo>
                  <a:pt x="79" y="306"/>
                </a:lnTo>
                <a:lnTo>
                  <a:pt x="96" y="306"/>
                </a:lnTo>
                <a:lnTo>
                  <a:pt x="102" y="301"/>
                </a:lnTo>
                <a:lnTo>
                  <a:pt x="102" y="289"/>
                </a:lnTo>
                <a:lnTo>
                  <a:pt x="102" y="284"/>
                </a:lnTo>
                <a:lnTo>
                  <a:pt x="113" y="278"/>
                </a:lnTo>
                <a:lnTo>
                  <a:pt x="119" y="278"/>
                </a:lnTo>
                <a:lnTo>
                  <a:pt x="125" y="272"/>
                </a:lnTo>
                <a:lnTo>
                  <a:pt x="130" y="272"/>
                </a:lnTo>
                <a:lnTo>
                  <a:pt x="142" y="267"/>
                </a:lnTo>
                <a:lnTo>
                  <a:pt x="159" y="261"/>
                </a:lnTo>
                <a:lnTo>
                  <a:pt x="170" y="267"/>
                </a:lnTo>
                <a:lnTo>
                  <a:pt x="181" y="267"/>
                </a:lnTo>
                <a:lnTo>
                  <a:pt x="187" y="261"/>
                </a:lnTo>
                <a:lnTo>
                  <a:pt x="193" y="267"/>
                </a:lnTo>
                <a:lnTo>
                  <a:pt x="193" y="244"/>
                </a:lnTo>
                <a:lnTo>
                  <a:pt x="215" y="250"/>
                </a:lnTo>
                <a:lnTo>
                  <a:pt x="215" y="255"/>
                </a:lnTo>
                <a:lnTo>
                  <a:pt x="221" y="255"/>
                </a:lnTo>
                <a:lnTo>
                  <a:pt x="227" y="278"/>
                </a:lnTo>
                <a:lnTo>
                  <a:pt x="255" y="267"/>
                </a:lnTo>
                <a:lnTo>
                  <a:pt x="255" y="255"/>
                </a:lnTo>
                <a:lnTo>
                  <a:pt x="261" y="255"/>
                </a:lnTo>
                <a:lnTo>
                  <a:pt x="261" y="250"/>
                </a:lnTo>
                <a:lnTo>
                  <a:pt x="261" y="244"/>
                </a:lnTo>
                <a:lnTo>
                  <a:pt x="261" y="238"/>
                </a:lnTo>
                <a:lnTo>
                  <a:pt x="278" y="233"/>
                </a:lnTo>
                <a:lnTo>
                  <a:pt x="289" y="238"/>
                </a:lnTo>
                <a:lnTo>
                  <a:pt x="306" y="238"/>
                </a:lnTo>
                <a:lnTo>
                  <a:pt x="300" y="244"/>
                </a:lnTo>
                <a:lnTo>
                  <a:pt x="306" y="250"/>
                </a:lnTo>
                <a:lnTo>
                  <a:pt x="306" y="255"/>
                </a:lnTo>
                <a:lnTo>
                  <a:pt x="312" y="261"/>
                </a:lnTo>
                <a:lnTo>
                  <a:pt x="312" y="267"/>
                </a:lnTo>
                <a:lnTo>
                  <a:pt x="312" y="272"/>
                </a:lnTo>
                <a:lnTo>
                  <a:pt x="306" y="278"/>
                </a:lnTo>
                <a:lnTo>
                  <a:pt x="300" y="278"/>
                </a:lnTo>
                <a:lnTo>
                  <a:pt x="300" y="284"/>
                </a:lnTo>
                <a:lnTo>
                  <a:pt x="306" y="284"/>
                </a:lnTo>
                <a:lnTo>
                  <a:pt x="312" y="278"/>
                </a:lnTo>
                <a:lnTo>
                  <a:pt x="317" y="278"/>
                </a:lnTo>
                <a:lnTo>
                  <a:pt x="317" y="284"/>
                </a:lnTo>
                <a:lnTo>
                  <a:pt x="323" y="289"/>
                </a:lnTo>
                <a:lnTo>
                  <a:pt x="329" y="295"/>
                </a:lnTo>
                <a:lnTo>
                  <a:pt x="329" y="301"/>
                </a:lnTo>
                <a:lnTo>
                  <a:pt x="334" y="306"/>
                </a:lnTo>
                <a:lnTo>
                  <a:pt x="340" y="312"/>
                </a:lnTo>
                <a:lnTo>
                  <a:pt x="340" y="306"/>
                </a:lnTo>
                <a:lnTo>
                  <a:pt x="346" y="312"/>
                </a:lnTo>
                <a:lnTo>
                  <a:pt x="357" y="323"/>
                </a:lnTo>
                <a:lnTo>
                  <a:pt x="357" y="329"/>
                </a:lnTo>
                <a:lnTo>
                  <a:pt x="374" y="335"/>
                </a:lnTo>
                <a:lnTo>
                  <a:pt x="397" y="335"/>
                </a:lnTo>
                <a:lnTo>
                  <a:pt x="403" y="340"/>
                </a:lnTo>
                <a:lnTo>
                  <a:pt x="414" y="329"/>
                </a:lnTo>
                <a:lnTo>
                  <a:pt x="414" y="323"/>
                </a:lnTo>
                <a:lnTo>
                  <a:pt x="425" y="318"/>
                </a:lnTo>
                <a:lnTo>
                  <a:pt x="425" y="312"/>
                </a:lnTo>
                <a:lnTo>
                  <a:pt x="420" y="301"/>
                </a:lnTo>
                <a:lnTo>
                  <a:pt x="414" y="301"/>
                </a:lnTo>
                <a:lnTo>
                  <a:pt x="408" y="301"/>
                </a:lnTo>
                <a:lnTo>
                  <a:pt x="408" y="289"/>
                </a:lnTo>
                <a:lnTo>
                  <a:pt x="425" y="289"/>
                </a:lnTo>
                <a:lnTo>
                  <a:pt x="425" y="284"/>
                </a:lnTo>
                <a:lnTo>
                  <a:pt x="442" y="272"/>
                </a:lnTo>
                <a:lnTo>
                  <a:pt x="459" y="261"/>
                </a:lnTo>
                <a:lnTo>
                  <a:pt x="493" y="233"/>
                </a:lnTo>
                <a:lnTo>
                  <a:pt x="510" y="227"/>
                </a:lnTo>
                <a:lnTo>
                  <a:pt x="510" y="221"/>
                </a:lnTo>
                <a:lnTo>
                  <a:pt x="516" y="210"/>
                </a:lnTo>
                <a:lnTo>
                  <a:pt x="516" y="204"/>
                </a:lnTo>
                <a:lnTo>
                  <a:pt x="550" y="199"/>
                </a:lnTo>
                <a:lnTo>
                  <a:pt x="556" y="199"/>
                </a:lnTo>
                <a:lnTo>
                  <a:pt x="561" y="199"/>
                </a:lnTo>
                <a:lnTo>
                  <a:pt x="561" y="193"/>
                </a:lnTo>
                <a:lnTo>
                  <a:pt x="561" y="187"/>
                </a:lnTo>
                <a:lnTo>
                  <a:pt x="567" y="187"/>
                </a:lnTo>
                <a:lnTo>
                  <a:pt x="573" y="187"/>
                </a:lnTo>
                <a:lnTo>
                  <a:pt x="578" y="187"/>
                </a:lnTo>
                <a:lnTo>
                  <a:pt x="578" y="182"/>
                </a:lnTo>
                <a:lnTo>
                  <a:pt x="584" y="182"/>
                </a:lnTo>
                <a:lnTo>
                  <a:pt x="584" y="187"/>
                </a:lnTo>
                <a:lnTo>
                  <a:pt x="590" y="187"/>
                </a:lnTo>
                <a:lnTo>
                  <a:pt x="595" y="187"/>
                </a:lnTo>
                <a:lnTo>
                  <a:pt x="601" y="187"/>
                </a:lnTo>
                <a:lnTo>
                  <a:pt x="607" y="187"/>
                </a:lnTo>
                <a:lnTo>
                  <a:pt x="607" y="193"/>
                </a:lnTo>
                <a:lnTo>
                  <a:pt x="607" y="199"/>
                </a:lnTo>
                <a:lnTo>
                  <a:pt x="624" y="187"/>
                </a:lnTo>
                <a:lnTo>
                  <a:pt x="635" y="176"/>
                </a:lnTo>
                <a:lnTo>
                  <a:pt x="635" y="170"/>
                </a:lnTo>
                <a:lnTo>
                  <a:pt x="641" y="170"/>
                </a:lnTo>
                <a:lnTo>
                  <a:pt x="641" y="165"/>
                </a:lnTo>
                <a:lnTo>
                  <a:pt x="641" y="153"/>
                </a:lnTo>
                <a:lnTo>
                  <a:pt x="646" y="153"/>
                </a:lnTo>
                <a:lnTo>
                  <a:pt x="652" y="159"/>
                </a:lnTo>
                <a:lnTo>
                  <a:pt x="669" y="153"/>
                </a:lnTo>
                <a:lnTo>
                  <a:pt x="669" y="142"/>
                </a:lnTo>
                <a:lnTo>
                  <a:pt x="675" y="136"/>
                </a:lnTo>
                <a:lnTo>
                  <a:pt x="680" y="125"/>
                </a:lnTo>
                <a:lnTo>
                  <a:pt x="697" y="142"/>
                </a:lnTo>
                <a:lnTo>
                  <a:pt x="709" y="153"/>
                </a:lnTo>
                <a:lnTo>
                  <a:pt x="714" y="159"/>
                </a:lnTo>
                <a:lnTo>
                  <a:pt x="714" y="165"/>
                </a:lnTo>
                <a:lnTo>
                  <a:pt x="709" y="165"/>
                </a:lnTo>
                <a:lnTo>
                  <a:pt x="703" y="170"/>
                </a:lnTo>
                <a:lnTo>
                  <a:pt x="709" y="176"/>
                </a:lnTo>
                <a:lnTo>
                  <a:pt x="709" y="182"/>
                </a:lnTo>
                <a:lnTo>
                  <a:pt x="726" y="187"/>
                </a:lnTo>
                <a:lnTo>
                  <a:pt x="726" y="193"/>
                </a:lnTo>
                <a:lnTo>
                  <a:pt x="726" y="204"/>
                </a:lnTo>
                <a:lnTo>
                  <a:pt x="714" y="216"/>
                </a:lnTo>
                <a:lnTo>
                  <a:pt x="720" y="227"/>
                </a:lnTo>
                <a:lnTo>
                  <a:pt x="720" y="233"/>
                </a:lnTo>
                <a:lnTo>
                  <a:pt x="726" y="238"/>
                </a:lnTo>
                <a:lnTo>
                  <a:pt x="726" y="244"/>
                </a:lnTo>
                <a:lnTo>
                  <a:pt x="726" y="250"/>
                </a:lnTo>
                <a:lnTo>
                  <a:pt x="731" y="250"/>
                </a:lnTo>
                <a:lnTo>
                  <a:pt x="737" y="250"/>
                </a:lnTo>
                <a:lnTo>
                  <a:pt x="760" y="250"/>
                </a:lnTo>
                <a:lnTo>
                  <a:pt x="765" y="261"/>
                </a:lnTo>
                <a:lnTo>
                  <a:pt x="765" y="267"/>
                </a:lnTo>
                <a:lnTo>
                  <a:pt x="765" y="272"/>
                </a:lnTo>
                <a:lnTo>
                  <a:pt x="765" y="278"/>
                </a:lnTo>
                <a:lnTo>
                  <a:pt x="765" y="284"/>
                </a:lnTo>
                <a:lnTo>
                  <a:pt x="765" y="289"/>
                </a:lnTo>
                <a:lnTo>
                  <a:pt x="771" y="289"/>
                </a:lnTo>
                <a:lnTo>
                  <a:pt x="777" y="289"/>
                </a:lnTo>
                <a:lnTo>
                  <a:pt x="782" y="289"/>
                </a:lnTo>
                <a:lnTo>
                  <a:pt x="788" y="289"/>
                </a:lnTo>
                <a:lnTo>
                  <a:pt x="794" y="289"/>
                </a:lnTo>
                <a:lnTo>
                  <a:pt x="799" y="289"/>
                </a:lnTo>
                <a:lnTo>
                  <a:pt x="805" y="284"/>
                </a:lnTo>
                <a:lnTo>
                  <a:pt x="805" y="278"/>
                </a:lnTo>
                <a:lnTo>
                  <a:pt x="811" y="278"/>
                </a:lnTo>
                <a:lnTo>
                  <a:pt x="816" y="278"/>
                </a:lnTo>
                <a:lnTo>
                  <a:pt x="822" y="278"/>
                </a:lnTo>
                <a:lnTo>
                  <a:pt x="828" y="278"/>
                </a:lnTo>
                <a:lnTo>
                  <a:pt x="833" y="278"/>
                </a:lnTo>
                <a:lnTo>
                  <a:pt x="839" y="278"/>
                </a:lnTo>
                <a:lnTo>
                  <a:pt x="845" y="278"/>
                </a:lnTo>
                <a:lnTo>
                  <a:pt x="850" y="278"/>
                </a:lnTo>
                <a:lnTo>
                  <a:pt x="850" y="267"/>
                </a:lnTo>
                <a:lnTo>
                  <a:pt x="862" y="267"/>
                </a:lnTo>
                <a:lnTo>
                  <a:pt x="862" y="261"/>
                </a:lnTo>
                <a:lnTo>
                  <a:pt x="862" y="250"/>
                </a:lnTo>
                <a:lnTo>
                  <a:pt x="850" y="250"/>
                </a:lnTo>
                <a:lnTo>
                  <a:pt x="845" y="244"/>
                </a:lnTo>
                <a:lnTo>
                  <a:pt x="839" y="244"/>
                </a:lnTo>
                <a:lnTo>
                  <a:pt x="833" y="244"/>
                </a:lnTo>
                <a:lnTo>
                  <a:pt x="828" y="244"/>
                </a:lnTo>
                <a:lnTo>
                  <a:pt x="828" y="238"/>
                </a:lnTo>
                <a:lnTo>
                  <a:pt x="828" y="210"/>
                </a:lnTo>
                <a:lnTo>
                  <a:pt x="845" y="210"/>
                </a:lnTo>
                <a:lnTo>
                  <a:pt x="856" y="210"/>
                </a:lnTo>
                <a:lnTo>
                  <a:pt x="879" y="210"/>
                </a:lnTo>
                <a:lnTo>
                  <a:pt x="879" y="199"/>
                </a:lnTo>
                <a:lnTo>
                  <a:pt x="879" y="193"/>
                </a:lnTo>
                <a:lnTo>
                  <a:pt x="884" y="193"/>
                </a:lnTo>
                <a:lnTo>
                  <a:pt x="890" y="193"/>
                </a:lnTo>
                <a:lnTo>
                  <a:pt x="896" y="193"/>
                </a:lnTo>
                <a:lnTo>
                  <a:pt x="896" y="187"/>
                </a:lnTo>
                <a:lnTo>
                  <a:pt x="901" y="187"/>
                </a:lnTo>
                <a:lnTo>
                  <a:pt x="901" y="182"/>
                </a:lnTo>
                <a:lnTo>
                  <a:pt x="890" y="176"/>
                </a:lnTo>
                <a:lnTo>
                  <a:pt x="867" y="165"/>
                </a:lnTo>
                <a:lnTo>
                  <a:pt x="862" y="159"/>
                </a:lnTo>
                <a:lnTo>
                  <a:pt x="862" y="153"/>
                </a:lnTo>
                <a:lnTo>
                  <a:pt x="862" y="148"/>
                </a:lnTo>
                <a:lnTo>
                  <a:pt x="867" y="142"/>
                </a:lnTo>
                <a:lnTo>
                  <a:pt x="839" y="142"/>
                </a:lnTo>
                <a:lnTo>
                  <a:pt x="845" y="125"/>
                </a:lnTo>
                <a:lnTo>
                  <a:pt x="845" y="119"/>
                </a:lnTo>
                <a:lnTo>
                  <a:pt x="850" y="108"/>
                </a:lnTo>
                <a:lnTo>
                  <a:pt x="862" y="91"/>
                </a:lnTo>
                <a:lnTo>
                  <a:pt x="862" y="80"/>
                </a:lnTo>
                <a:lnTo>
                  <a:pt x="862" y="63"/>
                </a:lnTo>
                <a:lnTo>
                  <a:pt x="873" y="57"/>
                </a:lnTo>
                <a:lnTo>
                  <a:pt x="873" y="46"/>
                </a:lnTo>
                <a:lnTo>
                  <a:pt x="816" y="40"/>
                </a:lnTo>
                <a:lnTo>
                  <a:pt x="822" y="40"/>
                </a:lnTo>
                <a:lnTo>
                  <a:pt x="822" y="34"/>
                </a:lnTo>
                <a:lnTo>
                  <a:pt x="828" y="34"/>
                </a:lnTo>
                <a:lnTo>
                  <a:pt x="833" y="34"/>
                </a:lnTo>
                <a:lnTo>
                  <a:pt x="839" y="34"/>
                </a:lnTo>
                <a:lnTo>
                  <a:pt x="839" y="29"/>
                </a:lnTo>
                <a:lnTo>
                  <a:pt x="845" y="29"/>
                </a:lnTo>
                <a:lnTo>
                  <a:pt x="850" y="29"/>
                </a:lnTo>
                <a:lnTo>
                  <a:pt x="856" y="29"/>
                </a:lnTo>
                <a:lnTo>
                  <a:pt x="856" y="23"/>
                </a:lnTo>
                <a:lnTo>
                  <a:pt x="862" y="23"/>
                </a:lnTo>
                <a:lnTo>
                  <a:pt x="862" y="17"/>
                </a:lnTo>
                <a:lnTo>
                  <a:pt x="867" y="17"/>
                </a:lnTo>
                <a:lnTo>
                  <a:pt x="873" y="17"/>
                </a:lnTo>
                <a:lnTo>
                  <a:pt x="873" y="23"/>
                </a:lnTo>
                <a:lnTo>
                  <a:pt x="879" y="23"/>
                </a:lnTo>
                <a:lnTo>
                  <a:pt x="884" y="23"/>
                </a:lnTo>
                <a:lnTo>
                  <a:pt x="884" y="29"/>
                </a:lnTo>
                <a:lnTo>
                  <a:pt x="890" y="29"/>
                </a:lnTo>
                <a:lnTo>
                  <a:pt x="890" y="23"/>
                </a:lnTo>
                <a:lnTo>
                  <a:pt x="896" y="23"/>
                </a:lnTo>
                <a:lnTo>
                  <a:pt x="901" y="29"/>
                </a:lnTo>
                <a:lnTo>
                  <a:pt x="907" y="29"/>
                </a:lnTo>
                <a:lnTo>
                  <a:pt x="907" y="23"/>
                </a:lnTo>
                <a:lnTo>
                  <a:pt x="907" y="17"/>
                </a:lnTo>
                <a:lnTo>
                  <a:pt x="913" y="17"/>
                </a:lnTo>
                <a:lnTo>
                  <a:pt x="918" y="17"/>
                </a:lnTo>
                <a:lnTo>
                  <a:pt x="918" y="23"/>
                </a:lnTo>
                <a:lnTo>
                  <a:pt x="924" y="29"/>
                </a:lnTo>
                <a:lnTo>
                  <a:pt x="930" y="29"/>
                </a:lnTo>
                <a:lnTo>
                  <a:pt x="935" y="29"/>
                </a:lnTo>
                <a:lnTo>
                  <a:pt x="935" y="23"/>
                </a:lnTo>
                <a:lnTo>
                  <a:pt x="941" y="17"/>
                </a:lnTo>
                <a:lnTo>
                  <a:pt x="941" y="12"/>
                </a:lnTo>
                <a:lnTo>
                  <a:pt x="947" y="12"/>
                </a:lnTo>
                <a:lnTo>
                  <a:pt x="947" y="6"/>
                </a:lnTo>
                <a:lnTo>
                  <a:pt x="952" y="6"/>
                </a:lnTo>
                <a:lnTo>
                  <a:pt x="952" y="0"/>
                </a:lnTo>
                <a:lnTo>
                  <a:pt x="958" y="6"/>
                </a:lnTo>
                <a:lnTo>
                  <a:pt x="964" y="6"/>
                </a:lnTo>
                <a:lnTo>
                  <a:pt x="969" y="6"/>
                </a:lnTo>
                <a:lnTo>
                  <a:pt x="975" y="0"/>
                </a:lnTo>
                <a:lnTo>
                  <a:pt x="981" y="0"/>
                </a:lnTo>
                <a:lnTo>
                  <a:pt x="981" y="6"/>
                </a:lnTo>
                <a:lnTo>
                  <a:pt x="981" y="12"/>
                </a:lnTo>
                <a:lnTo>
                  <a:pt x="986" y="57"/>
                </a:lnTo>
                <a:lnTo>
                  <a:pt x="986" y="63"/>
                </a:lnTo>
                <a:lnTo>
                  <a:pt x="1003" y="97"/>
                </a:lnTo>
                <a:lnTo>
                  <a:pt x="1003" y="108"/>
                </a:lnTo>
                <a:lnTo>
                  <a:pt x="1009" y="125"/>
                </a:lnTo>
                <a:lnTo>
                  <a:pt x="1009" y="136"/>
                </a:lnTo>
                <a:lnTo>
                  <a:pt x="1003" y="165"/>
                </a:lnTo>
                <a:lnTo>
                  <a:pt x="1003" y="193"/>
                </a:lnTo>
                <a:lnTo>
                  <a:pt x="1003" y="210"/>
                </a:lnTo>
                <a:lnTo>
                  <a:pt x="1009" y="250"/>
                </a:lnTo>
                <a:lnTo>
                  <a:pt x="1009" y="272"/>
                </a:lnTo>
                <a:lnTo>
                  <a:pt x="1009" y="289"/>
                </a:lnTo>
                <a:lnTo>
                  <a:pt x="1009" y="301"/>
                </a:lnTo>
                <a:lnTo>
                  <a:pt x="1009" y="312"/>
                </a:lnTo>
                <a:lnTo>
                  <a:pt x="1009" y="318"/>
                </a:lnTo>
                <a:lnTo>
                  <a:pt x="1009" y="335"/>
                </a:lnTo>
                <a:lnTo>
                  <a:pt x="1003" y="369"/>
                </a:lnTo>
                <a:lnTo>
                  <a:pt x="1003" y="374"/>
                </a:lnTo>
                <a:lnTo>
                  <a:pt x="1003" y="380"/>
                </a:lnTo>
                <a:lnTo>
                  <a:pt x="998" y="391"/>
                </a:lnTo>
                <a:lnTo>
                  <a:pt x="998" y="397"/>
                </a:lnTo>
                <a:lnTo>
                  <a:pt x="992" y="397"/>
                </a:lnTo>
                <a:lnTo>
                  <a:pt x="992" y="408"/>
                </a:lnTo>
                <a:lnTo>
                  <a:pt x="992" y="414"/>
                </a:lnTo>
                <a:lnTo>
                  <a:pt x="992" y="420"/>
                </a:lnTo>
                <a:lnTo>
                  <a:pt x="992" y="425"/>
                </a:lnTo>
                <a:lnTo>
                  <a:pt x="998" y="437"/>
                </a:lnTo>
                <a:lnTo>
                  <a:pt x="998" y="448"/>
                </a:lnTo>
                <a:lnTo>
                  <a:pt x="998" y="454"/>
                </a:lnTo>
                <a:lnTo>
                  <a:pt x="992" y="459"/>
                </a:lnTo>
                <a:lnTo>
                  <a:pt x="986" y="471"/>
                </a:lnTo>
                <a:lnTo>
                  <a:pt x="986" y="482"/>
                </a:lnTo>
                <a:lnTo>
                  <a:pt x="981" y="488"/>
                </a:lnTo>
                <a:lnTo>
                  <a:pt x="981" y="493"/>
                </a:lnTo>
                <a:lnTo>
                  <a:pt x="975" y="505"/>
                </a:lnTo>
                <a:lnTo>
                  <a:pt x="975" y="510"/>
                </a:lnTo>
                <a:lnTo>
                  <a:pt x="981" y="527"/>
                </a:lnTo>
                <a:lnTo>
                  <a:pt x="986" y="533"/>
                </a:lnTo>
                <a:lnTo>
                  <a:pt x="986" y="539"/>
                </a:lnTo>
                <a:lnTo>
                  <a:pt x="981" y="539"/>
                </a:lnTo>
                <a:lnTo>
                  <a:pt x="969" y="544"/>
                </a:lnTo>
                <a:lnTo>
                  <a:pt x="964" y="550"/>
                </a:lnTo>
                <a:lnTo>
                  <a:pt x="964" y="544"/>
                </a:lnTo>
                <a:lnTo>
                  <a:pt x="958" y="550"/>
                </a:lnTo>
                <a:lnTo>
                  <a:pt x="952" y="550"/>
                </a:lnTo>
                <a:lnTo>
                  <a:pt x="947" y="544"/>
                </a:lnTo>
                <a:lnTo>
                  <a:pt x="941" y="544"/>
                </a:lnTo>
                <a:lnTo>
                  <a:pt x="941" y="539"/>
                </a:lnTo>
                <a:lnTo>
                  <a:pt x="935" y="539"/>
                </a:lnTo>
                <a:lnTo>
                  <a:pt x="930" y="533"/>
                </a:lnTo>
                <a:lnTo>
                  <a:pt x="924" y="533"/>
                </a:lnTo>
                <a:lnTo>
                  <a:pt x="918" y="527"/>
                </a:lnTo>
                <a:lnTo>
                  <a:pt x="901" y="516"/>
                </a:lnTo>
                <a:lnTo>
                  <a:pt x="896" y="510"/>
                </a:lnTo>
                <a:lnTo>
                  <a:pt x="890" y="510"/>
                </a:lnTo>
                <a:lnTo>
                  <a:pt x="890" y="505"/>
                </a:lnTo>
                <a:lnTo>
                  <a:pt x="879" y="499"/>
                </a:lnTo>
                <a:lnTo>
                  <a:pt x="873" y="499"/>
                </a:lnTo>
                <a:lnTo>
                  <a:pt x="873" y="493"/>
                </a:lnTo>
                <a:lnTo>
                  <a:pt x="867" y="493"/>
                </a:lnTo>
                <a:lnTo>
                  <a:pt x="862" y="488"/>
                </a:lnTo>
                <a:lnTo>
                  <a:pt x="856" y="488"/>
                </a:lnTo>
                <a:lnTo>
                  <a:pt x="856" y="482"/>
                </a:lnTo>
                <a:lnTo>
                  <a:pt x="845" y="476"/>
                </a:lnTo>
                <a:lnTo>
                  <a:pt x="839" y="476"/>
                </a:lnTo>
                <a:lnTo>
                  <a:pt x="833" y="476"/>
                </a:lnTo>
                <a:lnTo>
                  <a:pt x="828" y="476"/>
                </a:lnTo>
                <a:lnTo>
                  <a:pt x="828" y="482"/>
                </a:lnTo>
                <a:lnTo>
                  <a:pt x="822" y="482"/>
                </a:lnTo>
                <a:lnTo>
                  <a:pt x="816" y="482"/>
                </a:lnTo>
                <a:lnTo>
                  <a:pt x="811" y="482"/>
                </a:lnTo>
                <a:lnTo>
                  <a:pt x="811" y="488"/>
                </a:lnTo>
                <a:lnTo>
                  <a:pt x="805" y="493"/>
                </a:lnTo>
                <a:lnTo>
                  <a:pt x="799" y="499"/>
                </a:lnTo>
                <a:lnTo>
                  <a:pt x="788" y="505"/>
                </a:lnTo>
                <a:lnTo>
                  <a:pt x="771" y="522"/>
                </a:lnTo>
                <a:lnTo>
                  <a:pt x="765" y="527"/>
                </a:lnTo>
                <a:lnTo>
                  <a:pt x="760" y="527"/>
                </a:lnTo>
                <a:lnTo>
                  <a:pt x="760" y="533"/>
                </a:lnTo>
                <a:lnTo>
                  <a:pt x="760" y="539"/>
                </a:lnTo>
                <a:lnTo>
                  <a:pt x="760" y="544"/>
                </a:lnTo>
                <a:lnTo>
                  <a:pt x="760" y="550"/>
                </a:lnTo>
                <a:lnTo>
                  <a:pt x="754" y="556"/>
                </a:lnTo>
                <a:lnTo>
                  <a:pt x="748" y="561"/>
                </a:lnTo>
                <a:lnTo>
                  <a:pt x="748" y="567"/>
                </a:lnTo>
                <a:lnTo>
                  <a:pt x="743" y="567"/>
                </a:lnTo>
                <a:lnTo>
                  <a:pt x="743" y="573"/>
                </a:lnTo>
                <a:lnTo>
                  <a:pt x="743" y="578"/>
                </a:lnTo>
                <a:lnTo>
                  <a:pt x="737" y="584"/>
                </a:lnTo>
                <a:lnTo>
                  <a:pt x="731" y="590"/>
                </a:lnTo>
                <a:lnTo>
                  <a:pt x="731" y="595"/>
                </a:lnTo>
                <a:lnTo>
                  <a:pt x="726" y="601"/>
                </a:lnTo>
                <a:lnTo>
                  <a:pt x="726" y="607"/>
                </a:lnTo>
                <a:lnTo>
                  <a:pt x="720" y="612"/>
                </a:lnTo>
                <a:lnTo>
                  <a:pt x="714" y="618"/>
                </a:lnTo>
                <a:lnTo>
                  <a:pt x="703" y="629"/>
                </a:lnTo>
                <a:lnTo>
                  <a:pt x="703" y="635"/>
                </a:lnTo>
                <a:lnTo>
                  <a:pt x="697" y="635"/>
                </a:lnTo>
                <a:lnTo>
                  <a:pt x="692" y="641"/>
                </a:lnTo>
                <a:lnTo>
                  <a:pt x="692" y="646"/>
                </a:lnTo>
                <a:lnTo>
                  <a:pt x="686" y="652"/>
                </a:lnTo>
                <a:lnTo>
                  <a:pt x="686" y="658"/>
                </a:lnTo>
                <a:lnTo>
                  <a:pt x="680" y="663"/>
                </a:lnTo>
                <a:lnTo>
                  <a:pt x="675" y="663"/>
                </a:lnTo>
                <a:lnTo>
                  <a:pt x="675" y="669"/>
                </a:lnTo>
                <a:lnTo>
                  <a:pt x="675" y="680"/>
                </a:lnTo>
                <a:lnTo>
                  <a:pt x="669" y="692"/>
                </a:lnTo>
                <a:lnTo>
                  <a:pt x="669" y="703"/>
                </a:lnTo>
                <a:lnTo>
                  <a:pt x="663" y="703"/>
                </a:lnTo>
                <a:lnTo>
                  <a:pt x="663" y="709"/>
                </a:lnTo>
                <a:lnTo>
                  <a:pt x="663" y="714"/>
                </a:lnTo>
                <a:lnTo>
                  <a:pt x="663" y="731"/>
                </a:lnTo>
                <a:lnTo>
                  <a:pt x="663" y="737"/>
                </a:lnTo>
                <a:lnTo>
                  <a:pt x="663" y="743"/>
                </a:lnTo>
                <a:lnTo>
                  <a:pt x="663" y="748"/>
                </a:lnTo>
                <a:lnTo>
                  <a:pt x="663" y="754"/>
                </a:lnTo>
                <a:lnTo>
                  <a:pt x="663" y="760"/>
                </a:lnTo>
                <a:lnTo>
                  <a:pt x="669" y="771"/>
                </a:lnTo>
                <a:lnTo>
                  <a:pt x="669" y="777"/>
                </a:lnTo>
                <a:lnTo>
                  <a:pt x="675" y="777"/>
                </a:lnTo>
                <a:lnTo>
                  <a:pt x="680" y="771"/>
                </a:lnTo>
                <a:lnTo>
                  <a:pt x="686" y="771"/>
                </a:lnTo>
                <a:lnTo>
                  <a:pt x="686" y="766"/>
                </a:lnTo>
                <a:lnTo>
                  <a:pt x="692" y="766"/>
                </a:lnTo>
                <a:lnTo>
                  <a:pt x="692" y="771"/>
                </a:lnTo>
                <a:lnTo>
                  <a:pt x="692" y="777"/>
                </a:lnTo>
                <a:lnTo>
                  <a:pt x="697" y="783"/>
                </a:lnTo>
                <a:lnTo>
                  <a:pt x="703" y="788"/>
                </a:lnTo>
                <a:lnTo>
                  <a:pt x="703" y="794"/>
                </a:lnTo>
                <a:lnTo>
                  <a:pt x="709" y="794"/>
                </a:lnTo>
                <a:lnTo>
                  <a:pt x="709" y="800"/>
                </a:lnTo>
                <a:lnTo>
                  <a:pt x="714" y="800"/>
                </a:lnTo>
                <a:lnTo>
                  <a:pt x="714" y="805"/>
                </a:lnTo>
                <a:lnTo>
                  <a:pt x="714" y="811"/>
                </a:lnTo>
                <a:lnTo>
                  <a:pt x="709" y="811"/>
                </a:lnTo>
                <a:lnTo>
                  <a:pt x="709" y="817"/>
                </a:lnTo>
                <a:lnTo>
                  <a:pt x="709" y="822"/>
                </a:lnTo>
                <a:lnTo>
                  <a:pt x="709" y="828"/>
                </a:lnTo>
                <a:lnTo>
                  <a:pt x="714" y="828"/>
                </a:lnTo>
                <a:lnTo>
                  <a:pt x="726" y="839"/>
                </a:lnTo>
                <a:lnTo>
                  <a:pt x="726" y="845"/>
                </a:lnTo>
                <a:lnTo>
                  <a:pt x="731" y="845"/>
                </a:lnTo>
                <a:lnTo>
                  <a:pt x="737" y="851"/>
                </a:lnTo>
                <a:lnTo>
                  <a:pt x="743" y="856"/>
                </a:lnTo>
                <a:lnTo>
                  <a:pt x="748" y="868"/>
                </a:lnTo>
                <a:lnTo>
                  <a:pt x="754" y="873"/>
                </a:lnTo>
                <a:lnTo>
                  <a:pt x="726" y="907"/>
                </a:lnTo>
                <a:lnTo>
                  <a:pt x="703" y="919"/>
                </a:lnTo>
                <a:lnTo>
                  <a:pt x="703" y="913"/>
                </a:lnTo>
                <a:lnTo>
                  <a:pt x="697" y="913"/>
                </a:lnTo>
                <a:lnTo>
                  <a:pt x="692" y="913"/>
                </a:lnTo>
                <a:lnTo>
                  <a:pt x="692" y="902"/>
                </a:lnTo>
                <a:lnTo>
                  <a:pt x="680" y="902"/>
                </a:lnTo>
                <a:lnTo>
                  <a:pt x="675" y="902"/>
                </a:lnTo>
                <a:lnTo>
                  <a:pt x="669" y="913"/>
                </a:lnTo>
                <a:lnTo>
                  <a:pt x="658" y="902"/>
                </a:lnTo>
                <a:lnTo>
                  <a:pt x="652" y="902"/>
                </a:lnTo>
                <a:lnTo>
                  <a:pt x="652" y="907"/>
                </a:lnTo>
                <a:lnTo>
                  <a:pt x="652" y="902"/>
                </a:lnTo>
                <a:lnTo>
                  <a:pt x="646" y="896"/>
                </a:lnTo>
                <a:lnTo>
                  <a:pt x="629" y="896"/>
                </a:lnTo>
                <a:lnTo>
                  <a:pt x="618" y="896"/>
                </a:lnTo>
                <a:lnTo>
                  <a:pt x="612" y="896"/>
                </a:lnTo>
                <a:lnTo>
                  <a:pt x="607" y="902"/>
                </a:lnTo>
                <a:lnTo>
                  <a:pt x="601" y="907"/>
                </a:lnTo>
                <a:lnTo>
                  <a:pt x="584" y="902"/>
                </a:lnTo>
                <a:lnTo>
                  <a:pt x="578" y="902"/>
                </a:lnTo>
                <a:lnTo>
                  <a:pt x="567" y="902"/>
                </a:lnTo>
                <a:lnTo>
                  <a:pt x="561" y="902"/>
                </a:lnTo>
                <a:lnTo>
                  <a:pt x="561" y="896"/>
                </a:lnTo>
                <a:lnTo>
                  <a:pt x="561" y="890"/>
                </a:lnTo>
                <a:lnTo>
                  <a:pt x="550" y="890"/>
                </a:lnTo>
                <a:lnTo>
                  <a:pt x="544" y="896"/>
                </a:lnTo>
                <a:lnTo>
                  <a:pt x="533" y="896"/>
                </a:lnTo>
                <a:lnTo>
                  <a:pt x="527" y="902"/>
                </a:lnTo>
                <a:lnTo>
                  <a:pt x="522" y="902"/>
                </a:lnTo>
                <a:lnTo>
                  <a:pt x="505" y="913"/>
                </a:lnTo>
                <a:lnTo>
                  <a:pt x="493" y="913"/>
                </a:lnTo>
                <a:lnTo>
                  <a:pt x="493" y="919"/>
                </a:lnTo>
                <a:lnTo>
                  <a:pt x="488" y="924"/>
                </a:lnTo>
                <a:lnTo>
                  <a:pt x="482" y="924"/>
                </a:lnTo>
                <a:lnTo>
                  <a:pt x="476" y="919"/>
                </a:lnTo>
                <a:lnTo>
                  <a:pt x="471" y="919"/>
                </a:lnTo>
                <a:lnTo>
                  <a:pt x="465" y="919"/>
                </a:lnTo>
                <a:lnTo>
                  <a:pt x="454" y="924"/>
                </a:lnTo>
                <a:lnTo>
                  <a:pt x="448" y="919"/>
                </a:lnTo>
                <a:lnTo>
                  <a:pt x="442" y="919"/>
                </a:lnTo>
                <a:lnTo>
                  <a:pt x="442" y="924"/>
                </a:lnTo>
                <a:lnTo>
                  <a:pt x="437" y="924"/>
                </a:lnTo>
                <a:lnTo>
                  <a:pt x="431" y="919"/>
                </a:lnTo>
                <a:lnTo>
                  <a:pt x="420" y="919"/>
                </a:lnTo>
                <a:lnTo>
                  <a:pt x="408" y="924"/>
                </a:lnTo>
                <a:lnTo>
                  <a:pt x="403" y="936"/>
                </a:lnTo>
                <a:lnTo>
                  <a:pt x="397" y="941"/>
                </a:lnTo>
                <a:lnTo>
                  <a:pt x="397" y="947"/>
                </a:lnTo>
                <a:lnTo>
                  <a:pt x="391" y="947"/>
                </a:lnTo>
                <a:lnTo>
                  <a:pt x="391" y="941"/>
                </a:lnTo>
                <a:lnTo>
                  <a:pt x="385" y="941"/>
                </a:lnTo>
                <a:lnTo>
                  <a:pt x="374" y="941"/>
                </a:lnTo>
                <a:lnTo>
                  <a:pt x="368" y="941"/>
                </a:lnTo>
                <a:lnTo>
                  <a:pt x="368" y="947"/>
                </a:lnTo>
                <a:lnTo>
                  <a:pt x="368" y="953"/>
                </a:lnTo>
                <a:lnTo>
                  <a:pt x="357" y="953"/>
                </a:lnTo>
                <a:lnTo>
                  <a:pt x="351" y="958"/>
                </a:lnTo>
                <a:lnTo>
                  <a:pt x="346" y="958"/>
                </a:lnTo>
                <a:lnTo>
                  <a:pt x="334" y="941"/>
                </a:lnTo>
                <a:lnTo>
                  <a:pt x="329" y="936"/>
                </a:lnTo>
                <a:lnTo>
                  <a:pt x="323" y="930"/>
                </a:lnTo>
                <a:lnTo>
                  <a:pt x="329" y="924"/>
                </a:lnTo>
                <a:lnTo>
                  <a:pt x="323" y="924"/>
                </a:lnTo>
                <a:lnTo>
                  <a:pt x="312" y="913"/>
                </a:lnTo>
                <a:lnTo>
                  <a:pt x="312" y="907"/>
                </a:lnTo>
                <a:lnTo>
                  <a:pt x="312" y="902"/>
                </a:lnTo>
                <a:lnTo>
                  <a:pt x="306" y="902"/>
                </a:lnTo>
                <a:lnTo>
                  <a:pt x="306" y="896"/>
                </a:lnTo>
                <a:lnTo>
                  <a:pt x="300" y="890"/>
                </a:lnTo>
                <a:lnTo>
                  <a:pt x="295" y="885"/>
                </a:lnTo>
                <a:lnTo>
                  <a:pt x="295" y="879"/>
                </a:lnTo>
                <a:lnTo>
                  <a:pt x="289" y="879"/>
                </a:lnTo>
                <a:lnTo>
                  <a:pt x="278" y="885"/>
                </a:lnTo>
                <a:lnTo>
                  <a:pt x="272" y="885"/>
                </a:lnTo>
                <a:lnTo>
                  <a:pt x="272" y="879"/>
                </a:lnTo>
                <a:lnTo>
                  <a:pt x="278" y="879"/>
                </a:lnTo>
                <a:lnTo>
                  <a:pt x="272" y="873"/>
                </a:lnTo>
                <a:lnTo>
                  <a:pt x="266" y="873"/>
                </a:lnTo>
                <a:lnTo>
                  <a:pt x="261" y="868"/>
                </a:lnTo>
                <a:lnTo>
                  <a:pt x="255" y="868"/>
                </a:lnTo>
                <a:lnTo>
                  <a:pt x="249" y="868"/>
                </a:lnTo>
                <a:lnTo>
                  <a:pt x="249" y="862"/>
                </a:lnTo>
                <a:lnTo>
                  <a:pt x="244" y="856"/>
                </a:lnTo>
                <a:lnTo>
                  <a:pt x="238" y="856"/>
                </a:lnTo>
                <a:lnTo>
                  <a:pt x="227" y="856"/>
                </a:lnTo>
                <a:lnTo>
                  <a:pt x="221" y="862"/>
                </a:lnTo>
                <a:lnTo>
                  <a:pt x="215" y="862"/>
                </a:lnTo>
                <a:lnTo>
                  <a:pt x="210" y="845"/>
                </a:lnTo>
                <a:lnTo>
                  <a:pt x="204" y="839"/>
                </a:lnTo>
                <a:lnTo>
                  <a:pt x="204" y="834"/>
                </a:lnTo>
                <a:lnTo>
                  <a:pt x="204" y="828"/>
                </a:lnTo>
                <a:lnTo>
                  <a:pt x="204" y="822"/>
                </a:lnTo>
                <a:lnTo>
                  <a:pt x="198" y="822"/>
                </a:lnTo>
                <a:lnTo>
                  <a:pt x="198" y="828"/>
                </a:lnTo>
                <a:lnTo>
                  <a:pt x="198" y="822"/>
                </a:lnTo>
                <a:lnTo>
                  <a:pt x="193" y="822"/>
                </a:lnTo>
                <a:lnTo>
                  <a:pt x="187" y="817"/>
                </a:lnTo>
                <a:lnTo>
                  <a:pt x="181" y="817"/>
                </a:lnTo>
                <a:lnTo>
                  <a:pt x="176" y="822"/>
                </a:lnTo>
                <a:lnTo>
                  <a:pt x="170" y="822"/>
                </a:lnTo>
                <a:lnTo>
                  <a:pt x="164" y="822"/>
                </a:lnTo>
                <a:lnTo>
                  <a:pt x="164" y="834"/>
                </a:lnTo>
                <a:lnTo>
                  <a:pt x="159" y="834"/>
                </a:lnTo>
                <a:lnTo>
                  <a:pt x="153" y="828"/>
                </a:lnTo>
                <a:lnTo>
                  <a:pt x="147" y="828"/>
                </a:lnTo>
                <a:lnTo>
                  <a:pt x="142" y="828"/>
                </a:lnTo>
                <a:lnTo>
                  <a:pt x="142" y="822"/>
                </a:lnTo>
                <a:lnTo>
                  <a:pt x="136" y="828"/>
                </a:lnTo>
                <a:lnTo>
                  <a:pt x="130" y="822"/>
                </a:lnTo>
                <a:lnTo>
                  <a:pt x="125" y="817"/>
                </a:lnTo>
                <a:lnTo>
                  <a:pt x="125" y="822"/>
                </a:lnTo>
                <a:lnTo>
                  <a:pt x="119" y="822"/>
                </a:lnTo>
                <a:lnTo>
                  <a:pt x="119" y="817"/>
                </a:lnTo>
                <a:lnTo>
                  <a:pt x="119" y="811"/>
                </a:lnTo>
                <a:lnTo>
                  <a:pt x="113" y="811"/>
                </a:lnTo>
                <a:lnTo>
                  <a:pt x="108" y="811"/>
                </a:lnTo>
                <a:lnTo>
                  <a:pt x="96" y="805"/>
                </a:lnTo>
                <a:lnTo>
                  <a:pt x="96" y="811"/>
                </a:lnTo>
                <a:lnTo>
                  <a:pt x="91" y="817"/>
                </a:lnTo>
                <a:lnTo>
                  <a:pt x="96" y="817"/>
                </a:lnTo>
                <a:lnTo>
                  <a:pt x="102" y="817"/>
                </a:lnTo>
                <a:lnTo>
                  <a:pt x="96" y="822"/>
                </a:lnTo>
                <a:lnTo>
                  <a:pt x="91" y="822"/>
                </a:lnTo>
                <a:lnTo>
                  <a:pt x="85" y="822"/>
                </a:lnTo>
                <a:lnTo>
                  <a:pt x="85" y="828"/>
                </a:lnTo>
                <a:lnTo>
                  <a:pt x="79" y="828"/>
                </a:lnTo>
                <a:lnTo>
                  <a:pt x="74" y="828"/>
                </a:lnTo>
                <a:lnTo>
                  <a:pt x="74" y="834"/>
                </a:lnTo>
                <a:lnTo>
                  <a:pt x="68" y="834"/>
                </a:lnTo>
                <a:lnTo>
                  <a:pt x="68" y="839"/>
                </a:lnTo>
                <a:lnTo>
                  <a:pt x="68" y="834"/>
                </a:lnTo>
                <a:lnTo>
                  <a:pt x="74" y="834"/>
                </a:lnTo>
                <a:lnTo>
                  <a:pt x="68" y="828"/>
                </a:lnTo>
                <a:lnTo>
                  <a:pt x="62" y="822"/>
                </a:lnTo>
                <a:lnTo>
                  <a:pt x="62" y="817"/>
                </a:lnTo>
                <a:lnTo>
                  <a:pt x="57" y="811"/>
                </a:lnTo>
                <a:lnTo>
                  <a:pt x="51" y="811"/>
                </a:lnTo>
                <a:lnTo>
                  <a:pt x="45" y="811"/>
                </a:lnTo>
                <a:lnTo>
                  <a:pt x="45" y="817"/>
                </a:lnTo>
                <a:lnTo>
                  <a:pt x="40" y="822"/>
                </a:lnTo>
                <a:lnTo>
                  <a:pt x="40" y="817"/>
                </a:lnTo>
                <a:lnTo>
                  <a:pt x="40" y="811"/>
                </a:lnTo>
                <a:lnTo>
                  <a:pt x="34" y="805"/>
                </a:lnTo>
                <a:lnTo>
                  <a:pt x="34" y="800"/>
                </a:lnTo>
                <a:lnTo>
                  <a:pt x="28" y="800"/>
                </a:lnTo>
                <a:lnTo>
                  <a:pt x="23" y="805"/>
                </a:lnTo>
                <a:lnTo>
                  <a:pt x="17" y="805"/>
                </a:lnTo>
                <a:lnTo>
                  <a:pt x="11" y="800"/>
                </a:lnTo>
                <a:lnTo>
                  <a:pt x="6" y="800"/>
                </a:lnTo>
                <a:lnTo>
                  <a:pt x="0" y="794"/>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59" name="Freeform 12"/>
          <p:cNvSpPr>
            <a:spLocks/>
          </p:cNvSpPr>
          <p:nvPr/>
        </p:nvSpPr>
        <p:spPr bwMode="gray">
          <a:xfrm>
            <a:off x="3597677" y="1113533"/>
            <a:ext cx="1877659" cy="1110130"/>
          </a:xfrm>
          <a:custGeom>
            <a:avLst/>
            <a:gdLst>
              <a:gd name="T0" fmla="*/ 10619 w 1451"/>
              <a:gd name="T1" fmla="*/ 171456 h 862"/>
              <a:gd name="T2" fmla="*/ 21509 w 1451"/>
              <a:gd name="T3" fmla="*/ 162189 h 862"/>
              <a:gd name="T4" fmla="*/ 33761 w 1451"/>
              <a:gd name="T5" fmla="*/ 156192 h 862"/>
              <a:gd name="T6" fmla="*/ 37028 w 1451"/>
              <a:gd name="T7" fmla="*/ 140654 h 862"/>
              <a:gd name="T8" fmla="*/ 41657 w 1451"/>
              <a:gd name="T9" fmla="*/ 125117 h 862"/>
              <a:gd name="T10" fmla="*/ 44652 w 1451"/>
              <a:gd name="T11" fmla="*/ 111215 h 862"/>
              <a:gd name="T12" fmla="*/ 49280 w 1451"/>
              <a:gd name="T13" fmla="*/ 109852 h 862"/>
              <a:gd name="T14" fmla="*/ 56904 w 1451"/>
              <a:gd name="T15" fmla="*/ 103582 h 862"/>
              <a:gd name="T16" fmla="*/ 66161 w 1451"/>
              <a:gd name="T17" fmla="*/ 97313 h 862"/>
              <a:gd name="T18" fmla="*/ 74057 w 1451"/>
              <a:gd name="T19" fmla="*/ 95951 h 862"/>
              <a:gd name="T20" fmla="*/ 86309 w 1451"/>
              <a:gd name="T21" fmla="*/ 86410 h 862"/>
              <a:gd name="T22" fmla="*/ 93933 w 1451"/>
              <a:gd name="T23" fmla="*/ 80413 h 862"/>
              <a:gd name="T24" fmla="*/ 101828 w 1451"/>
              <a:gd name="T25" fmla="*/ 75779 h 862"/>
              <a:gd name="T26" fmla="*/ 112447 w 1451"/>
              <a:gd name="T27" fmla="*/ 66511 h 862"/>
              <a:gd name="T28" fmla="*/ 121704 w 1451"/>
              <a:gd name="T29" fmla="*/ 55607 h 862"/>
              <a:gd name="T30" fmla="*/ 134228 w 1451"/>
              <a:gd name="T31" fmla="*/ 40070 h 862"/>
              <a:gd name="T32" fmla="*/ 155737 w 1451"/>
              <a:gd name="T33" fmla="*/ 34073 h 862"/>
              <a:gd name="T34" fmla="*/ 171257 w 1451"/>
              <a:gd name="T35" fmla="*/ 27804 h 862"/>
              <a:gd name="T36" fmla="*/ 186504 w 1451"/>
              <a:gd name="T37" fmla="*/ 23170 h 862"/>
              <a:gd name="T38" fmla="*/ 192766 w 1451"/>
              <a:gd name="T39" fmla="*/ 7632 h 862"/>
              <a:gd name="T40" fmla="*/ 208286 w 1451"/>
              <a:gd name="T41" fmla="*/ 4634 h 862"/>
              <a:gd name="T42" fmla="*/ 222171 w 1451"/>
              <a:gd name="T43" fmla="*/ 4634 h 862"/>
              <a:gd name="T44" fmla="*/ 236057 w 1451"/>
              <a:gd name="T45" fmla="*/ 2998 h 862"/>
              <a:gd name="T46" fmla="*/ 251576 w 1451"/>
              <a:gd name="T47" fmla="*/ 2998 h 862"/>
              <a:gd name="T48" fmla="*/ 265462 w 1451"/>
              <a:gd name="T49" fmla="*/ 9268 h 862"/>
              <a:gd name="T50" fmla="*/ 279348 w 1451"/>
              <a:gd name="T51" fmla="*/ 12267 h 862"/>
              <a:gd name="T52" fmla="*/ 299223 w 1451"/>
              <a:gd name="T53" fmla="*/ 13902 h 862"/>
              <a:gd name="T54" fmla="*/ 310113 w 1451"/>
              <a:gd name="T55" fmla="*/ 13902 h 862"/>
              <a:gd name="T56" fmla="*/ 328628 w 1451"/>
              <a:gd name="T57" fmla="*/ 12267 h 862"/>
              <a:gd name="T58" fmla="*/ 344148 w 1451"/>
              <a:gd name="T59" fmla="*/ 15537 h 862"/>
              <a:gd name="T60" fmla="*/ 358033 w 1451"/>
              <a:gd name="T61" fmla="*/ 21534 h 862"/>
              <a:gd name="T62" fmla="*/ 371919 w 1451"/>
              <a:gd name="T63" fmla="*/ 94315 h 862"/>
              <a:gd name="T64" fmla="*/ 390433 w 1451"/>
              <a:gd name="T65" fmla="*/ 136020 h 862"/>
              <a:gd name="T66" fmla="*/ 379542 w 1451"/>
              <a:gd name="T67" fmla="*/ 142290 h 862"/>
              <a:gd name="T68" fmla="*/ 368651 w 1451"/>
              <a:gd name="T69" fmla="*/ 142290 h 862"/>
              <a:gd name="T70" fmla="*/ 358033 w 1451"/>
              <a:gd name="T71" fmla="*/ 142290 h 862"/>
              <a:gd name="T72" fmla="*/ 362662 w 1451"/>
              <a:gd name="T73" fmla="*/ 156192 h 862"/>
              <a:gd name="T74" fmla="*/ 370285 w 1451"/>
              <a:gd name="T75" fmla="*/ 182360 h 862"/>
              <a:gd name="T76" fmla="*/ 358033 w 1451"/>
              <a:gd name="T77" fmla="*/ 191628 h 862"/>
              <a:gd name="T78" fmla="*/ 359394 w 1451"/>
              <a:gd name="T79" fmla="*/ 207165 h 862"/>
              <a:gd name="T80" fmla="*/ 345508 w 1451"/>
              <a:gd name="T81" fmla="*/ 213162 h 862"/>
              <a:gd name="T82" fmla="*/ 336251 w 1451"/>
              <a:gd name="T83" fmla="*/ 205530 h 862"/>
              <a:gd name="T84" fmla="*/ 325633 w 1451"/>
              <a:gd name="T85" fmla="*/ 186994 h 862"/>
              <a:gd name="T86" fmla="*/ 311748 w 1451"/>
              <a:gd name="T87" fmla="*/ 171456 h 862"/>
              <a:gd name="T88" fmla="*/ 293233 w 1451"/>
              <a:gd name="T89" fmla="*/ 188629 h 862"/>
              <a:gd name="T90" fmla="*/ 282342 w 1451"/>
              <a:gd name="T91" fmla="*/ 185359 h 862"/>
              <a:gd name="T92" fmla="*/ 252937 w 1451"/>
              <a:gd name="T93" fmla="*/ 205530 h 862"/>
              <a:gd name="T94" fmla="*/ 240685 w 1451"/>
              <a:gd name="T95" fmla="*/ 224066 h 862"/>
              <a:gd name="T96" fmla="*/ 217542 w 1451"/>
              <a:gd name="T97" fmla="*/ 214798 h 862"/>
              <a:gd name="T98" fmla="*/ 212914 w 1451"/>
              <a:gd name="T99" fmla="*/ 205530 h 862"/>
              <a:gd name="T100" fmla="*/ 197394 w 1451"/>
              <a:gd name="T101" fmla="*/ 203895 h 862"/>
              <a:gd name="T102" fmla="*/ 171257 w 1451"/>
              <a:gd name="T103" fmla="*/ 205530 h 862"/>
              <a:gd name="T104" fmla="*/ 146480 w 1451"/>
              <a:gd name="T105" fmla="*/ 219431 h 862"/>
              <a:gd name="T106" fmla="*/ 148114 w 1451"/>
              <a:gd name="T107" fmla="*/ 225701 h 862"/>
              <a:gd name="T108" fmla="*/ 138857 w 1451"/>
              <a:gd name="T109" fmla="*/ 234969 h 862"/>
              <a:gd name="T110" fmla="*/ 121704 w 1451"/>
              <a:gd name="T111" fmla="*/ 224066 h 862"/>
              <a:gd name="T112" fmla="*/ 127966 w 1451"/>
              <a:gd name="T113" fmla="*/ 214798 h 862"/>
              <a:gd name="T114" fmla="*/ 98561 w 1451"/>
              <a:gd name="T115" fmla="*/ 210164 h 862"/>
              <a:gd name="T116" fmla="*/ 83314 w 1451"/>
              <a:gd name="T117" fmla="*/ 214798 h 862"/>
              <a:gd name="T118" fmla="*/ 66161 w 1451"/>
              <a:gd name="T119" fmla="*/ 216434 h 862"/>
              <a:gd name="T120" fmla="*/ 46286 w 1451"/>
              <a:gd name="T121" fmla="*/ 199260 h 862"/>
              <a:gd name="T122" fmla="*/ 26138 w 1451"/>
              <a:gd name="T123" fmla="*/ 200896 h 862"/>
              <a:gd name="T124" fmla="*/ 1361 w 1451"/>
              <a:gd name="T125" fmla="*/ 194626 h 86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451" h="862">
                <a:moveTo>
                  <a:pt x="0" y="675"/>
                </a:moveTo>
                <a:lnTo>
                  <a:pt x="5" y="675"/>
                </a:lnTo>
                <a:lnTo>
                  <a:pt x="5" y="669"/>
                </a:lnTo>
                <a:lnTo>
                  <a:pt x="11" y="669"/>
                </a:lnTo>
                <a:lnTo>
                  <a:pt x="17" y="663"/>
                </a:lnTo>
                <a:lnTo>
                  <a:pt x="22" y="646"/>
                </a:lnTo>
                <a:lnTo>
                  <a:pt x="28" y="641"/>
                </a:lnTo>
                <a:lnTo>
                  <a:pt x="28" y="635"/>
                </a:lnTo>
                <a:lnTo>
                  <a:pt x="34" y="635"/>
                </a:lnTo>
                <a:lnTo>
                  <a:pt x="34" y="629"/>
                </a:lnTo>
                <a:lnTo>
                  <a:pt x="39" y="629"/>
                </a:lnTo>
                <a:lnTo>
                  <a:pt x="39" y="624"/>
                </a:lnTo>
                <a:lnTo>
                  <a:pt x="45" y="624"/>
                </a:lnTo>
                <a:lnTo>
                  <a:pt x="45" y="618"/>
                </a:lnTo>
                <a:lnTo>
                  <a:pt x="51" y="618"/>
                </a:lnTo>
                <a:lnTo>
                  <a:pt x="56" y="612"/>
                </a:lnTo>
                <a:lnTo>
                  <a:pt x="62" y="612"/>
                </a:lnTo>
                <a:lnTo>
                  <a:pt x="68" y="612"/>
                </a:lnTo>
                <a:lnTo>
                  <a:pt x="73" y="607"/>
                </a:lnTo>
                <a:lnTo>
                  <a:pt x="73" y="601"/>
                </a:lnTo>
                <a:lnTo>
                  <a:pt x="73" y="595"/>
                </a:lnTo>
                <a:lnTo>
                  <a:pt x="79" y="595"/>
                </a:lnTo>
                <a:lnTo>
                  <a:pt x="79" y="590"/>
                </a:lnTo>
                <a:lnTo>
                  <a:pt x="85" y="590"/>
                </a:lnTo>
                <a:lnTo>
                  <a:pt x="90" y="590"/>
                </a:lnTo>
                <a:lnTo>
                  <a:pt x="96" y="590"/>
                </a:lnTo>
                <a:lnTo>
                  <a:pt x="102" y="590"/>
                </a:lnTo>
                <a:lnTo>
                  <a:pt x="107" y="584"/>
                </a:lnTo>
                <a:lnTo>
                  <a:pt x="113" y="584"/>
                </a:lnTo>
                <a:lnTo>
                  <a:pt x="113" y="578"/>
                </a:lnTo>
                <a:lnTo>
                  <a:pt x="119" y="578"/>
                </a:lnTo>
                <a:lnTo>
                  <a:pt x="124" y="578"/>
                </a:lnTo>
                <a:lnTo>
                  <a:pt x="124" y="573"/>
                </a:lnTo>
                <a:lnTo>
                  <a:pt x="124" y="567"/>
                </a:lnTo>
                <a:lnTo>
                  <a:pt x="124" y="561"/>
                </a:lnTo>
                <a:lnTo>
                  <a:pt x="124" y="556"/>
                </a:lnTo>
                <a:lnTo>
                  <a:pt x="124" y="550"/>
                </a:lnTo>
                <a:lnTo>
                  <a:pt x="130" y="550"/>
                </a:lnTo>
                <a:lnTo>
                  <a:pt x="124" y="544"/>
                </a:lnTo>
                <a:lnTo>
                  <a:pt x="124" y="539"/>
                </a:lnTo>
                <a:lnTo>
                  <a:pt x="124" y="533"/>
                </a:lnTo>
                <a:lnTo>
                  <a:pt x="130" y="527"/>
                </a:lnTo>
                <a:lnTo>
                  <a:pt x="130" y="522"/>
                </a:lnTo>
                <a:lnTo>
                  <a:pt x="136" y="516"/>
                </a:lnTo>
                <a:lnTo>
                  <a:pt x="136" y="510"/>
                </a:lnTo>
                <a:lnTo>
                  <a:pt x="136" y="505"/>
                </a:lnTo>
                <a:lnTo>
                  <a:pt x="136" y="499"/>
                </a:lnTo>
                <a:lnTo>
                  <a:pt x="141" y="499"/>
                </a:lnTo>
                <a:lnTo>
                  <a:pt x="141" y="493"/>
                </a:lnTo>
                <a:lnTo>
                  <a:pt x="141" y="488"/>
                </a:lnTo>
                <a:lnTo>
                  <a:pt x="147" y="482"/>
                </a:lnTo>
                <a:lnTo>
                  <a:pt x="147" y="476"/>
                </a:lnTo>
                <a:lnTo>
                  <a:pt x="147" y="471"/>
                </a:lnTo>
                <a:lnTo>
                  <a:pt x="147" y="465"/>
                </a:lnTo>
                <a:lnTo>
                  <a:pt x="153" y="459"/>
                </a:lnTo>
                <a:lnTo>
                  <a:pt x="147" y="459"/>
                </a:lnTo>
                <a:lnTo>
                  <a:pt x="147" y="454"/>
                </a:lnTo>
                <a:lnTo>
                  <a:pt x="147" y="448"/>
                </a:lnTo>
                <a:lnTo>
                  <a:pt x="153" y="448"/>
                </a:lnTo>
                <a:lnTo>
                  <a:pt x="153" y="442"/>
                </a:lnTo>
                <a:lnTo>
                  <a:pt x="153" y="437"/>
                </a:lnTo>
                <a:lnTo>
                  <a:pt x="158" y="425"/>
                </a:lnTo>
                <a:lnTo>
                  <a:pt x="164" y="425"/>
                </a:lnTo>
                <a:lnTo>
                  <a:pt x="164" y="420"/>
                </a:lnTo>
                <a:lnTo>
                  <a:pt x="164" y="414"/>
                </a:lnTo>
                <a:lnTo>
                  <a:pt x="164" y="408"/>
                </a:lnTo>
                <a:lnTo>
                  <a:pt x="170" y="408"/>
                </a:lnTo>
                <a:lnTo>
                  <a:pt x="170" y="414"/>
                </a:lnTo>
                <a:lnTo>
                  <a:pt x="175" y="414"/>
                </a:lnTo>
                <a:lnTo>
                  <a:pt x="170" y="420"/>
                </a:lnTo>
                <a:lnTo>
                  <a:pt x="175" y="420"/>
                </a:lnTo>
                <a:lnTo>
                  <a:pt x="181" y="420"/>
                </a:lnTo>
                <a:lnTo>
                  <a:pt x="181" y="414"/>
                </a:lnTo>
                <a:lnTo>
                  <a:pt x="187" y="414"/>
                </a:lnTo>
                <a:lnTo>
                  <a:pt x="187" y="408"/>
                </a:lnTo>
                <a:lnTo>
                  <a:pt x="181" y="408"/>
                </a:lnTo>
                <a:lnTo>
                  <a:pt x="181" y="403"/>
                </a:lnTo>
                <a:lnTo>
                  <a:pt x="187" y="403"/>
                </a:lnTo>
                <a:lnTo>
                  <a:pt x="187" y="397"/>
                </a:lnTo>
                <a:lnTo>
                  <a:pt x="192" y="397"/>
                </a:lnTo>
                <a:lnTo>
                  <a:pt x="192" y="391"/>
                </a:lnTo>
                <a:lnTo>
                  <a:pt x="198" y="391"/>
                </a:lnTo>
                <a:lnTo>
                  <a:pt x="204" y="391"/>
                </a:lnTo>
                <a:lnTo>
                  <a:pt x="204" y="386"/>
                </a:lnTo>
                <a:lnTo>
                  <a:pt x="198" y="386"/>
                </a:lnTo>
                <a:lnTo>
                  <a:pt x="198" y="380"/>
                </a:lnTo>
                <a:lnTo>
                  <a:pt x="204" y="380"/>
                </a:lnTo>
                <a:lnTo>
                  <a:pt x="209" y="380"/>
                </a:lnTo>
                <a:lnTo>
                  <a:pt x="215" y="380"/>
                </a:lnTo>
                <a:lnTo>
                  <a:pt x="221" y="380"/>
                </a:lnTo>
                <a:lnTo>
                  <a:pt x="215" y="374"/>
                </a:lnTo>
                <a:lnTo>
                  <a:pt x="221" y="369"/>
                </a:lnTo>
                <a:lnTo>
                  <a:pt x="226" y="374"/>
                </a:lnTo>
                <a:lnTo>
                  <a:pt x="226" y="369"/>
                </a:lnTo>
                <a:lnTo>
                  <a:pt x="232" y="369"/>
                </a:lnTo>
                <a:lnTo>
                  <a:pt x="238" y="369"/>
                </a:lnTo>
                <a:lnTo>
                  <a:pt x="238" y="363"/>
                </a:lnTo>
                <a:lnTo>
                  <a:pt x="243" y="363"/>
                </a:lnTo>
                <a:lnTo>
                  <a:pt x="243" y="357"/>
                </a:lnTo>
                <a:lnTo>
                  <a:pt x="249" y="357"/>
                </a:lnTo>
                <a:lnTo>
                  <a:pt x="249" y="352"/>
                </a:lnTo>
                <a:lnTo>
                  <a:pt x="249" y="346"/>
                </a:lnTo>
                <a:lnTo>
                  <a:pt x="255" y="346"/>
                </a:lnTo>
                <a:lnTo>
                  <a:pt x="260" y="346"/>
                </a:lnTo>
                <a:lnTo>
                  <a:pt x="255" y="352"/>
                </a:lnTo>
                <a:lnTo>
                  <a:pt x="260" y="352"/>
                </a:lnTo>
                <a:lnTo>
                  <a:pt x="266" y="352"/>
                </a:lnTo>
                <a:lnTo>
                  <a:pt x="266" y="346"/>
                </a:lnTo>
                <a:lnTo>
                  <a:pt x="272" y="346"/>
                </a:lnTo>
                <a:lnTo>
                  <a:pt x="272" y="352"/>
                </a:lnTo>
                <a:lnTo>
                  <a:pt x="277" y="352"/>
                </a:lnTo>
                <a:lnTo>
                  <a:pt x="277" y="346"/>
                </a:lnTo>
                <a:lnTo>
                  <a:pt x="283" y="340"/>
                </a:lnTo>
                <a:lnTo>
                  <a:pt x="289" y="340"/>
                </a:lnTo>
                <a:lnTo>
                  <a:pt x="300" y="340"/>
                </a:lnTo>
                <a:lnTo>
                  <a:pt x="306" y="340"/>
                </a:lnTo>
                <a:lnTo>
                  <a:pt x="306" y="335"/>
                </a:lnTo>
                <a:lnTo>
                  <a:pt x="311" y="335"/>
                </a:lnTo>
                <a:lnTo>
                  <a:pt x="317" y="329"/>
                </a:lnTo>
                <a:lnTo>
                  <a:pt x="317" y="323"/>
                </a:lnTo>
                <a:lnTo>
                  <a:pt x="317" y="317"/>
                </a:lnTo>
                <a:lnTo>
                  <a:pt x="317" y="312"/>
                </a:lnTo>
                <a:lnTo>
                  <a:pt x="317" y="306"/>
                </a:lnTo>
                <a:lnTo>
                  <a:pt x="323" y="306"/>
                </a:lnTo>
                <a:lnTo>
                  <a:pt x="323" y="300"/>
                </a:lnTo>
                <a:lnTo>
                  <a:pt x="323" y="295"/>
                </a:lnTo>
                <a:lnTo>
                  <a:pt x="328" y="295"/>
                </a:lnTo>
                <a:lnTo>
                  <a:pt x="328" y="300"/>
                </a:lnTo>
                <a:lnTo>
                  <a:pt x="334" y="300"/>
                </a:lnTo>
                <a:lnTo>
                  <a:pt x="340" y="300"/>
                </a:lnTo>
                <a:lnTo>
                  <a:pt x="340" y="295"/>
                </a:lnTo>
                <a:lnTo>
                  <a:pt x="345" y="295"/>
                </a:lnTo>
                <a:lnTo>
                  <a:pt x="351" y="295"/>
                </a:lnTo>
                <a:lnTo>
                  <a:pt x="357" y="300"/>
                </a:lnTo>
                <a:lnTo>
                  <a:pt x="362" y="300"/>
                </a:lnTo>
                <a:lnTo>
                  <a:pt x="362" y="295"/>
                </a:lnTo>
                <a:lnTo>
                  <a:pt x="368" y="289"/>
                </a:lnTo>
                <a:lnTo>
                  <a:pt x="374" y="283"/>
                </a:lnTo>
                <a:lnTo>
                  <a:pt x="374" y="278"/>
                </a:lnTo>
                <a:lnTo>
                  <a:pt x="368" y="278"/>
                </a:lnTo>
                <a:lnTo>
                  <a:pt x="368" y="272"/>
                </a:lnTo>
                <a:lnTo>
                  <a:pt x="374" y="272"/>
                </a:lnTo>
                <a:lnTo>
                  <a:pt x="374" y="278"/>
                </a:lnTo>
                <a:lnTo>
                  <a:pt x="379" y="278"/>
                </a:lnTo>
                <a:lnTo>
                  <a:pt x="385" y="272"/>
                </a:lnTo>
                <a:lnTo>
                  <a:pt x="385" y="266"/>
                </a:lnTo>
                <a:lnTo>
                  <a:pt x="391" y="266"/>
                </a:lnTo>
                <a:lnTo>
                  <a:pt x="396" y="266"/>
                </a:lnTo>
                <a:lnTo>
                  <a:pt x="396" y="261"/>
                </a:lnTo>
                <a:lnTo>
                  <a:pt x="402" y="261"/>
                </a:lnTo>
                <a:lnTo>
                  <a:pt x="408" y="255"/>
                </a:lnTo>
                <a:lnTo>
                  <a:pt x="413" y="255"/>
                </a:lnTo>
                <a:lnTo>
                  <a:pt x="413" y="249"/>
                </a:lnTo>
                <a:lnTo>
                  <a:pt x="413" y="244"/>
                </a:lnTo>
                <a:lnTo>
                  <a:pt x="413" y="238"/>
                </a:lnTo>
                <a:lnTo>
                  <a:pt x="419" y="238"/>
                </a:lnTo>
                <a:lnTo>
                  <a:pt x="419" y="232"/>
                </a:lnTo>
                <a:lnTo>
                  <a:pt x="413" y="227"/>
                </a:lnTo>
                <a:lnTo>
                  <a:pt x="419" y="227"/>
                </a:lnTo>
                <a:lnTo>
                  <a:pt x="425" y="227"/>
                </a:lnTo>
                <a:lnTo>
                  <a:pt x="430" y="221"/>
                </a:lnTo>
                <a:lnTo>
                  <a:pt x="436" y="221"/>
                </a:lnTo>
                <a:lnTo>
                  <a:pt x="442" y="215"/>
                </a:lnTo>
                <a:lnTo>
                  <a:pt x="447" y="210"/>
                </a:lnTo>
                <a:lnTo>
                  <a:pt x="447" y="204"/>
                </a:lnTo>
                <a:lnTo>
                  <a:pt x="447" y="198"/>
                </a:lnTo>
                <a:lnTo>
                  <a:pt x="447" y="193"/>
                </a:lnTo>
                <a:lnTo>
                  <a:pt x="459" y="187"/>
                </a:lnTo>
                <a:lnTo>
                  <a:pt x="464" y="181"/>
                </a:lnTo>
                <a:lnTo>
                  <a:pt x="476" y="176"/>
                </a:lnTo>
                <a:lnTo>
                  <a:pt x="476" y="170"/>
                </a:lnTo>
                <a:lnTo>
                  <a:pt x="476" y="159"/>
                </a:lnTo>
                <a:lnTo>
                  <a:pt x="481" y="159"/>
                </a:lnTo>
                <a:lnTo>
                  <a:pt x="481" y="153"/>
                </a:lnTo>
                <a:lnTo>
                  <a:pt x="487" y="147"/>
                </a:lnTo>
                <a:lnTo>
                  <a:pt x="493" y="147"/>
                </a:lnTo>
                <a:lnTo>
                  <a:pt x="504" y="142"/>
                </a:lnTo>
                <a:lnTo>
                  <a:pt x="510" y="136"/>
                </a:lnTo>
                <a:lnTo>
                  <a:pt x="515" y="130"/>
                </a:lnTo>
                <a:lnTo>
                  <a:pt x="521" y="130"/>
                </a:lnTo>
                <a:lnTo>
                  <a:pt x="527" y="125"/>
                </a:lnTo>
                <a:lnTo>
                  <a:pt x="532" y="125"/>
                </a:lnTo>
                <a:lnTo>
                  <a:pt x="544" y="119"/>
                </a:lnTo>
                <a:lnTo>
                  <a:pt x="555" y="119"/>
                </a:lnTo>
                <a:lnTo>
                  <a:pt x="561" y="119"/>
                </a:lnTo>
                <a:lnTo>
                  <a:pt x="566" y="125"/>
                </a:lnTo>
                <a:lnTo>
                  <a:pt x="572" y="125"/>
                </a:lnTo>
                <a:lnTo>
                  <a:pt x="578" y="125"/>
                </a:lnTo>
                <a:lnTo>
                  <a:pt x="583" y="119"/>
                </a:lnTo>
                <a:lnTo>
                  <a:pt x="589" y="119"/>
                </a:lnTo>
                <a:lnTo>
                  <a:pt x="595" y="119"/>
                </a:lnTo>
                <a:lnTo>
                  <a:pt x="600" y="119"/>
                </a:lnTo>
                <a:lnTo>
                  <a:pt x="612" y="113"/>
                </a:lnTo>
                <a:lnTo>
                  <a:pt x="617" y="113"/>
                </a:lnTo>
                <a:lnTo>
                  <a:pt x="617" y="108"/>
                </a:lnTo>
                <a:lnTo>
                  <a:pt x="623" y="108"/>
                </a:lnTo>
                <a:lnTo>
                  <a:pt x="629" y="108"/>
                </a:lnTo>
                <a:lnTo>
                  <a:pt x="629" y="102"/>
                </a:lnTo>
                <a:lnTo>
                  <a:pt x="634" y="102"/>
                </a:lnTo>
                <a:lnTo>
                  <a:pt x="640" y="102"/>
                </a:lnTo>
                <a:lnTo>
                  <a:pt x="651" y="96"/>
                </a:lnTo>
                <a:lnTo>
                  <a:pt x="657" y="96"/>
                </a:lnTo>
                <a:lnTo>
                  <a:pt x="657" y="91"/>
                </a:lnTo>
                <a:lnTo>
                  <a:pt x="663" y="91"/>
                </a:lnTo>
                <a:lnTo>
                  <a:pt x="668" y="91"/>
                </a:lnTo>
                <a:lnTo>
                  <a:pt x="668" y="85"/>
                </a:lnTo>
                <a:lnTo>
                  <a:pt x="674" y="91"/>
                </a:lnTo>
                <a:lnTo>
                  <a:pt x="680" y="91"/>
                </a:lnTo>
                <a:lnTo>
                  <a:pt x="685" y="85"/>
                </a:lnTo>
                <a:lnTo>
                  <a:pt x="691" y="74"/>
                </a:lnTo>
                <a:lnTo>
                  <a:pt x="691" y="68"/>
                </a:lnTo>
                <a:lnTo>
                  <a:pt x="697" y="68"/>
                </a:lnTo>
                <a:lnTo>
                  <a:pt x="691" y="57"/>
                </a:lnTo>
                <a:lnTo>
                  <a:pt x="691" y="51"/>
                </a:lnTo>
                <a:lnTo>
                  <a:pt x="697" y="51"/>
                </a:lnTo>
                <a:lnTo>
                  <a:pt x="697" y="45"/>
                </a:lnTo>
                <a:lnTo>
                  <a:pt x="702" y="45"/>
                </a:lnTo>
                <a:lnTo>
                  <a:pt x="702" y="40"/>
                </a:lnTo>
                <a:lnTo>
                  <a:pt x="708" y="34"/>
                </a:lnTo>
                <a:lnTo>
                  <a:pt x="708" y="28"/>
                </a:lnTo>
                <a:lnTo>
                  <a:pt x="714" y="28"/>
                </a:lnTo>
                <a:lnTo>
                  <a:pt x="719" y="28"/>
                </a:lnTo>
                <a:lnTo>
                  <a:pt x="725" y="28"/>
                </a:lnTo>
                <a:lnTo>
                  <a:pt x="731" y="28"/>
                </a:lnTo>
                <a:lnTo>
                  <a:pt x="731" y="23"/>
                </a:lnTo>
                <a:lnTo>
                  <a:pt x="736" y="23"/>
                </a:lnTo>
                <a:lnTo>
                  <a:pt x="742" y="23"/>
                </a:lnTo>
                <a:lnTo>
                  <a:pt x="748" y="23"/>
                </a:lnTo>
                <a:lnTo>
                  <a:pt x="753" y="17"/>
                </a:lnTo>
                <a:lnTo>
                  <a:pt x="759" y="17"/>
                </a:lnTo>
                <a:lnTo>
                  <a:pt x="765" y="17"/>
                </a:lnTo>
                <a:lnTo>
                  <a:pt x="770" y="17"/>
                </a:lnTo>
                <a:lnTo>
                  <a:pt x="776" y="17"/>
                </a:lnTo>
                <a:lnTo>
                  <a:pt x="782" y="17"/>
                </a:lnTo>
                <a:lnTo>
                  <a:pt x="787" y="17"/>
                </a:lnTo>
                <a:lnTo>
                  <a:pt x="787" y="23"/>
                </a:lnTo>
                <a:lnTo>
                  <a:pt x="793" y="23"/>
                </a:lnTo>
                <a:lnTo>
                  <a:pt x="799" y="23"/>
                </a:lnTo>
                <a:lnTo>
                  <a:pt x="804" y="23"/>
                </a:lnTo>
                <a:lnTo>
                  <a:pt x="804" y="17"/>
                </a:lnTo>
                <a:lnTo>
                  <a:pt x="810" y="17"/>
                </a:lnTo>
                <a:lnTo>
                  <a:pt x="816" y="17"/>
                </a:lnTo>
                <a:lnTo>
                  <a:pt x="821" y="11"/>
                </a:lnTo>
                <a:lnTo>
                  <a:pt x="827" y="11"/>
                </a:lnTo>
                <a:lnTo>
                  <a:pt x="833" y="17"/>
                </a:lnTo>
                <a:lnTo>
                  <a:pt x="838" y="17"/>
                </a:lnTo>
                <a:lnTo>
                  <a:pt x="844" y="17"/>
                </a:lnTo>
                <a:lnTo>
                  <a:pt x="844" y="11"/>
                </a:lnTo>
                <a:lnTo>
                  <a:pt x="850" y="6"/>
                </a:lnTo>
                <a:lnTo>
                  <a:pt x="855" y="6"/>
                </a:lnTo>
                <a:lnTo>
                  <a:pt x="861" y="6"/>
                </a:lnTo>
                <a:lnTo>
                  <a:pt x="861" y="11"/>
                </a:lnTo>
                <a:lnTo>
                  <a:pt x="867" y="11"/>
                </a:lnTo>
                <a:lnTo>
                  <a:pt x="867" y="6"/>
                </a:lnTo>
                <a:lnTo>
                  <a:pt x="873" y="6"/>
                </a:lnTo>
                <a:lnTo>
                  <a:pt x="878" y="0"/>
                </a:lnTo>
                <a:lnTo>
                  <a:pt x="878" y="6"/>
                </a:lnTo>
                <a:lnTo>
                  <a:pt x="884" y="6"/>
                </a:lnTo>
                <a:lnTo>
                  <a:pt x="890" y="6"/>
                </a:lnTo>
                <a:lnTo>
                  <a:pt x="895" y="6"/>
                </a:lnTo>
                <a:lnTo>
                  <a:pt x="901" y="6"/>
                </a:lnTo>
                <a:lnTo>
                  <a:pt x="907" y="6"/>
                </a:lnTo>
                <a:lnTo>
                  <a:pt x="918" y="11"/>
                </a:lnTo>
                <a:lnTo>
                  <a:pt x="924" y="11"/>
                </a:lnTo>
                <a:lnTo>
                  <a:pt x="924" y="17"/>
                </a:lnTo>
                <a:lnTo>
                  <a:pt x="929" y="11"/>
                </a:lnTo>
                <a:lnTo>
                  <a:pt x="929" y="17"/>
                </a:lnTo>
                <a:lnTo>
                  <a:pt x="935" y="17"/>
                </a:lnTo>
                <a:lnTo>
                  <a:pt x="941" y="17"/>
                </a:lnTo>
                <a:lnTo>
                  <a:pt x="946" y="17"/>
                </a:lnTo>
                <a:lnTo>
                  <a:pt x="952" y="23"/>
                </a:lnTo>
                <a:lnTo>
                  <a:pt x="958" y="28"/>
                </a:lnTo>
                <a:lnTo>
                  <a:pt x="963" y="28"/>
                </a:lnTo>
                <a:lnTo>
                  <a:pt x="969" y="28"/>
                </a:lnTo>
                <a:lnTo>
                  <a:pt x="975" y="34"/>
                </a:lnTo>
                <a:lnTo>
                  <a:pt x="980" y="34"/>
                </a:lnTo>
                <a:lnTo>
                  <a:pt x="980" y="40"/>
                </a:lnTo>
                <a:lnTo>
                  <a:pt x="986" y="40"/>
                </a:lnTo>
                <a:lnTo>
                  <a:pt x="992" y="45"/>
                </a:lnTo>
                <a:lnTo>
                  <a:pt x="997" y="45"/>
                </a:lnTo>
                <a:lnTo>
                  <a:pt x="1003" y="51"/>
                </a:lnTo>
                <a:lnTo>
                  <a:pt x="1009" y="51"/>
                </a:lnTo>
                <a:lnTo>
                  <a:pt x="1009" y="45"/>
                </a:lnTo>
                <a:lnTo>
                  <a:pt x="1014" y="45"/>
                </a:lnTo>
                <a:lnTo>
                  <a:pt x="1020" y="45"/>
                </a:lnTo>
                <a:lnTo>
                  <a:pt x="1026" y="45"/>
                </a:lnTo>
                <a:lnTo>
                  <a:pt x="1031" y="51"/>
                </a:lnTo>
                <a:lnTo>
                  <a:pt x="1037" y="57"/>
                </a:lnTo>
                <a:lnTo>
                  <a:pt x="1043" y="62"/>
                </a:lnTo>
                <a:lnTo>
                  <a:pt x="1048" y="62"/>
                </a:lnTo>
                <a:lnTo>
                  <a:pt x="1060" y="62"/>
                </a:lnTo>
                <a:lnTo>
                  <a:pt x="1065" y="62"/>
                </a:lnTo>
                <a:lnTo>
                  <a:pt x="1077" y="57"/>
                </a:lnTo>
                <a:lnTo>
                  <a:pt x="1082" y="57"/>
                </a:lnTo>
                <a:lnTo>
                  <a:pt x="1088" y="57"/>
                </a:lnTo>
                <a:lnTo>
                  <a:pt x="1094" y="51"/>
                </a:lnTo>
                <a:lnTo>
                  <a:pt x="1099" y="51"/>
                </a:lnTo>
                <a:lnTo>
                  <a:pt x="1105" y="51"/>
                </a:lnTo>
                <a:lnTo>
                  <a:pt x="1105" y="57"/>
                </a:lnTo>
                <a:lnTo>
                  <a:pt x="1111" y="57"/>
                </a:lnTo>
                <a:lnTo>
                  <a:pt x="1116" y="57"/>
                </a:lnTo>
                <a:lnTo>
                  <a:pt x="1116" y="51"/>
                </a:lnTo>
                <a:lnTo>
                  <a:pt x="1122" y="51"/>
                </a:lnTo>
                <a:lnTo>
                  <a:pt x="1128" y="51"/>
                </a:lnTo>
                <a:lnTo>
                  <a:pt x="1128" y="57"/>
                </a:lnTo>
                <a:lnTo>
                  <a:pt x="1133" y="57"/>
                </a:lnTo>
                <a:lnTo>
                  <a:pt x="1139" y="57"/>
                </a:lnTo>
                <a:lnTo>
                  <a:pt x="1139" y="51"/>
                </a:lnTo>
                <a:lnTo>
                  <a:pt x="1145" y="51"/>
                </a:lnTo>
                <a:lnTo>
                  <a:pt x="1150" y="51"/>
                </a:lnTo>
                <a:lnTo>
                  <a:pt x="1156" y="51"/>
                </a:lnTo>
                <a:lnTo>
                  <a:pt x="1162" y="51"/>
                </a:lnTo>
                <a:lnTo>
                  <a:pt x="1173" y="51"/>
                </a:lnTo>
                <a:lnTo>
                  <a:pt x="1179" y="51"/>
                </a:lnTo>
                <a:lnTo>
                  <a:pt x="1184" y="45"/>
                </a:lnTo>
                <a:lnTo>
                  <a:pt x="1190" y="45"/>
                </a:lnTo>
                <a:lnTo>
                  <a:pt x="1196" y="45"/>
                </a:lnTo>
                <a:lnTo>
                  <a:pt x="1201" y="51"/>
                </a:lnTo>
                <a:lnTo>
                  <a:pt x="1207" y="45"/>
                </a:lnTo>
                <a:lnTo>
                  <a:pt x="1207" y="51"/>
                </a:lnTo>
                <a:lnTo>
                  <a:pt x="1213" y="51"/>
                </a:lnTo>
                <a:lnTo>
                  <a:pt x="1218" y="51"/>
                </a:lnTo>
                <a:lnTo>
                  <a:pt x="1224" y="51"/>
                </a:lnTo>
                <a:lnTo>
                  <a:pt x="1230" y="57"/>
                </a:lnTo>
                <a:lnTo>
                  <a:pt x="1235" y="57"/>
                </a:lnTo>
                <a:lnTo>
                  <a:pt x="1241" y="57"/>
                </a:lnTo>
                <a:lnTo>
                  <a:pt x="1247" y="57"/>
                </a:lnTo>
                <a:lnTo>
                  <a:pt x="1247" y="62"/>
                </a:lnTo>
                <a:lnTo>
                  <a:pt x="1252" y="62"/>
                </a:lnTo>
                <a:lnTo>
                  <a:pt x="1264" y="57"/>
                </a:lnTo>
                <a:lnTo>
                  <a:pt x="1269" y="57"/>
                </a:lnTo>
                <a:lnTo>
                  <a:pt x="1275" y="57"/>
                </a:lnTo>
                <a:lnTo>
                  <a:pt x="1281" y="57"/>
                </a:lnTo>
                <a:lnTo>
                  <a:pt x="1286" y="62"/>
                </a:lnTo>
                <a:lnTo>
                  <a:pt x="1286" y="68"/>
                </a:lnTo>
                <a:lnTo>
                  <a:pt x="1292" y="68"/>
                </a:lnTo>
                <a:lnTo>
                  <a:pt x="1298" y="62"/>
                </a:lnTo>
                <a:lnTo>
                  <a:pt x="1303" y="68"/>
                </a:lnTo>
                <a:lnTo>
                  <a:pt x="1309" y="74"/>
                </a:lnTo>
                <a:lnTo>
                  <a:pt x="1309" y="79"/>
                </a:lnTo>
                <a:lnTo>
                  <a:pt x="1315" y="79"/>
                </a:lnTo>
                <a:lnTo>
                  <a:pt x="1326" y="125"/>
                </a:lnTo>
                <a:lnTo>
                  <a:pt x="1337" y="170"/>
                </a:lnTo>
                <a:lnTo>
                  <a:pt x="1360" y="238"/>
                </a:lnTo>
                <a:lnTo>
                  <a:pt x="1360" y="249"/>
                </a:lnTo>
                <a:lnTo>
                  <a:pt x="1366" y="255"/>
                </a:lnTo>
                <a:lnTo>
                  <a:pt x="1366" y="272"/>
                </a:lnTo>
                <a:lnTo>
                  <a:pt x="1371" y="283"/>
                </a:lnTo>
                <a:lnTo>
                  <a:pt x="1371" y="300"/>
                </a:lnTo>
                <a:lnTo>
                  <a:pt x="1371" y="312"/>
                </a:lnTo>
                <a:lnTo>
                  <a:pt x="1371" y="317"/>
                </a:lnTo>
                <a:lnTo>
                  <a:pt x="1366" y="346"/>
                </a:lnTo>
                <a:lnTo>
                  <a:pt x="1371" y="363"/>
                </a:lnTo>
                <a:lnTo>
                  <a:pt x="1371" y="369"/>
                </a:lnTo>
                <a:lnTo>
                  <a:pt x="1394" y="391"/>
                </a:lnTo>
                <a:lnTo>
                  <a:pt x="1400" y="403"/>
                </a:lnTo>
                <a:lnTo>
                  <a:pt x="1405" y="431"/>
                </a:lnTo>
                <a:lnTo>
                  <a:pt x="1417" y="476"/>
                </a:lnTo>
                <a:lnTo>
                  <a:pt x="1445" y="493"/>
                </a:lnTo>
                <a:lnTo>
                  <a:pt x="1451" y="493"/>
                </a:lnTo>
                <a:lnTo>
                  <a:pt x="1445" y="493"/>
                </a:lnTo>
                <a:lnTo>
                  <a:pt x="1439" y="499"/>
                </a:lnTo>
                <a:lnTo>
                  <a:pt x="1434" y="499"/>
                </a:lnTo>
                <a:lnTo>
                  <a:pt x="1428" y="499"/>
                </a:lnTo>
                <a:lnTo>
                  <a:pt x="1422" y="493"/>
                </a:lnTo>
                <a:lnTo>
                  <a:pt x="1422" y="499"/>
                </a:lnTo>
                <a:lnTo>
                  <a:pt x="1417" y="499"/>
                </a:lnTo>
                <a:lnTo>
                  <a:pt x="1417" y="505"/>
                </a:lnTo>
                <a:lnTo>
                  <a:pt x="1411" y="505"/>
                </a:lnTo>
                <a:lnTo>
                  <a:pt x="1411" y="510"/>
                </a:lnTo>
                <a:lnTo>
                  <a:pt x="1405" y="516"/>
                </a:lnTo>
                <a:lnTo>
                  <a:pt x="1405" y="522"/>
                </a:lnTo>
                <a:lnTo>
                  <a:pt x="1400" y="522"/>
                </a:lnTo>
                <a:lnTo>
                  <a:pt x="1394" y="522"/>
                </a:lnTo>
                <a:lnTo>
                  <a:pt x="1388" y="516"/>
                </a:lnTo>
                <a:lnTo>
                  <a:pt x="1388" y="510"/>
                </a:lnTo>
                <a:lnTo>
                  <a:pt x="1383" y="510"/>
                </a:lnTo>
                <a:lnTo>
                  <a:pt x="1377" y="510"/>
                </a:lnTo>
                <a:lnTo>
                  <a:pt x="1377" y="516"/>
                </a:lnTo>
                <a:lnTo>
                  <a:pt x="1377" y="522"/>
                </a:lnTo>
                <a:lnTo>
                  <a:pt x="1371" y="522"/>
                </a:lnTo>
                <a:lnTo>
                  <a:pt x="1366" y="516"/>
                </a:lnTo>
                <a:lnTo>
                  <a:pt x="1360" y="516"/>
                </a:lnTo>
                <a:lnTo>
                  <a:pt x="1360" y="522"/>
                </a:lnTo>
                <a:lnTo>
                  <a:pt x="1354" y="522"/>
                </a:lnTo>
                <a:lnTo>
                  <a:pt x="1354" y="516"/>
                </a:lnTo>
                <a:lnTo>
                  <a:pt x="1349" y="516"/>
                </a:lnTo>
                <a:lnTo>
                  <a:pt x="1343" y="516"/>
                </a:lnTo>
                <a:lnTo>
                  <a:pt x="1343" y="510"/>
                </a:lnTo>
                <a:lnTo>
                  <a:pt x="1337" y="510"/>
                </a:lnTo>
                <a:lnTo>
                  <a:pt x="1332" y="510"/>
                </a:lnTo>
                <a:lnTo>
                  <a:pt x="1332" y="516"/>
                </a:lnTo>
                <a:lnTo>
                  <a:pt x="1326" y="516"/>
                </a:lnTo>
                <a:lnTo>
                  <a:pt x="1326" y="522"/>
                </a:lnTo>
                <a:lnTo>
                  <a:pt x="1320" y="522"/>
                </a:lnTo>
                <a:lnTo>
                  <a:pt x="1315" y="522"/>
                </a:lnTo>
                <a:lnTo>
                  <a:pt x="1309" y="522"/>
                </a:lnTo>
                <a:lnTo>
                  <a:pt x="1309" y="527"/>
                </a:lnTo>
                <a:lnTo>
                  <a:pt x="1303" y="527"/>
                </a:lnTo>
                <a:lnTo>
                  <a:pt x="1298" y="527"/>
                </a:lnTo>
                <a:lnTo>
                  <a:pt x="1292" y="527"/>
                </a:lnTo>
                <a:lnTo>
                  <a:pt x="1292" y="533"/>
                </a:lnTo>
                <a:lnTo>
                  <a:pt x="1286" y="533"/>
                </a:lnTo>
                <a:lnTo>
                  <a:pt x="1343" y="539"/>
                </a:lnTo>
                <a:lnTo>
                  <a:pt x="1343" y="550"/>
                </a:lnTo>
                <a:lnTo>
                  <a:pt x="1332" y="556"/>
                </a:lnTo>
                <a:lnTo>
                  <a:pt x="1332" y="573"/>
                </a:lnTo>
                <a:lnTo>
                  <a:pt x="1332" y="584"/>
                </a:lnTo>
                <a:lnTo>
                  <a:pt x="1320" y="601"/>
                </a:lnTo>
                <a:lnTo>
                  <a:pt x="1315" y="612"/>
                </a:lnTo>
                <a:lnTo>
                  <a:pt x="1315" y="618"/>
                </a:lnTo>
                <a:lnTo>
                  <a:pt x="1309" y="635"/>
                </a:lnTo>
                <a:lnTo>
                  <a:pt x="1337" y="635"/>
                </a:lnTo>
                <a:lnTo>
                  <a:pt x="1332" y="641"/>
                </a:lnTo>
                <a:lnTo>
                  <a:pt x="1332" y="646"/>
                </a:lnTo>
                <a:lnTo>
                  <a:pt x="1332" y="652"/>
                </a:lnTo>
                <a:lnTo>
                  <a:pt x="1337" y="658"/>
                </a:lnTo>
                <a:lnTo>
                  <a:pt x="1360" y="669"/>
                </a:lnTo>
                <a:lnTo>
                  <a:pt x="1371" y="675"/>
                </a:lnTo>
                <a:lnTo>
                  <a:pt x="1371" y="680"/>
                </a:lnTo>
                <a:lnTo>
                  <a:pt x="1366" y="680"/>
                </a:lnTo>
                <a:lnTo>
                  <a:pt x="1366" y="686"/>
                </a:lnTo>
                <a:lnTo>
                  <a:pt x="1360" y="686"/>
                </a:lnTo>
                <a:lnTo>
                  <a:pt x="1354" y="686"/>
                </a:lnTo>
                <a:lnTo>
                  <a:pt x="1349" y="686"/>
                </a:lnTo>
                <a:lnTo>
                  <a:pt x="1349" y="692"/>
                </a:lnTo>
                <a:lnTo>
                  <a:pt x="1349" y="703"/>
                </a:lnTo>
                <a:lnTo>
                  <a:pt x="1326" y="703"/>
                </a:lnTo>
                <a:lnTo>
                  <a:pt x="1315" y="703"/>
                </a:lnTo>
                <a:lnTo>
                  <a:pt x="1298" y="703"/>
                </a:lnTo>
                <a:lnTo>
                  <a:pt x="1298" y="731"/>
                </a:lnTo>
                <a:lnTo>
                  <a:pt x="1298" y="737"/>
                </a:lnTo>
                <a:lnTo>
                  <a:pt x="1303" y="737"/>
                </a:lnTo>
                <a:lnTo>
                  <a:pt x="1309" y="737"/>
                </a:lnTo>
                <a:lnTo>
                  <a:pt x="1315" y="737"/>
                </a:lnTo>
                <a:lnTo>
                  <a:pt x="1320" y="743"/>
                </a:lnTo>
                <a:lnTo>
                  <a:pt x="1332" y="743"/>
                </a:lnTo>
                <a:lnTo>
                  <a:pt x="1332" y="754"/>
                </a:lnTo>
                <a:lnTo>
                  <a:pt x="1332" y="760"/>
                </a:lnTo>
                <a:lnTo>
                  <a:pt x="1320" y="760"/>
                </a:lnTo>
                <a:lnTo>
                  <a:pt x="1320" y="771"/>
                </a:lnTo>
                <a:lnTo>
                  <a:pt x="1315" y="771"/>
                </a:lnTo>
                <a:lnTo>
                  <a:pt x="1309" y="771"/>
                </a:lnTo>
                <a:lnTo>
                  <a:pt x="1303" y="771"/>
                </a:lnTo>
                <a:lnTo>
                  <a:pt x="1298" y="771"/>
                </a:lnTo>
                <a:lnTo>
                  <a:pt x="1292" y="771"/>
                </a:lnTo>
                <a:lnTo>
                  <a:pt x="1286" y="771"/>
                </a:lnTo>
                <a:lnTo>
                  <a:pt x="1281" y="771"/>
                </a:lnTo>
                <a:lnTo>
                  <a:pt x="1275" y="771"/>
                </a:lnTo>
                <a:lnTo>
                  <a:pt x="1275" y="777"/>
                </a:lnTo>
                <a:lnTo>
                  <a:pt x="1269" y="782"/>
                </a:lnTo>
                <a:lnTo>
                  <a:pt x="1264" y="782"/>
                </a:lnTo>
                <a:lnTo>
                  <a:pt x="1258" y="782"/>
                </a:lnTo>
                <a:lnTo>
                  <a:pt x="1252" y="782"/>
                </a:lnTo>
                <a:lnTo>
                  <a:pt x="1247" y="782"/>
                </a:lnTo>
                <a:lnTo>
                  <a:pt x="1241" y="782"/>
                </a:lnTo>
                <a:lnTo>
                  <a:pt x="1235" y="782"/>
                </a:lnTo>
                <a:lnTo>
                  <a:pt x="1235" y="777"/>
                </a:lnTo>
                <a:lnTo>
                  <a:pt x="1235" y="771"/>
                </a:lnTo>
                <a:lnTo>
                  <a:pt x="1235" y="765"/>
                </a:lnTo>
                <a:lnTo>
                  <a:pt x="1235" y="760"/>
                </a:lnTo>
                <a:lnTo>
                  <a:pt x="1235" y="754"/>
                </a:lnTo>
                <a:lnTo>
                  <a:pt x="1230" y="743"/>
                </a:lnTo>
                <a:lnTo>
                  <a:pt x="1207" y="743"/>
                </a:lnTo>
                <a:lnTo>
                  <a:pt x="1201" y="743"/>
                </a:lnTo>
                <a:lnTo>
                  <a:pt x="1196" y="743"/>
                </a:lnTo>
                <a:lnTo>
                  <a:pt x="1196" y="737"/>
                </a:lnTo>
                <a:lnTo>
                  <a:pt x="1196" y="731"/>
                </a:lnTo>
                <a:lnTo>
                  <a:pt x="1190" y="726"/>
                </a:lnTo>
                <a:lnTo>
                  <a:pt x="1190" y="720"/>
                </a:lnTo>
                <a:lnTo>
                  <a:pt x="1184" y="709"/>
                </a:lnTo>
                <a:lnTo>
                  <a:pt x="1196" y="697"/>
                </a:lnTo>
                <a:lnTo>
                  <a:pt x="1196" y="686"/>
                </a:lnTo>
                <a:lnTo>
                  <a:pt x="1196" y="680"/>
                </a:lnTo>
                <a:lnTo>
                  <a:pt x="1179" y="675"/>
                </a:lnTo>
                <a:lnTo>
                  <a:pt x="1179" y="669"/>
                </a:lnTo>
                <a:lnTo>
                  <a:pt x="1173" y="663"/>
                </a:lnTo>
                <a:lnTo>
                  <a:pt x="1179" y="658"/>
                </a:lnTo>
                <a:lnTo>
                  <a:pt x="1184" y="658"/>
                </a:lnTo>
                <a:lnTo>
                  <a:pt x="1184" y="652"/>
                </a:lnTo>
                <a:lnTo>
                  <a:pt x="1179" y="646"/>
                </a:lnTo>
                <a:lnTo>
                  <a:pt x="1167" y="635"/>
                </a:lnTo>
                <a:lnTo>
                  <a:pt x="1150" y="618"/>
                </a:lnTo>
                <a:lnTo>
                  <a:pt x="1145" y="629"/>
                </a:lnTo>
                <a:lnTo>
                  <a:pt x="1139" y="635"/>
                </a:lnTo>
                <a:lnTo>
                  <a:pt x="1139" y="646"/>
                </a:lnTo>
                <a:lnTo>
                  <a:pt x="1122" y="652"/>
                </a:lnTo>
                <a:lnTo>
                  <a:pt x="1116" y="646"/>
                </a:lnTo>
                <a:lnTo>
                  <a:pt x="1111" y="646"/>
                </a:lnTo>
                <a:lnTo>
                  <a:pt x="1111" y="658"/>
                </a:lnTo>
                <a:lnTo>
                  <a:pt x="1111" y="663"/>
                </a:lnTo>
                <a:lnTo>
                  <a:pt x="1105" y="663"/>
                </a:lnTo>
                <a:lnTo>
                  <a:pt x="1105" y="669"/>
                </a:lnTo>
                <a:lnTo>
                  <a:pt x="1094" y="680"/>
                </a:lnTo>
                <a:lnTo>
                  <a:pt x="1077" y="692"/>
                </a:lnTo>
                <a:lnTo>
                  <a:pt x="1077" y="686"/>
                </a:lnTo>
                <a:lnTo>
                  <a:pt x="1077" y="680"/>
                </a:lnTo>
                <a:lnTo>
                  <a:pt x="1071" y="680"/>
                </a:lnTo>
                <a:lnTo>
                  <a:pt x="1065" y="680"/>
                </a:lnTo>
                <a:lnTo>
                  <a:pt x="1060" y="680"/>
                </a:lnTo>
                <a:lnTo>
                  <a:pt x="1054" y="680"/>
                </a:lnTo>
                <a:lnTo>
                  <a:pt x="1054" y="675"/>
                </a:lnTo>
                <a:lnTo>
                  <a:pt x="1048" y="675"/>
                </a:lnTo>
                <a:lnTo>
                  <a:pt x="1048" y="680"/>
                </a:lnTo>
                <a:lnTo>
                  <a:pt x="1043" y="680"/>
                </a:lnTo>
                <a:lnTo>
                  <a:pt x="1037" y="680"/>
                </a:lnTo>
                <a:lnTo>
                  <a:pt x="1031" y="680"/>
                </a:lnTo>
                <a:lnTo>
                  <a:pt x="1031" y="686"/>
                </a:lnTo>
                <a:lnTo>
                  <a:pt x="1031" y="692"/>
                </a:lnTo>
                <a:lnTo>
                  <a:pt x="1026" y="692"/>
                </a:lnTo>
                <a:lnTo>
                  <a:pt x="1020" y="692"/>
                </a:lnTo>
                <a:lnTo>
                  <a:pt x="986" y="697"/>
                </a:lnTo>
                <a:lnTo>
                  <a:pt x="986" y="703"/>
                </a:lnTo>
                <a:lnTo>
                  <a:pt x="980" y="714"/>
                </a:lnTo>
                <a:lnTo>
                  <a:pt x="980" y="720"/>
                </a:lnTo>
                <a:lnTo>
                  <a:pt x="963" y="726"/>
                </a:lnTo>
                <a:lnTo>
                  <a:pt x="929" y="754"/>
                </a:lnTo>
                <a:lnTo>
                  <a:pt x="912" y="765"/>
                </a:lnTo>
                <a:lnTo>
                  <a:pt x="895" y="777"/>
                </a:lnTo>
                <a:lnTo>
                  <a:pt x="895" y="782"/>
                </a:lnTo>
                <a:lnTo>
                  <a:pt x="878" y="782"/>
                </a:lnTo>
                <a:lnTo>
                  <a:pt x="878" y="794"/>
                </a:lnTo>
                <a:lnTo>
                  <a:pt x="884" y="794"/>
                </a:lnTo>
                <a:lnTo>
                  <a:pt x="890" y="794"/>
                </a:lnTo>
                <a:lnTo>
                  <a:pt x="895" y="805"/>
                </a:lnTo>
                <a:lnTo>
                  <a:pt x="895" y="811"/>
                </a:lnTo>
                <a:lnTo>
                  <a:pt x="884" y="816"/>
                </a:lnTo>
                <a:lnTo>
                  <a:pt x="884" y="822"/>
                </a:lnTo>
                <a:lnTo>
                  <a:pt x="873" y="833"/>
                </a:lnTo>
                <a:lnTo>
                  <a:pt x="867" y="828"/>
                </a:lnTo>
                <a:lnTo>
                  <a:pt x="844" y="828"/>
                </a:lnTo>
                <a:lnTo>
                  <a:pt x="827" y="822"/>
                </a:lnTo>
                <a:lnTo>
                  <a:pt x="827" y="816"/>
                </a:lnTo>
                <a:lnTo>
                  <a:pt x="816" y="805"/>
                </a:lnTo>
                <a:lnTo>
                  <a:pt x="810" y="799"/>
                </a:lnTo>
                <a:lnTo>
                  <a:pt x="810" y="805"/>
                </a:lnTo>
                <a:lnTo>
                  <a:pt x="804" y="799"/>
                </a:lnTo>
                <a:lnTo>
                  <a:pt x="799" y="794"/>
                </a:lnTo>
                <a:lnTo>
                  <a:pt x="799" y="788"/>
                </a:lnTo>
                <a:lnTo>
                  <a:pt x="793" y="782"/>
                </a:lnTo>
                <a:lnTo>
                  <a:pt x="787" y="777"/>
                </a:lnTo>
                <a:lnTo>
                  <a:pt x="787" y="771"/>
                </a:lnTo>
                <a:lnTo>
                  <a:pt x="782" y="771"/>
                </a:lnTo>
                <a:lnTo>
                  <a:pt x="776" y="777"/>
                </a:lnTo>
                <a:lnTo>
                  <a:pt x="770" y="777"/>
                </a:lnTo>
                <a:lnTo>
                  <a:pt x="770" y="771"/>
                </a:lnTo>
                <a:lnTo>
                  <a:pt x="776" y="771"/>
                </a:lnTo>
                <a:lnTo>
                  <a:pt x="782" y="765"/>
                </a:lnTo>
                <a:lnTo>
                  <a:pt x="782" y="760"/>
                </a:lnTo>
                <a:lnTo>
                  <a:pt x="782" y="754"/>
                </a:lnTo>
                <a:lnTo>
                  <a:pt x="776" y="748"/>
                </a:lnTo>
                <a:lnTo>
                  <a:pt x="776" y="743"/>
                </a:lnTo>
                <a:lnTo>
                  <a:pt x="770" y="737"/>
                </a:lnTo>
                <a:lnTo>
                  <a:pt x="776" y="731"/>
                </a:lnTo>
                <a:lnTo>
                  <a:pt x="759" y="731"/>
                </a:lnTo>
                <a:lnTo>
                  <a:pt x="748" y="726"/>
                </a:lnTo>
                <a:lnTo>
                  <a:pt x="731" y="731"/>
                </a:lnTo>
                <a:lnTo>
                  <a:pt x="731" y="737"/>
                </a:lnTo>
                <a:lnTo>
                  <a:pt x="731" y="743"/>
                </a:lnTo>
                <a:lnTo>
                  <a:pt x="731" y="748"/>
                </a:lnTo>
                <a:lnTo>
                  <a:pt x="725" y="748"/>
                </a:lnTo>
                <a:lnTo>
                  <a:pt x="725" y="760"/>
                </a:lnTo>
                <a:lnTo>
                  <a:pt x="697" y="771"/>
                </a:lnTo>
                <a:lnTo>
                  <a:pt x="691" y="748"/>
                </a:lnTo>
                <a:lnTo>
                  <a:pt x="685" y="748"/>
                </a:lnTo>
                <a:lnTo>
                  <a:pt x="685" y="743"/>
                </a:lnTo>
                <a:lnTo>
                  <a:pt x="663" y="737"/>
                </a:lnTo>
                <a:lnTo>
                  <a:pt x="663" y="760"/>
                </a:lnTo>
                <a:lnTo>
                  <a:pt x="657" y="754"/>
                </a:lnTo>
                <a:lnTo>
                  <a:pt x="651" y="760"/>
                </a:lnTo>
                <a:lnTo>
                  <a:pt x="640" y="760"/>
                </a:lnTo>
                <a:lnTo>
                  <a:pt x="629" y="754"/>
                </a:lnTo>
                <a:lnTo>
                  <a:pt x="612" y="760"/>
                </a:lnTo>
                <a:lnTo>
                  <a:pt x="600" y="765"/>
                </a:lnTo>
                <a:lnTo>
                  <a:pt x="595" y="765"/>
                </a:lnTo>
                <a:lnTo>
                  <a:pt x="589" y="771"/>
                </a:lnTo>
                <a:lnTo>
                  <a:pt x="583" y="771"/>
                </a:lnTo>
                <a:lnTo>
                  <a:pt x="572" y="777"/>
                </a:lnTo>
                <a:lnTo>
                  <a:pt x="572" y="782"/>
                </a:lnTo>
                <a:lnTo>
                  <a:pt x="572" y="794"/>
                </a:lnTo>
                <a:lnTo>
                  <a:pt x="566" y="799"/>
                </a:lnTo>
                <a:lnTo>
                  <a:pt x="549" y="799"/>
                </a:lnTo>
                <a:lnTo>
                  <a:pt x="538" y="805"/>
                </a:lnTo>
                <a:lnTo>
                  <a:pt x="532" y="805"/>
                </a:lnTo>
                <a:lnTo>
                  <a:pt x="532" y="811"/>
                </a:lnTo>
                <a:lnTo>
                  <a:pt x="527" y="816"/>
                </a:lnTo>
                <a:lnTo>
                  <a:pt x="515" y="816"/>
                </a:lnTo>
                <a:lnTo>
                  <a:pt x="510" y="822"/>
                </a:lnTo>
                <a:lnTo>
                  <a:pt x="504" y="822"/>
                </a:lnTo>
                <a:lnTo>
                  <a:pt x="510" y="828"/>
                </a:lnTo>
                <a:lnTo>
                  <a:pt x="510" y="839"/>
                </a:lnTo>
                <a:lnTo>
                  <a:pt x="527" y="833"/>
                </a:lnTo>
                <a:lnTo>
                  <a:pt x="538" y="833"/>
                </a:lnTo>
                <a:lnTo>
                  <a:pt x="544" y="828"/>
                </a:lnTo>
                <a:lnTo>
                  <a:pt x="572" y="816"/>
                </a:lnTo>
                <a:lnTo>
                  <a:pt x="578" y="822"/>
                </a:lnTo>
                <a:lnTo>
                  <a:pt x="583" y="833"/>
                </a:lnTo>
                <a:lnTo>
                  <a:pt x="589" y="833"/>
                </a:lnTo>
                <a:lnTo>
                  <a:pt x="583" y="845"/>
                </a:lnTo>
                <a:lnTo>
                  <a:pt x="572" y="850"/>
                </a:lnTo>
                <a:lnTo>
                  <a:pt x="572" y="845"/>
                </a:lnTo>
                <a:lnTo>
                  <a:pt x="544" y="845"/>
                </a:lnTo>
                <a:lnTo>
                  <a:pt x="544" y="856"/>
                </a:lnTo>
                <a:lnTo>
                  <a:pt x="527" y="862"/>
                </a:lnTo>
                <a:lnTo>
                  <a:pt x="510" y="862"/>
                </a:lnTo>
                <a:lnTo>
                  <a:pt x="510" y="856"/>
                </a:lnTo>
                <a:lnTo>
                  <a:pt x="487" y="862"/>
                </a:lnTo>
                <a:lnTo>
                  <a:pt x="487" y="850"/>
                </a:lnTo>
                <a:lnTo>
                  <a:pt x="481" y="850"/>
                </a:lnTo>
                <a:lnTo>
                  <a:pt x="481" y="845"/>
                </a:lnTo>
                <a:lnTo>
                  <a:pt x="476" y="839"/>
                </a:lnTo>
                <a:lnTo>
                  <a:pt x="470" y="833"/>
                </a:lnTo>
                <a:lnTo>
                  <a:pt x="470" y="828"/>
                </a:lnTo>
                <a:lnTo>
                  <a:pt x="453" y="833"/>
                </a:lnTo>
                <a:lnTo>
                  <a:pt x="447" y="833"/>
                </a:lnTo>
                <a:lnTo>
                  <a:pt x="447" y="822"/>
                </a:lnTo>
                <a:lnTo>
                  <a:pt x="442" y="816"/>
                </a:lnTo>
                <a:lnTo>
                  <a:pt x="430" y="816"/>
                </a:lnTo>
                <a:lnTo>
                  <a:pt x="430" y="811"/>
                </a:lnTo>
                <a:lnTo>
                  <a:pt x="436" y="805"/>
                </a:lnTo>
                <a:lnTo>
                  <a:pt x="447" y="805"/>
                </a:lnTo>
                <a:lnTo>
                  <a:pt x="453" y="805"/>
                </a:lnTo>
                <a:lnTo>
                  <a:pt x="459" y="811"/>
                </a:lnTo>
                <a:lnTo>
                  <a:pt x="470" y="811"/>
                </a:lnTo>
                <a:lnTo>
                  <a:pt x="470" y="805"/>
                </a:lnTo>
                <a:lnTo>
                  <a:pt x="476" y="794"/>
                </a:lnTo>
                <a:lnTo>
                  <a:pt x="470" y="788"/>
                </a:lnTo>
                <a:lnTo>
                  <a:pt x="464" y="788"/>
                </a:lnTo>
                <a:lnTo>
                  <a:pt x="447" y="782"/>
                </a:lnTo>
                <a:lnTo>
                  <a:pt x="442" y="777"/>
                </a:lnTo>
                <a:lnTo>
                  <a:pt x="436" y="777"/>
                </a:lnTo>
                <a:lnTo>
                  <a:pt x="413" y="777"/>
                </a:lnTo>
                <a:lnTo>
                  <a:pt x="413" y="771"/>
                </a:lnTo>
                <a:lnTo>
                  <a:pt x="408" y="771"/>
                </a:lnTo>
                <a:lnTo>
                  <a:pt x="396" y="771"/>
                </a:lnTo>
                <a:lnTo>
                  <a:pt x="396" y="777"/>
                </a:lnTo>
                <a:lnTo>
                  <a:pt x="391" y="777"/>
                </a:lnTo>
                <a:lnTo>
                  <a:pt x="362" y="771"/>
                </a:lnTo>
                <a:lnTo>
                  <a:pt x="357" y="771"/>
                </a:lnTo>
                <a:lnTo>
                  <a:pt x="351" y="771"/>
                </a:lnTo>
                <a:lnTo>
                  <a:pt x="345" y="771"/>
                </a:lnTo>
                <a:lnTo>
                  <a:pt x="340" y="777"/>
                </a:lnTo>
                <a:lnTo>
                  <a:pt x="328" y="765"/>
                </a:lnTo>
                <a:lnTo>
                  <a:pt x="323" y="771"/>
                </a:lnTo>
                <a:lnTo>
                  <a:pt x="317" y="765"/>
                </a:lnTo>
                <a:lnTo>
                  <a:pt x="306" y="771"/>
                </a:lnTo>
                <a:lnTo>
                  <a:pt x="306" y="777"/>
                </a:lnTo>
                <a:lnTo>
                  <a:pt x="306" y="782"/>
                </a:lnTo>
                <a:lnTo>
                  <a:pt x="306" y="788"/>
                </a:lnTo>
                <a:lnTo>
                  <a:pt x="306" y="794"/>
                </a:lnTo>
                <a:lnTo>
                  <a:pt x="300" y="794"/>
                </a:lnTo>
                <a:lnTo>
                  <a:pt x="294" y="805"/>
                </a:lnTo>
                <a:lnTo>
                  <a:pt x="289" y="805"/>
                </a:lnTo>
                <a:lnTo>
                  <a:pt x="283" y="799"/>
                </a:lnTo>
                <a:lnTo>
                  <a:pt x="283" y="794"/>
                </a:lnTo>
                <a:lnTo>
                  <a:pt x="277" y="788"/>
                </a:lnTo>
                <a:lnTo>
                  <a:pt x="266" y="794"/>
                </a:lnTo>
                <a:lnTo>
                  <a:pt x="260" y="794"/>
                </a:lnTo>
                <a:lnTo>
                  <a:pt x="249" y="794"/>
                </a:lnTo>
                <a:lnTo>
                  <a:pt x="243" y="794"/>
                </a:lnTo>
                <a:lnTo>
                  <a:pt x="243" y="788"/>
                </a:lnTo>
                <a:lnTo>
                  <a:pt x="232" y="777"/>
                </a:lnTo>
                <a:lnTo>
                  <a:pt x="192" y="771"/>
                </a:lnTo>
                <a:lnTo>
                  <a:pt x="198" y="765"/>
                </a:lnTo>
                <a:lnTo>
                  <a:pt x="192" y="765"/>
                </a:lnTo>
                <a:lnTo>
                  <a:pt x="192" y="760"/>
                </a:lnTo>
                <a:lnTo>
                  <a:pt x="187" y="754"/>
                </a:lnTo>
                <a:lnTo>
                  <a:pt x="175" y="748"/>
                </a:lnTo>
                <a:lnTo>
                  <a:pt x="170" y="748"/>
                </a:lnTo>
                <a:lnTo>
                  <a:pt x="170" y="737"/>
                </a:lnTo>
                <a:lnTo>
                  <a:pt x="170" y="731"/>
                </a:lnTo>
                <a:lnTo>
                  <a:pt x="164" y="726"/>
                </a:lnTo>
                <a:lnTo>
                  <a:pt x="164" y="714"/>
                </a:lnTo>
                <a:lnTo>
                  <a:pt x="164" y="703"/>
                </a:lnTo>
                <a:lnTo>
                  <a:pt x="158" y="703"/>
                </a:lnTo>
                <a:lnTo>
                  <a:pt x="153" y="703"/>
                </a:lnTo>
                <a:lnTo>
                  <a:pt x="153" y="714"/>
                </a:lnTo>
                <a:lnTo>
                  <a:pt x="141" y="714"/>
                </a:lnTo>
                <a:lnTo>
                  <a:pt x="141" y="720"/>
                </a:lnTo>
                <a:lnTo>
                  <a:pt x="124" y="726"/>
                </a:lnTo>
                <a:lnTo>
                  <a:pt x="96" y="731"/>
                </a:lnTo>
                <a:lnTo>
                  <a:pt x="96" y="737"/>
                </a:lnTo>
                <a:lnTo>
                  <a:pt x="90" y="743"/>
                </a:lnTo>
                <a:lnTo>
                  <a:pt x="79" y="737"/>
                </a:lnTo>
                <a:lnTo>
                  <a:pt x="68" y="737"/>
                </a:lnTo>
                <a:lnTo>
                  <a:pt x="56" y="726"/>
                </a:lnTo>
                <a:lnTo>
                  <a:pt x="45" y="731"/>
                </a:lnTo>
                <a:lnTo>
                  <a:pt x="39" y="726"/>
                </a:lnTo>
                <a:lnTo>
                  <a:pt x="17" y="726"/>
                </a:lnTo>
                <a:lnTo>
                  <a:pt x="11" y="726"/>
                </a:lnTo>
                <a:lnTo>
                  <a:pt x="11" y="720"/>
                </a:lnTo>
                <a:lnTo>
                  <a:pt x="11" y="714"/>
                </a:lnTo>
                <a:lnTo>
                  <a:pt x="5" y="714"/>
                </a:lnTo>
                <a:lnTo>
                  <a:pt x="5" y="703"/>
                </a:lnTo>
                <a:lnTo>
                  <a:pt x="0" y="703"/>
                </a:lnTo>
                <a:lnTo>
                  <a:pt x="0" y="697"/>
                </a:lnTo>
                <a:lnTo>
                  <a:pt x="5" y="692"/>
                </a:lnTo>
                <a:lnTo>
                  <a:pt x="5" y="686"/>
                </a:lnTo>
                <a:lnTo>
                  <a:pt x="5" y="680"/>
                </a:lnTo>
                <a:lnTo>
                  <a:pt x="0" y="680"/>
                </a:lnTo>
                <a:lnTo>
                  <a:pt x="0" y="675"/>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60" name="Freeform 13"/>
          <p:cNvSpPr>
            <a:spLocks/>
          </p:cNvSpPr>
          <p:nvPr/>
        </p:nvSpPr>
        <p:spPr bwMode="gray">
          <a:xfrm>
            <a:off x="2288441" y="1982633"/>
            <a:ext cx="1938229" cy="1205153"/>
          </a:xfrm>
          <a:custGeom>
            <a:avLst/>
            <a:gdLst>
              <a:gd name="T0" fmla="*/ 7904 w 1497"/>
              <a:gd name="T1" fmla="*/ 95838 h 935"/>
              <a:gd name="T2" fmla="*/ 9267 w 1497"/>
              <a:gd name="T3" fmla="*/ 86555 h 935"/>
              <a:gd name="T4" fmla="*/ 15536 w 1497"/>
              <a:gd name="T5" fmla="*/ 72629 h 935"/>
              <a:gd name="T6" fmla="*/ 21805 w 1497"/>
              <a:gd name="T7" fmla="*/ 63346 h 935"/>
              <a:gd name="T8" fmla="*/ 29437 w 1497"/>
              <a:gd name="T9" fmla="*/ 49421 h 935"/>
              <a:gd name="T10" fmla="*/ 43337 w 1497"/>
              <a:gd name="T11" fmla="*/ 47783 h 935"/>
              <a:gd name="T12" fmla="*/ 61871 w 1497"/>
              <a:gd name="T13" fmla="*/ 47783 h 935"/>
              <a:gd name="T14" fmla="*/ 72774 w 1497"/>
              <a:gd name="T15" fmla="*/ 55701 h 935"/>
              <a:gd name="T16" fmla="*/ 82041 w 1497"/>
              <a:gd name="T17" fmla="*/ 61708 h 935"/>
              <a:gd name="T18" fmla="*/ 92943 w 1497"/>
              <a:gd name="T19" fmla="*/ 70991 h 935"/>
              <a:gd name="T20" fmla="*/ 103573 w 1497"/>
              <a:gd name="T21" fmla="*/ 75633 h 935"/>
              <a:gd name="T22" fmla="*/ 116111 w 1497"/>
              <a:gd name="T23" fmla="*/ 75633 h 935"/>
              <a:gd name="T24" fmla="*/ 128376 w 1497"/>
              <a:gd name="T25" fmla="*/ 81913 h 935"/>
              <a:gd name="T26" fmla="*/ 149909 w 1497"/>
              <a:gd name="T27" fmla="*/ 86555 h 935"/>
              <a:gd name="T28" fmla="*/ 165445 w 1497"/>
              <a:gd name="T29" fmla="*/ 84916 h 935"/>
              <a:gd name="T30" fmla="*/ 183979 w 1497"/>
              <a:gd name="T31" fmla="*/ 83551 h 935"/>
              <a:gd name="T32" fmla="*/ 208783 w 1497"/>
              <a:gd name="T33" fmla="*/ 75633 h 935"/>
              <a:gd name="T34" fmla="*/ 225681 w 1497"/>
              <a:gd name="T35" fmla="*/ 44779 h 935"/>
              <a:gd name="T36" fmla="*/ 236584 w 1497"/>
              <a:gd name="T37" fmla="*/ 16929 h 935"/>
              <a:gd name="T38" fmla="*/ 245851 w 1497"/>
              <a:gd name="T39" fmla="*/ 6007 h 935"/>
              <a:gd name="T40" fmla="*/ 275288 w 1497"/>
              <a:gd name="T41" fmla="*/ 1365 h 935"/>
              <a:gd name="T42" fmla="*/ 287552 w 1497"/>
              <a:gd name="T43" fmla="*/ 15290 h 935"/>
              <a:gd name="T44" fmla="*/ 319988 w 1497"/>
              <a:gd name="T45" fmla="*/ 7645 h 935"/>
              <a:gd name="T46" fmla="*/ 341520 w 1497"/>
              <a:gd name="T47" fmla="*/ 30854 h 935"/>
              <a:gd name="T48" fmla="*/ 358691 w 1497"/>
              <a:gd name="T49" fmla="*/ 29216 h 935"/>
              <a:gd name="T50" fmla="*/ 383222 w 1497"/>
              <a:gd name="T51" fmla="*/ 26212 h 935"/>
              <a:gd name="T52" fmla="*/ 398758 w 1497"/>
              <a:gd name="T53" fmla="*/ 35496 h 935"/>
              <a:gd name="T54" fmla="*/ 406390 w 1497"/>
              <a:gd name="T55" fmla="*/ 47783 h 935"/>
              <a:gd name="T56" fmla="*/ 397122 w 1497"/>
              <a:gd name="T57" fmla="*/ 55701 h 935"/>
              <a:gd name="T58" fmla="*/ 387855 w 1497"/>
              <a:gd name="T59" fmla="*/ 72629 h 935"/>
              <a:gd name="T60" fmla="*/ 378588 w 1497"/>
              <a:gd name="T61" fmla="*/ 89558 h 935"/>
              <a:gd name="T62" fmla="*/ 338522 w 1497"/>
              <a:gd name="T63" fmla="*/ 111401 h 935"/>
              <a:gd name="T64" fmla="*/ 347789 w 1497"/>
              <a:gd name="T65" fmla="*/ 132972 h 935"/>
              <a:gd name="T66" fmla="*/ 349424 w 1497"/>
              <a:gd name="T67" fmla="*/ 159457 h 935"/>
              <a:gd name="T68" fmla="*/ 336886 w 1497"/>
              <a:gd name="T69" fmla="*/ 162461 h 935"/>
              <a:gd name="T70" fmla="*/ 324621 w 1497"/>
              <a:gd name="T71" fmla="*/ 168740 h 935"/>
              <a:gd name="T72" fmla="*/ 309085 w 1497"/>
              <a:gd name="T73" fmla="*/ 164099 h 935"/>
              <a:gd name="T74" fmla="*/ 298455 w 1497"/>
              <a:gd name="T75" fmla="*/ 168740 h 935"/>
              <a:gd name="T76" fmla="*/ 282919 w 1497"/>
              <a:gd name="T77" fmla="*/ 178024 h 935"/>
              <a:gd name="T78" fmla="*/ 272017 w 1497"/>
              <a:gd name="T79" fmla="*/ 185669 h 935"/>
              <a:gd name="T80" fmla="*/ 273652 w 1497"/>
              <a:gd name="T81" fmla="*/ 197956 h 935"/>
              <a:gd name="T82" fmla="*/ 269018 w 1497"/>
              <a:gd name="T83" fmla="*/ 204236 h 935"/>
              <a:gd name="T84" fmla="*/ 255118 w 1497"/>
              <a:gd name="T85" fmla="*/ 210516 h 935"/>
              <a:gd name="T86" fmla="*/ 244216 w 1497"/>
              <a:gd name="T87" fmla="*/ 225806 h 935"/>
              <a:gd name="T88" fmla="*/ 225681 w 1497"/>
              <a:gd name="T89" fmla="*/ 216523 h 935"/>
              <a:gd name="T90" fmla="*/ 202513 w 1497"/>
              <a:gd name="T91" fmla="*/ 225806 h 935"/>
              <a:gd name="T92" fmla="*/ 186977 w 1497"/>
              <a:gd name="T93" fmla="*/ 233725 h 935"/>
              <a:gd name="T94" fmla="*/ 173077 w 1497"/>
              <a:gd name="T95" fmla="*/ 246012 h 935"/>
              <a:gd name="T96" fmla="*/ 157813 w 1497"/>
              <a:gd name="T97" fmla="*/ 236728 h 935"/>
              <a:gd name="T98" fmla="*/ 160812 w 1497"/>
              <a:gd name="T99" fmla="*/ 224441 h 935"/>
              <a:gd name="T100" fmla="*/ 143913 w 1497"/>
              <a:gd name="T101" fmla="*/ 224441 h 935"/>
              <a:gd name="T102" fmla="*/ 140642 w 1497"/>
              <a:gd name="T103" fmla="*/ 238366 h 935"/>
              <a:gd name="T104" fmla="*/ 134646 w 1497"/>
              <a:gd name="T105" fmla="*/ 252292 h 935"/>
              <a:gd name="T106" fmla="*/ 122108 w 1497"/>
              <a:gd name="T107" fmla="*/ 243008 h 935"/>
              <a:gd name="T108" fmla="*/ 125379 w 1497"/>
              <a:gd name="T109" fmla="*/ 225806 h 935"/>
              <a:gd name="T110" fmla="*/ 94307 w 1497"/>
              <a:gd name="T111" fmla="*/ 201233 h 935"/>
              <a:gd name="T112" fmla="*/ 80406 w 1497"/>
              <a:gd name="T113" fmla="*/ 210516 h 935"/>
              <a:gd name="T114" fmla="*/ 52604 w 1497"/>
              <a:gd name="T115" fmla="*/ 204236 h 935"/>
              <a:gd name="T116" fmla="*/ 29437 w 1497"/>
              <a:gd name="T117" fmla="*/ 190311 h 935"/>
              <a:gd name="T118" fmla="*/ 29437 w 1497"/>
              <a:gd name="T119" fmla="*/ 173382 h 935"/>
              <a:gd name="T120" fmla="*/ 29437 w 1497"/>
              <a:gd name="T121" fmla="*/ 151539 h 935"/>
              <a:gd name="T122" fmla="*/ 15536 w 1497"/>
              <a:gd name="T123" fmla="*/ 143893 h 935"/>
              <a:gd name="T124" fmla="*/ 4634 w 1497"/>
              <a:gd name="T125" fmla="*/ 109763 h 9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497" h="935">
                <a:moveTo>
                  <a:pt x="0" y="396"/>
                </a:moveTo>
                <a:lnTo>
                  <a:pt x="6" y="396"/>
                </a:lnTo>
                <a:lnTo>
                  <a:pt x="6" y="391"/>
                </a:lnTo>
                <a:lnTo>
                  <a:pt x="12" y="391"/>
                </a:lnTo>
                <a:lnTo>
                  <a:pt x="12" y="385"/>
                </a:lnTo>
                <a:lnTo>
                  <a:pt x="12" y="379"/>
                </a:lnTo>
                <a:lnTo>
                  <a:pt x="12" y="374"/>
                </a:lnTo>
                <a:lnTo>
                  <a:pt x="17" y="374"/>
                </a:lnTo>
                <a:lnTo>
                  <a:pt x="29" y="374"/>
                </a:lnTo>
                <a:lnTo>
                  <a:pt x="29" y="368"/>
                </a:lnTo>
                <a:lnTo>
                  <a:pt x="29" y="362"/>
                </a:lnTo>
                <a:lnTo>
                  <a:pt x="29" y="357"/>
                </a:lnTo>
                <a:lnTo>
                  <a:pt x="29" y="351"/>
                </a:lnTo>
                <a:lnTo>
                  <a:pt x="34" y="351"/>
                </a:lnTo>
                <a:lnTo>
                  <a:pt x="34" y="345"/>
                </a:lnTo>
                <a:lnTo>
                  <a:pt x="29" y="345"/>
                </a:lnTo>
                <a:lnTo>
                  <a:pt x="29" y="340"/>
                </a:lnTo>
                <a:lnTo>
                  <a:pt x="34" y="340"/>
                </a:lnTo>
                <a:lnTo>
                  <a:pt x="34" y="334"/>
                </a:lnTo>
                <a:lnTo>
                  <a:pt x="34" y="328"/>
                </a:lnTo>
                <a:lnTo>
                  <a:pt x="40" y="328"/>
                </a:lnTo>
                <a:lnTo>
                  <a:pt x="40" y="323"/>
                </a:lnTo>
                <a:lnTo>
                  <a:pt x="46" y="323"/>
                </a:lnTo>
                <a:lnTo>
                  <a:pt x="46" y="317"/>
                </a:lnTo>
                <a:lnTo>
                  <a:pt x="40" y="317"/>
                </a:lnTo>
                <a:lnTo>
                  <a:pt x="34" y="317"/>
                </a:lnTo>
                <a:lnTo>
                  <a:pt x="34" y="311"/>
                </a:lnTo>
                <a:lnTo>
                  <a:pt x="40" y="311"/>
                </a:lnTo>
                <a:lnTo>
                  <a:pt x="40" y="306"/>
                </a:lnTo>
                <a:lnTo>
                  <a:pt x="40" y="300"/>
                </a:lnTo>
                <a:lnTo>
                  <a:pt x="46" y="294"/>
                </a:lnTo>
                <a:lnTo>
                  <a:pt x="51" y="294"/>
                </a:lnTo>
                <a:lnTo>
                  <a:pt x="51" y="289"/>
                </a:lnTo>
                <a:lnTo>
                  <a:pt x="57" y="289"/>
                </a:lnTo>
                <a:lnTo>
                  <a:pt x="57" y="283"/>
                </a:lnTo>
                <a:lnTo>
                  <a:pt x="57" y="277"/>
                </a:lnTo>
                <a:lnTo>
                  <a:pt x="51" y="277"/>
                </a:lnTo>
                <a:lnTo>
                  <a:pt x="51" y="272"/>
                </a:lnTo>
                <a:lnTo>
                  <a:pt x="57" y="266"/>
                </a:lnTo>
                <a:lnTo>
                  <a:pt x="63" y="266"/>
                </a:lnTo>
                <a:lnTo>
                  <a:pt x="63" y="260"/>
                </a:lnTo>
                <a:lnTo>
                  <a:pt x="57" y="255"/>
                </a:lnTo>
                <a:lnTo>
                  <a:pt x="57" y="249"/>
                </a:lnTo>
                <a:lnTo>
                  <a:pt x="63" y="249"/>
                </a:lnTo>
                <a:lnTo>
                  <a:pt x="63" y="243"/>
                </a:lnTo>
                <a:lnTo>
                  <a:pt x="63" y="238"/>
                </a:lnTo>
                <a:lnTo>
                  <a:pt x="68" y="238"/>
                </a:lnTo>
                <a:lnTo>
                  <a:pt x="68" y="232"/>
                </a:lnTo>
                <a:lnTo>
                  <a:pt x="63" y="232"/>
                </a:lnTo>
                <a:lnTo>
                  <a:pt x="68" y="226"/>
                </a:lnTo>
                <a:lnTo>
                  <a:pt x="74" y="232"/>
                </a:lnTo>
                <a:lnTo>
                  <a:pt x="80" y="232"/>
                </a:lnTo>
                <a:lnTo>
                  <a:pt x="80" y="226"/>
                </a:lnTo>
                <a:lnTo>
                  <a:pt x="74" y="226"/>
                </a:lnTo>
                <a:lnTo>
                  <a:pt x="80" y="221"/>
                </a:lnTo>
                <a:lnTo>
                  <a:pt x="80" y="215"/>
                </a:lnTo>
                <a:lnTo>
                  <a:pt x="86" y="209"/>
                </a:lnTo>
                <a:lnTo>
                  <a:pt x="91" y="204"/>
                </a:lnTo>
                <a:lnTo>
                  <a:pt x="97" y="204"/>
                </a:lnTo>
                <a:lnTo>
                  <a:pt x="97" y="198"/>
                </a:lnTo>
                <a:lnTo>
                  <a:pt x="97" y="192"/>
                </a:lnTo>
                <a:lnTo>
                  <a:pt x="103" y="192"/>
                </a:lnTo>
                <a:lnTo>
                  <a:pt x="108" y="192"/>
                </a:lnTo>
                <a:lnTo>
                  <a:pt x="108" y="187"/>
                </a:lnTo>
                <a:lnTo>
                  <a:pt x="108" y="181"/>
                </a:lnTo>
                <a:lnTo>
                  <a:pt x="114" y="181"/>
                </a:lnTo>
                <a:lnTo>
                  <a:pt x="120" y="181"/>
                </a:lnTo>
                <a:lnTo>
                  <a:pt x="120" y="175"/>
                </a:lnTo>
                <a:lnTo>
                  <a:pt x="120" y="181"/>
                </a:lnTo>
                <a:lnTo>
                  <a:pt x="120" y="187"/>
                </a:lnTo>
                <a:lnTo>
                  <a:pt x="125" y="187"/>
                </a:lnTo>
                <a:lnTo>
                  <a:pt x="125" y="181"/>
                </a:lnTo>
                <a:lnTo>
                  <a:pt x="131" y="181"/>
                </a:lnTo>
                <a:lnTo>
                  <a:pt x="137" y="181"/>
                </a:lnTo>
                <a:lnTo>
                  <a:pt x="142" y="181"/>
                </a:lnTo>
                <a:lnTo>
                  <a:pt x="148" y="181"/>
                </a:lnTo>
                <a:lnTo>
                  <a:pt x="154" y="175"/>
                </a:lnTo>
                <a:lnTo>
                  <a:pt x="159" y="175"/>
                </a:lnTo>
                <a:lnTo>
                  <a:pt x="165" y="175"/>
                </a:lnTo>
                <a:lnTo>
                  <a:pt x="171" y="175"/>
                </a:lnTo>
                <a:lnTo>
                  <a:pt x="176" y="175"/>
                </a:lnTo>
                <a:lnTo>
                  <a:pt x="176" y="170"/>
                </a:lnTo>
                <a:lnTo>
                  <a:pt x="182" y="175"/>
                </a:lnTo>
                <a:lnTo>
                  <a:pt x="188" y="175"/>
                </a:lnTo>
                <a:lnTo>
                  <a:pt x="199" y="175"/>
                </a:lnTo>
                <a:lnTo>
                  <a:pt x="199" y="181"/>
                </a:lnTo>
                <a:lnTo>
                  <a:pt x="205" y="181"/>
                </a:lnTo>
                <a:lnTo>
                  <a:pt x="210" y="181"/>
                </a:lnTo>
                <a:lnTo>
                  <a:pt x="216" y="181"/>
                </a:lnTo>
                <a:lnTo>
                  <a:pt x="222" y="175"/>
                </a:lnTo>
                <a:lnTo>
                  <a:pt x="227" y="175"/>
                </a:lnTo>
                <a:lnTo>
                  <a:pt x="227" y="181"/>
                </a:lnTo>
                <a:lnTo>
                  <a:pt x="233" y="181"/>
                </a:lnTo>
                <a:lnTo>
                  <a:pt x="233" y="187"/>
                </a:lnTo>
                <a:lnTo>
                  <a:pt x="239" y="187"/>
                </a:lnTo>
                <a:lnTo>
                  <a:pt x="233" y="192"/>
                </a:lnTo>
                <a:lnTo>
                  <a:pt x="239" y="192"/>
                </a:lnTo>
                <a:lnTo>
                  <a:pt x="244" y="192"/>
                </a:lnTo>
                <a:lnTo>
                  <a:pt x="250" y="192"/>
                </a:lnTo>
                <a:lnTo>
                  <a:pt x="250" y="198"/>
                </a:lnTo>
                <a:lnTo>
                  <a:pt x="256" y="198"/>
                </a:lnTo>
                <a:lnTo>
                  <a:pt x="256" y="204"/>
                </a:lnTo>
                <a:lnTo>
                  <a:pt x="261" y="204"/>
                </a:lnTo>
                <a:lnTo>
                  <a:pt x="267" y="204"/>
                </a:lnTo>
                <a:lnTo>
                  <a:pt x="267" y="209"/>
                </a:lnTo>
                <a:lnTo>
                  <a:pt x="273" y="209"/>
                </a:lnTo>
                <a:lnTo>
                  <a:pt x="273" y="215"/>
                </a:lnTo>
                <a:lnTo>
                  <a:pt x="278" y="215"/>
                </a:lnTo>
                <a:lnTo>
                  <a:pt x="278" y="209"/>
                </a:lnTo>
                <a:lnTo>
                  <a:pt x="278" y="215"/>
                </a:lnTo>
                <a:lnTo>
                  <a:pt x="284" y="215"/>
                </a:lnTo>
                <a:lnTo>
                  <a:pt x="278" y="215"/>
                </a:lnTo>
                <a:lnTo>
                  <a:pt x="278" y="221"/>
                </a:lnTo>
                <a:lnTo>
                  <a:pt x="284" y="221"/>
                </a:lnTo>
                <a:lnTo>
                  <a:pt x="290" y="221"/>
                </a:lnTo>
                <a:lnTo>
                  <a:pt x="295" y="221"/>
                </a:lnTo>
                <a:lnTo>
                  <a:pt x="301" y="226"/>
                </a:lnTo>
                <a:lnTo>
                  <a:pt x="301" y="232"/>
                </a:lnTo>
                <a:lnTo>
                  <a:pt x="307" y="232"/>
                </a:lnTo>
                <a:lnTo>
                  <a:pt x="307" y="238"/>
                </a:lnTo>
                <a:lnTo>
                  <a:pt x="312" y="238"/>
                </a:lnTo>
                <a:lnTo>
                  <a:pt x="318" y="238"/>
                </a:lnTo>
                <a:lnTo>
                  <a:pt x="318" y="243"/>
                </a:lnTo>
                <a:lnTo>
                  <a:pt x="318" y="249"/>
                </a:lnTo>
                <a:lnTo>
                  <a:pt x="324" y="249"/>
                </a:lnTo>
                <a:lnTo>
                  <a:pt x="324" y="255"/>
                </a:lnTo>
                <a:lnTo>
                  <a:pt x="329" y="255"/>
                </a:lnTo>
                <a:lnTo>
                  <a:pt x="335" y="255"/>
                </a:lnTo>
                <a:lnTo>
                  <a:pt x="335" y="260"/>
                </a:lnTo>
                <a:lnTo>
                  <a:pt x="341" y="260"/>
                </a:lnTo>
                <a:lnTo>
                  <a:pt x="341" y="266"/>
                </a:lnTo>
                <a:lnTo>
                  <a:pt x="346" y="272"/>
                </a:lnTo>
                <a:lnTo>
                  <a:pt x="352" y="272"/>
                </a:lnTo>
                <a:lnTo>
                  <a:pt x="352" y="266"/>
                </a:lnTo>
                <a:lnTo>
                  <a:pt x="358" y="266"/>
                </a:lnTo>
                <a:lnTo>
                  <a:pt x="363" y="266"/>
                </a:lnTo>
                <a:lnTo>
                  <a:pt x="369" y="266"/>
                </a:lnTo>
                <a:lnTo>
                  <a:pt x="369" y="272"/>
                </a:lnTo>
                <a:lnTo>
                  <a:pt x="369" y="277"/>
                </a:lnTo>
                <a:lnTo>
                  <a:pt x="369" y="272"/>
                </a:lnTo>
                <a:lnTo>
                  <a:pt x="369" y="277"/>
                </a:lnTo>
                <a:lnTo>
                  <a:pt x="375" y="272"/>
                </a:lnTo>
                <a:lnTo>
                  <a:pt x="380" y="277"/>
                </a:lnTo>
                <a:lnTo>
                  <a:pt x="380" y="272"/>
                </a:lnTo>
                <a:lnTo>
                  <a:pt x="386" y="272"/>
                </a:lnTo>
                <a:lnTo>
                  <a:pt x="392" y="272"/>
                </a:lnTo>
                <a:lnTo>
                  <a:pt x="397" y="272"/>
                </a:lnTo>
                <a:lnTo>
                  <a:pt x="403" y="272"/>
                </a:lnTo>
                <a:lnTo>
                  <a:pt x="403" y="266"/>
                </a:lnTo>
                <a:lnTo>
                  <a:pt x="409" y="266"/>
                </a:lnTo>
                <a:lnTo>
                  <a:pt x="409" y="272"/>
                </a:lnTo>
                <a:lnTo>
                  <a:pt x="414" y="272"/>
                </a:lnTo>
                <a:lnTo>
                  <a:pt x="414" y="266"/>
                </a:lnTo>
                <a:lnTo>
                  <a:pt x="420" y="272"/>
                </a:lnTo>
                <a:lnTo>
                  <a:pt x="426" y="272"/>
                </a:lnTo>
                <a:lnTo>
                  <a:pt x="426" y="277"/>
                </a:lnTo>
                <a:lnTo>
                  <a:pt x="431" y="283"/>
                </a:lnTo>
                <a:lnTo>
                  <a:pt x="431" y="289"/>
                </a:lnTo>
                <a:lnTo>
                  <a:pt x="437" y="289"/>
                </a:lnTo>
                <a:lnTo>
                  <a:pt x="443" y="289"/>
                </a:lnTo>
                <a:lnTo>
                  <a:pt x="443" y="294"/>
                </a:lnTo>
                <a:lnTo>
                  <a:pt x="437" y="294"/>
                </a:lnTo>
                <a:lnTo>
                  <a:pt x="443" y="294"/>
                </a:lnTo>
                <a:lnTo>
                  <a:pt x="448" y="294"/>
                </a:lnTo>
                <a:lnTo>
                  <a:pt x="448" y="300"/>
                </a:lnTo>
                <a:lnTo>
                  <a:pt x="460" y="306"/>
                </a:lnTo>
                <a:lnTo>
                  <a:pt x="465" y="306"/>
                </a:lnTo>
                <a:lnTo>
                  <a:pt x="471" y="306"/>
                </a:lnTo>
                <a:lnTo>
                  <a:pt x="471" y="300"/>
                </a:lnTo>
                <a:lnTo>
                  <a:pt x="477" y="300"/>
                </a:lnTo>
                <a:lnTo>
                  <a:pt x="482" y="300"/>
                </a:lnTo>
                <a:lnTo>
                  <a:pt x="488" y="300"/>
                </a:lnTo>
                <a:lnTo>
                  <a:pt x="494" y="300"/>
                </a:lnTo>
                <a:lnTo>
                  <a:pt x="511" y="306"/>
                </a:lnTo>
                <a:lnTo>
                  <a:pt x="511" y="311"/>
                </a:lnTo>
                <a:lnTo>
                  <a:pt x="516" y="311"/>
                </a:lnTo>
                <a:lnTo>
                  <a:pt x="522" y="317"/>
                </a:lnTo>
                <a:lnTo>
                  <a:pt x="528" y="317"/>
                </a:lnTo>
                <a:lnTo>
                  <a:pt x="533" y="317"/>
                </a:lnTo>
                <a:lnTo>
                  <a:pt x="539" y="323"/>
                </a:lnTo>
                <a:lnTo>
                  <a:pt x="545" y="323"/>
                </a:lnTo>
                <a:lnTo>
                  <a:pt x="550" y="317"/>
                </a:lnTo>
                <a:lnTo>
                  <a:pt x="556" y="317"/>
                </a:lnTo>
                <a:lnTo>
                  <a:pt x="562" y="317"/>
                </a:lnTo>
                <a:lnTo>
                  <a:pt x="562" y="323"/>
                </a:lnTo>
                <a:lnTo>
                  <a:pt x="567" y="323"/>
                </a:lnTo>
                <a:lnTo>
                  <a:pt x="573" y="323"/>
                </a:lnTo>
                <a:lnTo>
                  <a:pt x="579" y="323"/>
                </a:lnTo>
                <a:lnTo>
                  <a:pt x="584" y="317"/>
                </a:lnTo>
                <a:lnTo>
                  <a:pt x="584" y="323"/>
                </a:lnTo>
                <a:lnTo>
                  <a:pt x="590" y="317"/>
                </a:lnTo>
                <a:lnTo>
                  <a:pt x="596" y="317"/>
                </a:lnTo>
                <a:lnTo>
                  <a:pt x="601" y="317"/>
                </a:lnTo>
                <a:lnTo>
                  <a:pt x="607" y="317"/>
                </a:lnTo>
                <a:lnTo>
                  <a:pt x="607" y="311"/>
                </a:lnTo>
                <a:lnTo>
                  <a:pt x="618" y="306"/>
                </a:lnTo>
                <a:lnTo>
                  <a:pt x="624" y="306"/>
                </a:lnTo>
                <a:lnTo>
                  <a:pt x="630" y="300"/>
                </a:lnTo>
                <a:lnTo>
                  <a:pt x="630" y="294"/>
                </a:lnTo>
                <a:lnTo>
                  <a:pt x="635" y="294"/>
                </a:lnTo>
                <a:lnTo>
                  <a:pt x="641" y="294"/>
                </a:lnTo>
                <a:lnTo>
                  <a:pt x="647" y="294"/>
                </a:lnTo>
                <a:lnTo>
                  <a:pt x="652" y="294"/>
                </a:lnTo>
                <a:lnTo>
                  <a:pt x="652" y="300"/>
                </a:lnTo>
                <a:lnTo>
                  <a:pt x="658" y="300"/>
                </a:lnTo>
                <a:lnTo>
                  <a:pt x="664" y="306"/>
                </a:lnTo>
                <a:lnTo>
                  <a:pt x="669" y="306"/>
                </a:lnTo>
                <a:lnTo>
                  <a:pt x="675" y="306"/>
                </a:lnTo>
                <a:lnTo>
                  <a:pt x="681" y="306"/>
                </a:lnTo>
                <a:lnTo>
                  <a:pt x="686" y="306"/>
                </a:lnTo>
                <a:lnTo>
                  <a:pt x="692" y="306"/>
                </a:lnTo>
                <a:lnTo>
                  <a:pt x="703" y="306"/>
                </a:lnTo>
                <a:lnTo>
                  <a:pt x="709" y="306"/>
                </a:lnTo>
                <a:lnTo>
                  <a:pt x="715" y="306"/>
                </a:lnTo>
                <a:lnTo>
                  <a:pt x="720" y="306"/>
                </a:lnTo>
                <a:lnTo>
                  <a:pt x="732" y="300"/>
                </a:lnTo>
                <a:lnTo>
                  <a:pt x="737" y="300"/>
                </a:lnTo>
                <a:lnTo>
                  <a:pt x="743" y="294"/>
                </a:lnTo>
                <a:lnTo>
                  <a:pt x="749" y="294"/>
                </a:lnTo>
                <a:lnTo>
                  <a:pt x="749" y="289"/>
                </a:lnTo>
                <a:lnTo>
                  <a:pt x="766" y="277"/>
                </a:lnTo>
                <a:lnTo>
                  <a:pt x="777" y="272"/>
                </a:lnTo>
                <a:lnTo>
                  <a:pt x="783" y="272"/>
                </a:lnTo>
                <a:lnTo>
                  <a:pt x="783" y="266"/>
                </a:lnTo>
                <a:lnTo>
                  <a:pt x="800" y="238"/>
                </a:lnTo>
                <a:lnTo>
                  <a:pt x="800" y="226"/>
                </a:lnTo>
                <a:lnTo>
                  <a:pt x="805" y="221"/>
                </a:lnTo>
                <a:lnTo>
                  <a:pt x="811" y="215"/>
                </a:lnTo>
                <a:lnTo>
                  <a:pt x="811" y="209"/>
                </a:lnTo>
                <a:lnTo>
                  <a:pt x="811" y="204"/>
                </a:lnTo>
                <a:lnTo>
                  <a:pt x="817" y="198"/>
                </a:lnTo>
                <a:lnTo>
                  <a:pt x="817" y="175"/>
                </a:lnTo>
                <a:lnTo>
                  <a:pt x="822" y="170"/>
                </a:lnTo>
                <a:lnTo>
                  <a:pt x="828" y="164"/>
                </a:lnTo>
                <a:lnTo>
                  <a:pt x="828" y="158"/>
                </a:lnTo>
                <a:lnTo>
                  <a:pt x="834" y="147"/>
                </a:lnTo>
                <a:lnTo>
                  <a:pt x="839" y="141"/>
                </a:lnTo>
                <a:lnTo>
                  <a:pt x="845" y="130"/>
                </a:lnTo>
                <a:lnTo>
                  <a:pt x="845" y="124"/>
                </a:lnTo>
                <a:lnTo>
                  <a:pt x="851" y="113"/>
                </a:lnTo>
                <a:lnTo>
                  <a:pt x="856" y="102"/>
                </a:lnTo>
                <a:lnTo>
                  <a:pt x="862" y="90"/>
                </a:lnTo>
                <a:lnTo>
                  <a:pt x="862" y="85"/>
                </a:lnTo>
                <a:lnTo>
                  <a:pt x="862" y="79"/>
                </a:lnTo>
                <a:lnTo>
                  <a:pt x="868" y="79"/>
                </a:lnTo>
                <a:lnTo>
                  <a:pt x="868" y="68"/>
                </a:lnTo>
                <a:lnTo>
                  <a:pt x="868" y="62"/>
                </a:lnTo>
                <a:lnTo>
                  <a:pt x="868" y="56"/>
                </a:lnTo>
                <a:lnTo>
                  <a:pt x="868" y="51"/>
                </a:lnTo>
                <a:lnTo>
                  <a:pt x="862" y="51"/>
                </a:lnTo>
                <a:lnTo>
                  <a:pt x="862" y="45"/>
                </a:lnTo>
                <a:lnTo>
                  <a:pt x="862" y="39"/>
                </a:lnTo>
                <a:lnTo>
                  <a:pt x="862" y="34"/>
                </a:lnTo>
                <a:lnTo>
                  <a:pt x="868" y="34"/>
                </a:lnTo>
                <a:lnTo>
                  <a:pt x="873" y="34"/>
                </a:lnTo>
                <a:lnTo>
                  <a:pt x="879" y="34"/>
                </a:lnTo>
                <a:lnTo>
                  <a:pt x="879" y="28"/>
                </a:lnTo>
                <a:lnTo>
                  <a:pt x="885" y="22"/>
                </a:lnTo>
                <a:lnTo>
                  <a:pt x="896" y="22"/>
                </a:lnTo>
                <a:lnTo>
                  <a:pt x="902" y="22"/>
                </a:lnTo>
                <a:lnTo>
                  <a:pt x="907" y="22"/>
                </a:lnTo>
                <a:lnTo>
                  <a:pt x="913" y="22"/>
                </a:lnTo>
                <a:lnTo>
                  <a:pt x="930" y="17"/>
                </a:lnTo>
                <a:lnTo>
                  <a:pt x="936" y="17"/>
                </a:lnTo>
                <a:lnTo>
                  <a:pt x="947" y="17"/>
                </a:lnTo>
                <a:lnTo>
                  <a:pt x="964" y="11"/>
                </a:lnTo>
                <a:lnTo>
                  <a:pt x="970" y="11"/>
                </a:lnTo>
                <a:lnTo>
                  <a:pt x="993" y="5"/>
                </a:lnTo>
                <a:lnTo>
                  <a:pt x="998" y="5"/>
                </a:lnTo>
                <a:lnTo>
                  <a:pt x="1004" y="5"/>
                </a:lnTo>
                <a:lnTo>
                  <a:pt x="1004" y="0"/>
                </a:lnTo>
                <a:lnTo>
                  <a:pt x="1010" y="0"/>
                </a:lnTo>
                <a:lnTo>
                  <a:pt x="1010" y="5"/>
                </a:lnTo>
                <a:lnTo>
                  <a:pt x="1015" y="5"/>
                </a:lnTo>
                <a:lnTo>
                  <a:pt x="1015" y="11"/>
                </a:lnTo>
                <a:lnTo>
                  <a:pt x="1015" y="17"/>
                </a:lnTo>
                <a:lnTo>
                  <a:pt x="1010" y="22"/>
                </a:lnTo>
                <a:lnTo>
                  <a:pt x="1010" y="28"/>
                </a:lnTo>
                <a:lnTo>
                  <a:pt x="1015" y="28"/>
                </a:lnTo>
                <a:lnTo>
                  <a:pt x="1015" y="39"/>
                </a:lnTo>
                <a:lnTo>
                  <a:pt x="1021" y="39"/>
                </a:lnTo>
                <a:lnTo>
                  <a:pt x="1021" y="45"/>
                </a:lnTo>
                <a:lnTo>
                  <a:pt x="1021" y="51"/>
                </a:lnTo>
                <a:lnTo>
                  <a:pt x="1027" y="51"/>
                </a:lnTo>
                <a:lnTo>
                  <a:pt x="1049" y="51"/>
                </a:lnTo>
                <a:lnTo>
                  <a:pt x="1055" y="56"/>
                </a:lnTo>
                <a:lnTo>
                  <a:pt x="1066" y="51"/>
                </a:lnTo>
                <a:lnTo>
                  <a:pt x="1078" y="62"/>
                </a:lnTo>
                <a:lnTo>
                  <a:pt x="1089" y="62"/>
                </a:lnTo>
                <a:lnTo>
                  <a:pt x="1100" y="68"/>
                </a:lnTo>
                <a:lnTo>
                  <a:pt x="1106" y="62"/>
                </a:lnTo>
                <a:lnTo>
                  <a:pt x="1106" y="56"/>
                </a:lnTo>
                <a:lnTo>
                  <a:pt x="1134" y="51"/>
                </a:lnTo>
                <a:lnTo>
                  <a:pt x="1151" y="45"/>
                </a:lnTo>
                <a:lnTo>
                  <a:pt x="1151" y="39"/>
                </a:lnTo>
                <a:lnTo>
                  <a:pt x="1163" y="39"/>
                </a:lnTo>
                <a:lnTo>
                  <a:pt x="1163" y="28"/>
                </a:lnTo>
                <a:lnTo>
                  <a:pt x="1168" y="28"/>
                </a:lnTo>
                <a:lnTo>
                  <a:pt x="1174" y="28"/>
                </a:lnTo>
                <a:lnTo>
                  <a:pt x="1174" y="39"/>
                </a:lnTo>
                <a:lnTo>
                  <a:pt x="1174" y="51"/>
                </a:lnTo>
                <a:lnTo>
                  <a:pt x="1180" y="56"/>
                </a:lnTo>
                <a:lnTo>
                  <a:pt x="1180" y="62"/>
                </a:lnTo>
                <a:lnTo>
                  <a:pt x="1180" y="73"/>
                </a:lnTo>
                <a:lnTo>
                  <a:pt x="1185" y="73"/>
                </a:lnTo>
                <a:lnTo>
                  <a:pt x="1197" y="79"/>
                </a:lnTo>
                <a:lnTo>
                  <a:pt x="1202" y="85"/>
                </a:lnTo>
                <a:lnTo>
                  <a:pt x="1202" y="90"/>
                </a:lnTo>
                <a:lnTo>
                  <a:pt x="1208" y="90"/>
                </a:lnTo>
                <a:lnTo>
                  <a:pt x="1202" y="96"/>
                </a:lnTo>
                <a:lnTo>
                  <a:pt x="1242" y="102"/>
                </a:lnTo>
                <a:lnTo>
                  <a:pt x="1253" y="113"/>
                </a:lnTo>
                <a:lnTo>
                  <a:pt x="1253" y="119"/>
                </a:lnTo>
                <a:lnTo>
                  <a:pt x="1259" y="119"/>
                </a:lnTo>
                <a:lnTo>
                  <a:pt x="1270" y="119"/>
                </a:lnTo>
                <a:lnTo>
                  <a:pt x="1276" y="119"/>
                </a:lnTo>
                <a:lnTo>
                  <a:pt x="1287" y="113"/>
                </a:lnTo>
                <a:lnTo>
                  <a:pt x="1293" y="119"/>
                </a:lnTo>
                <a:lnTo>
                  <a:pt x="1293" y="124"/>
                </a:lnTo>
                <a:lnTo>
                  <a:pt x="1299" y="130"/>
                </a:lnTo>
                <a:lnTo>
                  <a:pt x="1304" y="130"/>
                </a:lnTo>
                <a:lnTo>
                  <a:pt x="1310" y="119"/>
                </a:lnTo>
                <a:lnTo>
                  <a:pt x="1316" y="119"/>
                </a:lnTo>
                <a:lnTo>
                  <a:pt x="1316" y="113"/>
                </a:lnTo>
                <a:lnTo>
                  <a:pt x="1316" y="107"/>
                </a:lnTo>
                <a:lnTo>
                  <a:pt x="1316" y="102"/>
                </a:lnTo>
                <a:lnTo>
                  <a:pt x="1316" y="96"/>
                </a:lnTo>
                <a:lnTo>
                  <a:pt x="1327" y="90"/>
                </a:lnTo>
                <a:lnTo>
                  <a:pt x="1333" y="96"/>
                </a:lnTo>
                <a:lnTo>
                  <a:pt x="1338" y="90"/>
                </a:lnTo>
                <a:lnTo>
                  <a:pt x="1350" y="102"/>
                </a:lnTo>
                <a:lnTo>
                  <a:pt x="1355" y="96"/>
                </a:lnTo>
                <a:lnTo>
                  <a:pt x="1361" y="96"/>
                </a:lnTo>
                <a:lnTo>
                  <a:pt x="1367" y="96"/>
                </a:lnTo>
                <a:lnTo>
                  <a:pt x="1372" y="96"/>
                </a:lnTo>
                <a:lnTo>
                  <a:pt x="1401" y="102"/>
                </a:lnTo>
                <a:lnTo>
                  <a:pt x="1406" y="102"/>
                </a:lnTo>
                <a:lnTo>
                  <a:pt x="1406" y="96"/>
                </a:lnTo>
                <a:lnTo>
                  <a:pt x="1418" y="96"/>
                </a:lnTo>
                <a:lnTo>
                  <a:pt x="1423" y="96"/>
                </a:lnTo>
                <a:lnTo>
                  <a:pt x="1423" y="102"/>
                </a:lnTo>
                <a:lnTo>
                  <a:pt x="1446" y="102"/>
                </a:lnTo>
                <a:lnTo>
                  <a:pt x="1452" y="102"/>
                </a:lnTo>
                <a:lnTo>
                  <a:pt x="1457" y="107"/>
                </a:lnTo>
                <a:lnTo>
                  <a:pt x="1474" y="113"/>
                </a:lnTo>
                <a:lnTo>
                  <a:pt x="1480" y="113"/>
                </a:lnTo>
                <a:lnTo>
                  <a:pt x="1486" y="119"/>
                </a:lnTo>
                <a:lnTo>
                  <a:pt x="1480" y="130"/>
                </a:lnTo>
                <a:lnTo>
                  <a:pt x="1480" y="136"/>
                </a:lnTo>
                <a:lnTo>
                  <a:pt x="1469" y="136"/>
                </a:lnTo>
                <a:lnTo>
                  <a:pt x="1463" y="130"/>
                </a:lnTo>
                <a:lnTo>
                  <a:pt x="1457" y="130"/>
                </a:lnTo>
                <a:lnTo>
                  <a:pt x="1446" y="130"/>
                </a:lnTo>
                <a:lnTo>
                  <a:pt x="1440" y="136"/>
                </a:lnTo>
                <a:lnTo>
                  <a:pt x="1440" y="141"/>
                </a:lnTo>
                <a:lnTo>
                  <a:pt x="1452" y="141"/>
                </a:lnTo>
                <a:lnTo>
                  <a:pt x="1457" y="147"/>
                </a:lnTo>
                <a:lnTo>
                  <a:pt x="1457" y="158"/>
                </a:lnTo>
                <a:lnTo>
                  <a:pt x="1463" y="158"/>
                </a:lnTo>
                <a:lnTo>
                  <a:pt x="1480" y="153"/>
                </a:lnTo>
                <a:lnTo>
                  <a:pt x="1480" y="158"/>
                </a:lnTo>
                <a:lnTo>
                  <a:pt x="1486" y="164"/>
                </a:lnTo>
                <a:lnTo>
                  <a:pt x="1491" y="170"/>
                </a:lnTo>
                <a:lnTo>
                  <a:pt x="1491" y="175"/>
                </a:lnTo>
                <a:lnTo>
                  <a:pt x="1497" y="175"/>
                </a:lnTo>
                <a:lnTo>
                  <a:pt x="1497" y="187"/>
                </a:lnTo>
                <a:lnTo>
                  <a:pt x="1497" y="209"/>
                </a:lnTo>
                <a:lnTo>
                  <a:pt x="1486" y="215"/>
                </a:lnTo>
                <a:lnTo>
                  <a:pt x="1480" y="215"/>
                </a:lnTo>
                <a:lnTo>
                  <a:pt x="1474" y="215"/>
                </a:lnTo>
                <a:lnTo>
                  <a:pt x="1469" y="215"/>
                </a:lnTo>
                <a:lnTo>
                  <a:pt x="1463" y="215"/>
                </a:lnTo>
                <a:lnTo>
                  <a:pt x="1457" y="221"/>
                </a:lnTo>
                <a:lnTo>
                  <a:pt x="1452" y="221"/>
                </a:lnTo>
                <a:lnTo>
                  <a:pt x="1452" y="215"/>
                </a:lnTo>
                <a:lnTo>
                  <a:pt x="1457" y="209"/>
                </a:lnTo>
                <a:lnTo>
                  <a:pt x="1457" y="204"/>
                </a:lnTo>
                <a:lnTo>
                  <a:pt x="1446" y="204"/>
                </a:lnTo>
                <a:lnTo>
                  <a:pt x="1435" y="209"/>
                </a:lnTo>
                <a:lnTo>
                  <a:pt x="1435" y="215"/>
                </a:lnTo>
                <a:lnTo>
                  <a:pt x="1440" y="221"/>
                </a:lnTo>
                <a:lnTo>
                  <a:pt x="1440" y="226"/>
                </a:lnTo>
                <a:lnTo>
                  <a:pt x="1440" y="238"/>
                </a:lnTo>
                <a:lnTo>
                  <a:pt x="1446" y="238"/>
                </a:lnTo>
                <a:lnTo>
                  <a:pt x="1446" y="249"/>
                </a:lnTo>
                <a:lnTo>
                  <a:pt x="1440" y="249"/>
                </a:lnTo>
                <a:lnTo>
                  <a:pt x="1435" y="255"/>
                </a:lnTo>
                <a:lnTo>
                  <a:pt x="1429" y="260"/>
                </a:lnTo>
                <a:lnTo>
                  <a:pt x="1429" y="266"/>
                </a:lnTo>
                <a:lnTo>
                  <a:pt x="1423" y="266"/>
                </a:lnTo>
                <a:lnTo>
                  <a:pt x="1423" y="272"/>
                </a:lnTo>
                <a:lnTo>
                  <a:pt x="1418" y="272"/>
                </a:lnTo>
                <a:lnTo>
                  <a:pt x="1412" y="272"/>
                </a:lnTo>
                <a:lnTo>
                  <a:pt x="1401" y="272"/>
                </a:lnTo>
                <a:lnTo>
                  <a:pt x="1401" y="277"/>
                </a:lnTo>
                <a:lnTo>
                  <a:pt x="1406" y="289"/>
                </a:lnTo>
                <a:lnTo>
                  <a:pt x="1412" y="300"/>
                </a:lnTo>
                <a:lnTo>
                  <a:pt x="1401" y="300"/>
                </a:lnTo>
                <a:lnTo>
                  <a:pt x="1406" y="317"/>
                </a:lnTo>
                <a:lnTo>
                  <a:pt x="1401" y="323"/>
                </a:lnTo>
                <a:lnTo>
                  <a:pt x="1401" y="328"/>
                </a:lnTo>
                <a:lnTo>
                  <a:pt x="1389" y="323"/>
                </a:lnTo>
                <a:lnTo>
                  <a:pt x="1389" y="328"/>
                </a:lnTo>
                <a:lnTo>
                  <a:pt x="1367" y="334"/>
                </a:lnTo>
                <a:lnTo>
                  <a:pt x="1344" y="340"/>
                </a:lnTo>
                <a:lnTo>
                  <a:pt x="1344" y="328"/>
                </a:lnTo>
                <a:lnTo>
                  <a:pt x="1327" y="334"/>
                </a:lnTo>
                <a:lnTo>
                  <a:pt x="1321" y="323"/>
                </a:lnTo>
                <a:lnTo>
                  <a:pt x="1316" y="311"/>
                </a:lnTo>
                <a:lnTo>
                  <a:pt x="1293" y="328"/>
                </a:lnTo>
                <a:lnTo>
                  <a:pt x="1270" y="334"/>
                </a:lnTo>
                <a:lnTo>
                  <a:pt x="1270" y="357"/>
                </a:lnTo>
                <a:lnTo>
                  <a:pt x="1265" y="368"/>
                </a:lnTo>
                <a:lnTo>
                  <a:pt x="1259" y="396"/>
                </a:lnTo>
                <a:lnTo>
                  <a:pt x="1259" y="402"/>
                </a:lnTo>
                <a:lnTo>
                  <a:pt x="1242" y="408"/>
                </a:lnTo>
                <a:lnTo>
                  <a:pt x="1242" y="413"/>
                </a:lnTo>
                <a:lnTo>
                  <a:pt x="1225" y="413"/>
                </a:lnTo>
                <a:lnTo>
                  <a:pt x="1231" y="453"/>
                </a:lnTo>
                <a:lnTo>
                  <a:pt x="1208" y="464"/>
                </a:lnTo>
                <a:lnTo>
                  <a:pt x="1191" y="476"/>
                </a:lnTo>
                <a:lnTo>
                  <a:pt x="1202" y="487"/>
                </a:lnTo>
                <a:lnTo>
                  <a:pt x="1202" y="498"/>
                </a:lnTo>
                <a:lnTo>
                  <a:pt x="1208" y="498"/>
                </a:lnTo>
                <a:lnTo>
                  <a:pt x="1202" y="510"/>
                </a:lnTo>
                <a:lnTo>
                  <a:pt x="1236" y="498"/>
                </a:lnTo>
                <a:lnTo>
                  <a:pt x="1236" y="487"/>
                </a:lnTo>
                <a:lnTo>
                  <a:pt x="1276" y="481"/>
                </a:lnTo>
                <a:lnTo>
                  <a:pt x="1276" y="487"/>
                </a:lnTo>
                <a:lnTo>
                  <a:pt x="1282" y="487"/>
                </a:lnTo>
                <a:lnTo>
                  <a:pt x="1282" y="493"/>
                </a:lnTo>
                <a:lnTo>
                  <a:pt x="1304" y="493"/>
                </a:lnTo>
                <a:lnTo>
                  <a:pt x="1304" y="504"/>
                </a:lnTo>
                <a:lnTo>
                  <a:pt x="1299" y="504"/>
                </a:lnTo>
                <a:lnTo>
                  <a:pt x="1299" y="510"/>
                </a:lnTo>
                <a:lnTo>
                  <a:pt x="1299" y="515"/>
                </a:lnTo>
                <a:lnTo>
                  <a:pt x="1293" y="527"/>
                </a:lnTo>
                <a:lnTo>
                  <a:pt x="1287" y="527"/>
                </a:lnTo>
                <a:lnTo>
                  <a:pt x="1299" y="538"/>
                </a:lnTo>
                <a:lnTo>
                  <a:pt x="1287" y="578"/>
                </a:lnTo>
                <a:lnTo>
                  <a:pt x="1282" y="578"/>
                </a:lnTo>
                <a:lnTo>
                  <a:pt x="1282" y="584"/>
                </a:lnTo>
                <a:lnTo>
                  <a:pt x="1282" y="589"/>
                </a:lnTo>
                <a:lnTo>
                  <a:pt x="1282" y="595"/>
                </a:lnTo>
                <a:lnTo>
                  <a:pt x="1276" y="595"/>
                </a:lnTo>
                <a:lnTo>
                  <a:pt x="1276" y="601"/>
                </a:lnTo>
                <a:lnTo>
                  <a:pt x="1276" y="606"/>
                </a:lnTo>
                <a:lnTo>
                  <a:pt x="1270" y="606"/>
                </a:lnTo>
                <a:lnTo>
                  <a:pt x="1265" y="606"/>
                </a:lnTo>
                <a:lnTo>
                  <a:pt x="1265" y="612"/>
                </a:lnTo>
                <a:lnTo>
                  <a:pt x="1259" y="618"/>
                </a:lnTo>
                <a:lnTo>
                  <a:pt x="1253" y="618"/>
                </a:lnTo>
                <a:lnTo>
                  <a:pt x="1248" y="612"/>
                </a:lnTo>
                <a:lnTo>
                  <a:pt x="1236" y="601"/>
                </a:lnTo>
                <a:lnTo>
                  <a:pt x="1236" y="595"/>
                </a:lnTo>
                <a:lnTo>
                  <a:pt x="1231" y="595"/>
                </a:lnTo>
                <a:lnTo>
                  <a:pt x="1225" y="601"/>
                </a:lnTo>
                <a:lnTo>
                  <a:pt x="1219" y="606"/>
                </a:lnTo>
                <a:lnTo>
                  <a:pt x="1214" y="612"/>
                </a:lnTo>
                <a:lnTo>
                  <a:pt x="1208" y="618"/>
                </a:lnTo>
                <a:lnTo>
                  <a:pt x="1202" y="623"/>
                </a:lnTo>
                <a:lnTo>
                  <a:pt x="1202" y="629"/>
                </a:lnTo>
                <a:lnTo>
                  <a:pt x="1197" y="629"/>
                </a:lnTo>
                <a:lnTo>
                  <a:pt x="1191" y="629"/>
                </a:lnTo>
                <a:lnTo>
                  <a:pt x="1191" y="623"/>
                </a:lnTo>
                <a:lnTo>
                  <a:pt x="1197" y="623"/>
                </a:lnTo>
                <a:lnTo>
                  <a:pt x="1197" y="618"/>
                </a:lnTo>
                <a:lnTo>
                  <a:pt x="1191" y="618"/>
                </a:lnTo>
                <a:lnTo>
                  <a:pt x="1185" y="618"/>
                </a:lnTo>
                <a:lnTo>
                  <a:pt x="1185" y="623"/>
                </a:lnTo>
                <a:lnTo>
                  <a:pt x="1180" y="623"/>
                </a:lnTo>
                <a:lnTo>
                  <a:pt x="1174" y="618"/>
                </a:lnTo>
                <a:lnTo>
                  <a:pt x="1168" y="618"/>
                </a:lnTo>
                <a:lnTo>
                  <a:pt x="1163" y="618"/>
                </a:lnTo>
                <a:lnTo>
                  <a:pt x="1157" y="623"/>
                </a:lnTo>
                <a:lnTo>
                  <a:pt x="1151" y="623"/>
                </a:lnTo>
                <a:lnTo>
                  <a:pt x="1151" y="618"/>
                </a:lnTo>
                <a:lnTo>
                  <a:pt x="1146" y="618"/>
                </a:lnTo>
                <a:lnTo>
                  <a:pt x="1134" y="612"/>
                </a:lnTo>
                <a:lnTo>
                  <a:pt x="1134" y="606"/>
                </a:lnTo>
                <a:lnTo>
                  <a:pt x="1134" y="601"/>
                </a:lnTo>
                <a:lnTo>
                  <a:pt x="1129" y="601"/>
                </a:lnTo>
                <a:lnTo>
                  <a:pt x="1129" y="606"/>
                </a:lnTo>
                <a:lnTo>
                  <a:pt x="1123" y="612"/>
                </a:lnTo>
                <a:lnTo>
                  <a:pt x="1129" y="629"/>
                </a:lnTo>
                <a:lnTo>
                  <a:pt x="1123" y="629"/>
                </a:lnTo>
                <a:lnTo>
                  <a:pt x="1123" y="623"/>
                </a:lnTo>
                <a:lnTo>
                  <a:pt x="1123" y="618"/>
                </a:lnTo>
                <a:lnTo>
                  <a:pt x="1117" y="618"/>
                </a:lnTo>
                <a:lnTo>
                  <a:pt x="1112" y="618"/>
                </a:lnTo>
                <a:lnTo>
                  <a:pt x="1106" y="618"/>
                </a:lnTo>
                <a:lnTo>
                  <a:pt x="1100" y="623"/>
                </a:lnTo>
                <a:lnTo>
                  <a:pt x="1095" y="623"/>
                </a:lnTo>
                <a:lnTo>
                  <a:pt x="1095" y="618"/>
                </a:lnTo>
                <a:lnTo>
                  <a:pt x="1089" y="623"/>
                </a:lnTo>
                <a:lnTo>
                  <a:pt x="1078" y="629"/>
                </a:lnTo>
                <a:lnTo>
                  <a:pt x="1072" y="629"/>
                </a:lnTo>
                <a:lnTo>
                  <a:pt x="1066" y="635"/>
                </a:lnTo>
                <a:lnTo>
                  <a:pt x="1066" y="640"/>
                </a:lnTo>
                <a:lnTo>
                  <a:pt x="1061" y="640"/>
                </a:lnTo>
                <a:lnTo>
                  <a:pt x="1055" y="640"/>
                </a:lnTo>
                <a:lnTo>
                  <a:pt x="1055" y="635"/>
                </a:lnTo>
                <a:lnTo>
                  <a:pt x="1049" y="635"/>
                </a:lnTo>
                <a:lnTo>
                  <a:pt x="1044" y="640"/>
                </a:lnTo>
                <a:lnTo>
                  <a:pt x="1044" y="646"/>
                </a:lnTo>
                <a:lnTo>
                  <a:pt x="1038" y="646"/>
                </a:lnTo>
                <a:lnTo>
                  <a:pt x="1038" y="652"/>
                </a:lnTo>
                <a:lnTo>
                  <a:pt x="1032" y="652"/>
                </a:lnTo>
                <a:lnTo>
                  <a:pt x="1038" y="652"/>
                </a:lnTo>
                <a:lnTo>
                  <a:pt x="1038" y="657"/>
                </a:lnTo>
                <a:lnTo>
                  <a:pt x="1038" y="663"/>
                </a:lnTo>
                <a:lnTo>
                  <a:pt x="1032" y="663"/>
                </a:lnTo>
                <a:lnTo>
                  <a:pt x="1027" y="663"/>
                </a:lnTo>
                <a:lnTo>
                  <a:pt x="1021" y="663"/>
                </a:lnTo>
                <a:lnTo>
                  <a:pt x="1015" y="669"/>
                </a:lnTo>
                <a:lnTo>
                  <a:pt x="1010" y="669"/>
                </a:lnTo>
                <a:lnTo>
                  <a:pt x="1010" y="674"/>
                </a:lnTo>
                <a:lnTo>
                  <a:pt x="1004" y="674"/>
                </a:lnTo>
                <a:lnTo>
                  <a:pt x="1004" y="680"/>
                </a:lnTo>
                <a:lnTo>
                  <a:pt x="998" y="680"/>
                </a:lnTo>
                <a:lnTo>
                  <a:pt x="998" y="674"/>
                </a:lnTo>
                <a:lnTo>
                  <a:pt x="993" y="674"/>
                </a:lnTo>
                <a:lnTo>
                  <a:pt x="993" y="680"/>
                </a:lnTo>
                <a:lnTo>
                  <a:pt x="993" y="686"/>
                </a:lnTo>
                <a:lnTo>
                  <a:pt x="998" y="691"/>
                </a:lnTo>
                <a:lnTo>
                  <a:pt x="998" y="697"/>
                </a:lnTo>
                <a:lnTo>
                  <a:pt x="1004" y="697"/>
                </a:lnTo>
                <a:lnTo>
                  <a:pt x="1010" y="703"/>
                </a:lnTo>
                <a:lnTo>
                  <a:pt x="1010" y="708"/>
                </a:lnTo>
                <a:lnTo>
                  <a:pt x="1010" y="714"/>
                </a:lnTo>
                <a:lnTo>
                  <a:pt x="1010" y="720"/>
                </a:lnTo>
                <a:lnTo>
                  <a:pt x="1010" y="725"/>
                </a:lnTo>
                <a:lnTo>
                  <a:pt x="1004" y="725"/>
                </a:lnTo>
                <a:lnTo>
                  <a:pt x="1004" y="720"/>
                </a:lnTo>
                <a:lnTo>
                  <a:pt x="1004" y="725"/>
                </a:lnTo>
                <a:lnTo>
                  <a:pt x="998" y="731"/>
                </a:lnTo>
                <a:lnTo>
                  <a:pt x="1004" y="737"/>
                </a:lnTo>
                <a:lnTo>
                  <a:pt x="1010" y="737"/>
                </a:lnTo>
                <a:lnTo>
                  <a:pt x="1015" y="737"/>
                </a:lnTo>
                <a:lnTo>
                  <a:pt x="1015" y="742"/>
                </a:lnTo>
                <a:lnTo>
                  <a:pt x="1010" y="742"/>
                </a:lnTo>
                <a:lnTo>
                  <a:pt x="1004" y="742"/>
                </a:lnTo>
                <a:lnTo>
                  <a:pt x="998" y="742"/>
                </a:lnTo>
                <a:lnTo>
                  <a:pt x="993" y="742"/>
                </a:lnTo>
                <a:lnTo>
                  <a:pt x="993" y="748"/>
                </a:lnTo>
                <a:lnTo>
                  <a:pt x="987" y="748"/>
                </a:lnTo>
                <a:lnTo>
                  <a:pt x="981" y="742"/>
                </a:lnTo>
                <a:lnTo>
                  <a:pt x="970" y="742"/>
                </a:lnTo>
                <a:lnTo>
                  <a:pt x="964" y="748"/>
                </a:lnTo>
                <a:lnTo>
                  <a:pt x="964" y="754"/>
                </a:lnTo>
                <a:lnTo>
                  <a:pt x="958" y="754"/>
                </a:lnTo>
                <a:lnTo>
                  <a:pt x="958" y="748"/>
                </a:lnTo>
                <a:lnTo>
                  <a:pt x="953" y="748"/>
                </a:lnTo>
                <a:lnTo>
                  <a:pt x="947" y="748"/>
                </a:lnTo>
                <a:lnTo>
                  <a:pt x="947" y="754"/>
                </a:lnTo>
                <a:lnTo>
                  <a:pt x="941" y="754"/>
                </a:lnTo>
                <a:lnTo>
                  <a:pt x="936" y="759"/>
                </a:lnTo>
                <a:lnTo>
                  <a:pt x="936" y="765"/>
                </a:lnTo>
                <a:lnTo>
                  <a:pt x="936" y="771"/>
                </a:lnTo>
                <a:lnTo>
                  <a:pt x="936" y="776"/>
                </a:lnTo>
                <a:lnTo>
                  <a:pt x="930" y="776"/>
                </a:lnTo>
                <a:lnTo>
                  <a:pt x="924" y="776"/>
                </a:lnTo>
                <a:lnTo>
                  <a:pt x="924" y="782"/>
                </a:lnTo>
                <a:lnTo>
                  <a:pt x="919" y="782"/>
                </a:lnTo>
                <a:lnTo>
                  <a:pt x="913" y="788"/>
                </a:lnTo>
                <a:lnTo>
                  <a:pt x="907" y="793"/>
                </a:lnTo>
                <a:lnTo>
                  <a:pt x="902" y="793"/>
                </a:lnTo>
                <a:lnTo>
                  <a:pt x="902" y="799"/>
                </a:lnTo>
                <a:lnTo>
                  <a:pt x="896" y="799"/>
                </a:lnTo>
                <a:lnTo>
                  <a:pt x="890" y="816"/>
                </a:lnTo>
                <a:lnTo>
                  <a:pt x="890" y="827"/>
                </a:lnTo>
                <a:lnTo>
                  <a:pt x="896" y="827"/>
                </a:lnTo>
                <a:lnTo>
                  <a:pt x="890" y="827"/>
                </a:lnTo>
                <a:lnTo>
                  <a:pt x="890" y="833"/>
                </a:lnTo>
                <a:lnTo>
                  <a:pt x="885" y="833"/>
                </a:lnTo>
                <a:lnTo>
                  <a:pt x="879" y="833"/>
                </a:lnTo>
                <a:lnTo>
                  <a:pt x="879" y="827"/>
                </a:lnTo>
                <a:lnTo>
                  <a:pt x="873" y="810"/>
                </a:lnTo>
                <a:lnTo>
                  <a:pt x="862" y="805"/>
                </a:lnTo>
                <a:lnTo>
                  <a:pt x="856" y="805"/>
                </a:lnTo>
                <a:lnTo>
                  <a:pt x="845" y="805"/>
                </a:lnTo>
                <a:lnTo>
                  <a:pt x="839" y="805"/>
                </a:lnTo>
                <a:lnTo>
                  <a:pt x="834" y="805"/>
                </a:lnTo>
                <a:lnTo>
                  <a:pt x="834" y="793"/>
                </a:lnTo>
                <a:lnTo>
                  <a:pt x="828" y="793"/>
                </a:lnTo>
                <a:lnTo>
                  <a:pt x="822" y="793"/>
                </a:lnTo>
                <a:lnTo>
                  <a:pt x="805" y="805"/>
                </a:lnTo>
                <a:lnTo>
                  <a:pt x="794" y="810"/>
                </a:lnTo>
                <a:lnTo>
                  <a:pt x="788" y="816"/>
                </a:lnTo>
                <a:lnTo>
                  <a:pt x="783" y="822"/>
                </a:lnTo>
                <a:lnTo>
                  <a:pt x="777" y="822"/>
                </a:lnTo>
                <a:lnTo>
                  <a:pt x="771" y="816"/>
                </a:lnTo>
                <a:lnTo>
                  <a:pt x="760" y="816"/>
                </a:lnTo>
                <a:lnTo>
                  <a:pt x="760" y="822"/>
                </a:lnTo>
                <a:lnTo>
                  <a:pt x="754" y="822"/>
                </a:lnTo>
                <a:lnTo>
                  <a:pt x="754" y="827"/>
                </a:lnTo>
                <a:lnTo>
                  <a:pt x="749" y="827"/>
                </a:lnTo>
                <a:lnTo>
                  <a:pt x="743" y="827"/>
                </a:lnTo>
                <a:lnTo>
                  <a:pt x="737" y="827"/>
                </a:lnTo>
                <a:lnTo>
                  <a:pt x="732" y="827"/>
                </a:lnTo>
                <a:lnTo>
                  <a:pt x="726" y="833"/>
                </a:lnTo>
                <a:lnTo>
                  <a:pt x="720" y="833"/>
                </a:lnTo>
                <a:lnTo>
                  <a:pt x="715" y="839"/>
                </a:lnTo>
                <a:lnTo>
                  <a:pt x="709" y="839"/>
                </a:lnTo>
                <a:lnTo>
                  <a:pt x="709" y="844"/>
                </a:lnTo>
                <a:lnTo>
                  <a:pt x="703" y="844"/>
                </a:lnTo>
                <a:lnTo>
                  <a:pt x="703" y="850"/>
                </a:lnTo>
                <a:lnTo>
                  <a:pt x="698" y="850"/>
                </a:lnTo>
                <a:lnTo>
                  <a:pt x="698" y="856"/>
                </a:lnTo>
                <a:lnTo>
                  <a:pt x="692" y="856"/>
                </a:lnTo>
                <a:lnTo>
                  <a:pt x="686" y="856"/>
                </a:lnTo>
                <a:lnTo>
                  <a:pt x="681" y="861"/>
                </a:lnTo>
                <a:lnTo>
                  <a:pt x="675" y="867"/>
                </a:lnTo>
                <a:lnTo>
                  <a:pt x="681" y="867"/>
                </a:lnTo>
                <a:lnTo>
                  <a:pt x="681" y="873"/>
                </a:lnTo>
                <a:lnTo>
                  <a:pt x="675" y="873"/>
                </a:lnTo>
                <a:lnTo>
                  <a:pt x="669" y="878"/>
                </a:lnTo>
                <a:lnTo>
                  <a:pt x="664" y="878"/>
                </a:lnTo>
                <a:lnTo>
                  <a:pt x="664" y="884"/>
                </a:lnTo>
                <a:lnTo>
                  <a:pt x="658" y="884"/>
                </a:lnTo>
                <a:lnTo>
                  <a:pt x="652" y="890"/>
                </a:lnTo>
                <a:lnTo>
                  <a:pt x="647" y="890"/>
                </a:lnTo>
                <a:lnTo>
                  <a:pt x="647" y="895"/>
                </a:lnTo>
                <a:lnTo>
                  <a:pt x="635" y="901"/>
                </a:lnTo>
                <a:lnTo>
                  <a:pt x="635" y="912"/>
                </a:lnTo>
                <a:lnTo>
                  <a:pt x="630" y="924"/>
                </a:lnTo>
                <a:lnTo>
                  <a:pt x="624" y="924"/>
                </a:lnTo>
                <a:lnTo>
                  <a:pt x="618" y="924"/>
                </a:lnTo>
                <a:lnTo>
                  <a:pt x="607" y="929"/>
                </a:lnTo>
                <a:lnTo>
                  <a:pt x="601" y="929"/>
                </a:lnTo>
                <a:lnTo>
                  <a:pt x="596" y="935"/>
                </a:lnTo>
                <a:lnTo>
                  <a:pt x="590" y="935"/>
                </a:lnTo>
                <a:lnTo>
                  <a:pt x="567" y="884"/>
                </a:lnTo>
                <a:lnTo>
                  <a:pt x="567" y="878"/>
                </a:lnTo>
                <a:lnTo>
                  <a:pt x="573" y="878"/>
                </a:lnTo>
                <a:lnTo>
                  <a:pt x="579" y="873"/>
                </a:lnTo>
                <a:lnTo>
                  <a:pt x="579" y="867"/>
                </a:lnTo>
                <a:lnTo>
                  <a:pt x="584" y="867"/>
                </a:lnTo>
                <a:lnTo>
                  <a:pt x="590" y="861"/>
                </a:lnTo>
                <a:lnTo>
                  <a:pt x="590" y="856"/>
                </a:lnTo>
                <a:lnTo>
                  <a:pt x="596" y="856"/>
                </a:lnTo>
                <a:lnTo>
                  <a:pt x="596" y="850"/>
                </a:lnTo>
                <a:lnTo>
                  <a:pt x="601" y="844"/>
                </a:lnTo>
                <a:lnTo>
                  <a:pt x="607" y="844"/>
                </a:lnTo>
                <a:lnTo>
                  <a:pt x="607" y="839"/>
                </a:lnTo>
                <a:lnTo>
                  <a:pt x="613" y="839"/>
                </a:lnTo>
                <a:lnTo>
                  <a:pt x="618" y="833"/>
                </a:lnTo>
                <a:lnTo>
                  <a:pt x="618" y="827"/>
                </a:lnTo>
                <a:lnTo>
                  <a:pt x="613" y="822"/>
                </a:lnTo>
                <a:lnTo>
                  <a:pt x="590" y="822"/>
                </a:lnTo>
                <a:lnTo>
                  <a:pt x="573" y="827"/>
                </a:lnTo>
                <a:lnTo>
                  <a:pt x="562" y="827"/>
                </a:lnTo>
                <a:lnTo>
                  <a:pt x="556" y="827"/>
                </a:lnTo>
                <a:lnTo>
                  <a:pt x="556" y="822"/>
                </a:lnTo>
                <a:lnTo>
                  <a:pt x="556" y="816"/>
                </a:lnTo>
                <a:lnTo>
                  <a:pt x="550" y="810"/>
                </a:lnTo>
                <a:lnTo>
                  <a:pt x="550" y="805"/>
                </a:lnTo>
                <a:lnTo>
                  <a:pt x="545" y="805"/>
                </a:lnTo>
                <a:lnTo>
                  <a:pt x="545" y="810"/>
                </a:lnTo>
                <a:lnTo>
                  <a:pt x="533" y="810"/>
                </a:lnTo>
                <a:lnTo>
                  <a:pt x="528" y="810"/>
                </a:lnTo>
                <a:lnTo>
                  <a:pt x="528" y="816"/>
                </a:lnTo>
                <a:lnTo>
                  <a:pt x="528" y="822"/>
                </a:lnTo>
                <a:lnTo>
                  <a:pt x="528" y="827"/>
                </a:lnTo>
                <a:lnTo>
                  <a:pt x="528" y="833"/>
                </a:lnTo>
                <a:lnTo>
                  <a:pt x="533" y="833"/>
                </a:lnTo>
                <a:lnTo>
                  <a:pt x="533" y="839"/>
                </a:lnTo>
                <a:lnTo>
                  <a:pt x="533" y="844"/>
                </a:lnTo>
                <a:lnTo>
                  <a:pt x="528" y="850"/>
                </a:lnTo>
                <a:lnTo>
                  <a:pt x="528" y="856"/>
                </a:lnTo>
                <a:lnTo>
                  <a:pt x="533" y="856"/>
                </a:lnTo>
                <a:lnTo>
                  <a:pt x="533" y="861"/>
                </a:lnTo>
                <a:lnTo>
                  <a:pt x="528" y="861"/>
                </a:lnTo>
                <a:lnTo>
                  <a:pt x="528" y="867"/>
                </a:lnTo>
                <a:lnTo>
                  <a:pt x="522" y="867"/>
                </a:lnTo>
                <a:lnTo>
                  <a:pt x="516" y="873"/>
                </a:lnTo>
                <a:lnTo>
                  <a:pt x="516" y="878"/>
                </a:lnTo>
                <a:lnTo>
                  <a:pt x="511" y="878"/>
                </a:lnTo>
                <a:lnTo>
                  <a:pt x="511" y="884"/>
                </a:lnTo>
                <a:lnTo>
                  <a:pt x="511" y="890"/>
                </a:lnTo>
                <a:lnTo>
                  <a:pt x="511" y="895"/>
                </a:lnTo>
                <a:lnTo>
                  <a:pt x="511" y="901"/>
                </a:lnTo>
                <a:lnTo>
                  <a:pt x="511" y="907"/>
                </a:lnTo>
                <a:lnTo>
                  <a:pt x="505" y="907"/>
                </a:lnTo>
                <a:lnTo>
                  <a:pt x="505" y="912"/>
                </a:lnTo>
                <a:lnTo>
                  <a:pt x="499" y="912"/>
                </a:lnTo>
                <a:lnTo>
                  <a:pt x="499" y="918"/>
                </a:lnTo>
                <a:lnTo>
                  <a:pt x="494" y="918"/>
                </a:lnTo>
                <a:lnTo>
                  <a:pt x="494" y="924"/>
                </a:lnTo>
                <a:lnTo>
                  <a:pt x="488" y="929"/>
                </a:lnTo>
                <a:lnTo>
                  <a:pt x="482" y="929"/>
                </a:lnTo>
                <a:lnTo>
                  <a:pt x="482" y="935"/>
                </a:lnTo>
                <a:lnTo>
                  <a:pt x="477" y="929"/>
                </a:lnTo>
                <a:lnTo>
                  <a:pt x="465" y="918"/>
                </a:lnTo>
                <a:lnTo>
                  <a:pt x="460" y="918"/>
                </a:lnTo>
                <a:lnTo>
                  <a:pt x="460" y="912"/>
                </a:lnTo>
                <a:lnTo>
                  <a:pt x="465" y="907"/>
                </a:lnTo>
                <a:lnTo>
                  <a:pt x="465" y="901"/>
                </a:lnTo>
                <a:lnTo>
                  <a:pt x="460" y="895"/>
                </a:lnTo>
                <a:lnTo>
                  <a:pt x="460" y="890"/>
                </a:lnTo>
                <a:lnTo>
                  <a:pt x="454" y="890"/>
                </a:lnTo>
                <a:lnTo>
                  <a:pt x="448" y="890"/>
                </a:lnTo>
                <a:lnTo>
                  <a:pt x="443" y="890"/>
                </a:lnTo>
                <a:lnTo>
                  <a:pt x="437" y="878"/>
                </a:lnTo>
                <a:lnTo>
                  <a:pt x="448" y="873"/>
                </a:lnTo>
                <a:lnTo>
                  <a:pt x="448" y="867"/>
                </a:lnTo>
                <a:lnTo>
                  <a:pt x="454" y="867"/>
                </a:lnTo>
                <a:lnTo>
                  <a:pt x="460" y="861"/>
                </a:lnTo>
                <a:lnTo>
                  <a:pt x="460" y="856"/>
                </a:lnTo>
                <a:lnTo>
                  <a:pt x="465" y="850"/>
                </a:lnTo>
                <a:lnTo>
                  <a:pt x="460" y="850"/>
                </a:lnTo>
                <a:lnTo>
                  <a:pt x="460" y="839"/>
                </a:lnTo>
                <a:lnTo>
                  <a:pt x="460" y="833"/>
                </a:lnTo>
                <a:lnTo>
                  <a:pt x="465" y="833"/>
                </a:lnTo>
                <a:lnTo>
                  <a:pt x="460" y="827"/>
                </a:lnTo>
                <a:lnTo>
                  <a:pt x="454" y="827"/>
                </a:lnTo>
                <a:lnTo>
                  <a:pt x="460" y="822"/>
                </a:lnTo>
                <a:lnTo>
                  <a:pt x="414" y="833"/>
                </a:lnTo>
                <a:lnTo>
                  <a:pt x="375" y="839"/>
                </a:lnTo>
                <a:lnTo>
                  <a:pt x="369" y="833"/>
                </a:lnTo>
                <a:lnTo>
                  <a:pt x="375" y="805"/>
                </a:lnTo>
                <a:lnTo>
                  <a:pt x="358" y="799"/>
                </a:lnTo>
                <a:lnTo>
                  <a:pt x="363" y="754"/>
                </a:lnTo>
                <a:lnTo>
                  <a:pt x="369" y="737"/>
                </a:lnTo>
                <a:lnTo>
                  <a:pt x="352" y="720"/>
                </a:lnTo>
                <a:lnTo>
                  <a:pt x="352" y="725"/>
                </a:lnTo>
                <a:lnTo>
                  <a:pt x="346" y="731"/>
                </a:lnTo>
                <a:lnTo>
                  <a:pt x="346" y="737"/>
                </a:lnTo>
                <a:lnTo>
                  <a:pt x="346" y="742"/>
                </a:lnTo>
                <a:lnTo>
                  <a:pt x="346" y="748"/>
                </a:lnTo>
                <a:lnTo>
                  <a:pt x="346" y="754"/>
                </a:lnTo>
                <a:lnTo>
                  <a:pt x="341" y="754"/>
                </a:lnTo>
                <a:lnTo>
                  <a:pt x="324" y="748"/>
                </a:lnTo>
                <a:lnTo>
                  <a:pt x="318" y="754"/>
                </a:lnTo>
                <a:lnTo>
                  <a:pt x="318" y="759"/>
                </a:lnTo>
                <a:lnTo>
                  <a:pt x="324" y="759"/>
                </a:lnTo>
                <a:lnTo>
                  <a:pt x="329" y="765"/>
                </a:lnTo>
                <a:lnTo>
                  <a:pt x="324" y="771"/>
                </a:lnTo>
                <a:lnTo>
                  <a:pt x="318" y="771"/>
                </a:lnTo>
                <a:lnTo>
                  <a:pt x="301" y="771"/>
                </a:lnTo>
                <a:lnTo>
                  <a:pt x="295" y="771"/>
                </a:lnTo>
                <a:lnTo>
                  <a:pt x="284" y="788"/>
                </a:lnTo>
                <a:lnTo>
                  <a:pt x="267" y="776"/>
                </a:lnTo>
                <a:lnTo>
                  <a:pt x="256" y="776"/>
                </a:lnTo>
                <a:lnTo>
                  <a:pt x="244" y="765"/>
                </a:lnTo>
                <a:lnTo>
                  <a:pt x="239" y="765"/>
                </a:lnTo>
                <a:lnTo>
                  <a:pt x="227" y="765"/>
                </a:lnTo>
                <a:lnTo>
                  <a:pt x="210" y="765"/>
                </a:lnTo>
                <a:lnTo>
                  <a:pt x="216" y="759"/>
                </a:lnTo>
                <a:lnTo>
                  <a:pt x="216" y="754"/>
                </a:lnTo>
                <a:lnTo>
                  <a:pt x="210" y="754"/>
                </a:lnTo>
                <a:lnTo>
                  <a:pt x="205" y="748"/>
                </a:lnTo>
                <a:lnTo>
                  <a:pt x="199" y="748"/>
                </a:lnTo>
                <a:lnTo>
                  <a:pt x="193" y="748"/>
                </a:lnTo>
                <a:lnTo>
                  <a:pt x="182" y="737"/>
                </a:lnTo>
                <a:lnTo>
                  <a:pt x="176" y="737"/>
                </a:lnTo>
                <a:lnTo>
                  <a:pt x="171" y="731"/>
                </a:lnTo>
                <a:lnTo>
                  <a:pt x="159" y="731"/>
                </a:lnTo>
                <a:lnTo>
                  <a:pt x="148" y="731"/>
                </a:lnTo>
                <a:lnTo>
                  <a:pt x="142" y="720"/>
                </a:lnTo>
                <a:lnTo>
                  <a:pt x="131" y="714"/>
                </a:lnTo>
                <a:lnTo>
                  <a:pt x="125" y="708"/>
                </a:lnTo>
                <a:lnTo>
                  <a:pt x="125" y="703"/>
                </a:lnTo>
                <a:lnTo>
                  <a:pt x="120" y="703"/>
                </a:lnTo>
                <a:lnTo>
                  <a:pt x="114" y="691"/>
                </a:lnTo>
                <a:lnTo>
                  <a:pt x="108" y="691"/>
                </a:lnTo>
                <a:lnTo>
                  <a:pt x="108" y="697"/>
                </a:lnTo>
                <a:lnTo>
                  <a:pt x="97" y="697"/>
                </a:lnTo>
                <a:lnTo>
                  <a:pt x="97" y="691"/>
                </a:lnTo>
                <a:lnTo>
                  <a:pt x="91" y="686"/>
                </a:lnTo>
                <a:lnTo>
                  <a:pt x="91" y="680"/>
                </a:lnTo>
                <a:lnTo>
                  <a:pt x="86" y="669"/>
                </a:lnTo>
                <a:lnTo>
                  <a:pt x="91" y="657"/>
                </a:lnTo>
                <a:lnTo>
                  <a:pt x="91" y="652"/>
                </a:lnTo>
                <a:lnTo>
                  <a:pt x="91" y="646"/>
                </a:lnTo>
                <a:lnTo>
                  <a:pt x="103" y="646"/>
                </a:lnTo>
                <a:lnTo>
                  <a:pt x="108" y="640"/>
                </a:lnTo>
                <a:lnTo>
                  <a:pt x="114" y="640"/>
                </a:lnTo>
                <a:lnTo>
                  <a:pt x="114" y="635"/>
                </a:lnTo>
                <a:lnTo>
                  <a:pt x="108" y="635"/>
                </a:lnTo>
                <a:lnTo>
                  <a:pt x="103" y="629"/>
                </a:lnTo>
                <a:lnTo>
                  <a:pt x="103" y="623"/>
                </a:lnTo>
                <a:lnTo>
                  <a:pt x="103" y="612"/>
                </a:lnTo>
                <a:lnTo>
                  <a:pt x="97" y="612"/>
                </a:lnTo>
                <a:lnTo>
                  <a:pt x="97" y="606"/>
                </a:lnTo>
                <a:lnTo>
                  <a:pt x="91" y="601"/>
                </a:lnTo>
                <a:lnTo>
                  <a:pt x="97" y="589"/>
                </a:lnTo>
                <a:lnTo>
                  <a:pt x="103" y="584"/>
                </a:lnTo>
                <a:lnTo>
                  <a:pt x="103" y="578"/>
                </a:lnTo>
                <a:lnTo>
                  <a:pt x="97" y="572"/>
                </a:lnTo>
                <a:lnTo>
                  <a:pt x="97" y="566"/>
                </a:lnTo>
                <a:lnTo>
                  <a:pt x="103" y="561"/>
                </a:lnTo>
                <a:lnTo>
                  <a:pt x="108" y="555"/>
                </a:lnTo>
                <a:lnTo>
                  <a:pt x="108" y="549"/>
                </a:lnTo>
                <a:lnTo>
                  <a:pt x="103" y="549"/>
                </a:lnTo>
                <a:lnTo>
                  <a:pt x="97" y="549"/>
                </a:lnTo>
                <a:lnTo>
                  <a:pt x="91" y="544"/>
                </a:lnTo>
                <a:lnTo>
                  <a:pt x="86" y="538"/>
                </a:lnTo>
                <a:lnTo>
                  <a:pt x="80" y="538"/>
                </a:lnTo>
                <a:lnTo>
                  <a:pt x="80" y="544"/>
                </a:lnTo>
                <a:lnTo>
                  <a:pt x="80" y="538"/>
                </a:lnTo>
                <a:lnTo>
                  <a:pt x="74" y="532"/>
                </a:lnTo>
                <a:lnTo>
                  <a:pt x="68" y="527"/>
                </a:lnTo>
                <a:lnTo>
                  <a:pt x="63" y="532"/>
                </a:lnTo>
                <a:lnTo>
                  <a:pt x="57" y="532"/>
                </a:lnTo>
                <a:lnTo>
                  <a:pt x="57" y="527"/>
                </a:lnTo>
                <a:lnTo>
                  <a:pt x="51" y="521"/>
                </a:lnTo>
                <a:lnTo>
                  <a:pt x="46" y="527"/>
                </a:lnTo>
                <a:lnTo>
                  <a:pt x="40" y="521"/>
                </a:lnTo>
                <a:lnTo>
                  <a:pt x="34" y="521"/>
                </a:lnTo>
                <a:lnTo>
                  <a:pt x="29" y="521"/>
                </a:lnTo>
                <a:lnTo>
                  <a:pt x="23" y="521"/>
                </a:lnTo>
                <a:lnTo>
                  <a:pt x="17" y="521"/>
                </a:lnTo>
                <a:lnTo>
                  <a:pt x="17" y="515"/>
                </a:lnTo>
                <a:lnTo>
                  <a:pt x="17" y="504"/>
                </a:lnTo>
                <a:lnTo>
                  <a:pt x="12" y="498"/>
                </a:lnTo>
                <a:lnTo>
                  <a:pt x="12" y="487"/>
                </a:lnTo>
                <a:lnTo>
                  <a:pt x="17" y="481"/>
                </a:lnTo>
                <a:lnTo>
                  <a:pt x="17" y="402"/>
                </a:lnTo>
                <a:lnTo>
                  <a:pt x="0" y="396"/>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61" name="Freeform 14"/>
          <p:cNvSpPr>
            <a:spLocks/>
          </p:cNvSpPr>
          <p:nvPr/>
        </p:nvSpPr>
        <p:spPr bwMode="gray">
          <a:xfrm>
            <a:off x="3830636" y="2165723"/>
            <a:ext cx="652288" cy="607212"/>
          </a:xfrm>
          <a:custGeom>
            <a:avLst/>
            <a:gdLst>
              <a:gd name="T0" fmla="*/ 27779 w 504"/>
              <a:gd name="T1" fmla="*/ 105437 h 471"/>
              <a:gd name="T2" fmla="*/ 30774 w 504"/>
              <a:gd name="T3" fmla="*/ 99155 h 471"/>
              <a:gd name="T4" fmla="*/ 23149 w 504"/>
              <a:gd name="T5" fmla="*/ 94511 h 471"/>
              <a:gd name="T6" fmla="*/ 2996 w 504"/>
              <a:gd name="T7" fmla="*/ 100794 h 471"/>
              <a:gd name="T8" fmla="*/ 0 w 504"/>
              <a:gd name="T9" fmla="*/ 91506 h 471"/>
              <a:gd name="T10" fmla="*/ 13889 w 504"/>
              <a:gd name="T11" fmla="*/ 74298 h 471"/>
              <a:gd name="T12" fmla="*/ 20153 w 504"/>
              <a:gd name="T13" fmla="*/ 62006 h 471"/>
              <a:gd name="T14" fmla="*/ 34043 w 504"/>
              <a:gd name="T15" fmla="*/ 46436 h 471"/>
              <a:gd name="T16" fmla="*/ 41668 w 504"/>
              <a:gd name="T17" fmla="*/ 54357 h 471"/>
              <a:gd name="T18" fmla="*/ 57192 w 504"/>
              <a:gd name="T19" fmla="*/ 51080 h 471"/>
              <a:gd name="T20" fmla="*/ 60188 w 504"/>
              <a:gd name="T21" fmla="*/ 43431 h 471"/>
              <a:gd name="T22" fmla="*/ 60188 w 504"/>
              <a:gd name="T23" fmla="*/ 35783 h 471"/>
              <a:gd name="T24" fmla="*/ 64818 w 504"/>
              <a:gd name="T25" fmla="*/ 34144 h 471"/>
              <a:gd name="T26" fmla="*/ 69448 w 504"/>
              <a:gd name="T27" fmla="*/ 29501 h 471"/>
              <a:gd name="T28" fmla="*/ 67813 w 504"/>
              <a:gd name="T29" fmla="*/ 21852 h 471"/>
              <a:gd name="T30" fmla="*/ 72443 w 504"/>
              <a:gd name="T31" fmla="*/ 17209 h 471"/>
              <a:gd name="T32" fmla="*/ 72443 w 504"/>
              <a:gd name="T33" fmla="*/ 21852 h 471"/>
              <a:gd name="T34" fmla="*/ 78707 w 504"/>
              <a:gd name="T35" fmla="*/ 20213 h 471"/>
              <a:gd name="T36" fmla="*/ 89601 w 504"/>
              <a:gd name="T37" fmla="*/ 10926 h 471"/>
              <a:gd name="T38" fmla="*/ 98861 w 504"/>
              <a:gd name="T39" fmla="*/ 7921 h 471"/>
              <a:gd name="T40" fmla="*/ 111116 w 504"/>
              <a:gd name="T41" fmla="*/ 4644 h 471"/>
              <a:gd name="T42" fmla="*/ 108121 w 504"/>
              <a:gd name="T43" fmla="*/ 0 h 471"/>
              <a:gd name="T44" fmla="*/ 117380 w 504"/>
              <a:gd name="T45" fmla="*/ 0 h 471"/>
              <a:gd name="T46" fmla="*/ 114112 w 504"/>
              <a:gd name="T47" fmla="*/ 7921 h 471"/>
              <a:gd name="T48" fmla="*/ 109482 w 504"/>
              <a:gd name="T49" fmla="*/ 12565 h 471"/>
              <a:gd name="T50" fmla="*/ 108121 w 504"/>
              <a:gd name="T51" fmla="*/ 20213 h 471"/>
              <a:gd name="T52" fmla="*/ 108121 w 504"/>
              <a:gd name="T53" fmla="*/ 24857 h 471"/>
              <a:gd name="T54" fmla="*/ 108121 w 504"/>
              <a:gd name="T55" fmla="*/ 31140 h 471"/>
              <a:gd name="T56" fmla="*/ 120376 w 504"/>
              <a:gd name="T57" fmla="*/ 40427 h 471"/>
              <a:gd name="T58" fmla="*/ 125006 w 504"/>
              <a:gd name="T59" fmla="*/ 37149 h 471"/>
              <a:gd name="T60" fmla="*/ 135899 w 504"/>
              <a:gd name="T61" fmla="*/ 29501 h 471"/>
              <a:gd name="T62" fmla="*/ 129636 w 504"/>
              <a:gd name="T63" fmla="*/ 40427 h 471"/>
              <a:gd name="T64" fmla="*/ 128002 w 504"/>
              <a:gd name="T65" fmla="*/ 52719 h 471"/>
              <a:gd name="T66" fmla="*/ 114112 w 504"/>
              <a:gd name="T67" fmla="*/ 62006 h 471"/>
              <a:gd name="T68" fmla="*/ 98861 w 504"/>
              <a:gd name="T69" fmla="*/ 68289 h 471"/>
              <a:gd name="T70" fmla="*/ 95593 w 504"/>
              <a:gd name="T71" fmla="*/ 72932 h 471"/>
              <a:gd name="T72" fmla="*/ 97227 w 504"/>
              <a:gd name="T73" fmla="*/ 78942 h 471"/>
              <a:gd name="T74" fmla="*/ 103491 w 504"/>
              <a:gd name="T75" fmla="*/ 85224 h 471"/>
              <a:gd name="T76" fmla="*/ 109482 w 504"/>
              <a:gd name="T77" fmla="*/ 89868 h 471"/>
              <a:gd name="T78" fmla="*/ 118742 w 504"/>
              <a:gd name="T79" fmla="*/ 86863 h 471"/>
              <a:gd name="T80" fmla="*/ 104852 w 504"/>
              <a:gd name="T81" fmla="*/ 102159 h 471"/>
              <a:gd name="T82" fmla="*/ 95593 w 504"/>
              <a:gd name="T83" fmla="*/ 105437 h 471"/>
              <a:gd name="T84" fmla="*/ 89601 w 504"/>
              <a:gd name="T85" fmla="*/ 111447 h 471"/>
              <a:gd name="T86" fmla="*/ 86333 w 504"/>
              <a:gd name="T87" fmla="*/ 119369 h 471"/>
              <a:gd name="T88" fmla="*/ 80341 w 504"/>
              <a:gd name="T89" fmla="*/ 125651 h 471"/>
              <a:gd name="T90" fmla="*/ 77073 w 504"/>
              <a:gd name="T91" fmla="*/ 127017 h 471"/>
              <a:gd name="T92" fmla="*/ 72443 w 504"/>
              <a:gd name="T93" fmla="*/ 128655 h 471"/>
              <a:gd name="T94" fmla="*/ 67813 w 504"/>
              <a:gd name="T95" fmla="*/ 125651 h 471"/>
              <a:gd name="T96" fmla="*/ 63184 w 504"/>
              <a:gd name="T97" fmla="*/ 122373 h 471"/>
              <a:gd name="T98" fmla="*/ 60188 w 504"/>
              <a:gd name="T99" fmla="*/ 119369 h 471"/>
              <a:gd name="T100" fmla="*/ 60188 w 504"/>
              <a:gd name="T101" fmla="*/ 113086 h 471"/>
              <a:gd name="T102" fmla="*/ 55558 w 504"/>
              <a:gd name="T103" fmla="*/ 111447 h 471"/>
              <a:gd name="T104" fmla="*/ 52562 w 504"/>
              <a:gd name="T105" fmla="*/ 116090 h 471"/>
              <a:gd name="T106" fmla="*/ 49294 w 504"/>
              <a:gd name="T107" fmla="*/ 117729 h 471"/>
              <a:gd name="T108" fmla="*/ 43302 w 504"/>
              <a:gd name="T109" fmla="*/ 119369 h 471"/>
              <a:gd name="T110" fmla="*/ 38673 w 504"/>
              <a:gd name="T111" fmla="*/ 117729 h 471"/>
              <a:gd name="T112" fmla="*/ 34043 w 504"/>
              <a:gd name="T113" fmla="*/ 117729 h 471"/>
              <a:gd name="T114" fmla="*/ 29413 w 504"/>
              <a:gd name="T115" fmla="*/ 116090 h 471"/>
              <a:gd name="T116" fmla="*/ 26145 w 504"/>
              <a:gd name="T117" fmla="*/ 119369 h 4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04" h="471">
                <a:moveTo>
                  <a:pt x="96" y="437"/>
                </a:moveTo>
                <a:lnTo>
                  <a:pt x="108" y="397"/>
                </a:lnTo>
                <a:lnTo>
                  <a:pt x="96" y="386"/>
                </a:lnTo>
                <a:lnTo>
                  <a:pt x="102" y="386"/>
                </a:lnTo>
                <a:lnTo>
                  <a:pt x="108" y="374"/>
                </a:lnTo>
                <a:lnTo>
                  <a:pt x="108" y="369"/>
                </a:lnTo>
                <a:lnTo>
                  <a:pt x="108" y="363"/>
                </a:lnTo>
                <a:lnTo>
                  <a:pt x="113" y="363"/>
                </a:lnTo>
                <a:lnTo>
                  <a:pt x="113" y="352"/>
                </a:lnTo>
                <a:lnTo>
                  <a:pt x="91" y="352"/>
                </a:lnTo>
                <a:lnTo>
                  <a:pt x="91" y="346"/>
                </a:lnTo>
                <a:lnTo>
                  <a:pt x="85" y="346"/>
                </a:lnTo>
                <a:lnTo>
                  <a:pt x="85" y="340"/>
                </a:lnTo>
                <a:lnTo>
                  <a:pt x="45" y="346"/>
                </a:lnTo>
                <a:lnTo>
                  <a:pt x="45" y="357"/>
                </a:lnTo>
                <a:lnTo>
                  <a:pt x="11" y="369"/>
                </a:lnTo>
                <a:lnTo>
                  <a:pt x="17" y="357"/>
                </a:lnTo>
                <a:lnTo>
                  <a:pt x="11" y="357"/>
                </a:lnTo>
                <a:lnTo>
                  <a:pt x="11" y="346"/>
                </a:lnTo>
                <a:lnTo>
                  <a:pt x="0" y="335"/>
                </a:lnTo>
                <a:lnTo>
                  <a:pt x="17" y="323"/>
                </a:lnTo>
                <a:lnTo>
                  <a:pt x="40" y="312"/>
                </a:lnTo>
                <a:lnTo>
                  <a:pt x="34" y="272"/>
                </a:lnTo>
                <a:lnTo>
                  <a:pt x="51" y="272"/>
                </a:lnTo>
                <a:lnTo>
                  <a:pt x="51" y="267"/>
                </a:lnTo>
                <a:lnTo>
                  <a:pt x="68" y="261"/>
                </a:lnTo>
                <a:lnTo>
                  <a:pt x="68" y="255"/>
                </a:lnTo>
                <a:lnTo>
                  <a:pt x="74" y="227"/>
                </a:lnTo>
                <a:lnTo>
                  <a:pt x="79" y="216"/>
                </a:lnTo>
                <a:lnTo>
                  <a:pt x="79" y="193"/>
                </a:lnTo>
                <a:lnTo>
                  <a:pt x="102" y="187"/>
                </a:lnTo>
                <a:lnTo>
                  <a:pt x="125" y="170"/>
                </a:lnTo>
                <a:lnTo>
                  <a:pt x="130" y="182"/>
                </a:lnTo>
                <a:lnTo>
                  <a:pt x="136" y="193"/>
                </a:lnTo>
                <a:lnTo>
                  <a:pt x="153" y="187"/>
                </a:lnTo>
                <a:lnTo>
                  <a:pt x="153" y="199"/>
                </a:lnTo>
                <a:lnTo>
                  <a:pt x="176" y="193"/>
                </a:lnTo>
                <a:lnTo>
                  <a:pt x="198" y="187"/>
                </a:lnTo>
                <a:lnTo>
                  <a:pt x="198" y="182"/>
                </a:lnTo>
                <a:lnTo>
                  <a:pt x="210" y="187"/>
                </a:lnTo>
                <a:lnTo>
                  <a:pt x="210" y="182"/>
                </a:lnTo>
                <a:lnTo>
                  <a:pt x="215" y="176"/>
                </a:lnTo>
                <a:lnTo>
                  <a:pt x="210" y="159"/>
                </a:lnTo>
                <a:lnTo>
                  <a:pt x="221" y="159"/>
                </a:lnTo>
                <a:lnTo>
                  <a:pt x="215" y="148"/>
                </a:lnTo>
                <a:lnTo>
                  <a:pt x="210" y="136"/>
                </a:lnTo>
                <a:lnTo>
                  <a:pt x="210" y="131"/>
                </a:lnTo>
                <a:lnTo>
                  <a:pt x="221" y="131"/>
                </a:lnTo>
                <a:lnTo>
                  <a:pt x="227" y="131"/>
                </a:lnTo>
                <a:lnTo>
                  <a:pt x="232" y="131"/>
                </a:lnTo>
                <a:lnTo>
                  <a:pt x="232" y="125"/>
                </a:lnTo>
                <a:lnTo>
                  <a:pt x="238" y="125"/>
                </a:lnTo>
                <a:lnTo>
                  <a:pt x="238" y="119"/>
                </a:lnTo>
                <a:lnTo>
                  <a:pt x="244" y="114"/>
                </a:lnTo>
                <a:lnTo>
                  <a:pt x="249" y="108"/>
                </a:lnTo>
                <a:lnTo>
                  <a:pt x="255" y="108"/>
                </a:lnTo>
                <a:lnTo>
                  <a:pt x="255" y="97"/>
                </a:lnTo>
                <a:lnTo>
                  <a:pt x="249" y="97"/>
                </a:lnTo>
                <a:lnTo>
                  <a:pt x="249" y="85"/>
                </a:lnTo>
                <a:lnTo>
                  <a:pt x="249" y="80"/>
                </a:lnTo>
                <a:lnTo>
                  <a:pt x="244" y="74"/>
                </a:lnTo>
                <a:lnTo>
                  <a:pt x="244" y="68"/>
                </a:lnTo>
                <a:lnTo>
                  <a:pt x="255" y="63"/>
                </a:lnTo>
                <a:lnTo>
                  <a:pt x="266" y="63"/>
                </a:lnTo>
                <a:lnTo>
                  <a:pt x="266" y="68"/>
                </a:lnTo>
                <a:lnTo>
                  <a:pt x="261" y="74"/>
                </a:lnTo>
                <a:lnTo>
                  <a:pt x="261" y="80"/>
                </a:lnTo>
                <a:lnTo>
                  <a:pt x="266" y="80"/>
                </a:lnTo>
                <a:lnTo>
                  <a:pt x="272" y="74"/>
                </a:lnTo>
                <a:lnTo>
                  <a:pt x="278" y="74"/>
                </a:lnTo>
                <a:lnTo>
                  <a:pt x="283" y="74"/>
                </a:lnTo>
                <a:lnTo>
                  <a:pt x="289" y="74"/>
                </a:lnTo>
                <a:lnTo>
                  <a:pt x="295" y="74"/>
                </a:lnTo>
                <a:lnTo>
                  <a:pt x="306" y="68"/>
                </a:lnTo>
                <a:lnTo>
                  <a:pt x="306" y="46"/>
                </a:lnTo>
                <a:lnTo>
                  <a:pt x="329" y="40"/>
                </a:lnTo>
                <a:lnTo>
                  <a:pt x="329" y="46"/>
                </a:lnTo>
                <a:lnTo>
                  <a:pt x="346" y="46"/>
                </a:lnTo>
                <a:lnTo>
                  <a:pt x="363" y="40"/>
                </a:lnTo>
                <a:lnTo>
                  <a:pt x="363" y="29"/>
                </a:lnTo>
                <a:lnTo>
                  <a:pt x="391" y="29"/>
                </a:lnTo>
                <a:lnTo>
                  <a:pt x="391" y="34"/>
                </a:lnTo>
                <a:lnTo>
                  <a:pt x="402" y="29"/>
                </a:lnTo>
                <a:lnTo>
                  <a:pt x="408" y="17"/>
                </a:lnTo>
                <a:lnTo>
                  <a:pt x="402" y="17"/>
                </a:lnTo>
                <a:lnTo>
                  <a:pt x="397" y="6"/>
                </a:lnTo>
                <a:lnTo>
                  <a:pt x="391" y="0"/>
                </a:lnTo>
                <a:lnTo>
                  <a:pt x="397" y="0"/>
                </a:lnTo>
                <a:lnTo>
                  <a:pt x="402" y="0"/>
                </a:lnTo>
                <a:lnTo>
                  <a:pt x="408" y="0"/>
                </a:lnTo>
                <a:lnTo>
                  <a:pt x="425" y="0"/>
                </a:lnTo>
                <a:lnTo>
                  <a:pt x="431" y="0"/>
                </a:lnTo>
                <a:lnTo>
                  <a:pt x="436" y="6"/>
                </a:lnTo>
                <a:lnTo>
                  <a:pt x="436" y="17"/>
                </a:lnTo>
                <a:lnTo>
                  <a:pt x="431" y="23"/>
                </a:lnTo>
                <a:lnTo>
                  <a:pt x="419" y="29"/>
                </a:lnTo>
                <a:lnTo>
                  <a:pt x="402" y="29"/>
                </a:lnTo>
                <a:lnTo>
                  <a:pt x="402" y="34"/>
                </a:lnTo>
                <a:lnTo>
                  <a:pt x="402" y="40"/>
                </a:lnTo>
                <a:lnTo>
                  <a:pt x="402" y="46"/>
                </a:lnTo>
                <a:lnTo>
                  <a:pt x="402" y="57"/>
                </a:lnTo>
                <a:lnTo>
                  <a:pt x="397" y="57"/>
                </a:lnTo>
                <a:lnTo>
                  <a:pt x="397" y="68"/>
                </a:lnTo>
                <a:lnTo>
                  <a:pt x="397" y="74"/>
                </a:lnTo>
                <a:lnTo>
                  <a:pt x="397" y="80"/>
                </a:lnTo>
                <a:lnTo>
                  <a:pt x="391" y="80"/>
                </a:lnTo>
                <a:lnTo>
                  <a:pt x="397" y="85"/>
                </a:lnTo>
                <a:lnTo>
                  <a:pt x="397" y="91"/>
                </a:lnTo>
                <a:lnTo>
                  <a:pt x="391" y="97"/>
                </a:lnTo>
                <a:lnTo>
                  <a:pt x="391" y="102"/>
                </a:lnTo>
                <a:lnTo>
                  <a:pt x="391" y="108"/>
                </a:lnTo>
                <a:lnTo>
                  <a:pt x="397" y="114"/>
                </a:lnTo>
                <a:lnTo>
                  <a:pt x="397" y="119"/>
                </a:lnTo>
                <a:lnTo>
                  <a:pt x="402" y="131"/>
                </a:lnTo>
                <a:lnTo>
                  <a:pt x="402" y="142"/>
                </a:lnTo>
                <a:lnTo>
                  <a:pt x="442" y="148"/>
                </a:lnTo>
                <a:lnTo>
                  <a:pt x="448" y="148"/>
                </a:lnTo>
                <a:lnTo>
                  <a:pt x="453" y="142"/>
                </a:lnTo>
                <a:lnTo>
                  <a:pt x="453" y="136"/>
                </a:lnTo>
                <a:lnTo>
                  <a:pt x="459" y="136"/>
                </a:lnTo>
                <a:lnTo>
                  <a:pt x="470" y="119"/>
                </a:lnTo>
                <a:lnTo>
                  <a:pt x="476" y="114"/>
                </a:lnTo>
                <a:lnTo>
                  <a:pt x="493" y="114"/>
                </a:lnTo>
                <a:lnTo>
                  <a:pt x="499" y="108"/>
                </a:lnTo>
                <a:lnTo>
                  <a:pt x="504" y="119"/>
                </a:lnTo>
                <a:lnTo>
                  <a:pt x="504" y="131"/>
                </a:lnTo>
                <a:lnTo>
                  <a:pt x="482" y="136"/>
                </a:lnTo>
                <a:lnTo>
                  <a:pt x="476" y="148"/>
                </a:lnTo>
                <a:lnTo>
                  <a:pt x="487" y="153"/>
                </a:lnTo>
                <a:lnTo>
                  <a:pt x="470" y="176"/>
                </a:lnTo>
                <a:lnTo>
                  <a:pt x="476" y="182"/>
                </a:lnTo>
                <a:lnTo>
                  <a:pt x="470" y="193"/>
                </a:lnTo>
                <a:lnTo>
                  <a:pt x="453" y="187"/>
                </a:lnTo>
                <a:lnTo>
                  <a:pt x="448" y="233"/>
                </a:lnTo>
                <a:lnTo>
                  <a:pt x="425" y="238"/>
                </a:lnTo>
                <a:lnTo>
                  <a:pt x="419" y="227"/>
                </a:lnTo>
                <a:lnTo>
                  <a:pt x="385" y="227"/>
                </a:lnTo>
                <a:lnTo>
                  <a:pt x="374" y="238"/>
                </a:lnTo>
                <a:lnTo>
                  <a:pt x="368" y="250"/>
                </a:lnTo>
                <a:lnTo>
                  <a:pt x="363" y="250"/>
                </a:lnTo>
                <a:lnTo>
                  <a:pt x="357" y="250"/>
                </a:lnTo>
                <a:lnTo>
                  <a:pt x="351" y="250"/>
                </a:lnTo>
                <a:lnTo>
                  <a:pt x="340" y="255"/>
                </a:lnTo>
                <a:lnTo>
                  <a:pt x="351" y="267"/>
                </a:lnTo>
                <a:lnTo>
                  <a:pt x="351" y="272"/>
                </a:lnTo>
                <a:lnTo>
                  <a:pt x="357" y="272"/>
                </a:lnTo>
                <a:lnTo>
                  <a:pt x="357" y="278"/>
                </a:lnTo>
                <a:lnTo>
                  <a:pt x="357" y="289"/>
                </a:lnTo>
                <a:lnTo>
                  <a:pt x="363" y="295"/>
                </a:lnTo>
                <a:lnTo>
                  <a:pt x="368" y="301"/>
                </a:lnTo>
                <a:lnTo>
                  <a:pt x="374" y="301"/>
                </a:lnTo>
                <a:lnTo>
                  <a:pt x="380" y="312"/>
                </a:lnTo>
                <a:lnTo>
                  <a:pt x="380" y="318"/>
                </a:lnTo>
                <a:lnTo>
                  <a:pt x="391" y="318"/>
                </a:lnTo>
                <a:lnTo>
                  <a:pt x="391" y="323"/>
                </a:lnTo>
                <a:lnTo>
                  <a:pt x="402" y="329"/>
                </a:lnTo>
                <a:lnTo>
                  <a:pt x="419" y="318"/>
                </a:lnTo>
                <a:lnTo>
                  <a:pt x="425" y="318"/>
                </a:lnTo>
                <a:lnTo>
                  <a:pt x="431" y="318"/>
                </a:lnTo>
                <a:lnTo>
                  <a:pt x="436" y="318"/>
                </a:lnTo>
                <a:lnTo>
                  <a:pt x="448" y="340"/>
                </a:lnTo>
                <a:lnTo>
                  <a:pt x="419" y="352"/>
                </a:lnTo>
                <a:lnTo>
                  <a:pt x="419" y="369"/>
                </a:lnTo>
                <a:lnTo>
                  <a:pt x="385" y="374"/>
                </a:lnTo>
                <a:lnTo>
                  <a:pt x="380" y="380"/>
                </a:lnTo>
                <a:lnTo>
                  <a:pt x="374" y="380"/>
                </a:lnTo>
                <a:lnTo>
                  <a:pt x="363" y="380"/>
                </a:lnTo>
                <a:lnTo>
                  <a:pt x="351" y="386"/>
                </a:lnTo>
                <a:lnTo>
                  <a:pt x="351" y="391"/>
                </a:lnTo>
                <a:lnTo>
                  <a:pt x="340" y="397"/>
                </a:lnTo>
                <a:lnTo>
                  <a:pt x="340" y="403"/>
                </a:lnTo>
                <a:lnTo>
                  <a:pt x="329" y="408"/>
                </a:lnTo>
                <a:lnTo>
                  <a:pt x="317" y="414"/>
                </a:lnTo>
                <a:lnTo>
                  <a:pt x="312" y="431"/>
                </a:lnTo>
                <a:lnTo>
                  <a:pt x="317" y="431"/>
                </a:lnTo>
                <a:lnTo>
                  <a:pt x="317" y="437"/>
                </a:lnTo>
                <a:lnTo>
                  <a:pt x="300" y="443"/>
                </a:lnTo>
                <a:lnTo>
                  <a:pt x="300" y="448"/>
                </a:lnTo>
                <a:lnTo>
                  <a:pt x="295" y="448"/>
                </a:lnTo>
                <a:lnTo>
                  <a:pt x="295" y="460"/>
                </a:lnTo>
                <a:lnTo>
                  <a:pt x="300" y="460"/>
                </a:lnTo>
                <a:lnTo>
                  <a:pt x="289" y="471"/>
                </a:lnTo>
                <a:lnTo>
                  <a:pt x="283" y="471"/>
                </a:lnTo>
                <a:lnTo>
                  <a:pt x="283" y="465"/>
                </a:lnTo>
                <a:lnTo>
                  <a:pt x="278" y="465"/>
                </a:lnTo>
                <a:lnTo>
                  <a:pt x="278" y="471"/>
                </a:lnTo>
                <a:lnTo>
                  <a:pt x="272" y="471"/>
                </a:lnTo>
                <a:lnTo>
                  <a:pt x="266" y="471"/>
                </a:lnTo>
                <a:lnTo>
                  <a:pt x="261" y="465"/>
                </a:lnTo>
                <a:lnTo>
                  <a:pt x="261" y="460"/>
                </a:lnTo>
                <a:lnTo>
                  <a:pt x="255" y="465"/>
                </a:lnTo>
                <a:lnTo>
                  <a:pt x="249" y="460"/>
                </a:lnTo>
                <a:lnTo>
                  <a:pt x="249" y="454"/>
                </a:lnTo>
                <a:lnTo>
                  <a:pt x="244" y="454"/>
                </a:lnTo>
                <a:lnTo>
                  <a:pt x="238" y="454"/>
                </a:lnTo>
                <a:lnTo>
                  <a:pt x="232" y="448"/>
                </a:lnTo>
                <a:lnTo>
                  <a:pt x="227" y="443"/>
                </a:lnTo>
                <a:lnTo>
                  <a:pt x="221" y="443"/>
                </a:lnTo>
                <a:lnTo>
                  <a:pt x="227" y="437"/>
                </a:lnTo>
                <a:lnTo>
                  <a:pt x="221" y="437"/>
                </a:lnTo>
                <a:lnTo>
                  <a:pt x="221" y="431"/>
                </a:lnTo>
                <a:lnTo>
                  <a:pt x="221" y="425"/>
                </a:lnTo>
                <a:lnTo>
                  <a:pt x="221" y="420"/>
                </a:lnTo>
                <a:lnTo>
                  <a:pt x="221" y="414"/>
                </a:lnTo>
                <a:lnTo>
                  <a:pt x="221" y="408"/>
                </a:lnTo>
                <a:lnTo>
                  <a:pt x="215" y="408"/>
                </a:lnTo>
                <a:lnTo>
                  <a:pt x="210" y="408"/>
                </a:lnTo>
                <a:lnTo>
                  <a:pt x="204" y="408"/>
                </a:lnTo>
                <a:lnTo>
                  <a:pt x="204" y="414"/>
                </a:lnTo>
                <a:lnTo>
                  <a:pt x="198" y="420"/>
                </a:lnTo>
                <a:lnTo>
                  <a:pt x="193" y="420"/>
                </a:lnTo>
                <a:lnTo>
                  <a:pt x="193" y="425"/>
                </a:lnTo>
                <a:lnTo>
                  <a:pt x="187" y="425"/>
                </a:lnTo>
                <a:lnTo>
                  <a:pt x="187" y="431"/>
                </a:lnTo>
                <a:lnTo>
                  <a:pt x="181" y="425"/>
                </a:lnTo>
                <a:lnTo>
                  <a:pt x="181" y="431"/>
                </a:lnTo>
                <a:lnTo>
                  <a:pt x="170" y="431"/>
                </a:lnTo>
                <a:lnTo>
                  <a:pt x="164" y="431"/>
                </a:lnTo>
                <a:lnTo>
                  <a:pt x="159" y="431"/>
                </a:lnTo>
                <a:lnTo>
                  <a:pt x="159" y="437"/>
                </a:lnTo>
                <a:lnTo>
                  <a:pt x="159" y="443"/>
                </a:lnTo>
                <a:lnTo>
                  <a:pt x="153" y="437"/>
                </a:lnTo>
                <a:lnTo>
                  <a:pt x="147" y="431"/>
                </a:lnTo>
                <a:lnTo>
                  <a:pt x="142" y="431"/>
                </a:lnTo>
                <a:lnTo>
                  <a:pt x="136" y="431"/>
                </a:lnTo>
                <a:lnTo>
                  <a:pt x="130" y="437"/>
                </a:lnTo>
                <a:lnTo>
                  <a:pt x="125" y="437"/>
                </a:lnTo>
                <a:lnTo>
                  <a:pt x="125" y="431"/>
                </a:lnTo>
                <a:lnTo>
                  <a:pt x="125" y="425"/>
                </a:lnTo>
                <a:lnTo>
                  <a:pt x="119" y="425"/>
                </a:lnTo>
                <a:lnTo>
                  <a:pt x="113" y="425"/>
                </a:lnTo>
                <a:lnTo>
                  <a:pt x="108" y="425"/>
                </a:lnTo>
                <a:lnTo>
                  <a:pt x="108" y="431"/>
                </a:lnTo>
                <a:lnTo>
                  <a:pt x="108" y="437"/>
                </a:lnTo>
                <a:lnTo>
                  <a:pt x="102" y="437"/>
                </a:lnTo>
                <a:lnTo>
                  <a:pt x="96" y="437"/>
                </a:ln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62" name="Freeform 15"/>
          <p:cNvSpPr>
            <a:spLocks/>
          </p:cNvSpPr>
          <p:nvPr/>
        </p:nvSpPr>
        <p:spPr bwMode="gray">
          <a:xfrm>
            <a:off x="2241848" y="3850619"/>
            <a:ext cx="2548585" cy="1460089"/>
          </a:xfrm>
          <a:custGeom>
            <a:avLst/>
            <a:gdLst>
              <a:gd name="T0" fmla="*/ 32 w 1094"/>
              <a:gd name="T1" fmla="*/ 446 h 630"/>
              <a:gd name="T2" fmla="*/ 63 w 1094"/>
              <a:gd name="T3" fmla="*/ 422 h 630"/>
              <a:gd name="T4" fmla="*/ 87 w 1094"/>
              <a:gd name="T5" fmla="*/ 400 h 630"/>
              <a:gd name="T6" fmla="*/ 77 w 1094"/>
              <a:gd name="T7" fmla="*/ 364 h 630"/>
              <a:gd name="T8" fmla="*/ 144 w 1094"/>
              <a:gd name="T9" fmla="*/ 344 h 630"/>
              <a:gd name="T10" fmla="*/ 192 w 1094"/>
              <a:gd name="T11" fmla="*/ 326 h 630"/>
              <a:gd name="T12" fmla="*/ 210 w 1094"/>
              <a:gd name="T13" fmla="*/ 283 h 630"/>
              <a:gd name="T14" fmla="*/ 269 w 1094"/>
              <a:gd name="T15" fmla="*/ 253 h 630"/>
              <a:gd name="T16" fmla="*/ 300 w 1094"/>
              <a:gd name="T17" fmla="*/ 209 h 630"/>
              <a:gd name="T18" fmla="*/ 369 w 1094"/>
              <a:gd name="T19" fmla="*/ 178 h 630"/>
              <a:gd name="T20" fmla="*/ 408 w 1094"/>
              <a:gd name="T21" fmla="*/ 154 h 630"/>
              <a:gd name="T22" fmla="*/ 411 w 1094"/>
              <a:gd name="T23" fmla="*/ 98 h 630"/>
              <a:gd name="T24" fmla="*/ 465 w 1094"/>
              <a:gd name="T25" fmla="*/ 94 h 630"/>
              <a:gd name="T26" fmla="*/ 536 w 1094"/>
              <a:gd name="T27" fmla="*/ 86 h 630"/>
              <a:gd name="T28" fmla="*/ 608 w 1094"/>
              <a:gd name="T29" fmla="*/ 95 h 630"/>
              <a:gd name="T30" fmla="*/ 665 w 1094"/>
              <a:gd name="T31" fmla="*/ 71 h 630"/>
              <a:gd name="T32" fmla="*/ 702 w 1094"/>
              <a:gd name="T33" fmla="*/ 49 h 630"/>
              <a:gd name="T34" fmla="*/ 767 w 1094"/>
              <a:gd name="T35" fmla="*/ 92 h 630"/>
              <a:gd name="T36" fmla="*/ 804 w 1094"/>
              <a:gd name="T37" fmla="*/ 67 h 630"/>
              <a:gd name="T38" fmla="*/ 836 w 1094"/>
              <a:gd name="T39" fmla="*/ 26 h 630"/>
              <a:gd name="T40" fmla="*/ 879 w 1094"/>
              <a:gd name="T41" fmla="*/ 19 h 630"/>
              <a:gd name="T42" fmla="*/ 944 w 1094"/>
              <a:gd name="T43" fmla="*/ 13 h 630"/>
              <a:gd name="T44" fmla="*/ 896 w 1094"/>
              <a:gd name="T45" fmla="*/ 43 h 630"/>
              <a:gd name="T46" fmla="*/ 909 w 1094"/>
              <a:gd name="T47" fmla="*/ 86 h 630"/>
              <a:gd name="T48" fmla="*/ 954 w 1094"/>
              <a:gd name="T49" fmla="*/ 91 h 630"/>
              <a:gd name="T50" fmla="*/ 1011 w 1094"/>
              <a:gd name="T51" fmla="*/ 100 h 630"/>
              <a:gd name="T52" fmla="*/ 1064 w 1094"/>
              <a:gd name="T53" fmla="*/ 113 h 630"/>
              <a:gd name="T54" fmla="*/ 1085 w 1094"/>
              <a:gd name="T55" fmla="*/ 148 h 630"/>
              <a:gd name="T56" fmla="*/ 1064 w 1094"/>
              <a:gd name="T57" fmla="*/ 196 h 630"/>
              <a:gd name="T58" fmla="*/ 1001 w 1094"/>
              <a:gd name="T59" fmla="*/ 239 h 630"/>
              <a:gd name="T60" fmla="*/ 948 w 1094"/>
              <a:gd name="T61" fmla="*/ 283 h 630"/>
              <a:gd name="T62" fmla="*/ 902 w 1094"/>
              <a:gd name="T63" fmla="*/ 332 h 630"/>
              <a:gd name="T64" fmla="*/ 849 w 1094"/>
              <a:gd name="T65" fmla="*/ 382 h 630"/>
              <a:gd name="T66" fmla="*/ 807 w 1094"/>
              <a:gd name="T67" fmla="*/ 406 h 630"/>
              <a:gd name="T68" fmla="*/ 747 w 1094"/>
              <a:gd name="T69" fmla="*/ 449 h 630"/>
              <a:gd name="T70" fmla="*/ 699 w 1094"/>
              <a:gd name="T71" fmla="*/ 479 h 630"/>
              <a:gd name="T72" fmla="*/ 668 w 1094"/>
              <a:gd name="T73" fmla="*/ 502 h 630"/>
              <a:gd name="T74" fmla="*/ 621 w 1094"/>
              <a:gd name="T75" fmla="*/ 532 h 630"/>
              <a:gd name="T76" fmla="*/ 552 w 1094"/>
              <a:gd name="T77" fmla="*/ 560 h 630"/>
              <a:gd name="T78" fmla="*/ 465 w 1094"/>
              <a:gd name="T79" fmla="*/ 551 h 630"/>
              <a:gd name="T80" fmla="*/ 422 w 1094"/>
              <a:gd name="T81" fmla="*/ 571 h 630"/>
              <a:gd name="T82" fmla="*/ 395 w 1094"/>
              <a:gd name="T83" fmla="*/ 601 h 630"/>
              <a:gd name="T84" fmla="*/ 318 w 1094"/>
              <a:gd name="T85" fmla="*/ 595 h 630"/>
              <a:gd name="T86" fmla="*/ 299 w 1094"/>
              <a:gd name="T87" fmla="*/ 626 h 630"/>
              <a:gd name="T88" fmla="*/ 228 w 1094"/>
              <a:gd name="T89" fmla="*/ 611 h 630"/>
              <a:gd name="T90" fmla="*/ 156 w 1094"/>
              <a:gd name="T91" fmla="*/ 596 h 630"/>
              <a:gd name="T92" fmla="*/ 108 w 1094"/>
              <a:gd name="T93" fmla="*/ 562 h 630"/>
              <a:gd name="T94" fmla="*/ 131 w 1094"/>
              <a:gd name="T95" fmla="*/ 541 h 630"/>
              <a:gd name="T96" fmla="*/ 78 w 1094"/>
              <a:gd name="T97" fmla="*/ 505 h 630"/>
              <a:gd name="T98" fmla="*/ 17 w 1094"/>
              <a:gd name="T99" fmla="*/ 506 h 6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94" h="630">
                <a:moveTo>
                  <a:pt x="2" y="496"/>
                </a:moveTo>
                <a:cubicBezTo>
                  <a:pt x="8" y="493"/>
                  <a:pt x="10" y="488"/>
                  <a:pt x="17" y="485"/>
                </a:cubicBezTo>
                <a:cubicBezTo>
                  <a:pt x="19" y="472"/>
                  <a:pt x="23" y="470"/>
                  <a:pt x="33" y="463"/>
                </a:cubicBezTo>
                <a:cubicBezTo>
                  <a:pt x="36" y="456"/>
                  <a:pt x="31" y="451"/>
                  <a:pt x="32" y="446"/>
                </a:cubicBezTo>
                <a:cubicBezTo>
                  <a:pt x="33" y="441"/>
                  <a:pt x="37" y="433"/>
                  <a:pt x="41" y="430"/>
                </a:cubicBezTo>
                <a:cubicBezTo>
                  <a:pt x="45" y="427"/>
                  <a:pt x="52" y="430"/>
                  <a:pt x="54" y="427"/>
                </a:cubicBezTo>
                <a:cubicBezTo>
                  <a:pt x="58" y="414"/>
                  <a:pt x="44" y="415"/>
                  <a:pt x="54" y="412"/>
                </a:cubicBezTo>
                <a:cubicBezTo>
                  <a:pt x="56" y="410"/>
                  <a:pt x="59" y="421"/>
                  <a:pt x="63" y="422"/>
                </a:cubicBezTo>
                <a:cubicBezTo>
                  <a:pt x="66" y="422"/>
                  <a:pt x="65" y="414"/>
                  <a:pt x="71" y="413"/>
                </a:cubicBezTo>
                <a:cubicBezTo>
                  <a:pt x="82" y="417"/>
                  <a:pt x="86" y="419"/>
                  <a:pt x="99" y="418"/>
                </a:cubicBezTo>
                <a:cubicBezTo>
                  <a:pt x="96" y="405"/>
                  <a:pt x="101" y="418"/>
                  <a:pt x="93" y="410"/>
                </a:cubicBezTo>
                <a:cubicBezTo>
                  <a:pt x="87" y="404"/>
                  <a:pt x="99" y="407"/>
                  <a:pt x="87" y="400"/>
                </a:cubicBezTo>
                <a:cubicBezTo>
                  <a:pt x="86" y="399"/>
                  <a:pt x="77" y="395"/>
                  <a:pt x="78" y="394"/>
                </a:cubicBezTo>
                <a:cubicBezTo>
                  <a:pt x="80" y="392"/>
                  <a:pt x="85" y="395"/>
                  <a:pt x="87" y="392"/>
                </a:cubicBezTo>
                <a:cubicBezTo>
                  <a:pt x="93" y="382"/>
                  <a:pt x="86" y="380"/>
                  <a:pt x="81" y="377"/>
                </a:cubicBezTo>
                <a:cubicBezTo>
                  <a:pt x="79" y="367"/>
                  <a:pt x="65" y="367"/>
                  <a:pt x="77" y="364"/>
                </a:cubicBezTo>
                <a:cubicBezTo>
                  <a:pt x="79" y="350"/>
                  <a:pt x="89" y="353"/>
                  <a:pt x="99" y="353"/>
                </a:cubicBezTo>
                <a:cubicBezTo>
                  <a:pt x="103" y="350"/>
                  <a:pt x="105" y="345"/>
                  <a:pt x="110" y="344"/>
                </a:cubicBezTo>
                <a:cubicBezTo>
                  <a:pt x="115" y="343"/>
                  <a:pt x="125" y="347"/>
                  <a:pt x="131" y="347"/>
                </a:cubicBezTo>
                <a:cubicBezTo>
                  <a:pt x="135" y="346"/>
                  <a:pt x="142" y="347"/>
                  <a:pt x="144" y="344"/>
                </a:cubicBezTo>
                <a:cubicBezTo>
                  <a:pt x="146" y="341"/>
                  <a:pt x="141" y="334"/>
                  <a:pt x="143" y="331"/>
                </a:cubicBezTo>
                <a:cubicBezTo>
                  <a:pt x="148" y="328"/>
                  <a:pt x="153" y="325"/>
                  <a:pt x="158" y="325"/>
                </a:cubicBezTo>
                <a:cubicBezTo>
                  <a:pt x="163" y="325"/>
                  <a:pt x="170" y="334"/>
                  <a:pt x="176" y="334"/>
                </a:cubicBezTo>
                <a:cubicBezTo>
                  <a:pt x="178" y="334"/>
                  <a:pt x="191" y="328"/>
                  <a:pt x="192" y="326"/>
                </a:cubicBezTo>
                <a:cubicBezTo>
                  <a:pt x="195" y="320"/>
                  <a:pt x="200" y="320"/>
                  <a:pt x="206" y="319"/>
                </a:cubicBezTo>
                <a:cubicBezTo>
                  <a:pt x="207" y="313"/>
                  <a:pt x="206" y="307"/>
                  <a:pt x="209" y="302"/>
                </a:cubicBezTo>
                <a:cubicBezTo>
                  <a:pt x="210" y="300"/>
                  <a:pt x="222" y="293"/>
                  <a:pt x="225" y="287"/>
                </a:cubicBezTo>
                <a:cubicBezTo>
                  <a:pt x="220" y="286"/>
                  <a:pt x="215" y="284"/>
                  <a:pt x="210" y="283"/>
                </a:cubicBezTo>
                <a:cubicBezTo>
                  <a:pt x="203" y="280"/>
                  <a:pt x="209" y="277"/>
                  <a:pt x="212" y="272"/>
                </a:cubicBezTo>
                <a:cubicBezTo>
                  <a:pt x="213" y="253"/>
                  <a:pt x="211" y="261"/>
                  <a:pt x="224" y="263"/>
                </a:cubicBezTo>
                <a:cubicBezTo>
                  <a:pt x="250" y="260"/>
                  <a:pt x="224" y="266"/>
                  <a:pt x="237" y="257"/>
                </a:cubicBezTo>
                <a:cubicBezTo>
                  <a:pt x="244" y="252"/>
                  <a:pt x="260" y="254"/>
                  <a:pt x="269" y="253"/>
                </a:cubicBezTo>
                <a:cubicBezTo>
                  <a:pt x="265" y="245"/>
                  <a:pt x="263" y="236"/>
                  <a:pt x="269" y="232"/>
                </a:cubicBezTo>
                <a:cubicBezTo>
                  <a:pt x="269" y="227"/>
                  <a:pt x="267" y="216"/>
                  <a:pt x="278" y="214"/>
                </a:cubicBezTo>
                <a:cubicBezTo>
                  <a:pt x="281" y="210"/>
                  <a:pt x="279" y="207"/>
                  <a:pt x="285" y="206"/>
                </a:cubicBezTo>
                <a:cubicBezTo>
                  <a:pt x="289" y="205"/>
                  <a:pt x="295" y="210"/>
                  <a:pt x="300" y="209"/>
                </a:cubicBezTo>
                <a:cubicBezTo>
                  <a:pt x="305" y="206"/>
                  <a:pt x="315" y="204"/>
                  <a:pt x="318" y="199"/>
                </a:cubicBezTo>
                <a:cubicBezTo>
                  <a:pt x="324" y="196"/>
                  <a:pt x="326" y="193"/>
                  <a:pt x="333" y="191"/>
                </a:cubicBezTo>
                <a:cubicBezTo>
                  <a:pt x="339" y="190"/>
                  <a:pt x="347" y="193"/>
                  <a:pt x="353" y="191"/>
                </a:cubicBezTo>
                <a:cubicBezTo>
                  <a:pt x="360" y="189"/>
                  <a:pt x="362" y="180"/>
                  <a:pt x="369" y="178"/>
                </a:cubicBezTo>
                <a:cubicBezTo>
                  <a:pt x="375" y="176"/>
                  <a:pt x="385" y="181"/>
                  <a:pt x="390" y="181"/>
                </a:cubicBezTo>
                <a:cubicBezTo>
                  <a:pt x="395" y="180"/>
                  <a:pt x="395" y="177"/>
                  <a:pt x="398" y="175"/>
                </a:cubicBezTo>
                <a:cubicBezTo>
                  <a:pt x="401" y="172"/>
                  <a:pt x="405" y="167"/>
                  <a:pt x="407" y="164"/>
                </a:cubicBezTo>
                <a:cubicBezTo>
                  <a:pt x="412" y="156"/>
                  <a:pt x="410" y="164"/>
                  <a:pt x="408" y="154"/>
                </a:cubicBezTo>
                <a:cubicBezTo>
                  <a:pt x="413" y="147"/>
                  <a:pt x="418" y="144"/>
                  <a:pt x="420" y="134"/>
                </a:cubicBezTo>
                <a:cubicBezTo>
                  <a:pt x="417" y="129"/>
                  <a:pt x="419" y="128"/>
                  <a:pt x="414" y="125"/>
                </a:cubicBezTo>
                <a:cubicBezTo>
                  <a:pt x="424" y="124"/>
                  <a:pt x="422" y="118"/>
                  <a:pt x="413" y="113"/>
                </a:cubicBezTo>
                <a:cubicBezTo>
                  <a:pt x="412" y="109"/>
                  <a:pt x="410" y="102"/>
                  <a:pt x="411" y="98"/>
                </a:cubicBezTo>
                <a:cubicBezTo>
                  <a:pt x="412" y="94"/>
                  <a:pt x="413" y="91"/>
                  <a:pt x="416" y="89"/>
                </a:cubicBezTo>
                <a:cubicBezTo>
                  <a:pt x="419" y="88"/>
                  <a:pt x="428" y="87"/>
                  <a:pt x="432" y="88"/>
                </a:cubicBezTo>
                <a:cubicBezTo>
                  <a:pt x="437" y="90"/>
                  <a:pt x="439" y="99"/>
                  <a:pt x="444" y="100"/>
                </a:cubicBezTo>
                <a:cubicBezTo>
                  <a:pt x="451" y="105"/>
                  <a:pt x="465" y="94"/>
                  <a:pt x="465" y="94"/>
                </a:cubicBezTo>
                <a:cubicBezTo>
                  <a:pt x="471" y="93"/>
                  <a:pt x="470" y="85"/>
                  <a:pt x="474" y="83"/>
                </a:cubicBezTo>
                <a:cubicBezTo>
                  <a:pt x="478" y="81"/>
                  <a:pt x="483" y="83"/>
                  <a:pt x="489" y="82"/>
                </a:cubicBezTo>
                <a:cubicBezTo>
                  <a:pt x="498" y="80"/>
                  <a:pt x="503" y="75"/>
                  <a:pt x="512" y="75"/>
                </a:cubicBezTo>
                <a:cubicBezTo>
                  <a:pt x="522" y="77"/>
                  <a:pt x="527" y="81"/>
                  <a:pt x="536" y="86"/>
                </a:cubicBezTo>
                <a:cubicBezTo>
                  <a:pt x="548" y="85"/>
                  <a:pt x="544" y="83"/>
                  <a:pt x="555" y="85"/>
                </a:cubicBezTo>
                <a:cubicBezTo>
                  <a:pt x="559" y="88"/>
                  <a:pt x="571" y="95"/>
                  <a:pt x="576" y="97"/>
                </a:cubicBezTo>
                <a:cubicBezTo>
                  <a:pt x="582" y="98"/>
                  <a:pt x="586" y="97"/>
                  <a:pt x="591" y="97"/>
                </a:cubicBezTo>
                <a:cubicBezTo>
                  <a:pt x="596" y="97"/>
                  <a:pt x="603" y="95"/>
                  <a:pt x="608" y="95"/>
                </a:cubicBezTo>
                <a:cubicBezTo>
                  <a:pt x="617" y="102"/>
                  <a:pt x="615" y="99"/>
                  <a:pt x="624" y="95"/>
                </a:cubicBezTo>
                <a:cubicBezTo>
                  <a:pt x="628" y="88"/>
                  <a:pt x="627" y="85"/>
                  <a:pt x="635" y="83"/>
                </a:cubicBezTo>
                <a:cubicBezTo>
                  <a:pt x="633" y="72"/>
                  <a:pt x="644" y="83"/>
                  <a:pt x="653" y="80"/>
                </a:cubicBezTo>
                <a:cubicBezTo>
                  <a:pt x="657" y="79"/>
                  <a:pt x="659" y="72"/>
                  <a:pt x="665" y="71"/>
                </a:cubicBezTo>
                <a:cubicBezTo>
                  <a:pt x="670" y="70"/>
                  <a:pt x="678" y="75"/>
                  <a:pt x="681" y="73"/>
                </a:cubicBezTo>
                <a:cubicBezTo>
                  <a:pt x="685" y="71"/>
                  <a:pt x="685" y="63"/>
                  <a:pt x="686" y="59"/>
                </a:cubicBezTo>
                <a:cubicBezTo>
                  <a:pt x="687" y="55"/>
                  <a:pt x="688" y="49"/>
                  <a:pt x="690" y="47"/>
                </a:cubicBezTo>
                <a:cubicBezTo>
                  <a:pt x="693" y="46"/>
                  <a:pt x="698" y="47"/>
                  <a:pt x="702" y="49"/>
                </a:cubicBezTo>
                <a:cubicBezTo>
                  <a:pt x="706" y="51"/>
                  <a:pt x="712" y="54"/>
                  <a:pt x="717" y="58"/>
                </a:cubicBezTo>
                <a:cubicBezTo>
                  <a:pt x="721" y="74"/>
                  <a:pt x="718" y="65"/>
                  <a:pt x="732" y="71"/>
                </a:cubicBezTo>
                <a:cubicBezTo>
                  <a:pt x="739" y="74"/>
                  <a:pt x="739" y="88"/>
                  <a:pt x="749" y="89"/>
                </a:cubicBezTo>
                <a:cubicBezTo>
                  <a:pt x="756" y="90"/>
                  <a:pt x="760" y="92"/>
                  <a:pt x="767" y="92"/>
                </a:cubicBezTo>
                <a:cubicBezTo>
                  <a:pt x="776" y="97"/>
                  <a:pt x="785" y="95"/>
                  <a:pt x="795" y="94"/>
                </a:cubicBezTo>
                <a:cubicBezTo>
                  <a:pt x="796" y="92"/>
                  <a:pt x="796" y="90"/>
                  <a:pt x="797" y="89"/>
                </a:cubicBezTo>
                <a:cubicBezTo>
                  <a:pt x="798" y="88"/>
                  <a:pt x="800" y="87"/>
                  <a:pt x="801" y="86"/>
                </a:cubicBezTo>
                <a:cubicBezTo>
                  <a:pt x="802" y="83"/>
                  <a:pt x="802" y="71"/>
                  <a:pt x="804" y="67"/>
                </a:cubicBezTo>
                <a:cubicBezTo>
                  <a:pt x="806" y="63"/>
                  <a:pt x="813" y="65"/>
                  <a:pt x="815" y="61"/>
                </a:cubicBezTo>
                <a:cubicBezTo>
                  <a:pt x="822" y="58"/>
                  <a:pt x="819" y="45"/>
                  <a:pt x="815" y="40"/>
                </a:cubicBezTo>
                <a:cubicBezTo>
                  <a:pt x="817" y="20"/>
                  <a:pt x="812" y="44"/>
                  <a:pt x="831" y="37"/>
                </a:cubicBezTo>
                <a:cubicBezTo>
                  <a:pt x="835" y="36"/>
                  <a:pt x="833" y="28"/>
                  <a:pt x="836" y="26"/>
                </a:cubicBezTo>
                <a:cubicBezTo>
                  <a:pt x="839" y="23"/>
                  <a:pt x="845" y="21"/>
                  <a:pt x="848" y="20"/>
                </a:cubicBezTo>
                <a:cubicBezTo>
                  <a:pt x="851" y="19"/>
                  <a:pt x="852" y="17"/>
                  <a:pt x="855" y="17"/>
                </a:cubicBezTo>
                <a:cubicBezTo>
                  <a:pt x="860" y="15"/>
                  <a:pt x="863" y="17"/>
                  <a:pt x="867" y="17"/>
                </a:cubicBezTo>
                <a:cubicBezTo>
                  <a:pt x="871" y="17"/>
                  <a:pt x="874" y="20"/>
                  <a:pt x="879" y="19"/>
                </a:cubicBezTo>
                <a:cubicBezTo>
                  <a:pt x="886" y="15"/>
                  <a:pt x="891" y="15"/>
                  <a:pt x="899" y="13"/>
                </a:cubicBezTo>
                <a:cubicBezTo>
                  <a:pt x="909" y="8"/>
                  <a:pt x="907" y="15"/>
                  <a:pt x="915" y="5"/>
                </a:cubicBezTo>
                <a:cubicBezTo>
                  <a:pt x="921" y="3"/>
                  <a:pt x="928" y="0"/>
                  <a:pt x="933" y="1"/>
                </a:cubicBezTo>
                <a:cubicBezTo>
                  <a:pt x="938" y="2"/>
                  <a:pt x="945" y="9"/>
                  <a:pt x="944" y="13"/>
                </a:cubicBezTo>
                <a:cubicBezTo>
                  <a:pt x="940" y="21"/>
                  <a:pt x="936" y="20"/>
                  <a:pt x="927" y="22"/>
                </a:cubicBezTo>
                <a:cubicBezTo>
                  <a:pt x="926" y="30"/>
                  <a:pt x="922" y="30"/>
                  <a:pt x="917" y="35"/>
                </a:cubicBezTo>
                <a:cubicBezTo>
                  <a:pt x="914" y="38"/>
                  <a:pt x="909" y="42"/>
                  <a:pt x="906" y="43"/>
                </a:cubicBezTo>
                <a:cubicBezTo>
                  <a:pt x="903" y="44"/>
                  <a:pt x="898" y="40"/>
                  <a:pt x="896" y="43"/>
                </a:cubicBezTo>
                <a:cubicBezTo>
                  <a:pt x="894" y="45"/>
                  <a:pt x="894" y="55"/>
                  <a:pt x="893" y="59"/>
                </a:cubicBezTo>
                <a:cubicBezTo>
                  <a:pt x="892" y="63"/>
                  <a:pt x="888" y="68"/>
                  <a:pt x="890" y="70"/>
                </a:cubicBezTo>
                <a:cubicBezTo>
                  <a:pt x="891" y="73"/>
                  <a:pt x="899" y="71"/>
                  <a:pt x="903" y="74"/>
                </a:cubicBezTo>
                <a:cubicBezTo>
                  <a:pt x="906" y="77"/>
                  <a:pt x="906" y="85"/>
                  <a:pt x="909" y="86"/>
                </a:cubicBezTo>
                <a:cubicBezTo>
                  <a:pt x="912" y="87"/>
                  <a:pt x="918" y="85"/>
                  <a:pt x="921" y="83"/>
                </a:cubicBezTo>
                <a:cubicBezTo>
                  <a:pt x="925" y="84"/>
                  <a:pt x="925" y="75"/>
                  <a:pt x="928" y="76"/>
                </a:cubicBezTo>
                <a:cubicBezTo>
                  <a:pt x="931" y="77"/>
                  <a:pt x="937" y="85"/>
                  <a:pt x="941" y="88"/>
                </a:cubicBezTo>
                <a:cubicBezTo>
                  <a:pt x="946" y="91"/>
                  <a:pt x="949" y="90"/>
                  <a:pt x="954" y="91"/>
                </a:cubicBezTo>
                <a:cubicBezTo>
                  <a:pt x="959" y="92"/>
                  <a:pt x="966" y="97"/>
                  <a:pt x="972" y="97"/>
                </a:cubicBezTo>
                <a:cubicBezTo>
                  <a:pt x="978" y="97"/>
                  <a:pt x="985" y="92"/>
                  <a:pt x="990" y="92"/>
                </a:cubicBezTo>
                <a:cubicBezTo>
                  <a:pt x="994" y="92"/>
                  <a:pt x="1000" y="94"/>
                  <a:pt x="1003" y="95"/>
                </a:cubicBezTo>
                <a:cubicBezTo>
                  <a:pt x="1006" y="96"/>
                  <a:pt x="1007" y="99"/>
                  <a:pt x="1011" y="100"/>
                </a:cubicBezTo>
                <a:cubicBezTo>
                  <a:pt x="1017" y="102"/>
                  <a:pt x="1021" y="103"/>
                  <a:pt x="1026" y="103"/>
                </a:cubicBezTo>
                <a:cubicBezTo>
                  <a:pt x="1031" y="103"/>
                  <a:pt x="1035" y="102"/>
                  <a:pt x="1039" y="103"/>
                </a:cubicBezTo>
                <a:cubicBezTo>
                  <a:pt x="1043" y="104"/>
                  <a:pt x="1045" y="108"/>
                  <a:pt x="1049" y="110"/>
                </a:cubicBezTo>
                <a:cubicBezTo>
                  <a:pt x="1054" y="114"/>
                  <a:pt x="1058" y="112"/>
                  <a:pt x="1064" y="113"/>
                </a:cubicBezTo>
                <a:cubicBezTo>
                  <a:pt x="1065" y="120"/>
                  <a:pt x="1065" y="118"/>
                  <a:pt x="1071" y="122"/>
                </a:cubicBezTo>
                <a:cubicBezTo>
                  <a:pt x="1074" y="136"/>
                  <a:pt x="1073" y="116"/>
                  <a:pt x="1081" y="128"/>
                </a:cubicBezTo>
                <a:cubicBezTo>
                  <a:pt x="1083" y="130"/>
                  <a:pt x="1087" y="137"/>
                  <a:pt x="1088" y="140"/>
                </a:cubicBezTo>
                <a:cubicBezTo>
                  <a:pt x="1089" y="143"/>
                  <a:pt x="1084" y="145"/>
                  <a:pt x="1085" y="148"/>
                </a:cubicBezTo>
                <a:cubicBezTo>
                  <a:pt x="1086" y="151"/>
                  <a:pt x="1091" y="154"/>
                  <a:pt x="1092" y="158"/>
                </a:cubicBezTo>
                <a:cubicBezTo>
                  <a:pt x="1092" y="162"/>
                  <a:pt x="1094" y="169"/>
                  <a:pt x="1091" y="172"/>
                </a:cubicBezTo>
                <a:cubicBezTo>
                  <a:pt x="1089" y="175"/>
                  <a:pt x="1084" y="174"/>
                  <a:pt x="1079" y="178"/>
                </a:cubicBezTo>
                <a:cubicBezTo>
                  <a:pt x="1073" y="186"/>
                  <a:pt x="1074" y="194"/>
                  <a:pt x="1064" y="196"/>
                </a:cubicBezTo>
                <a:cubicBezTo>
                  <a:pt x="1060" y="202"/>
                  <a:pt x="1053" y="208"/>
                  <a:pt x="1046" y="209"/>
                </a:cubicBezTo>
                <a:cubicBezTo>
                  <a:pt x="1038" y="213"/>
                  <a:pt x="1034" y="213"/>
                  <a:pt x="1025" y="214"/>
                </a:cubicBezTo>
                <a:cubicBezTo>
                  <a:pt x="1023" y="218"/>
                  <a:pt x="1023" y="224"/>
                  <a:pt x="1019" y="227"/>
                </a:cubicBezTo>
                <a:cubicBezTo>
                  <a:pt x="1012" y="232"/>
                  <a:pt x="1005" y="230"/>
                  <a:pt x="1001" y="239"/>
                </a:cubicBezTo>
                <a:cubicBezTo>
                  <a:pt x="996" y="243"/>
                  <a:pt x="994" y="245"/>
                  <a:pt x="990" y="247"/>
                </a:cubicBezTo>
                <a:cubicBezTo>
                  <a:pt x="986" y="249"/>
                  <a:pt x="983" y="247"/>
                  <a:pt x="978" y="251"/>
                </a:cubicBezTo>
                <a:cubicBezTo>
                  <a:pt x="976" y="260"/>
                  <a:pt x="970" y="264"/>
                  <a:pt x="962" y="268"/>
                </a:cubicBezTo>
                <a:cubicBezTo>
                  <a:pt x="958" y="273"/>
                  <a:pt x="952" y="278"/>
                  <a:pt x="948" y="283"/>
                </a:cubicBezTo>
                <a:cubicBezTo>
                  <a:pt x="944" y="288"/>
                  <a:pt x="941" y="294"/>
                  <a:pt x="936" y="299"/>
                </a:cubicBezTo>
                <a:cubicBezTo>
                  <a:pt x="930" y="302"/>
                  <a:pt x="925" y="307"/>
                  <a:pt x="920" y="311"/>
                </a:cubicBezTo>
                <a:cubicBezTo>
                  <a:pt x="918" y="316"/>
                  <a:pt x="915" y="320"/>
                  <a:pt x="912" y="325"/>
                </a:cubicBezTo>
                <a:cubicBezTo>
                  <a:pt x="909" y="329"/>
                  <a:pt x="906" y="328"/>
                  <a:pt x="902" y="332"/>
                </a:cubicBezTo>
                <a:cubicBezTo>
                  <a:pt x="898" y="336"/>
                  <a:pt x="892" y="343"/>
                  <a:pt x="888" y="347"/>
                </a:cubicBezTo>
                <a:cubicBezTo>
                  <a:pt x="880" y="353"/>
                  <a:pt x="885" y="353"/>
                  <a:pt x="875" y="355"/>
                </a:cubicBezTo>
                <a:cubicBezTo>
                  <a:pt x="872" y="357"/>
                  <a:pt x="860" y="365"/>
                  <a:pt x="858" y="368"/>
                </a:cubicBezTo>
                <a:cubicBezTo>
                  <a:pt x="854" y="374"/>
                  <a:pt x="857" y="377"/>
                  <a:pt x="849" y="382"/>
                </a:cubicBezTo>
                <a:cubicBezTo>
                  <a:pt x="842" y="380"/>
                  <a:pt x="841" y="380"/>
                  <a:pt x="836" y="386"/>
                </a:cubicBezTo>
                <a:cubicBezTo>
                  <a:pt x="833" y="395"/>
                  <a:pt x="836" y="397"/>
                  <a:pt x="825" y="398"/>
                </a:cubicBezTo>
                <a:cubicBezTo>
                  <a:pt x="820" y="400"/>
                  <a:pt x="815" y="399"/>
                  <a:pt x="810" y="401"/>
                </a:cubicBezTo>
                <a:cubicBezTo>
                  <a:pt x="808" y="402"/>
                  <a:pt x="809" y="405"/>
                  <a:pt x="807" y="406"/>
                </a:cubicBezTo>
                <a:cubicBezTo>
                  <a:pt x="805" y="407"/>
                  <a:pt x="803" y="407"/>
                  <a:pt x="801" y="407"/>
                </a:cubicBezTo>
                <a:cubicBezTo>
                  <a:pt x="795" y="410"/>
                  <a:pt x="786" y="417"/>
                  <a:pt x="780" y="421"/>
                </a:cubicBezTo>
                <a:cubicBezTo>
                  <a:pt x="768" y="437"/>
                  <a:pt x="784" y="436"/>
                  <a:pt x="759" y="439"/>
                </a:cubicBezTo>
                <a:cubicBezTo>
                  <a:pt x="754" y="442"/>
                  <a:pt x="752" y="446"/>
                  <a:pt x="747" y="449"/>
                </a:cubicBezTo>
                <a:cubicBezTo>
                  <a:pt x="747" y="451"/>
                  <a:pt x="747" y="453"/>
                  <a:pt x="746" y="454"/>
                </a:cubicBezTo>
                <a:cubicBezTo>
                  <a:pt x="744" y="456"/>
                  <a:pt x="729" y="459"/>
                  <a:pt x="726" y="461"/>
                </a:cubicBezTo>
                <a:cubicBezTo>
                  <a:pt x="718" y="465"/>
                  <a:pt x="722" y="469"/>
                  <a:pt x="714" y="472"/>
                </a:cubicBezTo>
                <a:cubicBezTo>
                  <a:pt x="709" y="477"/>
                  <a:pt x="706" y="478"/>
                  <a:pt x="699" y="479"/>
                </a:cubicBezTo>
                <a:cubicBezTo>
                  <a:pt x="695" y="481"/>
                  <a:pt x="691" y="487"/>
                  <a:pt x="687" y="488"/>
                </a:cubicBezTo>
                <a:cubicBezTo>
                  <a:pt x="683" y="489"/>
                  <a:pt x="678" y="484"/>
                  <a:pt x="677" y="485"/>
                </a:cubicBezTo>
                <a:cubicBezTo>
                  <a:pt x="676" y="486"/>
                  <a:pt x="682" y="491"/>
                  <a:pt x="681" y="494"/>
                </a:cubicBezTo>
                <a:cubicBezTo>
                  <a:pt x="680" y="497"/>
                  <a:pt x="674" y="499"/>
                  <a:pt x="668" y="502"/>
                </a:cubicBezTo>
                <a:cubicBezTo>
                  <a:pt x="655" y="508"/>
                  <a:pt x="661" y="508"/>
                  <a:pt x="647" y="511"/>
                </a:cubicBezTo>
                <a:cubicBezTo>
                  <a:pt x="645" y="518"/>
                  <a:pt x="647" y="522"/>
                  <a:pt x="639" y="524"/>
                </a:cubicBezTo>
                <a:cubicBezTo>
                  <a:pt x="628" y="529"/>
                  <a:pt x="654" y="515"/>
                  <a:pt x="630" y="520"/>
                </a:cubicBezTo>
                <a:cubicBezTo>
                  <a:pt x="626" y="520"/>
                  <a:pt x="625" y="530"/>
                  <a:pt x="621" y="532"/>
                </a:cubicBezTo>
                <a:cubicBezTo>
                  <a:pt x="617" y="534"/>
                  <a:pt x="612" y="531"/>
                  <a:pt x="606" y="533"/>
                </a:cubicBezTo>
                <a:cubicBezTo>
                  <a:pt x="599" y="536"/>
                  <a:pt x="589" y="542"/>
                  <a:pt x="582" y="544"/>
                </a:cubicBezTo>
                <a:cubicBezTo>
                  <a:pt x="576" y="546"/>
                  <a:pt x="564" y="547"/>
                  <a:pt x="564" y="547"/>
                </a:cubicBezTo>
                <a:cubicBezTo>
                  <a:pt x="557" y="553"/>
                  <a:pt x="559" y="555"/>
                  <a:pt x="552" y="560"/>
                </a:cubicBezTo>
                <a:cubicBezTo>
                  <a:pt x="544" y="562"/>
                  <a:pt x="530" y="563"/>
                  <a:pt x="521" y="563"/>
                </a:cubicBezTo>
                <a:cubicBezTo>
                  <a:pt x="512" y="563"/>
                  <a:pt x="501" y="561"/>
                  <a:pt x="495" y="559"/>
                </a:cubicBezTo>
                <a:cubicBezTo>
                  <a:pt x="485" y="551"/>
                  <a:pt x="501" y="555"/>
                  <a:pt x="486" y="553"/>
                </a:cubicBezTo>
                <a:cubicBezTo>
                  <a:pt x="478" y="549"/>
                  <a:pt x="474" y="550"/>
                  <a:pt x="465" y="551"/>
                </a:cubicBezTo>
                <a:cubicBezTo>
                  <a:pt x="459" y="552"/>
                  <a:pt x="456" y="553"/>
                  <a:pt x="450" y="554"/>
                </a:cubicBezTo>
                <a:cubicBezTo>
                  <a:pt x="444" y="556"/>
                  <a:pt x="436" y="561"/>
                  <a:pt x="431" y="562"/>
                </a:cubicBezTo>
                <a:cubicBezTo>
                  <a:pt x="426" y="563"/>
                  <a:pt x="420" y="558"/>
                  <a:pt x="419" y="559"/>
                </a:cubicBezTo>
                <a:cubicBezTo>
                  <a:pt x="415" y="566"/>
                  <a:pt x="430" y="570"/>
                  <a:pt x="422" y="571"/>
                </a:cubicBezTo>
                <a:cubicBezTo>
                  <a:pt x="423" y="575"/>
                  <a:pt x="410" y="567"/>
                  <a:pt x="410" y="571"/>
                </a:cubicBezTo>
                <a:cubicBezTo>
                  <a:pt x="411" y="575"/>
                  <a:pt x="412" y="586"/>
                  <a:pt x="413" y="590"/>
                </a:cubicBezTo>
                <a:cubicBezTo>
                  <a:pt x="414" y="593"/>
                  <a:pt x="428" y="601"/>
                  <a:pt x="425" y="601"/>
                </a:cubicBezTo>
                <a:cubicBezTo>
                  <a:pt x="421" y="603"/>
                  <a:pt x="406" y="601"/>
                  <a:pt x="395" y="601"/>
                </a:cubicBezTo>
                <a:cubicBezTo>
                  <a:pt x="387" y="601"/>
                  <a:pt x="380" y="600"/>
                  <a:pt x="375" y="599"/>
                </a:cubicBezTo>
                <a:cubicBezTo>
                  <a:pt x="370" y="598"/>
                  <a:pt x="368" y="595"/>
                  <a:pt x="362" y="593"/>
                </a:cubicBezTo>
                <a:cubicBezTo>
                  <a:pt x="353" y="589"/>
                  <a:pt x="348" y="590"/>
                  <a:pt x="338" y="587"/>
                </a:cubicBezTo>
                <a:cubicBezTo>
                  <a:pt x="330" y="590"/>
                  <a:pt x="327" y="593"/>
                  <a:pt x="318" y="595"/>
                </a:cubicBezTo>
                <a:cubicBezTo>
                  <a:pt x="311" y="601"/>
                  <a:pt x="323" y="605"/>
                  <a:pt x="315" y="607"/>
                </a:cubicBezTo>
                <a:cubicBezTo>
                  <a:pt x="313" y="609"/>
                  <a:pt x="307" y="612"/>
                  <a:pt x="303" y="613"/>
                </a:cubicBezTo>
                <a:cubicBezTo>
                  <a:pt x="299" y="614"/>
                  <a:pt x="294" y="609"/>
                  <a:pt x="293" y="611"/>
                </a:cubicBezTo>
                <a:cubicBezTo>
                  <a:pt x="294" y="615"/>
                  <a:pt x="299" y="622"/>
                  <a:pt x="299" y="626"/>
                </a:cubicBezTo>
                <a:cubicBezTo>
                  <a:pt x="299" y="630"/>
                  <a:pt x="292" y="623"/>
                  <a:pt x="288" y="623"/>
                </a:cubicBezTo>
                <a:cubicBezTo>
                  <a:pt x="283" y="622"/>
                  <a:pt x="275" y="623"/>
                  <a:pt x="267" y="623"/>
                </a:cubicBezTo>
                <a:cubicBezTo>
                  <a:pt x="260" y="623"/>
                  <a:pt x="254" y="622"/>
                  <a:pt x="248" y="620"/>
                </a:cubicBezTo>
                <a:cubicBezTo>
                  <a:pt x="242" y="618"/>
                  <a:pt x="234" y="613"/>
                  <a:pt x="228" y="611"/>
                </a:cubicBezTo>
                <a:cubicBezTo>
                  <a:pt x="222" y="609"/>
                  <a:pt x="216" y="608"/>
                  <a:pt x="210" y="607"/>
                </a:cubicBezTo>
                <a:cubicBezTo>
                  <a:pt x="201" y="604"/>
                  <a:pt x="197" y="605"/>
                  <a:pt x="191" y="604"/>
                </a:cubicBezTo>
                <a:cubicBezTo>
                  <a:pt x="185" y="603"/>
                  <a:pt x="180" y="600"/>
                  <a:pt x="174" y="599"/>
                </a:cubicBezTo>
                <a:cubicBezTo>
                  <a:pt x="165" y="597"/>
                  <a:pt x="163" y="597"/>
                  <a:pt x="156" y="596"/>
                </a:cubicBezTo>
                <a:cubicBezTo>
                  <a:pt x="149" y="595"/>
                  <a:pt x="137" y="597"/>
                  <a:pt x="134" y="593"/>
                </a:cubicBezTo>
                <a:cubicBezTo>
                  <a:pt x="125" y="591"/>
                  <a:pt x="134" y="579"/>
                  <a:pt x="140" y="575"/>
                </a:cubicBezTo>
                <a:cubicBezTo>
                  <a:pt x="137" y="566"/>
                  <a:pt x="129" y="573"/>
                  <a:pt x="120" y="571"/>
                </a:cubicBezTo>
                <a:cubicBezTo>
                  <a:pt x="115" y="567"/>
                  <a:pt x="115" y="563"/>
                  <a:pt x="108" y="562"/>
                </a:cubicBezTo>
                <a:cubicBezTo>
                  <a:pt x="106" y="562"/>
                  <a:pt x="88" y="566"/>
                  <a:pt x="99" y="560"/>
                </a:cubicBezTo>
                <a:cubicBezTo>
                  <a:pt x="102" y="554"/>
                  <a:pt x="101" y="552"/>
                  <a:pt x="107" y="548"/>
                </a:cubicBezTo>
                <a:cubicBezTo>
                  <a:pt x="117" y="553"/>
                  <a:pt x="114" y="545"/>
                  <a:pt x="119" y="542"/>
                </a:cubicBezTo>
                <a:cubicBezTo>
                  <a:pt x="123" y="540"/>
                  <a:pt x="127" y="541"/>
                  <a:pt x="131" y="541"/>
                </a:cubicBezTo>
                <a:cubicBezTo>
                  <a:pt x="136" y="533"/>
                  <a:pt x="131" y="537"/>
                  <a:pt x="125" y="532"/>
                </a:cubicBezTo>
                <a:cubicBezTo>
                  <a:pt x="124" y="529"/>
                  <a:pt x="126" y="526"/>
                  <a:pt x="125" y="523"/>
                </a:cubicBezTo>
                <a:cubicBezTo>
                  <a:pt x="123" y="518"/>
                  <a:pt x="106" y="512"/>
                  <a:pt x="101" y="511"/>
                </a:cubicBezTo>
                <a:cubicBezTo>
                  <a:pt x="76" y="513"/>
                  <a:pt x="91" y="508"/>
                  <a:pt x="78" y="505"/>
                </a:cubicBezTo>
                <a:cubicBezTo>
                  <a:pt x="71" y="504"/>
                  <a:pt x="65" y="505"/>
                  <a:pt x="59" y="505"/>
                </a:cubicBezTo>
                <a:cubicBezTo>
                  <a:pt x="53" y="505"/>
                  <a:pt x="46" y="504"/>
                  <a:pt x="41" y="505"/>
                </a:cubicBezTo>
                <a:cubicBezTo>
                  <a:pt x="33" y="506"/>
                  <a:pt x="34" y="509"/>
                  <a:pt x="30" y="509"/>
                </a:cubicBezTo>
                <a:cubicBezTo>
                  <a:pt x="26" y="509"/>
                  <a:pt x="22" y="507"/>
                  <a:pt x="17" y="506"/>
                </a:cubicBezTo>
                <a:cubicBezTo>
                  <a:pt x="9" y="503"/>
                  <a:pt x="7" y="509"/>
                  <a:pt x="0" y="505"/>
                </a:cubicBezTo>
                <a:cubicBezTo>
                  <a:pt x="1" y="501"/>
                  <a:pt x="9" y="489"/>
                  <a:pt x="2" y="496"/>
                </a:cubicBez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sp>
        <p:nvSpPr>
          <p:cNvPr id="18463" name="Freeform 16"/>
          <p:cNvSpPr>
            <a:spLocks/>
          </p:cNvSpPr>
          <p:nvPr/>
        </p:nvSpPr>
        <p:spPr bwMode="gray">
          <a:xfrm>
            <a:off x="4315193" y="2726582"/>
            <a:ext cx="1474639" cy="1501805"/>
          </a:xfrm>
          <a:custGeom>
            <a:avLst/>
            <a:gdLst>
              <a:gd name="T0" fmla="*/ 183 w 633"/>
              <a:gd name="T1" fmla="*/ 613 h 648"/>
              <a:gd name="T2" fmla="*/ 137 w 633"/>
              <a:gd name="T3" fmla="*/ 585 h 648"/>
              <a:gd name="T4" fmla="*/ 77 w 633"/>
              <a:gd name="T5" fmla="*/ 584 h 648"/>
              <a:gd name="T6" fmla="*/ 32 w 633"/>
              <a:gd name="T7" fmla="*/ 567 h 648"/>
              <a:gd name="T8" fmla="*/ 0 w 633"/>
              <a:gd name="T9" fmla="*/ 536 h 648"/>
              <a:gd name="T10" fmla="*/ 32 w 633"/>
              <a:gd name="T11" fmla="*/ 516 h 648"/>
              <a:gd name="T12" fmla="*/ 56 w 633"/>
              <a:gd name="T13" fmla="*/ 495 h 648"/>
              <a:gd name="T14" fmla="*/ 63 w 633"/>
              <a:gd name="T15" fmla="*/ 471 h 648"/>
              <a:gd name="T16" fmla="*/ 65 w 633"/>
              <a:gd name="T17" fmla="*/ 437 h 648"/>
              <a:gd name="T18" fmla="*/ 89 w 633"/>
              <a:gd name="T19" fmla="*/ 405 h 648"/>
              <a:gd name="T20" fmla="*/ 111 w 633"/>
              <a:gd name="T21" fmla="*/ 386 h 648"/>
              <a:gd name="T22" fmla="*/ 81 w 633"/>
              <a:gd name="T23" fmla="*/ 344 h 648"/>
              <a:gd name="T24" fmla="*/ 53 w 633"/>
              <a:gd name="T25" fmla="*/ 326 h 648"/>
              <a:gd name="T26" fmla="*/ 35 w 633"/>
              <a:gd name="T27" fmla="*/ 287 h 648"/>
              <a:gd name="T28" fmla="*/ 68 w 633"/>
              <a:gd name="T29" fmla="*/ 261 h 648"/>
              <a:gd name="T30" fmla="*/ 105 w 633"/>
              <a:gd name="T31" fmla="*/ 239 h 648"/>
              <a:gd name="T32" fmla="*/ 147 w 633"/>
              <a:gd name="T33" fmla="*/ 213 h 648"/>
              <a:gd name="T34" fmla="*/ 150 w 633"/>
              <a:gd name="T35" fmla="*/ 180 h 648"/>
              <a:gd name="T36" fmla="*/ 159 w 633"/>
              <a:gd name="T37" fmla="*/ 143 h 648"/>
              <a:gd name="T38" fmla="*/ 159 w 633"/>
              <a:gd name="T39" fmla="*/ 113 h 648"/>
              <a:gd name="T40" fmla="*/ 212 w 633"/>
              <a:gd name="T41" fmla="*/ 92 h 648"/>
              <a:gd name="T42" fmla="*/ 263 w 633"/>
              <a:gd name="T43" fmla="*/ 74 h 648"/>
              <a:gd name="T44" fmla="*/ 290 w 633"/>
              <a:gd name="T45" fmla="*/ 74 h 648"/>
              <a:gd name="T46" fmla="*/ 333 w 633"/>
              <a:gd name="T47" fmla="*/ 75 h 648"/>
              <a:gd name="T48" fmla="*/ 374 w 633"/>
              <a:gd name="T49" fmla="*/ 62 h 648"/>
              <a:gd name="T50" fmla="*/ 485 w 633"/>
              <a:gd name="T51" fmla="*/ 83 h 648"/>
              <a:gd name="T52" fmla="*/ 497 w 633"/>
              <a:gd name="T53" fmla="*/ 6 h 648"/>
              <a:gd name="T54" fmla="*/ 531 w 633"/>
              <a:gd name="T55" fmla="*/ 11 h 648"/>
              <a:gd name="T56" fmla="*/ 629 w 633"/>
              <a:gd name="T57" fmla="*/ 12 h 648"/>
              <a:gd name="T58" fmla="*/ 602 w 633"/>
              <a:gd name="T59" fmla="*/ 92 h 648"/>
              <a:gd name="T60" fmla="*/ 576 w 633"/>
              <a:gd name="T61" fmla="*/ 164 h 648"/>
              <a:gd name="T62" fmla="*/ 570 w 633"/>
              <a:gd name="T63" fmla="*/ 207 h 648"/>
              <a:gd name="T64" fmla="*/ 549 w 633"/>
              <a:gd name="T65" fmla="*/ 245 h 648"/>
              <a:gd name="T66" fmla="*/ 524 w 633"/>
              <a:gd name="T67" fmla="*/ 285 h 648"/>
              <a:gd name="T68" fmla="*/ 473 w 633"/>
              <a:gd name="T69" fmla="*/ 318 h 648"/>
              <a:gd name="T70" fmla="*/ 447 w 633"/>
              <a:gd name="T71" fmla="*/ 329 h 648"/>
              <a:gd name="T72" fmla="*/ 413 w 633"/>
              <a:gd name="T73" fmla="*/ 362 h 648"/>
              <a:gd name="T74" fmla="*/ 381 w 633"/>
              <a:gd name="T75" fmla="*/ 389 h 648"/>
              <a:gd name="T76" fmla="*/ 348 w 633"/>
              <a:gd name="T77" fmla="*/ 434 h 648"/>
              <a:gd name="T78" fmla="*/ 336 w 633"/>
              <a:gd name="T79" fmla="*/ 455 h 648"/>
              <a:gd name="T80" fmla="*/ 330 w 633"/>
              <a:gd name="T81" fmla="*/ 474 h 648"/>
              <a:gd name="T82" fmla="*/ 293 w 633"/>
              <a:gd name="T83" fmla="*/ 527 h 648"/>
              <a:gd name="T84" fmla="*/ 258 w 633"/>
              <a:gd name="T85" fmla="*/ 578 h 648"/>
              <a:gd name="T86" fmla="*/ 207 w 633"/>
              <a:gd name="T87" fmla="*/ 641 h 64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3" h="648">
                <a:moveTo>
                  <a:pt x="204" y="647"/>
                </a:moveTo>
                <a:cubicBezTo>
                  <a:pt x="203" y="639"/>
                  <a:pt x="200" y="641"/>
                  <a:pt x="195" y="635"/>
                </a:cubicBezTo>
                <a:cubicBezTo>
                  <a:pt x="200" y="622"/>
                  <a:pt x="197" y="615"/>
                  <a:pt x="183" y="613"/>
                </a:cubicBezTo>
                <a:cubicBezTo>
                  <a:pt x="174" y="610"/>
                  <a:pt x="177" y="597"/>
                  <a:pt x="167" y="594"/>
                </a:cubicBezTo>
                <a:cubicBezTo>
                  <a:pt x="163" y="593"/>
                  <a:pt x="160" y="593"/>
                  <a:pt x="156" y="593"/>
                </a:cubicBezTo>
                <a:cubicBezTo>
                  <a:pt x="150" y="592"/>
                  <a:pt x="144" y="586"/>
                  <a:pt x="137" y="585"/>
                </a:cubicBezTo>
                <a:cubicBezTo>
                  <a:pt x="130" y="584"/>
                  <a:pt x="122" y="586"/>
                  <a:pt x="116" y="585"/>
                </a:cubicBezTo>
                <a:cubicBezTo>
                  <a:pt x="109" y="584"/>
                  <a:pt x="107" y="581"/>
                  <a:pt x="101" y="578"/>
                </a:cubicBezTo>
                <a:cubicBezTo>
                  <a:pt x="78" y="581"/>
                  <a:pt x="89" y="578"/>
                  <a:pt x="77" y="584"/>
                </a:cubicBezTo>
                <a:cubicBezTo>
                  <a:pt x="66" y="577"/>
                  <a:pt x="68" y="575"/>
                  <a:pt x="51" y="573"/>
                </a:cubicBezTo>
                <a:cubicBezTo>
                  <a:pt x="43" y="567"/>
                  <a:pt x="48" y="562"/>
                  <a:pt x="36" y="560"/>
                </a:cubicBezTo>
                <a:cubicBezTo>
                  <a:pt x="32" y="558"/>
                  <a:pt x="36" y="566"/>
                  <a:pt x="32" y="567"/>
                </a:cubicBezTo>
                <a:cubicBezTo>
                  <a:pt x="28" y="568"/>
                  <a:pt x="18" y="570"/>
                  <a:pt x="14" y="569"/>
                </a:cubicBezTo>
                <a:cubicBezTo>
                  <a:pt x="12" y="563"/>
                  <a:pt x="10" y="561"/>
                  <a:pt x="5" y="558"/>
                </a:cubicBezTo>
                <a:cubicBezTo>
                  <a:pt x="7" y="532"/>
                  <a:pt x="7" y="549"/>
                  <a:pt x="0" y="536"/>
                </a:cubicBezTo>
                <a:cubicBezTo>
                  <a:pt x="3" y="526"/>
                  <a:pt x="4" y="526"/>
                  <a:pt x="14" y="528"/>
                </a:cubicBezTo>
                <a:cubicBezTo>
                  <a:pt x="24" y="533"/>
                  <a:pt x="21" y="523"/>
                  <a:pt x="29" y="521"/>
                </a:cubicBezTo>
                <a:cubicBezTo>
                  <a:pt x="30" y="519"/>
                  <a:pt x="30" y="517"/>
                  <a:pt x="32" y="516"/>
                </a:cubicBezTo>
                <a:cubicBezTo>
                  <a:pt x="34" y="515"/>
                  <a:pt x="36" y="516"/>
                  <a:pt x="38" y="515"/>
                </a:cubicBezTo>
                <a:cubicBezTo>
                  <a:pt x="40" y="513"/>
                  <a:pt x="48" y="510"/>
                  <a:pt x="51" y="507"/>
                </a:cubicBezTo>
                <a:cubicBezTo>
                  <a:pt x="54" y="504"/>
                  <a:pt x="57" y="499"/>
                  <a:pt x="56" y="495"/>
                </a:cubicBezTo>
                <a:cubicBezTo>
                  <a:pt x="57" y="488"/>
                  <a:pt x="52" y="489"/>
                  <a:pt x="45" y="485"/>
                </a:cubicBezTo>
                <a:cubicBezTo>
                  <a:pt x="40" y="478"/>
                  <a:pt x="49" y="483"/>
                  <a:pt x="56" y="482"/>
                </a:cubicBezTo>
                <a:cubicBezTo>
                  <a:pt x="58" y="473"/>
                  <a:pt x="61" y="480"/>
                  <a:pt x="63" y="471"/>
                </a:cubicBezTo>
                <a:cubicBezTo>
                  <a:pt x="64" y="467"/>
                  <a:pt x="59" y="463"/>
                  <a:pt x="59" y="459"/>
                </a:cubicBezTo>
                <a:cubicBezTo>
                  <a:pt x="59" y="455"/>
                  <a:pt x="61" y="453"/>
                  <a:pt x="62" y="449"/>
                </a:cubicBezTo>
                <a:cubicBezTo>
                  <a:pt x="63" y="445"/>
                  <a:pt x="62" y="440"/>
                  <a:pt x="65" y="437"/>
                </a:cubicBezTo>
                <a:cubicBezTo>
                  <a:pt x="76" y="432"/>
                  <a:pt x="62" y="432"/>
                  <a:pt x="78" y="428"/>
                </a:cubicBezTo>
                <a:cubicBezTo>
                  <a:pt x="81" y="424"/>
                  <a:pt x="87" y="424"/>
                  <a:pt x="89" y="420"/>
                </a:cubicBezTo>
                <a:cubicBezTo>
                  <a:pt x="91" y="416"/>
                  <a:pt x="87" y="407"/>
                  <a:pt x="89" y="405"/>
                </a:cubicBezTo>
                <a:cubicBezTo>
                  <a:pt x="91" y="403"/>
                  <a:pt x="96" y="407"/>
                  <a:pt x="99" y="405"/>
                </a:cubicBezTo>
                <a:cubicBezTo>
                  <a:pt x="102" y="399"/>
                  <a:pt x="101" y="397"/>
                  <a:pt x="107" y="393"/>
                </a:cubicBezTo>
                <a:cubicBezTo>
                  <a:pt x="108" y="389"/>
                  <a:pt x="111" y="389"/>
                  <a:pt x="111" y="386"/>
                </a:cubicBezTo>
                <a:cubicBezTo>
                  <a:pt x="111" y="383"/>
                  <a:pt x="111" y="380"/>
                  <a:pt x="108" y="375"/>
                </a:cubicBezTo>
                <a:cubicBezTo>
                  <a:pt x="105" y="370"/>
                  <a:pt x="99" y="361"/>
                  <a:pt x="95" y="356"/>
                </a:cubicBezTo>
                <a:cubicBezTo>
                  <a:pt x="91" y="335"/>
                  <a:pt x="98" y="352"/>
                  <a:pt x="81" y="344"/>
                </a:cubicBezTo>
                <a:cubicBezTo>
                  <a:pt x="79" y="343"/>
                  <a:pt x="81" y="340"/>
                  <a:pt x="80" y="339"/>
                </a:cubicBezTo>
                <a:cubicBezTo>
                  <a:pt x="79" y="338"/>
                  <a:pt x="77" y="338"/>
                  <a:pt x="75" y="338"/>
                </a:cubicBezTo>
                <a:cubicBezTo>
                  <a:pt x="67" y="334"/>
                  <a:pt x="60" y="331"/>
                  <a:pt x="53" y="326"/>
                </a:cubicBezTo>
                <a:cubicBezTo>
                  <a:pt x="49" y="320"/>
                  <a:pt x="46" y="318"/>
                  <a:pt x="39" y="315"/>
                </a:cubicBezTo>
                <a:cubicBezTo>
                  <a:pt x="38" y="307"/>
                  <a:pt x="36" y="301"/>
                  <a:pt x="27" y="299"/>
                </a:cubicBezTo>
                <a:cubicBezTo>
                  <a:pt x="29" y="294"/>
                  <a:pt x="32" y="292"/>
                  <a:pt x="35" y="287"/>
                </a:cubicBezTo>
                <a:cubicBezTo>
                  <a:pt x="38" y="283"/>
                  <a:pt x="38" y="272"/>
                  <a:pt x="42" y="269"/>
                </a:cubicBezTo>
                <a:cubicBezTo>
                  <a:pt x="45" y="265"/>
                  <a:pt x="52" y="265"/>
                  <a:pt x="56" y="264"/>
                </a:cubicBezTo>
                <a:cubicBezTo>
                  <a:pt x="61" y="263"/>
                  <a:pt x="64" y="261"/>
                  <a:pt x="68" y="261"/>
                </a:cubicBezTo>
                <a:cubicBezTo>
                  <a:pt x="72" y="260"/>
                  <a:pt x="74" y="263"/>
                  <a:pt x="78" y="260"/>
                </a:cubicBezTo>
                <a:cubicBezTo>
                  <a:pt x="80" y="249"/>
                  <a:pt x="83" y="248"/>
                  <a:pt x="93" y="246"/>
                </a:cubicBezTo>
                <a:cubicBezTo>
                  <a:pt x="98" y="244"/>
                  <a:pt x="100" y="242"/>
                  <a:pt x="105" y="239"/>
                </a:cubicBezTo>
                <a:cubicBezTo>
                  <a:pt x="110" y="236"/>
                  <a:pt x="120" y="224"/>
                  <a:pt x="125" y="222"/>
                </a:cubicBezTo>
                <a:cubicBezTo>
                  <a:pt x="130" y="220"/>
                  <a:pt x="133" y="226"/>
                  <a:pt x="137" y="224"/>
                </a:cubicBezTo>
                <a:cubicBezTo>
                  <a:pt x="138" y="213"/>
                  <a:pt x="139" y="217"/>
                  <a:pt x="147" y="213"/>
                </a:cubicBezTo>
                <a:cubicBezTo>
                  <a:pt x="151" y="208"/>
                  <a:pt x="150" y="206"/>
                  <a:pt x="147" y="200"/>
                </a:cubicBezTo>
                <a:cubicBezTo>
                  <a:pt x="146" y="195"/>
                  <a:pt x="142" y="193"/>
                  <a:pt x="141" y="188"/>
                </a:cubicBezTo>
                <a:cubicBezTo>
                  <a:pt x="141" y="184"/>
                  <a:pt x="149" y="183"/>
                  <a:pt x="150" y="180"/>
                </a:cubicBezTo>
                <a:cubicBezTo>
                  <a:pt x="151" y="177"/>
                  <a:pt x="149" y="174"/>
                  <a:pt x="150" y="171"/>
                </a:cubicBezTo>
                <a:cubicBezTo>
                  <a:pt x="151" y="168"/>
                  <a:pt x="155" y="164"/>
                  <a:pt x="156" y="159"/>
                </a:cubicBezTo>
                <a:cubicBezTo>
                  <a:pt x="158" y="152"/>
                  <a:pt x="159" y="148"/>
                  <a:pt x="159" y="143"/>
                </a:cubicBezTo>
                <a:cubicBezTo>
                  <a:pt x="159" y="138"/>
                  <a:pt x="153" y="134"/>
                  <a:pt x="155" y="131"/>
                </a:cubicBezTo>
                <a:cubicBezTo>
                  <a:pt x="157" y="128"/>
                  <a:pt x="169" y="126"/>
                  <a:pt x="170" y="123"/>
                </a:cubicBezTo>
                <a:cubicBezTo>
                  <a:pt x="166" y="118"/>
                  <a:pt x="166" y="114"/>
                  <a:pt x="159" y="113"/>
                </a:cubicBezTo>
                <a:cubicBezTo>
                  <a:pt x="162" y="103"/>
                  <a:pt x="165" y="100"/>
                  <a:pt x="176" y="99"/>
                </a:cubicBezTo>
                <a:cubicBezTo>
                  <a:pt x="182" y="96"/>
                  <a:pt x="182" y="90"/>
                  <a:pt x="189" y="89"/>
                </a:cubicBezTo>
                <a:cubicBezTo>
                  <a:pt x="197" y="87"/>
                  <a:pt x="212" y="92"/>
                  <a:pt x="212" y="92"/>
                </a:cubicBezTo>
                <a:cubicBezTo>
                  <a:pt x="219" y="88"/>
                  <a:pt x="219" y="94"/>
                  <a:pt x="227" y="90"/>
                </a:cubicBezTo>
                <a:cubicBezTo>
                  <a:pt x="233" y="82"/>
                  <a:pt x="236" y="79"/>
                  <a:pt x="246" y="77"/>
                </a:cubicBezTo>
                <a:cubicBezTo>
                  <a:pt x="251" y="75"/>
                  <a:pt x="257" y="73"/>
                  <a:pt x="263" y="74"/>
                </a:cubicBezTo>
                <a:cubicBezTo>
                  <a:pt x="267" y="74"/>
                  <a:pt x="266" y="79"/>
                  <a:pt x="269" y="80"/>
                </a:cubicBezTo>
                <a:cubicBezTo>
                  <a:pt x="272" y="81"/>
                  <a:pt x="280" y="84"/>
                  <a:pt x="284" y="83"/>
                </a:cubicBezTo>
                <a:cubicBezTo>
                  <a:pt x="290" y="84"/>
                  <a:pt x="285" y="75"/>
                  <a:pt x="290" y="74"/>
                </a:cubicBezTo>
                <a:cubicBezTo>
                  <a:pt x="295" y="73"/>
                  <a:pt x="309" y="76"/>
                  <a:pt x="315" y="78"/>
                </a:cubicBezTo>
                <a:cubicBezTo>
                  <a:pt x="318" y="86"/>
                  <a:pt x="319" y="80"/>
                  <a:pt x="326" y="84"/>
                </a:cubicBezTo>
                <a:cubicBezTo>
                  <a:pt x="329" y="85"/>
                  <a:pt x="331" y="75"/>
                  <a:pt x="333" y="75"/>
                </a:cubicBezTo>
                <a:cubicBezTo>
                  <a:pt x="336" y="75"/>
                  <a:pt x="339" y="86"/>
                  <a:pt x="344" y="86"/>
                </a:cubicBezTo>
                <a:cubicBezTo>
                  <a:pt x="355" y="84"/>
                  <a:pt x="355" y="79"/>
                  <a:pt x="365" y="77"/>
                </a:cubicBezTo>
                <a:cubicBezTo>
                  <a:pt x="367" y="69"/>
                  <a:pt x="366" y="64"/>
                  <a:pt x="374" y="62"/>
                </a:cubicBezTo>
                <a:cubicBezTo>
                  <a:pt x="387" y="63"/>
                  <a:pt x="388" y="67"/>
                  <a:pt x="398" y="69"/>
                </a:cubicBezTo>
                <a:cubicBezTo>
                  <a:pt x="404" y="72"/>
                  <a:pt x="412" y="76"/>
                  <a:pt x="419" y="77"/>
                </a:cubicBezTo>
                <a:cubicBezTo>
                  <a:pt x="440" y="88"/>
                  <a:pt x="463" y="74"/>
                  <a:pt x="485" y="83"/>
                </a:cubicBezTo>
                <a:cubicBezTo>
                  <a:pt x="498" y="81"/>
                  <a:pt x="489" y="68"/>
                  <a:pt x="491" y="62"/>
                </a:cubicBezTo>
                <a:cubicBezTo>
                  <a:pt x="493" y="56"/>
                  <a:pt x="494" y="54"/>
                  <a:pt x="495" y="45"/>
                </a:cubicBezTo>
                <a:cubicBezTo>
                  <a:pt x="497" y="37"/>
                  <a:pt x="494" y="12"/>
                  <a:pt x="497" y="6"/>
                </a:cubicBezTo>
                <a:cubicBezTo>
                  <a:pt x="499" y="0"/>
                  <a:pt x="504" y="8"/>
                  <a:pt x="507" y="8"/>
                </a:cubicBezTo>
                <a:cubicBezTo>
                  <a:pt x="510" y="8"/>
                  <a:pt x="512" y="4"/>
                  <a:pt x="516" y="5"/>
                </a:cubicBezTo>
                <a:cubicBezTo>
                  <a:pt x="522" y="11"/>
                  <a:pt x="524" y="10"/>
                  <a:pt x="531" y="11"/>
                </a:cubicBezTo>
                <a:cubicBezTo>
                  <a:pt x="538" y="12"/>
                  <a:pt x="550" y="12"/>
                  <a:pt x="561" y="12"/>
                </a:cubicBezTo>
                <a:cubicBezTo>
                  <a:pt x="572" y="12"/>
                  <a:pt x="588" y="9"/>
                  <a:pt x="599" y="9"/>
                </a:cubicBezTo>
                <a:cubicBezTo>
                  <a:pt x="609" y="10"/>
                  <a:pt x="625" y="7"/>
                  <a:pt x="629" y="12"/>
                </a:cubicBezTo>
                <a:cubicBezTo>
                  <a:pt x="633" y="17"/>
                  <a:pt x="624" y="31"/>
                  <a:pt x="621" y="39"/>
                </a:cubicBezTo>
                <a:cubicBezTo>
                  <a:pt x="620" y="56"/>
                  <a:pt x="624" y="54"/>
                  <a:pt x="612" y="63"/>
                </a:cubicBezTo>
                <a:cubicBezTo>
                  <a:pt x="609" y="72"/>
                  <a:pt x="607" y="84"/>
                  <a:pt x="602" y="92"/>
                </a:cubicBezTo>
                <a:cubicBezTo>
                  <a:pt x="599" y="101"/>
                  <a:pt x="599" y="106"/>
                  <a:pt x="591" y="111"/>
                </a:cubicBezTo>
                <a:cubicBezTo>
                  <a:pt x="588" y="125"/>
                  <a:pt x="595" y="112"/>
                  <a:pt x="587" y="125"/>
                </a:cubicBezTo>
                <a:cubicBezTo>
                  <a:pt x="582" y="134"/>
                  <a:pt x="581" y="150"/>
                  <a:pt x="576" y="164"/>
                </a:cubicBezTo>
                <a:cubicBezTo>
                  <a:pt x="574" y="173"/>
                  <a:pt x="576" y="166"/>
                  <a:pt x="575" y="173"/>
                </a:cubicBezTo>
                <a:cubicBezTo>
                  <a:pt x="575" y="178"/>
                  <a:pt x="576" y="186"/>
                  <a:pt x="575" y="192"/>
                </a:cubicBezTo>
                <a:cubicBezTo>
                  <a:pt x="574" y="198"/>
                  <a:pt x="572" y="203"/>
                  <a:pt x="570" y="207"/>
                </a:cubicBezTo>
                <a:cubicBezTo>
                  <a:pt x="569" y="210"/>
                  <a:pt x="566" y="213"/>
                  <a:pt x="563" y="215"/>
                </a:cubicBezTo>
                <a:cubicBezTo>
                  <a:pt x="561" y="219"/>
                  <a:pt x="557" y="228"/>
                  <a:pt x="555" y="233"/>
                </a:cubicBezTo>
                <a:cubicBezTo>
                  <a:pt x="553" y="238"/>
                  <a:pt x="551" y="239"/>
                  <a:pt x="549" y="245"/>
                </a:cubicBezTo>
                <a:cubicBezTo>
                  <a:pt x="548" y="254"/>
                  <a:pt x="544" y="259"/>
                  <a:pt x="540" y="267"/>
                </a:cubicBezTo>
                <a:cubicBezTo>
                  <a:pt x="538" y="275"/>
                  <a:pt x="534" y="272"/>
                  <a:pt x="528" y="276"/>
                </a:cubicBezTo>
                <a:cubicBezTo>
                  <a:pt x="527" y="279"/>
                  <a:pt x="527" y="284"/>
                  <a:pt x="524" y="285"/>
                </a:cubicBezTo>
                <a:cubicBezTo>
                  <a:pt x="520" y="287"/>
                  <a:pt x="510" y="288"/>
                  <a:pt x="510" y="288"/>
                </a:cubicBezTo>
                <a:cubicBezTo>
                  <a:pt x="508" y="300"/>
                  <a:pt x="502" y="303"/>
                  <a:pt x="492" y="309"/>
                </a:cubicBezTo>
                <a:cubicBezTo>
                  <a:pt x="490" y="317"/>
                  <a:pt x="481" y="317"/>
                  <a:pt x="473" y="318"/>
                </a:cubicBezTo>
                <a:cubicBezTo>
                  <a:pt x="467" y="320"/>
                  <a:pt x="463" y="324"/>
                  <a:pt x="459" y="324"/>
                </a:cubicBezTo>
                <a:cubicBezTo>
                  <a:pt x="455" y="324"/>
                  <a:pt x="449" y="320"/>
                  <a:pt x="447" y="321"/>
                </a:cubicBezTo>
                <a:cubicBezTo>
                  <a:pt x="443" y="323"/>
                  <a:pt x="448" y="326"/>
                  <a:pt x="447" y="329"/>
                </a:cubicBezTo>
                <a:cubicBezTo>
                  <a:pt x="446" y="332"/>
                  <a:pt x="442" y="335"/>
                  <a:pt x="438" y="339"/>
                </a:cubicBezTo>
                <a:cubicBezTo>
                  <a:pt x="433" y="347"/>
                  <a:pt x="432" y="350"/>
                  <a:pt x="423" y="351"/>
                </a:cubicBezTo>
                <a:cubicBezTo>
                  <a:pt x="420" y="358"/>
                  <a:pt x="421" y="360"/>
                  <a:pt x="413" y="362"/>
                </a:cubicBezTo>
                <a:cubicBezTo>
                  <a:pt x="405" y="366"/>
                  <a:pt x="406" y="354"/>
                  <a:pt x="398" y="362"/>
                </a:cubicBezTo>
                <a:cubicBezTo>
                  <a:pt x="395" y="364"/>
                  <a:pt x="404" y="370"/>
                  <a:pt x="401" y="374"/>
                </a:cubicBezTo>
                <a:cubicBezTo>
                  <a:pt x="398" y="378"/>
                  <a:pt x="386" y="384"/>
                  <a:pt x="381" y="389"/>
                </a:cubicBezTo>
                <a:cubicBezTo>
                  <a:pt x="379" y="398"/>
                  <a:pt x="377" y="404"/>
                  <a:pt x="369" y="407"/>
                </a:cubicBezTo>
                <a:cubicBezTo>
                  <a:pt x="368" y="414"/>
                  <a:pt x="367" y="422"/>
                  <a:pt x="360" y="423"/>
                </a:cubicBezTo>
                <a:cubicBezTo>
                  <a:pt x="355" y="427"/>
                  <a:pt x="353" y="431"/>
                  <a:pt x="348" y="434"/>
                </a:cubicBezTo>
                <a:cubicBezTo>
                  <a:pt x="345" y="441"/>
                  <a:pt x="343" y="439"/>
                  <a:pt x="341" y="447"/>
                </a:cubicBezTo>
                <a:cubicBezTo>
                  <a:pt x="338" y="450"/>
                  <a:pt x="327" y="449"/>
                  <a:pt x="327" y="452"/>
                </a:cubicBezTo>
                <a:cubicBezTo>
                  <a:pt x="326" y="453"/>
                  <a:pt x="334" y="453"/>
                  <a:pt x="336" y="455"/>
                </a:cubicBezTo>
                <a:cubicBezTo>
                  <a:pt x="338" y="457"/>
                  <a:pt x="340" y="460"/>
                  <a:pt x="339" y="462"/>
                </a:cubicBezTo>
                <a:cubicBezTo>
                  <a:pt x="335" y="468"/>
                  <a:pt x="335" y="468"/>
                  <a:pt x="329" y="465"/>
                </a:cubicBezTo>
                <a:cubicBezTo>
                  <a:pt x="327" y="467"/>
                  <a:pt x="332" y="471"/>
                  <a:pt x="330" y="474"/>
                </a:cubicBezTo>
                <a:cubicBezTo>
                  <a:pt x="328" y="477"/>
                  <a:pt x="321" y="480"/>
                  <a:pt x="317" y="485"/>
                </a:cubicBezTo>
                <a:cubicBezTo>
                  <a:pt x="314" y="493"/>
                  <a:pt x="312" y="499"/>
                  <a:pt x="305" y="504"/>
                </a:cubicBezTo>
                <a:cubicBezTo>
                  <a:pt x="300" y="512"/>
                  <a:pt x="302" y="522"/>
                  <a:pt x="293" y="527"/>
                </a:cubicBezTo>
                <a:cubicBezTo>
                  <a:pt x="289" y="534"/>
                  <a:pt x="283" y="538"/>
                  <a:pt x="279" y="543"/>
                </a:cubicBezTo>
                <a:cubicBezTo>
                  <a:pt x="275" y="548"/>
                  <a:pt x="273" y="554"/>
                  <a:pt x="270" y="560"/>
                </a:cubicBezTo>
                <a:cubicBezTo>
                  <a:pt x="268" y="571"/>
                  <a:pt x="270" y="576"/>
                  <a:pt x="258" y="578"/>
                </a:cubicBezTo>
                <a:cubicBezTo>
                  <a:pt x="251" y="582"/>
                  <a:pt x="249" y="589"/>
                  <a:pt x="246" y="596"/>
                </a:cubicBezTo>
                <a:cubicBezTo>
                  <a:pt x="244" y="605"/>
                  <a:pt x="236" y="612"/>
                  <a:pt x="228" y="617"/>
                </a:cubicBezTo>
                <a:cubicBezTo>
                  <a:pt x="226" y="629"/>
                  <a:pt x="217" y="635"/>
                  <a:pt x="207" y="641"/>
                </a:cubicBezTo>
                <a:cubicBezTo>
                  <a:pt x="206" y="648"/>
                  <a:pt x="208" y="647"/>
                  <a:pt x="204" y="647"/>
                </a:cubicBezTo>
                <a:close/>
              </a:path>
            </a:pathLst>
          </a:custGeom>
          <a:solidFill>
            <a:schemeClr val="accent1"/>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100"/>
          </a:p>
        </p:txBody>
      </p:sp>
      <p:pic>
        <p:nvPicPr>
          <p:cNvPr id="230411"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001390" y="1194487"/>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52897" y="1223605"/>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112118" y="1285425"/>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865030" y="1490388"/>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356679" y="1440165"/>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245951" y="1228249"/>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964704" y="2185517"/>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938135" y="2310655"/>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143240" y="2099752"/>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56435" y="4451579"/>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537341" y="2727617"/>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224454" y="3088830"/>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697218" y="3222858"/>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368330" y="1927349"/>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883770" y="1960407"/>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152555" y="2258765"/>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84699" y="4297001"/>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989593" y="4784672"/>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283158" y="4344620"/>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666342" y="4576674"/>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317485" y="4233061"/>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500514" y="4942207"/>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329560" y="2805478"/>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208606" y="3348400"/>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0980" y="3260332"/>
            <a:ext cx="252491" cy="258168"/>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1" descr="https://cdn3.iconfinder.com/data/icons/glypho-travel/64/map-pin-marker-51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663714" y="2670817"/>
            <a:ext cx="252491" cy="258168"/>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55"/>
          <p:cNvSpPr>
            <a:spLocks/>
          </p:cNvSpPr>
          <p:nvPr/>
        </p:nvSpPr>
        <p:spPr>
          <a:xfrm>
            <a:off x="5817000" y="1244733"/>
            <a:ext cx="927383" cy="1094118"/>
          </a:xfrm>
          <a:prstGeom prst="rect">
            <a:avLst/>
          </a:prstGeom>
          <a:solidFill>
            <a:schemeClr val="accent1">
              <a:lumMod val="60000"/>
              <a:lumOff val="40000"/>
            </a:schemeClr>
          </a:solidFill>
          <a:ln>
            <a:noFill/>
          </a:ln>
        </p:spPr>
        <p:txBody>
          <a:bodyPr wrap="square" lIns="36576" tIns="36576" rIns="36576" bIns="36576" anchor="ctr" anchorCtr="0">
            <a:noAutofit/>
          </a:bodyPr>
          <a:lstStyle/>
          <a:p>
            <a:pPr fontAlgn="b"/>
            <a:r>
              <a:rPr lang="en-GB" sz="1000" b="1" dirty="0">
                <a:solidFill>
                  <a:schemeClr val="tx2"/>
                </a:solidFill>
              </a:rPr>
              <a:t>Eastern Cape</a:t>
            </a:r>
          </a:p>
        </p:txBody>
      </p:sp>
      <p:sp>
        <p:nvSpPr>
          <p:cNvPr id="59" name="Rectangle 58"/>
          <p:cNvSpPr>
            <a:spLocks/>
          </p:cNvSpPr>
          <p:nvPr/>
        </p:nvSpPr>
        <p:spPr>
          <a:xfrm>
            <a:off x="6814076" y="1432779"/>
            <a:ext cx="1971872" cy="153888"/>
          </a:xfrm>
          <a:prstGeom prst="rect">
            <a:avLst/>
          </a:prstGeom>
        </p:spPr>
        <p:txBody>
          <a:bodyPr wrap="square" lIns="0" tIns="0" rIns="0" bIns="0">
            <a:spAutoFit/>
          </a:bodyPr>
          <a:lstStyle/>
          <a:p>
            <a:pPr fontAlgn="b"/>
            <a:r>
              <a:rPr lang="en-GB" sz="1000"/>
              <a:t>Greater Mount Zebra Node</a:t>
            </a:r>
            <a:endParaRPr lang="en-GB" sz="1000" dirty="0"/>
          </a:p>
        </p:txBody>
      </p:sp>
      <p:sp>
        <p:nvSpPr>
          <p:cNvPr id="61" name="Rectangle 60"/>
          <p:cNvSpPr>
            <a:spLocks/>
          </p:cNvSpPr>
          <p:nvPr/>
        </p:nvSpPr>
        <p:spPr>
          <a:xfrm>
            <a:off x="6814076" y="1620825"/>
            <a:ext cx="1971872" cy="153888"/>
          </a:xfrm>
          <a:prstGeom prst="rect">
            <a:avLst/>
          </a:prstGeom>
        </p:spPr>
        <p:txBody>
          <a:bodyPr wrap="square" lIns="0" tIns="0" rIns="0" bIns="0">
            <a:spAutoFit/>
          </a:bodyPr>
          <a:lstStyle/>
          <a:p>
            <a:pPr fontAlgn="b"/>
            <a:r>
              <a:rPr lang="en-GB" sz="1000"/>
              <a:t>Greater Amatole Node</a:t>
            </a:r>
            <a:endParaRPr lang="en-GB" sz="1000" dirty="0"/>
          </a:p>
        </p:txBody>
      </p:sp>
      <p:sp>
        <p:nvSpPr>
          <p:cNvPr id="63" name="Rectangle 62"/>
          <p:cNvSpPr>
            <a:spLocks/>
          </p:cNvSpPr>
          <p:nvPr/>
        </p:nvSpPr>
        <p:spPr>
          <a:xfrm>
            <a:off x="6814076" y="1808871"/>
            <a:ext cx="1971872" cy="153888"/>
          </a:xfrm>
          <a:prstGeom prst="rect">
            <a:avLst/>
          </a:prstGeom>
        </p:spPr>
        <p:txBody>
          <a:bodyPr wrap="square" lIns="0" tIns="0" rIns="0" bIns="0">
            <a:spAutoFit/>
          </a:bodyPr>
          <a:lstStyle/>
          <a:p>
            <a:pPr fontAlgn="b"/>
            <a:r>
              <a:rPr lang="en-GB" sz="1000"/>
              <a:t>Greater Pondoland</a:t>
            </a:r>
            <a:endParaRPr lang="en-GB" sz="1000" dirty="0"/>
          </a:p>
        </p:txBody>
      </p:sp>
      <p:sp>
        <p:nvSpPr>
          <p:cNvPr id="65" name="Rectangle 64"/>
          <p:cNvSpPr>
            <a:spLocks/>
          </p:cNvSpPr>
          <p:nvPr/>
        </p:nvSpPr>
        <p:spPr>
          <a:xfrm>
            <a:off x="6814076" y="1996917"/>
            <a:ext cx="1971872" cy="153888"/>
          </a:xfrm>
          <a:prstGeom prst="rect">
            <a:avLst/>
          </a:prstGeom>
        </p:spPr>
        <p:txBody>
          <a:bodyPr wrap="square" lIns="0" tIns="0" rIns="0" bIns="0">
            <a:spAutoFit/>
          </a:bodyPr>
          <a:lstStyle/>
          <a:p>
            <a:pPr fontAlgn="b"/>
            <a:r>
              <a:rPr lang="en-GB" sz="1000" dirty="0"/>
              <a:t>Greater </a:t>
            </a:r>
            <a:r>
              <a:rPr lang="en-GB" sz="1000" dirty="0" err="1"/>
              <a:t>Addo</a:t>
            </a:r>
            <a:endParaRPr lang="en-GB" sz="1000" dirty="0"/>
          </a:p>
        </p:txBody>
      </p:sp>
      <p:sp>
        <p:nvSpPr>
          <p:cNvPr id="57" name="Rectangle 56"/>
          <p:cNvSpPr>
            <a:spLocks/>
          </p:cNvSpPr>
          <p:nvPr/>
        </p:nvSpPr>
        <p:spPr>
          <a:xfrm>
            <a:off x="6814076" y="1244733"/>
            <a:ext cx="1971872" cy="153888"/>
          </a:xfrm>
          <a:prstGeom prst="rect">
            <a:avLst/>
          </a:prstGeom>
        </p:spPr>
        <p:txBody>
          <a:bodyPr wrap="square" lIns="0" tIns="0" rIns="0" bIns="0">
            <a:spAutoFit/>
          </a:bodyPr>
          <a:lstStyle/>
          <a:p>
            <a:pPr fontAlgn="b"/>
            <a:r>
              <a:rPr lang="en-GB" sz="1000" dirty="0"/>
              <a:t>Greater </a:t>
            </a:r>
            <a:r>
              <a:rPr lang="en-GB" sz="1000" dirty="0" err="1"/>
              <a:t>Camdeboe</a:t>
            </a:r>
            <a:r>
              <a:rPr lang="en-GB" sz="1000" dirty="0"/>
              <a:t> Node</a:t>
            </a:r>
          </a:p>
        </p:txBody>
      </p:sp>
      <p:sp>
        <p:nvSpPr>
          <p:cNvPr id="67" name="Rectangle 66"/>
          <p:cNvSpPr>
            <a:spLocks/>
          </p:cNvSpPr>
          <p:nvPr/>
        </p:nvSpPr>
        <p:spPr>
          <a:xfrm>
            <a:off x="6814076" y="2184963"/>
            <a:ext cx="1971872" cy="153888"/>
          </a:xfrm>
          <a:prstGeom prst="rect">
            <a:avLst/>
          </a:prstGeom>
        </p:spPr>
        <p:txBody>
          <a:bodyPr wrap="square" lIns="0" tIns="0" rIns="0" bIns="0">
            <a:spAutoFit/>
          </a:bodyPr>
          <a:lstStyle/>
          <a:p>
            <a:pPr fontAlgn="b"/>
            <a:r>
              <a:rPr lang="en-GB" sz="1000" dirty="0"/>
              <a:t>Greater </a:t>
            </a:r>
            <a:r>
              <a:rPr lang="en-GB" sz="1000" dirty="0" err="1"/>
              <a:t>Tsitsikama</a:t>
            </a:r>
            <a:endParaRPr lang="en-GB" sz="1000" dirty="0"/>
          </a:p>
        </p:txBody>
      </p:sp>
      <p:sp>
        <p:nvSpPr>
          <p:cNvPr id="68" name="Rectangle 67"/>
          <p:cNvSpPr>
            <a:spLocks/>
          </p:cNvSpPr>
          <p:nvPr/>
        </p:nvSpPr>
        <p:spPr>
          <a:xfrm>
            <a:off x="5817000" y="2373009"/>
            <a:ext cx="927383" cy="227755"/>
          </a:xfrm>
          <a:prstGeom prst="rect">
            <a:avLst/>
          </a:prstGeom>
          <a:solidFill>
            <a:schemeClr val="accent1">
              <a:lumMod val="60000"/>
              <a:lumOff val="40000"/>
            </a:schemeClr>
          </a:solidFill>
          <a:ln>
            <a:noFill/>
          </a:ln>
        </p:spPr>
        <p:txBody>
          <a:bodyPr wrap="square" lIns="36576" tIns="36576" rIns="36576" bIns="36576" anchor="ctr" anchorCtr="0">
            <a:spAutoFit/>
          </a:bodyPr>
          <a:lstStyle/>
          <a:p>
            <a:pPr fontAlgn="b"/>
            <a:r>
              <a:rPr lang="en-GB" sz="1000" b="1" dirty="0">
                <a:solidFill>
                  <a:schemeClr val="tx2"/>
                </a:solidFill>
              </a:rPr>
              <a:t>Free State</a:t>
            </a:r>
          </a:p>
        </p:txBody>
      </p:sp>
      <p:sp>
        <p:nvSpPr>
          <p:cNvPr id="69" name="Rectangle 68"/>
          <p:cNvSpPr>
            <a:spLocks/>
          </p:cNvSpPr>
          <p:nvPr/>
        </p:nvSpPr>
        <p:spPr>
          <a:xfrm>
            <a:off x="6814076" y="2409942"/>
            <a:ext cx="1971872" cy="153888"/>
          </a:xfrm>
          <a:prstGeom prst="rect">
            <a:avLst/>
          </a:prstGeom>
        </p:spPr>
        <p:txBody>
          <a:bodyPr wrap="square" lIns="0" tIns="0" rIns="0" bIns="0">
            <a:spAutoFit/>
          </a:bodyPr>
          <a:lstStyle/>
          <a:p>
            <a:pPr fontAlgn="b"/>
            <a:r>
              <a:rPr lang="en-GB" sz="1000" dirty="0"/>
              <a:t>Greater Maloti-Drakensberg </a:t>
            </a:r>
            <a:r>
              <a:rPr lang="en-GB" sz="1000" dirty="0" err="1"/>
              <a:t>TFCA</a:t>
            </a:r>
            <a:endParaRPr lang="en-GB" sz="1000" dirty="0"/>
          </a:p>
        </p:txBody>
      </p:sp>
      <p:sp>
        <p:nvSpPr>
          <p:cNvPr id="70" name="Rectangle 69"/>
          <p:cNvSpPr>
            <a:spLocks/>
          </p:cNvSpPr>
          <p:nvPr/>
        </p:nvSpPr>
        <p:spPr>
          <a:xfrm>
            <a:off x="5817000" y="2634922"/>
            <a:ext cx="927383" cy="341934"/>
          </a:xfrm>
          <a:prstGeom prst="rect">
            <a:avLst/>
          </a:prstGeom>
          <a:solidFill>
            <a:schemeClr val="accent1">
              <a:lumMod val="60000"/>
              <a:lumOff val="40000"/>
            </a:schemeClr>
          </a:solidFill>
          <a:ln>
            <a:noFill/>
          </a:ln>
        </p:spPr>
        <p:txBody>
          <a:bodyPr wrap="square" lIns="36576" tIns="36576" rIns="36576" bIns="36576" anchor="ctr" anchorCtr="0">
            <a:noAutofit/>
          </a:bodyPr>
          <a:lstStyle/>
          <a:p>
            <a:pPr fontAlgn="b"/>
            <a:r>
              <a:rPr lang="en-GB" sz="1000" b="1">
                <a:solidFill>
                  <a:schemeClr val="tx2"/>
                </a:solidFill>
              </a:rPr>
              <a:t>Gauteng</a:t>
            </a:r>
            <a:endParaRPr lang="en-GB" sz="1000" b="1" dirty="0">
              <a:solidFill>
                <a:schemeClr val="tx2"/>
              </a:solidFill>
            </a:endParaRPr>
          </a:p>
        </p:txBody>
      </p:sp>
      <p:sp>
        <p:nvSpPr>
          <p:cNvPr id="71" name="Rectangle 70"/>
          <p:cNvSpPr>
            <a:spLocks/>
          </p:cNvSpPr>
          <p:nvPr/>
        </p:nvSpPr>
        <p:spPr>
          <a:xfrm>
            <a:off x="6814076" y="2634922"/>
            <a:ext cx="1971872" cy="153888"/>
          </a:xfrm>
          <a:prstGeom prst="rect">
            <a:avLst/>
          </a:prstGeom>
        </p:spPr>
        <p:txBody>
          <a:bodyPr wrap="square" lIns="0" tIns="0" rIns="0" bIns="0">
            <a:spAutoFit/>
          </a:bodyPr>
          <a:lstStyle/>
          <a:p>
            <a:pPr fontAlgn="b"/>
            <a:r>
              <a:rPr lang="en-GB" sz="1000" dirty="0"/>
              <a:t>Greater </a:t>
            </a:r>
            <a:r>
              <a:rPr lang="en-GB" sz="1000" dirty="0" err="1"/>
              <a:t>Wesrand</a:t>
            </a:r>
            <a:endParaRPr lang="en-GB" sz="1000" dirty="0"/>
          </a:p>
        </p:txBody>
      </p:sp>
      <p:sp>
        <p:nvSpPr>
          <p:cNvPr id="73" name="Rectangle 72"/>
          <p:cNvSpPr>
            <a:spLocks/>
          </p:cNvSpPr>
          <p:nvPr/>
        </p:nvSpPr>
        <p:spPr>
          <a:xfrm>
            <a:off x="6814076" y="2822968"/>
            <a:ext cx="1971872" cy="153888"/>
          </a:xfrm>
          <a:prstGeom prst="rect">
            <a:avLst/>
          </a:prstGeom>
        </p:spPr>
        <p:txBody>
          <a:bodyPr wrap="square" lIns="0" tIns="0" rIns="0" bIns="0">
            <a:spAutoFit/>
          </a:bodyPr>
          <a:lstStyle/>
          <a:p>
            <a:pPr fontAlgn="b"/>
            <a:r>
              <a:rPr lang="en-GB" sz="1000"/>
              <a:t>Dinokeng</a:t>
            </a:r>
            <a:endParaRPr lang="en-GB" sz="1000" dirty="0"/>
          </a:p>
        </p:txBody>
      </p:sp>
      <p:sp>
        <p:nvSpPr>
          <p:cNvPr id="74" name="Rectangle 73"/>
          <p:cNvSpPr>
            <a:spLocks/>
          </p:cNvSpPr>
          <p:nvPr/>
        </p:nvSpPr>
        <p:spPr>
          <a:xfrm>
            <a:off x="5817000" y="3011014"/>
            <a:ext cx="927383" cy="341934"/>
          </a:xfrm>
          <a:prstGeom prst="rect">
            <a:avLst/>
          </a:prstGeom>
          <a:solidFill>
            <a:schemeClr val="accent1">
              <a:lumMod val="60000"/>
              <a:lumOff val="40000"/>
            </a:schemeClr>
          </a:solidFill>
          <a:ln>
            <a:noFill/>
          </a:ln>
        </p:spPr>
        <p:txBody>
          <a:bodyPr wrap="square" lIns="36576" tIns="36576" rIns="36576" bIns="36576" anchor="ctr" anchorCtr="0">
            <a:noAutofit/>
          </a:bodyPr>
          <a:lstStyle/>
          <a:p>
            <a:pPr fontAlgn="b"/>
            <a:r>
              <a:rPr lang="en-GB" sz="1000" b="1" dirty="0">
                <a:solidFill>
                  <a:schemeClr val="tx2"/>
                </a:solidFill>
              </a:rPr>
              <a:t>Kwa-Zulu Natal</a:t>
            </a:r>
          </a:p>
        </p:txBody>
      </p:sp>
      <p:sp>
        <p:nvSpPr>
          <p:cNvPr id="75" name="Rectangle 74"/>
          <p:cNvSpPr>
            <a:spLocks/>
          </p:cNvSpPr>
          <p:nvPr/>
        </p:nvSpPr>
        <p:spPr>
          <a:xfrm>
            <a:off x="6814076" y="3011014"/>
            <a:ext cx="1971872" cy="153888"/>
          </a:xfrm>
          <a:prstGeom prst="rect">
            <a:avLst/>
          </a:prstGeom>
        </p:spPr>
        <p:txBody>
          <a:bodyPr wrap="square" lIns="0" tIns="0" rIns="0" bIns="0">
            <a:spAutoFit/>
          </a:bodyPr>
          <a:lstStyle/>
          <a:p>
            <a:pPr fontAlgn="b"/>
            <a:r>
              <a:rPr lang="en-GB" sz="1000" dirty="0" err="1"/>
              <a:t>Hluhluwe</a:t>
            </a:r>
            <a:r>
              <a:rPr lang="en-GB" sz="1000" dirty="0"/>
              <a:t> Node</a:t>
            </a:r>
          </a:p>
        </p:txBody>
      </p:sp>
      <p:sp>
        <p:nvSpPr>
          <p:cNvPr id="77" name="Rectangle 76"/>
          <p:cNvSpPr>
            <a:spLocks/>
          </p:cNvSpPr>
          <p:nvPr/>
        </p:nvSpPr>
        <p:spPr>
          <a:xfrm>
            <a:off x="6814076" y="3199060"/>
            <a:ext cx="1971872" cy="153888"/>
          </a:xfrm>
          <a:prstGeom prst="rect">
            <a:avLst/>
          </a:prstGeom>
        </p:spPr>
        <p:txBody>
          <a:bodyPr wrap="square" lIns="0" tIns="0" rIns="0" bIns="0">
            <a:spAutoFit/>
          </a:bodyPr>
          <a:lstStyle/>
          <a:p>
            <a:pPr fontAlgn="b"/>
            <a:r>
              <a:rPr lang="en-GB" sz="1000"/>
              <a:t>Mkahnyakude</a:t>
            </a:r>
            <a:endParaRPr lang="en-GB" sz="1000" dirty="0"/>
          </a:p>
        </p:txBody>
      </p:sp>
      <p:sp>
        <p:nvSpPr>
          <p:cNvPr id="78" name="Rectangle 77"/>
          <p:cNvSpPr>
            <a:spLocks/>
          </p:cNvSpPr>
          <p:nvPr/>
        </p:nvSpPr>
        <p:spPr>
          <a:xfrm>
            <a:off x="5817000" y="3387106"/>
            <a:ext cx="927383" cy="906072"/>
          </a:xfrm>
          <a:prstGeom prst="rect">
            <a:avLst/>
          </a:prstGeom>
          <a:solidFill>
            <a:schemeClr val="accent1">
              <a:lumMod val="60000"/>
              <a:lumOff val="40000"/>
            </a:schemeClr>
          </a:solidFill>
          <a:ln>
            <a:noFill/>
          </a:ln>
        </p:spPr>
        <p:txBody>
          <a:bodyPr wrap="square" lIns="36576" tIns="36576" rIns="36576" bIns="36576" anchor="ctr" anchorCtr="0">
            <a:noAutofit/>
          </a:bodyPr>
          <a:lstStyle/>
          <a:p>
            <a:pPr fontAlgn="b"/>
            <a:r>
              <a:rPr lang="en-GB" sz="1000" b="1" dirty="0">
                <a:solidFill>
                  <a:schemeClr val="tx2"/>
                </a:solidFill>
              </a:rPr>
              <a:t>Limpopo</a:t>
            </a:r>
          </a:p>
        </p:txBody>
      </p:sp>
      <p:sp>
        <p:nvSpPr>
          <p:cNvPr id="81" name="Rectangle 80"/>
          <p:cNvSpPr>
            <a:spLocks/>
          </p:cNvSpPr>
          <p:nvPr/>
        </p:nvSpPr>
        <p:spPr>
          <a:xfrm>
            <a:off x="6814076" y="3575152"/>
            <a:ext cx="1971872" cy="153888"/>
          </a:xfrm>
          <a:prstGeom prst="rect">
            <a:avLst/>
          </a:prstGeom>
        </p:spPr>
        <p:txBody>
          <a:bodyPr wrap="square" lIns="0" tIns="0" rIns="0" bIns="0">
            <a:spAutoFit/>
          </a:bodyPr>
          <a:lstStyle/>
          <a:p>
            <a:pPr fontAlgn="b"/>
            <a:r>
              <a:rPr lang="en-GB" sz="1000"/>
              <a:t>Greater Letaba</a:t>
            </a:r>
            <a:endParaRPr lang="en-GB" sz="1000" dirty="0"/>
          </a:p>
        </p:txBody>
      </p:sp>
      <p:sp>
        <p:nvSpPr>
          <p:cNvPr id="83" name="Rectangle 82"/>
          <p:cNvSpPr>
            <a:spLocks/>
          </p:cNvSpPr>
          <p:nvPr/>
        </p:nvSpPr>
        <p:spPr>
          <a:xfrm>
            <a:off x="6814076" y="3763198"/>
            <a:ext cx="1971872" cy="153888"/>
          </a:xfrm>
          <a:prstGeom prst="rect">
            <a:avLst/>
          </a:prstGeom>
        </p:spPr>
        <p:txBody>
          <a:bodyPr wrap="square" lIns="0" tIns="0" rIns="0" bIns="0">
            <a:spAutoFit/>
          </a:bodyPr>
          <a:lstStyle/>
          <a:p>
            <a:pPr fontAlgn="b"/>
            <a:r>
              <a:rPr lang="en-GB" sz="1000"/>
              <a:t>Greater Legalametsi </a:t>
            </a:r>
            <a:endParaRPr lang="en-GB" sz="1000" dirty="0"/>
          </a:p>
        </p:txBody>
      </p:sp>
      <p:sp>
        <p:nvSpPr>
          <p:cNvPr id="85" name="Rectangle 84"/>
          <p:cNvSpPr>
            <a:spLocks/>
          </p:cNvSpPr>
          <p:nvPr/>
        </p:nvSpPr>
        <p:spPr>
          <a:xfrm>
            <a:off x="6814076" y="3951244"/>
            <a:ext cx="1971872" cy="153888"/>
          </a:xfrm>
          <a:prstGeom prst="rect">
            <a:avLst/>
          </a:prstGeom>
        </p:spPr>
        <p:txBody>
          <a:bodyPr wrap="square" lIns="0" tIns="0" rIns="0" bIns="0">
            <a:spAutoFit/>
          </a:bodyPr>
          <a:lstStyle/>
          <a:p>
            <a:pPr fontAlgn="b"/>
            <a:r>
              <a:rPr lang="en-GB" sz="1000" dirty="0"/>
              <a:t>Greater </a:t>
            </a:r>
            <a:r>
              <a:rPr lang="en-GB" sz="1000" dirty="0" err="1"/>
              <a:t>Entabeni</a:t>
            </a:r>
            <a:endParaRPr lang="en-GB" sz="1000" dirty="0"/>
          </a:p>
        </p:txBody>
      </p:sp>
      <p:sp>
        <p:nvSpPr>
          <p:cNvPr id="79" name="Rectangle 78"/>
          <p:cNvSpPr>
            <a:spLocks/>
          </p:cNvSpPr>
          <p:nvPr/>
        </p:nvSpPr>
        <p:spPr>
          <a:xfrm>
            <a:off x="6814076" y="3387106"/>
            <a:ext cx="1971872" cy="153888"/>
          </a:xfrm>
          <a:prstGeom prst="rect">
            <a:avLst/>
          </a:prstGeom>
        </p:spPr>
        <p:txBody>
          <a:bodyPr wrap="square" lIns="0" tIns="0" rIns="0" bIns="0">
            <a:spAutoFit/>
          </a:bodyPr>
          <a:lstStyle/>
          <a:p>
            <a:pPr fontAlgn="b"/>
            <a:r>
              <a:rPr lang="en-GB" sz="1000" dirty="0"/>
              <a:t>Greater </a:t>
            </a:r>
            <a:r>
              <a:rPr lang="en-GB" sz="1000" dirty="0" err="1"/>
              <a:t>Makuleke</a:t>
            </a:r>
            <a:endParaRPr lang="en-GB" sz="1000" dirty="0"/>
          </a:p>
        </p:txBody>
      </p:sp>
      <p:sp>
        <p:nvSpPr>
          <p:cNvPr id="87" name="Rectangle 86"/>
          <p:cNvSpPr>
            <a:spLocks/>
          </p:cNvSpPr>
          <p:nvPr/>
        </p:nvSpPr>
        <p:spPr>
          <a:xfrm>
            <a:off x="6814076" y="4139290"/>
            <a:ext cx="1971872" cy="153888"/>
          </a:xfrm>
          <a:prstGeom prst="rect">
            <a:avLst/>
          </a:prstGeom>
        </p:spPr>
        <p:txBody>
          <a:bodyPr wrap="square" lIns="0" tIns="0" rIns="0" bIns="0">
            <a:spAutoFit/>
          </a:bodyPr>
          <a:lstStyle/>
          <a:p>
            <a:pPr fontAlgn="b"/>
            <a:r>
              <a:rPr lang="en-GB" sz="1000" dirty="0"/>
              <a:t>Greater </a:t>
            </a:r>
            <a:r>
              <a:rPr lang="en-GB" sz="1000" dirty="0" err="1"/>
              <a:t>Masebe</a:t>
            </a:r>
            <a:endParaRPr lang="en-GB" sz="1000" dirty="0"/>
          </a:p>
        </p:txBody>
      </p:sp>
      <p:sp>
        <p:nvSpPr>
          <p:cNvPr id="88" name="Rectangle 87"/>
          <p:cNvSpPr>
            <a:spLocks/>
          </p:cNvSpPr>
          <p:nvPr/>
        </p:nvSpPr>
        <p:spPr>
          <a:xfrm>
            <a:off x="5817000" y="4327336"/>
            <a:ext cx="927383" cy="341934"/>
          </a:xfrm>
          <a:prstGeom prst="rect">
            <a:avLst/>
          </a:prstGeom>
          <a:solidFill>
            <a:schemeClr val="accent1">
              <a:lumMod val="60000"/>
              <a:lumOff val="40000"/>
            </a:schemeClr>
          </a:solidFill>
          <a:ln>
            <a:noFill/>
          </a:ln>
        </p:spPr>
        <p:txBody>
          <a:bodyPr wrap="square" lIns="36576" tIns="36576" rIns="36576" bIns="36576" anchor="ctr" anchorCtr="0">
            <a:noAutofit/>
          </a:bodyPr>
          <a:lstStyle/>
          <a:p>
            <a:pPr fontAlgn="b"/>
            <a:r>
              <a:rPr lang="en-GB" sz="1000" b="1" dirty="0">
                <a:solidFill>
                  <a:schemeClr val="tx2"/>
                </a:solidFill>
              </a:rPr>
              <a:t>Mpumalanga</a:t>
            </a:r>
          </a:p>
        </p:txBody>
      </p:sp>
      <p:sp>
        <p:nvSpPr>
          <p:cNvPr id="89" name="Rectangle 88"/>
          <p:cNvSpPr>
            <a:spLocks/>
          </p:cNvSpPr>
          <p:nvPr/>
        </p:nvSpPr>
        <p:spPr>
          <a:xfrm>
            <a:off x="6814076" y="4327336"/>
            <a:ext cx="1971872" cy="153888"/>
          </a:xfrm>
          <a:prstGeom prst="rect">
            <a:avLst/>
          </a:prstGeom>
        </p:spPr>
        <p:txBody>
          <a:bodyPr wrap="square" lIns="0" tIns="0" rIns="0" bIns="0">
            <a:spAutoFit/>
          </a:bodyPr>
          <a:lstStyle/>
          <a:p>
            <a:pPr fontAlgn="b"/>
            <a:r>
              <a:rPr lang="en-GB" sz="1000" dirty="0"/>
              <a:t>Mpumalanga Nodes</a:t>
            </a:r>
          </a:p>
        </p:txBody>
      </p:sp>
      <p:sp>
        <p:nvSpPr>
          <p:cNvPr id="91" name="Rectangle 90"/>
          <p:cNvSpPr>
            <a:spLocks/>
          </p:cNvSpPr>
          <p:nvPr/>
        </p:nvSpPr>
        <p:spPr>
          <a:xfrm>
            <a:off x="6814076" y="4515382"/>
            <a:ext cx="1971872" cy="153888"/>
          </a:xfrm>
          <a:prstGeom prst="rect">
            <a:avLst/>
          </a:prstGeom>
        </p:spPr>
        <p:txBody>
          <a:bodyPr wrap="square" lIns="0" tIns="0" rIns="0" bIns="0">
            <a:spAutoFit/>
          </a:bodyPr>
          <a:lstStyle/>
          <a:p>
            <a:pPr fontAlgn="b"/>
            <a:r>
              <a:rPr lang="en-GB" sz="1000"/>
              <a:t>Barberton Node</a:t>
            </a:r>
            <a:endParaRPr lang="en-GB" sz="1000" dirty="0"/>
          </a:p>
        </p:txBody>
      </p:sp>
      <p:sp>
        <p:nvSpPr>
          <p:cNvPr id="92" name="Rectangle 91"/>
          <p:cNvSpPr>
            <a:spLocks/>
          </p:cNvSpPr>
          <p:nvPr/>
        </p:nvSpPr>
        <p:spPr>
          <a:xfrm>
            <a:off x="5817000" y="4703428"/>
            <a:ext cx="927383" cy="718026"/>
          </a:xfrm>
          <a:prstGeom prst="rect">
            <a:avLst/>
          </a:prstGeom>
          <a:solidFill>
            <a:schemeClr val="accent1">
              <a:lumMod val="60000"/>
              <a:lumOff val="40000"/>
            </a:schemeClr>
          </a:solidFill>
          <a:ln>
            <a:noFill/>
          </a:ln>
        </p:spPr>
        <p:txBody>
          <a:bodyPr wrap="square" lIns="36576" tIns="36576" rIns="36576" bIns="36576" anchor="ctr" anchorCtr="0">
            <a:noAutofit/>
          </a:bodyPr>
          <a:lstStyle/>
          <a:p>
            <a:pPr fontAlgn="b"/>
            <a:r>
              <a:rPr lang="en-GB" sz="1000" b="1" dirty="0">
                <a:solidFill>
                  <a:schemeClr val="tx2"/>
                </a:solidFill>
              </a:rPr>
              <a:t>North West</a:t>
            </a:r>
          </a:p>
        </p:txBody>
      </p:sp>
      <p:sp>
        <p:nvSpPr>
          <p:cNvPr id="95" name="Rectangle 94"/>
          <p:cNvSpPr>
            <a:spLocks/>
          </p:cNvSpPr>
          <p:nvPr/>
        </p:nvSpPr>
        <p:spPr>
          <a:xfrm>
            <a:off x="6814076" y="4891474"/>
            <a:ext cx="1971872" cy="153888"/>
          </a:xfrm>
          <a:prstGeom prst="rect">
            <a:avLst/>
          </a:prstGeom>
        </p:spPr>
        <p:txBody>
          <a:bodyPr wrap="square" lIns="0" tIns="0" rIns="0" bIns="0">
            <a:spAutoFit/>
          </a:bodyPr>
          <a:lstStyle/>
          <a:p>
            <a:pPr fontAlgn="b"/>
            <a:r>
              <a:rPr lang="en-GB" sz="1000"/>
              <a:t>Greater Madikwe</a:t>
            </a:r>
            <a:endParaRPr lang="en-GB" sz="1000" dirty="0"/>
          </a:p>
        </p:txBody>
      </p:sp>
      <p:sp>
        <p:nvSpPr>
          <p:cNvPr id="97" name="Rectangle 96"/>
          <p:cNvSpPr>
            <a:spLocks/>
          </p:cNvSpPr>
          <p:nvPr/>
        </p:nvSpPr>
        <p:spPr>
          <a:xfrm>
            <a:off x="6814076" y="5079520"/>
            <a:ext cx="1971872" cy="153888"/>
          </a:xfrm>
          <a:prstGeom prst="rect">
            <a:avLst/>
          </a:prstGeom>
        </p:spPr>
        <p:txBody>
          <a:bodyPr wrap="square" lIns="0" tIns="0" rIns="0" bIns="0">
            <a:spAutoFit/>
          </a:bodyPr>
          <a:lstStyle/>
          <a:p>
            <a:pPr fontAlgn="b"/>
            <a:r>
              <a:rPr lang="en-GB" sz="1000"/>
              <a:t>Greater Brits Node</a:t>
            </a:r>
            <a:endParaRPr lang="en-GB" sz="1000" dirty="0"/>
          </a:p>
        </p:txBody>
      </p:sp>
      <p:sp>
        <p:nvSpPr>
          <p:cNvPr id="93" name="Rectangle 92"/>
          <p:cNvSpPr>
            <a:spLocks/>
          </p:cNvSpPr>
          <p:nvPr/>
        </p:nvSpPr>
        <p:spPr>
          <a:xfrm>
            <a:off x="6814076" y="4703428"/>
            <a:ext cx="1971872" cy="153888"/>
          </a:xfrm>
          <a:prstGeom prst="rect">
            <a:avLst/>
          </a:prstGeom>
        </p:spPr>
        <p:txBody>
          <a:bodyPr wrap="square" lIns="0" tIns="0" rIns="0" bIns="0">
            <a:spAutoFit/>
          </a:bodyPr>
          <a:lstStyle/>
          <a:p>
            <a:pPr fontAlgn="b"/>
            <a:r>
              <a:rPr lang="en-GB" sz="1000" dirty="0"/>
              <a:t>Marico District Node</a:t>
            </a:r>
          </a:p>
        </p:txBody>
      </p:sp>
      <p:sp>
        <p:nvSpPr>
          <p:cNvPr id="99" name="Rectangle 98"/>
          <p:cNvSpPr>
            <a:spLocks/>
          </p:cNvSpPr>
          <p:nvPr/>
        </p:nvSpPr>
        <p:spPr>
          <a:xfrm>
            <a:off x="6814076" y="5267566"/>
            <a:ext cx="1971872" cy="153888"/>
          </a:xfrm>
          <a:prstGeom prst="rect">
            <a:avLst/>
          </a:prstGeom>
        </p:spPr>
        <p:txBody>
          <a:bodyPr wrap="square" lIns="0" tIns="0" rIns="0" bIns="0">
            <a:spAutoFit/>
          </a:bodyPr>
          <a:lstStyle/>
          <a:p>
            <a:pPr fontAlgn="b"/>
            <a:r>
              <a:rPr lang="en-GB" sz="1000" dirty="0"/>
              <a:t>Greater </a:t>
            </a:r>
            <a:r>
              <a:rPr lang="en-GB" sz="1000" dirty="0" err="1"/>
              <a:t>Dellareyville</a:t>
            </a:r>
            <a:r>
              <a:rPr lang="en-GB" sz="1000" dirty="0"/>
              <a:t> Node</a:t>
            </a:r>
          </a:p>
        </p:txBody>
      </p:sp>
      <p:sp>
        <p:nvSpPr>
          <p:cNvPr id="100" name="Rectangle 99"/>
          <p:cNvSpPr>
            <a:spLocks/>
          </p:cNvSpPr>
          <p:nvPr/>
        </p:nvSpPr>
        <p:spPr>
          <a:xfrm>
            <a:off x="5817000" y="5455612"/>
            <a:ext cx="927383" cy="529980"/>
          </a:xfrm>
          <a:prstGeom prst="rect">
            <a:avLst/>
          </a:prstGeom>
          <a:solidFill>
            <a:schemeClr val="accent1">
              <a:lumMod val="60000"/>
              <a:lumOff val="40000"/>
            </a:schemeClr>
          </a:solidFill>
          <a:ln>
            <a:noFill/>
          </a:ln>
        </p:spPr>
        <p:txBody>
          <a:bodyPr wrap="square" lIns="36576" tIns="36576" rIns="36576" bIns="36576" anchor="ctr" anchorCtr="0">
            <a:noAutofit/>
          </a:bodyPr>
          <a:lstStyle/>
          <a:p>
            <a:pPr fontAlgn="b"/>
            <a:r>
              <a:rPr lang="en-GB" sz="1000" b="1" dirty="0">
                <a:solidFill>
                  <a:schemeClr val="tx2"/>
                </a:solidFill>
              </a:rPr>
              <a:t>Northern Cape</a:t>
            </a:r>
          </a:p>
        </p:txBody>
      </p:sp>
      <p:sp>
        <p:nvSpPr>
          <p:cNvPr id="103" name="Rectangle 102"/>
          <p:cNvSpPr>
            <a:spLocks/>
          </p:cNvSpPr>
          <p:nvPr/>
        </p:nvSpPr>
        <p:spPr>
          <a:xfrm>
            <a:off x="6814076" y="5643658"/>
            <a:ext cx="1971872" cy="153888"/>
          </a:xfrm>
          <a:prstGeom prst="rect">
            <a:avLst/>
          </a:prstGeom>
        </p:spPr>
        <p:txBody>
          <a:bodyPr wrap="square" lIns="0" tIns="0" rIns="0" bIns="0">
            <a:spAutoFit/>
          </a:bodyPr>
          <a:lstStyle/>
          <a:p>
            <a:pPr fontAlgn="b"/>
            <a:r>
              <a:rPr lang="en-GB" sz="1000"/>
              <a:t>Richtersveld</a:t>
            </a:r>
            <a:endParaRPr lang="en-GB" sz="1000" dirty="0"/>
          </a:p>
        </p:txBody>
      </p:sp>
      <p:cxnSp>
        <p:nvCxnSpPr>
          <p:cNvPr id="18442" name="Straight Connector 18441"/>
          <p:cNvCxnSpPr>
            <a:cxnSpLocks/>
          </p:cNvCxnSpPr>
          <p:nvPr/>
        </p:nvCxnSpPr>
        <p:spPr>
          <a:xfrm>
            <a:off x="6814076" y="1603746"/>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cxnSpLocks/>
          </p:cNvCxnSpPr>
          <p:nvPr/>
        </p:nvCxnSpPr>
        <p:spPr>
          <a:xfrm>
            <a:off x="6814076" y="1791792"/>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cxnSpLocks/>
          </p:cNvCxnSpPr>
          <p:nvPr/>
        </p:nvCxnSpPr>
        <p:spPr>
          <a:xfrm>
            <a:off x="6814076" y="1415700"/>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cxnSpLocks/>
          </p:cNvCxnSpPr>
          <p:nvPr/>
        </p:nvCxnSpPr>
        <p:spPr>
          <a:xfrm>
            <a:off x="6814076" y="1979838"/>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a:cxnSpLocks/>
          </p:cNvCxnSpPr>
          <p:nvPr/>
        </p:nvCxnSpPr>
        <p:spPr>
          <a:xfrm>
            <a:off x="6814076" y="2167884"/>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cxnSpLocks/>
          </p:cNvCxnSpPr>
          <p:nvPr/>
        </p:nvCxnSpPr>
        <p:spPr>
          <a:xfrm>
            <a:off x="6814076" y="2355930"/>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a:cxnSpLocks/>
          </p:cNvCxnSpPr>
          <p:nvPr/>
        </p:nvCxnSpPr>
        <p:spPr>
          <a:xfrm>
            <a:off x="6814076" y="2617843"/>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cxnSpLocks/>
          </p:cNvCxnSpPr>
          <p:nvPr/>
        </p:nvCxnSpPr>
        <p:spPr>
          <a:xfrm>
            <a:off x="6814076" y="2805889"/>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cxnSpLocks/>
          </p:cNvCxnSpPr>
          <p:nvPr/>
        </p:nvCxnSpPr>
        <p:spPr>
          <a:xfrm>
            <a:off x="6814076" y="2993935"/>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p:cNvCxnSpPr>
          <p:nvPr/>
        </p:nvCxnSpPr>
        <p:spPr>
          <a:xfrm>
            <a:off x="6814076" y="3181981"/>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cxnSpLocks/>
          </p:cNvCxnSpPr>
          <p:nvPr/>
        </p:nvCxnSpPr>
        <p:spPr>
          <a:xfrm>
            <a:off x="6814076" y="3370027"/>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cxnSpLocks/>
          </p:cNvCxnSpPr>
          <p:nvPr/>
        </p:nvCxnSpPr>
        <p:spPr>
          <a:xfrm>
            <a:off x="6814076" y="3558073"/>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a:cxnSpLocks/>
          </p:cNvCxnSpPr>
          <p:nvPr/>
        </p:nvCxnSpPr>
        <p:spPr>
          <a:xfrm>
            <a:off x="6814076" y="3746119"/>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a:cxnSpLocks/>
          </p:cNvCxnSpPr>
          <p:nvPr/>
        </p:nvCxnSpPr>
        <p:spPr>
          <a:xfrm>
            <a:off x="6814076" y="3934165"/>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cxnSpLocks/>
          </p:cNvCxnSpPr>
          <p:nvPr/>
        </p:nvCxnSpPr>
        <p:spPr>
          <a:xfrm>
            <a:off x="6814076" y="4310257"/>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a:cxnSpLocks/>
          </p:cNvCxnSpPr>
          <p:nvPr/>
        </p:nvCxnSpPr>
        <p:spPr>
          <a:xfrm>
            <a:off x="6814076" y="4498303"/>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cxnSpLocks/>
          </p:cNvCxnSpPr>
          <p:nvPr/>
        </p:nvCxnSpPr>
        <p:spPr>
          <a:xfrm>
            <a:off x="6814076" y="4686349"/>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cxnSpLocks/>
          </p:cNvCxnSpPr>
          <p:nvPr/>
        </p:nvCxnSpPr>
        <p:spPr>
          <a:xfrm>
            <a:off x="6814076" y="4874395"/>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a:cxnSpLocks/>
          </p:cNvCxnSpPr>
          <p:nvPr/>
        </p:nvCxnSpPr>
        <p:spPr>
          <a:xfrm>
            <a:off x="6814076" y="5062441"/>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a:cxnSpLocks/>
          </p:cNvCxnSpPr>
          <p:nvPr/>
        </p:nvCxnSpPr>
        <p:spPr>
          <a:xfrm>
            <a:off x="6814076" y="5626579"/>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a:cxnSpLocks/>
          </p:cNvCxnSpPr>
          <p:nvPr/>
        </p:nvCxnSpPr>
        <p:spPr>
          <a:xfrm>
            <a:off x="6814076" y="5250487"/>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a:cxnSpLocks/>
          </p:cNvCxnSpPr>
          <p:nvPr/>
        </p:nvCxnSpPr>
        <p:spPr>
          <a:xfrm>
            <a:off x="6814076" y="5438533"/>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cxnSpLocks/>
          </p:cNvCxnSpPr>
          <p:nvPr/>
        </p:nvCxnSpPr>
        <p:spPr>
          <a:xfrm>
            <a:off x="6814076" y="5814625"/>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18445" name="Group 18444"/>
          <p:cNvGrpSpPr>
            <a:grpSpLocks/>
          </p:cNvGrpSpPr>
          <p:nvPr/>
        </p:nvGrpSpPr>
        <p:grpSpPr>
          <a:xfrm>
            <a:off x="6814076" y="1044912"/>
            <a:ext cx="1971872" cy="164645"/>
            <a:chOff x="6818116" y="1192688"/>
            <a:chExt cx="1971872" cy="164645"/>
          </a:xfrm>
        </p:grpSpPr>
        <p:sp>
          <p:nvSpPr>
            <p:cNvPr id="4" name="Rectangle 3"/>
            <p:cNvSpPr>
              <a:spLocks/>
            </p:cNvSpPr>
            <p:nvPr/>
          </p:nvSpPr>
          <p:spPr>
            <a:xfrm>
              <a:off x="6818116" y="1192688"/>
              <a:ext cx="1971872" cy="153888"/>
            </a:xfrm>
            <a:prstGeom prst="rect">
              <a:avLst/>
            </a:prstGeom>
          </p:spPr>
          <p:txBody>
            <a:bodyPr wrap="square" lIns="0" tIns="0" rIns="0" bIns="0">
              <a:spAutoFit/>
            </a:bodyPr>
            <a:lstStyle/>
            <a:p>
              <a:pPr fontAlgn="b"/>
              <a:r>
                <a:rPr lang="en-GB" sz="1000" b="1" dirty="0">
                  <a:solidFill>
                    <a:schemeClr val="tx2"/>
                  </a:solidFill>
                </a:rPr>
                <a:t>Location</a:t>
              </a:r>
              <a:endParaRPr lang="en-GB" sz="1000" b="1" dirty="0">
                <a:solidFill>
                  <a:schemeClr val="tx2"/>
                </a:solidFill>
                <a:latin typeface="Arial" panose="020B0604020202020204" pitchFamily="34" charset="0"/>
              </a:endParaRPr>
            </a:p>
          </p:txBody>
        </p:sp>
        <p:cxnSp>
          <p:nvCxnSpPr>
            <p:cNvPr id="152" name="Straight Connector 151"/>
            <p:cNvCxnSpPr>
              <a:cxnSpLocks/>
            </p:cNvCxnSpPr>
            <p:nvPr/>
          </p:nvCxnSpPr>
          <p:spPr>
            <a:xfrm>
              <a:off x="6818116" y="1357333"/>
              <a:ext cx="1971872" cy="0"/>
            </a:xfrm>
            <a:prstGeom prst="line">
              <a:avLst/>
            </a:prstGeom>
            <a:ln w="6350">
              <a:solidFill>
                <a:schemeClr val="accent6"/>
              </a:solidFill>
              <a:prstDash val="solid"/>
            </a:ln>
          </p:spPr>
          <p:style>
            <a:lnRef idx="1">
              <a:schemeClr val="accent1"/>
            </a:lnRef>
            <a:fillRef idx="0">
              <a:schemeClr val="accent1"/>
            </a:fillRef>
            <a:effectRef idx="0">
              <a:schemeClr val="accent1"/>
            </a:effectRef>
            <a:fontRef idx="minor">
              <a:schemeClr val="tx1"/>
            </a:fontRef>
          </p:style>
        </p:cxnSp>
      </p:grpSp>
      <p:sp>
        <p:nvSpPr>
          <p:cNvPr id="5" name="Rectangle 4"/>
          <p:cNvSpPr>
            <a:spLocks/>
          </p:cNvSpPr>
          <p:nvPr/>
        </p:nvSpPr>
        <p:spPr>
          <a:xfrm>
            <a:off x="5817000" y="1044912"/>
            <a:ext cx="927383" cy="153888"/>
          </a:xfrm>
          <a:prstGeom prst="rect">
            <a:avLst/>
          </a:prstGeom>
        </p:spPr>
        <p:txBody>
          <a:bodyPr wrap="square" lIns="0" tIns="0" rIns="0" bIns="0">
            <a:spAutoFit/>
          </a:bodyPr>
          <a:lstStyle/>
          <a:p>
            <a:pPr fontAlgn="b"/>
            <a:r>
              <a:rPr lang="en-GB" sz="1000" b="1" dirty="0">
                <a:solidFill>
                  <a:schemeClr val="tx2"/>
                </a:solidFill>
              </a:rPr>
              <a:t>Province</a:t>
            </a:r>
            <a:endParaRPr lang="en-GB" sz="1000" b="1" dirty="0">
              <a:solidFill>
                <a:schemeClr val="tx2"/>
              </a:solidFill>
              <a:latin typeface="Arial" panose="020B0604020202020204" pitchFamily="34" charset="0"/>
            </a:endParaRPr>
          </a:p>
        </p:txBody>
      </p:sp>
      <p:sp>
        <p:nvSpPr>
          <p:cNvPr id="105" name="Rectangle 104"/>
          <p:cNvSpPr>
            <a:spLocks/>
          </p:cNvSpPr>
          <p:nvPr/>
        </p:nvSpPr>
        <p:spPr>
          <a:xfrm>
            <a:off x="6814076" y="5831704"/>
            <a:ext cx="1971872" cy="153888"/>
          </a:xfrm>
          <a:prstGeom prst="rect">
            <a:avLst/>
          </a:prstGeom>
        </p:spPr>
        <p:txBody>
          <a:bodyPr wrap="square" lIns="0" tIns="0" rIns="0" bIns="0">
            <a:spAutoFit/>
          </a:bodyPr>
          <a:lstStyle/>
          <a:p>
            <a:pPr fontAlgn="b"/>
            <a:r>
              <a:rPr lang="en-GB" sz="1000" dirty="0" err="1"/>
              <a:t>Knomani</a:t>
            </a:r>
            <a:r>
              <a:rPr lang="en-GB" sz="1000" dirty="0"/>
              <a:t> San (</a:t>
            </a:r>
            <a:r>
              <a:rPr lang="en-GB" sz="1000" dirty="0" err="1"/>
              <a:t>Kgalagadi</a:t>
            </a:r>
            <a:r>
              <a:rPr lang="en-GB" sz="1000" dirty="0"/>
              <a:t>)</a:t>
            </a:r>
          </a:p>
        </p:txBody>
      </p:sp>
      <p:sp>
        <p:nvSpPr>
          <p:cNvPr id="101" name="Rectangle 100"/>
          <p:cNvSpPr>
            <a:spLocks/>
          </p:cNvSpPr>
          <p:nvPr/>
        </p:nvSpPr>
        <p:spPr>
          <a:xfrm>
            <a:off x="6814076" y="5455612"/>
            <a:ext cx="1971872" cy="153888"/>
          </a:xfrm>
          <a:prstGeom prst="rect">
            <a:avLst/>
          </a:prstGeom>
        </p:spPr>
        <p:txBody>
          <a:bodyPr wrap="square" lIns="0" tIns="0" rIns="0" bIns="0">
            <a:spAutoFit/>
          </a:bodyPr>
          <a:lstStyle/>
          <a:p>
            <a:pPr fontAlgn="b"/>
            <a:r>
              <a:rPr lang="en-GB" sz="1000" dirty="0" err="1"/>
              <a:t>Melkbosrand</a:t>
            </a:r>
            <a:r>
              <a:rPr lang="en-GB" sz="1000" dirty="0"/>
              <a:t> (</a:t>
            </a:r>
            <a:r>
              <a:rPr lang="en-GB" sz="1000" dirty="0" err="1"/>
              <a:t>Augrabies</a:t>
            </a:r>
            <a:r>
              <a:rPr lang="en-GB" sz="1000" dirty="0"/>
              <a:t>) </a:t>
            </a:r>
          </a:p>
        </p:txBody>
      </p:sp>
      <p:cxnSp>
        <p:nvCxnSpPr>
          <p:cNvPr id="126" name="Straight Connector 125"/>
          <p:cNvCxnSpPr>
            <a:cxnSpLocks/>
          </p:cNvCxnSpPr>
          <p:nvPr/>
        </p:nvCxnSpPr>
        <p:spPr>
          <a:xfrm>
            <a:off x="6814076" y="6002671"/>
            <a:ext cx="1971872" cy="0"/>
          </a:xfrm>
          <a:prstGeom prst="line">
            <a:avLst/>
          </a:prstGeom>
          <a:ln w="63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25" name="Rectangle 124"/>
          <p:cNvSpPr>
            <a:spLocks/>
          </p:cNvSpPr>
          <p:nvPr/>
        </p:nvSpPr>
        <p:spPr>
          <a:xfrm>
            <a:off x="6814076" y="6056706"/>
            <a:ext cx="1971872" cy="153888"/>
          </a:xfrm>
          <a:prstGeom prst="rect">
            <a:avLst/>
          </a:prstGeom>
        </p:spPr>
        <p:txBody>
          <a:bodyPr wrap="square" lIns="0" tIns="0" rIns="0" bIns="0">
            <a:spAutoFit/>
          </a:bodyPr>
          <a:lstStyle/>
          <a:p>
            <a:pPr fontAlgn="b"/>
            <a:r>
              <a:rPr lang="en-GB" sz="1000" dirty="0"/>
              <a:t>Western Coast Node </a:t>
            </a:r>
          </a:p>
        </p:txBody>
      </p:sp>
      <p:sp>
        <p:nvSpPr>
          <p:cNvPr id="170" name="Rectangle 169"/>
          <p:cNvSpPr>
            <a:spLocks/>
          </p:cNvSpPr>
          <p:nvPr/>
        </p:nvSpPr>
        <p:spPr>
          <a:xfrm>
            <a:off x="5817000" y="6019773"/>
            <a:ext cx="927383" cy="227755"/>
          </a:xfrm>
          <a:prstGeom prst="rect">
            <a:avLst/>
          </a:prstGeom>
          <a:solidFill>
            <a:schemeClr val="accent1">
              <a:lumMod val="60000"/>
              <a:lumOff val="40000"/>
            </a:schemeClr>
          </a:solidFill>
          <a:ln>
            <a:noFill/>
          </a:ln>
        </p:spPr>
        <p:txBody>
          <a:bodyPr wrap="square" lIns="36576" tIns="36576" rIns="36576" bIns="36576" anchor="ctr" anchorCtr="0">
            <a:noAutofit/>
          </a:bodyPr>
          <a:lstStyle/>
          <a:p>
            <a:pPr fontAlgn="b"/>
            <a:r>
              <a:rPr lang="en-GB" sz="1000" b="1" dirty="0">
                <a:solidFill>
                  <a:schemeClr val="tx2"/>
                </a:solidFill>
              </a:rPr>
              <a:t>Western Cape</a:t>
            </a:r>
          </a:p>
        </p:txBody>
      </p:sp>
    </p:spTree>
    <p:extLst>
      <p:ext uri="{BB962C8B-B14F-4D97-AF65-F5344CB8AC3E}">
        <p14:creationId xmlns:p14="http://schemas.microsoft.com/office/powerpoint/2010/main" val="92668449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37286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02" name="think-cell Slide" r:id="rId23" imgW="347" imgH="346" progId="TCLayout.ActiveDocument.1">
                  <p:embed/>
                </p:oleObj>
              </mc:Choice>
              <mc:Fallback>
                <p:oleObj name="think-cell Slide" r:id="rId23" imgW="347" imgH="346"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grpSp>
        <p:nvGrpSpPr>
          <p:cNvPr id="48" name="Group 47"/>
          <p:cNvGrpSpPr/>
          <p:nvPr/>
        </p:nvGrpSpPr>
        <p:grpSpPr>
          <a:xfrm flipV="1">
            <a:off x="-6055" y="5647048"/>
            <a:ext cx="8961437" cy="495300"/>
            <a:chOff x="1" y="758416"/>
            <a:chExt cx="8961437" cy="495300"/>
          </a:xfrm>
        </p:grpSpPr>
        <p:sp>
          <p:nvSpPr>
            <p:cNvPr id="49" name="Rectangle 48"/>
            <p:cNvSpPr>
              <a:spLocks/>
            </p:cNvSpPr>
            <p:nvPr/>
          </p:nvSpPr>
          <p:spPr>
            <a:xfrm>
              <a:off x="1" y="767941"/>
              <a:ext cx="8961437" cy="485775"/>
            </a:xfrm>
            <a:prstGeom prst="rect">
              <a:avLst/>
            </a:prstGeom>
            <a:gradFill rotWithShape="1">
              <a:gsLst>
                <a:gs pos="0">
                  <a:srgbClr val="EEEEEE"/>
                </a:gs>
                <a:gs pos="100000">
                  <a:srgbClr val="EEEEEE">
                    <a:gamma/>
                    <a:tint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400" dirty="0" err="1">
                <a:solidFill>
                  <a:schemeClr val="tx1"/>
                </a:solidFill>
                <a:latin typeface="Arial" charset="0"/>
              </a:endParaRPr>
            </a:p>
          </p:txBody>
        </p:sp>
        <p:cxnSp>
          <p:nvCxnSpPr>
            <p:cNvPr id="50" name="Straight Connector 49"/>
            <p:cNvCxnSpPr>
              <a:cxnSpLocks/>
            </p:cNvCxnSpPr>
            <p:nvPr/>
          </p:nvCxnSpPr>
          <p:spPr>
            <a:xfrm>
              <a:off x="1" y="758416"/>
              <a:ext cx="896143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3" name="Freeform 12"/>
          <p:cNvSpPr/>
          <p:nvPr/>
        </p:nvSpPr>
        <p:spPr>
          <a:xfrm>
            <a:off x="2118932" y="1120287"/>
            <a:ext cx="6704119" cy="4814225"/>
          </a:xfrm>
          <a:custGeom>
            <a:avLst/>
            <a:gdLst>
              <a:gd name="connsiteX0" fmla="*/ 537 w 6704119"/>
              <a:gd name="connsiteY0" fmla="*/ 1314072 h 4668890"/>
              <a:gd name="connsiteX1" fmla="*/ 1665835 w 6704119"/>
              <a:gd name="connsiteY1" fmla="*/ 12111 h 4668890"/>
              <a:gd name="connsiteX2" fmla="*/ 6704119 w 6704119"/>
              <a:gd name="connsiteY2" fmla="*/ 0 h 4668890"/>
              <a:gd name="connsiteX3" fmla="*/ 6679896 w 6704119"/>
              <a:gd name="connsiteY3" fmla="*/ 4668890 h 4668890"/>
              <a:gd name="connsiteX4" fmla="*/ 1472055 w 6704119"/>
              <a:gd name="connsiteY4" fmla="*/ 4644668 h 4668890"/>
              <a:gd name="connsiteX5" fmla="*/ 6593 w 6704119"/>
              <a:gd name="connsiteY5" fmla="*/ 2949091 h 4668890"/>
              <a:gd name="connsiteX6" fmla="*/ 537 w 6704119"/>
              <a:gd name="connsiteY6" fmla="*/ 1314072 h 466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4119" h="4668890">
                <a:moveTo>
                  <a:pt x="537" y="1314072"/>
                </a:moveTo>
                <a:lnTo>
                  <a:pt x="1665835" y="12111"/>
                </a:lnTo>
                <a:lnTo>
                  <a:pt x="6704119" y="0"/>
                </a:lnTo>
                <a:lnTo>
                  <a:pt x="6679896" y="4668890"/>
                </a:lnTo>
                <a:lnTo>
                  <a:pt x="1472055" y="4644668"/>
                </a:lnTo>
                <a:lnTo>
                  <a:pt x="6593" y="2949091"/>
                </a:lnTo>
                <a:cubicBezTo>
                  <a:pt x="2556" y="2402066"/>
                  <a:pt x="-1482" y="1855041"/>
                  <a:pt x="537" y="1314072"/>
                </a:cubicBezTo>
                <a:close/>
              </a:path>
            </a:pathLst>
          </a:custGeom>
          <a:gradFill>
            <a:gsLst>
              <a:gs pos="61000">
                <a:schemeClr val="bg1">
                  <a:lumMod val="95000"/>
                </a:schemeClr>
              </a:gs>
              <a:gs pos="0">
                <a:schemeClr val="accent6"/>
              </a:gs>
              <a:gs pos="100000">
                <a:schemeClr val="bg1">
                  <a:alpha val="0"/>
                </a:schemeClr>
              </a:gs>
            </a:gsLst>
            <a:lin ang="10800000" scaled="1"/>
          </a:gra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81000"/>
            <a:r>
              <a:rPr lang="en-GB" kern="1200" dirty="0"/>
              <a:t>By 2021, 110 processing facilities will create 2,500 jobs, and generate ~R1.6 billion in revenue</a:t>
            </a:r>
          </a:p>
        </p:txBody>
      </p:sp>
      <p:sp>
        <p:nvSpPr>
          <p:cNvPr id="38" name="Rectangle 19"/>
          <p:cNvSpPr txBox="1">
            <a:spLocks/>
          </p:cNvSpPr>
          <p:nvPr>
            <p:custDataLst>
              <p:tags r:id="rId3"/>
            </p:custDataLst>
          </p:nvPr>
        </p:nvSpPr>
        <p:spPr bwMode="gray">
          <a:xfrm>
            <a:off x="6906062" y="1825250"/>
            <a:ext cx="1807089" cy="2229849"/>
          </a:xfrm>
          <a:prstGeom prst="rect">
            <a:avLst/>
          </a:prstGeom>
          <a:solidFill>
            <a:schemeClr val="accent3"/>
          </a:solidFill>
          <a:ln w="9525">
            <a:solidFill>
              <a:schemeClr val="bg1"/>
            </a:solidFill>
            <a:miter lim="800000"/>
            <a:headEnd/>
            <a:tailEnd/>
          </a:ln>
          <a:effectLst/>
        </p:spPr>
        <p:txBody>
          <a:bodyPr vert="horz" wrap="square" lIns="76200" tIns="76200" rIns="76200" bIns="76200" numCol="1" anchor="ctr"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25000"/>
              </a:spcBef>
              <a:buClr>
                <a:schemeClr val="bg1">
                  <a:lumMod val="95000"/>
                </a:schemeClr>
              </a:buClr>
            </a:pPr>
            <a:r>
              <a:rPr lang="en-US" dirty="0">
                <a:solidFill>
                  <a:schemeClr val="bg1"/>
                </a:solidFill>
              </a:rPr>
              <a:t>18.5K tons of meat</a:t>
            </a:r>
          </a:p>
          <a:p>
            <a:pPr lvl="1">
              <a:spcBef>
                <a:spcPct val="25000"/>
              </a:spcBef>
              <a:buClr>
                <a:schemeClr val="bg1">
                  <a:lumMod val="95000"/>
                </a:schemeClr>
              </a:buClr>
            </a:pPr>
            <a:r>
              <a:rPr lang="en-US" dirty="0">
                <a:solidFill>
                  <a:schemeClr val="bg1"/>
                </a:solidFill>
              </a:rPr>
              <a:t>~R1.6 billion</a:t>
            </a:r>
            <a:r>
              <a:rPr lang="en-GB" dirty="0">
                <a:solidFill>
                  <a:schemeClr val="bg1"/>
                </a:solidFill>
              </a:rPr>
              <a:t> </a:t>
            </a:r>
            <a:r>
              <a:rPr lang="en-US" dirty="0">
                <a:solidFill>
                  <a:schemeClr val="bg1"/>
                </a:solidFill>
              </a:rPr>
              <a:t>in revenue</a:t>
            </a:r>
          </a:p>
          <a:p>
            <a:pPr lvl="1">
              <a:spcBef>
                <a:spcPct val="25000"/>
              </a:spcBef>
              <a:buClr>
                <a:schemeClr val="bg1">
                  <a:lumMod val="95000"/>
                </a:schemeClr>
              </a:buClr>
            </a:pPr>
            <a:r>
              <a:rPr lang="en-US" dirty="0">
                <a:solidFill>
                  <a:schemeClr val="bg1"/>
                </a:solidFill>
              </a:rPr>
              <a:t>~1,700 direct jobs</a:t>
            </a:r>
          </a:p>
          <a:p>
            <a:pPr lvl="1">
              <a:spcBef>
                <a:spcPct val="25000"/>
              </a:spcBef>
              <a:buClr>
                <a:schemeClr val="bg1">
                  <a:lumMod val="95000"/>
                </a:schemeClr>
              </a:buClr>
            </a:pPr>
            <a:r>
              <a:rPr lang="en-US" dirty="0">
                <a:solidFill>
                  <a:schemeClr val="bg1"/>
                </a:solidFill>
              </a:rPr>
              <a:t>~800 peripheral jobs</a:t>
            </a:r>
          </a:p>
        </p:txBody>
      </p:sp>
      <p:sp>
        <p:nvSpPr>
          <p:cNvPr id="52" name="Marvin Title Tracker Circle"/>
          <p:cNvSpPr/>
          <p:nvPr/>
        </p:nvSpPr>
        <p:spPr>
          <a:xfrm>
            <a:off x="171451" y="199244"/>
            <a:ext cx="354056" cy="35405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900" b="1" dirty="0">
                <a:solidFill>
                  <a:schemeClr val="bg1"/>
                </a:solidFill>
                <a:latin typeface="Arial" panose="020B0604020202020204" pitchFamily="34" charset="0"/>
              </a:rPr>
              <a:t>7</a:t>
            </a:r>
          </a:p>
        </p:txBody>
      </p:sp>
      <p:sp>
        <p:nvSpPr>
          <p:cNvPr id="23" name="Freeform 10"/>
          <p:cNvSpPr>
            <a:spLocks/>
          </p:cNvSpPr>
          <p:nvPr/>
        </p:nvSpPr>
        <p:spPr bwMode="auto">
          <a:xfrm>
            <a:off x="2205038" y="922338"/>
            <a:ext cx="4337050" cy="1949450"/>
          </a:xfrm>
          <a:custGeom>
            <a:avLst/>
            <a:gdLst>
              <a:gd name="T0" fmla="*/ 4337050 w 2732"/>
              <a:gd name="T1" fmla="*/ 1092200 h 1228"/>
              <a:gd name="T2" fmla="*/ 4251325 w 2732"/>
              <a:gd name="T3" fmla="*/ 971550 h 1228"/>
              <a:gd name="T4" fmla="*/ 4156075 w 2732"/>
              <a:gd name="T5" fmla="*/ 857250 h 1228"/>
              <a:gd name="T6" fmla="*/ 4054475 w 2732"/>
              <a:gd name="T7" fmla="*/ 746125 h 1228"/>
              <a:gd name="T8" fmla="*/ 3946525 w 2732"/>
              <a:gd name="T9" fmla="*/ 644525 h 1228"/>
              <a:gd name="T10" fmla="*/ 3832225 w 2732"/>
              <a:gd name="T11" fmla="*/ 546100 h 1228"/>
              <a:gd name="T12" fmla="*/ 3714750 w 2732"/>
              <a:gd name="T13" fmla="*/ 457200 h 1228"/>
              <a:gd name="T14" fmla="*/ 3587750 w 2732"/>
              <a:gd name="T15" fmla="*/ 374650 h 1228"/>
              <a:gd name="T16" fmla="*/ 3457575 w 2732"/>
              <a:gd name="T17" fmla="*/ 298450 h 1228"/>
              <a:gd name="T18" fmla="*/ 3324225 w 2732"/>
              <a:gd name="T19" fmla="*/ 231775 h 1228"/>
              <a:gd name="T20" fmla="*/ 3184525 w 2732"/>
              <a:gd name="T21" fmla="*/ 171450 h 1228"/>
              <a:gd name="T22" fmla="*/ 3041650 w 2732"/>
              <a:gd name="T23" fmla="*/ 120650 h 1228"/>
              <a:gd name="T24" fmla="*/ 2895600 w 2732"/>
              <a:gd name="T25" fmla="*/ 79375 h 1228"/>
              <a:gd name="T26" fmla="*/ 2743200 w 2732"/>
              <a:gd name="T27" fmla="*/ 44450 h 1228"/>
              <a:gd name="T28" fmla="*/ 2590800 w 2732"/>
              <a:gd name="T29" fmla="*/ 19050 h 1228"/>
              <a:gd name="T30" fmla="*/ 2432050 w 2732"/>
              <a:gd name="T31" fmla="*/ 6350 h 1228"/>
              <a:gd name="T32" fmla="*/ 2273300 w 2732"/>
              <a:gd name="T33" fmla="*/ 0 h 1228"/>
              <a:gd name="T34" fmla="*/ 2178050 w 2732"/>
              <a:gd name="T35" fmla="*/ 3175 h 1228"/>
              <a:gd name="T36" fmla="*/ 1993900 w 2732"/>
              <a:gd name="T37" fmla="*/ 15875 h 1228"/>
              <a:gd name="T38" fmla="*/ 1809750 w 2732"/>
              <a:gd name="T39" fmla="*/ 44450 h 1228"/>
              <a:gd name="T40" fmla="*/ 1631950 w 2732"/>
              <a:gd name="T41" fmla="*/ 82550 h 1228"/>
              <a:gd name="T42" fmla="*/ 1460500 w 2732"/>
              <a:gd name="T43" fmla="*/ 136525 h 1228"/>
              <a:gd name="T44" fmla="*/ 1292225 w 2732"/>
              <a:gd name="T45" fmla="*/ 200025 h 1228"/>
              <a:gd name="T46" fmla="*/ 1133475 w 2732"/>
              <a:gd name="T47" fmla="*/ 276225 h 1228"/>
              <a:gd name="T48" fmla="*/ 977900 w 2732"/>
              <a:gd name="T49" fmla="*/ 361950 h 1228"/>
              <a:gd name="T50" fmla="*/ 828675 w 2732"/>
              <a:gd name="T51" fmla="*/ 460375 h 1228"/>
              <a:gd name="T52" fmla="*/ 688975 w 2732"/>
              <a:gd name="T53" fmla="*/ 568325 h 1228"/>
              <a:gd name="T54" fmla="*/ 558800 w 2732"/>
              <a:gd name="T55" fmla="*/ 682625 h 1228"/>
              <a:gd name="T56" fmla="*/ 434975 w 2732"/>
              <a:gd name="T57" fmla="*/ 809625 h 1228"/>
              <a:gd name="T58" fmla="*/ 320675 w 2732"/>
              <a:gd name="T59" fmla="*/ 942975 h 1228"/>
              <a:gd name="T60" fmla="*/ 215900 w 2732"/>
              <a:gd name="T61" fmla="*/ 1085850 h 1228"/>
              <a:gd name="T62" fmla="*/ 120650 w 2732"/>
              <a:gd name="T63" fmla="*/ 1235075 h 1228"/>
              <a:gd name="T64" fmla="*/ 38100 w 2732"/>
              <a:gd name="T65" fmla="*/ 1390650 h 1228"/>
              <a:gd name="T66" fmla="*/ 701675 w 2732"/>
              <a:gd name="T67" fmla="*/ 1457325 h 1228"/>
              <a:gd name="T68" fmla="*/ 1241425 w 2732"/>
              <a:gd name="T69" fmla="*/ 1949450 h 1228"/>
              <a:gd name="T70" fmla="*/ 1323975 w 2732"/>
              <a:gd name="T71" fmla="*/ 1816100 h 1228"/>
              <a:gd name="T72" fmla="*/ 1422400 w 2732"/>
              <a:gd name="T73" fmla="*/ 1698625 h 1228"/>
              <a:gd name="T74" fmla="*/ 1536700 w 2732"/>
              <a:gd name="T75" fmla="*/ 1593850 h 1228"/>
              <a:gd name="T76" fmla="*/ 1663700 w 2732"/>
              <a:gd name="T77" fmla="*/ 1501775 h 1228"/>
              <a:gd name="T78" fmla="*/ 1803400 w 2732"/>
              <a:gd name="T79" fmla="*/ 1431925 h 1228"/>
              <a:gd name="T80" fmla="*/ 1952625 w 2732"/>
              <a:gd name="T81" fmla="*/ 1377950 h 1228"/>
              <a:gd name="T82" fmla="*/ 2108200 w 2732"/>
              <a:gd name="T83" fmla="*/ 1343025 h 1228"/>
              <a:gd name="T84" fmla="*/ 2273300 w 2732"/>
              <a:gd name="T85" fmla="*/ 1330325 h 1228"/>
              <a:gd name="T86" fmla="*/ 2336800 w 2732"/>
              <a:gd name="T87" fmla="*/ 1333500 h 1228"/>
              <a:gd name="T88" fmla="*/ 2463800 w 2732"/>
              <a:gd name="T89" fmla="*/ 1346200 h 1228"/>
              <a:gd name="T90" fmla="*/ 2584450 w 2732"/>
              <a:gd name="T91" fmla="*/ 1374775 h 1228"/>
              <a:gd name="T92" fmla="*/ 2698750 w 2732"/>
              <a:gd name="T93" fmla="*/ 1412875 h 1228"/>
              <a:gd name="T94" fmla="*/ 2809875 w 2732"/>
              <a:gd name="T95" fmla="*/ 1463675 h 1228"/>
              <a:gd name="T96" fmla="*/ 2914650 w 2732"/>
              <a:gd name="T97" fmla="*/ 1524000 h 1228"/>
              <a:gd name="T98" fmla="*/ 3009900 w 2732"/>
              <a:gd name="T99" fmla="*/ 1593850 h 1228"/>
              <a:gd name="T100" fmla="*/ 3098800 w 2732"/>
              <a:gd name="T101" fmla="*/ 1673225 h 1228"/>
              <a:gd name="T102" fmla="*/ 3937000 w 2732"/>
              <a:gd name="T103" fmla="*/ 1603375 h 12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732"/>
              <a:gd name="T157" fmla="*/ 0 h 1228"/>
              <a:gd name="T158" fmla="*/ 2732 w 2732"/>
              <a:gd name="T159" fmla="*/ 1228 h 122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732" h="1228">
                <a:moveTo>
                  <a:pt x="2732" y="688"/>
                </a:moveTo>
                <a:lnTo>
                  <a:pt x="2732" y="688"/>
                </a:lnTo>
                <a:lnTo>
                  <a:pt x="2706" y="650"/>
                </a:lnTo>
                <a:lnTo>
                  <a:pt x="2678" y="612"/>
                </a:lnTo>
                <a:lnTo>
                  <a:pt x="2648" y="576"/>
                </a:lnTo>
                <a:lnTo>
                  <a:pt x="2618" y="540"/>
                </a:lnTo>
                <a:lnTo>
                  <a:pt x="2586" y="504"/>
                </a:lnTo>
                <a:lnTo>
                  <a:pt x="2554" y="470"/>
                </a:lnTo>
                <a:lnTo>
                  <a:pt x="2520" y="438"/>
                </a:lnTo>
                <a:lnTo>
                  <a:pt x="2486" y="406"/>
                </a:lnTo>
                <a:lnTo>
                  <a:pt x="2450" y="374"/>
                </a:lnTo>
                <a:lnTo>
                  <a:pt x="2414" y="344"/>
                </a:lnTo>
                <a:lnTo>
                  <a:pt x="2378" y="316"/>
                </a:lnTo>
                <a:lnTo>
                  <a:pt x="2340" y="288"/>
                </a:lnTo>
                <a:lnTo>
                  <a:pt x="2300" y="262"/>
                </a:lnTo>
                <a:lnTo>
                  <a:pt x="2260" y="236"/>
                </a:lnTo>
                <a:lnTo>
                  <a:pt x="2220" y="212"/>
                </a:lnTo>
                <a:lnTo>
                  <a:pt x="2178" y="188"/>
                </a:lnTo>
                <a:lnTo>
                  <a:pt x="2136" y="166"/>
                </a:lnTo>
                <a:lnTo>
                  <a:pt x="2094" y="146"/>
                </a:lnTo>
                <a:lnTo>
                  <a:pt x="2050" y="126"/>
                </a:lnTo>
                <a:lnTo>
                  <a:pt x="2006" y="108"/>
                </a:lnTo>
                <a:lnTo>
                  <a:pt x="1962" y="92"/>
                </a:lnTo>
                <a:lnTo>
                  <a:pt x="1916" y="76"/>
                </a:lnTo>
                <a:lnTo>
                  <a:pt x="1870" y="62"/>
                </a:lnTo>
                <a:lnTo>
                  <a:pt x="1824" y="50"/>
                </a:lnTo>
                <a:lnTo>
                  <a:pt x="1776" y="38"/>
                </a:lnTo>
                <a:lnTo>
                  <a:pt x="1728" y="28"/>
                </a:lnTo>
                <a:lnTo>
                  <a:pt x="1680" y="20"/>
                </a:lnTo>
                <a:lnTo>
                  <a:pt x="1632" y="12"/>
                </a:lnTo>
                <a:lnTo>
                  <a:pt x="1582" y="8"/>
                </a:lnTo>
                <a:lnTo>
                  <a:pt x="1532" y="4"/>
                </a:lnTo>
                <a:lnTo>
                  <a:pt x="1482" y="2"/>
                </a:lnTo>
                <a:lnTo>
                  <a:pt x="1432" y="0"/>
                </a:lnTo>
                <a:lnTo>
                  <a:pt x="1372" y="2"/>
                </a:lnTo>
                <a:lnTo>
                  <a:pt x="1314" y="4"/>
                </a:lnTo>
                <a:lnTo>
                  <a:pt x="1256" y="10"/>
                </a:lnTo>
                <a:lnTo>
                  <a:pt x="1198" y="18"/>
                </a:lnTo>
                <a:lnTo>
                  <a:pt x="1140" y="28"/>
                </a:lnTo>
                <a:lnTo>
                  <a:pt x="1084" y="38"/>
                </a:lnTo>
                <a:lnTo>
                  <a:pt x="1028" y="52"/>
                </a:lnTo>
                <a:lnTo>
                  <a:pt x="974" y="68"/>
                </a:lnTo>
                <a:lnTo>
                  <a:pt x="920" y="86"/>
                </a:lnTo>
                <a:lnTo>
                  <a:pt x="866" y="106"/>
                </a:lnTo>
                <a:lnTo>
                  <a:pt x="814" y="126"/>
                </a:lnTo>
                <a:lnTo>
                  <a:pt x="764" y="150"/>
                </a:lnTo>
                <a:lnTo>
                  <a:pt x="714" y="174"/>
                </a:lnTo>
                <a:lnTo>
                  <a:pt x="664" y="200"/>
                </a:lnTo>
                <a:lnTo>
                  <a:pt x="616" y="228"/>
                </a:lnTo>
                <a:lnTo>
                  <a:pt x="568" y="258"/>
                </a:lnTo>
                <a:lnTo>
                  <a:pt x="522" y="290"/>
                </a:lnTo>
                <a:lnTo>
                  <a:pt x="478" y="322"/>
                </a:lnTo>
                <a:lnTo>
                  <a:pt x="434" y="358"/>
                </a:lnTo>
                <a:lnTo>
                  <a:pt x="392" y="394"/>
                </a:lnTo>
                <a:lnTo>
                  <a:pt x="352" y="430"/>
                </a:lnTo>
                <a:lnTo>
                  <a:pt x="312" y="470"/>
                </a:lnTo>
                <a:lnTo>
                  <a:pt x="274" y="510"/>
                </a:lnTo>
                <a:lnTo>
                  <a:pt x="238" y="552"/>
                </a:lnTo>
                <a:lnTo>
                  <a:pt x="202" y="594"/>
                </a:lnTo>
                <a:lnTo>
                  <a:pt x="168" y="638"/>
                </a:lnTo>
                <a:lnTo>
                  <a:pt x="136" y="684"/>
                </a:lnTo>
                <a:lnTo>
                  <a:pt x="106" y="730"/>
                </a:lnTo>
                <a:lnTo>
                  <a:pt x="76" y="778"/>
                </a:lnTo>
                <a:lnTo>
                  <a:pt x="48" y="826"/>
                </a:lnTo>
                <a:lnTo>
                  <a:pt x="24" y="876"/>
                </a:lnTo>
                <a:lnTo>
                  <a:pt x="0" y="926"/>
                </a:lnTo>
                <a:lnTo>
                  <a:pt x="442" y="918"/>
                </a:lnTo>
                <a:lnTo>
                  <a:pt x="782" y="1228"/>
                </a:lnTo>
                <a:lnTo>
                  <a:pt x="806" y="1186"/>
                </a:lnTo>
                <a:lnTo>
                  <a:pt x="834" y="1144"/>
                </a:lnTo>
                <a:lnTo>
                  <a:pt x="864" y="1106"/>
                </a:lnTo>
                <a:lnTo>
                  <a:pt x="896" y="1070"/>
                </a:lnTo>
                <a:lnTo>
                  <a:pt x="932" y="1036"/>
                </a:lnTo>
                <a:lnTo>
                  <a:pt x="968" y="1004"/>
                </a:lnTo>
                <a:lnTo>
                  <a:pt x="1008" y="974"/>
                </a:lnTo>
                <a:lnTo>
                  <a:pt x="1048" y="946"/>
                </a:lnTo>
                <a:lnTo>
                  <a:pt x="1090" y="922"/>
                </a:lnTo>
                <a:lnTo>
                  <a:pt x="1136" y="902"/>
                </a:lnTo>
                <a:lnTo>
                  <a:pt x="1182" y="882"/>
                </a:lnTo>
                <a:lnTo>
                  <a:pt x="1230" y="868"/>
                </a:lnTo>
                <a:lnTo>
                  <a:pt x="1278" y="856"/>
                </a:lnTo>
                <a:lnTo>
                  <a:pt x="1328" y="846"/>
                </a:lnTo>
                <a:lnTo>
                  <a:pt x="1380" y="840"/>
                </a:lnTo>
                <a:lnTo>
                  <a:pt x="1432" y="838"/>
                </a:lnTo>
                <a:lnTo>
                  <a:pt x="1472" y="840"/>
                </a:lnTo>
                <a:lnTo>
                  <a:pt x="1512" y="844"/>
                </a:lnTo>
                <a:lnTo>
                  <a:pt x="1552" y="848"/>
                </a:lnTo>
                <a:lnTo>
                  <a:pt x="1590" y="856"/>
                </a:lnTo>
                <a:lnTo>
                  <a:pt x="1628" y="866"/>
                </a:lnTo>
                <a:lnTo>
                  <a:pt x="1664" y="876"/>
                </a:lnTo>
                <a:lnTo>
                  <a:pt x="1700" y="890"/>
                </a:lnTo>
                <a:lnTo>
                  <a:pt x="1736" y="904"/>
                </a:lnTo>
                <a:lnTo>
                  <a:pt x="1770" y="922"/>
                </a:lnTo>
                <a:lnTo>
                  <a:pt x="1804" y="940"/>
                </a:lnTo>
                <a:lnTo>
                  <a:pt x="1836" y="960"/>
                </a:lnTo>
                <a:lnTo>
                  <a:pt x="1866" y="982"/>
                </a:lnTo>
                <a:lnTo>
                  <a:pt x="1896" y="1004"/>
                </a:lnTo>
                <a:lnTo>
                  <a:pt x="1924" y="1028"/>
                </a:lnTo>
                <a:lnTo>
                  <a:pt x="1952" y="1054"/>
                </a:lnTo>
                <a:lnTo>
                  <a:pt x="1978" y="1082"/>
                </a:lnTo>
                <a:lnTo>
                  <a:pt x="2480" y="1010"/>
                </a:lnTo>
                <a:lnTo>
                  <a:pt x="2732" y="688"/>
                </a:lnTo>
              </a:path>
            </a:pathLst>
          </a:custGeom>
          <a:noFill/>
          <a:ln w="9525">
            <a:noFill/>
            <a:round/>
            <a:headEnd/>
            <a:tailEnd/>
          </a:ln>
        </p:spPr>
        <p:txBody>
          <a:bodyPr/>
          <a:lstStyle/>
          <a:p>
            <a:endParaRPr lang="en-US" dirty="0"/>
          </a:p>
        </p:txBody>
      </p:sp>
      <p:grpSp>
        <p:nvGrpSpPr>
          <p:cNvPr id="10" name="Group 9"/>
          <p:cNvGrpSpPr/>
          <p:nvPr/>
        </p:nvGrpSpPr>
        <p:grpSpPr>
          <a:xfrm>
            <a:off x="477060" y="1203449"/>
            <a:ext cx="1647644" cy="4869622"/>
            <a:chOff x="3060784" y="1270000"/>
            <a:chExt cx="1813624" cy="5216525"/>
          </a:xfrm>
        </p:grpSpPr>
        <p:grpSp>
          <p:nvGrpSpPr>
            <p:cNvPr id="80" name="Group 79"/>
            <p:cNvGrpSpPr/>
            <p:nvPr/>
          </p:nvGrpSpPr>
          <p:grpSpPr>
            <a:xfrm>
              <a:off x="3060784" y="1270000"/>
              <a:ext cx="1813624" cy="5216525"/>
              <a:chOff x="333374" y="754063"/>
              <a:chExt cx="1919291" cy="5216525"/>
            </a:xfrm>
          </p:grpSpPr>
          <p:grpSp>
            <p:nvGrpSpPr>
              <p:cNvPr id="84" name="Group 83"/>
              <p:cNvGrpSpPr/>
              <p:nvPr/>
            </p:nvGrpSpPr>
            <p:grpSpPr>
              <a:xfrm>
                <a:off x="333375" y="754063"/>
                <a:ext cx="1919289" cy="1966914"/>
                <a:chOff x="3716655" y="754063"/>
                <a:chExt cx="1919289" cy="1966914"/>
              </a:xfrm>
              <a:solidFill>
                <a:schemeClr val="accent1"/>
              </a:solidFill>
            </p:grpSpPr>
            <p:sp>
              <p:nvSpPr>
                <p:cNvPr id="91" name="Pentagon 90"/>
                <p:cNvSpPr/>
                <p:nvPr>
                  <p:custDataLst>
                    <p:tags r:id="rId20"/>
                  </p:custDataLst>
                </p:nvPr>
              </p:nvSpPr>
              <p:spPr bwMode="auto">
                <a:xfrm rot="5400000">
                  <a:off x="3692843" y="777875"/>
                  <a:ext cx="1966914" cy="1919289"/>
                </a:xfrm>
                <a:prstGeom prst="homePlate">
                  <a:avLst>
                    <a:gd name="adj" fmla="val 17892"/>
                  </a:avLst>
                </a:prstGeom>
                <a:solidFill>
                  <a:schemeClr val="accent1"/>
                </a:solidFill>
                <a:ln w="9525">
                  <a:solidFill>
                    <a:schemeClr val="accent6"/>
                  </a:solidFill>
                  <a:round/>
                  <a:headEnd/>
                  <a:tailEnd/>
                </a:ln>
              </p:spPr>
              <p:txBody>
                <a:bodyPr wrap="none" rtlCol="0" anchor="ctr"/>
                <a:lstStyle/>
                <a:p>
                  <a:pPr algn="ctr"/>
                  <a:endParaRPr lang="en-US" b="1" dirty="0"/>
                </a:p>
              </p:txBody>
            </p:sp>
            <p:sp>
              <p:nvSpPr>
                <p:cNvPr id="92" name="Rectangle 11"/>
                <p:cNvSpPr>
                  <a:spLocks noChangeArrowheads="1"/>
                </p:cNvSpPr>
                <p:nvPr>
                  <p:custDataLst>
                    <p:tags r:id="rId21"/>
                  </p:custDataLst>
                </p:nvPr>
              </p:nvSpPr>
              <p:spPr bwMode="auto">
                <a:xfrm>
                  <a:off x="3843656" y="825499"/>
                  <a:ext cx="1665288" cy="527524"/>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defTabSz="895350">
                    <a:buClr>
                      <a:schemeClr val="tx2"/>
                    </a:buClr>
                  </a:pPr>
                  <a:r>
                    <a:rPr lang="en-US" b="1" dirty="0" err="1">
                      <a:latin typeface="+mn-lt"/>
                    </a:rPr>
                    <a:t>Finalise</a:t>
                  </a:r>
                  <a:r>
                    <a:rPr lang="en-US" b="1" dirty="0">
                      <a:latin typeface="+mn-lt"/>
                    </a:rPr>
                    <a:t> Legal Framework</a:t>
                  </a:r>
                </a:p>
              </p:txBody>
            </p:sp>
          </p:grpSp>
          <p:grpSp>
            <p:nvGrpSpPr>
              <p:cNvPr id="85" name="Group 84"/>
              <p:cNvGrpSpPr/>
              <p:nvPr/>
            </p:nvGrpSpPr>
            <p:grpSpPr>
              <a:xfrm>
                <a:off x="333376" y="2115387"/>
                <a:ext cx="1919289" cy="2231191"/>
                <a:chOff x="3716656" y="2120150"/>
                <a:chExt cx="1919289" cy="2231191"/>
              </a:xfrm>
              <a:solidFill>
                <a:schemeClr val="accent1"/>
              </a:solidFill>
            </p:grpSpPr>
            <p:sp>
              <p:nvSpPr>
                <p:cNvPr id="89" name="Chevron 88"/>
                <p:cNvSpPr/>
                <p:nvPr>
                  <p:custDataLst>
                    <p:tags r:id="rId18"/>
                  </p:custDataLst>
                </p:nvPr>
              </p:nvSpPr>
              <p:spPr bwMode="auto">
                <a:xfrm rot="5400000">
                  <a:off x="3560705" y="2276101"/>
                  <a:ext cx="2231191" cy="1919289"/>
                </a:xfrm>
                <a:prstGeom prst="chevron">
                  <a:avLst>
                    <a:gd name="adj" fmla="val 17892"/>
                  </a:avLst>
                </a:prstGeom>
                <a:solidFill>
                  <a:schemeClr val="accent1"/>
                </a:solidFill>
                <a:ln w="9525">
                  <a:solidFill>
                    <a:schemeClr val="accent6"/>
                  </a:solidFill>
                  <a:round/>
                  <a:headEnd/>
                  <a:tailEnd/>
                </a:ln>
              </p:spPr>
              <p:txBody>
                <a:bodyPr wrap="none" rtlCol="0" anchor="ctr"/>
                <a:lstStyle/>
                <a:p>
                  <a:pPr algn="ctr"/>
                  <a:endParaRPr lang="en-US" b="1" dirty="0"/>
                </a:p>
              </p:txBody>
            </p:sp>
            <p:sp>
              <p:nvSpPr>
                <p:cNvPr id="90" name="Rectangle 14"/>
                <p:cNvSpPr>
                  <a:spLocks noChangeArrowheads="1"/>
                </p:cNvSpPr>
                <p:nvPr>
                  <p:custDataLst>
                    <p:tags r:id="rId19"/>
                  </p:custDataLst>
                </p:nvPr>
              </p:nvSpPr>
              <p:spPr bwMode="auto">
                <a:xfrm>
                  <a:off x="3843656" y="2454494"/>
                  <a:ext cx="1665288" cy="527524"/>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defTabSz="895350">
                    <a:buClr>
                      <a:schemeClr val="tx2"/>
                    </a:buClr>
                  </a:pPr>
                  <a:r>
                    <a:rPr lang="en-US" b="1" dirty="0" err="1">
                      <a:latin typeface="+mn-lt"/>
                    </a:rPr>
                    <a:t>Formalise</a:t>
                  </a:r>
                  <a:r>
                    <a:rPr lang="en-US" b="1" dirty="0">
                      <a:latin typeface="+mn-lt"/>
                    </a:rPr>
                    <a:t> Supply Chain</a:t>
                  </a:r>
                </a:p>
              </p:txBody>
            </p:sp>
          </p:grpSp>
          <p:grpSp>
            <p:nvGrpSpPr>
              <p:cNvPr id="86" name="Group 85"/>
              <p:cNvGrpSpPr/>
              <p:nvPr/>
            </p:nvGrpSpPr>
            <p:grpSpPr>
              <a:xfrm>
                <a:off x="333374" y="3892670"/>
                <a:ext cx="1919289" cy="2077918"/>
                <a:chOff x="3716654" y="3892676"/>
                <a:chExt cx="1919289" cy="2077920"/>
              </a:xfrm>
              <a:solidFill>
                <a:schemeClr val="accent1"/>
              </a:solidFill>
            </p:grpSpPr>
            <p:sp>
              <p:nvSpPr>
                <p:cNvPr id="87" name="Chevron 86"/>
                <p:cNvSpPr/>
                <p:nvPr>
                  <p:custDataLst>
                    <p:tags r:id="rId16"/>
                  </p:custDataLst>
                </p:nvPr>
              </p:nvSpPr>
              <p:spPr bwMode="auto">
                <a:xfrm rot="5400000">
                  <a:off x="3637339" y="3971991"/>
                  <a:ext cx="2077920" cy="1919289"/>
                </a:xfrm>
                <a:prstGeom prst="chevron">
                  <a:avLst>
                    <a:gd name="adj" fmla="val 17892"/>
                  </a:avLst>
                </a:prstGeom>
                <a:solidFill>
                  <a:schemeClr val="accent1"/>
                </a:solidFill>
                <a:ln w="9525">
                  <a:solidFill>
                    <a:schemeClr val="accent6"/>
                  </a:solidFill>
                  <a:round/>
                  <a:headEnd/>
                  <a:tailEnd/>
                </a:ln>
              </p:spPr>
              <p:txBody>
                <a:bodyPr wrap="none" rtlCol="0" anchor="ctr"/>
                <a:lstStyle/>
                <a:p>
                  <a:pPr algn="ctr"/>
                  <a:endParaRPr lang="en-US" b="1" dirty="0"/>
                </a:p>
              </p:txBody>
            </p:sp>
            <p:sp>
              <p:nvSpPr>
                <p:cNvPr id="88" name="Rectangle 17"/>
                <p:cNvSpPr>
                  <a:spLocks noChangeArrowheads="1"/>
                </p:cNvSpPr>
                <p:nvPr>
                  <p:custDataLst>
                    <p:tags r:id="rId17"/>
                  </p:custDataLst>
                </p:nvPr>
              </p:nvSpPr>
              <p:spPr bwMode="auto">
                <a:xfrm>
                  <a:off x="3843657" y="4239209"/>
                  <a:ext cx="1665287" cy="527524"/>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defTabSz="895350">
                    <a:buClr>
                      <a:schemeClr val="tx2"/>
                    </a:buClr>
                  </a:pPr>
                  <a:r>
                    <a:rPr lang="en-US" b="1" dirty="0">
                      <a:latin typeface="+mn-lt"/>
                    </a:rPr>
                    <a:t>Brand and promote</a:t>
                  </a:r>
                </a:p>
              </p:txBody>
            </p:sp>
          </p:grpSp>
        </p:grpSp>
        <p:pic>
          <p:nvPicPr>
            <p:cNvPr id="37" name="Picture 4" descr="http://iap.palladiumdesign.co.za/wp-content/uploads/2015/02/government-gazette2.jpg"/>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3499541" y="1954202"/>
              <a:ext cx="936109" cy="6771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p:cNvGrpSpPr/>
          <p:nvPr/>
        </p:nvGrpSpPr>
        <p:grpSpPr>
          <a:xfrm>
            <a:off x="3636642" y="4395928"/>
            <a:ext cx="5072759" cy="1315627"/>
            <a:chOff x="3636642" y="4395928"/>
            <a:chExt cx="4271497" cy="1315627"/>
          </a:xfrm>
        </p:grpSpPr>
        <p:sp>
          <p:nvSpPr>
            <p:cNvPr id="79" name="Rectangle 7"/>
            <p:cNvSpPr txBox="1"/>
            <p:nvPr>
              <p:custDataLst>
                <p:tags r:id="rId11"/>
              </p:custDataLst>
            </p:nvPr>
          </p:nvSpPr>
          <p:spPr>
            <a:xfrm>
              <a:off x="3636642" y="4878277"/>
              <a:ext cx="4271497" cy="419113"/>
            </a:xfrm>
            <a:prstGeom prst="rect">
              <a:avLst/>
            </a:prstGeom>
            <a:solidFill>
              <a:schemeClr val="bg1"/>
            </a:solidFill>
            <a:ln w="9525">
              <a:solidFill>
                <a:schemeClr val="tx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t>Private/Public sector/DTI &amp; IDC fund contribution</a:t>
              </a:r>
            </a:p>
          </p:txBody>
        </p:sp>
        <p:sp>
          <p:nvSpPr>
            <p:cNvPr id="11" name="Rectangle 10"/>
            <p:cNvSpPr txBox="1"/>
            <p:nvPr>
              <p:custDataLst>
                <p:tags r:id="rId12"/>
              </p:custDataLst>
            </p:nvPr>
          </p:nvSpPr>
          <p:spPr>
            <a:xfrm>
              <a:off x="3636642" y="4395928"/>
              <a:ext cx="4271497" cy="485493"/>
            </a:xfrm>
            <a:prstGeom prst="rect">
              <a:avLst/>
            </a:prstGeom>
            <a:solidFill>
              <a:schemeClr val="accent2"/>
            </a:solidFill>
            <a:ln w="9525">
              <a:solidFill>
                <a:schemeClr val="tx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bg1"/>
                  </a:solidFill>
                </a:rPr>
                <a:t>R 490 million Investment</a:t>
              </a:r>
            </a:p>
          </p:txBody>
        </p:sp>
        <p:sp>
          <p:nvSpPr>
            <p:cNvPr id="93" name="Rectangle 7"/>
            <p:cNvSpPr txBox="1"/>
            <p:nvPr>
              <p:custDataLst>
                <p:tags r:id="rId13"/>
              </p:custDataLst>
            </p:nvPr>
          </p:nvSpPr>
          <p:spPr>
            <a:xfrm>
              <a:off x="3636642" y="5292442"/>
              <a:ext cx="4271497" cy="419113"/>
            </a:xfrm>
            <a:prstGeom prst="rect">
              <a:avLst/>
            </a:prstGeom>
            <a:solidFill>
              <a:schemeClr val="accent3"/>
            </a:solidFill>
            <a:ln w="9525">
              <a:solidFill>
                <a:schemeClr val="tx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bg1"/>
                  </a:solidFill>
                </a:rPr>
                <a:t>72%</a:t>
              </a:r>
            </a:p>
          </p:txBody>
        </p:sp>
        <p:sp>
          <p:nvSpPr>
            <p:cNvPr id="94" name="Rectangle 7"/>
            <p:cNvSpPr txBox="1"/>
            <p:nvPr>
              <p:custDataLst>
                <p:tags r:id="rId14"/>
              </p:custDataLst>
            </p:nvPr>
          </p:nvSpPr>
          <p:spPr>
            <a:xfrm>
              <a:off x="6356826" y="5292442"/>
              <a:ext cx="435116" cy="419113"/>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t>6%</a:t>
              </a:r>
            </a:p>
          </p:txBody>
        </p:sp>
        <p:sp>
          <p:nvSpPr>
            <p:cNvPr id="113" name="Rectangle 7"/>
            <p:cNvSpPr txBox="1"/>
            <p:nvPr>
              <p:custDataLst>
                <p:tags r:id="rId15"/>
              </p:custDataLst>
            </p:nvPr>
          </p:nvSpPr>
          <p:spPr>
            <a:xfrm>
              <a:off x="6791946" y="5292442"/>
              <a:ext cx="1116193" cy="419113"/>
            </a:xfrm>
            <a:prstGeom prst="rect">
              <a:avLst/>
            </a:prstGeom>
            <a:solidFill>
              <a:schemeClr val="bg1">
                <a:lumMod val="75000"/>
              </a:scheme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t>22%</a:t>
              </a:r>
            </a:p>
          </p:txBody>
        </p:sp>
      </p:grpSp>
      <p:grpSp>
        <p:nvGrpSpPr>
          <p:cNvPr id="3" name="Group 2"/>
          <p:cNvGrpSpPr/>
          <p:nvPr/>
        </p:nvGrpSpPr>
        <p:grpSpPr>
          <a:xfrm>
            <a:off x="844783" y="5495203"/>
            <a:ext cx="912203" cy="273855"/>
            <a:chOff x="844783" y="5495203"/>
            <a:chExt cx="912203" cy="273855"/>
          </a:xfrm>
        </p:grpSpPr>
        <p:sp>
          <p:nvSpPr>
            <p:cNvPr id="98" name="Rounded Rectangle 97"/>
            <p:cNvSpPr/>
            <p:nvPr/>
          </p:nvSpPr>
          <p:spPr>
            <a:xfrm>
              <a:off x="844783" y="5495203"/>
              <a:ext cx="912203" cy="273855"/>
            </a:xfrm>
            <a:prstGeom prst="round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99" name="TextBox 98"/>
            <p:cNvSpPr txBox="1"/>
            <p:nvPr/>
          </p:nvSpPr>
          <p:spPr>
            <a:xfrm>
              <a:off x="952231" y="5570575"/>
              <a:ext cx="697307" cy="1077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700" b="1" dirty="0">
                  <a:solidFill>
                    <a:srgbClr val="FF0000"/>
                  </a:solidFill>
                  <a:ea typeface="Segoe UI Black" panose="020B0A02040204020203" pitchFamily="34" charset="0"/>
                  <a:cs typeface="Segoe UI Black" panose="020B0A02040204020203" pitchFamily="34" charset="0"/>
                </a:rPr>
                <a:t>SA GAME MEAT</a:t>
              </a:r>
            </a:p>
          </p:txBody>
        </p:sp>
      </p:grpSp>
      <p:pic>
        <p:nvPicPr>
          <p:cNvPr id="97" name="Picture 96"/>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57498" y="5069811"/>
            <a:ext cx="486768" cy="372297"/>
          </a:xfrm>
          <a:prstGeom prst="rect">
            <a:avLst/>
          </a:prstGeom>
          <a:ln>
            <a:solidFill>
              <a:schemeClr val="accent6"/>
            </a:solidFill>
          </a:ln>
        </p:spPr>
      </p:pic>
      <p:pic>
        <p:nvPicPr>
          <p:cNvPr id="100" name="Picture 39" descr="http://eatingplantsdotorg.files.wordpress.com/2011/12/slaughterhouse_span.jpg"/>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l="24332" r="23638"/>
          <a:stretch/>
        </p:blipFill>
        <p:spPr bwMode="auto">
          <a:xfrm>
            <a:off x="896465" y="3350895"/>
            <a:ext cx="827226" cy="848276"/>
          </a:xfrm>
          <a:prstGeom prst="rect">
            <a:avLst/>
          </a:prstGeom>
          <a:noFill/>
          <a:extLst>
            <a:ext uri="{909E8E84-426E-40DD-AFC4-6F175D3DCCD1}">
              <a14:hiddenFill xmlns:a14="http://schemas.microsoft.com/office/drawing/2010/main">
                <a:solidFill>
                  <a:srgbClr val="FFFFFF"/>
                </a:solidFill>
              </a14:hiddenFill>
            </a:ext>
          </a:extLst>
        </p:spPr>
      </p:pic>
      <p:sp>
        <p:nvSpPr>
          <p:cNvPr id="101" name="TextBox 100"/>
          <p:cNvSpPr txBox="1">
            <a:spLocks/>
          </p:cNvSpPr>
          <p:nvPr/>
        </p:nvSpPr>
        <p:spPr>
          <a:xfrm>
            <a:off x="4178108" y="1203448"/>
            <a:ext cx="593111"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tx2"/>
                </a:solidFill>
              </a:rPr>
              <a:t>Model</a:t>
            </a:r>
          </a:p>
        </p:txBody>
      </p:sp>
      <p:sp>
        <p:nvSpPr>
          <p:cNvPr id="102" name="TextBox 101"/>
          <p:cNvSpPr txBox="1">
            <a:spLocks/>
          </p:cNvSpPr>
          <p:nvPr/>
        </p:nvSpPr>
        <p:spPr>
          <a:xfrm>
            <a:off x="7478586" y="1203448"/>
            <a:ext cx="662041"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b="1" dirty="0">
                <a:solidFill>
                  <a:schemeClr val="tx2"/>
                </a:solidFill>
              </a:rPr>
              <a:t>Impact</a:t>
            </a:r>
          </a:p>
          <a:p>
            <a:pPr algn="ctr"/>
            <a:r>
              <a:rPr lang="en-US" b="1" dirty="0">
                <a:solidFill>
                  <a:schemeClr val="tx2"/>
                </a:solidFill>
              </a:rPr>
              <a:t>2021</a:t>
            </a:r>
          </a:p>
        </p:txBody>
      </p:sp>
      <p:grpSp>
        <p:nvGrpSpPr>
          <p:cNvPr id="103" name="Group 102"/>
          <p:cNvGrpSpPr/>
          <p:nvPr/>
        </p:nvGrpSpPr>
        <p:grpSpPr>
          <a:xfrm>
            <a:off x="2776093" y="1652619"/>
            <a:ext cx="3923160" cy="2480716"/>
            <a:chOff x="784224" y="902492"/>
            <a:chExt cx="6375104" cy="5029200"/>
          </a:xfrm>
        </p:grpSpPr>
        <p:sp>
          <p:nvSpPr>
            <p:cNvPr id="104" name="TextBox 478"/>
            <p:cNvSpPr txBox="1">
              <a:spLocks/>
            </p:cNvSpPr>
            <p:nvPr>
              <p:custDataLst>
                <p:tags r:id="rId4"/>
              </p:custDataLst>
            </p:nvPr>
          </p:nvSpPr>
          <p:spPr>
            <a:xfrm>
              <a:off x="2501116" y="2544761"/>
              <a:ext cx="1743075" cy="1743076"/>
            </a:xfrm>
            <a:prstGeom prst="rect">
              <a:avLst/>
            </a:prstGeom>
            <a:solidFill>
              <a:srgbClr val="91B0FF"/>
            </a:solidFill>
            <a:ln w="9525">
              <a:solidFill>
                <a:schemeClr val="accent6"/>
              </a:solidFill>
            </a:ln>
            <a:effectLst/>
          </p:spPr>
          <p:txBody>
            <a:bodyPr vert="horz" wrap="square" lIns="3810" tIns="0" rIns="3810" bIns="0" numCol="1" anchor="ctr" anchorCtr="1"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b="1" dirty="0"/>
                <a:t>Transport</a:t>
              </a:r>
            </a:p>
          </p:txBody>
        </p:sp>
        <p:sp>
          <p:nvSpPr>
            <p:cNvPr id="105" name="Rectangle 286"/>
            <p:cNvSpPr>
              <a:spLocks noChangeArrowheads="1"/>
            </p:cNvSpPr>
            <p:nvPr>
              <p:custDataLst>
                <p:tags r:id="rId5"/>
              </p:custDataLst>
            </p:nvPr>
          </p:nvSpPr>
          <p:spPr bwMode="auto">
            <a:xfrm rot="5400000">
              <a:off x="2707875" y="530620"/>
              <a:ext cx="1427958" cy="2171701"/>
            </a:xfrm>
            <a:prstGeom prst="homePlate">
              <a:avLst>
                <a:gd name="adj" fmla="val 19736"/>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9" tIns="72009" rIns="72009" bIns="72009" anchor="ctr"/>
            <a:lstStyle/>
            <a:p>
              <a:pPr defTabSz="895350">
                <a:buClr>
                  <a:schemeClr val="tx2"/>
                </a:buClr>
              </a:pPr>
              <a:r>
                <a:rPr lang="en-US"/>
                <a:t> </a:t>
              </a:r>
            </a:p>
          </p:txBody>
        </p:sp>
        <p:sp>
          <p:nvSpPr>
            <p:cNvPr id="106" name="Rectangle 286"/>
            <p:cNvSpPr>
              <a:spLocks noChangeArrowheads="1"/>
            </p:cNvSpPr>
            <p:nvPr>
              <p:custDataLst>
                <p:tags r:id="rId6"/>
              </p:custDataLst>
            </p:nvPr>
          </p:nvSpPr>
          <p:spPr bwMode="auto">
            <a:xfrm rot="16200000" flipV="1">
              <a:off x="2707080" y="4131068"/>
              <a:ext cx="1429547" cy="2171701"/>
            </a:xfrm>
            <a:prstGeom prst="homePlate">
              <a:avLst>
                <a:gd name="adj" fmla="val 19736"/>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9" tIns="72009" rIns="72009" bIns="72009" anchor="ctr"/>
            <a:lstStyle/>
            <a:p>
              <a:pPr defTabSz="895350">
                <a:buClr>
                  <a:schemeClr val="tx2"/>
                </a:buClr>
              </a:pPr>
              <a:r>
                <a:rPr lang="en-US"/>
                <a:t> </a:t>
              </a:r>
            </a:p>
          </p:txBody>
        </p:sp>
        <p:sp>
          <p:nvSpPr>
            <p:cNvPr id="107" name="Rectangle 16"/>
            <p:cNvSpPr txBox="1"/>
            <p:nvPr/>
          </p:nvSpPr>
          <p:spPr>
            <a:xfrm>
              <a:off x="2451099" y="1395939"/>
              <a:ext cx="1941515" cy="499168"/>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dirty="0"/>
                <a:t>Ranch 1</a:t>
              </a:r>
            </a:p>
          </p:txBody>
        </p:sp>
        <p:sp>
          <p:nvSpPr>
            <p:cNvPr id="108" name="Rectangle 16"/>
            <p:cNvSpPr txBox="1"/>
            <p:nvPr/>
          </p:nvSpPr>
          <p:spPr>
            <a:xfrm>
              <a:off x="2451099" y="4953377"/>
              <a:ext cx="1941515" cy="499168"/>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dirty="0"/>
                <a:t>Ranch 3</a:t>
              </a:r>
            </a:p>
          </p:txBody>
        </p:sp>
        <p:sp>
          <p:nvSpPr>
            <p:cNvPr id="109" name="Freeform 108"/>
            <p:cNvSpPr/>
            <p:nvPr>
              <p:custDataLst>
                <p:tags r:id="rId7"/>
              </p:custDataLst>
            </p:nvPr>
          </p:nvSpPr>
          <p:spPr>
            <a:xfrm>
              <a:off x="784224" y="2330451"/>
              <a:ext cx="1551780" cy="2171698"/>
            </a:xfrm>
            <a:custGeom>
              <a:avLst/>
              <a:gdLst>
                <a:gd name="connsiteX0" fmla="*/ 0 w 2052953"/>
                <a:gd name="connsiteY0" fmla="*/ 0 h 914400"/>
                <a:gd name="connsiteX1" fmla="*/ 1664208 w 2052953"/>
                <a:gd name="connsiteY1" fmla="*/ 0 h 914400"/>
                <a:gd name="connsiteX2" fmla="*/ 2052953 w 2052953"/>
                <a:gd name="connsiteY2" fmla="*/ 469232 h 914400"/>
                <a:gd name="connsiteX3" fmla="*/ 1664208 w 2052953"/>
                <a:gd name="connsiteY3" fmla="*/ 914400 h 914400"/>
                <a:gd name="connsiteX4" fmla="*/ 0 w 2052953"/>
                <a:gd name="connsiteY4" fmla="*/ 914400 h 914400"/>
                <a:gd name="connsiteX5" fmla="*/ 0 w 2052953"/>
                <a:gd name="connsiteY5" fmla="*/ 457200 h 914400"/>
                <a:gd name="connsiteX6" fmla="*/ 0 w 2052953"/>
                <a:gd name="connsiteY6"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2953" h="914400">
                  <a:moveTo>
                    <a:pt x="0" y="0"/>
                  </a:moveTo>
                  <a:lnTo>
                    <a:pt x="1664208" y="0"/>
                  </a:lnTo>
                  <a:lnTo>
                    <a:pt x="2052953" y="469232"/>
                  </a:lnTo>
                  <a:lnTo>
                    <a:pt x="1664208" y="914400"/>
                  </a:lnTo>
                  <a:lnTo>
                    <a:pt x="0" y="914400"/>
                  </a:lnTo>
                  <a:lnTo>
                    <a:pt x="0" y="457200"/>
                  </a:lnTo>
                  <a:lnTo>
                    <a:pt x="0" y="0"/>
                  </a:lnTo>
                  <a:close/>
                </a:path>
              </a:pathLst>
            </a:cu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err="1">
                <a:solidFill>
                  <a:schemeClr val="tx1"/>
                </a:solidFill>
              </a:endParaRPr>
            </a:p>
          </p:txBody>
        </p:sp>
        <p:sp>
          <p:nvSpPr>
            <p:cNvPr id="110" name="Rectangle 25"/>
            <p:cNvSpPr txBox="1"/>
            <p:nvPr>
              <p:custDataLst>
                <p:tags r:id="rId8"/>
              </p:custDataLst>
            </p:nvPr>
          </p:nvSpPr>
          <p:spPr>
            <a:xfrm>
              <a:off x="842103" y="3136552"/>
              <a:ext cx="1389061" cy="499168"/>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Ranch 2</a:t>
              </a:r>
            </a:p>
          </p:txBody>
        </p:sp>
        <p:sp>
          <p:nvSpPr>
            <p:cNvPr id="111" name="Freeform 110"/>
            <p:cNvSpPr/>
            <p:nvPr>
              <p:custDataLst>
                <p:tags r:id="rId9"/>
              </p:custDataLst>
            </p:nvPr>
          </p:nvSpPr>
          <p:spPr>
            <a:xfrm>
              <a:off x="4502435" y="2282216"/>
              <a:ext cx="2656893" cy="2153527"/>
            </a:xfrm>
            <a:custGeom>
              <a:avLst/>
              <a:gdLst/>
              <a:ahLst/>
              <a:cxnLst/>
              <a:rect l="0" t="0" r="0" b="0"/>
              <a:pathLst>
                <a:path w="1828801" h="914401">
                  <a:moveTo>
                    <a:pt x="0" y="0"/>
                  </a:moveTo>
                  <a:lnTo>
                    <a:pt x="1664208" y="0"/>
                  </a:lnTo>
                  <a:lnTo>
                    <a:pt x="1828800" y="457200"/>
                  </a:lnTo>
                  <a:lnTo>
                    <a:pt x="1664208" y="914400"/>
                  </a:lnTo>
                  <a:lnTo>
                    <a:pt x="0" y="914400"/>
                  </a:lnTo>
                  <a:lnTo>
                    <a:pt x="0" y="457200"/>
                  </a:lnTo>
                  <a:close/>
                </a:path>
              </a:pathLst>
            </a:cu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err="1">
                <a:solidFill>
                  <a:schemeClr val="tx1"/>
                </a:solidFill>
              </a:endParaRPr>
            </a:p>
          </p:txBody>
        </p:sp>
        <p:sp>
          <p:nvSpPr>
            <p:cNvPr id="112" name="Rectangle 37"/>
            <p:cNvSpPr txBox="1"/>
            <p:nvPr>
              <p:custDataLst>
                <p:tags r:id="rId10"/>
              </p:custDataLst>
            </p:nvPr>
          </p:nvSpPr>
          <p:spPr>
            <a:xfrm>
              <a:off x="4759208" y="2829898"/>
              <a:ext cx="2214076" cy="99833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Processing plant</a:t>
              </a:r>
            </a:p>
          </p:txBody>
        </p:sp>
      </p:grpSp>
      <p:pic>
        <p:nvPicPr>
          <p:cNvPr id="219191" name="Picture 55" descr="http://images.freeimages.com/images/previews/a25/truck-1427133.jp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3830413" y="2460963"/>
            <a:ext cx="1087405" cy="868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50638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209536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26" name="think-cell Slide" r:id="rId14" imgW="493" imgH="493" progId="TCLayout.ActiveDocument.1">
                  <p:embed/>
                </p:oleObj>
              </mc:Choice>
              <mc:Fallback>
                <p:oleObj name="think-cell Slide" r:id="rId14" imgW="493" imgH="493"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500" dirty="0" err="1">
              <a:solidFill>
                <a:schemeClr val="tx1"/>
              </a:solidFill>
              <a:latin typeface="Arial" panose="020B0604020202020204" pitchFamily="34" charset="0"/>
              <a:sym typeface="Arial" panose="020B0604020202020204" pitchFamily="34" charset="0"/>
            </a:endParaRPr>
          </a:p>
        </p:txBody>
      </p:sp>
      <p:sp>
        <p:nvSpPr>
          <p:cNvPr id="94" name="Rectangle 16"/>
          <p:cNvSpPr>
            <a:spLocks noChangeArrowheads="1"/>
          </p:cNvSpPr>
          <p:nvPr/>
        </p:nvSpPr>
        <p:spPr bwMode="auto">
          <a:xfrm>
            <a:off x="171451" y="977458"/>
            <a:ext cx="8618537" cy="5256288"/>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a:extLst/>
        </p:spPr>
        <p:txBody>
          <a:bodyPr wrap="none" lIns="93212" tIns="46604" rIns="93212" bIns="46604"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2" name="Title 1"/>
          <p:cNvSpPr>
            <a:spLocks noGrp="1"/>
          </p:cNvSpPr>
          <p:nvPr>
            <p:ph type="title"/>
          </p:nvPr>
        </p:nvSpPr>
        <p:spPr>
          <a:xfrm>
            <a:off x="171451" y="230188"/>
            <a:ext cx="861853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The lab has set the following short- to mid-term targets for these initiatives</a:t>
            </a:r>
          </a:p>
        </p:txBody>
      </p:sp>
      <p:sp>
        <p:nvSpPr>
          <p:cNvPr id="17" name="Rectangle 16"/>
          <p:cNvSpPr>
            <a:spLocks/>
          </p:cNvSpPr>
          <p:nvPr/>
        </p:nvSpPr>
        <p:spPr>
          <a:xfrm>
            <a:off x="1110014" y="3139488"/>
            <a:ext cx="1206397" cy="92734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GB" sz="1200" dirty="0">
                <a:solidFill>
                  <a:schemeClr val="tx1"/>
                </a:solidFill>
              </a:rPr>
              <a:t>Nodes</a:t>
            </a:r>
          </a:p>
        </p:txBody>
      </p:sp>
      <p:sp>
        <p:nvSpPr>
          <p:cNvPr id="25" name="AutoShape 250"/>
          <p:cNvSpPr>
            <a:spLocks noChangeArrowheads="1"/>
          </p:cNvSpPr>
          <p:nvPr/>
        </p:nvSpPr>
        <p:spPr bwMode="auto">
          <a:xfrm>
            <a:off x="2472588" y="777793"/>
            <a:ext cx="930673" cy="203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200" b="1" dirty="0">
                <a:solidFill>
                  <a:schemeClr val="tx2"/>
                </a:solidFill>
                <a:latin typeface="+mn-lt"/>
              </a:rPr>
              <a:t>Initiative:</a:t>
            </a:r>
            <a:endParaRPr lang="en-US" sz="1200" b="1" baseline="0" noProof="0" dirty="0">
              <a:solidFill>
                <a:srgbClr val="808080"/>
              </a:solidFill>
              <a:latin typeface="+mn-lt"/>
            </a:endParaRPr>
          </a:p>
        </p:txBody>
      </p:sp>
      <p:sp>
        <p:nvSpPr>
          <p:cNvPr id="26" name="AutoShape 250"/>
          <p:cNvSpPr>
            <a:spLocks noChangeArrowheads="1"/>
          </p:cNvSpPr>
          <p:nvPr/>
        </p:nvSpPr>
        <p:spPr bwMode="auto">
          <a:xfrm>
            <a:off x="6887142" y="777793"/>
            <a:ext cx="930673" cy="203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200" b="1" dirty="0">
                <a:solidFill>
                  <a:schemeClr val="tx2"/>
                </a:solidFill>
                <a:latin typeface="+mn-lt"/>
              </a:rPr>
              <a:t>Target</a:t>
            </a:r>
            <a:endParaRPr lang="en-US" sz="1200" b="1" baseline="0" noProof="0" dirty="0">
              <a:solidFill>
                <a:srgbClr val="808080"/>
              </a:solidFill>
              <a:latin typeface="+mn-lt"/>
            </a:endParaRPr>
          </a:p>
        </p:txBody>
      </p:sp>
      <p:sp>
        <p:nvSpPr>
          <p:cNvPr id="27" name="AutoShape 250"/>
          <p:cNvSpPr>
            <a:spLocks noChangeArrowheads="1"/>
          </p:cNvSpPr>
          <p:nvPr/>
        </p:nvSpPr>
        <p:spPr bwMode="auto">
          <a:xfrm>
            <a:off x="5348508" y="777793"/>
            <a:ext cx="527196" cy="203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200" b="1" dirty="0">
                <a:solidFill>
                  <a:schemeClr val="tx2"/>
                </a:solidFill>
                <a:latin typeface="+mn-lt"/>
              </a:rPr>
              <a:t>Year</a:t>
            </a:r>
            <a:endParaRPr lang="en-US" sz="1200" b="1" baseline="0" noProof="0" dirty="0">
              <a:solidFill>
                <a:srgbClr val="808080"/>
              </a:solidFill>
              <a:latin typeface="+mn-lt"/>
            </a:endParaRPr>
          </a:p>
        </p:txBody>
      </p:sp>
      <p:grpSp>
        <p:nvGrpSpPr>
          <p:cNvPr id="15" name="Group 14"/>
          <p:cNvGrpSpPr/>
          <p:nvPr/>
        </p:nvGrpSpPr>
        <p:grpSpPr>
          <a:xfrm>
            <a:off x="513689" y="1056625"/>
            <a:ext cx="8036858" cy="927344"/>
            <a:chOff x="513689" y="1056625"/>
            <a:chExt cx="8036858" cy="927344"/>
          </a:xfrm>
        </p:grpSpPr>
        <p:grpSp>
          <p:nvGrpSpPr>
            <p:cNvPr id="58" name="Group 57"/>
            <p:cNvGrpSpPr>
              <a:grpSpLocks/>
            </p:cNvGrpSpPr>
            <p:nvPr/>
          </p:nvGrpSpPr>
          <p:grpSpPr>
            <a:xfrm>
              <a:off x="1110013" y="1056625"/>
              <a:ext cx="1206396" cy="927344"/>
              <a:chOff x="290515" y="1301587"/>
              <a:chExt cx="3771836" cy="2987428"/>
            </a:xfrm>
            <a:solidFill>
              <a:schemeClr val="accent3"/>
            </a:solidFill>
          </p:grpSpPr>
          <p:sp>
            <p:nvSpPr>
              <p:cNvPr id="60" name="Freeform 6"/>
              <p:cNvSpPr>
                <a:spLocks noEditPoints="1"/>
              </p:cNvSpPr>
              <p:nvPr>
                <p:custDataLst>
                  <p:tags r:id="rId4"/>
                </p:custDataLst>
              </p:nvPr>
            </p:nvSpPr>
            <p:spPr bwMode="gray">
              <a:xfrm>
                <a:off x="572228" y="3250317"/>
                <a:ext cx="1458652" cy="1038698"/>
              </a:xfrm>
              <a:custGeom>
                <a:avLst/>
                <a:gdLst>
                  <a:gd name="T0" fmla="*/ 16877 w 1678"/>
                  <a:gd name="T1" fmla="*/ 35515 h 1190"/>
                  <a:gd name="T2" fmla="*/ 52537 w 1678"/>
                  <a:gd name="T3" fmla="*/ 6010 h 1190"/>
                  <a:gd name="T4" fmla="*/ 83297 w 1678"/>
                  <a:gd name="T5" fmla="*/ 58736 h 1190"/>
                  <a:gd name="T6" fmla="*/ 94186 w 1678"/>
                  <a:gd name="T7" fmla="*/ 95890 h 1190"/>
                  <a:gd name="T8" fmla="*/ 106436 w 1678"/>
                  <a:gd name="T9" fmla="*/ 106818 h 1190"/>
                  <a:gd name="T10" fmla="*/ 117324 w 1678"/>
                  <a:gd name="T11" fmla="*/ 120751 h 1190"/>
                  <a:gd name="T12" fmla="*/ 115691 w 1678"/>
                  <a:gd name="T13" fmla="*/ 142333 h 1190"/>
                  <a:gd name="T14" fmla="*/ 129574 w 1678"/>
                  <a:gd name="T15" fmla="*/ 148617 h 1190"/>
                  <a:gd name="T16" fmla="*/ 165234 w 1678"/>
                  <a:gd name="T17" fmla="*/ 131406 h 1190"/>
                  <a:gd name="T18" fmla="*/ 168228 w 1678"/>
                  <a:gd name="T19" fmla="*/ 163916 h 1190"/>
                  <a:gd name="T20" fmla="*/ 206882 w 1678"/>
                  <a:gd name="T21" fmla="*/ 184132 h 1190"/>
                  <a:gd name="T22" fmla="*/ 246898 w 1678"/>
                  <a:gd name="T23" fmla="*/ 146978 h 1190"/>
                  <a:gd name="T24" fmla="*/ 288547 w 1678"/>
                  <a:gd name="T25" fmla="*/ 134684 h 1190"/>
                  <a:gd name="T26" fmla="*/ 307057 w 1678"/>
                  <a:gd name="T27" fmla="*/ 106818 h 1190"/>
                  <a:gd name="T28" fmla="*/ 353334 w 1678"/>
                  <a:gd name="T29" fmla="*/ 105179 h 1190"/>
                  <a:gd name="T30" fmla="*/ 407504 w 1678"/>
                  <a:gd name="T31" fmla="*/ 94252 h 1190"/>
                  <a:gd name="T32" fmla="*/ 438264 w 1678"/>
                  <a:gd name="T33" fmla="*/ 94252 h 1190"/>
                  <a:gd name="T34" fmla="*/ 449153 w 1678"/>
                  <a:gd name="T35" fmla="*/ 116107 h 1190"/>
                  <a:gd name="T36" fmla="*/ 422748 w 1678"/>
                  <a:gd name="T37" fmla="*/ 130040 h 1190"/>
                  <a:gd name="T38" fmla="*/ 385727 w 1678"/>
                  <a:gd name="T39" fmla="*/ 163916 h 1190"/>
                  <a:gd name="T40" fmla="*/ 373478 w 1678"/>
                  <a:gd name="T41" fmla="*/ 181127 h 1190"/>
                  <a:gd name="T42" fmla="*/ 359595 w 1678"/>
                  <a:gd name="T43" fmla="*/ 219647 h 1190"/>
                  <a:gd name="T44" fmla="*/ 394982 w 1678"/>
                  <a:gd name="T45" fmla="*/ 244507 h 1190"/>
                  <a:gd name="T46" fmla="*/ 405870 w 1678"/>
                  <a:gd name="T47" fmla="*/ 261719 h 1190"/>
                  <a:gd name="T48" fmla="*/ 394982 w 1678"/>
                  <a:gd name="T49" fmla="*/ 271007 h 1190"/>
                  <a:gd name="T50" fmla="*/ 368850 w 1678"/>
                  <a:gd name="T51" fmla="*/ 267729 h 1190"/>
                  <a:gd name="T52" fmla="*/ 367216 w 1678"/>
                  <a:gd name="T53" fmla="*/ 267729 h 1190"/>
                  <a:gd name="T54" fmla="*/ 334823 w 1678"/>
                  <a:gd name="T55" fmla="*/ 263084 h 1190"/>
                  <a:gd name="T56" fmla="*/ 313318 w 1678"/>
                  <a:gd name="T57" fmla="*/ 266363 h 1190"/>
                  <a:gd name="T58" fmla="*/ 300797 w 1678"/>
                  <a:gd name="T59" fmla="*/ 278656 h 1190"/>
                  <a:gd name="T60" fmla="*/ 283919 w 1678"/>
                  <a:gd name="T61" fmla="*/ 287945 h 1190"/>
                  <a:gd name="T62" fmla="*/ 265408 w 1678"/>
                  <a:gd name="T63" fmla="*/ 289584 h 1190"/>
                  <a:gd name="T64" fmla="*/ 245264 w 1678"/>
                  <a:gd name="T65" fmla="*/ 295595 h 1190"/>
                  <a:gd name="T66" fmla="*/ 217499 w 1678"/>
                  <a:gd name="T67" fmla="*/ 289584 h 1190"/>
                  <a:gd name="T68" fmla="*/ 209877 w 1678"/>
                  <a:gd name="T69" fmla="*/ 297234 h 1190"/>
                  <a:gd name="T70" fmla="*/ 182111 w 1678"/>
                  <a:gd name="T71" fmla="*/ 304883 h 1190"/>
                  <a:gd name="T72" fmla="*/ 155978 w 1678"/>
                  <a:gd name="T73" fmla="*/ 318816 h 1190"/>
                  <a:gd name="T74" fmla="*/ 138829 w 1678"/>
                  <a:gd name="T75" fmla="*/ 318816 h 1190"/>
                  <a:gd name="T76" fmla="*/ 121951 w 1678"/>
                  <a:gd name="T77" fmla="*/ 315811 h 1190"/>
                  <a:gd name="T78" fmla="*/ 103441 w 1678"/>
                  <a:gd name="T79" fmla="*/ 309527 h 1190"/>
                  <a:gd name="T80" fmla="*/ 94186 w 1678"/>
                  <a:gd name="T81" fmla="*/ 294228 h 1190"/>
                  <a:gd name="T82" fmla="*/ 92553 w 1678"/>
                  <a:gd name="T83" fmla="*/ 286306 h 1190"/>
                  <a:gd name="T84" fmla="*/ 74042 w 1678"/>
                  <a:gd name="T85" fmla="*/ 290950 h 1190"/>
                  <a:gd name="T86" fmla="*/ 72409 w 1678"/>
                  <a:gd name="T87" fmla="*/ 281662 h 1190"/>
                  <a:gd name="T88" fmla="*/ 55532 w 1678"/>
                  <a:gd name="T89" fmla="*/ 267729 h 1190"/>
                  <a:gd name="T90" fmla="*/ 46276 w 1678"/>
                  <a:gd name="T91" fmla="*/ 280296 h 1190"/>
                  <a:gd name="T92" fmla="*/ 38655 w 1678"/>
                  <a:gd name="T93" fmla="*/ 283301 h 1190"/>
                  <a:gd name="T94" fmla="*/ 38655 w 1678"/>
                  <a:gd name="T95" fmla="*/ 266363 h 1190"/>
                  <a:gd name="T96" fmla="*/ 46276 w 1678"/>
                  <a:gd name="T97" fmla="*/ 255435 h 1190"/>
                  <a:gd name="T98" fmla="*/ 40015 w 1678"/>
                  <a:gd name="T99" fmla="*/ 233580 h 1190"/>
                  <a:gd name="T100" fmla="*/ 24771 w 1678"/>
                  <a:gd name="T101" fmla="*/ 210359 h 1190"/>
                  <a:gd name="T102" fmla="*/ 15516 w 1678"/>
                  <a:gd name="T103" fmla="*/ 195060 h 1190"/>
                  <a:gd name="T104" fmla="*/ 16877 w 1678"/>
                  <a:gd name="T105" fmla="*/ 198065 h 1190"/>
                  <a:gd name="T106" fmla="*/ 7622 w 1678"/>
                  <a:gd name="T107" fmla="*/ 191781 h 1190"/>
                  <a:gd name="T108" fmla="*/ 4628 w 1678"/>
                  <a:gd name="T109" fmla="*/ 176483 h 1190"/>
                  <a:gd name="T110" fmla="*/ 16877 w 1678"/>
                  <a:gd name="T111" fmla="*/ 170199 h 1190"/>
                  <a:gd name="T112" fmla="*/ 35388 w 1678"/>
                  <a:gd name="T113" fmla="*/ 160911 h 1190"/>
                  <a:gd name="T114" fmla="*/ 37021 w 1678"/>
                  <a:gd name="T115" fmla="*/ 122117 h 1190"/>
                  <a:gd name="T116" fmla="*/ 34027 w 1678"/>
                  <a:gd name="T117" fmla="*/ 102174 h 1190"/>
                  <a:gd name="T118" fmla="*/ 23138 w 1678"/>
                  <a:gd name="T119" fmla="*/ 81958 h 1190"/>
                  <a:gd name="T120" fmla="*/ 2994 w 1678"/>
                  <a:gd name="T121" fmla="*/ 58736 h 11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678" h="1190">
                    <a:moveTo>
                      <a:pt x="74" y="810"/>
                    </a:moveTo>
                    <a:lnTo>
                      <a:pt x="68" y="804"/>
                    </a:lnTo>
                    <a:lnTo>
                      <a:pt x="74" y="804"/>
                    </a:lnTo>
                    <a:lnTo>
                      <a:pt x="74" y="810"/>
                    </a:lnTo>
                    <a:close/>
                    <a:moveTo>
                      <a:pt x="147" y="912"/>
                    </a:moveTo>
                    <a:lnTo>
                      <a:pt x="142" y="912"/>
                    </a:lnTo>
                    <a:lnTo>
                      <a:pt x="142" y="907"/>
                    </a:lnTo>
                    <a:lnTo>
                      <a:pt x="147" y="907"/>
                    </a:lnTo>
                    <a:lnTo>
                      <a:pt x="147" y="912"/>
                    </a:lnTo>
                    <a:close/>
                    <a:moveTo>
                      <a:pt x="0" y="192"/>
                    </a:moveTo>
                    <a:lnTo>
                      <a:pt x="17" y="198"/>
                    </a:lnTo>
                    <a:lnTo>
                      <a:pt x="11" y="175"/>
                    </a:lnTo>
                    <a:lnTo>
                      <a:pt x="40" y="153"/>
                    </a:lnTo>
                    <a:lnTo>
                      <a:pt x="28" y="136"/>
                    </a:lnTo>
                    <a:lnTo>
                      <a:pt x="62" y="130"/>
                    </a:lnTo>
                    <a:lnTo>
                      <a:pt x="62" y="96"/>
                    </a:lnTo>
                    <a:lnTo>
                      <a:pt x="74" y="96"/>
                    </a:lnTo>
                    <a:lnTo>
                      <a:pt x="79" y="96"/>
                    </a:lnTo>
                    <a:lnTo>
                      <a:pt x="85" y="96"/>
                    </a:lnTo>
                    <a:lnTo>
                      <a:pt x="91" y="102"/>
                    </a:lnTo>
                    <a:lnTo>
                      <a:pt x="108" y="113"/>
                    </a:lnTo>
                    <a:lnTo>
                      <a:pt x="119" y="102"/>
                    </a:lnTo>
                    <a:lnTo>
                      <a:pt x="130" y="102"/>
                    </a:lnTo>
                    <a:lnTo>
                      <a:pt x="147" y="85"/>
                    </a:lnTo>
                    <a:lnTo>
                      <a:pt x="159" y="62"/>
                    </a:lnTo>
                    <a:lnTo>
                      <a:pt x="164" y="39"/>
                    </a:lnTo>
                    <a:lnTo>
                      <a:pt x="170" y="22"/>
                    </a:lnTo>
                    <a:lnTo>
                      <a:pt x="170" y="5"/>
                    </a:lnTo>
                    <a:lnTo>
                      <a:pt x="198" y="39"/>
                    </a:lnTo>
                    <a:lnTo>
                      <a:pt x="193" y="22"/>
                    </a:lnTo>
                    <a:lnTo>
                      <a:pt x="193" y="5"/>
                    </a:lnTo>
                    <a:lnTo>
                      <a:pt x="215" y="0"/>
                    </a:lnTo>
                    <a:lnTo>
                      <a:pt x="238" y="34"/>
                    </a:lnTo>
                    <a:lnTo>
                      <a:pt x="261" y="39"/>
                    </a:lnTo>
                    <a:lnTo>
                      <a:pt x="272" y="51"/>
                    </a:lnTo>
                    <a:lnTo>
                      <a:pt x="266" y="62"/>
                    </a:lnTo>
                    <a:lnTo>
                      <a:pt x="289" y="79"/>
                    </a:lnTo>
                    <a:lnTo>
                      <a:pt x="312" y="79"/>
                    </a:lnTo>
                    <a:lnTo>
                      <a:pt x="317" y="119"/>
                    </a:lnTo>
                    <a:lnTo>
                      <a:pt x="295" y="124"/>
                    </a:lnTo>
                    <a:lnTo>
                      <a:pt x="317" y="136"/>
                    </a:lnTo>
                    <a:lnTo>
                      <a:pt x="300" y="147"/>
                    </a:lnTo>
                    <a:lnTo>
                      <a:pt x="295" y="164"/>
                    </a:lnTo>
                    <a:lnTo>
                      <a:pt x="312" y="187"/>
                    </a:lnTo>
                    <a:lnTo>
                      <a:pt x="306" y="215"/>
                    </a:lnTo>
                    <a:lnTo>
                      <a:pt x="312" y="226"/>
                    </a:lnTo>
                    <a:lnTo>
                      <a:pt x="329" y="232"/>
                    </a:lnTo>
                    <a:lnTo>
                      <a:pt x="317" y="243"/>
                    </a:lnTo>
                    <a:lnTo>
                      <a:pt x="329" y="255"/>
                    </a:lnTo>
                    <a:lnTo>
                      <a:pt x="329" y="272"/>
                    </a:lnTo>
                    <a:lnTo>
                      <a:pt x="323" y="289"/>
                    </a:lnTo>
                    <a:lnTo>
                      <a:pt x="340" y="294"/>
                    </a:lnTo>
                    <a:lnTo>
                      <a:pt x="334" y="300"/>
                    </a:lnTo>
                    <a:lnTo>
                      <a:pt x="340" y="306"/>
                    </a:lnTo>
                    <a:lnTo>
                      <a:pt x="346" y="311"/>
                    </a:lnTo>
                    <a:lnTo>
                      <a:pt x="340" y="311"/>
                    </a:lnTo>
                    <a:lnTo>
                      <a:pt x="340" y="328"/>
                    </a:lnTo>
                    <a:lnTo>
                      <a:pt x="334" y="328"/>
                    </a:lnTo>
                    <a:lnTo>
                      <a:pt x="340" y="345"/>
                    </a:lnTo>
                    <a:lnTo>
                      <a:pt x="346" y="351"/>
                    </a:lnTo>
                    <a:lnTo>
                      <a:pt x="346" y="357"/>
                    </a:lnTo>
                    <a:lnTo>
                      <a:pt x="340" y="362"/>
                    </a:lnTo>
                    <a:lnTo>
                      <a:pt x="340" y="368"/>
                    </a:lnTo>
                    <a:lnTo>
                      <a:pt x="329" y="379"/>
                    </a:lnTo>
                    <a:lnTo>
                      <a:pt x="329" y="396"/>
                    </a:lnTo>
                    <a:lnTo>
                      <a:pt x="334" y="396"/>
                    </a:lnTo>
                    <a:lnTo>
                      <a:pt x="340" y="396"/>
                    </a:lnTo>
                    <a:lnTo>
                      <a:pt x="346" y="396"/>
                    </a:lnTo>
                    <a:lnTo>
                      <a:pt x="351" y="396"/>
                    </a:lnTo>
                    <a:lnTo>
                      <a:pt x="351" y="402"/>
                    </a:lnTo>
                    <a:lnTo>
                      <a:pt x="357" y="402"/>
                    </a:lnTo>
                    <a:lnTo>
                      <a:pt x="363" y="402"/>
                    </a:lnTo>
                    <a:lnTo>
                      <a:pt x="368" y="402"/>
                    </a:lnTo>
                    <a:lnTo>
                      <a:pt x="368" y="408"/>
                    </a:lnTo>
                    <a:lnTo>
                      <a:pt x="391" y="391"/>
                    </a:lnTo>
                    <a:lnTo>
                      <a:pt x="391" y="396"/>
                    </a:lnTo>
                    <a:lnTo>
                      <a:pt x="385" y="402"/>
                    </a:lnTo>
                    <a:lnTo>
                      <a:pt x="385" y="408"/>
                    </a:lnTo>
                    <a:lnTo>
                      <a:pt x="385" y="413"/>
                    </a:lnTo>
                    <a:lnTo>
                      <a:pt x="391" y="413"/>
                    </a:lnTo>
                    <a:lnTo>
                      <a:pt x="397" y="419"/>
                    </a:lnTo>
                    <a:lnTo>
                      <a:pt x="402" y="425"/>
                    </a:lnTo>
                    <a:lnTo>
                      <a:pt x="402" y="430"/>
                    </a:lnTo>
                    <a:lnTo>
                      <a:pt x="408" y="436"/>
                    </a:lnTo>
                    <a:lnTo>
                      <a:pt x="408" y="430"/>
                    </a:lnTo>
                    <a:lnTo>
                      <a:pt x="414" y="436"/>
                    </a:lnTo>
                    <a:lnTo>
                      <a:pt x="419" y="436"/>
                    </a:lnTo>
                    <a:lnTo>
                      <a:pt x="425" y="436"/>
                    </a:lnTo>
                    <a:lnTo>
                      <a:pt x="431" y="436"/>
                    </a:lnTo>
                    <a:lnTo>
                      <a:pt x="431" y="442"/>
                    </a:lnTo>
                    <a:lnTo>
                      <a:pt x="436" y="442"/>
                    </a:lnTo>
                    <a:lnTo>
                      <a:pt x="436" y="447"/>
                    </a:lnTo>
                    <a:lnTo>
                      <a:pt x="442" y="447"/>
                    </a:lnTo>
                    <a:lnTo>
                      <a:pt x="448" y="447"/>
                    </a:lnTo>
                    <a:lnTo>
                      <a:pt x="442" y="453"/>
                    </a:lnTo>
                    <a:lnTo>
                      <a:pt x="442" y="459"/>
                    </a:lnTo>
                    <a:lnTo>
                      <a:pt x="442" y="464"/>
                    </a:lnTo>
                    <a:lnTo>
                      <a:pt x="442" y="470"/>
                    </a:lnTo>
                    <a:lnTo>
                      <a:pt x="448" y="476"/>
                    </a:lnTo>
                    <a:lnTo>
                      <a:pt x="448" y="481"/>
                    </a:lnTo>
                    <a:lnTo>
                      <a:pt x="448" y="487"/>
                    </a:lnTo>
                    <a:lnTo>
                      <a:pt x="448" y="493"/>
                    </a:lnTo>
                    <a:lnTo>
                      <a:pt x="431" y="498"/>
                    </a:lnTo>
                    <a:lnTo>
                      <a:pt x="419" y="504"/>
                    </a:lnTo>
                    <a:lnTo>
                      <a:pt x="425" y="521"/>
                    </a:lnTo>
                    <a:lnTo>
                      <a:pt x="431" y="527"/>
                    </a:lnTo>
                    <a:lnTo>
                      <a:pt x="431" y="532"/>
                    </a:lnTo>
                    <a:lnTo>
                      <a:pt x="436" y="532"/>
                    </a:lnTo>
                    <a:lnTo>
                      <a:pt x="436" y="538"/>
                    </a:lnTo>
                    <a:lnTo>
                      <a:pt x="442" y="544"/>
                    </a:lnTo>
                    <a:lnTo>
                      <a:pt x="442" y="549"/>
                    </a:lnTo>
                    <a:lnTo>
                      <a:pt x="448" y="549"/>
                    </a:lnTo>
                    <a:lnTo>
                      <a:pt x="442" y="583"/>
                    </a:lnTo>
                    <a:lnTo>
                      <a:pt x="453" y="600"/>
                    </a:lnTo>
                    <a:lnTo>
                      <a:pt x="470" y="589"/>
                    </a:lnTo>
                    <a:lnTo>
                      <a:pt x="470" y="583"/>
                    </a:lnTo>
                    <a:lnTo>
                      <a:pt x="465" y="578"/>
                    </a:lnTo>
                    <a:lnTo>
                      <a:pt x="465" y="572"/>
                    </a:lnTo>
                    <a:lnTo>
                      <a:pt x="476" y="555"/>
                    </a:lnTo>
                    <a:lnTo>
                      <a:pt x="476" y="544"/>
                    </a:lnTo>
                    <a:lnTo>
                      <a:pt x="482" y="538"/>
                    </a:lnTo>
                    <a:lnTo>
                      <a:pt x="487" y="549"/>
                    </a:lnTo>
                    <a:lnTo>
                      <a:pt x="499" y="544"/>
                    </a:lnTo>
                    <a:lnTo>
                      <a:pt x="499" y="538"/>
                    </a:lnTo>
                    <a:lnTo>
                      <a:pt x="505" y="532"/>
                    </a:lnTo>
                    <a:lnTo>
                      <a:pt x="510" y="538"/>
                    </a:lnTo>
                    <a:lnTo>
                      <a:pt x="522" y="527"/>
                    </a:lnTo>
                    <a:lnTo>
                      <a:pt x="527" y="521"/>
                    </a:lnTo>
                    <a:lnTo>
                      <a:pt x="539" y="521"/>
                    </a:lnTo>
                    <a:lnTo>
                      <a:pt x="539" y="527"/>
                    </a:lnTo>
                    <a:lnTo>
                      <a:pt x="556" y="527"/>
                    </a:lnTo>
                    <a:lnTo>
                      <a:pt x="584" y="504"/>
                    </a:lnTo>
                    <a:lnTo>
                      <a:pt x="590" y="493"/>
                    </a:lnTo>
                    <a:lnTo>
                      <a:pt x="601" y="493"/>
                    </a:lnTo>
                    <a:lnTo>
                      <a:pt x="607" y="481"/>
                    </a:lnTo>
                    <a:lnTo>
                      <a:pt x="618" y="476"/>
                    </a:lnTo>
                    <a:lnTo>
                      <a:pt x="624" y="470"/>
                    </a:lnTo>
                    <a:lnTo>
                      <a:pt x="629" y="476"/>
                    </a:lnTo>
                    <a:lnTo>
                      <a:pt x="629" y="481"/>
                    </a:lnTo>
                    <a:lnTo>
                      <a:pt x="635" y="487"/>
                    </a:lnTo>
                    <a:lnTo>
                      <a:pt x="641" y="504"/>
                    </a:lnTo>
                    <a:lnTo>
                      <a:pt x="635" y="504"/>
                    </a:lnTo>
                    <a:lnTo>
                      <a:pt x="612" y="515"/>
                    </a:lnTo>
                    <a:lnTo>
                      <a:pt x="618" y="527"/>
                    </a:lnTo>
                    <a:lnTo>
                      <a:pt x="607" y="532"/>
                    </a:lnTo>
                    <a:lnTo>
                      <a:pt x="595" y="527"/>
                    </a:lnTo>
                    <a:lnTo>
                      <a:pt x="595" y="544"/>
                    </a:lnTo>
                    <a:lnTo>
                      <a:pt x="601" y="561"/>
                    </a:lnTo>
                    <a:lnTo>
                      <a:pt x="607" y="595"/>
                    </a:lnTo>
                    <a:lnTo>
                      <a:pt x="618" y="600"/>
                    </a:lnTo>
                    <a:lnTo>
                      <a:pt x="624" y="606"/>
                    </a:lnTo>
                    <a:lnTo>
                      <a:pt x="624" y="629"/>
                    </a:lnTo>
                    <a:lnTo>
                      <a:pt x="629" y="634"/>
                    </a:lnTo>
                    <a:lnTo>
                      <a:pt x="635" y="634"/>
                    </a:lnTo>
                    <a:lnTo>
                      <a:pt x="646" y="634"/>
                    </a:lnTo>
                    <a:lnTo>
                      <a:pt x="658" y="651"/>
                    </a:lnTo>
                    <a:lnTo>
                      <a:pt x="663" y="657"/>
                    </a:lnTo>
                    <a:lnTo>
                      <a:pt x="663" y="668"/>
                    </a:lnTo>
                    <a:lnTo>
                      <a:pt x="675" y="668"/>
                    </a:lnTo>
                    <a:lnTo>
                      <a:pt x="686" y="674"/>
                    </a:lnTo>
                    <a:lnTo>
                      <a:pt x="703" y="674"/>
                    </a:lnTo>
                    <a:lnTo>
                      <a:pt x="720" y="663"/>
                    </a:lnTo>
                    <a:lnTo>
                      <a:pt x="731" y="674"/>
                    </a:lnTo>
                    <a:lnTo>
                      <a:pt x="743" y="674"/>
                    </a:lnTo>
                    <a:lnTo>
                      <a:pt x="760" y="674"/>
                    </a:lnTo>
                    <a:lnTo>
                      <a:pt x="765" y="668"/>
                    </a:lnTo>
                    <a:lnTo>
                      <a:pt x="782" y="663"/>
                    </a:lnTo>
                    <a:lnTo>
                      <a:pt x="788" y="640"/>
                    </a:lnTo>
                    <a:lnTo>
                      <a:pt x="788" y="623"/>
                    </a:lnTo>
                    <a:lnTo>
                      <a:pt x="782" y="617"/>
                    </a:lnTo>
                    <a:lnTo>
                      <a:pt x="782" y="612"/>
                    </a:lnTo>
                    <a:lnTo>
                      <a:pt x="794" y="606"/>
                    </a:lnTo>
                    <a:lnTo>
                      <a:pt x="828" y="595"/>
                    </a:lnTo>
                    <a:lnTo>
                      <a:pt x="839" y="600"/>
                    </a:lnTo>
                    <a:lnTo>
                      <a:pt x="879" y="589"/>
                    </a:lnTo>
                    <a:lnTo>
                      <a:pt x="873" y="578"/>
                    </a:lnTo>
                    <a:lnTo>
                      <a:pt x="884" y="561"/>
                    </a:lnTo>
                    <a:lnTo>
                      <a:pt x="890" y="549"/>
                    </a:lnTo>
                    <a:lnTo>
                      <a:pt x="901" y="544"/>
                    </a:lnTo>
                    <a:lnTo>
                      <a:pt x="907" y="538"/>
                    </a:lnTo>
                    <a:lnTo>
                      <a:pt x="913" y="532"/>
                    </a:lnTo>
                    <a:lnTo>
                      <a:pt x="913" y="521"/>
                    </a:lnTo>
                    <a:lnTo>
                      <a:pt x="924" y="527"/>
                    </a:lnTo>
                    <a:lnTo>
                      <a:pt x="941" y="521"/>
                    </a:lnTo>
                    <a:lnTo>
                      <a:pt x="947" y="521"/>
                    </a:lnTo>
                    <a:lnTo>
                      <a:pt x="958" y="510"/>
                    </a:lnTo>
                    <a:lnTo>
                      <a:pt x="964" y="510"/>
                    </a:lnTo>
                    <a:lnTo>
                      <a:pt x="981" y="504"/>
                    </a:lnTo>
                    <a:lnTo>
                      <a:pt x="981" y="487"/>
                    </a:lnTo>
                    <a:lnTo>
                      <a:pt x="998" y="476"/>
                    </a:lnTo>
                    <a:lnTo>
                      <a:pt x="1015" y="487"/>
                    </a:lnTo>
                    <a:lnTo>
                      <a:pt x="1026" y="476"/>
                    </a:lnTo>
                    <a:lnTo>
                      <a:pt x="1037" y="481"/>
                    </a:lnTo>
                    <a:lnTo>
                      <a:pt x="1037" y="487"/>
                    </a:lnTo>
                    <a:lnTo>
                      <a:pt x="1060" y="493"/>
                    </a:lnTo>
                    <a:lnTo>
                      <a:pt x="1077" y="493"/>
                    </a:lnTo>
                    <a:lnTo>
                      <a:pt x="1083" y="481"/>
                    </a:lnTo>
                    <a:lnTo>
                      <a:pt x="1100" y="476"/>
                    </a:lnTo>
                    <a:lnTo>
                      <a:pt x="1100" y="453"/>
                    </a:lnTo>
                    <a:lnTo>
                      <a:pt x="1117" y="442"/>
                    </a:lnTo>
                    <a:lnTo>
                      <a:pt x="1122" y="459"/>
                    </a:lnTo>
                    <a:lnTo>
                      <a:pt x="1134" y="436"/>
                    </a:lnTo>
                    <a:lnTo>
                      <a:pt x="1122" y="430"/>
                    </a:lnTo>
                    <a:lnTo>
                      <a:pt x="1122" y="425"/>
                    </a:lnTo>
                    <a:lnTo>
                      <a:pt x="1122" y="419"/>
                    </a:lnTo>
                    <a:lnTo>
                      <a:pt x="1122" y="413"/>
                    </a:lnTo>
                    <a:lnTo>
                      <a:pt x="1117" y="402"/>
                    </a:lnTo>
                    <a:lnTo>
                      <a:pt x="1122" y="402"/>
                    </a:lnTo>
                    <a:lnTo>
                      <a:pt x="1128" y="396"/>
                    </a:lnTo>
                    <a:lnTo>
                      <a:pt x="1128" y="391"/>
                    </a:lnTo>
                    <a:lnTo>
                      <a:pt x="1122" y="385"/>
                    </a:lnTo>
                    <a:lnTo>
                      <a:pt x="1145" y="391"/>
                    </a:lnTo>
                    <a:lnTo>
                      <a:pt x="1145" y="362"/>
                    </a:lnTo>
                    <a:lnTo>
                      <a:pt x="1162" y="345"/>
                    </a:lnTo>
                    <a:lnTo>
                      <a:pt x="1168" y="328"/>
                    </a:lnTo>
                    <a:lnTo>
                      <a:pt x="1173" y="311"/>
                    </a:lnTo>
                    <a:lnTo>
                      <a:pt x="1179" y="311"/>
                    </a:lnTo>
                    <a:lnTo>
                      <a:pt x="1224" y="334"/>
                    </a:lnTo>
                    <a:lnTo>
                      <a:pt x="1247" y="334"/>
                    </a:lnTo>
                    <a:lnTo>
                      <a:pt x="1247" y="345"/>
                    </a:lnTo>
                    <a:lnTo>
                      <a:pt x="1258" y="351"/>
                    </a:lnTo>
                    <a:lnTo>
                      <a:pt x="1247" y="368"/>
                    </a:lnTo>
                    <a:lnTo>
                      <a:pt x="1264" y="374"/>
                    </a:lnTo>
                    <a:lnTo>
                      <a:pt x="1292" y="374"/>
                    </a:lnTo>
                    <a:lnTo>
                      <a:pt x="1298" y="385"/>
                    </a:lnTo>
                    <a:lnTo>
                      <a:pt x="1321" y="379"/>
                    </a:lnTo>
                    <a:lnTo>
                      <a:pt x="1321" y="385"/>
                    </a:lnTo>
                    <a:lnTo>
                      <a:pt x="1332" y="391"/>
                    </a:lnTo>
                    <a:lnTo>
                      <a:pt x="1349" y="385"/>
                    </a:lnTo>
                    <a:lnTo>
                      <a:pt x="1372" y="391"/>
                    </a:lnTo>
                    <a:lnTo>
                      <a:pt x="1372" y="402"/>
                    </a:lnTo>
                    <a:lnTo>
                      <a:pt x="1377" y="419"/>
                    </a:lnTo>
                    <a:lnTo>
                      <a:pt x="1417" y="391"/>
                    </a:lnTo>
                    <a:lnTo>
                      <a:pt x="1417" y="379"/>
                    </a:lnTo>
                    <a:lnTo>
                      <a:pt x="1429" y="374"/>
                    </a:lnTo>
                    <a:lnTo>
                      <a:pt x="1434" y="357"/>
                    </a:lnTo>
                    <a:lnTo>
                      <a:pt x="1446" y="345"/>
                    </a:lnTo>
                    <a:lnTo>
                      <a:pt x="1468" y="345"/>
                    </a:lnTo>
                    <a:lnTo>
                      <a:pt x="1468" y="340"/>
                    </a:lnTo>
                    <a:lnTo>
                      <a:pt x="1497" y="345"/>
                    </a:lnTo>
                    <a:lnTo>
                      <a:pt x="1502" y="340"/>
                    </a:lnTo>
                    <a:lnTo>
                      <a:pt x="1514" y="340"/>
                    </a:lnTo>
                    <a:lnTo>
                      <a:pt x="1519" y="328"/>
                    </a:lnTo>
                    <a:lnTo>
                      <a:pt x="1525" y="334"/>
                    </a:lnTo>
                    <a:lnTo>
                      <a:pt x="1553" y="334"/>
                    </a:lnTo>
                    <a:lnTo>
                      <a:pt x="1553" y="340"/>
                    </a:lnTo>
                    <a:lnTo>
                      <a:pt x="1582" y="351"/>
                    </a:lnTo>
                    <a:lnTo>
                      <a:pt x="1582" y="357"/>
                    </a:lnTo>
                    <a:lnTo>
                      <a:pt x="1570" y="362"/>
                    </a:lnTo>
                    <a:lnTo>
                      <a:pt x="1582" y="368"/>
                    </a:lnTo>
                    <a:lnTo>
                      <a:pt x="1587" y="379"/>
                    </a:lnTo>
                    <a:lnTo>
                      <a:pt x="1593" y="374"/>
                    </a:lnTo>
                    <a:lnTo>
                      <a:pt x="1599" y="368"/>
                    </a:lnTo>
                    <a:lnTo>
                      <a:pt x="1610" y="362"/>
                    </a:lnTo>
                    <a:lnTo>
                      <a:pt x="1610" y="345"/>
                    </a:lnTo>
                    <a:lnTo>
                      <a:pt x="1633" y="345"/>
                    </a:lnTo>
                    <a:lnTo>
                      <a:pt x="1627" y="351"/>
                    </a:lnTo>
                    <a:lnTo>
                      <a:pt x="1638" y="368"/>
                    </a:lnTo>
                    <a:lnTo>
                      <a:pt x="1661" y="368"/>
                    </a:lnTo>
                    <a:lnTo>
                      <a:pt x="1667" y="374"/>
                    </a:lnTo>
                    <a:lnTo>
                      <a:pt x="1661" y="374"/>
                    </a:lnTo>
                    <a:lnTo>
                      <a:pt x="1661" y="385"/>
                    </a:lnTo>
                    <a:lnTo>
                      <a:pt x="1655" y="385"/>
                    </a:lnTo>
                    <a:lnTo>
                      <a:pt x="1650" y="396"/>
                    </a:lnTo>
                    <a:lnTo>
                      <a:pt x="1661" y="396"/>
                    </a:lnTo>
                    <a:lnTo>
                      <a:pt x="1672" y="402"/>
                    </a:lnTo>
                    <a:lnTo>
                      <a:pt x="1672" y="408"/>
                    </a:lnTo>
                    <a:lnTo>
                      <a:pt x="1678" y="408"/>
                    </a:lnTo>
                    <a:lnTo>
                      <a:pt x="1661" y="425"/>
                    </a:lnTo>
                    <a:lnTo>
                      <a:pt x="1650" y="425"/>
                    </a:lnTo>
                    <a:lnTo>
                      <a:pt x="1650" y="430"/>
                    </a:lnTo>
                    <a:lnTo>
                      <a:pt x="1655" y="430"/>
                    </a:lnTo>
                    <a:lnTo>
                      <a:pt x="1655" y="436"/>
                    </a:lnTo>
                    <a:lnTo>
                      <a:pt x="1644" y="436"/>
                    </a:lnTo>
                    <a:lnTo>
                      <a:pt x="1644" y="447"/>
                    </a:lnTo>
                    <a:lnTo>
                      <a:pt x="1650" y="447"/>
                    </a:lnTo>
                    <a:lnTo>
                      <a:pt x="1650" y="459"/>
                    </a:lnTo>
                    <a:lnTo>
                      <a:pt x="1638" y="464"/>
                    </a:lnTo>
                    <a:lnTo>
                      <a:pt x="1627" y="464"/>
                    </a:lnTo>
                    <a:lnTo>
                      <a:pt x="1627" y="470"/>
                    </a:lnTo>
                    <a:lnTo>
                      <a:pt x="1587" y="493"/>
                    </a:lnTo>
                    <a:lnTo>
                      <a:pt x="1576" y="487"/>
                    </a:lnTo>
                    <a:lnTo>
                      <a:pt x="1570" y="481"/>
                    </a:lnTo>
                    <a:lnTo>
                      <a:pt x="1553" y="470"/>
                    </a:lnTo>
                    <a:lnTo>
                      <a:pt x="1553" y="476"/>
                    </a:lnTo>
                    <a:lnTo>
                      <a:pt x="1531" y="487"/>
                    </a:lnTo>
                    <a:lnTo>
                      <a:pt x="1525" y="504"/>
                    </a:lnTo>
                    <a:lnTo>
                      <a:pt x="1531" y="510"/>
                    </a:lnTo>
                    <a:lnTo>
                      <a:pt x="1525" y="515"/>
                    </a:lnTo>
                    <a:lnTo>
                      <a:pt x="1468" y="510"/>
                    </a:lnTo>
                    <a:lnTo>
                      <a:pt x="1457" y="527"/>
                    </a:lnTo>
                    <a:lnTo>
                      <a:pt x="1440" y="521"/>
                    </a:lnTo>
                    <a:lnTo>
                      <a:pt x="1440" y="527"/>
                    </a:lnTo>
                    <a:lnTo>
                      <a:pt x="1412" y="538"/>
                    </a:lnTo>
                    <a:lnTo>
                      <a:pt x="1417" y="549"/>
                    </a:lnTo>
                    <a:lnTo>
                      <a:pt x="1417" y="561"/>
                    </a:lnTo>
                    <a:lnTo>
                      <a:pt x="1429" y="566"/>
                    </a:lnTo>
                    <a:lnTo>
                      <a:pt x="1434" y="595"/>
                    </a:lnTo>
                    <a:lnTo>
                      <a:pt x="1429" y="600"/>
                    </a:lnTo>
                    <a:lnTo>
                      <a:pt x="1417" y="600"/>
                    </a:lnTo>
                    <a:lnTo>
                      <a:pt x="1440" y="612"/>
                    </a:lnTo>
                    <a:lnTo>
                      <a:pt x="1440" y="629"/>
                    </a:lnTo>
                    <a:lnTo>
                      <a:pt x="1451" y="629"/>
                    </a:lnTo>
                    <a:lnTo>
                      <a:pt x="1446" y="646"/>
                    </a:lnTo>
                    <a:lnTo>
                      <a:pt x="1423" y="640"/>
                    </a:lnTo>
                    <a:lnTo>
                      <a:pt x="1400" y="634"/>
                    </a:lnTo>
                    <a:lnTo>
                      <a:pt x="1383" y="651"/>
                    </a:lnTo>
                    <a:lnTo>
                      <a:pt x="1383" y="646"/>
                    </a:lnTo>
                    <a:lnTo>
                      <a:pt x="1377" y="646"/>
                    </a:lnTo>
                    <a:lnTo>
                      <a:pt x="1377" y="640"/>
                    </a:lnTo>
                    <a:lnTo>
                      <a:pt x="1377" y="634"/>
                    </a:lnTo>
                    <a:lnTo>
                      <a:pt x="1372" y="634"/>
                    </a:lnTo>
                    <a:lnTo>
                      <a:pt x="1372" y="629"/>
                    </a:lnTo>
                    <a:lnTo>
                      <a:pt x="1377" y="657"/>
                    </a:lnTo>
                    <a:lnTo>
                      <a:pt x="1372" y="663"/>
                    </a:lnTo>
                    <a:lnTo>
                      <a:pt x="1355" y="657"/>
                    </a:lnTo>
                    <a:lnTo>
                      <a:pt x="1349" y="668"/>
                    </a:lnTo>
                    <a:lnTo>
                      <a:pt x="1338" y="680"/>
                    </a:lnTo>
                    <a:lnTo>
                      <a:pt x="1338" y="691"/>
                    </a:lnTo>
                    <a:lnTo>
                      <a:pt x="1332" y="697"/>
                    </a:lnTo>
                    <a:lnTo>
                      <a:pt x="1338" y="702"/>
                    </a:lnTo>
                    <a:lnTo>
                      <a:pt x="1332" y="719"/>
                    </a:lnTo>
                    <a:lnTo>
                      <a:pt x="1321" y="731"/>
                    </a:lnTo>
                    <a:lnTo>
                      <a:pt x="1309" y="753"/>
                    </a:lnTo>
                    <a:lnTo>
                      <a:pt x="1304" y="753"/>
                    </a:lnTo>
                    <a:lnTo>
                      <a:pt x="1287" y="776"/>
                    </a:lnTo>
                    <a:lnTo>
                      <a:pt x="1281" y="782"/>
                    </a:lnTo>
                    <a:lnTo>
                      <a:pt x="1281" y="793"/>
                    </a:lnTo>
                    <a:lnTo>
                      <a:pt x="1281" y="799"/>
                    </a:lnTo>
                    <a:lnTo>
                      <a:pt x="1321" y="804"/>
                    </a:lnTo>
                    <a:lnTo>
                      <a:pt x="1360" y="799"/>
                    </a:lnTo>
                    <a:lnTo>
                      <a:pt x="1377" y="799"/>
                    </a:lnTo>
                    <a:lnTo>
                      <a:pt x="1423" y="799"/>
                    </a:lnTo>
                    <a:lnTo>
                      <a:pt x="1434" y="810"/>
                    </a:lnTo>
                    <a:lnTo>
                      <a:pt x="1474" y="810"/>
                    </a:lnTo>
                    <a:lnTo>
                      <a:pt x="1474" y="816"/>
                    </a:lnTo>
                    <a:lnTo>
                      <a:pt x="1497" y="827"/>
                    </a:lnTo>
                    <a:lnTo>
                      <a:pt x="1497" y="844"/>
                    </a:lnTo>
                    <a:lnTo>
                      <a:pt x="1519" y="861"/>
                    </a:lnTo>
                    <a:lnTo>
                      <a:pt x="1514" y="867"/>
                    </a:lnTo>
                    <a:lnTo>
                      <a:pt x="1491" y="873"/>
                    </a:lnTo>
                    <a:lnTo>
                      <a:pt x="1485" y="867"/>
                    </a:lnTo>
                    <a:lnTo>
                      <a:pt x="1480" y="878"/>
                    </a:lnTo>
                    <a:lnTo>
                      <a:pt x="1451" y="884"/>
                    </a:lnTo>
                    <a:lnTo>
                      <a:pt x="1451" y="895"/>
                    </a:lnTo>
                    <a:lnTo>
                      <a:pt x="1440" y="901"/>
                    </a:lnTo>
                    <a:lnTo>
                      <a:pt x="1468" y="907"/>
                    </a:lnTo>
                    <a:lnTo>
                      <a:pt x="1474" y="901"/>
                    </a:lnTo>
                    <a:lnTo>
                      <a:pt x="1485" y="901"/>
                    </a:lnTo>
                    <a:lnTo>
                      <a:pt x="1485" y="918"/>
                    </a:lnTo>
                    <a:lnTo>
                      <a:pt x="1525" y="929"/>
                    </a:lnTo>
                    <a:lnTo>
                      <a:pt x="1519" y="935"/>
                    </a:lnTo>
                    <a:lnTo>
                      <a:pt x="1514" y="935"/>
                    </a:lnTo>
                    <a:lnTo>
                      <a:pt x="1514" y="941"/>
                    </a:lnTo>
                    <a:lnTo>
                      <a:pt x="1508" y="941"/>
                    </a:lnTo>
                    <a:lnTo>
                      <a:pt x="1508" y="946"/>
                    </a:lnTo>
                    <a:lnTo>
                      <a:pt x="1508" y="952"/>
                    </a:lnTo>
                    <a:lnTo>
                      <a:pt x="1508" y="958"/>
                    </a:lnTo>
                    <a:lnTo>
                      <a:pt x="1497" y="958"/>
                    </a:lnTo>
                    <a:lnTo>
                      <a:pt x="1491" y="958"/>
                    </a:lnTo>
                    <a:lnTo>
                      <a:pt x="1485" y="958"/>
                    </a:lnTo>
                    <a:lnTo>
                      <a:pt x="1480" y="963"/>
                    </a:lnTo>
                    <a:lnTo>
                      <a:pt x="1474" y="963"/>
                    </a:lnTo>
                    <a:lnTo>
                      <a:pt x="1468" y="963"/>
                    </a:lnTo>
                    <a:lnTo>
                      <a:pt x="1463" y="963"/>
                    </a:lnTo>
                    <a:lnTo>
                      <a:pt x="1457" y="963"/>
                    </a:lnTo>
                    <a:lnTo>
                      <a:pt x="1451" y="963"/>
                    </a:lnTo>
                    <a:lnTo>
                      <a:pt x="1451" y="969"/>
                    </a:lnTo>
                    <a:lnTo>
                      <a:pt x="1446" y="969"/>
                    </a:lnTo>
                    <a:lnTo>
                      <a:pt x="1440" y="975"/>
                    </a:lnTo>
                    <a:lnTo>
                      <a:pt x="1440" y="980"/>
                    </a:lnTo>
                    <a:lnTo>
                      <a:pt x="1440" y="986"/>
                    </a:lnTo>
                    <a:lnTo>
                      <a:pt x="1446" y="986"/>
                    </a:lnTo>
                    <a:lnTo>
                      <a:pt x="1446" y="992"/>
                    </a:lnTo>
                    <a:lnTo>
                      <a:pt x="1451" y="992"/>
                    </a:lnTo>
                    <a:lnTo>
                      <a:pt x="1446" y="992"/>
                    </a:lnTo>
                    <a:lnTo>
                      <a:pt x="1440" y="986"/>
                    </a:lnTo>
                    <a:lnTo>
                      <a:pt x="1434" y="992"/>
                    </a:lnTo>
                    <a:lnTo>
                      <a:pt x="1429" y="986"/>
                    </a:lnTo>
                    <a:lnTo>
                      <a:pt x="1412" y="986"/>
                    </a:lnTo>
                    <a:lnTo>
                      <a:pt x="1406" y="986"/>
                    </a:lnTo>
                    <a:lnTo>
                      <a:pt x="1400" y="986"/>
                    </a:lnTo>
                    <a:lnTo>
                      <a:pt x="1395" y="986"/>
                    </a:lnTo>
                    <a:lnTo>
                      <a:pt x="1383" y="986"/>
                    </a:lnTo>
                    <a:lnTo>
                      <a:pt x="1377" y="986"/>
                    </a:lnTo>
                    <a:lnTo>
                      <a:pt x="1377" y="980"/>
                    </a:lnTo>
                    <a:lnTo>
                      <a:pt x="1366" y="986"/>
                    </a:lnTo>
                    <a:lnTo>
                      <a:pt x="1360" y="986"/>
                    </a:lnTo>
                    <a:lnTo>
                      <a:pt x="1360" y="980"/>
                    </a:lnTo>
                    <a:lnTo>
                      <a:pt x="1355" y="980"/>
                    </a:lnTo>
                    <a:lnTo>
                      <a:pt x="1360" y="980"/>
                    </a:lnTo>
                    <a:lnTo>
                      <a:pt x="1360" y="975"/>
                    </a:lnTo>
                    <a:lnTo>
                      <a:pt x="1355" y="975"/>
                    </a:lnTo>
                    <a:lnTo>
                      <a:pt x="1360" y="975"/>
                    </a:lnTo>
                    <a:lnTo>
                      <a:pt x="1355" y="975"/>
                    </a:lnTo>
                    <a:lnTo>
                      <a:pt x="1349" y="975"/>
                    </a:lnTo>
                    <a:lnTo>
                      <a:pt x="1343" y="975"/>
                    </a:lnTo>
                    <a:lnTo>
                      <a:pt x="1343" y="969"/>
                    </a:lnTo>
                    <a:lnTo>
                      <a:pt x="1338" y="969"/>
                    </a:lnTo>
                    <a:lnTo>
                      <a:pt x="1343" y="969"/>
                    </a:lnTo>
                    <a:lnTo>
                      <a:pt x="1343" y="975"/>
                    </a:lnTo>
                    <a:lnTo>
                      <a:pt x="1349" y="975"/>
                    </a:lnTo>
                    <a:lnTo>
                      <a:pt x="1355" y="980"/>
                    </a:lnTo>
                    <a:lnTo>
                      <a:pt x="1355" y="986"/>
                    </a:lnTo>
                    <a:lnTo>
                      <a:pt x="1349" y="980"/>
                    </a:lnTo>
                    <a:lnTo>
                      <a:pt x="1343" y="980"/>
                    </a:lnTo>
                    <a:lnTo>
                      <a:pt x="1338" y="980"/>
                    </a:lnTo>
                    <a:lnTo>
                      <a:pt x="1338" y="986"/>
                    </a:lnTo>
                    <a:lnTo>
                      <a:pt x="1332" y="986"/>
                    </a:lnTo>
                    <a:lnTo>
                      <a:pt x="1326" y="980"/>
                    </a:lnTo>
                    <a:lnTo>
                      <a:pt x="1315" y="975"/>
                    </a:lnTo>
                    <a:lnTo>
                      <a:pt x="1304" y="975"/>
                    </a:lnTo>
                    <a:lnTo>
                      <a:pt x="1292" y="969"/>
                    </a:lnTo>
                    <a:lnTo>
                      <a:pt x="1287" y="969"/>
                    </a:lnTo>
                    <a:lnTo>
                      <a:pt x="1281" y="969"/>
                    </a:lnTo>
                    <a:lnTo>
                      <a:pt x="1270" y="969"/>
                    </a:lnTo>
                    <a:lnTo>
                      <a:pt x="1253" y="963"/>
                    </a:lnTo>
                    <a:lnTo>
                      <a:pt x="1247" y="963"/>
                    </a:lnTo>
                    <a:lnTo>
                      <a:pt x="1241" y="963"/>
                    </a:lnTo>
                    <a:lnTo>
                      <a:pt x="1230" y="963"/>
                    </a:lnTo>
                    <a:lnTo>
                      <a:pt x="1224" y="969"/>
                    </a:lnTo>
                    <a:lnTo>
                      <a:pt x="1219" y="969"/>
                    </a:lnTo>
                    <a:lnTo>
                      <a:pt x="1213" y="975"/>
                    </a:lnTo>
                    <a:lnTo>
                      <a:pt x="1207" y="975"/>
                    </a:lnTo>
                    <a:lnTo>
                      <a:pt x="1202" y="975"/>
                    </a:lnTo>
                    <a:lnTo>
                      <a:pt x="1196" y="975"/>
                    </a:lnTo>
                    <a:lnTo>
                      <a:pt x="1190" y="980"/>
                    </a:lnTo>
                    <a:lnTo>
                      <a:pt x="1185" y="980"/>
                    </a:lnTo>
                    <a:lnTo>
                      <a:pt x="1185" y="975"/>
                    </a:lnTo>
                    <a:lnTo>
                      <a:pt x="1185" y="980"/>
                    </a:lnTo>
                    <a:lnTo>
                      <a:pt x="1179" y="980"/>
                    </a:lnTo>
                    <a:lnTo>
                      <a:pt x="1173" y="975"/>
                    </a:lnTo>
                    <a:lnTo>
                      <a:pt x="1168" y="975"/>
                    </a:lnTo>
                    <a:lnTo>
                      <a:pt x="1162" y="975"/>
                    </a:lnTo>
                    <a:lnTo>
                      <a:pt x="1151" y="975"/>
                    </a:lnTo>
                    <a:lnTo>
                      <a:pt x="1145" y="980"/>
                    </a:lnTo>
                    <a:lnTo>
                      <a:pt x="1128" y="980"/>
                    </a:lnTo>
                    <a:lnTo>
                      <a:pt x="1128" y="986"/>
                    </a:lnTo>
                    <a:lnTo>
                      <a:pt x="1122" y="986"/>
                    </a:lnTo>
                    <a:lnTo>
                      <a:pt x="1122" y="992"/>
                    </a:lnTo>
                    <a:lnTo>
                      <a:pt x="1117" y="992"/>
                    </a:lnTo>
                    <a:lnTo>
                      <a:pt x="1111" y="997"/>
                    </a:lnTo>
                    <a:lnTo>
                      <a:pt x="1111" y="1003"/>
                    </a:lnTo>
                    <a:lnTo>
                      <a:pt x="1117" y="1009"/>
                    </a:lnTo>
                    <a:lnTo>
                      <a:pt x="1122" y="1009"/>
                    </a:lnTo>
                    <a:lnTo>
                      <a:pt x="1122" y="1014"/>
                    </a:lnTo>
                    <a:lnTo>
                      <a:pt x="1117" y="1014"/>
                    </a:lnTo>
                    <a:lnTo>
                      <a:pt x="1111" y="1014"/>
                    </a:lnTo>
                    <a:lnTo>
                      <a:pt x="1105" y="1014"/>
                    </a:lnTo>
                    <a:lnTo>
                      <a:pt x="1105" y="1020"/>
                    </a:lnTo>
                    <a:lnTo>
                      <a:pt x="1100" y="1014"/>
                    </a:lnTo>
                    <a:lnTo>
                      <a:pt x="1094" y="1014"/>
                    </a:lnTo>
                    <a:lnTo>
                      <a:pt x="1088" y="1020"/>
                    </a:lnTo>
                    <a:lnTo>
                      <a:pt x="1077" y="1020"/>
                    </a:lnTo>
                    <a:lnTo>
                      <a:pt x="1071" y="1026"/>
                    </a:lnTo>
                    <a:lnTo>
                      <a:pt x="1066" y="1026"/>
                    </a:lnTo>
                    <a:lnTo>
                      <a:pt x="1066" y="1031"/>
                    </a:lnTo>
                    <a:lnTo>
                      <a:pt x="1060" y="1037"/>
                    </a:lnTo>
                    <a:lnTo>
                      <a:pt x="1060" y="1043"/>
                    </a:lnTo>
                    <a:lnTo>
                      <a:pt x="1066" y="1043"/>
                    </a:lnTo>
                    <a:lnTo>
                      <a:pt x="1060" y="1048"/>
                    </a:lnTo>
                    <a:lnTo>
                      <a:pt x="1054" y="1048"/>
                    </a:lnTo>
                    <a:lnTo>
                      <a:pt x="1054" y="1054"/>
                    </a:lnTo>
                    <a:lnTo>
                      <a:pt x="1049" y="1054"/>
                    </a:lnTo>
                    <a:lnTo>
                      <a:pt x="1043" y="1054"/>
                    </a:lnTo>
                    <a:lnTo>
                      <a:pt x="1037" y="1048"/>
                    </a:lnTo>
                    <a:lnTo>
                      <a:pt x="1037" y="1043"/>
                    </a:lnTo>
                    <a:lnTo>
                      <a:pt x="1037" y="1048"/>
                    </a:lnTo>
                    <a:lnTo>
                      <a:pt x="1043" y="1054"/>
                    </a:lnTo>
                    <a:lnTo>
                      <a:pt x="1049" y="1054"/>
                    </a:lnTo>
                    <a:lnTo>
                      <a:pt x="1049" y="1060"/>
                    </a:lnTo>
                    <a:lnTo>
                      <a:pt x="1043" y="1060"/>
                    </a:lnTo>
                    <a:lnTo>
                      <a:pt x="1037" y="1065"/>
                    </a:lnTo>
                    <a:lnTo>
                      <a:pt x="1032" y="1065"/>
                    </a:lnTo>
                    <a:lnTo>
                      <a:pt x="1026" y="1065"/>
                    </a:lnTo>
                    <a:lnTo>
                      <a:pt x="1020" y="1065"/>
                    </a:lnTo>
                    <a:lnTo>
                      <a:pt x="1009" y="1071"/>
                    </a:lnTo>
                    <a:lnTo>
                      <a:pt x="1003" y="1071"/>
                    </a:lnTo>
                    <a:lnTo>
                      <a:pt x="992" y="1065"/>
                    </a:lnTo>
                    <a:lnTo>
                      <a:pt x="975" y="1060"/>
                    </a:lnTo>
                    <a:lnTo>
                      <a:pt x="969" y="1060"/>
                    </a:lnTo>
                    <a:lnTo>
                      <a:pt x="964" y="1060"/>
                    </a:lnTo>
                    <a:lnTo>
                      <a:pt x="958" y="1060"/>
                    </a:lnTo>
                    <a:lnTo>
                      <a:pt x="947" y="1060"/>
                    </a:lnTo>
                    <a:lnTo>
                      <a:pt x="941" y="1060"/>
                    </a:lnTo>
                    <a:lnTo>
                      <a:pt x="935" y="1065"/>
                    </a:lnTo>
                    <a:lnTo>
                      <a:pt x="930" y="1060"/>
                    </a:lnTo>
                    <a:lnTo>
                      <a:pt x="930" y="1065"/>
                    </a:lnTo>
                    <a:lnTo>
                      <a:pt x="930" y="1071"/>
                    </a:lnTo>
                    <a:lnTo>
                      <a:pt x="924" y="1071"/>
                    </a:lnTo>
                    <a:lnTo>
                      <a:pt x="918" y="1071"/>
                    </a:lnTo>
                    <a:lnTo>
                      <a:pt x="918" y="1077"/>
                    </a:lnTo>
                    <a:lnTo>
                      <a:pt x="913" y="1077"/>
                    </a:lnTo>
                    <a:lnTo>
                      <a:pt x="907" y="1077"/>
                    </a:lnTo>
                    <a:lnTo>
                      <a:pt x="901" y="1082"/>
                    </a:lnTo>
                    <a:lnTo>
                      <a:pt x="896" y="1082"/>
                    </a:lnTo>
                    <a:lnTo>
                      <a:pt x="890" y="1077"/>
                    </a:lnTo>
                    <a:lnTo>
                      <a:pt x="884" y="1077"/>
                    </a:lnTo>
                    <a:lnTo>
                      <a:pt x="879" y="1077"/>
                    </a:lnTo>
                    <a:lnTo>
                      <a:pt x="873" y="1071"/>
                    </a:lnTo>
                    <a:lnTo>
                      <a:pt x="856" y="1065"/>
                    </a:lnTo>
                    <a:lnTo>
                      <a:pt x="845" y="1065"/>
                    </a:lnTo>
                    <a:lnTo>
                      <a:pt x="833" y="1060"/>
                    </a:lnTo>
                    <a:lnTo>
                      <a:pt x="828" y="1060"/>
                    </a:lnTo>
                    <a:lnTo>
                      <a:pt x="822" y="1060"/>
                    </a:lnTo>
                    <a:lnTo>
                      <a:pt x="822" y="1054"/>
                    </a:lnTo>
                    <a:lnTo>
                      <a:pt x="822" y="1060"/>
                    </a:lnTo>
                    <a:lnTo>
                      <a:pt x="816" y="1060"/>
                    </a:lnTo>
                    <a:lnTo>
                      <a:pt x="805" y="1060"/>
                    </a:lnTo>
                    <a:lnTo>
                      <a:pt x="799" y="1060"/>
                    </a:lnTo>
                    <a:lnTo>
                      <a:pt x="794" y="1065"/>
                    </a:lnTo>
                    <a:lnTo>
                      <a:pt x="788" y="1065"/>
                    </a:lnTo>
                    <a:lnTo>
                      <a:pt x="782" y="1071"/>
                    </a:lnTo>
                    <a:lnTo>
                      <a:pt x="777" y="1071"/>
                    </a:lnTo>
                    <a:lnTo>
                      <a:pt x="771" y="1071"/>
                    </a:lnTo>
                    <a:lnTo>
                      <a:pt x="765" y="1071"/>
                    </a:lnTo>
                    <a:lnTo>
                      <a:pt x="760" y="1071"/>
                    </a:lnTo>
                    <a:lnTo>
                      <a:pt x="765" y="1071"/>
                    </a:lnTo>
                    <a:lnTo>
                      <a:pt x="771" y="1071"/>
                    </a:lnTo>
                    <a:lnTo>
                      <a:pt x="782" y="1071"/>
                    </a:lnTo>
                    <a:lnTo>
                      <a:pt x="782" y="1077"/>
                    </a:lnTo>
                    <a:lnTo>
                      <a:pt x="788" y="1077"/>
                    </a:lnTo>
                    <a:lnTo>
                      <a:pt x="788" y="1082"/>
                    </a:lnTo>
                    <a:lnTo>
                      <a:pt x="782" y="1088"/>
                    </a:lnTo>
                    <a:lnTo>
                      <a:pt x="771" y="1088"/>
                    </a:lnTo>
                    <a:lnTo>
                      <a:pt x="754" y="1082"/>
                    </a:lnTo>
                    <a:lnTo>
                      <a:pt x="748" y="1082"/>
                    </a:lnTo>
                    <a:lnTo>
                      <a:pt x="743" y="1082"/>
                    </a:lnTo>
                    <a:lnTo>
                      <a:pt x="737" y="1082"/>
                    </a:lnTo>
                    <a:lnTo>
                      <a:pt x="731" y="1082"/>
                    </a:lnTo>
                    <a:lnTo>
                      <a:pt x="726" y="1082"/>
                    </a:lnTo>
                    <a:lnTo>
                      <a:pt x="709" y="1088"/>
                    </a:lnTo>
                    <a:lnTo>
                      <a:pt x="697" y="1088"/>
                    </a:lnTo>
                    <a:lnTo>
                      <a:pt x="692" y="1094"/>
                    </a:lnTo>
                    <a:lnTo>
                      <a:pt x="680" y="1094"/>
                    </a:lnTo>
                    <a:lnTo>
                      <a:pt x="680" y="1099"/>
                    </a:lnTo>
                    <a:lnTo>
                      <a:pt x="675" y="1099"/>
                    </a:lnTo>
                    <a:lnTo>
                      <a:pt x="669" y="1105"/>
                    </a:lnTo>
                    <a:lnTo>
                      <a:pt x="669" y="1111"/>
                    </a:lnTo>
                    <a:lnTo>
                      <a:pt x="669" y="1116"/>
                    </a:lnTo>
                    <a:lnTo>
                      <a:pt x="663" y="1116"/>
                    </a:lnTo>
                    <a:lnTo>
                      <a:pt x="658" y="1122"/>
                    </a:lnTo>
                    <a:lnTo>
                      <a:pt x="646" y="1122"/>
                    </a:lnTo>
                    <a:lnTo>
                      <a:pt x="641" y="1128"/>
                    </a:lnTo>
                    <a:lnTo>
                      <a:pt x="635" y="1133"/>
                    </a:lnTo>
                    <a:lnTo>
                      <a:pt x="624" y="1139"/>
                    </a:lnTo>
                    <a:lnTo>
                      <a:pt x="618" y="1139"/>
                    </a:lnTo>
                    <a:lnTo>
                      <a:pt x="618" y="1145"/>
                    </a:lnTo>
                    <a:lnTo>
                      <a:pt x="618" y="1150"/>
                    </a:lnTo>
                    <a:lnTo>
                      <a:pt x="612" y="1150"/>
                    </a:lnTo>
                    <a:lnTo>
                      <a:pt x="595" y="1150"/>
                    </a:lnTo>
                    <a:lnTo>
                      <a:pt x="590" y="1156"/>
                    </a:lnTo>
                    <a:lnTo>
                      <a:pt x="584" y="1156"/>
                    </a:lnTo>
                    <a:lnTo>
                      <a:pt x="578" y="1162"/>
                    </a:lnTo>
                    <a:lnTo>
                      <a:pt x="573" y="1167"/>
                    </a:lnTo>
                    <a:lnTo>
                      <a:pt x="573" y="1173"/>
                    </a:lnTo>
                    <a:lnTo>
                      <a:pt x="573" y="1179"/>
                    </a:lnTo>
                    <a:lnTo>
                      <a:pt x="573" y="1184"/>
                    </a:lnTo>
                    <a:lnTo>
                      <a:pt x="567" y="1184"/>
                    </a:lnTo>
                    <a:lnTo>
                      <a:pt x="561" y="1184"/>
                    </a:lnTo>
                    <a:lnTo>
                      <a:pt x="561" y="1190"/>
                    </a:lnTo>
                    <a:lnTo>
                      <a:pt x="556" y="1184"/>
                    </a:lnTo>
                    <a:lnTo>
                      <a:pt x="550" y="1184"/>
                    </a:lnTo>
                    <a:lnTo>
                      <a:pt x="544" y="1184"/>
                    </a:lnTo>
                    <a:lnTo>
                      <a:pt x="533" y="1173"/>
                    </a:lnTo>
                    <a:lnTo>
                      <a:pt x="527" y="1173"/>
                    </a:lnTo>
                    <a:lnTo>
                      <a:pt x="527" y="1167"/>
                    </a:lnTo>
                    <a:lnTo>
                      <a:pt x="522" y="1167"/>
                    </a:lnTo>
                    <a:lnTo>
                      <a:pt x="516" y="1167"/>
                    </a:lnTo>
                    <a:lnTo>
                      <a:pt x="510" y="1167"/>
                    </a:lnTo>
                    <a:lnTo>
                      <a:pt x="505" y="1167"/>
                    </a:lnTo>
                    <a:lnTo>
                      <a:pt x="499" y="1167"/>
                    </a:lnTo>
                    <a:lnTo>
                      <a:pt x="493" y="1173"/>
                    </a:lnTo>
                    <a:lnTo>
                      <a:pt x="487" y="1167"/>
                    </a:lnTo>
                    <a:lnTo>
                      <a:pt x="482" y="1167"/>
                    </a:lnTo>
                    <a:lnTo>
                      <a:pt x="476" y="1167"/>
                    </a:lnTo>
                    <a:lnTo>
                      <a:pt x="476" y="1173"/>
                    </a:lnTo>
                    <a:lnTo>
                      <a:pt x="470" y="1173"/>
                    </a:lnTo>
                    <a:lnTo>
                      <a:pt x="465" y="1173"/>
                    </a:lnTo>
                    <a:lnTo>
                      <a:pt x="465" y="1167"/>
                    </a:lnTo>
                    <a:lnTo>
                      <a:pt x="459" y="1167"/>
                    </a:lnTo>
                    <a:lnTo>
                      <a:pt x="453" y="1162"/>
                    </a:lnTo>
                    <a:lnTo>
                      <a:pt x="453" y="1156"/>
                    </a:lnTo>
                    <a:lnTo>
                      <a:pt x="453" y="1162"/>
                    </a:lnTo>
                    <a:lnTo>
                      <a:pt x="448" y="1156"/>
                    </a:lnTo>
                    <a:lnTo>
                      <a:pt x="442" y="1156"/>
                    </a:lnTo>
                    <a:lnTo>
                      <a:pt x="442" y="1150"/>
                    </a:lnTo>
                    <a:lnTo>
                      <a:pt x="436" y="1145"/>
                    </a:lnTo>
                    <a:lnTo>
                      <a:pt x="431" y="1145"/>
                    </a:lnTo>
                    <a:lnTo>
                      <a:pt x="425" y="1139"/>
                    </a:lnTo>
                    <a:lnTo>
                      <a:pt x="419" y="1139"/>
                    </a:lnTo>
                    <a:lnTo>
                      <a:pt x="414" y="1139"/>
                    </a:lnTo>
                    <a:lnTo>
                      <a:pt x="414" y="1133"/>
                    </a:lnTo>
                    <a:lnTo>
                      <a:pt x="408" y="1128"/>
                    </a:lnTo>
                    <a:lnTo>
                      <a:pt x="402" y="1128"/>
                    </a:lnTo>
                    <a:lnTo>
                      <a:pt x="397" y="1128"/>
                    </a:lnTo>
                    <a:lnTo>
                      <a:pt x="391" y="1128"/>
                    </a:lnTo>
                    <a:lnTo>
                      <a:pt x="391" y="1133"/>
                    </a:lnTo>
                    <a:lnTo>
                      <a:pt x="385" y="1133"/>
                    </a:lnTo>
                    <a:lnTo>
                      <a:pt x="380" y="1133"/>
                    </a:lnTo>
                    <a:lnTo>
                      <a:pt x="380" y="1128"/>
                    </a:lnTo>
                    <a:lnTo>
                      <a:pt x="385" y="1128"/>
                    </a:lnTo>
                    <a:lnTo>
                      <a:pt x="391" y="1122"/>
                    </a:lnTo>
                    <a:lnTo>
                      <a:pt x="391" y="1116"/>
                    </a:lnTo>
                    <a:lnTo>
                      <a:pt x="397" y="1111"/>
                    </a:lnTo>
                    <a:lnTo>
                      <a:pt x="397" y="1099"/>
                    </a:lnTo>
                    <a:lnTo>
                      <a:pt x="397" y="1094"/>
                    </a:lnTo>
                    <a:lnTo>
                      <a:pt x="385" y="1082"/>
                    </a:lnTo>
                    <a:lnTo>
                      <a:pt x="385" y="1077"/>
                    </a:lnTo>
                    <a:lnTo>
                      <a:pt x="380" y="1077"/>
                    </a:lnTo>
                    <a:lnTo>
                      <a:pt x="374" y="1077"/>
                    </a:lnTo>
                    <a:lnTo>
                      <a:pt x="368" y="1077"/>
                    </a:lnTo>
                    <a:lnTo>
                      <a:pt x="357" y="1082"/>
                    </a:lnTo>
                    <a:lnTo>
                      <a:pt x="351" y="1077"/>
                    </a:lnTo>
                    <a:lnTo>
                      <a:pt x="346" y="1077"/>
                    </a:lnTo>
                    <a:lnTo>
                      <a:pt x="340" y="1077"/>
                    </a:lnTo>
                    <a:lnTo>
                      <a:pt x="334" y="1077"/>
                    </a:lnTo>
                    <a:lnTo>
                      <a:pt x="334" y="1071"/>
                    </a:lnTo>
                    <a:lnTo>
                      <a:pt x="334" y="1065"/>
                    </a:lnTo>
                    <a:lnTo>
                      <a:pt x="329" y="1065"/>
                    </a:lnTo>
                    <a:lnTo>
                      <a:pt x="323" y="1060"/>
                    </a:lnTo>
                    <a:lnTo>
                      <a:pt x="329" y="1060"/>
                    </a:lnTo>
                    <a:lnTo>
                      <a:pt x="334" y="1060"/>
                    </a:lnTo>
                    <a:lnTo>
                      <a:pt x="334" y="1054"/>
                    </a:lnTo>
                    <a:lnTo>
                      <a:pt x="340" y="1054"/>
                    </a:lnTo>
                    <a:lnTo>
                      <a:pt x="340" y="1048"/>
                    </a:lnTo>
                    <a:lnTo>
                      <a:pt x="346" y="1048"/>
                    </a:lnTo>
                    <a:lnTo>
                      <a:pt x="340" y="1048"/>
                    </a:lnTo>
                    <a:lnTo>
                      <a:pt x="340" y="1043"/>
                    </a:lnTo>
                    <a:lnTo>
                      <a:pt x="340" y="1048"/>
                    </a:lnTo>
                    <a:lnTo>
                      <a:pt x="334" y="1054"/>
                    </a:lnTo>
                    <a:lnTo>
                      <a:pt x="329" y="1054"/>
                    </a:lnTo>
                    <a:lnTo>
                      <a:pt x="329" y="1060"/>
                    </a:lnTo>
                    <a:lnTo>
                      <a:pt x="323" y="1060"/>
                    </a:lnTo>
                    <a:lnTo>
                      <a:pt x="317" y="1054"/>
                    </a:lnTo>
                    <a:lnTo>
                      <a:pt x="323" y="1060"/>
                    </a:lnTo>
                    <a:lnTo>
                      <a:pt x="317" y="1054"/>
                    </a:lnTo>
                    <a:lnTo>
                      <a:pt x="312" y="1054"/>
                    </a:lnTo>
                    <a:lnTo>
                      <a:pt x="306" y="1054"/>
                    </a:lnTo>
                    <a:lnTo>
                      <a:pt x="300" y="1054"/>
                    </a:lnTo>
                    <a:lnTo>
                      <a:pt x="295" y="1060"/>
                    </a:lnTo>
                    <a:lnTo>
                      <a:pt x="283" y="1060"/>
                    </a:lnTo>
                    <a:lnTo>
                      <a:pt x="278" y="1060"/>
                    </a:lnTo>
                    <a:lnTo>
                      <a:pt x="278" y="1065"/>
                    </a:lnTo>
                    <a:lnTo>
                      <a:pt x="272" y="1065"/>
                    </a:lnTo>
                    <a:lnTo>
                      <a:pt x="272" y="1060"/>
                    </a:lnTo>
                    <a:lnTo>
                      <a:pt x="266" y="1060"/>
                    </a:lnTo>
                    <a:lnTo>
                      <a:pt x="266" y="1065"/>
                    </a:lnTo>
                    <a:lnTo>
                      <a:pt x="261" y="1065"/>
                    </a:lnTo>
                    <a:lnTo>
                      <a:pt x="255" y="1065"/>
                    </a:lnTo>
                    <a:lnTo>
                      <a:pt x="255" y="1060"/>
                    </a:lnTo>
                    <a:lnTo>
                      <a:pt x="255" y="1054"/>
                    </a:lnTo>
                    <a:lnTo>
                      <a:pt x="261" y="1054"/>
                    </a:lnTo>
                    <a:lnTo>
                      <a:pt x="255" y="1054"/>
                    </a:lnTo>
                    <a:lnTo>
                      <a:pt x="255" y="1048"/>
                    </a:lnTo>
                    <a:lnTo>
                      <a:pt x="255" y="1043"/>
                    </a:lnTo>
                    <a:lnTo>
                      <a:pt x="255" y="1037"/>
                    </a:lnTo>
                    <a:lnTo>
                      <a:pt x="261" y="1037"/>
                    </a:lnTo>
                    <a:lnTo>
                      <a:pt x="261" y="1031"/>
                    </a:lnTo>
                    <a:lnTo>
                      <a:pt x="266" y="1031"/>
                    </a:lnTo>
                    <a:lnTo>
                      <a:pt x="266" y="1026"/>
                    </a:lnTo>
                    <a:lnTo>
                      <a:pt x="261" y="1020"/>
                    </a:lnTo>
                    <a:lnTo>
                      <a:pt x="255" y="1014"/>
                    </a:lnTo>
                    <a:lnTo>
                      <a:pt x="261" y="1009"/>
                    </a:lnTo>
                    <a:lnTo>
                      <a:pt x="266" y="1009"/>
                    </a:lnTo>
                    <a:lnTo>
                      <a:pt x="266" y="1003"/>
                    </a:lnTo>
                    <a:lnTo>
                      <a:pt x="261" y="992"/>
                    </a:lnTo>
                    <a:lnTo>
                      <a:pt x="255" y="992"/>
                    </a:lnTo>
                    <a:lnTo>
                      <a:pt x="255" y="986"/>
                    </a:lnTo>
                    <a:lnTo>
                      <a:pt x="249" y="986"/>
                    </a:lnTo>
                    <a:lnTo>
                      <a:pt x="244" y="986"/>
                    </a:lnTo>
                    <a:lnTo>
                      <a:pt x="238" y="980"/>
                    </a:lnTo>
                    <a:lnTo>
                      <a:pt x="221" y="980"/>
                    </a:lnTo>
                    <a:lnTo>
                      <a:pt x="210" y="980"/>
                    </a:lnTo>
                    <a:lnTo>
                      <a:pt x="204" y="980"/>
                    </a:lnTo>
                    <a:lnTo>
                      <a:pt x="198" y="986"/>
                    </a:lnTo>
                    <a:lnTo>
                      <a:pt x="187" y="986"/>
                    </a:lnTo>
                    <a:lnTo>
                      <a:pt x="181" y="986"/>
                    </a:lnTo>
                    <a:lnTo>
                      <a:pt x="176" y="986"/>
                    </a:lnTo>
                    <a:lnTo>
                      <a:pt x="170" y="992"/>
                    </a:lnTo>
                    <a:lnTo>
                      <a:pt x="164" y="992"/>
                    </a:lnTo>
                    <a:lnTo>
                      <a:pt x="164" y="997"/>
                    </a:lnTo>
                    <a:lnTo>
                      <a:pt x="159" y="997"/>
                    </a:lnTo>
                    <a:lnTo>
                      <a:pt x="159" y="1003"/>
                    </a:lnTo>
                    <a:lnTo>
                      <a:pt x="159" y="1009"/>
                    </a:lnTo>
                    <a:lnTo>
                      <a:pt x="159" y="1014"/>
                    </a:lnTo>
                    <a:lnTo>
                      <a:pt x="159" y="1009"/>
                    </a:lnTo>
                    <a:lnTo>
                      <a:pt x="159" y="1014"/>
                    </a:lnTo>
                    <a:lnTo>
                      <a:pt x="164" y="1020"/>
                    </a:lnTo>
                    <a:lnTo>
                      <a:pt x="170" y="1026"/>
                    </a:lnTo>
                    <a:lnTo>
                      <a:pt x="170" y="1031"/>
                    </a:lnTo>
                    <a:lnTo>
                      <a:pt x="164" y="1031"/>
                    </a:lnTo>
                    <a:lnTo>
                      <a:pt x="164" y="1037"/>
                    </a:lnTo>
                    <a:lnTo>
                      <a:pt x="164" y="1043"/>
                    </a:lnTo>
                    <a:lnTo>
                      <a:pt x="164" y="1048"/>
                    </a:lnTo>
                    <a:lnTo>
                      <a:pt x="164" y="1054"/>
                    </a:lnTo>
                    <a:lnTo>
                      <a:pt x="170" y="1054"/>
                    </a:lnTo>
                    <a:lnTo>
                      <a:pt x="170" y="1060"/>
                    </a:lnTo>
                    <a:lnTo>
                      <a:pt x="164" y="1054"/>
                    </a:lnTo>
                    <a:lnTo>
                      <a:pt x="159" y="1054"/>
                    </a:lnTo>
                    <a:lnTo>
                      <a:pt x="159" y="1048"/>
                    </a:lnTo>
                    <a:lnTo>
                      <a:pt x="153" y="1048"/>
                    </a:lnTo>
                    <a:lnTo>
                      <a:pt x="147" y="1043"/>
                    </a:lnTo>
                    <a:lnTo>
                      <a:pt x="147" y="1037"/>
                    </a:lnTo>
                    <a:lnTo>
                      <a:pt x="142" y="1037"/>
                    </a:lnTo>
                    <a:lnTo>
                      <a:pt x="142" y="1031"/>
                    </a:lnTo>
                    <a:lnTo>
                      <a:pt x="147" y="1031"/>
                    </a:lnTo>
                    <a:lnTo>
                      <a:pt x="142" y="1031"/>
                    </a:lnTo>
                    <a:lnTo>
                      <a:pt x="142" y="1026"/>
                    </a:lnTo>
                    <a:lnTo>
                      <a:pt x="142" y="1014"/>
                    </a:lnTo>
                    <a:lnTo>
                      <a:pt x="142" y="1009"/>
                    </a:lnTo>
                    <a:lnTo>
                      <a:pt x="136" y="1009"/>
                    </a:lnTo>
                    <a:lnTo>
                      <a:pt x="130" y="1009"/>
                    </a:lnTo>
                    <a:lnTo>
                      <a:pt x="130" y="1003"/>
                    </a:lnTo>
                    <a:lnTo>
                      <a:pt x="130" y="997"/>
                    </a:lnTo>
                    <a:lnTo>
                      <a:pt x="136" y="997"/>
                    </a:lnTo>
                    <a:lnTo>
                      <a:pt x="136" y="992"/>
                    </a:lnTo>
                    <a:lnTo>
                      <a:pt x="136" y="986"/>
                    </a:lnTo>
                    <a:lnTo>
                      <a:pt x="142" y="980"/>
                    </a:lnTo>
                    <a:lnTo>
                      <a:pt x="142" y="975"/>
                    </a:lnTo>
                    <a:lnTo>
                      <a:pt x="136" y="975"/>
                    </a:lnTo>
                    <a:lnTo>
                      <a:pt x="130" y="975"/>
                    </a:lnTo>
                    <a:lnTo>
                      <a:pt x="130" y="969"/>
                    </a:lnTo>
                    <a:lnTo>
                      <a:pt x="136" y="969"/>
                    </a:lnTo>
                    <a:lnTo>
                      <a:pt x="136" y="963"/>
                    </a:lnTo>
                    <a:lnTo>
                      <a:pt x="136" y="958"/>
                    </a:lnTo>
                    <a:lnTo>
                      <a:pt x="142" y="958"/>
                    </a:lnTo>
                    <a:lnTo>
                      <a:pt x="142" y="952"/>
                    </a:lnTo>
                    <a:lnTo>
                      <a:pt x="147" y="941"/>
                    </a:lnTo>
                    <a:lnTo>
                      <a:pt x="147" y="935"/>
                    </a:lnTo>
                    <a:lnTo>
                      <a:pt x="153" y="935"/>
                    </a:lnTo>
                    <a:lnTo>
                      <a:pt x="159" y="935"/>
                    </a:lnTo>
                    <a:lnTo>
                      <a:pt x="159" y="941"/>
                    </a:lnTo>
                    <a:lnTo>
                      <a:pt x="164" y="941"/>
                    </a:lnTo>
                    <a:lnTo>
                      <a:pt x="170" y="935"/>
                    </a:lnTo>
                    <a:lnTo>
                      <a:pt x="170" y="929"/>
                    </a:lnTo>
                    <a:lnTo>
                      <a:pt x="176" y="929"/>
                    </a:lnTo>
                    <a:lnTo>
                      <a:pt x="176" y="924"/>
                    </a:lnTo>
                    <a:lnTo>
                      <a:pt x="170" y="918"/>
                    </a:lnTo>
                    <a:lnTo>
                      <a:pt x="170" y="912"/>
                    </a:lnTo>
                    <a:lnTo>
                      <a:pt x="164" y="901"/>
                    </a:lnTo>
                    <a:lnTo>
                      <a:pt x="164" y="895"/>
                    </a:lnTo>
                    <a:lnTo>
                      <a:pt x="159" y="890"/>
                    </a:lnTo>
                    <a:lnTo>
                      <a:pt x="164" y="890"/>
                    </a:lnTo>
                    <a:lnTo>
                      <a:pt x="164" y="884"/>
                    </a:lnTo>
                    <a:lnTo>
                      <a:pt x="159" y="873"/>
                    </a:lnTo>
                    <a:lnTo>
                      <a:pt x="153" y="867"/>
                    </a:lnTo>
                    <a:lnTo>
                      <a:pt x="153" y="861"/>
                    </a:lnTo>
                    <a:lnTo>
                      <a:pt x="147" y="861"/>
                    </a:lnTo>
                    <a:lnTo>
                      <a:pt x="147" y="855"/>
                    </a:lnTo>
                    <a:lnTo>
                      <a:pt x="142" y="855"/>
                    </a:lnTo>
                    <a:lnTo>
                      <a:pt x="142" y="850"/>
                    </a:lnTo>
                    <a:lnTo>
                      <a:pt x="136" y="844"/>
                    </a:lnTo>
                    <a:lnTo>
                      <a:pt x="130" y="844"/>
                    </a:lnTo>
                    <a:lnTo>
                      <a:pt x="136" y="833"/>
                    </a:lnTo>
                    <a:lnTo>
                      <a:pt x="130" y="827"/>
                    </a:lnTo>
                    <a:lnTo>
                      <a:pt x="130" y="821"/>
                    </a:lnTo>
                    <a:lnTo>
                      <a:pt x="125" y="816"/>
                    </a:lnTo>
                    <a:lnTo>
                      <a:pt x="119" y="810"/>
                    </a:lnTo>
                    <a:lnTo>
                      <a:pt x="113" y="804"/>
                    </a:lnTo>
                    <a:lnTo>
                      <a:pt x="102" y="799"/>
                    </a:lnTo>
                    <a:lnTo>
                      <a:pt x="96" y="793"/>
                    </a:lnTo>
                    <a:lnTo>
                      <a:pt x="91" y="787"/>
                    </a:lnTo>
                    <a:lnTo>
                      <a:pt x="91" y="782"/>
                    </a:lnTo>
                    <a:lnTo>
                      <a:pt x="91" y="770"/>
                    </a:lnTo>
                    <a:lnTo>
                      <a:pt x="85" y="765"/>
                    </a:lnTo>
                    <a:lnTo>
                      <a:pt x="79" y="759"/>
                    </a:lnTo>
                    <a:lnTo>
                      <a:pt x="79" y="753"/>
                    </a:lnTo>
                    <a:lnTo>
                      <a:pt x="57" y="731"/>
                    </a:lnTo>
                    <a:lnTo>
                      <a:pt x="51" y="731"/>
                    </a:lnTo>
                    <a:lnTo>
                      <a:pt x="45" y="731"/>
                    </a:lnTo>
                    <a:lnTo>
                      <a:pt x="45" y="725"/>
                    </a:lnTo>
                    <a:lnTo>
                      <a:pt x="40" y="725"/>
                    </a:lnTo>
                    <a:lnTo>
                      <a:pt x="40" y="719"/>
                    </a:lnTo>
                    <a:lnTo>
                      <a:pt x="45" y="719"/>
                    </a:lnTo>
                    <a:lnTo>
                      <a:pt x="51" y="719"/>
                    </a:lnTo>
                    <a:lnTo>
                      <a:pt x="45" y="714"/>
                    </a:lnTo>
                    <a:lnTo>
                      <a:pt x="51" y="708"/>
                    </a:lnTo>
                    <a:lnTo>
                      <a:pt x="51" y="714"/>
                    </a:lnTo>
                    <a:lnTo>
                      <a:pt x="57" y="714"/>
                    </a:lnTo>
                    <a:lnTo>
                      <a:pt x="57" y="719"/>
                    </a:lnTo>
                    <a:lnTo>
                      <a:pt x="57" y="725"/>
                    </a:lnTo>
                    <a:lnTo>
                      <a:pt x="62" y="725"/>
                    </a:lnTo>
                    <a:lnTo>
                      <a:pt x="62" y="731"/>
                    </a:lnTo>
                    <a:lnTo>
                      <a:pt x="68" y="736"/>
                    </a:lnTo>
                    <a:lnTo>
                      <a:pt x="74" y="742"/>
                    </a:lnTo>
                    <a:lnTo>
                      <a:pt x="79" y="748"/>
                    </a:lnTo>
                    <a:lnTo>
                      <a:pt x="85" y="748"/>
                    </a:lnTo>
                    <a:lnTo>
                      <a:pt x="85" y="742"/>
                    </a:lnTo>
                    <a:lnTo>
                      <a:pt x="79" y="742"/>
                    </a:lnTo>
                    <a:lnTo>
                      <a:pt x="85" y="742"/>
                    </a:lnTo>
                    <a:lnTo>
                      <a:pt x="79" y="742"/>
                    </a:lnTo>
                    <a:lnTo>
                      <a:pt x="74" y="736"/>
                    </a:lnTo>
                    <a:lnTo>
                      <a:pt x="74" y="731"/>
                    </a:lnTo>
                    <a:lnTo>
                      <a:pt x="62" y="725"/>
                    </a:lnTo>
                    <a:lnTo>
                      <a:pt x="62" y="719"/>
                    </a:lnTo>
                    <a:lnTo>
                      <a:pt x="62" y="708"/>
                    </a:lnTo>
                    <a:lnTo>
                      <a:pt x="62" y="702"/>
                    </a:lnTo>
                    <a:lnTo>
                      <a:pt x="62" y="697"/>
                    </a:lnTo>
                    <a:lnTo>
                      <a:pt x="57" y="697"/>
                    </a:lnTo>
                    <a:lnTo>
                      <a:pt x="51" y="691"/>
                    </a:lnTo>
                    <a:lnTo>
                      <a:pt x="45" y="691"/>
                    </a:lnTo>
                    <a:lnTo>
                      <a:pt x="40" y="697"/>
                    </a:lnTo>
                    <a:lnTo>
                      <a:pt x="45" y="702"/>
                    </a:lnTo>
                    <a:lnTo>
                      <a:pt x="40" y="697"/>
                    </a:lnTo>
                    <a:lnTo>
                      <a:pt x="40" y="702"/>
                    </a:lnTo>
                    <a:lnTo>
                      <a:pt x="28" y="708"/>
                    </a:lnTo>
                    <a:lnTo>
                      <a:pt x="28" y="702"/>
                    </a:lnTo>
                    <a:lnTo>
                      <a:pt x="23" y="702"/>
                    </a:lnTo>
                    <a:lnTo>
                      <a:pt x="28" y="702"/>
                    </a:lnTo>
                    <a:lnTo>
                      <a:pt x="28" y="697"/>
                    </a:lnTo>
                    <a:lnTo>
                      <a:pt x="23" y="697"/>
                    </a:lnTo>
                    <a:lnTo>
                      <a:pt x="23" y="691"/>
                    </a:lnTo>
                    <a:lnTo>
                      <a:pt x="23" y="685"/>
                    </a:lnTo>
                    <a:lnTo>
                      <a:pt x="23" y="680"/>
                    </a:lnTo>
                    <a:lnTo>
                      <a:pt x="23" y="674"/>
                    </a:lnTo>
                    <a:lnTo>
                      <a:pt x="23" y="668"/>
                    </a:lnTo>
                    <a:lnTo>
                      <a:pt x="17" y="668"/>
                    </a:lnTo>
                    <a:lnTo>
                      <a:pt x="23" y="663"/>
                    </a:lnTo>
                    <a:lnTo>
                      <a:pt x="17" y="663"/>
                    </a:lnTo>
                    <a:lnTo>
                      <a:pt x="23" y="663"/>
                    </a:lnTo>
                    <a:lnTo>
                      <a:pt x="23" y="657"/>
                    </a:lnTo>
                    <a:lnTo>
                      <a:pt x="23" y="651"/>
                    </a:lnTo>
                    <a:lnTo>
                      <a:pt x="17" y="651"/>
                    </a:lnTo>
                    <a:lnTo>
                      <a:pt x="17" y="646"/>
                    </a:lnTo>
                    <a:lnTo>
                      <a:pt x="23" y="646"/>
                    </a:lnTo>
                    <a:lnTo>
                      <a:pt x="23" y="640"/>
                    </a:lnTo>
                    <a:lnTo>
                      <a:pt x="28" y="640"/>
                    </a:lnTo>
                    <a:lnTo>
                      <a:pt x="34" y="634"/>
                    </a:lnTo>
                    <a:lnTo>
                      <a:pt x="28" y="634"/>
                    </a:lnTo>
                    <a:lnTo>
                      <a:pt x="28" y="623"/>
                    </a:lnTo>
                    <a:lnTo>
                      <a:pt x="34" y="623"/>
                    </a:lnTo>
                    <a:lnTo>
                      <a:pt x="34" y="617"/>
                    </a:lnTo>
                    <a:lnTo>
                      <a:pt x="40" y="617"/>
                    </a:lnTo>
                    <a:lnTo>
                      <a:pt x="45" y="617"/>
                    </a:lnTo>
                    <a:lnTo>
                      <a:pt x="45" y="612"/>
                    </a:lnTo>
                    <a:lnTo>
                      <a:pt x="51" y="612"/>
                    </a:lnTo>
                    <a:lnTo>
                      <a:pt x="51" y="617"/>
                    </a:lnTo>
                    <a:lnTo>
                      <a:pt x="57" y="623"/>
                    </a:lnTo>
                    <a:lnTo>
                      <a:pt x="62" y="623"/>
                    </a:lnTo>
                    <a:lnTo>
                      <a:pt x="57" y="629"/>
                    </a:lnTo>
                    <a:lnTo>
                      <a:pt x="62" y="629"/>
                    </a:lnTo>
                    <a:lnTo>
                      <a:pt x="68" y="629"/>
                    </a:lnTo>
                    <a:lnTo>
                      <a:pt x="68" y="634"/>
                    </a:lnTo>
                    <a:lnTo>
                      <a:pt x="74" y="634"/>
                    </a:lnTo>
                    <a:lnTo>
                      <a:pt x="79" y="634"/>
                    </a:lnTo>
                    <a:lnTo>
                      <a:pt x="91" y="634"/>
                    </a:lnTo>
                    <a:lnTo>
                      <a:pt x="96" y="629"/>
                    </a:lnTo>
                    <a:lnTo>
                      <a:pt x="102" y="623"/>
                    </a:lnTo>
                    <a:lnTo>
                      <a:pt x="102" y="617"/>
                    </a:lnTo>
                    <a:lnTo>
                      <a:pt x="108" y="617"/>
                    </a:lnTo>
                    <a:lnTo>
                      <a:pt x="113" y="612"/>
                    </a:lnTo>
                    <a:lnTo>
                      <a:pt x="119" y="606"/>
                    </a:lnTo>
                    <a:lnTo>
                      <a:pt x="130" y="595"/>
                    </a:lnTo>
                    <a:lnTo>
                      <a:pt x="130" y="589"/>
                    </a:lnTo>
                    <a:lnTo>
                      <a:pt x="136" y="578"/>
                    </a:lnTo>
                    <a:lnTo>
                      <a:pt x="142" y="572"/>
                    </a:lnTo>
                    <a:lnTo>
                      <a:pt x="142" y="561"/>
                    </a:lnTo>
                    <a:lnTo>
                      <a:pt x="142" y="555"/>
                    </a:lnTo>
                    <a:lnTo>
                      <a:pt x="142" y="544"/>
                    </a:lnTo>
                    <a:lnTo>
                      <a:pt x="142" y="538"/>
                    </a:lnTo>
                    <a:lnTo>
                      <a:pt x="142" y="532"/>
                    </a:lnTo>
                    <a:lnTo>
                      <a:pt x="142" y="521"/>
                    </a:lnTo>
                    <a:lnTo>
                      <a:pt x="142" y="510"/>
                    </a:lnTo>
                    <a:lnTo>
                      <a:pt x="147" y="504"/>
                    </a:lnTo>
                    <a:lnTo>
                      <a:pt x="142" y="481"/>
                    </a:lnTo>
                    <a:lnTo>
                      <a:pt x="142" y="470"/>
                    </a:lnTo>
                    <a:lnTo>
                      <a:pt x="136" y="459"/>
                    </a:lnTo>
                    <a:lnTo>
                      <a:pt x="136" y="453"/>
                    </a:lnTo>
                    <a:lnTo>
                      <a:pt x="136" y="447"/>
                    </a:lnTo>
                    <a:lnTo>
                      <a:pt x="142" y="447"/>
                    </a:lnTo>
                    <a:lnTo>
                      <a:pt x="142" y="442"/>
                    </a:lnTo>
                    <a:lnTo>
                      <a:pt x="136" y="430"/>
                    </a:lnTo>
                    <a:lnTo>
                      <a:pt x="136" y="425"/>
                    </a:lnTo>
                    <a:lnTo>
                      <a:pt x="136" y="419"/>
                    </a:lnTo>
                    <a:lnTo>
                      <a:pt x="130" y="413"/>
                    </a:lnTo>
                    <a:lnTo>
                      <a:pt x="130" y="408"/>
                    </a:lnTo>
                    <a:lnTo>
                      <a:pt x="130" y="402"/>
                    </a:lnTo>
                    <a:lnTo>
                      <a:pt x="136" y="402"/>
                    </a:lnTo>
                    <a:lnTo>
                      <a:pt x="136" y="396"/>
                    </a:lnTo>
                    <a:lnTo>
                      <a:pt x="130" y="391"/>
                    </a:lnTo>
                    <a:lnTo>
                      <a:pt x="130" y="385"/>
                    </a:lnTo>
                    <a:lnTo>
                      <a:pt x="125" y="379"/>
                    </a:lnTo>
                    <a:lnTo>
                      <a:pt x="119" y="374"/>
                    </a:lnTo>
                    <a:lnTo>
                      <a:pt x="125" y="374"/>
                    </a:lnTo>
                    <a:lnTo>
                      <a:pt x="119" y="368"/>
                    </a:lnTo>
                    <a:lnTo>
                      <a:pt x="125" y="368"/>
                    </a:lnTo>
                    <a:lnTo>
                      <a:pt x="119" y="362"/>
                    </a:lnTo>
                    <a:lnTo>
                      <a:pt x="119" y="357"/>
                    </a:lnTo>
                    <a:lnTo>
                      <a:pt x="113" y="345"/>
                    </a:lnTo>
                    <a:lnTo>
                      <a:pt x="113" y="340"/>
                    </a:lnTo>
                    <a:lnTo>
                      <a:pt x="113" y="334"/>
                    </a:lnTo>
                    <a:lnTo>
                      <a:pt x="113" y="340"/>
                    </a:lnTo>
                    <a:lnTo>
                      <a:pt x="108" y="340"/>
                    </a:lnTo>
                    <a:lnTo>
                      <a:pt x="102" y="334"/>
                    </a:lnTo>
                    <a:lnTo>
                      <a:pt x="102" y="328"/>
                    </a:lnTo>
                    <a:lnTo>
                      <a:pt x="91" y="317"/>
                    </a:lnTo>
                    <a:lnTo>
                      <a:pt x="91" y="311"/>
                    </a:lnTo>
                    <a:lnTo>
                      <a:pt x="85" y="306"/>
                    </a:lnTo>
                    <a:lnTo>
                      <a:pt x="85" y="300"/>
                    </a:lnTo>
                    <a:lnTo>
                      <a:pt x="79" y="294"/>
                    </a:lnTo>
                    <a:lnTo>
                      <a:pt x="74" y="289"/>
                    </a:lnTo>
                    <a:lnTo>
                      <a:pt x="68" y="283"/>
                    </a:lnTo>
                    <a:lnTo>
                      <a:pt x="62" y="277"/>
                    </a:lnTo>
                    <a:lnTo>
                      <a:pt x="57" y="272"/>
                    </a:lnTo>
                    <a:lnTo>
                      <a:pt x="51" y="266"/>
                    </a:lnTo>
                    <a:lnTo>
                      <a:pt x="51" y="260"/>
                    </a:lnTo>
                    <a:lnTo>
                      <a:pt x="40" y="255"/>
                    </a:lnTo>
                    <a:lnTo>
                      <a:pt x="40" y="249"/>
                    </a:lnTo>
                    <a:lnTo>
                      <a:pt x="34" y="243"/>
                    </a:lnTo>
                    <a:lnTo>
                      <a:pt x="34" y="238"/>
                    </a:lnTo>
                    <a:lnTo>
                      <a:pt x="34" y="232"/>
                    </a:lnTo>
                    <a:lnTo>
                      <a:pt x="28" y="226"/>
                    </a:lnTo>
                    <a:lnTo>
                      <a:pt x="23" y="221"/>
                    </a:lnTo>
                    <a:lnTo>
                      <a:pt x="11" y="215"/>
                    </a:lnTo>
                    <a:lnTo>
                      <a:pt x="6" y="204"/>
                    </a:lnTo>
                    <a:lnTo>
                      <a:pt x="0" y="198"/>
                    </a:lnTo>
                    <a:lnTo>
                      <a:pt x="0" y="192"/>
                    </a:lnTo>
                    <a:close/>
                  </a:path>
                </a:pathLst>
              </a:custGeom>
              <a:grpFill/>
              <a:ln w="9525" cap="flat" cmpd="sng">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00"/>
              </a:p>
            </p:txBody>
          </p:sp>
          <p:sp>
            <p:nvSpPr>
              <p:cNvPr id="61" name="Freeform 8"/>
              <p:cNvSpPr>
                <a:spLocks/>
              </p:cNvSpPr>
              <p:nvPr>
                <p:custDataLst>
                  <p:tags r:id="rId5"/>
                </p:custDataLst>
              </p:nvPr>
            </p:nvSpPr>
            <p:spPr bwMode="gray">
              <a:xfrm>
                <a:off x="290515" y="1919784"/>
                <a:ext cx="2051818" cy="1918922"/>
              </a:xfrm>
              <a:custGeom>
                <a:avLst/>
                <a:gdLst>
                  <a:gd name="T0" fmla="*/ 71190 w 2358"/>
                  <a:gd name="T1" fmla="*/ 437980 h 2199"/>
                  <a:gd name="T2" fmla="*/ 55643 w 2358"/>
                  <a:gd name="T3" fmla="*/ 407124 h 2199"/>
                  <a:gd name="T4" fmla="*/ 43369 w 2358"/>
                  <a:gd name="T5" fmla="*/ 374358 h 2199"/>
                  <a:gd name="T6" fmla="*/ 32459 w 2358"/>
                  <a:gd name="T7" fmla="*/ 340499 h 2199"/>
                  <a:gd name="T8" fmla="*/ 20184 w 2358"/>
                  <a:gd name="T9" fmla="*/ 315651 h 2199"/>
                  <a:gd name="T10" fmla="*/ 4637 w 2358"/>
                  <a:gd name="T11" fmla="*/ 290803 h 2199"/>
                  <a:gd name="T12" fmla="*/ 18547 w 2358"/>
                  <a:gd name="T13" fmla="*/ 273874 h 2199"/>
                  <a:gd name="T14" fmla="*/ 24821 w 2358"/>
                  <a:gd name="T15" fmla="*/ 253668 h 2199"/>
                  <a:gd name="T16" fmla="*/ 48006 w 2358"/>
                  <a:gd name="T17" fmla="*/ 243018 h 2199"/>
                  <a:gd name="T18" fmla="*/ 63280 w 2358"/>
                  <a:gd name="T19" fmla="*/ 258309 h 2199"/>
                  <a:gd name="T20" fmla="*/ 67917 w 2358"/>
                  <a:gd name="T21" fmla="*/ 283158 h 2199"/>
                  <a:gd name="T22" fmla="*/ 88101 w 2358"/>
                  <a:gd name="T23" fmla="*/ 294079 h 2199"/>
                  <a:gd name="T24" fmla="*/ 114286 w 2358"/>
                  <a:gd name="T25" fmla="*/ 303364 h 2199"/>
                  <a:gd name="T26" fmla="*/ 146745 w 2358"/>
                  <a:gd name="T27" fmla="*/ 303364 h 2199"/>
                  <a:gd name="T28" fmla="*/ 177839 w 2358"/>
                  <a:gd name="T29" fmla="*/ 301725 h 2199"/>
                  <a:gd name="T30" fmla="*/ 202388 w 2358"/>
                  <a:gd name="T31" fmla="*/ 303364 h 2199"/>
                  <a:gd name="T32" fmla="*/ 216298 w 2358"/>
                  <a:gd name="T33" fmla="*/ 284796 h 2199"/>
                  <a:gd name="T34" fmla="*/ 245756 w 2358"/>
                  <a:gd name="T35" fmla="*/ 270870 h 2199"/>
                  <a:gd name="T36" fmla="*/ 256667 w 2358"/>
                  <a:gd name="T37" fmla="*/ 129974 h 2199"/>
                  <a:gd name="T38" fmla="*/ 258303 w 2358"/>
                  <a:gd name="T39" fmla="*/ 9284 h 2199"/>
                  <a:gd name="T40" fmla="*/ 278214 w 2358"/>
                  <a:gd name="T41" fmla="*/ 13926 h 2199"/>
                  <a:gd name="T42" fmla="*/ 293762 w 2358"/>
                  <a:gd name="T43" fmla="*/ 33859 h 2199"/>
                  <a:gd name="T44" fmla="*/ 303036 w 2358"/>
                  <a:gd name="T45" fmla="*/ 55703 h 2199"/>
                  <a:gd name="T46" fmla="*/ 310673 w 2358"/>
                  <a:gd name="T47" fmla="*/ 77274 h 2199"/>
                  <a:gd name="T48" fmla="*/ 316947 w 2358"/>
                  <a:gd name="T49" fmla="*/ 100484 h 2199"/>
                  <a:gd name="T50" fmla="*/ 304672 w 2358"/>
                  <a:gd name="T51" fmla="*/ 120690 h 2199"/>
                  <a:gd name="T52" fmla="*/ 301399 w 2358"/>
                  <a:gd name="T53" fmla="*/ 153184 h 2199"/>
                  <a:gd name="T54" fmla="*/ 326220 w 2358"/>
                  <a:gd name="T55" fmla="*/ 151545 h 2199"/>
                  <a:gd name="T56" fmla="*/ 355679 w 2358"/>
                  <a:gd name="T57" fmla="*/ 151545 h 2199"/>
                  <a:gd name="T58" fmla="*/ 383500 w 2358"/>
                  <a:gd name="T59" fmla="*/ 145265 h 2199"/>
                  <a:gd name="T60" fmla="*/ 409685 w 2358"/>
                  <a:gd name="T61" fmla="*/ 129974 h 2199"/>
                  <a:gd name="T62" fmla="*/ 425232 w 2358"/>
                  <a:gd name="T63" fmla="*/ 112771 h 2199"/>
                  <a:gd name="T64" fmla="*/ 445143 w 2358"/>
                  <a:gd name="T65" fmla="*/ 98846 h 2199"/>
                  <a:gd name="T66" fmla="*/ 466965 w 2358"/>
                  <a:gd name="T67" fmla="*/ 137619 h 2199"/>
                  <a:gd name="T68" fmla="*/ 476238 w 2358"/>
                  <a:gd name="T69" fmla="*/ 165471 h 2199"/>
                  <a:gd name="T70" fmla="*/ 491786 w 2358"/>
                  <a:gd name="T71" fmla="*/ 190319 h 2199"/>
                  <a:gd name="T72" fmla="*/ 533518 w 2358"/>
                  <a:gd name="T73" fmla="*/ 197965 h 2199"/>
                  <a:gd name="T74" fmla="*/ 570613 w 2358"/>
                  <a:gd name="T75" fmla="*/ 216532 h 2199"/>
                  <a:gd name="T76" fmla="*/ 571977 w 2358"/>
                  <a:gd name="T77" fmla="*/ 241380 h 2199"/>
                  <a:gd name="T78" fmla="*/ 589161 w 2358"/>
                  <a:gd name="T79" fmla="*/ 225816 h 2199"/>
                  <a:gd name="T80" fmla="*/ 598434 w 2358"/>
                  <a:gd name="T81" fmla="*/ 216532 h 2199"/>
                  <a:gd name="T82" fmla="*/ 607708 w 2358"/>
                  <a:gd name="T83" fmla="*/ 246022 h 2199"/>
                  <a:gd name="T84" fmla="*/ 561339 w 2358"/>
                  <a:gd name="T85" fmla="*/ 360432 h 2199"/>
                  <a:gd name="T86" fmla="*/ 581251 w 2358"/>
                  <a:gd name="T87" fmla="*/ 379000 h 2199"/>
                  <a:gd name="T88" fmla="*/ 598434 w 2358"/>
                  <a:gd name="T89" fmla="*/ 396202 h 2199"/>
                  <a:gd name="T90" fmla="*/ 612345 w 2358"/>
                  <a:gd name="T91" fmla="*/ 413132 h 2199"/>
                  <a:gd name="T92" fmla="*/ 632257 w 2358"/>
                  <a:gd name="T93" fmla="*/ 427057 h 2199"/>
                  <a:gd name="T94" fmla="*/ 627620 w 2358"/>
                  <a:gd name="T95" fmla="*/ 475115 h 2199"/>
                  <a:gd name="T96" fmla="*/ 541155 w 2358"/>
                  <a:gd name="T97" fmla="*/ 512250 h 2199"/>
                  <a:gd name="T98" fmla="*/ 496422 w 2358"/>
                  <a:gd name="T99" fmla="*/ 510612 h 2199"/>
                  <a:gd name="T100" fmla="*/ 428232 w 2358"/>
                  <a:gd name="T101" fmla="*/ 507608 h 2199"/>
                  <a:gd name="T102" fmla="*/ 388137 w 2358"/>
                  <a:gd name="T103" fmla="*/ 546382 h 2199"/>
                  <a:gd name="T104" fmla="*/ 329221 w 2358"/>
                  <a:gd name="T105" fmla="*/ 569592 h 2199"/>
                  <a:gd name="T106" fmla="*/ 267577 w 2358"/>
                  <a:gd name="T107" fmla="*/ 594167 h 2199"/>
                  <a:gd name="T108" fmla="*/ 253666 w 2358"/>
                  <a:gd name="T109" fmla="*/ 547747 h 2199"/>
                  <a:gd name="T110" fmla="*/ 211661 w 2358"/>
                  <a:gd name="T111" fmla="*/ 580241 h 2199"/>
                  <a:gd name="T112" fmla="*/ 208661 w 2358"/>
                  <a:gd name="T113" fmla="*/ 538464 h 2199"/>
                  <a:gd name="T114" fmla="*/ 187113 w 2358"/>
                  <a:gd name="T115" fmla="*/ 526176 h 2199"/>
                  <a:gd name="T116" fmla="*/ 176203 w 2358"/>
                  <a:gd name="T117" fmla="*/ 495321 h 2199"/>
                  <a:gd name="T118" fmla="*/ 140744 w 2358"/>
                  <a:gd name="T119" fmla="*/ 422416 h 21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358" h="2199">
                    <a:moveTo>
                      <a:pt x="323" y="1717"/>
                    </a:moveTo>
                    <a:lnTo>
                      <a:pt x="317" y="1712"/>
                    </a:lnTo>
                    <a:lnTo>
                      <a:pt x="317" y="1706"/>
                    </a:lnTo>
                    <a:lnTo>
                      <a:pt x="312" y="1706"/>
                    </a:lnTo>
                    <a:lnTo>
                      <a:pt x="312" y="1700"/>
                    </a:lnTo>
                    <a:lnTo>
                      <a:pt x="312" y="1695"/>
                    </a:lnTo>
                    <a:lnTo>
                      <a:pt x="306" y="1683"/>
                    </a:lnTo>
                    <a:lnTo>
                      <a:pt x="306" y="1678"/>
                    </a:lnTo>
                    <a:lnTo>
                      <a:pt x="300" y="1672"/>
                    </a:lnTo>
                    <a:lnTo>
                      <a:pt x="295" y="1666"/>
                    </a:lnTo>
                    <a:lnTo>
                      <a:pt x="289" y="1661"/>
                    </a:lnTo>
                    <a:lnTo>
                      <a:pt x="283" y="1655"/>
                    </a:lnTo>
                    <a:lnTo>
                      <a:pt x="283" y="1649"/>
                    </a:lnTo>
                    <a:lnTo>
                      <a:pt x="283" y="1644"/>
                    </a:lnTo>
                    <a:lnTo>
                      <a:pt x="278" y="1638"/>
                    </a:lnTo>
                    <a:lnTo>
                      <a:pt x="272" y="1632"/>
                    </a:lnTo>
                    <a:lnTo>
                      <a:pt x="272" y="1621"/>
                    </a:lnTo>
                    <a:lnTo>
                      <a:pt x="266" y="1621"/>
                    </a:lnTo>
                    <a:lnTo>
                      <a:pt x="266" y="1610"/>
                    </a:lnTo>
                    <a:lnTo>
                      <a:pt x="266" y="1604"/>
                    </a:lnTo>
                    <a:lnTo>
                      <a:pt x="261" y="1604"/>
                    </a:lnTo>
                    <a:lnTo>
                      <a:pt x="255" y="1593"/>
                    </a:lnTo>
                    <a:lnTo>
                      <a:pt x="249" y="1587"/>
                    </a:lnTo>
                    <a:lnTo>
                      <a:pt x="244" y="1576"/>
                    </a:lnTo>
                    <a:lnTo>
                      <a:pt x="244" y="1570"/>
                    </a:lnTo>
                    <a:lnTo>
                      <a:pt x="244" y="1564"/>
                    </a:lnTo>
                    <a:lnTo>
                      <a:pt x="238" y="1564"/>
                    </a:lnTo>
                    <a:lnTo>
                      <a:pt x="238" y="1553"/>
                    </a:lnTo>
                    <a:lnTo>
                      <a:pt x="232" y="1553"/>
                    </a:lnTo>
                    <a:lnTo>
                      <a:pt x="227" y="1547"/>
                    </a:lnTo>
                    <a:lnTo>
                      <a:pt x="227" y="1542"/>
                    </a:lnTo>
                    <a:lnTo>
                      <a:pt x="227" y="1536"/>
                    </a:lnTo>
                    <a:lnTo>
                      <a:pt x="221" y="1536"/>
                    </a:lnTo>
                    <a:lnTo>
                      <a:pt x="221" y="1530"/>
                    </a:lnTo>
                    <a:lnTo>
                      <a:pt x="215" y="1525"/>
                    </a:lnTo>
                    <a:lnTo>
                      <a:pt x="215" y="1519"/>
                    </a:lnTo>
                    <a:lnTo>
                      <a:pt x="210" y="1513"/>
                    </a:lnTo>
                    <a:lnTo>
                      <a:pt x="210" y="1508"/>
                    </a:lnTo>
                    <a:lnTo>
                      <a:pt x="210" y="1502"/>
                    </a:lnTo>
                    <a:lnTo>
                      <a:pt x="204" y="1502"/>
                    </a:lnTo>
                    <a:lnTo>
                      <a:pt x="204" y="1496"/>
                    </a:lnTo>
                    <a:lnTo>
                      <a:pt x="204" y="1491"/>
                    </a:lnTo>
                    <a:lnTo>
                      <a:pt x="204" y="1485"/>
                    </a:lnTo>
                    <a:lnTo>
                      <a:pt x="198" y="1485"/>
                    </a:lnTo>
                    <a:lnTo>
                      <a:pt x="198" y="1479"/>
                    </a:lnTo>
                    <a:lnTo>
                      <a:pt x="198" y="1474"/>
                    </a:lnTo>
                    <a:lnTo>
                      <a:pt x="193" y="1468"/>
                    </a:lnTo>
                    <a:lnTo>
                      <a:pt x="193" y="1462"/>
                    </a:lnTo>
                    <a:lnTo>
                      <a:pt x="193" y="1456"/>
                    </a:lnTo>
                    <a:lnTo>
                      <a:pt x="187" y="1451"/>
                    </a:lnTo>
                    <a:lnTo>
                      <a:pt x="187" y="1445"/>
                    </a:lnTo>
                    <a:lnTo>
                      <a:pt x="181" y="1445"/>
                    </a:lnTo>
                    <a:lnTo>
                      <a:pt x="181" y="1439"/>
                    </a:lnTo>
                    <a:lnTo>
                      <a:pt x="181" y="1428"/>
                    </a:lnTo>
                    <a:lnTo>
                      <a:pt x="176" y="1417"/>
                    </a:lnTo>
                    <a:lnTo>
                      <a:pt x="176" y="1411"/>
                    </a:lnTo>
                    <a:lnTo>
                      <a:pt x="170" y="1394"/>
                    </a:lnTo>
                    <a:lnTo>
                      <a:pt x="164" y="1394"/>
                    </a:lnTo>
                    <a:lnTo>
                      <a:pt x="164" y="1388"/>
                    </a:lnTo>
                    <a:lnTo>
                      <a:pt x="159" y="1383"/>
                    </a:lnTo>
                    <a:lnTo>
                      <a:pt x="159" y="1377"/>
                    </a:lnTo>
                    <a:lnTo>
                      <a:pt x="164" y="1377"/>
                    </a:lnTo>
                    <a:lnTo>
                      <a:pt x="159" y="1371"/>
                    </a:lnTo>
                    <a:lnTo>
                      <a:pt x="153" y="1360"/>
                    </a:lnTo>
                    <a:lnTo>
                      <a:pt x="153" y="1354"/>
                    </a:lnTo>
                    <a:lnTo>
                      <a:pt x="153" y="1349"/>
                    </a:lnTo>
                    <a:lnTo>
                      <a:pt x="147" y="1349"/>
                    </a:lnTo>
                    <a:lnTo>
                      <a:pt x="147" y="1343"/>
                    </a:lnTo>
                    <a:lnTo>
                      <a:pt x="147" y="1337"/>
                    </a:lnTo>
                    <a:lnTo>
                      <a:pt x="147" y="1332"/>
                    </a:lnTo>
                    <a:lnTo>
                      <a:pt x="147" y="1326"/>
                    </a:lnTo>
                    <a:lnTo>
                      <a:pt x="147" y="1315"/>
                    </a:lnTo>
                    <a:lnTo>
                      <a:pt x="142" y="1309"/>
                    </a:lnTo>
                    <a:lnTo>
                      <a:pt x="142" y="1303"/>
                    </a:lnTo>
                    <a:lnTo>
                      <a:pt x="136" y="1298"/>
                    </a:lnTo>
                    <a:lnTo>
                      <a:pt x="136" y="1292"/>
                    </a:lnTo>
                    <a:lnTo>
                      <a:pt x="136" y="1286"/>
                    </a:lnTo>
                    <a:lnTo>
                      <a:pt x="136" y="1281"/>
                    </a:lnTo>
                    <a:lnTo>
                      <a:pt x="130" y="1281"/>
                    </a:lnTo>
                    <a:lnTo>
                      <a:pt x="130" y="1269"/>
                    </a:lnTo>
                    <a:lnTo>
                      <a:pt x="130" y="1258"/>
                    </a:lnTo>
                    <a:lnTo>
                      <a:pt x="125" y="1258"/>
                    </a:lnTo>
                    <a:lnTo>
                      <a:pt x="125" y="1252"/>
                    </a:lnTo>
                    <a:lnTo>
                      <a:pt x="119" y="1247"/>
                    </a:lnTo>
                    <a:lnTo>
                      <a:pt x="119" y="1241"/>
                    </a:lnTo>
                    <a:lnTo>
                      <a:pt x="119" y="1235"/>
                    </a:lnTo>
                    <a:lnTo>
                      <a:pt x="113" y="1235"/>
                    </a:lnTo>
                    <a:lnTo>
                      <a:pt x="113" y="1230"/>
                    </a:lnTo>
                    <a:lnTo>
                      <a:pt x="108" y="1224"/>
                    </a:lnTo>
                    <a:lnTo>
                      <a:pt x="102" y="1218"/>
                    </a:lnTo>
                    <a:lnTo>
                      <a:pt x="102" y="1213"/>
                    </a:lnTo>
                    <a:lnTo>
                      <a:pt x="102" y="1207"/>
                    </a:lnTo>
                    <a:lnTo>
                      <a:pt x="96" y="1207"/>
                    </a:lnTo>
                    <a:lnTo>
                      <a:pt x="96" y="1201"/>
                    </a:lnTo>
                    <a:lnTo>
                      <a:pt x="96" y="1196"/>
                    </a:lnTo>
                    <a:lnTo>
                      <a:pt x="96" y="1190"/>
                    </a:lnTo>
                    <a:lnTo>
                      <a:pt x="91" y="1184"/>
                    </a:lnTo>
                    <a:lnTo>
                      <a:pt x="96" y="1184"/>
                    </a:lnTo>
                    <a:lnTo>
                      <a:pt x="91" y="1179"/>
                    </a:lnTo>
                    <a:lnTo>
                      <a:pt x="91" y="1173"/>
                    </a:lnTo>
                    <a:lnTo>
                      <a:pt x="91" y="1167"/>
                    </a:lnTo>
                    <a:lnTo>
                      <a:pt x="85" y="1162"/>
                    </a:lnTo>
                    <a:lnTo>
                      <a:pt x="79" y="1162"/>
                    </a:lnTo>
                    <a:lnTo>
                      <a:pt x="79" y="1156"/>
                    </a:lnTo>
                    <a:lnTo>
                      <a:pt x="74" y="1156"/>
                    </a:lnTo>
                    <a:lnTo>
                      <a:pt x="68" y="1150"/>
                    </a:lnTo>
                    <a:lnTo>
                      <a:pt x="68" y="1145"/>
                    </a:lnTo>
                    <a:lnTo>
                      <a:pt x="62" y="1145"/>
                    </a:lnTo>
                    <a:lnTo>
                      <a:pt x="62" y="1139"/>
                    </a:lnTo>
                    <a:lnTo>
                      <a:pt x="62" y="1133"/>
                    </a:lnTo>
                    <a:lnTo>
                      <a:pt x="57" y="1128"/>
                    </a:lnTo>
                    <a:lnTo>
                      <a:pt x="57" y="1122"/>
                    </a:lnTo>
                    <a:lnTo>
                      <a:pt x="51" y="1116"/>
                    </a:lnTo>
                    <a:lnTo>
                      <a:pt x="45" y="1116"/>
                    </a:lnTo>
                    <a:lnTo>
                      <a:pt x="40" y="1111"/>
                    </a:lnTo>
                    <a:lnTo>
                      <a:pt x="34" y="1111"/>
                    </a:lnTo>
                    <a:lnTo>
                      <a:pt x="34" y="1099"/>
                    </a:lnTo>
                    <a:lnTo>
                      <a:pt x="28" y="1099"/>
                    </a:lnTo>
                    <a:lnTo>
                      <a:pt x="28" y="1094"/>
                    </a:lnTo>
                    <a:lnTo>
                      <a:pt x="28" y="1088"/>
                    </a:lnTo>
                    <a:lnTo>
                      <a:pt x="28" y="1082"/>
                    </a:lnTo>
                    <a:lnTo>
                      <a:pt x="23" y="1077"/>
                    </a:lnTo>
                    <a:lnTo>
                      <a:pt x="28" y="1077"/>
                    </a:lnTo>
                    <a:lnTo>
                      <a:pt x="28" y="1071"/>
                    </a:lnTo>
                    <a:lnTo>
                      <a:pt x="23" y="1065"/>
                    </a:lnTo>
                    <a:lnTo>
                      <a:pt x="17" y="1065"/>
                    </a:lnTo>
                    <a:lnTo>
                      <a:pt x="17" y="1060"/>
                    </a:lnTo>
                    <a:lnTo>
                      <a:pt x="11" y="1054"/>
                    </a:lnTo>
                    <a:lnTo>
                      <a:pt x="6" y="1048"/>
                    </a:lnTo>
                    <a:lnTo>
                      <a:pt x="0" y="1043"/>
                    </a:lnTo>
                    <a:lnTo>
                      <a:pt x="0" y="1037"/>
                    </a:lnTo>
                    <a:lnTo>
                      <a:pt x="0" y="1031"/>
                    </a:lnTo>
                    <a:lnTo>
                      <a:pt x="6" y="1026"/>
                    </a:lnTo>
                    <a:lnTo>
                      <a:pt x="11" y="1026"/>
                    </a:lnTo>
                    <a:lnTo>
                      <a:pt x="17" y="1026"/>
                    </a:lnTo>
                    <a:lnTo>
                      <a:pt x="23" y="1026"/>
                    </a:lnTo>
                    <a:lnTo>
                      <a:pt x="28" y="1020"/>
                    </a:lnTo>
                    <a:lnTo>
                      <a:pt x="34" y="1020"/>
                    </a:lnTo>
                    <a:lnTo>
                      <a:pt x="40" y="1014"/>
                    </a:lnTo>
                    <a:lnTo>
                      <a:pt x="40" y="1009"/>
                    </a:lnTo>
                    <a:lnTo>
                      <a:pt x="45" y="1003"/>
                    </a:lnTo>
                    <a:lnTo>
                      <a:pt x="51" y="1003"/>
                    </a:lnTo>
                    <a:lnTo>
                      <a:pt x="57" y="1003"/>
                    </a:lnTo>
                    <a:lnTo>
                      <a:pt x="62" y="1003"/>
                    </a:lnTo>
                    <a:lnTo>
                      <a:pt x="62" y="1009"/>
                    </a:lnTo>
                    <a:lnTo>
                      <a:pt x="68" y="1009"/>
                    </a:lnTo>
                    <a:lnTo>
                      <a:pt x="68" y="1003"/>
                    </a:lnTo>
                    <a:lnTo>
                      <a:pt x="74" y="1003"/>
                    </a:lnTo>
                    <a:lnTo>
                      <a:pt x="74" y="997"/>
                    </a:lnTo>
                    <a:lnTo>
                      <a:pt x="79" y="997"/>
                    </a:lnTo>
                    <a:lnTo>
                      <a:pt x="79" y="992"/>
                    </a:lnTo>
                    <a:lnTo>
                      <a:pt x="79" y="980"/>
                    </a:lnTo>
                    <a:lnTo>
                      <a:pt x="85" y="975"/>
                    </a:lnTo>
                    <a:lnTo>
                      <a:pt x="91" y="975"/>
                    </a:lnTo>
                    <a:lnTo>
                      <a:pt x="91" y="969"/>
                    </a:lnTo>
                    <a:lnTo>
                      <a:pt x="85" y="969"/>
                    </a:lnTo>
                    <a:lnTo>
                      <a:pt x="85" y="963"/>
                    </a:lnTo>
                    <a:lnTo>
                      <a:pt x="79" y="958"/>
                    </a:lnTo>
                    <a:lnTo>
                      <a:pt x="74" y="952"/>
                    </a:lnTo>
                    <a:lnTo>
                      <a:pt x="79" y="946"/>
                    </a:lnTo>
                    <a:lnTo>
                      <a:pt x="79" y="941"/>
                    </a:lnTo>
                    <a:lnTo>
                      <a:pt x="85" y="941"/>
                    </a:lnTo>
                    <a:lnTo>
                      <a:pt x="85" y="946"/>
                    </a:lnTo>
                    <a:lnTo>
                      <a:pt x="91" y="946"/>
                    </a:lnTo>
                    <a:lnTo>
                      <a:pt x="96" y="946"/>
                    </a:lnTo>
                    <a:lnTo>
                      <a:pt x="96" y="941"/>
                    </a:lnTo>
                    <a:lnTo>
                      <a:pt x="91" y="935"/>
                    </a:lnTo>
                    <a:lnTo>
                      <a:pt x="91" y="929"/>
                    </a:lnTo>
                    <a:lnTo>
                      <a:pt x="96" y="929"/>
                    </a:lnTo>
                    <a:lnTo>
                      <a:pt x="102" y="929"/>
                    </a:lnTo>
                    <a:lnTo>
                      <a:pt x="102" y="924"/>
                    </a:lnTo>
                    <a:lnTo>
                      <a:pt x="96" y="924"/>
                    </a:lnTo>
                    <a:lnTo>
                      <a:pt x="96" y="918"/>
                    </a:lnTo>
                    <a:lnTo>
                      <a:pt x="102" y="918"/>
                    </a:lnTo>
                    <a:lnTo>
                      <a:pt x="108" y="924"/>
                    </a:lnTo>
                    <a:lnTo>
                      <a:pt x="113" y="918"/>
                    </a:lnTo>
                    <a:lnTo>
                      <a:pt x="113" y="912"/>
                    </a:lnTo>
                    <a:lnTo>
                      <a:pt x="113" y="901"/>
                    </a:lnTo>
                    <a:lnTo>
                      <a:pt x="113" y="895"/>
                    </a:lnTo>
                    <a:lnTo>
                      <a:pt x="119" y="890"/>
                    </a:lnTo>
                    <a:lnTo>
                      <a:pt x="125" y="895"/>
                    </a:lnTo>
                    <a:lnTo>
                      <a:pt x="130" y="895"/>
                    </a:lnTo>
                    <a:lnTo>
                      <a:pt x="136" y="890"/>
                    </a:lnTo>
                    <a:lnTo>
                      <a:pt x="142" y="895"/>
                    </a:lnTo>
                    <a:lnTo>
                      <a:pt x="147" y="890"/>
                    </a:lnTo>
                    <a:lnTo>
                      <a:pt x="159" y="884"/>
                    </a:lnTo>
                    <a:lnTo>
                      <a:pt x="164" y="884"/>
                    </a:lnTo>
                    <a:lnTo>
                      <a:pt x="170" y="890"/>
                    </a:lnTo>
                    <a:lnTo>
                      <a:pt x="176" y="890"/>
                    </a:lnTo>
                    <a:lnTo>
                      <a:pt x="176" y="895"/>
                    </a:lnTo>
                    <a:lnTo>
                      <a:pt x="181" y="901"/>
                    </a:lnTo>
                    <a:lnTo>
                      <a:pt x="187" y="901"/>
                    </a:lnTo>
                    <a:lnTo>
                      <a:pt x="193" y="901"/>
                    </a:lnTo>
                    <a:lnTo>
                      <a:pt x="193" y="907"/>
                    </a:lnTo>
                    <a:lnTo>
                      <a:pt x="193" y="912"/>
                    </a:lnTo>
                    <a:lnTo>
                      <a:pt x="187" y="924"/>
                    </a:lnTo>
                    <a:lnTo>
                      <a:pt x="187" y="929"/>
                    </a:lnTo>
                    <a:lnTo>
                      <a:pt x="193" y="935"/>
                    </a:lnTo>
                    <a:lnTo>
                      <a:pt x="198" y="941"/>
                    </a:lnTo>
                    <a:lnTo>
                      <a:pt x="204" y="941"/>
                    </a:lnTo>
                    <a:lnTo>
                      <a:pt x="204" y="935"/>
                    </a:lnTo>
                    <a:lnTo>
                      <a:pt x="210" y="935"/>
                    </a:lnTo>
                    <a:lnTo>
                      <a:pt x="210" y="941"/>
                    </a:lnTo>
                    <a:lnTo>
                      <a:pt x="215" y="941"/>
                    </a:lnTo>
                    <a:lnTo>
                      <a:pt x="215" y="935"/>
                    </a:lnTo>
                    <a:lnTo>
                      <a:pt x="221" y="935"/>
                    </a:lnTo>
                    <a:lnTo>
                      <a:pt x="227" y="935"/>
                    </a:lnTo>
                    <a:lnTo>
                      <a:pt x="232" y="935"/>
                    </a:lnTo>
                    <a:lnTo>
                      <a:pt x="232" y="941"/>
                    </a:lnTo>
                    <a:lnTo>
                      <a:pt x="232" y="946"/>
                    </a:lnTo>
                    <a:lnTo>
                      <a:pt x="238" y="952"/>
                    </a:lnTo>
                    <a:lnTo>
                      <a:pt x="244" y="952"/>
                    </a:lnTo>
                    <a:lnTo>
                      <a:pt x="238" y="958"/>
                    </a:lnTo>
                    <a:lnTo>
                      <a:pt x="238" y="963"/>
                    </a:lnTo>
                    <a:lnTo>
                      <a:pt x="244" y="969"/>
                    </a:lnTo>
                    <a:lnTo>
                      <a:pt x="249" y="969"/>
                    </a:lnTo>
                    <a:lnTo>
                      <a:pt x="249" y="975"/>
                    </a:lnTo>
                    <a:lnTo>
                      <a:pt x="249" y="986"/>
                    </a:lnTo>
                    <a:lnTo>
                      <a:pt x="244" y="992"/>
                    </a:lnTo>
                    <a:lnTo>
                      <a:pt x="232" y="992"/>
                    </a:lnTo>
                    <a:lnTo>
                      <a:pt x="227" y="997"/>
                    </a:lnTo>
                    <a:lnTo>
                      <a:pt x="227" y="1003"/>
                    </a:lnTo>
                    <a:lnTo>
                      <a:pt x="227" y="1009"/>
                    </a:lnTo>
                    <a:lnTo>
                      <a:pt x="232" y="1009"/>
                    </a:lnTo>
                    <a:lnTo>
                      <a:pt x="238" y="1014"/>
                    </a:lnTo>
                    <a:lnTo>
                      <a:pt x="238" y="1020"/>
                    </a:lnTo>
                    <a:lnTo>
                      <a:pt x="238" y="1026"/>
                    </a:lnTo>
                    <a:lnTo>
                      <a:pt x="244" y="1026"/>
                    </a:lnTo>
                    <a:lnTo>
                      <a:pt x="249" y="1026"/>
                    </a:lnTo>
                    <a:lnTo>
                      <a:pt x="249" y="1031"/>
                    </a:lnTo>
                    <a:lnTo>
                      <a:pt x="249" y="1037"/>
                    </a:lnTo>
                    <a:lnTo>
                      <a:pt x="249" y="1043"/>
                    </a:lnTo>
                    <a:lnTo>
                      <a:pt x="249" y="1048"/>
                    </a:lnTo>
                    <a:lnTo>
                      <a:pt x="249" y="1054"/>
                    </a:lnTo>
                    <a:lnTo>
                      <a:pt x="249" y="1060"/>
                    </a:lnTo>
                    <a:lnTo>
                      <a:pt x="244" y="1065"/>
                    </a:lnTo>
                    <a:lnTo>
                      <a:pt x="249" y="1065"/>
                    </a:lnTo>
                    <a:lnTo>
                      <a:pt x="255" y="1065"/>
                    </a:lnTo>
                    <a:lnTo>
                      <a:pt x="261" y="1065"/>
                    </a:lnTo>
                    <a:lnTo>
                      <a:pt x="266" y="1060"/>
                    </a:lnTo>
                    <a:lnTo>
                      <a:pt x="272" y="1060"/>
                    </a:lnTo>
                    <a:lnTo>
                      <a:pt x="283" y="1065"/>
                    </a:lnTo>
                    <a:lnTo>
                      <a:pt x="283" y="1060"/>
                    </a:lnTo>
                    <a:lnTo>
                      <a:pt x="289" y="1060"/>
                    </a:lnTo>
                    <a:lnTo>
                      <a:pt x="295" y="1060"/>
                    </a:lnTo>
                    <a:lnTo>
                      <a:pt x="295" y="1065"/>
                    </a:lnTo>
                    <a:lnTo>
                      <a:pt x="300" y="1071"/>
                    </a:lnTo>
                    <a:lnTo>
                      <a:pt x="300" y="1077"/>
                    </a:lnTo>
                    <a:lnTo>
                      <a:pt x="306" y="1082"/>
                    </a:lnTo>
                    <a:lnTo>
                      <a:pt x="312" y="1082"/>
                    </a:lnTo>
                    <a:lnTo>
                      <a:pt x="317" y="1082"/>
                    </a:lnTo>
                    <a:lnTo>
                      <a:pt x="323" y="1077"/>
                    </a:lnTo>
                    <a:lnTo>
                      <a:pt x="329" y="1077"/>
                    </a:lnTo>
                    <a:lnTo>
                      <a:pt x="334" y="1077"/>
                    </a:lnTo>
                    <a:lnTo>
                      <a:pt x="340" y="1077"/>
                    </a:lnTo>
                    <a:lnTo>
                      <a:pt x="346" y="1077"/>
                    </a:lnTo>
                    <a:lnTo>
                      <a:pt x="351" y="1077"/>
                    </a:lnTo>
                    <a:lnTo>
                      <a:pt x="363" y="1077"/>
                    </a:lnTo>
                    <a:lnTo>
                      <a:pt x="368" y="1077"/>
                    </a:lnTo>
                    <a:lnTo>
                      <a:pt x="368" y="1082"/>
                    </a:lnTo>
                    <a:lnTo>
                      <a:pt x="374" y="1082"/>
                    </a:lnTo>
                    <a:lnTo>
                      <a:pt x="380" y="1077"/>
                    </a:lnTo>
                    <a:lnTo>
                      <a:pt x="380" y="1082"/>
                    </a:lnTo>
                    <a:lnTo>
                      <a:pt x="385" y="1082"/>
                    </a:lnTo>
                    <a:lnTo>
                      <a:pt x="385" y="1088"/>
                    </a:lnTo>
                    <a:lnTo>
                      <a:pt x="391" y="1088"/>
                    </a:lnTo>
                    <a:lnTo>
                      <a:pt x="397" y="1094"/>
                    </a:lnTo>
                    <a:lnTo>
                      <a:pt x="402" y="1094"/>
                    </a:lnTo>
                    <a:lnTo>
                      <a:pt x="402" y="1099"/>
                    </a:lnTo>
                    <a:lnTo>
                      <a:pt x="408" y="1099"/>
                    </a:lnTo>
                    <a:lnTo>
                      <a:pt x="414" y="1105"/>
                    </a:lnTo>
                    <a:lnTo>
                      <a:pt x="414" y="1111"/>
                    </a:lnTo>
                    <a:lnTo>
                      <a:pt x="419" y="1111"/>
                    </a:lnTo>
                    <a:lnTo>
                      <a:pt x="425" y="1111"/>
                    </a:lnTo>
                    <a:lnTo>
                      <a:pt x="431" y="1116"/>
                    </a:lnTo>
                    <a:lnTo>
                      <a:pt x="436" y="1116"/>
                    </a:lnTo>
                    <a:lnTo>
                      <a:pt x="442" y="1116"/>
                    </a:lnTo>
                    <a:lnTo>
                      <a:pt x="448" y="1116"/>
                    </a:lnTo>
                    <a:lnTo>
                      <a:pt x="448" y="1122"/>
                    </a:lnTo>
                    <a:lnTo>
                      <a:pt x="453" y="1116"/>
                    </a:lnTo>
                    <a:lnTo>
                      <a:pt x="459" y="1116"/>
                    </a:lnTo>
                    <a:lnTo>
                      <a:pt x="465" y="1116"/>
                    </a:lnTo>
                    <a:lnTo>
                      <a:pt x="470" y="1111"/>
                    </a:lnTo>
                    <a:lnTo>
                      <a:pt x="476" y="1111"/>
                    </a:lnTo>
                    <a:lnTo>
                      <a:pt x="482" y="1111"/>
                    </a:lnTo>
                    <a:lnTo>
                      <a:pt x="493" y="1111"/>
                    </a:lnTo>
                    <a:lnTo>
                      <a:pt x="499" y="1116"/>
                    </a:lnTo>
                    <a:lnTo>
                      <a:pt x="504" y="1116"/>
                    </a:lnTo>
                    <a:lnTo>
                      <a:pt x="510" y="1116"/>
                    </a:lnTo>
                    <a:lnTo>
                      <a:pt x="516" y="1116"/>
                    </a:lnTo>
                    <a:lnTo>
                      <a:pt x="521" y="1111"/>
                    </a:lnTo>
                    <a:lnTo>
                      <a:pt x="527" y="1111"/>
                    </a:lnTo>
                    <a:lnTo>
                      <a:pt x="533" y="1111"/>
                    </a:lnTo>
                    <a:lnTo>
                      <a:pt x="538" y="1111"/>
                    </a:lnTo>
                    <a:lnTo>
                      <a:pt x="544" y="1111"/>
                    </a:lnTo>
                    <a:lnTo>
                      <a:pt x="544" y="1105"/>
                    </a:lnTo>
                    <a:lnTo>
                      <a:pt x="550" y="1105"/>
                    </a:lnTo>
                    <a:lnTo>
                      <a:pt x="555" y="1105"/>
                    </a:lnTo>
                    <a:lnTo>
                      <a:pt x="567" y="1099"/>
                    </a:lnTo>
                    <a:lnTo>
                      <a:pt x="572" y="1105"/>
                    </a:lnTo>
                    <a:lnTo>
                      <a:pt x="578" y="1105"/>
                    </a:lnTo>
                    <a:lnTo>
                      <a:pt x="584" y="1099"/>
                    </a:lnTo>
                    <a:lnTo>
                      <a:pt x="589" y="1099"/>
                    </a:lnTo>
                    <a:lnTo>
                      <a:pt x="595" y="1099"/>
                    </a:lnTo>
                    <a:lnTo>
                      <a:pt x="601" y="1099"/>
                    </a:lnTo>
                    <a:lnTo>
                      <a:pt x="606" y="1099"/>
                    </a:lnTo>
                    <a:lnTo>
                      <a:pt x="612" y="1099"/>
                    </a:lnTo>
                    <a:lnTo>
                      <a:pt x="618" y="1099"/>
                    </a:lnTo>
                    <a:lnTo>
                      <a:pt x="623" y="1105"/>
                    </a:lnTo>
                    <a:lnTo>
                      <a:pt x="629" y="1099"/>
                    </a:lnTo>
                    <a:lnTo>
                      <a:pt x="629" y="1105"/>
                    </a:lnTo>
                    <a:lnTo>
                      <a:pt x="635" y="1105"/>
                    </a:lnTo>
                    <a:lnTo>
                      <a:pt x="640" y="1105"/>
                    </a:lnTo>
                    <a:lnTo>
                      <a:pt x="646" y="1105"/>
                    </a:lnTo>
                    <a:lnTo>
                      <a:pt x="652" y="1105"/>
                    </a:lnTo>
                    <a:lnTo>
                      <a:pt x="652" y="1111"/>
                    </a:lnTo>
                    <a:lnTo>
                      <a:pt x="657" y="1111"/>
                    </a:lnTo>
                    <a:lnTo>
                      <a:pt x="663" y="1116"/>
                    </a:lnTo>
                    <a:lnTo>
                      <a:pt x="663" y="1122"/>
                    </a:lnTo>
                    <a:lnTo>
                      <a:pt x="663" y="1128"/>
                    </a:lnTo>
                    <a:lnTo>
                      <a:pt x="669" y="1128"/>
                    </a:lnTo>
                    <a:lnTo>
                      <a:pt x="669" y="1122"/>
                    </a:lnTo>
                    <a:lnTo>
                      <a:pt x="669" y="1128"/>
                    </a:lnTo>
                    <a:lnTo>
                      <a:pt x="674" y="1128"/>
                    </a:lnTo>
                    <a:lnTo>
                      <a:pt x="680" y="1128"/>
                    </a:lnTo>
                    <a:lnTo>
                      <a:pt x="686" y="1133"/>
                    </a:lnTo>
                    <a:lnTo>
                      <a:pt x="691" y="1133"/>
                    </a:lnTo>
                    <a:lnTo>
                      <a:pt x="697" y="1133"/>
                    </a:lnTo>
                    <a:lnTo>
                      <a:pt x="703" y="1133"/>
                    </a:lnTo>
                    <a:lnTo>
                      <a:pt x="708" y="1133"/>
                    </a:lnTo>
                    <a:lnTo>
                      <a:pt x="714" y="1128"/>
                    </a:lnTo>
                    <a:lnTo>
                      <a:pt x="720" y="1122"/>
                    </a:lnTo>
                    <a:lnTo>
                      <a:pt x="725" y="1116"/>
                    </a:lnTo>
                    <a:lnTo>
                      <a:pt x="731" y="1116"/>
                    </a:lnTo>
                    <a:lnTo>
                      <a:pt x="737" y="1116"/>
                    </a:lnTo>
                    <a:lnTo>
                      <a:pt x="742" y="1111"/>
                    </a:lnTo>
                    <a:lnTo>
                      <a:pt x="737" y="1111"/>
                    </a:lnTo>
                    <a:lnTo>
                      <a:pt x="731" y="1105"/>
                    </a:lnTo>
                    <a:lnTo>
                      <a:pt x="725" y="1094"/>
                    </a:lnTo>
                    <a:lnTo>
                      <a:pt x="725" y="1088"/>
                    </a:lnTo>
                    <a:lnTo>
                      <a:pt x="731" y="1082"/>
                    </a:lnTo>
                    <a:lnTo>
                      <a:pt x="731" y="1077"/>
                    </a:lnTo>
                    <a:lnTo>
                      <a:pt x="737" y="1071"/>
                    </a:lnTo>
                    <a:lnTo>
                      <a:pt x="742" y="1071"/>
                    </a:lnTo>
                    <a:lnTo>
                      <a:pt x="748" y="1071"/>
                    </a:lnTo>
                    <a:lnTo>
                      <a:pt x="754" y="1071"/>
                    </a:lnTo>
                    <a:lnTo>
                      <a:pt x="759" y="1071"/>
                    </a:lnTo>
                    <a:lnTo>
                      <a:pt x="765" y="1071"/>
                    </a:lnTo>
                    <a:lnTo>
                      <a:pt x="771" y="1071"/>
                    </a:lnTo>
                    <a:lnTo>
                      <a:pt x="776" y="1071"/>
                    </a:lnTo>
                    <a:lnTo>
                      <a:pt x="782" y="1065"/>
                    </a:lnTo>
                    <a:lnTo>
                      <a:pt x="788" y="1065"/>
                    </a:lnTo>
                    <a:lnTo>
                      <a:pt x="788" y="1060"/>
                    </a:lnTo>
                    <a:lnTo>
                      <a:pt x="793" y="1060"/>
                    </a:lnTo>
                    <a:lnTo>
                      <a:pt x="793" y="1054"/>
                    </a:lnTo>
                    <a:lnTo>
                      <a:pt x="793" y="1048"/>
                    </a:lnTo>
                    <a:lnTo>
                      <a:pt x="793" y="1043"/>
                    </a:lnTo>
                    <a:lnTo>
                      <a:pt x="799" y="1037"/>
                    </a:lnTo>
                    <a:lnTo>
                      <a:pt x="799" y="1031"/>
                    </a:lnTo>
                    <a:lnTo>
                      <a:pt x="805" y="1026"/>
                    </a:lnTo>
                    <a:lnTo>
                      <a:pt x="810" y="1020"/>
                    </a:lnTo>
                    <a:lnTo>
                      <a:pt x="810" y="1014"/>
                    </a:lnTo>
                    <a:lnTo>
                      <a:pt x="816" y="1014"/>
                    </a:lnTo>
                    <a:lnTo>
                      <a:pt x="828" y="1014"/>
                    </a:lnTo>
                    <a:lnTo>
                      <a:pt x="833" y="1014"/>
                    </a:lnTo>
                    <a:lnTo>
                      <a:pt x="839" y="1014"/>
                    </a:lnTo>
                    <a:lnTo>
                      <a:pt x="845" y="1014"/>
                    </a:lnTo>
                    <a:lnTo>
                      <a:pt x="850" y="1009"/>
                    </a:lnTo>
                    <a:lnTo>
                      <a:pt x="856" y="1003"/>
                    </a:lnTo>
                    <a:lnTo>
                      <a:pt x="862" y="1003"/>
                    </a:lnTo>
                    <a:lnTo>
                      <a:pt x="867" y="1009"/>
                    </a:lnTo>
                    <a:lnTo>
                      <a:pt x="873" y="1009"/>
                    </a:lnTo>
                    <a:lnTo>
                      <a:pt x="879" y="1009"/>
                    </a:lnTo>
                    <a:lnTo>
                      <a:pt x="884" y="1003"/>
                    </a:lnTo>
                    <a:lnTo>
                      <a:pt x="884" y="997"/>
                    </a:lnTo>
                    <a:lnTo>
                      <a:pt x="890" y="997"/>
                    </a:lnTo>
                    <a:lnTo>
                      <a:pt x="896" y="992"/>
                    </a:lnTo>
                    <a:lnTo>
                      <a:pt x="901" y="992"/>
                    </a:lnTo>
                    <a:lnTo>
                      <a:pt x="907" y="992"/>
                    </a:lnTo>
                    <a:lnTo>
                      <a:pt x="913" y="992"/>
                    </a:lnTo>
                    <a:lnTo>
                      <a:pt x="918" y="986"/>
                    </a:lnTo>
                    <a:lnTo>
                      <a:pt x="924" y="992"/>
                    </a:lnTo>
                    <a:lnTo>
                      <a:pt x="924" y="986"/>
                    </a:lnTo>
                    <a:lnTo>
                      <a:pt x="930" y="952"/>
                    </a:lnTo>
                    <a:lnTo>
                      <a:pt x="930" y="918"/>
                    </a:lnTo>
                    <a:lnTo>
                      <a:pt x="930" y="884"/>
                    </a:lnTo>
                    <a:lnTo>
                      <a:pt x="930" y="850"/>
                    </a:lnTo>
                    <a:lnTo>
                      <a:pt x="930" y="816"/>
                    </a:lnTo>
                    <a:lnTo>
                      <a:pt x="930" y="782"/>
                    </a:lnTo>
                    <a:lnTo>
                      <a:pt x="930" y="748"/>
                    </a:lnTo>
                    <a:lnTo>
                      <a:pt x="935" y="714"/>
                    </a:lnTo>
                    <a:lnTo>
                      <a:pt x="935" y="703"/>
                    </a:lnTo>
                    <a:lnTo>
                      <a:pt x="935" y="680"/>
                    </a:lnTo>
                    <a:lnTo>
                      <a:pt x="935" y="646"/>
                    </a:lnTo>
                    <a:lnTo>
                      <a:pt x="935" y="612"/>
                    </a:lnTo>
                    <a:lnTo>
                      <a:pt x="935" y="578"/>
                    </a:lnTo>
                    <a:lnTo>
                      <a:pt x="935" y="544"/>
                    </a:lnTo>
                    <a:lnTo>
                      <a:pt x="935" y="510"/>
                    </a:lnTo>
                    <a:lnTo>
                      <a:pt x="941" y="476"/>
                    </a:lnTo>
                    <a:lnTo>
                      <a:pt x="941" y="442"/>
                    </a:lnTo>
                    <a:lnTo>
                      <a:pt x="941" y="408"/>
                    </a:lnTo>
                    <a:lnTo>
                      <a:pt x="941" y="374"/>
                    </a:lnTo>
                    <a:lnTo>
                      <a:pt x="941" y="340"/>
                    </a:lnTo>
                    <a:lnTo>
                      <a:pt x="941" y="306"/>
                    </a:lnTo>
                    <a:lnTo>
                      <a:pt x="941" y="272"/>
                    </a:lnTo>
                    <a:lnTo>
                      <a:pt x="941" y="243"/>
                    </a:lnTo>
                    <a:lnTo>
                      <a:pt x="941" y="238"/>
                    </a:lnTo>
                    <a:lnTo>
                      <a:pt x="947" y="232"/>
                    </a:lnTo>
                    <a:lnTo>
                      <a:pt x="947" y="221"/>
                    </a:lnTo>
                    <a:lnTo>
                      <a:pt x="947" y="204"/>
                    </a:lnTo>
                    <a:lnTo>
                      <a:pt x="947" y="181"/>
                    </a:lnTo>
                    <a:lnTo>
                      <a:pt x="947" y="170"/>
                    </a:lnTo>
                    <a:lnTo>
                      <a:pt x="947" y="158"/>
                    </a:lnTo>
                    <a:lnTo>
                      <a:pt x="947" y="136"/>
                    </a:lnTo>
                    <a:lnTo>
                      <a:pt x="947" y="113"/>
                    </a:lnTo>
                    <a:lnTo>
                      <a:pt x="947" y="102"/>
                    </a:lnTo>
                    <a:lnTo>
                      <a:pt x="947" y="90"/>
                    </a:lnTo>
                    <a:lnTo>
                      <a:pt x="947" y="68"/>
                    </a:lnTo>
                    <a:lnTo>
                      <a:pt x="947" y="45"/>
                    </a:lnTo>
                    <a:lnTo>
                      <a:pt x="947" y="34"/>
                    </a:lnTo>
                    <a:lnTo>
                      <a:pt x="947" y="22"/>
                    </a:lnTo>
                    <a:lnTo>
                      <a:pt x="947" y="0"/>
                    </a:lnTo>
                    <a:lnTo>
                      <a:pt x="952" y="5"/>
                    </a:lnTo>
                    <a:lnTo>
                      <a:pt x="958" y="5"/>
                    </a:lnTo>
                    <a:lnTo>
                      <a:pt x="958" y="11"/>
                    </a:lnTo>
                    <a:lnTo>
                      <a:pt x="958" y="17"/>
                    </a:lnTo>
                    <a:lnTo>
                      <a:pt x="964" y="17"/>
                    </a:lnTo>
                    <a:lnTo>
                      <a:pt x="964" y="22"/>
                    </a:lnTo>
                    <a:lnTo>
                      <a:pt x="969" y="22"/>
                    </a:lnTo>
                    <a:lnTo>
                      <a:pt x="975" y="22"/>
                    </a:lnTo>
                    <a:lnTo>
                      <a:pt x="975" y="28"/>
                    </a:lnTo>
                    <a:lnTo>
                      <a:pt x="981" y="34"/>
                    </a:lnTo>
                    <a:lnTo>
                      <a:pt x="986" y="34"/>
                    </a:lnTo>
                    <a:lnTo>
                      <a:pt x="992" y="34"/>
                    </a:lnTo>
                    <a:lnTo>
                      <a:pt x="992" y="39"/>
                    </a:lnTo>
                    <a:lnTo>
                      <a:pt x="998" y="39"/>
                    </a:lnTo>
                    <a:lnTo>
                      <a:pt x="1003" y="39"/>
                    </a:lnTo>
                    <a:lnTo>
                      <a:pt x="1009" y="45"/>
                    </a:lnTo>
                    <a:lnTo>
                      <a:pt x="1015" y="45"/>
                    </a:lnTo>
                    <a:lnTo>
                      <a:pt x="1020" y="45"/>
                    </a:lnTo>
                    <a:lnTo>
                      <a:pt x="1020" y="51"/>
                    </a:lnTo>
                    <a:lnTo>
                      <a:pt x="1020" y="56"/>
                    </a:lnTo>
                    <a:lnTo>
                      <a:pt x="1026" y="56"/>
                    </a:lnTo>
                    <a:lnTo>
                      <a:pt x="1026" y="62"/>
                    </a:lnTo>
                    <a:lnTo>
                      <a:pt x="1032" y="62"/>
                    </a:lnTo>
                    <a:lnTo>
                      <a:pt x="1037" y="68"/>
                    </a:lnTo>
                    <a:lnTo>
                      <a:pt x="1037" y="73"/>
                    </a:lnTo>
                    <a:lnTo>
                      <a:pt x="1043" y="73"/>
                    </a:lnTo>
                    <a:lnTo>
                      <a:pt x="1049" y="73"/>
                    </a:lnTo>
                    <a:lnTo>
                      <a:pt x="1049" y="79"/>
                    </a:lnTo>
                    <a:lnTo>
                      <a:pt x="1054" y="85"/>
                    </a:lnTo>
                    <a:lnTo>
                      <a:pt x="1054" y="90"/>
                    </a:lnTo>
                    <a:lnTo>
                      <a:pt x="1060" y="96"/>
                    </a:lnTo>
                    <a:lnTo>
                      <a:pt x="1060" y="102"/>
                    </a:lnTo>
                    <a:lnTo>
                      <a:pt x="1060" y="107"/>
                    </a:lnTo>
                    <a:lnTo>
                      <a:pt x="1066" y="107"/>
                    </a:lnTo>
                    <a:lnTo>
                      <a:pt x="1071" y="107"/>
                    </a:lnTo>
                    <a:lnTo>
                      <a:pt x="1071" y="113"/>
                    </a:lnTo>
                    <a:lnTo>
                      <a:pt x="1066" y="119"/>
                    </a:lnTo>
                    <a:lnTo>
                      <a:pt x="1066" y="124"/>
                    </a:lnTo>
                    <a:lnTo>
                      <a:pt x="1071" y="124"/>
                    </a:lnTo>
                    <a:lnTo>
                      <a:pt x="1077" y="124"/>
                    </a:lnTo>
                    <a:lnTo>
                      <a:pt x="1077" y="130"/>
                    </a:lnTo>
                    <a:lnTo>
                      <a:pt x="1077" y="136"/>
                    </a:lnTo>
                    <a:lnTo>
                      <a:pt x="1083" y="141"/>
                    </a:lnTo>
                    <a:lnTo>
                      <a:pt x="1088" y="141"/>
                    </a:lnTo>
                    <a:lnTo>
                      <a:pt x="1083" y="147"/>
                    </a:lnTo>
                    <a:lnTo>
                      <a:pt x="1083" y="153"/>
                    </a:lnTo>
                    <a:lnTo>
                      <a:pt x="1088" y="153"/>
                    </a:lnTo>
                    <a:lnTo>
                      <a:pt x="1088" y="158"/>
                    </a:lnTo>
                    <a:lnTo>
                      <a:pt x="1094" y="164"/>
                    </a:lnTo>
                    <a:lnTo>
                      <a:pt x="1094" y="170"/>
                    </a:lnTo>
                    <a:lnTo>
                      <a:pt x="1100" y="170"/>
                    </a:lnTo>
                    <a:lnTo>
                      <a:pt x="1105" y="175"/>
                    </a:lnTo>
                    <a:lnTo>
                      <a:pt x="1105" y="181"/>
                    </a:lnTo>
                    <a:lnTo>
                      <a:pt x="1111" y="181"/>
                    </a:lnTo>
                    <a:lnTo>
                      <a:pt x="1111" y="187"/>
                    </a:lnTo>
                    <a:lnTo>
                      <a:pt x="1117" y="187"/>
                    </a:lnTo>
                    <a:lnTo>
                      <a:pt x="1122" y="187"/>
                    </a:lnTo>
                    <a:lnTo>
                      <a:pt x="1122" y="192"/>
                    </a:lnTo>
                    <a:lnTo>
                      <a:pt x="1117" y="192"/>
                    </a:lnTo>
                    <a:lnTo>
                      <a:pt x="1111" y="198"/>
                    </a:lnTo>
                    <a:lnTo>
                      <a:pt x="1111" y="204"/>
                    </a:lnTo>
                    <a:lnTo>
                      <a:pt x="1111" y="209"/>
                    </a:lnTo>
                    <a:lnTo>
                      <a:pt x="1122" y="215"/>
                    </a:lnTo>
                    <a:lnTo>
                      <a:pt x="1128" y="221"/>
                    </a:lnTo>
                    <a:lnTo>
                      <a:pt x="1128" y="226"/>
                    </a:lnTo>
                    <a:lnTo>
                      <a:pt x="1122" y="226"/>
                    </a:lnTo>
                    <a:lnTo>
                      <a:pt x="1122" y="232"/>
                    </a:lnTo>
                    <a:lnTo>
                      <a:pt x="1117" y="232"/>
                    </a:lnTo>
                    <a:lnTo>
                      <a:pt x="1117" y="238"/>
                    </a:lnTo>
                    <a:lnTo>
                      <a:pt x="1122" y="238"/>
                    </a:lnTo>
                    <a:lnTo>
                      <a:pt x="1128" y="238"/>
                    </a:lnTo>
                    <a:lnTo>
                      <a:pt x="1122" y="249"/>
                    </a:lnTo>
                    <a:lnTo>
                      <a:pt x="1122" y="255"/>
                    </a:lnTo>
                    <a:lnTo>
                      <a:pt x="1128" y="255"/>
                    </a:lnTo>
                    <a:lnTo>
                      <a:pt x="1134" y="260"/>
                    </a:lnTo>
                    <a:lnTo>
                      <a:pt x="1134" y="266"/>
                    </a:lnTo>
                    <a:lnTo>
                      <a:pt x="1134" y="272"/>
                    </a:lnTo>
                    <a:lnTo>
                      <a:pt x="1139" y="272"/>
                    </a:lnTo>
                    <a:lnTo>
                      <a:pt x="1139" y="277"/>
                    </a:lnTo>
                    <a:lnTo>
                      <a:pt x="1145" y="277"/>
                    </a:lnTo>
                    <a:lnTo>
                      <a:pt x="1139" y="277"/>
                    </a:lnTo>
                    <a:lnTo>
                      <a:pt x="1139" y="283"/>
                    </a:lnTo>
                    <a:lnTo>
                      <a:pt x="1139" y="289"/>
                    </a:lnTo>
                    <a:lnTo>
                      <a:pt x="1151" y="283"/>
                    </a:lnTo>
                    <a:lnTo>
                      <a:pt x="1151" y="294"/>
                    </a:lnTo>
                    <a:lnTo>
                      <a:pt x="1151" y="300"/>
                    </a:lnTo>
                    <a:lnTo>
                      <a:pt x="1156" y="300"/>
                    </a:lnTo>
                    <a:lnTo>
                      <a:pt x="1156" y="306"/>
                    </a:lnTo>
                    <a:lnTo>
                      <a:pt x="1151" y="306"/>
                    </a:lnTo>
                    <a:lnTo>
                      <a:pt x="1151" y="311"/>
                    </a:lnTo>
                    <a:lnTo>
                      <a:pt x="1156" y="317"/>
                    </a:lnTo>
                    <a:lnTo>
                      <a:pt x="1162" y="323"/>
                    </a:lnTo>
                    <a:lnTo>
                      <a:pt x="1162" y="328"/>
                    </a:lnTo>
                    <a:lnTo>
                      <a:pt x="1162" y="334"/>
                    </a:lnTo>
                    <a:lnTo>
                      <a:pt x="1156" y="334"/>
                    </a:lnTo>
                    <a:lnTo>
                      <a:pt x="1156" y="340"/>
                    </a:lnTo>
                    <a:lnTo>
                      <a:pt x="1162" y="345"/>
                    </a:lnTo>
                    <a:lnTo>
                      <a:pt x="1162" y="351"/>
                    </a:lnTo>
                    <a:lnTo>
                      <a:pt x="1156" y="351"/>
                    </a:lnTo>
                    <a:lnTo>
                      <a:pt x="1162" y="351"/>
                    </a:lnTo>
                    <a:lnTo>
                      <a:pt x="1162" y="357"/>
                    </a:lnTo>
                    <a:lnTo>
                      <a:pt x="1156" y="362"/>
                    </a:lnTo>
                    <a:lnTo>
                      <a:pt x="1162" y="368"/>
                    </a:lnTo>
                    <a:lnTo>
                      <a:pt x="1168" y="368"/>
                    </a:lnTo>
                    <a:lnTo>
                      <a:pt x="1168" y="374"/>
                    </a:lnTo>
                    <a:lnTo>
                      <a:pt x="1168" y="379"/>
                    </a:lnTo>
                    <a:lnTo>
                      <a:pt x="1162" y="379"/>
                    </a:lnTo>
                    <a:lnTo>
                      <a:pt x="1156" y="379"/>
                    </a:lnTo>
                    <a:lnTo>
                      <a:pt x="1156" y="385"/>
                    </a:lnTo>
                    <a:lnTo>
                      <a:pt x="1156" y="391"/>
                    </a:lnTo>
                    <a:lnTo>
                      <a:pt x="1151" y="396"/>
                    </a:lnTo>
                    <a:lnTo>
                      <a:pt x="1151" y="402"/>
                    </a:lnTo>
                    <a:lnTo>
                      <a:pt x="1151" y="408"/>
                    </a:lnTo>
                    <a:lnTo>
                      <a:pt x="1145" y="408"/>
                    </a:lnTo>
                    <a:lnTo>
                      <a:pt x="1145" y="413"/>
                    </a:lnTo>
                    <a:lnTo>
                      <a:pt x="1139" y="413"/>
                    </a:lnTo>
                    <a:lnTo>
                      <a:pt x="1134" y="419"/>
                    </a:lnTo>
                    <a:lnTo>
                      <a:pt x="1134" y="425"/>
                    </a:lnTo>
                    <a:lnTo>
                      <a:pt x="1128" y="425"/>
                    </a:lnTo>
                    <a:lnTo>
                      <a:pt x="1128" y="430"/>
                    </a:lnTo>
                    <a:lnTo>
                      <a:pt x="1122" y="430"/>
                    </a:lnTo>
                    <a:lnTo>
                      <a:pt x="1122" y="436"/>
                    </a:lnTo>
                    <a:lnTo>
                      <a:pt x="1122" y="442"/>
                    </a:lnTo>
                    <a:lnTo>
                      <a:pt x="1117" y="442"/>
                    </a:lnTo>
                    <a:lnTo>
                      <a:pt x="1111" y="447"/>
                    </a:lnTo>
                    <a:lnTo>
                      <a:pt x="1111" y="453"/>
                    </a:lnTo>
                    <a:lnTo>
                      <a:pt x="1105" y="453"/>
                    </a:lnTo>
                    <a:lnTo>
                      <a:pt x="1100" y="453"/>
                    </a:lnTo>
                    <a:lnTo>
                      <a:pt x="1100" y="464"/>
                    </a:lnTo>
                    <a:lnTo>
                      <a:pt x="1100" y="470"/>
                    </a:lnTo>
                    <a:lnTo>
                      <a:pt x="1100" y="476"/>
                    </a:lnTo>
                    <a:lnTo>
                      <a:pt x="1100" y="487"/>
                    </a:lnTo>
                    <a:lnTo>
                      <a:pt x="1100" y="493"/>
                    </a:lnTo>
                    <a:lnTo>
                      <a:pt x="1105" y="493"/>
                    </a:lnTo>
                    <a:lnTo>
                      <a:pt x="1105" y="504"/>
                    </a:lnTo>
                    <a:lnTo>
                      <a:pt x="1105" y="515"/>
                    </a:lnTo>
                    <a:lnTo>
                      <a:pt x="1100" y="521"/>
                    </a:lnTo>
                    <a:lnTo>
                      <a:pt x="1100" y="527"/>
                    </a:lnTo>
                    <a:lnTo>
                      <a:pt x="1105" y="532"/>
                    </a:lnTo>
                    <a:lnTo>
                      <a:pt x="1105" y="538"/>
                    </a:lnTo>
                    <a:lnTo>
                      <a:pt x="1105" y="544"/>
                    </a:lnTo>
                    <a:lnTo>
                      <a:pt x="1105" y="550"/>
                    </a:lnTo>
                    <a:lnTo>
                      <a:pt x="1111" y="555"/>
                    </a:lnTo>
                    <a:lnTo>
                      <a:pt x="1105" y="555"/>
                    </a:lnTo>
                    <a:lnTo>
                      <a:pt x="1105" y="561"/>
                    </a:lnTo>
                    <a:lnTo>
                      <a:pt x="1111" y="561"/>
                    </a:lnTo>
                    <a:lnTo>
                      <a:pt x="1117" y="561"/>
                    </a:lnTo>
                    <a:lnTo>
                      <a:pt x="1117" y="567"/>
                    </a:lnTo>
                    <a:lnTo>
                      <a:pt x="1117" y="572"/>
                    </a:lnTo>
                    <a:lnTo>
                      <a:pt x="1117" y="578"/>
                    </a:lnTo>
                    <a:lnTo>
                      <a:pt x="1122" y="578"/>
                    </a:lnTo>
                    <a:lnTo>
                      <a:pt x="1122" y="572"/>
                    </a:lnTo>
                    <a:lnTo>
                      <a:pt x="1128" y="572"/>
                    </a:lnTo>
                    <a:lnTo>
                      <a:pt x="1128" y="567"/>
                    </a:lnTo>
                    <a:lnTo>
                      <a:pt x="1134" y="567"/>
                    </a:lnTo>
                    <a:lnTo>
                      <a:pt x="1139" y="567"/>
                    </a:lnTo>
                    <a:lnTo>
                      <a:pt x="1145" y="561"/>
                    </a:lnTo>
                    <a:lnTo>
                      <a:pt x="1151" y="561"/>
                    </a:lnTo>
                    <a:lnTo>
                      <a:pt x="1156" y="555"/>
                    </a:lnTo>
                    <a:lnTo>
                      <a:pt x="1162" y="555"/>
                    </a:lnTo>
                    <a:lnTo>
                      <a:pt x="1168" y="550"/>
                    </a:lnTo>
                    <a:lnTo>
                      <a:pt x="1173" y="550"/>
                    </a:lnTo>
                    <a:lnTo>
                      <a:pt x="1179" y="550"/>
                    </a:lnTo>
                    <a:lnTo>
                      <a:pt x="1185" y="555"/>
                    </a:lnTo>
                    <a:lnTo>
                      <a:pt x="1190" y="550"/>
                    </a:lnTo>
                    <a:lnTo>
                      <a:pt x="1196" y="555"/>
                    </a:lnTo>
                    <a:lnTo>
                      <a:pt x="1202" y="561"/>
                    </a:lnTo>
                    <a:lnTo>
                      <a:pt x="1207" y="561"/>
                    </a:lnTo>
                    <a:lnTo>
                      <a:pt x="1207" y="567"/>
                    </a:lnTo>
                    <a:lnTo>
                      <a:pt x="1213" y="561"/>
                    </a:lnTo>
                    <a:lnTo>
                      <a:pt x="1213" y="567"/>
                    </a:lnTo>
                    <a:lnTo>
                      <a:pt x="1219" y="567"/>
                    </a:lnTo>
                    <a:lnTo>
                      <a:pt x="1236" y="572"/>
                    </a:lnTo>
                    <a:lnTo>
                      <a:pt x="1241" y="572"/>
                    </a:lnTo>
                    <a:lnTo>
                      <a:pt x="1247" y="567"/>
                    </a:lnTo>
                    <a:lnTo>
                      <a:pt x="1253" y="567"/>
                    </a:lnTo>
                    <a:lnTo>
                      <a:pt x="1258" y="561"/>
                    </a:lnTo>
                    <a:lnTo>
                      <a:pt x="1264" y="561"/>
                    </a:lnTo>
                    <a:lnTo>
                      <a:pt x="1270" y="561"/>
                    </a:lnTo>
                    <a:lnTo>
                      <a:pt x="1275" y="561"/>
                    </a:lnTo>
                    <a:lnTo>
                      <a:pt x="1275" y="567"/>
                    </a:lnTo>
                    <a:lnTo>
                      <a:pt x="1281" y="567"/>
                    </a:lnTo>
                    <a:lnTo>
                      <a:pt x="1281" y="561"/>
                    </a:lnTo>
                    <a:lnTo>
                      <a:pt x="1287" y="561"/>
                    </a:lnTo>
                    <a:lnTo>
                      <a:pt x="1292" y="555"/>
                    </a:lnTo>
                    <a:lnTo>
                      <a:pt x="1298" y="561"/>
                    </a:lnTo>
                    <a:lnTo>
                      <a:pt x="1304" y="555"/>
                    </a:lnTo>
                    <a:lnTo>
                      <a:pt x="1309" y="555"/>
                    </a:lnTo>
                    <a:lnTo>
                      <a:pt x="1315" y="555"/>
                    </a:lnTo>
                    <a:lnTo>
                      <a:pt x="1321" y="561"/>
                    </a:lnTo>
                    <a:lnTo>
                      <a:pt x="1326" y="561"/>
                    </a:lnTo>
                    <a:lnTo>
                      <a:pt x="1332" y="567"/>
                    </a:lnTo>
                    <a:lnTo>
                      <a:pt x="1338" y="567"/>
                    </a:lnTo>
                    <a:lnTo>
                      <a:pt x="1343" y="567"/>
                    </a:lnTo>
                    <a:lnTo>
                      <a:pt x="1343" y="561"/>
                    </a:lnTo>
                    <a:lnTo>
                      <a:pt x="1355" y="561"/>
                    </a:lnTo>
                    <a:lnTo>
                      <a:pt x="1360" y="567"/>
                    </a:lnTo>
                    <a:lnTo>
                      <a:pt x="1366" y="567"/>
                    </a:lnTo>
                    <a:lnTo>
                      <a:pt x="1372" y="567"/>
                    </a:lnTo>
                    <a:lnTo>
                      <a:pt x="1377" y="567"/>
                    </a:lnTo>
                    <a:lnTo>
                      <a:pt x="1383" y="567"/>
                    </a:lnTo>
                    <a:lnTo>
                      <a:pt x="1389" y="567"/>
                    </a:lnTo>
                    <a:lnTo>
                      <a:pt x="1394" y="555"/>
                    </a:lnTo>
                    <a:lnTo>
                      <a:pt x="1400" y="555"/>
                    </a:lnTo>
                    <a:lnTo>
                      <a:pt x="1406" y="550"/>
                    </a:lnTo>
                    <a:lnTo>
                      <a:pt x="1406" y="544"/>
                    </a:lnTo>
                    <a:lnTo>
                      <a:pt x="1406" y="538"/>
                    </a:lnTo>
                    <a:lnTo>
                      <a:pt x="1406" y="532"/>
                    </a:lnTo>
                    <a:lnTo>
                      <a:pt x="1406" y="527"/>
                    </a:lnTo>
                    <a:lnTo>
                      <a:pt x="1406" y="521"/>
                    </a:lnTo>
                    <a:lnTo>
                      <a:pt x="1411" y="515"/>
                    </a:lnTo>
                    <a:lnTo>
                      <a:pt x="1417" y="515"/>
                    </a:lnTo>
                    <a:lnTo>
                      <a:pt x="1423" y="515"/>
                    </a:lnTo>
                    <a:lnTo>
                      <a:pt x="1428" y="515"/>
                    </a:lnTo>
                    <a:lnTo>
                      <a:pt x="1440" y="515"/>
                    </a:lnTo>
                    <a:lnTo>
                      <a:pt x="1445" y="515"/>
                    </a:lnTo>
                    <a:lnTo>
                      <a:pt x="1451" y="515"/>
                    </a:lnTo>
                    <a:lnTo>
                      <a:pt x="1457" y="515"/>
                    </a:lnTo>
                    <a:lnTo>
                      <a:pt x="1462" y="510"/>
                    </a:lnTo>
                    <a:lnTo>
                      <a:pt x="1468" y="510"/>
                    </a:lnTo>
                    <a:lnTo>
                      <a:pt x="1474" y="504"/>
                    </a:lnTo>
                    <a:lnTo>
                      <a:pt x="1479" y="504"/>
                    </a:lnTo>
                    <a:lnTo>
                      <a:pt x="1479" y="498"/>
                    </a:lnTo>
                    <a:lnTo>
                      <a:pt x="1485" y="493"/>
                    </a:lnTo>
                    <a:lnTo>
                      <a:pt x="1491" y="493"/>
                    </a:lnTo>
                    <a:lnTo>
                      <a:pt x="1491" y="487"/>
                    </a:lnTo>
                    <a:lnTo>
                      <a:pt x="1491" y="481"/>
                    </a:lnTo>
                    <a:lnTo>
                      <a:pt x="1496" y="481"/>
                    </a:lnTo>
                    <a:lnTo>
                      <a:pt x="1502" y="476"/>
                    </a:lnTo>
                    <a:lnTo>
                      <a:pt x="1508" y="470"/>
                    </a:lnTo>
                    <a:lnTo>
                      <a:pt x="1508" y="464"/>
                    </a:lnTo>
                    <a:lnTo>
                      <a:pt x="1513" y="464"/>
                    </a:lnTo>
                    <a:lnTo>
                      <a:pt x="1513" y="459"/>
                    </a:lnTo>
                    <a:lnTo>
                      <a:pt x="1513" y="453"/>
                    </a:lnTo>
                    <a:lnTo>
                      <a:pt x="1519" y="453"/>
                    </a:lnTo>
                    <a:lnTo>
                      <a:pt x="1519" y="447"/>
                    </a:lnTo>
                    <a:lnTo>
                      <a:pt x="1519" y="442"/>
                    </a:lnTo>
                    <a:lnTo>
                      <a:pt x="1525" y="442"/>
                    </a:lnTo>
                    <a:lnTo>
                      <a:pt x="1525" y="436"/>
                    </a:lnTo>
                    <a:lnTo>
                      <a:pt x="1530" y="436"/>
                    </a:lnTo>
                    <a:lnTo>
                      <a:pt x="1530" y="430"/>
                    </a:lnTo>
                    <a:lnTo>
                      <a:pt x="1536" y="430"/>
                    </a:lnTo>
                    <a:lnTo>
                      <a:pt x="1542" y="430"/>
                    </a:lnTo>
                    <a:lnTo>
                      <a:pt x="1547" y="430"/>
                    </a:lnTo>
                    <a:lnTo>
                      <a:pt x="1547" y="425"/>
                    </a:lnTo>
                    <a:lnTo>
                      <a:pt x="1553" y="425"/>
                    </a:lnTo>
                    <a:lnTo>
                      <a:pt x="1559" y="425"/>
                    </a:lnTo>
                    <a:lnTo>
                      <a:pt x="1564" y="425"/>
                    </a:lnTo>
                    <a:lnTo>
                      <a:pt x="1564" y="419"/>
                    </a:lnTo>
                    <a:lnTo>
                      <a:pt x="1559" y="413"/>
                    </a:lnTo>
                    <a:lnTo>
                      <a:pt x="1564" y="413"/>
                    </a:lnTo>
                    <a:lnTo>
                      <a:pt x="1570" y="413"/>
                    </a:lnTo>
                    <a:lnTo>
                      <a:pt x="1570" y="408"/>
                    </a:lnTo>
                    <a:lnTo>
                      <a:pt x="1570" y="402"/>
                    </a:lnTo>
                    <a:lnTo>
                      <a:pt x="1576" y="396"/>
                    </a:lnTo>
                    <a:lnTo>
                      <a:pt x="1581" y="396"/>
                    </a:lnTo>
                    <a:lnTo>
                      <a:pt x="1587" y="396"/>
                    </a:lnTo>
                    <a:lnTo>
                      <a:pt x="1587" y="391"/>
                    </a:lnTo>
                    <a:lnTo>
                      <a:pt x="1593" y="391"/>
                    </a:lnTo>
                    <a:lnTo>
                      <a:pt x="1598" y="391"/>
                    </a:lnTo>
                    <a:lnTo>
                      <a:pt x="1604" y="391"/>
                    </a:lnTo>
                    <a:lnTo>
                      <a:pt x="1604" y="396"/>
                    </a:lnTo>
                    <a:lnTo>
                      <a:pt x="1610" y="396"/>
                    </a:lnTo>
                    <a:lnTo>
                      <a:pt x="1615" y="396"/>
                    </a:lnTo>
                    <a:lnTo>
                      <a:pt x="1615" y="391"/>
                    </a:lnTo>
                    <a:lnTo>
                      <a:pt x="1621" y="385"/>
                    </a:lnTo>
                    <a:lnTo>
                      <a:pt x="1621" y="379"/>
                    </a:lnTo>
                    <a:lnTo>
                      <a:pt x="1621" y="374"/>
                    </a:lnTo>
                    <a:lnTo>
                      <a:pt x="1627" y="374"/>
                    </a:lnTo>
                    <a:lnTo>
                      <a:pt x="1632" y="368"/>
                    </a:lnTo>
                    <a:lnTo>
                      <a:pt x="1632" y="362"/>
                    </a:lnTo>
                    <a:lnTo>
                      <a:pt x="1649" y="368"/>
                    </a:lnTo>
                    <a:lnTo>
                      <a:pt x="1649" y="447"/>
                    </a:lnTo>
                    <a:lnTo>
                      <a:pt x="1644" y="453"/>
                    </a:lnTo>
                    <a:lnTo>
                      <a:pt x="1644" y="464"/>
                    </a:lnTo>
                    <a:lnTo>
                      <a:pt x="1649" y="470"/>
                    </a:lnTo>
                    <a:lnTo>
                      <a:pt x="1649" y="481"/>
                    </a:lnTo>
                    <a:lnTo>
                      <a:pt x="1649" y="487"/>
                    </a:lnTo>
                    <a:lnTo>
                      <a:pt x="1655" y="487"/>
                    </a:lnTo>
                    <a:lnTo>
                      <a:pt x="1661" y="487"/>
                    </a:lnTo>
                    <a:lnTo>
                      <a:pt x="1666" y="487"/>
                    </a:lnTo>
                    <a:lnTo>
                      <a:pt x="1672" y="487"/>
                    </a:lnTo>
                    <a:lnTo>
                      <a:pt x="1678" y="493"/>
                    </a:lnTo>
                    <a:lnTo>
                      <a:pt x="1683" y="487"/>
                    </a:lnTo>
                    <a:lnTo>
                      <a:pt x="1689" y="493"/>
                    </a:lnTo>
                    <a:lnTo>
                      <a:pt x="1689" y="498"/>
                    </a:lnTo>
                    <a:lnTo>
                      <a:pt x="1695" y="498"/>
                    </a:lnTo>
                    <a:lnTo>
                      <a:pt x="1700" y="493"/>
                    </a:lnTo>
                    <a:lnTo>
                      <a:pt x="1706" y="498"/>
                    </a:lnTo>
                    <a:lnTo>
                      <a:pt x="1712" y="504"/>
                    </a:lnTo>
                    <a:lnTo>
                      <a:pt x="1712" y="510"/>
                    </a:lnTo>
                    <a:lnTo>
                      <a:pt x="1712" y="504"/>
                    </a:lnTo>
                    <a:lnTo>
                      <a:pt x="1718" y="504"/>
                    </a:lnTo>
                    <a:lnTo>
                      <a:pt x="1723" y="510"/>
                    </a:lnTo>
                    <a:lnTo>
                      <a:pt x="1729" y="515"/>
                    </a:lnTo>
                    <a:lnTo>
                      <a:pt x="1735" y="515"/>
                    </a:lnTo>
                    <a:lnTo>
                      <a:pt x="1740" y="515"/>
                    </a:lnTo>
                    <a:lnTo>
                      <a:pt x="1740" y="521"/>
                    </a:lnTo>
                    <a:lnTo>
                      <a:pt x="1735" y="527"/>
                    </a:lnTo>
                    <a:lnTo>
                      <a:pt x="1729" y="532"/>
                    </a:lnTo>
                    <a:lnTo>
                      <a:pt x="1729" y="538"/>
                    </a:lnTo>
                    <a:lnTo>
                      <a:pt x="1735" y="544"/>
                    </a:lnTo>
                    <a:lnTo>
                      <a:pt x="1735" y="550"/>
                    </a:lnTo>
                    <a:lnTo>
                      <a:pt x="1729" y="555"/>
                    </a:lnTo>
                    <a:lnTo>
                      <a:pt x="1723" y="567"/>
                    </a:lnTo>
                    <a:lnTo>
                      <a:pt x="1729" y="572"/>
                    </a:lnTo>
                    <a:lnTo>
                      <a:pt x="1729" y="578"/>
                    </a:lnTo>
                    <a:lnTo>
                      <a:pt x="1735" y="578"/>
                    </a:lnTo>
                    <a:lnTo>
                      <a:pt x="1735" y="589"/>
                    </a:lnTo>
                    <a:lnTo>
                      <a:pt x="1735" y="595"/>
                    </a:lnTo>
                    <a:lnTo>
                      <a:pt x="1740" y="601"/>
                    </a:lnTo>
                    <a:lnTo>
                      <a:pt x="1746" y="601"/>
                    </a:lnTo>
                    <a:lnTo>
                      <a:pt x="1746" y="606"/>
                    </a:lnTo>
                    <a:lnTo>
                      <a:pt x="1740" y="606"/>
                    </a:lnTo>
                    <a:lnTo>
                      <a:pt x="1735" y="612"/>
                    </a:lnTo>
                    <a:lnTo>
                      <a:pt x="1723" y="612"/>
                    </a:lnTo>
                    <a:lnTo>
                      <a:pt x="1723" y="618"/>
                    </a:lnTo>
                    <a:lnTo>
                      <a:pt x="1723" y="623"/>
                    </a:lnTo>
                    <a:lnTo>
                      <a:pt x="1718" y="635"/>
                    </a:lnTo>
                    <a:lnTo>
                      <a:pt x="1723" y="646"/>
                    </a:lnTo>
                    <a:lnTo>
                      <a:pt x="1723" y="652"/>
                    </a:lnTo>
                    <a:lnTo>
                      <a:pt x="1729" y="657"/>
                    </a:lnTo>
                    <a:lnTo>
                      <a:pt x="1729" y="663"/>
                    </a:lnTo>
                    <a:lnTo>
                      <a:pt x="1740" y="663"/>
                    </a:lnTo>
                    <a:lnTo>
                      <a:pt x="1740" y="657"/>
                    </a:lnTo>
                    <a:lnTo>
                      <a:pt x="1746" y="657"/>
                    </a:lnTo>
                    <a:lnTo>
                      <a:pt x="1752" y="669"/>
                    </a:lnTo>
                    <a:lnTo>
                      <a:pt x="1757" y="669"/>
                    </a:lnTo>
                    <a:lnTo>
                      <a:pt x="1757" y="674"/>
                    </a:lnTo>
                    <a:lnTo>
                      <a:pt x="1763" y="680"/>
                    </a:lnTo>
                    <a:lnTo>
                      <a:pt x="1774" y="686"/>
                    </a:lnTo>
                    <a:lnTo>
                      <a:pt x="1780" y="697"/>
                    </a:lnTo>
                    <a:lnTo>
                      <a:pt x="1791" y="697"/>
                    </a:lnTo>
                    <a:lnTo>
                      <a:pt x="1803" y="697"/>
                    </a:lnTo>
                    <a:lnTo>
                      <a:pt x="1808" y="703"/>
                    </a:lnTo>
                    <a:lnTo>
                      <a:pt x="1814" y="703"/>
                    </a:lnTo>
                    <a:lnTo>
                      <a:pt x="1825" y="714"/>
                    </a:lnTo>
                    <a:lnTo>
                      <a:pt x="1831" y="714"/>
                    </a:lnTo>
                    <a:lnTo>
                      <a:pt x="1837" y="714"/>
                    </a:lnTo>
                    <a:lnTo>
                      <a:pt x="1842" y="720"/>
                    </a:lnTo>
                    <a:lnTo>
                      <a:pt x="1848" y="720"/>
                    </a:lnTo>
                    <a:lnTo>
                      <a:pt x="1848" y="725"/>
                    </a:lnTo>
                    <a:lnTo>
                      <a:pt x="1842" y="731"/>
                    </a:lnTo>
                    <a:lnTo>
                      <a:pt x="1859" y="731"/>
                    </a:lnTo>
                    <a:lnTo>
                      <a:pt x="1871" y="731"/>
                    </a:lnTo>
                    <a:lnTo>
                      <a:pt x="1876" y="731"/>
                    </a:lnTo>
                    <a:lnTo>
                      <a:pt x="1888" y="742"/>
                    </a:lnTo>
                    <a:lnTo>
                      <a:pt x="1899" y="742"/>
                    </a:lnTo>
                    <a:lnTo>
                      <a:pt x="1916" y="754"/>
                    </a:lnTo>
                    <a:lnTo>
                      <a:pt x="1927" y="737"/>
                    </a:lnTo>
                    <a:lnTo>
                      <a:pt x="1933" y="737"/>
                    </a:lnTo>
                    <a:lnTo>
                      <a:pt x="1950" y="737"/>
                    </a:lnTo>
                    <a:lnTo>
                      <a:pt x="1956" y="737"/>
                    </a:lnTo>
                    <a:lnTo>
                      <a:pt x="1961" y="731"/>
                    </a:lnTo>
                    <a:lnTo>
                      <a:pt x="1956" y="725"/>
                    </a:lnTo>
                    <a:lnTo>
                      <a:pt x="1950" y="725"/>
                    </a:lnTo>
                    <a:lnTo>
                      <a:pt x="1950" y="720"/>
                    </a:lnTo>
                    <a:lnTo>
                      <a:pt x="1956" y="714"/>
                    </a:lnTo>
                    <a:lnTo>
                      <a:pt x="1973" y="720"/>
                    </a:lnTo>
                    <a:lnTo>
                      <a:pt x="1978" y="720"/>
                    </a:lnTo>
                    <a:lnTo>
                      <a:pt x="1978" y="714"/>
                    </a:lnTo>
                    <a:lnTo>
                      <a:pt x="1978" y="708"/>
                    </a:lnTo>
                    <a:lnTo>
                      <a:pt x="1978" y="703"/>
                    </a:lnTo>
                    <a:lnTo>
                      <a:pt x="1978" y="697"/>
                    </a:lnTo>
                    <a:lnTo>
                      <a:pt x="1984" y="691"/>
                    </a:lnTo>
                    <a:lnTo>
                      <a:pt x="1984" y="686"/>
                    </a:lnTo>
                    <a:lnTo>
                      <a:pt x="2001" y="703"/>
                    </a:lnTo>
                    <a:lnTo>
                      <a:pt x="1995" y="720"/>
                    </a:lnTo>
                    <a:lnTo>
                      <a:pt x="1990" y="765"/>
                    </a:lnTo>
                    <a:lnTo>
                      <a:pt x="2007" y="771"/>
                    </a:lnTo>
                    <a:lnTo>
                      <a:pt x="2001" y="799"/>
                    </a:lnTo>
                    <a:lnTo>
                      <a:pt x="2007" y="805"/>
                    </a:lnTo>
                    <a:lnTo>
                      <a:pt x="2046" y="799"/>
                    </a:lnTo>
                    <a:lnTo>
                      <a:pt x="2092" y="788"/>
                    </a:lnTo>
                    <a:lnTo>
                      <a:pt x="2086" y="793"/>
                    </a:lnTo>
                    <a:lnTo>
                      <a:pt x="2092" y="793"/>
                    </a:lnTo>
                    <a:lnTo>
                      <a:pt x="2097" y="799"/>
                    </a:lnTo>
                    <a:lnTo>
                      <a:pt x="2092" y="799"/>
                    </a:lnTo>
                    <a:lnTo>
                      <a:pt x="2092" y="805"/>
                    </a:lnTo>
                    <a:lnTo>
                      <a:pt x="2092" y="816"/>
                    </a:lnTo>
                    <a:lnTo>
                      <a:pt x="2097" y="816"/>
                    </a:lnTo>
                    <a:lnTo>
                      <a:pt x="2092" y="822"/>
                    </a:lnTo>
                    <a:lnTo>
                      <a:pt x="2092" y="827"/>
                    </a:lnTo>
                    <a:lnTo>
                      <a:pt x="2086" y="833"/>
                    </a:lnTo>
                    <a:lnTo>
                      <a:pt x="2080" y="833"/>
                    </a:lnTo>
                    <a:lnTo>
                      <a:pt x="2080" y="839"/>
                    </a:lnTo>
                    <a:lnTo>
                      <a:pt x="2069" y="844"/>
                    </a:lnTo>
                    <a:lnTo>
                      <a:pt x="2075" y="856"/>
                    </a:lnTo>
                    <a:lnTo>
                      <a:pt x="2080" y="856"/>
                    </a:lnTo>
                    <a:lnTo>
                      <a:pt x="2086" y="856"/>
                    </a:lnTo>
                    <a:lnTo>
                      <a:pt x="2092" y="856"/>
                    </a:lnTo>
                    <a:lnTo>
                      <a:pt x="2092" y="861"/>
                    </a:lnTo>
                    <a:lnTo>
                      <a:pt x="2097" y="867"/>
                    </a:lnTo>
                    <a:lnTo>
                      <a:pt x="2097" y="873"/>
                    </a:lnTo>
                    <a:lnTo>
                      <a:pt x="2092" y="878"/>
                    </a:lnTo>
                    <a:lnTo>
                      <a:pt x="2092" y="884"/>
                    </a:lnTo>
                    <a:lnTo>
                      <a:pt x="2097" y="884"/>
                    </a:lnTo>
                    <a:lnTo>
                      <a:pt x="2109" y="895"/>
                    </a:lnTo>
                    <a:lnTo>
                      <a:pt x="2114" y="901"/>
                    </a:lnTo>
                    <a:lnTo>
                      <a:pt x="2114" y="895"/>
                    </a:lnTo>
                    <a:lnTo>
                      <a:pt x="2120" y="895"/>
                    </a:lnTo>
                    <a:lnTo>
                      <a:pt x="2126" y="890"/>
                    </a:lnTo>
                    <a:lnTo>
                      <a:pt x="2126" y="884"/>
                    </a:lnTo>
                    <a:lnTo>
                      <a:pt x="2131" y="884"/>
                    </a:lnTo>
                    <a:lnTo>
                      <a:pt x="2131" y="878"/>
                    </a:lnTo>
                    <a:lnTo>
                      <a:pt x="2137" y="878"/>
                    </a:lnTo>
                    <a:lnTo>
                      <a:pt x="2137" y="873"/>
                    </a:lnTo>
                    <a:lnTo>
                      <a:pt x="2143" y="873"/>
                    </a:lnTo>
                    <a:lnTo>
                      <a:pt x="2143" y="867"/>
                    </a:lnTo>
                    <a:lnTo>
                      <a:pt x="2143" y="861"/>
                    </a:lnTo>
                    <a:lnTo>
                      <a:pt x="2143" y="856"/>
                    </a:lnTo>
                    <a:lnTo>
                      <a:pt x="2143" y="850"/>
                    </a:lnTo>
                    <a:lnTo>
                      <a:pt x="2143" y="844"/>
                    </a:lnTo>
                    <a:lnTo>
                      <a:pt x="2148" y="844"/>
                    </a:lnTo>
                    <a:lnTo>
                      <a:pt x="2148" y="839"/>
                    </a:lnTo>
                    <a:lnTo>
                      <a:pt x="2154" y="833"/>
                    </a:lnTo>
                    <a:lnTo>
                      <a:pt x="2160" y="833"/>
                    </a:lnTo>
                    <a:lnTo>
                      <a:pt x="2160" y="827"/>
                    </a:lnTo>
                    <a:lnTo>
                      <a:pt x="2165" y="827"/>
                    </a:lnTo>
                    <a:lnTo>
                      <a:pt x="2165" y="822"/>
                    </a:lnTo>
                    <a:lnTo>
                      <a:pt x="2160" y="822"/>
                    </a:lnTo>
                    <a:lnTo>
                      <a:pt x="2160" y="816"/>
                    </a:lnTo>
                    <a:lnTo>
                      <a:pt x="2165" y="810"/>
                    </a:lnTo>
                    <a:lnTo>
                      <a:pt x="2165" y="805"/>
                    </a:lnTo>
                    <a:lnTo>
                      <a:pt x="2165" y="799"/>
                    </a:lnTo>
                    <a:lnTo>
                      <a:pt x="2160" y="799"/>
                    </a:lnTo>
                    <a:lnTo>
                      <a:pt x="2160" y="793"/>
                    </a:lnTo>
                    <a:lnTo>
                      <a:pt x="2160" y="788"/>
                    </a:lnTo>
                    <a:lnTo>
                      <a:pt x="2160" y="782"/>
                    </a:lnTo>
                    <a:lnTo>
                      <a:pt x="2160" y="776"/>
                    </a:lnTo>
                    <a:lnTo>
                      <a:pt x="2165" y="776"/>
                    </a:lnTo>
                    <a:lnTo>
                      <a:pt x="2177" y="776"/>
                    </a:lnTo>
                    <a:lnTo>
                      <a:pt x="2177" y="771"/>
                    </a:lnTo>
                    <a:lnTo>
                      <a:pt x="2182" y="771"/>
                    </a:lnTo>
                    <a:lnTo>
                      <a:pt x="2182" y="776"/>
                    </a:lnTo>
                    <a:lnTo>
                      <a:pt x="2188" y="782"/>
                    </a:lnTo>
                    <a:lnTo>
                      <a:pt x="2188" y="788"/>
                    </a:lnTo>
                    <a:lnTo>
                      <a:pt x="2188" y="793"/>
                    </a:lnTo>
                    <a:lnTo>
                      <a:pt x="2194" y="793"/>
                    </a:lnTo>
                    <a:lnTo>
                      <a:pt x="2205" y="793"/>
                    </a:lnTo>
                    <a:lnTo>
                      <a:pt x="2222" y="788"/>
                    </a:lnTo>
                    <a:lnTo>
                      <a:pt x="2245" y="788"/>
                    </a:lnTo>
                    <a:lnTo>
                      <a:pt x="2250" y="793"/>
                    </a:lnTo>
                    <a:lnTo>
                      <a:pt x="2250" y="799"/>
                    </a:lnTo>
                    <a:lnTo>
                      <a:pt x="2245" y="805"/>
                    </a:lnTo>
                    <a:lnTo>
                      <a:pt x="2239" y="805"/>
                    </a:lnTo>
                    <a:lnTo>
                      <a:pt x="2239" y="810"/>
                    </a:lnTo>
                    <a:lnTo>
                      <a:pt x="2233" y="810"/>
                    </a:lnTo>
                    <a:lnTo>
                      <a:pt x="2228" y="816"/>
                    </a:lnTo>
                    <a:lnTo>
                      <a:pt x="2228" y="822"/>
                    </a:lnTo>
                    <a:lnTo>
                      <a:pt x="2222" y="822"/>
                    </a:lnTo>
                    <a:lnTo>
                      <a:pt x="2222" y="827"/>
                    </a:lnTo>
                    <a:lnTo>
                      <a:pt x="2216" y="833"/>
                    </a:lnTo>
                    <a:lnTo>
                      <a:pt x="2211" y="833"/>
                    </a:lnTo>
                    <a:lnTo>
                      <a:pt x="2211" y="839"/>
                    </a:lnTo>
                    <a:lnTo>
                      <a:pt x="2205" y="844"/>
                    </a:lnTo>
                    <a:lnTo>
                      <a:pt x="2199" y="844"/>
                    </a:lnTo>
                    <a:lnTo>
                      <a:pt x="2199" y="850"/>
                    </a:lnTo>
                    <a:lnTo>
                      <a:pt x="2222" y="901"/>
                    </a:lnTo>
                    <a:lnTo>
                      <a:pt x="2228" y="901"/>
                    </a:lnTo>
                    <a:lnTo>
                      <a:pt x="2233" y="895"/>
                    </a:lnTo>
                    <a:lnTo>
                      <a:pt x="2239" y="895"/>
                    </a:lnTo>
                    <a:lnTo>
                      <a:pt x="2245" y="907"/>
                    </a:lnTo>
                    <a:lnTo>
                      <a:pt x="2228" y="935"/>
                    </a:lnTo>
                    <a:lnTo>
                      <a:pt x="2222" y="941"/>
                    </a:lnTo>
                    <a:lnTo>
                      <a:pt x="2216" y="946"/>
                    </a:lnTo>
                    <a:lnTo>
                      <a:pt x="2211" y="946"/>
                    </a:lnTo>
                    <a:lnTo>
                      <a:pt x="2216" y="958"/>
                    </a:lnTo>
                    <a:lnTo>
                      <a:pt x="2211" y="992"/>
                    </a:lnTo>
                    <a:lnTo>
                      <a:pt x="2199" y="997"/>
                    </a:lnTo>
                    <a:lnTo>
                      <a:pt x="2199" y="1003"/>
                    </a:lnTo>
                    <a:lnTo>
                      <a:pt x="2199" y="1009"/>
                    </a:lnTo>
                    <a:lnTo>
                      <a:pt x="2194" y="1037"/>
                    </a:lnTo>
                    <a:lnTo>
                      <a:pt x="2205" y="1043"/>
                    </a:lnTo>
                    <a:lnTo>
                      <a:pt x="2177" y="1099"/>
                    </a:lnTo>
                    <a:lnTo>
                      <a:pt x="2148" y="1150"/>
                    </a:lnTo>
                    <a:lnTo>
                      <a:pt x="2148" y="1156"/>
                    </a:lnTo>
                    <a:lnTo>
                      <a:pt x="2143" y="1156"/>
                    </a:lnTo>
                    <a:lnTo>
                      <a:pt x="2143" y="1162"/>
                    </a:lnTo>
                    <a:lnTo>
                      <a:pt x="2080" y="1269"/>
                    </a:lnTo>
                    <a:lnTo>
                      <a:pt x="2058" y="1320"/>
                    </a:lnTo>
                    <a:lnTo>
                      <a:pt x="2058" y="1326"/>
                    </a:lnTo>
                    <a:lnTo>
                      <a:pt x="2058" y="1332"/>
                    </a:lnTo>
                    <a:lnTo>
                      <a:pt x="2058" y="1337"/>
                    </a:lnTo>
                    <a:lnTo>
                      <a:pt x="2063" y="1337"/>
                    </a:lnTo>
                    <a:lnTo>
                      <a:pt x="2063" y="1343"/>
                    </a:lnTo>
                    <a:lnTo>
                      <a:pt x="2069" y="1349"/>
                    </a:lnTo>
                    <a:lnTo>
                      <a:pt x="2069" y="1354"/>
                    </a:lnTo>
                    <a:lnTo>
                      <a:pt x="2075" y="1354"/>
                    </a:lnTo>
                    <a:lnTo>
                      <a:pt x="2075" y="1360"/>
                    </a:lnTo>
                    <a:lnTo>
                      <a:pt x="2080" y="1360"/>
                    </a:lnTo>
                    <a:lnTo>
                      <a:pt x="2086" y="1360"/>
                    </a:lnTo>
                    <a:lnTo>
                      <a:pt x="2092" y="1360"/>
                    </a:lnTo>
                    <a:lnTo>
                      <a:pt x="2092" y="1366"/>
                    </a:lnTo>
                    <a:lnTo>
                      <a:pt x="2097" y="1371"/>
                    </a:lnTo>
                    <a:lnTo>
                      <a:pt x="2109" y="1371"/>
                    </a:lnTo>
                    <a:lnTo>
                      <a:pt x="2109" y="1377"/>
                    </a:lnTo>
                    <a:lnTo>
                      <a:pt x="2109" y="1383"/>
                    </a:lnTo>
                    <a:lnTo>
                      <a:pt x="2114" y="1383"/>
                    </a:lnTo>
                    <a:lnTo>
                      <a:pt x="2120" y="1388"/>
                    </a:lnTo>
                    <a:lnTo>
                      <a:pt x="2126" y="1388"/>
                    </a:lnTo>
                    <a:lnTo>
                      <a:pt x="2131" y="1388"/>
                    </a:lnTo>
                    <a:lnTo>
                      <a:pt x="2137" y="1388"/>
                    </a:lnTo>
                    <a:lnTo>
                      <a:pt x="2137" y="1394"/>
                    </a:lnTo>
                    <a:lnTo>
                      <a:pt x="2137" y="1400"/>
                    </a:lnTo>
                    <a:lnTo>
                      <a:pt x="2137" y="1405"/>
                    </a:lnTo>
                    <a:lnTo>
                      <a:pt x="2143" y="1405"/>
                    </a:lnTo>
                    <a:lnTo>
                      <a:pt x="2143" y="1411"/>
                    </a:lnTo>
                    <a:lnTo>
                      <a:pt x="2148" y="1411"/>
                    </a:lnTo>
                    <a:lnTo>
                      <a:pt x="2154" y="1411"/>
                    </a:lnTo>
                    <a:lnTo>
                      <a:pt x="2154" y="1405"/>
                    </a:lnTo>
                    <a:lnTo>
                      <a:pt x="2160" y="1405"/>
                    </a:lnTo>
                    <a:lnTo>
                      <a:pt x="2160" y="1411"/>
                    </a:lnTo>
                    <a:lnTo>
                      <a:pt x="2165" y="1411"/>
                    </a:lnTo>
                    <a:lnTo>
                      <a:pt x="2171" y="1411"/>
                    </a:lnTo>
                    <a:lnTo>
                      <a:pt x="2171" y="1417"/>
                    </a:lnTo>
                    <a:lnTo>
                      <a:pt x="2171" y="1428"/>
                    </a:lnTo>
                    <a:lnTo>
                      <a:pt x="2177" y="1428"/>
                    </a:lnTo>
                    <a:lnTo>
                      <a:pt x="2182" y="1428"/>
                    </a:lnTo>
                    <a:lnTo>
                      <a:pt x="2182" y="1434"/>
                    </a:lnTo>
                    <a:lnTo>
                      <a:pt x="2177" y="1439"/>
                    </a:lnTo>
                    <a:lnTo>
                      <a:pt x="2182" y="1445"/>
                    </a:lnTo>
                    <a:lnTo>
                      <a:pt x="2194" y="1451"/>
                    </a:lnTo>
                    <a:lnTo>
                      <a:pt x="2194" y="1456"/>
                    </a:lnTo>
                    <a:lnTo>
                      <a:pt x="2194" y="1462"/>
                    </a:lnTo>
                    <a:lnTo>
                      <a:pt x="2199" y="1468"/>
                    </a:lnTo>
                    <a:lnTo>
                      <a:pt x="2205" y="1468"/>
                    </a:lnTo>
                    <a:lnTo>
                      <a:pt x="2205" y="1474"/>
                    </a:lnTo>
                    <a:lnTo>
                      <a:pt x="2211" y="1474"/>
                    </a:lnTo>
                    <a:lnTo>
                      <a:pt x="2211" y="1479"/>
                    </a:lnTo>
                    <a:lnTo>
                      <a:pt x="2211" y="1485"/>
                    </a:lnTo>
                    <a:lnTo>
                      <a:pt x="2216" y="1485"/>
                    </a:lnTo>
                    <a:lnTo>
                      <a:pt x="2222" y="1491"/>
                    </a:lnTo>
                    <a:lnTo>
                      <a:pt x="2228" y="1491"/>
                    </a:lnTo>
                    <a:lnTo>
                      <a:pt x="2228" y="1485"/>
                    </a:lnTo>
                    <a:lnTo>
                      <a:pt x="2233" y="1485"/>
                    </a:lnTo>
                    <a:lnTo>
                      <a:pt x="2233" y="1491"/>
                    </a:lnTo>
                    <a:lnTo>
                      <a:pt x="2233" y="1496"/>
                    </a:lnTo>
                    <a:lnTo>
                      <a:pt x="2233" y="1502"/>
                    </a:lnTo>
                    <a:lnTo>
                      <a:pt x="2228" y="1508"/>
                    </a:lnTo>
                    <a:lnTo>
                      <a:pt x="2233" y="1508"/>
                    </a:lnTo>
                    <a:lnTo>
                      <a:pt x="2239" y="1508"/>
                    </a:lnTo>
                    <a:lnTo>
                      <a:pt x="2245" y="1508"/>
                    </a:lnTo>
                    <a:lnTo>
                      <a:pt x="2245" y="1513"/>
                    </a:lnTo>
                    <a:lnTo>
                      <a:pt x="2250" y="1519"/>
                    </a:lnTo>
                    <a:lnTo>
                      <a:pt x="2250" y="1525"/>
                    </a:lnTo>
                    <a:lnTo>
                      <a:pt x="2256" y="1525"/>
                    </a:lnTo>
                    <a:lnTo>
                      <a:pt x="2262" y="1525"/>
                    </a:lnTo>
                    <a:lnTo>
                      <a:pt x="2262" y="1530"/>
                    </a:lnTo>
                    <a:lnTo>
                      <a:pt x="2262" y="1536"/>
                    </a:lnTo>
                    <a:lnTo>
                      <a:pt x="2267" y="1542"/>
                    </a:lnTo>
                    <a:lnTo>
                      <a:pt x="2273" y="1547"/>
                    </a:lnTo>
                    <a:lnTo>
                      <a:pt x="2279" y="1547"/>
                    </a:lnTo>
                    <a:lnTo>
                      <a:pt x="2284" y="1547"/>
                    </a:lnTo>
                    <a:lnTo>
                      <a:pt x="2284" y="1553"/>
                    </a:lnTo>
                    <a:lnTo>
                      <a:pt x="2290" y="1553"/>
                    </a:lnTo>
                    <a:lnTo>
                      <a:pt x="2296" y="1559"/>
                    </a:lnTo>
                    <a:lnTo>
                      <a:pt x="2296" y="1564"/>
                    </a:lnTo>
                    <a:lnTo>
                      <a:pt x="2301" y="1564"/>
                    </a:lnTo>
                    <a:lnTo>
                      <a:pt x="2307" y="1564"/>
                    </a:lnTo>
                    <a:lnTo>
                      <a:pt x="2307" y="1559"/>
                    </a:lnTo>
                    <a:lnTo>
                      <a:pt x="2307" y="1564"/>
                    </a:lnTo>
                    <a:lnTo>
                      <a:pt x="2313" y="1564"/>
                    </a:lnTo>
                    <a:lnTo>
                      <a:pt x="2313" y="1559"/>
                    </a:lnTo>
                    <a:lnTo>
                      <a:pt x="2318" y="1564"/>
                    </a:lnTo>
                    <a:lnTo>
                      <a:pt x="2324" y="1564"/>
                    </a:lnTo>
                    <a:lnTo>
                      <a:pt x="2330" y="1564"/>
                    </a:lnTo>
                    <a:lnTo>
                      <a:pt x="2330" y="1570"/>
                    </a:lnTo>
                    <a:lnTo>
                      <a:pt x="2335" y="1576"/>
                    </a:lnTo>
                    <a:lnTo>
                      <a:pt x="2341" y="1621"/>
                    </a:lnTo>
                    <a:lnTo>
                      <a:pt x="2358" y="1627"/>
                    </a:lnTo>
                    <a:lnTo>
                      <a:pt x="2352" y="1638"/>
                    </a:lnTo>
                    <a:lnTo>
                      <a:pt x="2341" y="1638"/>
                    </a:lnTo>
                    <a:lnTo>
                      <a:pt x="2341" y="1644"/>
                    </a:lnTo>
                    <a:lnTo>
                      <a:pt x="2352" y="1655"/>
                    </a:lnTo>
                    <a:lnTo>
                      <a:pt x="2352" y="1666"/>
                    </a:lnTo>
                    <a:lnTo>
                      <a:pt x="2335" y="1678"/>
                    </a:lnTo>
                    <a:lnTo>
                      <a:pt x="2341" y="1689"/>
                    </a:lnTo>
                    <a:lnTo>
                      <a:pt x="2335" y="1695"/>
                    </a:lnTo>
                    <a:lnTo>
                      <a:pt x="2330" y="1695"/>
                    </a:lnTo>
                    <a:lnTo>
                      <a:pt x="2335" y="1706"/>
                    </a:lnTo>
                    <a:lnTo>
                      <a:pt x="2324" y="1717"/>
                    </a:lnTo>
                    <a:lnTo>
                      <a:pt x="2318" y="1717"/>
                    </a:lnTo>
                    <a:lnTo>
                      <a:pt x="2313" y="1723"/>
                    </a:lnTo>
                    <a:lnTo>
                      <a:pt x="2313" y="1734"/>
                    </a:lnTo>
                    <a:lnTo>
                      <a:pt x="2301" y="1740"/>
                    </a:lnTo>
                    <a:lnTo>
                      <a:pt x="2267" y="1734"/>
                    </a:lnTo>
                    <a:lnTo>
                      <a:pt x="2228" y="1757"/>
                    </a:lnTo>
                    <a:lnTo>
                      <a:pt x="2205" y="1757"/>
                    </a:lnTo>
                    <a:lnTo>
                      <a:pt x="2194" y="1763"/>
                    </a:lnTo>
                    <a:lnTo>
                      <a:pt x="2177" y="1768"/>
                    </a:lnTo>
                    <a:lnTo>
                      <a:pt x="2171" y="1780"/>
                    </a:lnTo>
                    <a:lnTo>
                      <a:pt x="2165" y="1774"/>
                    </a:lnTo>
                    <a:lnTo>
                      <a:pt x="2154" y="1785"/>
                    </a:lnTo>
                    <a:lnTo>
                      <a:pt x="2131" y="1791"/>
                    </a:lnTo>
                    <a:lnTo>
                      <a:pt x="2114" y="1785"/>
                    </a:lnTo>
                    <a:lnTo>
                      <a:pt x="2097" y="1791"/>
                    </a:lnTo>
                    <a:lnTo>
                      <a:pt x="2097" y="1797"/>
                    </a:lnTo>
                    <a:lnTo>
                      <a:pt x="2092" y="1808"/>
                    </a:lnTo>
                    <a:lnTo>
                      <a:pt x="2086" y="1814"/>
                    </a:lnTo>
                    <a:lnTo>
                      <a:pt x="2080" y="1831"/>
                    </a:lnTo>
                    <a:lnTo>
                      <a:pt x="2080" y="1836"/>
                    </a:lnTo>
                    <a:lnTo>
                      <a:pt x="2075" y="1870"/>
                    </a:lnTo>
                    <a:lnTo>
                      <a:pt x="2029" y="1870"/>
                    </a:lnTo>
                    <a:lnTo>
                      <a:pt x="2029" y="1876"/>
                    </a:lnTo>
                    <a:lnTo>
                      <a:pt x="2012" y="1887"/>
                    </a:lnTo>
                    <a:lnTo>
                      <a:pt x="1984" y="1876"/>
                    </a:lnTo>
                    <a:lnTo>
                      <a:pt x="1984" y="1882"/>
                    </a:lnTo>
                    <a:lnTo>
                      <a:pt x="1984" y="1893"/>
                    </a:lnTo>
                    <a:lnTo>
                      <a:pt x="1961" y="1893"/>
                    </a:lnTo>
                    <a:lnTo>
                      <a:pt x="1950" y="1876"/>
                    </a:lnTo>
                    <a:lnTo>
                      <a:pt x="1956" y="1870"/>
                    </a:lnTo>
                    <a:lnTo>
                      <a:pt x="1933" y="1870"/>
                    </a:lnTo>
                    <a:lnTo>
                      <a:pt x="1933" y="1887"/>
                    </a:lnTo>
                    <a:lnTo>
                      <a:pt x="1922" y="1893"/>
                    </a:lnTo>
                    <a:lnTo>
                      <a:pt x="1916" y="1899"/>
                    </a:lnTo>
                    <a:lnTo>
                      <a:pt x="1910" y="1904"/>
                    </a:lnTo>
                    <a:lnTo>
                      <a:pt x="1905" y="1893"/>
                    </a:lnTo>
                    <a:lnTo>
                      <a:pt x="1893" y="1887"/>
                    </a:lnTo>
                    <a:lnTo>
                      <a:pt x="1905" y="1882"/>
                    </a:lnTo>
                    <a:lnTo>
                      <a:pt x="1905" y="1876"/>
                    </a:lnTo>
                    <a:lnTo>
                      <a:pt x="1876" y="1865"/>
                    </a:lnTo>
                    <a:lnTo>
                      <a:pt x="1876" y="1859"/>
                    </a:lnTo>
                    <a:lnTo>
                      <a:pt x="1848" y="1859"/>
                    </a:lnTo>
                    <a:lnTo>
                      <a:pt x="1842" y="1853"/>
                    </a:lnTo>
                    <a:lnTo>
                      <a:pt x="1837" y="1865"/>
                    </a:lnTo>
                    <a:lnTo>
                      <a:pt x="1825" y="1865"/>
                    </a:lnTo>
                    <a:lnTo>
                      <a:pt x="1820" y="1870"/>
                    </a:lnTo>
                    <a:lnTo>
                      <a:pt x="1791" y="1865"/>
                    </a:lnTo>
                    <a:lnTo>
                      <a:pt x="1791" y="1870"/>
                    </a:lnTo>
                    <a:lnTo>
                      <a:pt x="1769" y="1870"/>
                    </a:lnTo>
                    <a:lnTo>
                      <a:pt x="1757" y="1882"/>
                    </a:lnTo>
                    <a:lnTo>
                      <a:pt x="1752" y="1899"/>
                    </a:lnTo>
                    <a:lnTo>
                      <a:pt x="1740" y="1904"/>
                    </a:lnTo>
                    <a:lnTo>
                      <a:pt x="1740" y="1916"/>
                    </a:lnTo>
                    <a:lnTo>
                      <a:pt x="1700" y="1944"/>
                    </a:lnTo>
                    <a:lnTo>
                      <a:pt x="1695" y="1927"/>
                    </a:lnTo>
                    <a:lnTo>
                      <a:pt x="1695" y="1916"/>
                    </a:lnTo>
                    <a:lnTo>
                      <a:pt x="1672" y="1910"/>
                    </a:lnTo>
                    <a:lnTo>
                      <a:pt x="1655" y="1916"/>
                    </a:lnTo>
                    <a:lnTo>
                      <a:pt x="1644" y="1910"/>
                    </a:lnTo>
                    <a:lnTo>
                      <a:pt x="1644" y="1904"/>
                    </a:lnTo>
                    <a:lnTo>
                      <a:pt x="1621" y="1910"/>
                    </a:lnTo>
                    <a:lnTo>
                      <a:pt x="1615" y="1899"/>
                    </a:lnTo>
                    <a:lnTo>
                      <a:pt x="1587" y="1899"/>
                    </a:lnTo>
                    <a:lnTo>
                      <a:pt x="1570" y="1893"/>
                    </a:lnTo>
                    <a:lnTo>
                      <a:pt x="1581" y="1876"/>
                    </a:lnTo>
                    <a:lnTo>
                      <a:pt x="1570" y="1870"/>
                    </a:lnTo>
                    <a:lnTo>
                      <a:pt x="1570" y="1859"/>
                    </a:lnTo>
                    <a:lnTo>
                      <a:pt x="1547" y="1859"/>
                    </a:lnTo>
                    <a:lnTo>
                      <a:pt x="1502" y="1836"/>
                    </a:lnTo>
                    <a:lnTo>
                      <a:pt x="1496" y="1836"/>
                    </a:lnTo>
                    <a:lnTo>
                      <a:pt x="1491" y="1853"/>
                    </a:lnTo>
                    <a:lnTo>
                      <a:pt x="1485" y="1870"/>
                    </a:lnTo>
                    <a:lnTo>
                      <a:pt x="1468" y="1887"/>
                    </a:lnTo>
                    <a:lnTo>
                      <a:pt x="1468" y="1916"/>
                    </a:lnTo>
                    <a:lnTo>
                      <a:pt x="1445" y="1910"/>
                    </a:lnTo>
                    <a:lnTo>
                      <a:pt x="1451" y="1916"/>
                    </a:lnTo>
                    <a:lnTo>
                      <a:pt x="1451" y="1921"/>
                    </a:lnTo>
                    <a:lnTo>
                      <a:pt x="1445" y="1927"/>
                    </a:lnTo>
                    <a:lnTo>
                      <a:pt x="1440" y="1927"/>
                    </a:lnTo>
                    <a:lnTo>
                      <a:pt x="1445" y="1938"/>
                    </a:lnTo>
                    <a:lnTo>
                      <a:pt x="1445" y="1944"/>
                    </a:lnTo>
                    <a:lnTo>
                      <a:pt x="1445" y="1950"/>
                    </a:lnTo>
                    <a:lnTo>
                      <a:pt x="1445" y="1955"/>
                    </a:lnTo>
                    <a:lnTo>
                      <a:pt x="1457" y="1961"/>
                    </a:lnTo>
                    <a:lnTo>
                      <a:pt x="1445" y="1984"/>
                    </a:lnTo>
                    <a:lnTo>
                      <a:pt x="1440" y="1967"/>
                    </a:lnTo>
                    <a:lnTo>
                      <a:pt x="1423" y="1978"/>
                    </a:lnTo>
                    <a:lnTo>
                      <a:pt x="1423" y="2001"/>
                    </a:lnTo>
                    <a:lnTo>
                      <a:pt x="1406" y="2006"/>
                    </a:lnTo>
                    <a:lnTo>
                      <a:pt x="1400" y="2018"/>
                    </a:lnTo>
                    <a:lnTo>
                      <a:pt x="1383" y="2018"/>
                    </a:lnTo>
                    <a:lnTo>
                      <a:pt x="1360" y="2012"/>
                    </a:lnTo>
                    <a:lnTo>
                      <a:pt x="1360" y="2006"/>
                    </a:lnTo>
                    <a:lnTo>
                      <a:pt x="1349" y="2001"/>
                    </a:lnTo>
                    <a:lnTo>
                      <a:pt x="1338" y="2012"/>
                    </a:lnTo>
                    <a:lnTo>
                      <a:pt x="1321" y="2001"/>
                    </a:lnTo>
                    <a:lnTo>
                      <a:pt x="1304" y="2012"/>
                    </a:lnTo>
                    <a:lnTo>
                      <a:pt x="1304" y="2029"/>
                    </a:lnTo>
                    <a:lnTo>
                      <a:pt x="1287" y="2035"/>
                    </a:lnTo>
                    <a:lnTo>
                      <a:pt x="1281" y="2035"/>
                    </a:lnTo>
                    <a:lnTo>
                      <a:pt x="1270" y="2046"/>
                    </a:lnTo>
                    <a:lnTo>
                      <a:pt x="1264" y="2046"/>
                    </a:lnTo>
                    <a:lnTo>
                      <a:pt x="1247" y="2052"/>
                    </a:lnTo>
                    <a:lnTo>
                      <a:pt x="1236" y="2046"/>
                    </a:lnTo>
                    <a:lnTo>
                      <a:pt x="1236" y="2057"/>
                    </a:lnTo>
                    <a:lnTo>
                      <a:pt x="1230" y="2063"/>
                    </a:lnTo>
                    <a:lnTo>
                      <a:pt x="1224" y="2069"/>
                    </a:lnTo>
                    <a:lnTo>
                      <a:pt x="1213" y="2074"/>
                    </a:lnTo>
                    <a:lnTo>
                      <a:pt x="1207" y="2086"/>
                    </a:lnTo>
                    <a:lnTo>
                      <a:pt x="1196" y="2103"/>
                    </a:lnTo>
                    <a:lnTo>
                      <a:pt x="1202" y="2114"/>
                    </a:lnTo>
                    <a:lnTo>
                      <a:pt x="1162" y="2125"/>
                    </a:lnTo>
                    <a:lnTo>
                      <a:pt x="1151" y="2120"/>
                    </a:lnTo>
                    <a:lnTo>
                      <a:pt x="1117" y="2131"/>
                    </a:lnTo>
                    <a:lnTo>
                      <a:pt x="1105" y="2137"/>
                    </a:lnTo>
                    <a:lnTo>
                      <a:pt x="1105" y="2142"/>
                    </a:lnTo>
                    <a:lnTo>
                      <a:pt x="1111" y="2148"/>
                    </a:lnTo>
                    <a:lnTo>
                      <a:pt x="1111" y="2165"/>
                    </a:lnTo>
                    <a:lnTo>
                      <a:pt x="1105" y="2188"/>
                    </a:lnTo>
                    <a:lnTo>
                      <a:pt x="1088" y="2193"/>
                    </a:lnTo>
                    <a:lnTo>
                      <a:pt x="1083" y="2199"/>
                    </a:lnTo>
                    <a:lnTo>
                      <a:pt x="1066" y="2199"/>
                    </a:lnTo>
                    <a:lnTo>
                      <a:pt x="1054" y="2199"/>
                    </a:lnTo>
                    <a:lnTo>
                      <a:pt x="1043" y="2188"/>
                    </a:lnTo>
                    <a:lnTo>
                      <a:pt x="1026" y="2199"/>
                    </a:lnTo>
                    <a:lnTo>
                      <a:pt x="1009" y="2199"/>
                    </a:lnTo>
                    <a:lnTo>
                      <a:pt x="998" y="2193"/>
                    </a:lnTo>
                    <a:lnTo>
                      <a:pt x="986" y="2193"/>
                    </a:lnTo>
                    <a:lnTo>
                      <a:pt x="986" y="2182"/>
                    </a:lnTo>
                    <a:lnTo>
                      <a:pt x="981" y="2176"/>
                    </a:lnTo>
                    <a:lnTo>
                      <a:pt x="969" y="2159"/>
                    </a:lnTo>
                    <a:lnTo>
                      <a:pt x="958" y="2159"/>
                    </a:lnTo>
                    <a:lnTo>
                      <a:pt x="952" y="2159"/>
                    </a:lnTo>
                    <a:lnTo>
                      <a:pt x="947" y="2154"/>
                    </a:lnTo>
                    <a:lnTo>
                      <a:pt x="947" y="2131"/>
                    </a:lnTo>
                    <a:lnTo>
                      <a:pt x="941" y="2125"/>
                    </a:lnTo>
                    <a:lnTo>
                      <a:pt x="930" y="2120"/>
                    </a:lnTo>
                    <a:lnTo>
                      <a:pt x="924" y="2086"/>
                    </a:lnTo>
                    <a:lnTo>
                      <a:pt x="918" y="2069"/>
                    </a:lnTo>
                    <a:lnTo>
                      <a:pt x="918" y="2052"/>
                    </a:lnTo>
                    <a:lnTo>
                      <a:pt x="930" y="2057"/>
                    </a:lnTo>
                    <a:lnTo>
                      <a:pt x="941" y="2052"/>
                    </a:lnTo>
                    <a:lnTo>
                      <a:pt x="935" y="2040"/>
                    </a:lnTo>
                    <a:lnTo>
                      <a:pt x="958" y="2029"/>
                    </a:lnTo>
                    <a:lnTo>
                      <a:pt x="964" y="2029"/>
                    </a:lnTo>
                    <a:lnTo>
                      <a:pt x="958" y="2012"/>
                    </a:lnTo>
                    <a:lnTo>
                      <a:pt x="952" y="2006"/>
                    </a:lnTo>
                    <a:lnTo>
                      <a:pt x="952" y="2001"/>
                    </a:lnTo>
                    <a:lnTo>
                      <a:pt x="947" y="1995"/>
                    </a:lnTo>
                    <a:lnTo>
                      <a:pt x="941" y="2001"/>
                    </a:lnTo>
                    <a:lnTo>
                      <a:pt x="930" y="2006"/>
                    </a:lnTo>
                    <a:lnTo>
                      <a:pt x="924" y="2018"/>
                    </a:lnTo>
                    <a:lnTo>
                      <a:pt x="913" y="2018"/>
                    </a:lnTo>
                    <a:lnTo>
                      <a:pt x="907" y="2029"/>
                    </a:lnTo>
                    <a:lnTo>
                      <a:pt x="879" y="2052"/>
                    </a:lnTo>
                    <a:lnTo>
                      <a:pt x="862" y="2052"/>
                    </a:lnTo>
                    <a:lnTo>
                      <a:pt x="862" y="2046"/>
                    </a:lnTo>
                    <a:lnTo>
                      <a:pt x="850" y="2046"/>
                    </a:lnTo>
                    <a:lnTo>
                      <a:pt x="845" y="2052"/>
                    </a:lnTo>
                    <a:lnTo>
                      <a:pt x="833" y="2063"/>
                    </a:lnTo>
                    <a:lnTo>
                      <a:pt x="828" y="2057"/>
                    </a:lnTo>
                    <a:lnTo>
                      <a:pt x="822" y="2063"/>
                    </a:lnTo>
                    <a:lnTo>
                      <a:pt x="822" y="2069"/>
                    </a:lnTo>
                    <a:lnTo>
                      <a:pt x="810" y="2074"/>
                    </a:lnTo>
                    <a:lnTo>
                      <a:pt x="805" y="2063"/>
                    </a:lnTo>
                    <a:lnTo>
                      <a:pt x="799" y="2069"/>
                    </a:lnTo>
                    <a:lnTo>
                      <a:pt x="799" y="2080"/>
                    </a:lnTo>
                    <a:lnTo>
                      <a:pt x="788" y="2097"/>
                    </a:lnTo>
                    <a:lnTo>
                      <a:pt x="788" y="2103"/>
                    </a:lnTo>
                    <a:lnTo>
                      <a:pt x="793" y="2108"/>
                    </a:lnTo>
                    <a:lnTo>
                      <a:pt x="793" y="2114"/>
                    </a:lnTo>
                    <a:lnTo>
                      <a:pt x="776" y="2125"/>
                    </a:lnTo>
                    <a:lnTo>
                      <a:pt x="765" y="2108"/>
                    </a:lnTo>
                    <a:lnTo>
                      <a:pt x="771" y="2074"/>
                    </a:lnTo>
                    <a:lnTo>
                      <a:pt x="765" y="2074"/>
                    </a:lnTo>
                    <a:lnTo>
                      <a:pt x="765" y="2069"/>
                    </a:lnTo>
                    <a:lnTo>
                      <a:pt x="759" y="2063"/>
                    </a:lnTo>
                    <a:lnTo>
                      <a:pt x="759" y="2057"/>
                    </a:lnTo>
                    <a:lnTo>
                      <a:pt x="754" y="2057"/>
                    </a:lnTo>
                    <a:lnTo>
                      <a:pt x="754" y="2052"/>
                    </a:lnTo>
                    <a:lnTo>
                      <a:pt x="748" y="2046"/>
                    </a:lnTo>
                    <a:lnTo>
                      <a:pt x="742" y="2029"/>
                    </a:lnTo>
                    <a:lnTo>
                      <a:pt x="754" y="2023"/>
                    </a:lnTo>
                    <a:lnTo>
                      <a:pt x="771" y="2018"/>
                    </a:lnTo>
                    <a:lnTo>
                      <a:pt x="771" y="2012"/>
                    </a:lnTo>
                    <a:lnTo>
                      <a:pt x="771" y="2006"/>
                    </a:lnTo>
                    <a:lnTo>
                      <a:pt x="771" y="2001"/>
                    </a:lnTo>
                    <a:lnTo>
                      <a:pt x="765" y="1995"/>
                    </a:lnTo>
                    <a:lnTo>
                      <a:pt x="765" y="1989"/>
                    </a:lnTo>
                    <a:lnTo>
                      <a:pt x="765" y="1984"/>
                    </a:lnTo>
                    <a:lnTo>
                      <a:pt x="765" y="1978"/>
                    </a:lnTo>
                    <a:lnTo>
                      <a:pt x="771" y="1972"/>
                    </a:lnTo>
                    <a:lnTo>
                      <a:pt x="765" y="1972"/>
                    </a:lnTo>
                    <a:lnTo>
                      <a:pt x="759" y="1972"/>
                    </a:lnTo>
                    <a:lnTo>
                      <a:pt x="759" y="1967"/>
                    </a:lnTo>
                    <a:lnTo>
                      <a:pt x="754" y="1967"/>
                    </a:lnTo>
                    <a:lnTo>
                      <a:pt x="754" y="1961"/>
                    </a:lnTo>
                    <a:lnTo>
                      <a:pt x="748" y="1961"/>
                    </a:lnTo>
                    <a:lnTo>
                      <a:pt x="742" y="1961"/>
                    </a:lnTo>
                    <a:lnTo>
                      <a:pt x="737" y="1961"/>
                    </a:lnTo>
                    <a:lnTo>
                      <a:pt x="731" y="1955"/>
                    </a:lnTo>
                    <a:lnTo>
                      <a:pt x="731" y="1961"/>
                    </a:lnTo>
                    <a:lnTo>
                      <a:pt x="725" y="1955"/>
                    </a:lnTo>
                    <a:lnTo>
                      <a:pt x="725" y="1950"/>
                    </a:lnTo>
                    <a:lnTo>
                      <a:pt x="720" y="1944"/>
                    </a:lnTo>
                    <a:lnTo>
                      <a:pt x="714" y="1938"/>
                    </a:lnTo>
                    <a:lnTo>
                      <a:pt x="708" y="1938"/>
                    </a:lnTo>
                    <a:lnTo>
                      <a:pt x="708" y="1933"/>
                    </a:lnTo>
                    <a:lnTo>
                      <a:pt x="708" y="1927"/>
                    </a:lnTo>
                    <a:lnTo>
                      <a:pt x="714" y="1921"/>
                    </a:lnTo>
                    <a:lnTo>
                      <a:pt x="714" y="1916"/>
                    </a:lnTo>
                    <a:lnTo>
                      <a:pt x="691" y="1933"/>
                    </a:lnTo>
                    <a:lnTo>
                      <a:pt x="691" y="1927"/>
                    </a:lnTo>
                    <a:lnTo>
                      <a:pt x="686" y="1927"/>
                    </a:lnTo>
                    <a:lnTo>
                      <a:pt x="680" y="1927"/>
                    </a:lnTo>
                    <a:lnTo>
                      <a:pt x="674" y="1927"/>
                    </a:lnTo>
                    <a:lnTo>
                      <a:pt x="674" y="1921"/>
                    </a:lnTo>
                    <a:lnTo>
                      <a:pt x="669" y="1921"/>
                    </a:lnTo>
                    <a:lnTo>
                      <a:pt x="663" y="1921"/>
                    </a:lnTo>
                    <a:lnTo>
                      <a:pt x="657" y="1921"/>
                    </a:lnTo>
                    <a:lnTo>
                      <a:pt x="652" y="1921"/>
                    </a:lnTo>
                    <a:lnTo>
                      <a:pt x="652" y="1904"/>
                    </a:lnTo>
                    <a:lnTo>
                      <a:pt x="663" y="1893"/>
                    </a:lnTo>
                    <a:lnTo>
                      <a:pt x="663" y="1887"/>
                    </a:lnTo>
                    <a:lnTo>
                      <a:pt x="669" y="1882"/>
                    </a:lnTo>
                    <a:lnTo>
                      <a:pt x="669" y="1876"/>
                    </a:lnTo>
                    <a:lnTo>
                      <a:pt x="663" y="1870"/>
                    </a:lnTo>
                    <a:lnTo>
                      <a:pt x="657" y="1853"/>
                    </a:lnTo>
                    <a:lnTo>
                      <a:pt x="663" y="1853"/>
                    </a:lnTo>
                    <a:lnTo>
                      <a:pt x="663" y="1836"/>
                    </a:lnTo>
                    <a:lnTo>
                      <a:pt x="669" y="1836"/>
                    </a:lnTo>
                    <a:lnTo>
                      <a:pt x="663" y="1831"/>
                    </a:lnTo>
                    <a:lnTo>
                      <a:pt x="657" y="1825"/>
                    </a:lnTo>
                    <a:lnTo>
                      <a:pt x="663" y="1819"/>
                    </a:lnTo>
                    <a:lnTo>
                      <a:pt x="646" y="1814"/>
                    </a:lnTo>
                    <a:lnTo>
                      <a:pt x="652" y="1797"/>
                    </a:lnTo>
                    <a:lnTo>
                      <a:pt x="652" y="1780"/>
                    </a:lnTo>
                    <a:lnTo>
                      <a:pt x="640" y="1768"/>
                    </a:lnTo>
                    <a:lnTo>
                      <a:pt x="652" y="1757"/>
                    </a:lnTo>
                    <a:lnTo>
                      <a:pt x="635" y="1751"/>
                    </a:lnTo>
                    <a:lnTo>
                      <a:pt x="629" y="1740"/>
                    </a:lnTo>
                    <a:lnTo>
                      <a:pt x="635" y="1712"/>
                    </a:lnTo>
                    <a:lnTo>
                      <a:pt x="618" y="1689"/>
                    </a:lnTo>
                    <a:lnTo>
                      <a:pt x="623" y="1672"/>
                    </a:lnTo>
                    <a:lnTo>
                      <a:pt x="640" y="1661"/>
                    </a:lnTo>
                    <a:lnTo>
                      <a:pt x="618" y="1649"/>
                    </a:lnTo>
                    <a:lnTo>
                      <a:pt x="640" y="1644"/>
                    </a:lnTo>
                    <a:lnTo>
                      <a:pt x="635" y="1604"/>
                    </a:lnTo>
                    <a:lnTo>
                      <a:pt x="612" y="1604"/>
                    </a:lnTo>
                    <a:lnTo>
                      <a:pt x="589" y="1587"/>
                    </a:lnTo>
                    <a:lnTo>
                      <a:pt x="595" y="1576"/>
                    </a:lnTo>
                    <a:lnTo>
                      <a:pt x="584" y="1564"/>
                    </a:lnTo>
                    <a:lnTo>
                      <a:pt x="561" y="1559"/>
                    </a:lnTo>
                    <a:lnTo>
                      <a:pt x="538" y="1525"/>
                    </a:lnTo>
                    <a:lnTo>
                      <a:pt x="516" y="1530"/>
                    </a:lnTo>
                    <a:lnTo>
                      <a:pt x="516" y="1547"/>
                    </a:lnTo>
                    <a:lnTo>
                      <a:pt x="521" y="1564"/>
                    </a:lnTo>
                    <a:lnTo>
                      <a:pt x="493" y="1530"/>
                    </a:lnTo>
                    <a:lnTo>
                      <a:pt x="493" y="1547"/>
                    </a:lnTo>
                    <a:lnTo>
                      <a:pt x="487" y="1564"/>
                    </a:lnTo>
                    <a:lnTo>
                      <a:pt x="482" y="1587"/>
                    </a:lnTo>
                    <a:lnTo>
                      <a:pt x="470" y="1610"/>
                    </a:lnTo>
                    <a:lnTo>
                      <a:pt x="453" y="1627"/>
                    </a:lnTo>
                    <a:lnTo>
                      <a:pt x="442" y="1627"/>
                    </a:lnTo>
                    <a:lnTo>
                      <a:pt x="431" y="1638"/>
                    </a:lnTo>
                    <a:lnTo>
                      <a:pt x="414" y="1627"/>
                    </a:lnTo>
                    <a:lnTo>
                      <a:pt x="408" y="1621"/>
                    </a:lnTo>
                    <a:lnTo>
                      <a:pt x="402" y="1621"/>
                    </a:lnTo>
                    <a:lnTo>
                      <a:pt x="397" y="1621"/>
                    </a:lnTo>
                    <a:lnTo>
                      <a:pt x="385" y="1621"/>
                    </a:lnTo>
                    <a:lnTo>
                      <a:pt x="385" y="1655"/>
                    </a:lnTo>
                    <a:lnTo>
                      <a:pt x="351" y="1661"/>
                    </a:lnTo>
                    <a:lnTo>
                      <a:pt x="363" y="1678"/>
                    </a:lnTo>
                    <a:lnTo>
                      <a:pt x="334" y="1700"/>
                    </a:lnTo>
                    <a:lnTo>
                      <a:pt x="340" y="1723"/>
                    </a:lnTo>
                    <a:lnTo>
                      <a:pt x="323" y="1717"/>
                    </a:lnTo>
                    <a:close/>
                  </a:path>
                </a:pathLst>
              </a:custGeom>
              <a:grpFill/>
              <a:ln w="9525" cap="flat" cmpd="sng">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00"/>
              </a:p>
            </p:txBody>
          </p:sp>
          <p:sp>
            <p:nvSpPr>
              <p:cNvPr id="62" name="Freeform 9"/>
              <p:cNvSpPr>
                <a:spLocks/>
              </p:cNvSpPr>
              <p:nvPr>
                <p:custDataLst>
                  <p:tags r:id="rId6"/>
                </p:custDataLst>
              </p:nvPr>
            </p:nvSpPr>
            <p:spPr bwMode="gray">
              <a:xfrm>
                <a:off x="2080964" y="2370094"/>
                <a:ext cx="1256760" cy="944553"/>
              </a:xfrm>
              <a:custGeom>
                <a:avLst/>
                <a:gdLst>
                  <a:gd name="T0" fmla="*/ 63219 w 1445"/>
                  <a:gd name="T1" fmla="*/ 283126 h 1083"/>
                  <a:gd name="T2" fmla="*/ 49321 w 1445"/>
                  <a:gd name="T3" fmla="*/ 270852 h 1083"/>
                  <a:gd name="T4" fmla="*/ 40057 w 1445"/>
                  <a:gd name="T5" fmla="*/ 261578 h 1083"/>
                  <a:gd name="T6" fmla="*/ 29157 w 1445"/>
                  <a:gd name="T7" fmla="*/ 244394 h 1083"/>
                  <a:gd name="T8" fmla="*/ 16895 w 1445"/>
                  <a:gd name="T9" fmla="*/ 238121 h 1083"/>
                  <a:gd name="T10" fmla="*/ 1363 w 1445"/>
                  <a:gd name="T11" fmla="*/ 225846 h 1083"/>
                  <a:gd name="T12" fmla="*/ 38422 w 1445"/>
                  <a:gd name="T13" fmla="*/ 134744 h 1083"/>
                  <a:gd name="T14" fmla="*/ 56951 w 1445"/>
                  <a:gd name="T15" fmla="*/ 99013 h 1083"/>
                  <a:gd name="T16" fmla="*/ 70848 w 1445"/>
                  <a:gd name="T17" fmla="*/ 83738 h 1083"/>
                  <a:gd name="T18" fmla="*/ 88015 w 1445"/>
                  <a:gd name="T19" fmla="*/ 75828 h 1083"/>
                  <a:gd name="T20" fmla="*/ 111177 w 1445"/>
                  <a:gd name="T21" fmla="*/ 69827 h 1083"/>
                  <a:gd name="T22" fmla="*/ 128073 w 1445"/>
                  <a:gd name="T23" fmla="*/ 68191 h 1083"/>
                  <a:gd name="T24" fmla="*/ 141970 w 1445"/>
                  <a:gd name="T25" fmla="*/ 55916 h 1083"/>
                  <a:gd name="T26" fmla="*/ 159137 w 1445"/>
                  <a:gd name="T27" fmla="*/ 52643 h 1083"/>
                  <a:gd name="T28" fmla="*/ 157502 w 1445"/>
                  <a:gd name="T29" fmla="*/ 40369 h 1083"/>
                  <a:gd name="T30" fmla="*/ 163769 w 1445"/>
                  <a:gd name="T31" fmla="*/ 31095 h 1083"/>
                  <a:gd name="T32" fmla="*/ 174397 w 1445"/>
                  <a:gd name="T33" fmla="*/ 24822 h 1083"/>
                  <a:gd name="T34" fmla="*/ 191564 w 1445"/>
                  <a:gd name="T35" fmla="*/ 21821 h 1083"/>
                  <a:gd name="T36" fmla="*/ 205461 w 1445"/>
                  <a:gd name="T37" fmla="*/ 20185 h 1083"/>
                  <a:gd name="T38" fmla="*/ 217723 w 1445"/>
                  <a:gd name="T39" fmla="*/ 14183 h 1083"/>
                  <a:gd name="T40" fmla="*/ 233255 w 1445"/>
                  <a:gd name="T41" fmla="*/ 10910 h 1083"/>
                  <a:gd name="T42" fmla="*/ 245517 w 1445"/>
                  <a:gd name="T43" fmla="*/ 6273 h 1083"/>
                  <a:gd name="T44" fmla="*/ 261049 w 1445"/>
                  <a:gd name="T45" fmla="*/ 3273 h 1083"/>
                  <a:gd name="T46" fmla="*/ 270314 w 1445"/>
                  <a:gd name="T47" fmla="*/ 9547 h 1083"/>
                  <a:gd name="T48" fmla="*/ 285574 w 1445"/>
                  <a:gd name="T49" fmla="*/ 17184 h 1083"/>
                  <a:gd name="T50" fmla="*/ 301106 w 1445"/>
                  <a:gd name="T51" fmla="*/ 21821 h 1083"/>
                  <a:gd name="T52" fmla="*/ 312006 w 1445"/>
                  <a:gd name="T53" fmla="*/ 24822 h 1083"/>
                  <a:gd name="T54" fmla="*/ 322633 w 1445"/>
                  <a:gd name="T55" fmla="*/ 24822 h 1083"/>
                  <a:gd name="T56" fmla="*/ 341163 w 1445"/>
                  <a:gd name="T57" fmla="*/ 24822 h 1083"/>
                  <a:gd name="T58" fmla="*/ 355060 w 1445"/>
                  <a:gd name="T59" fmla="*/ 37368 h 1083"/>
                  <a:gd name="T60" fmla="*/ 370593 w 1445"/>
                  <a:gd name="T61" fmla="*/ 46642 h 1083"/>
                  <a:gd name="T62" fmla="*/ 387487 w 1445"/>
                  <a:gd name="T63" fmla="*/ 57280 h 1083"/>
                  <a:gd name="T64" fmla="*/ 387487 w 1445"/>
                  <a:gd name="T65" fmla="*/ 80465 h 1083"/>
                  <a:gd name="T66" fmla="*/ 382854 w 1445"/>
                  <a:gd name="T67" fmla="*/ 105286 h 1083"/>
                  <a:gd name="T68" fmla="*/ 359692 w 1445"/>
                  <a:gd name="T69" fmla="*/ 125470 h 1083"/>
                  <a:gd name="T70" fmla="*/ 331898 w 1445"/>
                  <a:gd name="T71" fmla="*/ 139381 h 1083"/>
                  <a:gd name="T72" fmla="*/ 313368 w 1445"/>
                  <a:gd name="T73" fmla="*/ 147018 h 1083"/>
                  <a:gd name="T74" fmla="*/ 296474 w 1445"/>
                  <a:gd name="T75" fmla="*/ 142382 h 1083"/>
                  <a:gd name="T76" fmla="*/ 279579 w 1445"/>
                  <a:gd name="T77" fmla="*/ 148655 h 1083"/>
                  <a:gd name="T78" fmla="*/ 268679 w 1445"/>
                  <a:gd name="T79" fmla="*/ 156292 h 1083"/>
                  <a:gd name="T80" fmla="*/ 259415 w 1445"/>
                  <a:gd name="T81" fmla="*/ 160929 h 1083"/>
                  <a:gd name="T82" fmla="*/ 245517 w 1445"/>
                  <a:gd name="T83" fmla="*/ 163930 h 1083"/>
                  <a:gd name="T84" fmla="*/ 239250 w 1445"/>
                  <a:gd name="T85" fmla="*/ 174840 h 1083"/>
                  <a:gd name="T86" fmla="*/ 234618 w 1445"/>
                  <a:gd name="T87" fmla="*/ 182477 h 1083"/>
                  <a:gd name="T88" fmla="*/ 222355 w 1445"/>
                  <a:gd name="T89" fmla="*/ 193388 h 1083"/>
                  <a:gd name="T90" fmla="*/ 214726 w 1445"/>
                  <a:gd name="T91" fmla="*/ 205662 h 1083"/>
                  <a:gd name="T92" fmla="*/ 200828 w 1445"/>
                  <a:gd name="T93" fmla="*/ 211936 h 1083"/>
                  <a:gd name="T94" fmla="*/ 196196 w 1445"/>
                  <a:gd name="T95" fmla="*/ 224210 h 1083"/>
                  <a:gd name="T96" fmla="*/ 208458 w 1445"/>
                  <a:gd name="T97" fmla="*/ 249031 h 1083"/>
                  <a:gd name="T98" fmla="*/ 213091 w 1445"/>
                  <a:gd name="T99" fmla="*/ 262942 h 1083"/>
                  <a:gd name="T100" fmla="*/ 214726 w 1445"/>
                  <a:gd name="T101" fmla="*/ 273852 h 1083"/>
                  <a:gd name="T102" fmla="*/ 208458 w 1445"/>
                  <a:gd name="T103" fmla="*/ 280126 h 1083"/>
                  <a:gd name="T104" fmla="*/ 196196 w 1445"/>
                  <a:gd name="T105" fmla="*/ 283126 h 1083"/>
                  <a:gd name="T106" fmla="*/ 183661 w 1445"/>
                  <a:gd name="T107" fmla="*/ 287763 h 1083"/>
                  <a:gd name="T108" fmla="*/ 168402 w 1445"/>
                  <a:gd name="T109" fmla="*/ 292400 h 1083"/>
                  <a:gd name="T110" fmla="*/ 155867 w 1445"/>
                  <a:gd name="T111" fmla="*/ 292400 h 1083"/>
                  <a:gd name="T112" fmla="*/ 135702 w 1445"/>
                  <a:gd name="T113" fmla="*/ 287763 h 1083"/>
                  <a:gd name="T114" fmla="*/ 126437 w 1445"/>
                  <a:gd name="T115" fmla="*/ 283126 h 1083"/>
                  <a:gd name="T116" fmla="*/ 111177 w 1445"/>
                  <a:gd name="T117" fmla="*/ 286127 h 1083"/>
                  <a:gd name="T118" fmla="*/ 101913 w 1445"/>
                  <a:gd name="T119" fmla="*/ 290764 h 1083"/>
                  <a:gd name="T120" fmla="*/ 88015 w 1445"/>
                  <a:gd name="T121" fmla="*/ 289400 h 108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45" h="1083">
                    <a:moveTo>
                      <a:pt x="277" y="1061"/>
                    </a:moveTo>
                    <a:lnTo>
                      <a:pt x="272" y="1055"/>
                    </a:lnTo>
                    <a:lnTo>
                      <a:pt x="272" y="1049"/>
                    </a:lnTo>
                    <a:lnTo>
                      <a:pt x="266" y="1049"/>
                    </a:lnTo>
                    <a:lnTo>
                      <a:pt x="260" y="1049"/>
                    </a:lnTo>
                    <a:lnTo>
                      <a:pt x="255" y="1044"/>
                    </a:lnTo>
                    <a:lnTo>
                      <a:pt x="255" y="1049"/>
                    </a:lnTo>
                    <a:lnTo>
                      <a:pt x="249" y="1049"/>
                    </a:lnTo>
                    <a:lnTo>
                      <a:pt x="249" y="1044"/>
                    </a:lnTo>
                    <a:lnTo>
                      <a:pt x="249" y="1049"/>
                    </a:lnTo>
                    <a:lnTo>
                      <a:pt x="243" y="1049"/>
                    </a:lnTo>
                    <a:lnTo>
                      <a:pt x="238" y="1049"/>
                    </a:lnTo>
                    <a:lnTo>
                      <a:pt x="238" y="1044"/>
                    </a:lnTo>
                    <a:lnTo>
                      <a:pt x="232" y="1038"/>
                    </a:lnTo>
                    <a:lnTo>
                      <a:pt x="226" y="1038"/>
                    </a:lnTo>
                    <a:lnTo>
                      <a:pt x="226" y="1032"/>
                    </a:lnTo>
                    <a:lnTo>
                      <a:pt x="221" y="1032"/>
                    </a:lnTo>
                    <a:lnTo>
                      <a:pt x="215" y="1032"/>
                    </a:lnTo>
                    <a:lnTo>
                      <a:pt x="209" y="1027"/>
                    </a:lnTo>
                    <a:lnTo>
                      <a:pt x="204" y="1021"/>
                    </a:lnTo>
                    <a:lnTo>
                      <a:pt x="204" y="1015"/>
                    </a:lnTo>
                    <a:lnTo>
                      <a:pt x="204" y="1010"/>
                    </a:lnTo>
                    <a:lnTo>
                      <a:pt x="198" y="1010"/>
                    </a:lnTo>
                    <a:lnTo>
                      <a:pt x="192" y="1010"/>
                    </a:lnTo>
                    <a:lnTo>
                      <a:pt x="192" y="1004"/>
                    </a:lnTo>
                    <a:lnTo>
                      <a:pt x="187" y="998"/>
                    </a:lnTo>
                    <a:lnTo>
                      <a:pt x="187" y="993"/>
                    </a:lnTo>
                    <a:lnTo>
                      <a:pt x="181" y="993"/>
                    </a:lnTo>
                    <a:lnTo>
                      <a:pt x="175" y="993"/>
                    </a:lnTo>
                    <a:lnTo>
                      <a:pt x="170" y="993"/>
                    </a:lnTo>
                    <a:lnTo>
                      <a:pt x="175" y="987"/>
                    </a:lnTo>
                    <a:lnTo>
                      <a:pt x="175" y="981"/>
                    </a:lnTo>
                    <a:lnTo>
                      <a:pt x="175" y="976"/>
                    </a:lnTo>
                    <a:lnTo>
                      <a:pt x="175" y="970"/>
                    </a:lnTo>
                    <a:lnTo>
                      <a:pt x="170" y="970"/>
                    </a:lnTo>
                    <a:lnTo>
                      <a:pt x="170" y="976"/>
                    </a:lnTo>
                    <a:lnTo>
                      <a:pt x="164" y="976"/>
                    </a:lnTo>
                    <a:lnTo>
                      <a:pt x="158" y="970"/>
                    </a:lnTo>
                    <a:lnTo>
                      <a:pt x="153" y="970"/>
                    </a:lnTo>
                    <a:lnTo>
                      <a:pt x="153" y="964"/>
                    </a:lnTo>
                    <a:lnTo>
                      <a:pt x="153" y="959"/>
                    </a:lnTo>
                    <a:lnTo>
                      <a:pt x="147" y="959"/>
                    </a:lnTo>
                    <a:lnTo>
                      <a:pt x="147" y="953"/>
                    </a:lnTo>
                    <a:lnTo>
                      <a:pt x="141" y="953"/>
                    </a:lnTo>
                    <a:lnTo>
                      <a:pt x="136" y="947"/>
                    </a:lnTo>
                    <a:lnTo>
                      <a:pt x="136" y="941"/>
                    </a:lnTo>
                    <a:lnTo>
                      <a:pt x="136" y="936"/>
                    </a:lnTo>
                    <a:lnTo>
                      <a:pt x="124" y="930"/>
                    </a:lnTo>
                    <a:lnTo>
                      <a:pt x="119" y="924"/>
                    </a:lnTo>
                    <a:lnTo>
                      <a:pt x="124" y="919"/>
                    </a:lnTo>
                    <a:lnTo>
                      <a:pt x="124" y="913"/>
                    </a:lnTo>
                    <a:lnTo>
                      <a:pt x="119" y="913"/>
                    </a:lnTo>
                    <a:lnTo>
                      <a:pt x="113" y="913"/>
                    </a:lnTo>
                    <a:lnTo>
                      <a:pt x="113" y="902"/>
                    </a:lnTo>
                    <a:lnTo>
                      <a:pt x="113" y="896"/>
                    </a:lnTo>
                    <a:lnTo>
                      <a:pt x="107" y="896"/>
                    </a:lnTo>
                    <a:lnTo>
                      <a:pt x="102" y="896"/>
                    </a:lnTo>
                    <a:lnTo>
                      <a:pt x="102" y="890"/>
                    </a:lnTo>
                    <a:lnTo>
                      <a:pt x="96" y="890"/>
                    </a:lnTo>
                    <a:lnTo>
                      <a:pt x="96" y="896"/>
                    </a:lnTo>
                    <a:lnTo>
                      <a:pt x="90" y="896"/>
                    </a:lnTo>
                    <a:lnTo>
                      <a:pt x="85" y="896"/>
                    </a:lnTo>
                    <a:lnTo>
                      <a:pt x="85" y="890"/>
                    </a:lnTo>
                    <a:lnTo>
                      <a:pt x="79" y="890"/>
                    </a:lnTo>
                    <a:lnTo>
                      <a:pt x="79" y="885"/>
                    </a:lnTo>
                    <a:lnTo>
                      <a:pt x="79" y="879"/>
                    </a:lnTo>
                    <a:lnTo>
                      <a:pt x="79" y="873"/>
                    </a:lnTo>
                    <a:lnTo>
                      <a:pt x="73" y="873"/>
                    </a:lnTo>
                    <a:lnTo>
                      <a:pt x="68" y="873"/>
                    </a:lnTo>
                    <a:lnTo>
                      <a:pt x="62" y="873"/>
                    </a:lnTo>
                    <a:lnTo>
                      <a:pt x="56" y="868"/>
                    </a:lnTo>
                    <a:lnTo>
                      <a:pt x="51" y="868"/>
                    </a:lnTo>
                    <a:lnTo>
                      <a:pt x="51" y="862"/>
                    </a:lnTo>
                    <a:lnTo>
                      <a:pt x="51" y="856"/>
                    </a:lnTo>
                    <a:lnTo>
                      <a:pt x="39" y="856"/>
                    </a:lnTo>
                    <a:lnTo>
                      <a:pt x="34" y="851"/>
                    </a:lnTo>
                    <a:lnTo>
                      <a:pt x="34" y="845"/>
                    </a:lnTo>
                    <a:lnTo>
                      <a:pt x="28" y="845"/>
                    </a:lnTo>
                    <a:lnTo>
                      <a:pt x="22" y="845"/>
                    </a:lnTo>
                    <a:lnTo>
                      <a:pt x="17" y="845"/>
                    </a:lnTo>
                    <a:lnTo>
                      <a:pt x="17" y="839"/>
                    </a:lnTo>
                    <a:lnTo>
                      <a:pt x="11" y="839"/>
                    </a:lnTo>
                    <a:lnTo>
                      <a:pt x="11" y="834"/>
                    </a:lnTo>
                    <a:lnTo>
                      <a:pt x="5" y="828"/>
                    </a:lnTo>
                    <a:lnTo>
                      <a:pt x="5" y="822"/>
                    </a:lnTo>
                    <a:lnTo>
                      <a:pt x="0" y="822"/>
                    </a:lnTo>
                    <a:lnTo>
                      <a:pt x="0" y="817"/>
                    </a:lnTo>
                    <a:lnTo>
                      <a:pt x="0" y="811"/>
                    </a:lnTo>
                    <a:lnTo>
                      <a:pt x="0" y="805"/>
                    </a:lnTo>
                    <a:lnTo>
                      <a:pt x="22" y="754"/>
                    </a:lnTo>
                    <a:lnTo>
                      <a:pt x="85" y="647"/>
                    </a:lnTo>
                    <a:lnTo>
                      <a:pt x="85" y="641"/>
                    </a:lnTo>
                    <a:lnTo>
                      <a:pt x="90" y="641"/>
                    </a:lnTo>
                    <a:lnTo>
                      <a:pt x="90" y="635"/>
                    </a:lnTo>
                    <a:lnTo>
                      <a:pt x="119" y="584"/>
                    </a:lnTo>
                    <a:lnTo>
                      <a:pt x="147" y="528"/>
                    </a:lnTo>
                    <a:lnTo>
                      <a:pt x="136" y="522"/>
                    </a:lnTo>
                    <a:lnTo>
                      <a:pt x="141" y="494"/>
                    </a:lnTo>
                    <a:lnTo>
                      <a:pt x="141" y="488"/>
                    </a:lnTo>
                    <a:lnTo>
                      <a:pt x="141" y="482"/>
                    </a:lnTo>
                    <a:lnTo>
                      <a:pt x="153" y="477"/>
                    </a:lnTo>
                    <a:lnTo>
                      <a:pt x="158" y="443"/>
                    </a:lnTo>
                    <a:lnTo>
                      <a:pt x="153" y="431"/>
                    </a:lnTo>
                    <a:lnTo>
                      <a:pt x="158" y="431"/>
                    </a:lnTo>
                    <a:lnTo>
                      <a:pt x="164" y="426"/>
                    </a:lnTo>
                    <a:lnTo>
                      <a:pt x="170" y="420"/>
                    </a:lnTo>
                    <a:lnTo>
                      <a:pt x="187" y="392"/>
                    </a:lnTo>
                    <a:lnTo>
                      <a:pt x="181" y="380"/>
                    </a:lnTo>
                    <a:lnTo>
                      <a:pt x="192" y="375"/>
                    </a:lnTo>
                    <a:lnTo>
                      <a:pt x="198" y="375"/>
                    </a:lnTo>
                    <a:lnTo>
                      <a:pt x="204" y="375"/>
                    </a:lnTo>
                    <a:lnTo>
                      <a:pt x="209" y="363"/>
                    </a:lnTo>
                    <a:lnTo>
                      <a:pt x="209" y="352"/>
                    </a:lnTo>
                    <a:lnTo>
                      <a:pt x="221" y="346"/>
                    </a:lnTo>
                    <a:lnTo>
                      <a:pt x="221" y="341"/>
                    </a:lnTo>
                    <a:lnTo>
                      <a:pt x="226" y="341"/>
                    </a:lnTo>
                    <a:lnTo>
                      <a:pt x="232" y="335"/>
                    </a:lnTo>
                    <a:lnTo>
                      <a:pt x="238" y="335"/>
                    </a:lnTo>
                    <a:lnTo>
                      <a:pt x="238" y="329"/>
                    </a:lnTo>
                    <a:lnTo>
                      <a:pt x="243" y="329"/>
                    </a:lnTo>
                    <a:lnTo>
                      <a:pt x="249" y="324"/>
                    </a:lnTo>
                    <a:lnTo>
                      <a:pt x="255" y="324"/>
                    </a:lnTo>
                    <a:lnTo>
                      <a:pt x="255" y="318"/>
                    </a:lnTo>
                    <a:lnTo>
                      <a:pt x="249" y="318"/>
                    </a:lnTo>
                    <a:lnTo>
                      <a:pt x="255" y="312"/>
                    </a:lnTo>
                    <a:lnTo>
                      <a:pt x="260" y="307"/>
                    </a:lnTo>
                    <a:lnTo>
                      <a:pt x="266" y="307"/>
                    </a:lnTo>
                    <a:lnTo>
                      <a:pt x="272" y="307"/>
                    </a:lnTo>
                    <a:lnTo>
                      <a:pt x="272" y="301"/>
                    </a:lnTo>
                    <a:lnTo>
                      <a:pt x="277" y="301"/>
                    </a:lnTo>
                    <a:lnTo>
                      <a:pt x="277" y="295"/>
                    </a:lnTo>
                    <a:lnTo>
                      <a:pt x="283" y="295"/>
                    </a:lnTo>
                    <a:lnTo>
                      <a:pt x="283" y="290"/>
                    </a:lnTo>
                    <a:lnTo>
                      <a:pt x="289" y="290"/>
                    </a:lnTo>
                    <a:lnTo>
                      <a:pt x="294" y="284"/>
                    </a:lnTo>
                    <a:lnTo>
                      <a:pt x="300" y="284"/>
                    </a:lnTo>
                    <a:lnTo>
                      <a:pt x="306" y="278"/>
                    </a:lnTo>
                    <a:lnTo>
                      <a:pt x="311" y="278"/>
                    </a:lnTo>
                    <a:lnTo>
                      <a:pt x="317" y="278"/>
                    </a:lnTo>
                    <a:lnTo>
                      <a:pt x="323" y="278"/>
                    </a:lnTo>
                    <a:lnTo>
                      <a:pt x="328" y="278"/>
                    </a:lnTo>
                    <a:lnTo>
                      <a:pt x="328" y="273"/>
                    </a:lnTo>
                    <a:lnTo>
                      <a:pt x="334" y="273"/>
                    </a:lnTo>
                    <a:lnTo>
                      <a:pt x="334" y="267"/>
                    </a:lnTo>
                    <a:lnTo>
                      <a:pt x="345" y="267"/>
                    </a:lnTo>
                    <a:lnTo>
                      <a:pt x="351" y="273"/>
                    </a:lnTo>
                    <a:lnTo>
                      <a:pt x="357" y="273"/>
                    </a:lnTo>
                    <a:lnTo>
                      <a:pt x="362" y="267"/>
                    </a:lnTo>
                    <a:lnTo>
                      <a:pt x="368" y="261"/>
                    </a:lnTo>
                    <a:lnTo>
                      <a:pt x="379" y="256"/>
                    </a:lnTo>
                    <a:lnTo>
                      <a:pt x="396" y="244"/>
                    </a:lnTo>
                    <a:lnTo>
                      <a:pt x="402" y="244"/>
                    </a:lnTo>
                    <a:lnTo>
                      <a:pt x="408" y="244"/>
                    </a:lnTo>
                    <a:lnTo>
                      <a:pt x="408" y="256"/>
                    </a:lnTo>
                    <a:lnTo>
                      <a:pt x="413" y="256"/>
                    </a:lnTo>
                    <a:lnTo>
                      <a:pt x="419" y="256"/>
                    </a:lnTo>
                    <a:lnTo>
                      <a:pt x="430" y="256"/>
                    </a:lnTo>
                    <a:lnTo>
                      <a:pt x="436" y="256"/>
                    </a:lnTo>
                    <a:lnTo>
                      <a:pt x="447" y="261"/>
                    </a:lnTo>
                    <a:lnTo>
                      <a:pt x="453" y="278"/>
                    </a:lnTo>
                    <a:lnTo>
                      <a:pt x="453" y="284"/>
                    </a:lnTo>
                    <a:lnTo>
                      <a:pt x="459" y="284"/>
                    </a:lnTo>
                    <a:lnTo>
                      <a:pt x="464" y="284"/>
                    </a:lnTo>
                    <a:lnTo>
                      <a:pt x="464" y="278"/>
                    </a:lnTo>
                    <a:lnTo>
                      <a:pt x="470" y="278"/>
                    </a:lnTo>
                    <a:lnTo>
                      <a:pt x="464" y="278"/>
                    </a:lnTo>
                    <a:lnTo>
                      <a:pt x="464" y="267"/>
                    </a:lnTo>
                    <a:lnTo>
                      <a:pt x="470" y="250"/>
                    </a:lnTo>
                    <a:lnTo>
                      <a:pt x="476" y="250"/>
                    </a:lnTo>
                    <a:lnTo>
                      <a:pt x="476" y="244"/>
                    </a:lnTo>
                    <a:lnTo>
                      <a:pt x="481" y="244"/>
                    </a:lnTo>
                    <a:lnTo>
                      <a:pt x="487" y="239"/>
                    </a:lnTo>
                    <a:lnTo>
                      <a:pt x="493" y="233"/>
                    </a:lnTo>
                    <a:lnTo>
                      <a:pt x="498" y="233"/>
                    </a:lnTo>
                    <a:lnTo>
                      <a:pt x="498" y="227"/>
                    </a:lnTo>
                    <a:lnTo>
                      <a:pt x="504" y="227"/>
                    </a:lnTo>
                    <a:lnTo>
                      <a:pt x="510" y="227"/>
                    </a:lnTo>
                    <a:lnTo>
                      <a:pt x="510" y="222"/>
                    </a:lnTo>
                    <a:lnTo>
                      <a:pt x="510" y="216"/>
                    </a:lnTo>
                    <a:lnTo>
                      <a:pt x="510" y="210"/>
                    </a:lnTo>
                    <a:lnTo>
                      <a:pt x="515" y="205"/>
                    </a:lnTo>
                    <a:lnTo>
                      <a:pt x="521" y="205"/>
                    </a:lnTo>
                    <a:lnTo>
                      <a:pt x="521" y="199"/>
                    </a:lnTo>
                    <a:lnTo>
                      <a:pt x="527" y="199"/>
                    </a:lnTo>
                    <a:lnTo>
                      <a:pt x="532" y="199"/>
                    </a:lnTo>
                    <a:lnTo>
                      <a:pt x="532" y="205"/>
                    </a:lnTo>
                    <a:lnTo>
                      <a:pt x="538" y="205"/>
                    </a:lnTo>
                    <a:lnTo>
                      <a:pt x="538" y="199"/>
                    </a:lnTo>
                    <a:lnTo>
                      <a:pt x="544" y="193"/>
                    </a:lnTo>
                    <a:lnTo>
                      <a:pt x="555" y="193"/>
                    </a:lnTo>
                    <a:lnTo>
                      <a:pt x="561" y="199"/>
                    </a:lnTo>
                    <a:lnTo>
                      <a:pt x="567" y="199"/>
                    </a:lnTo>
                    <a:lnTo>
                      <a:pt x="567" y="193"/>
                    </a:lnTo>
                    <a:lnTo>
                      <a:pt x="572" y="193"/>
                    </a:lnTo>
                    <a:lnTo>
                      <a:pt x="578" y="193"/>
                    </a:lnTo>
                    <a:lnTo>
                      <a:pt x="584" y="193"/>
                    </a:lnTo>
                    <a:lnTo>
                      <a:pt x="589" y="193"/>
                    </a:lnTo>
                    <a:lnTo>
                      <a:pt x="589" y="188"/>
                    </a:lnTo>
                    <a:lnTo>
                      <a:pt x="584" y="188"/>
                    </a:lnTo>
                    <a:lnTo>
                      <a:pt x="578" y="188"/>
                    </a:lnTo>
                    <a:lnTo>
                      <a:pt x="572" y="182"/>
                    </a:lnTo>
                    <a:lnTo>
                      <a:pt x="578" y="176"/>
                    </a:lnTo>
                    <a:lnTo>
                      <a:pt x="578" y="171"/>
                    </a:lnTo>
                    <a:lnTo>
                      <a:pt x="578" y="176"/>
                    </a:lnTo>
                    <a:lnTo>
                      <a:pt x="584" y="176"/>
                    </a:lnTo>
                    <a:lnTo>
                      <a:pt x="584" y="171"/>
                    </a:lnTo>
                    <a:lnTo>
                      <a:pt x="584" y="165"/>
                    </a:lnTo>
                    <a:lnTo>
                      <a:pt x="584" y="159"/>
                    </a:lnTo>
                    <a:lnTo>
                      <a:pt x="584" y="154"/>
                    </a:lnTo>
                    <a:lnTo>
                      <a:pt x="578" y="148"/>
                    </a:lnTo>
                    <a:lnTo>
                      <a:pt x="572" y="148"/>
                    </a:lnTo>
                    <a:lnTo>
                      <a:pt x="572" y="142"/>
                    </a:lnTo>
                    <a:lnTo>
                      <a:pt x="567" y="137"/>
                    </a:lnTo>
                    <a:lnTo>
                      <a:pt x="567" y="131"/>
                    </a:lnTo>
                    <a:lnTo>
                      <a:pt x="567" y="125"/>
                    </a:lnTo>
                    <a:lnTo>
                      <a:pt x="572" y="125"/>
                    </a:lnTo>
                    <a:lnTo>
                      <a:pt x="572" y="131"/>
                    </a:lnTo>
                    <a:lnTo>
                      <a:pt x="578" y="131"/>
                    </a:lnTo>
                    <a:lnTo>
                      <a:pt x="578" y="125"/>
                    </a:lnTo>
                    <a:lnTo>
                      <a:pt x="584" y="125"/>
                    </a:lnTo>
                    <a:lnTo>
                      <a:pt x="584" y="120"/>
                    </a:lnTo>
                    <a:lnTo>
                      <a:pt x="589" y="120"/>
                    </a:lnTo>
                    <a:lnTo>
                      <a:pt x="595" y="114"/>
                    </a:lnTo>
                    <a:lnTo>
                      <a:pt x="601" y="114"/>
                    </a:lnTo>
                    <a:lnTo>
                      <a:pt x="606" y="114"/>
                    </a:lnTo>
                    <a:lnTo>
                      <a:pt x="612" y="114"/>
                    </a:lnTo>
                    <a:lnTo>
                      <a:pt x="612" y="108"/>
                    </a:lnTo>
                    <a:lnTo>
                      <a:pt x="612" y="103"/>
                    </a:lnTo>
                    <a:lnTo>
                      <a:pt x="606" y="103"/>
                    </a:lnTo>
                    <a:lnTo>
                      <a:pt x="612" y="103"/>
                    </a:lnTo>
                    <a:lnTo>
                      <a:pt x="612" y="97"/>
                    </a:lnTo>
                    <a:lnTo>
                      <a:pt x="618" y="97"/>
                    </a:lnTo>
                    <a:lnTo>
                      <a:pt x="618" y="91"/>
                    </a:lnTo>
                    <a:lnTo>
                      <a:pt x="623" y="86"/>
                    </a:lnTo>
                    <a:lnTo>
                      <a:pt x="629" y="86"/>
                    </a:lnTo>
                    <a:lnTo>
                      <a:pt x="629" y="91"/>
                    </a:lnTo>
                    <a:lnTo>
                      <a:pt x="635" y="91"/>
                    </a:lnTo>
                    <a:lnTo>
                      <a:pt x="640" y="91"/>
                    </a:lnTo>
                    <a:lnTo>
                      <a:pt x="640" y="86"/>
                    </a:lnTo>
                    <a:lnTo>
                      <a:pt x="646" y="80"/>
                    </a:lnTo>
                    <a:lnTo>
                      <a:pt x="652" y="80"/>
                    </a:lnTo>
                    <a:lnTo>
                      <a:pt x="663" y="74"/>
                    </a:lnTo>
                    <a:lnTo>
                      <a:pt x="669" y="69"/>
                    </a:lnTo>
                    <a:lnTo>
                      <a:pt x="669" y="74"/>
                    </a:lnTo>
                    <a:lnTo>
                      <a:pt x="674" y="74"/>
                    </a:lnTo>
                    <a:lnTo>
                      <a:pt x="680" y="69"/>
                    </a:lnTo>
                    <a:lnTo>
                      <a:pt x="686" y="69"/>
                    </a:lnTo>
                    <a:lnTo>
                      <a:pt x="691" y="69"/>
                    </a:lnTo>
                    <a:lnTo>
                      <a:pt x="697" y="69"/>
                    </a:lnTo>
                    <a:lnTo>
                      <a:pt x="697" y="74"/>
                    </a:lnTo>
                    <a:lnTo>
                      <a:pt x="697" y="80"/>
                    </a:lnTo>
                    <a:lnTo>
                      <a:pt x="703" y="80"/>
                    </a:lnTo>
                    <a:lnTo>
                      <a:pt x="697" y="63"/>
                    </a:lnTo>
                    <a:lnTo>
                      <a:pt x="703" y="57"/>
                    </a:lnTo>
                    <a:lnTo>
                      <a:pt x="703" y="52"/>
                    </a:lnTo>
                    <a:lnTo>
                      <a:pt x="708" y="52"/>
                    </a:lnTo>
                    <a:lnTo>
                      <a:pt x="708" y="57"/>
                    </a:lnTo>
                    <a:lnTo>
                      <a:pt x="708" y="63"/>
                    </a:lnTo>
                    <a:lnTo>
                      <a:pt x="720" y="69"/>
                    </a:lnTo>
                    <a:lnTo>
                      <a:pt x="725" y="69"/>
                    </a:lnTo>
                    <a:lnTo>
                      <a:pt x="725" y="74"/>
                    </a:lnTo>
                    <a:lnTo>
                      <a:pt x="731" y="74"/>
                    </a:lnTo>
                    <a:lnTo>
                      <a:pt x="737" y="69"/>
                    </a:lnTo>
                    <a:lnTo>
                      <a:pt x="742" y="69"/>
                    </a:lnTo>
                    <a:lnTo>
                      <a:pt x="748" y="69"/>
                    </a:lnTo>
                    <a:lnTo>
                      <a:pt x="754" y="74"/>
                    </a:lnTo>
                    <a:lnTo>
                      <a:pt x="759" y="74"/>
                    </a:lnTo>
                    <a:lnTo>
                      <a:pt x="759" y="69"/>
                    </a:lnTo>
                    <a:lnTo>
                      <a:pt x="765" y="69"/>
                    </a:lnTo>
                    <a:lnTo>
                      <a:pt x="771" y="69"/>
                    </a:lnTo>
                    <a:lnTo>
                      <a:pt x="771" y="74"/>
                    </a:lnTo>
                    <a:lnTo>
                      <a:pt x="765" y="74"/>
                    </a:lnTo>
                    <a:lnTo>
                      <a:pt x="765" y="80"/>
                    </a:lnTo>
                    <a:lnTo>
                      <a:pt x="771" y="80"/>
                    </a:lnTo>
                    <a:lnTo>
                      <a:pt x="776" y="80"/>
                    </a:lnTo>
                    <a:lnTo>
                      <a:pt x="776" y="74"/>
                    </a:lnTo>
                    <a:lnTo>
                      <a:pt x="782" y="69"/>
                    </a:lnTo>
                    <a:lnTo>
                      <a:pt x="788" y="63"/>
                    </a:lnTo>
                    <a:lnTo>
                      <a:pt x="793" y="57"/>
                    </a:lnTo>
                    <a:lnTo>
                      <a:pt x="799" y="52"/>
                    </a:lnTo>
                    <a:lnTo>
                      <a:pt x="805" y="46"/>
                    </a:lnTo>
                    <a:lnTo>
                      <a:pt x="810" y="46"/>
                    </a:lnTo>
                    <a:lnTo>
                      <a:pt x="810" y="52"/>
                    </a:lnTo>
                    <a:lnTo>
                      <a:pt x="822" y="63"/>
                    </a:lnTo>
                    <a:lnTo>
                      <a:pt x="827" y="69"/>
                    </a:lnTo>
                    <a:lnTo>
                      <a:pt x="833" y="69"/>
                    </a:lnTo>
                    <a:lnTo>
                      <a:pt x="839" y="63"/>
                    </a:lnTo>
                    <a:lnTo>
                      <a:pt x="839" y="57"/>
                    </a:lnTo>
                    <a:lnTo>
                      <a:pt x="844" y="57"/>
                    </a:lnTo>
                    <a:lnTo>
                      <a:pt x="850" y="57"/>
                    </a:lnTo>
                    <a:lnTo>
                      <a:pt x="850" y="52"/>
                    </a:lnTo>
                    <a:lnTo>
                      <a:pt x="850" y="46"/>
                    </a:lnTo>
                    <a:lnTo>
                      <a:pt x="856" y="46"/>
                    </a:lnTo>
                    <a:lnTo>
                      <a:pt x="856" y="40"/>
                    </a:lnTo>
                    <a:lnTo>
                      <a:pt x="856" y="35"/>
                    </a:lnTo>
                    <a:lnTo>
                      <a:pt x="856" y="29"/>
                    </a:lnTo>
                    <a:lnTo>
                      <a:pt x="861" y="29"/>
                    </a:lnTo>
                    <a:lnTo>
                      <a:pt x="867" y="29"/>
                    </a:lnTo>
                    <a:lnTo>
                      <a:pt x="873" y="29"/>
                    </a:lnTo>
                    <a:lnTo>
                      <a:pt x="873" y="23"/>
                    </a:lnTo>
                    <a:lnTo>
                      <a:pt x="873" y="17"/>
                    </a:lnTo>
                    <a:lnTo>
                      <a:pt x="878" y="17"/>
                    </a:lnTo>
                    <a:lnTo>
                      <a:pt x="884" y="17"/>
                    </a:lnTo>
                    <a:lnTo>
                      <a:pt x="890" y="17"/>
                    </a:lnTo>
                    <a:lnTo>
                      <a:pt x="890" y="23"/>
                    </a:lnTo>
                    <a:lnTo>
                      <a:pt x="890" y="29"/>
                    </a:lnTo>
                    <a:lnTo>
                      <a:pt x="895" y="29"/>
                    </a:lnTo>
                    <a:lnTo>
                      <a:pt x="901" y="23"/>
                    </a:lnTo>
                    <a:lnTo>
                      <a:pt x="907" y="23"/>
                    </a:lnTo>
                    <a:lnTo>
                      <a:pt x="912" y="23"/>
                    </a:lnTo>
                    <a:lnTo>
                      <a:pt x="918" y="29"/>
                    </a:lnTo>
                    <a:lnTo>
                      <a:pt x="924" y="35"/>
                    </a:lnTo>
                    <a:lnTo>
                      <a:pt x="924" y="29"/>
                    </a:lnTo>
                    <a:lnTo>
                      <a:pt x="924" y="23"/>
                    </a:lnTo>
                    <a:lnTo>
                      <a:pt x="929" y="23"/>
                    </a:lnTo>
                    <a:lnTo>
                      <a:pt x="935" y="23"/>
                    </a:lnTo>
                    <a:lnTo>
                      <a:pt x="946" y="23"/>
                    </a:lnTo>
                    <a:lnTo>
                      <a:pt x="946" y="17"/>
                    </a:lnTo>
                    <a:lnTo>
                      <a:pt x="952" y="23"/>
                    </a:lnTo>
                    <a:lnTo>
                      <a:pt x="952" y="17"/>
                    </a:lnTo>
                    <a:lnTo>
                      <a:pt x="958" y="17"/>
                    </a:lnTo>
                    <a:lnTo>
                      <a:pt x="958" y="12"/>
                    </a:lnTo>
                    <a:lnTo>
                      <a:pt x="963" y="12"/>
                    </a:lnTo>
                    <a:lnTo>
                      <a:pt x="969" y="6"/>
                    </a:lnTo>
                    <a:lnTo>
                      <a:pt x="969" y="0"/>
                    </a:lnTo>
                    <a:lnTo>
                      <a:pt x="975" y="0"/>
                    </a:lnTo>
                    <a:lnTo>
                      <a:pt x="980" y="0"/>
                    </a:lnTo>
                    <a:lnTo>
                      <a:pt x="986" y="0"/>
                    </a:lnTo>
                    <a:lnTo>
                      <a:pt x="986" y="6"/>
                    </a:lnTo>
                    <a:lnTo>
                      <a:pt x="986" y="12"/>
                    </a:lnTo>
                    <a:lnTo>
                      <a:pt x="986" y="17"/>
                    </a:lnTo>
                    <a:lnTo>
                      <a:pt x="986" y="23"/>
                    </a:lnTo>
                    <a:lnTo>
                      <a:pt x="986" y="29"/>
                    </a:lnTo>
                    <a:lnTo>
                      <a:pt x="992" y="29"/>
                    </a:lnTo>
                    <a:lnTo>
                      <a:pt x="986" y="35"/>
                    </a:lnTo>
                    <a:lnTo>
                      <a:pt x="992" y="35"/>
                    </a:lnTo>
                    <a:lnTo>
                      <a:pt x="997" y="40"/>
                    </a:lnTo>
                    <a:lnTo>
                      <a:pt x="1003" y="46"/>
                    </a:lnTo>
                    <a:lnTo>
                      <a:pt x="1009" y="46"/>
                    </a:lnTo>
                    <a:lnTo>
                      <a:pt x="1014" y="46"/>
                    </a:lnTo>
                    <a:lnTo>
                      <a:pt x="1014" y="52"/>
                    </a:lnTo>
                    <a:lnTo>
                      <a:pt x="1020" y="57"/>
                    </a:lnTo>
                    <a:lnTo>
                      <a:pt x="1026" y="52"/>
                    </a:lnTo>
                    <a:lnTo>
                      <a:pt x="1026" y="57"/>
                    </a:lnTo>
                    <a:lnTo>
                      <a:pt x="1031" y="63"/>
                    </a:lnTo>
                    <a:lnTo>
                      <a:pt x="1037" y="63"/>
                    </a:lnTo>
                    <a:lnTo>
                      <a:pt x="1043" y="63"/>
                    </a:lnTo>
                    <a:lnTo>
                      <a:pt x="1043" y="57"/>
                    </a:lnTo>
                    <a:lnTo>
                      <a:pt x="1048" y="57"/>
                    </a:lnTo>
                    <a:lnTo>
                      <a:pt x="1048" y="63"/>
                    </a:lnTo>
                    <a:lnTo>
                      <a:pt x="1054" y="63"/>
                    </a:lnTo>
                    <a:lnTo>
                      <a:pt x="1060" y="69"/>
                    </a:lnTo>
                    <a:lnTo>
                      <a:pt x="1065" y="69"/>
                    </a:lnTo>
                    <a:lnTo>
                      <a:pt x="1071" y="74"/>
                    </a:lnTo>
                    <a:lnTo>
                      <a:pt x="1077" y="74"/>
                    </a:lnTo>
                    <a:lnTo>
                      <a:pt x="1082" y="69"/>
                    </a:lnTo>
                    <a:lnTo>
                      <a:pt x="1088" y="69"/>
                    </a:lnTo>
                    <a:lnTo>
                      <a:pt x="1088" y="74"/>
                    </a:lnTo>
                    <a:lnTo>
                      <a:pt x="1094" y="80"/>
                    </a:lnTo>
                    <a:lnTo>
                      <a:pt x="1094" y="86"/>
                    </a:lnTo>
                    <a:lnTo>
                      <a:pt x="1094" y="91"/>
                    </a:lnTo>
                    <a:lnTo>
                      <a:pt x="1099" y="86"/>
                    </a:lnTo>
                    <a:lnTo>
                      <a:pt x="1099" y="80"/>
                    </a:lnTo>
                    <a:lnTo>
                      <a:pt x="1105" y="80"/>
                    </a:lnTo>
                    <a:lnTo>
                      <a:pt x="1111" y="80"/>
                    </a:lnTo>
                    <a:lnTo>
                      <a:pt x="1116" y="86"/>
                    </a:lnTo>
                    <a:lnTo>
                      <a:pt x="1116" y="91"/>
                    </a:lnTo>
                    <a:lnTo>
                      <a:pt x="1122" y="97"/>
                    </a:lnTo>
                    <a:lnTo>
                      <a:pt x="1128" y="103"/>
                    </a:lnTo>
                    <a:lnTo>
                      <a:pt x="1122" y="103"/>
                    </a:lnTo>
                    <a:lnTo>
                      <a:pt x="1122" y="108"/>
                    </a:lnTo>
                    <a:lnTo>
                      <a:pt x="1122" y="103"/>
                    </a:lnTo>
                    <a:lnTo>
                      <a:pt x="1128" y="103"/>
                    </a:lnTo>
                    <a:lnTo>
                      <a:pt x="1128" y="97"/>
                    </a:lnTo>
                    <a:lnTo>
                      <a:pt x="1133" y="97"/>
                    </a:lnTo>
                    <a:lnTo>
                      <a:pt x="1139" y="97"/>
                    </a:lnTo>
                    <a:lnTo>
                      <a:pt x="1139" y="91"/>
                    </a:lnTo>
                    <a:lnTo>
                      <a:pt x="1145" y="91"/>
                    </a:lnTo>
                    <a:lnTo>
                      <a:pt x="1150" y="91"/>
                    </a:lnTo>
                    <a:lnTo>
                      <a:pt x="1156" y="86"/>
                    </a:lnTo>
                    <a:lnTo>
                      <a:pt x="1150" y="86"/>
                    </a:lnTo>
                    <a:lnTo>
                      <a:pt x="1145" y="86"/>
                    </a:lnTo>
                    <a:lnTo>
                      <a:pt x="1150" y="80"/>
                    </a:lnTo>
                    <a:lnTo>
                      <a:pt x="1150" y="74"/>
                    </a:lnTo>
                    <a:lnTo>
                      <a:pt x="1162" y="80"/>
                    </a:lnTo>
                    <a:lnTo>
                      <a:pt x="1167" y="80"/>
                    </a:lnTo>
                    <a:lnTo>
                      <a:pt x="1173" y="80"/>
                    </a:lnTo>
                    <a:lnTo>
                      <a:pt x="1173" y="86"/>
                    </a:lnTo>
                    <a:lnTo>
                      <a:pt x="1173" y="91"/>
                    </a:lnTo>
                    <a:lnTo>
                      <a:pt x="1179" y="91"/>
                    </a:lnTo>
                    <a:lnTo>
                      <a:pt x="1179" y="86"/>
                    </a:lnTo>
                    <a:lnTo>
                      <a:pt x="1184" y="91"/>
                    </a:lnTo>
                    <a:lnTo>
                      <a:pt x="1190" y="97"/>
                    </a:lnTo>
                    <a:lnTo>
                      <a:pt x="1196" y="91"/>
                    </a:lnTo>
                    <a:lnTo>
                      <a:pt x="1196" y="97"/>
                    </a:lnTo>
                    <a:lnTo>
                      <a:pt x="1201" y="97"/>
                    </a:lnTo>
                    <a:lnTo>
                      <a:pt x="1207" y="97"/>
                    </a:lnTo>
                    <a:lnTo>
                      <a:pt x="1213" y="103"/>
                    </a:lnTo>
                    <a:lnTo>
                      <a:pt x="1218" y="103"/>
                    </a:lnTo>
                    <a:lnTo>
                      <a:pt x="1218" y="91"/>
                    </a:lnTo>
                    <a:lnTo>
                      <a:pt x="1224" y="91"/>
                    </a:lnTo>
                    <a:lnTo>
                      <a:pt x="1230" y="91"/>
                    </a:lnTo>
                    <a:lnTo>
                      <a:pt x="1235" y="86"/>
                    </a:lnTo>
                    <a:lnTo>
                      <a:pt x="1241" y="86"/>
                    </a:lnTo>
                    <a:lnTo>
                      <a:pt x="1247" y="91"/>
                    </a:lnTo>
                    <a:lnTo>
                      <a:pt x="1252" y="91"/>
                    </a:lnTo>
                    <a:lnTo>
                      <a:pt x="1252" y="97"/>
                    </a:lnTo>
                    <a:lnTo>
                      <a:pt x="1252" y="91"/>
                    </a:lnTo>
                    <a:lnTo>
                      <a:pt x="1258" y="91"/>
                    </a:lnTo>
                    <a:lnTo>
                      <a:pt x="1258" y="97"/>
                    </a:lnTo>
                    <a:lnTo>
                      <a:pt x="1258" y="103"/>
                    </a:lnTo>
                    <a:lnTo>
                      <a:pt x="1258" y="108"/>
                    </a:lnTo>
                    <a:lnTo>
                      <a:pt x="1264" y="114"/>
                    </a:lnTo>
                    <a:lnTo>
                      <a:pt x="1269" y="131"/>
                    </a:lnTo>
                    <a:lnTo>
                      <a:pt x="1275" y="131"/>
                    </a:lnTo>
                    <a:lnTo>
                      <a:pt x="1281" y="125"/>
                    </a:lnTo>
                    <a:lnTo>
                      <a:pt x="1292" y="125"/>
                    </a:lnTo>
                    <a:lnTo>
                      <a:pt x="1298" y="125"/>
                    </a:lnTo>
                    <a:lnTo>
                      <a:pt x="1303" y="131"/>
                    </a:lnTo>
                    <a:lnTo>
                      <a:pt x="1303" y="137"/>
                    </a:lnTo>
                    <a:lnTo>
                      <a:pt x="1309" y="137"/>
                    </a:lnTo>
                    <a:lnTo>
                      <a:pt x="1315" y="137"/>
                    </a:lnTo>
                    <a:lnTo>
                      <a:pt x="1320" y="142"/>
                    </a:lnTo>
                    <a:lnTo>
                      <a:pt x="1326" y="142"/>
                    </a:lnTo>
                    <a:lnTo>
                      <a:pt x="1332" y="148"/>
                    </a:lnTo>
                    <a:lnTo>
                      <a:pt x="1326" y="148"/>
                    </a:lnTo>
                    <a:lnTo>
                      <a:pt x="1326" y="154"/>
                    </a:lnTo>
                    <a:lnTo>
                      <a:pt x="1332" y="154"/>
                    </a:lnTo>
                    <a:lnTo>
                      <a:pt x="1343" y="148"/>
                    </a:lnTo>
                    <a:lnTo>
                      <a:pt x="1349" y="148"/>
                    </a:lnTo>
                    <a:lnTo>
                      <a:pt x="1349" y="154"/>
                    </a:lnTo>
                    <a:lnTo>
                      <a:pt x="1354" y="159"/>
                    </a:lnTo>
                    <a:lnTo>
                      <a:pt x="1360" y="165"/>
                    </a:lnTo>
                    <a:lnTo>
                      <a:pt x="1360" y="171"/>
                    </a:lnTo>
                    <a:lnTo>
                      <a:pt x="1366" y="171"/>
                    </a:lnTo>
                    <a:lnTo>
                      <a:pt x="1366" y="176"/>
                    </a:lnTo>
                    <a:lnTo>
                      <a:pt x="1366" y="182"/>
                    </a:lnTo>
                    <a:lnTo>
                      <a:pt x="1377" y="193"/>
                    </a:lnTo>
                    <a:lnTo>
                      <a:pt x="1383" y="193"/>
                    </a:lnTo>
                    <a:lnTo>
                      <a:pt x="1377" y="199"/>
                    </a:lnTo>
                    <a:lnTo>
                      <a:pt x="1383" y="205"/>
                    </a:lnTo>
                    <a:lnTo>
                      <a:pt x="1388" y="210"/>
                    </a:lnTo>
                    <a:lnTo>
                      <a:pt x="1400" y="227"/>
                    </a:lnTo>
                    <a:lnTo>
                      <a:pt x="1405" y="227"/>
                    </a:lnTo>
                    <a:lnTo>
                      <a:pt x="1411" y="222"/>
                    </a:lnTo>
                    <a:lnTo>
                      <a:pt x="1422" y="222"/>
                    </a:lnTo>
                    <a:lnTo>
                      <a:pt x="1422" y="216"/>
                    </a:lnTo>
                    <a:lnTo>
                      <a:pt x="1422" y="210"/>
                    </a:lnTo>
                    <a:lnTo>
                      <a:pt x="1428" y="210"/>
                    </a:lnTo>
                    <a:lnTo>
                      <a:pt x="1439" y="210"/>
                    </a:lnTo>
                    <a:lnTo>
                      <a:pt x="1428" y="216"/>
                    </a:lnTo>
                    <a:lnTo>
                      <a:pt x="1428" y="222"/>
                    </a:lnTo>
                    <a:lnTo>
                      <a:pt x="1428" y="227"/>
                    </a:lnTo>
                    <a:lnTo>
                      <a:pt x="1439" y="233"/>
                    </a:lnTo>
                    <a:lnTo>
                      <a:pt x="1445" y="244"/>
                    </a:lnTo>
                    <a:lnTo>
                      <a:pt x="1439" y="250"/>
                    </a:lnTo>
                    <a:lnTo>
                      <a:pt x="1422" y="261"/>
                    </a:lnTo>
                    <a:lnTo>
                      <a:pt x="1417" y="267"/>
                    </a:lnTo>
                    <a:lnTo>
                      <a:pt x="1417" y="273"/>
                    </a:lnTo>
                    <a:lnTo>
                      <a:pt x="1422" y="278"/>
                    </a:lnTo>
                    <a:lnTo>
                      <a:pt x="1422" y="284"/>
                    </a:lnTo>
                    <a:lnTo>
                      <a:pt x="1422" y="295"/>
                    </a:lnTo>
                    <a:lnTo>
                      <a:pt x="1422" y="301"/>
                    </a:lnTo>
                    <a:lnTo>
                      <a:pt x="1422" y="307"/>
                    </a:lnTo>
                    <a:lnTo>
                      <a:pt x="1422" y="312"/>
                    </a:lnTo>
                    <a:lnTo>
                      <a:pt x="1417" y="329"/>
                    </a:lnTo>
                    <a:lnTo>
                      <a:pt x="1411" y="335"/>
                    </a:lnTo>
                    <a:lnTo>
                      <a:pt x="1405" y="341"/>
                    </a:lnTo>
                    <a:lnTo>
                      <a:pt x="1411" y="346"/>
                    </a:lnTo>
                    <a:lnTo>
                      <a:pt x="1411" y="352"/>
                    </a:lnTo>
                    <a:lnTo>
                      <a:pt x="1400" y="358"/>
                    </a:lnTo>
                    <a:lnTo>
                      <a:pt x="1394" y="369"/>
                    </a:lnTo>
                    <a:lnTo>
                      <a:pt x="1394" y="375"/>
                    </a:lnTo>
                    <a:lnTo>
                      <a:pt x="1400" y="375"/>
                    </a:lnTo>
                    <a:lnTo>
                      <a:pt x="1405" y="380"/>
                    </a:lnTo>
                    <a:lnTo>
                      <a:pt x="1405" y="386"/>
                    </a:lnTo>
                    <a:lnTo>
                      <a:pt x="1411" y="392"/>
                    </a:lnTo>
                    <a:lnTo>
                      <a:pt x="1411" y="397"/>
                    </a:lnTo>
                    <a:lnTo>
                      <a:pt x="1405" y="403"/>
                    </a:lnTo>
                    <a:lnTo>
                      <a:pt x="1394" y="409"/>
                    </a:lnTo>
                    <a:lnTo>
                      <a:pt x="1394" y="414"/>
                    </a:lnTo>
                    <a:lnTo>
                      <a:pt x="1388" y="420"/>
                    </a:lnTo>
                    <a:lnTo>
                      <a:pt x="1383" y="426"/>
                    </a:lnTo>
                    <a:lnTo>
                      <a:pt x="1360" y="426"/>
                    </a:lnTo>
                    <a:lnTo>
                      <a:pt x="1360" y="431"/>
                    </a:lnTo>
                    <a:lnTo>
                      <a:pt x="1354" y="437"/>
                    </a:lnTo>
                    <a:lnTo>
                      <a:pt x="1349" y="443"/>
                    </a:lnTo>
                    <a:lnTo>
                      <a:pt x="1337" y="454"/>
                    </a:lnTo>
                    <a:lnTo>
                      <a:pt x="1332" y="454"/>
                    </a:lnTo>
                    <a:lnTo>
                      <a:pt x="1320" y="460"/>
                    </a:lnTo>
                    <a:lnTo>
                      <a:pt x="1309" y="471"/>
                    </a:lnTo>
                    <a:lnTo>
                      <a:pt x="1303" y="471"/>
                    </a:lnTo>
                    <a:lnTo>
                      <a:pt x="1298" y="471"/>
                    </a:lnTo>
                    <a:lnTo>
                      <a:pt x="1292" y="477"/>
                    </a:lnTo>
                    <a:lnTo>
                      <a:pt x="1281" y="482"/>
                    </a:lnTo>
                    <a:lnTo>
                      <a:pt x="1281" y="488"/>
                    </a:lnTo>
                    <a:lnTo>
                      <a:pt x="1281" y="494"/>
                    </a:lnTo>
                    <a:lnTo>
                      <a:pt x="1281" y="499"/>
                    </a:lnTo>
                    <a:lnTo>
                      <a:pt x="1275" y="505"/>
                    </a:lnTo>
                    <a:lnTo>
                      <a:pt x="1269" y="499"/>
                    </a:lnTo>
                    <a:lnTo>
                      <a:pt x="1264" y="505"/>
                    </a:lnTo>
                    <a:lnTo>
                      <a:pt x="1252" y="505"/>
                    </a:lnTo>
                    <a:lnTo>
                      <a:pt x="1235" y="505"/>
                    </a:lnTo>
                    <a:lnTo>
                      <a:pt x="1218" y="511"/>
                    </a:lnTo>
                    <a:lnTo>
                      <a:pt x="1218" y="516"/>
                    </a:lnTo>
                    <a:lnTo>
                      <a:pt x="1213" y="522"/>
                    </a:lnTo>
                    <a:lnTo>
                      <a:pt x="1207" y="522"/>
                    </a:lnTo>
                    <a:lnTo>
                      <a:pt x="1207" y="533"/>
                    </a:lnTo>
                    <a:lnTo>
                      <a:pt x="1201" y="539"/>
                    </a:lnTo>
                    <a:lnTo>
                      <a:pt x="1190" y="562"/>
                    </a:lnTo>
                    <a:lnTo>
                      <a:pt x="1179" y="562"/>
                    </a:lnTo>
                    <a:lnTo>
                      <a:pt x="1179" y="556"/>
                    </a:lnTo>
                    <a:lnTo>
                      <a:pt x="1179" y="550"/>
                    </a:lnTo>
                    <a:lnTo>
                      <a:pt x="1173" y="545"/>
                    </a:lnTo>
                    <a:lnTo>
                      <a:pt x="1167" y="545"/>
                    </a:lnTo>
                    <a:lnTo>
                      <a:pt x="1162" y="545"/>
                    </a:lnTo>
                    <a:lnTo>
                      <a:pt x="1156" y="545"/>
                    </a:lnTo>
                    <a:lnTo>
                      <a:pt x="1150" y="539"/>
                    </a:lnTo>
                    <a:lnTo>
                      <a:pt x="1150" y="528"/>
                    </a:lnTo>
                    <a:lnTo>
                      <a:pt x="1150" y="522"/>
                    </a:lnTo>
                    <a:lnTo>
                      <a:pt x="1145" y="516"/>
                    </a:lnTo>
                    <a:lnTo>
                      <a:pt x="1139" y="511"/>
                    </a:lnTo>
                    <a:lnTo>
                      <a:pt x="1133" y="511"/>
                    </a:lnTo>
                    <a:lnTo>
                      <a:pt x="1128" y="516"/>
                    </a:lnTo>
                    <a:lnTo>
                      <a:pt x="1122" y="516"/>
                    </a:lnTo>
                    <a:lnTo>
                      <a:pt x="1116" y="522"/>
                    </a:lnTo>
                    <a:lnTo>
                      <a:pt x="1111" y="522"/>
                    </a:lnTo>
                    <a:lnTo>
                      <a:pt x="1105" y="522"/>
                    </a:lnTo>
                    <a:lnTo>
                      <a:pt x="1105" y="516"/>
                    </a:lnTo>
                    <a:lnTo>
                      <a:pt x="1105" y="522"/>
                    </a:lnTo>
                    <a:lnTo>
                      <a:pt x="1099" y="522"/>
                    </a:lnTo>
                    <a:lnTo>
                      <a:pt x="1088" y="522"/>
                    </a:lnTo>
                    <a:lnTo>
                      <a:pt x="1082" y="522"/>
                    </a:lnTo>
                    <a:lnTo>
                      <a:pt x="1077" y="522"/>
                    </a:lnTo>
                    <a:lnTo>
                      <a:pt x="1071" y="522"/>
                    </a:lnTo>
                    <a:lnTo>
                      <a:pt x="1071" y="528"/>
                    </a:lnTo>
                    <a:lnTo>
                      <a:pt x="1065" y="533"/>
                    </a:lnTo>
                    <a:lnTo>
                      <a:pt x="1060" y="539"/>
                    </a:lnTo>
                    <a:lnTo>
                      <a:pt x="1060" y="545"/>
                    </a:lnTo>
                    <a:lnTo>
                      <a:pt x="1054" y="545"/>
                    </a:lnTo>
                    <a:lnTo>
                      <a:pt x="1048" y="545"/>
                    </a:lnTo>
                    <a:lnTo>
                      <a:pt x="1043" y="545"/>
                    </a:lnTo>
                    <a:lnTo>
                      <a:pt x="1043" y="550"/>
                    </a:lnTo>
                    <a:lnTo>
                      <a:pt x="1037" y="550"/>
                    </a:lnTo>
                    <a:lnTo>
                      <a:pt x="1031" y="545"/>
                    </a:lnTo>
                    <a:lnTo>
                      <a:pt x="1026" y="545"/>
                    </a:lnTo>
                    <a:lnTo>
                      <a:pt x="1020" y="545"/>
                    </a:lnTo>
                    <a:lnTo>
                      <a:pt x="1020" y="550"/>
                    </a:lnTo>
                    <a:lnTo>
                      <a:pt x="1014" y="550"/>
                    </a:lnTo>
                    <a:lnTo>
                      <a:pt x="1014" y="545"/>
                    </a:lnTo>
                    <a:lnTo>
                      <a:pt x="1009" y="545"/>
                    </a:lnTo>
                    <a:lnTo>
                      <a:pt x="1009" y="550"/>
                    </a:lnTo>
                    <a:lnTo>
                      <a:pt x="1003" y="550"/>
                    </a:lnTo>
                    <a:lnTo>
                      <a:pt x="1003" y="556"/>
                    </a:lnTo>
                    <a:lnTo>
                      <a:pt x="997" y="556"/>
                    </a:lnTo>
                    <a:lnTo>
                      <a:pt x="997" y="562"/>
                    </a:lnTo>
                    <a:lnTo>
                      <a:pt x="992" y="562"/>
                    </a:lnTo>
                    <a:lnTo>
                      <a:pt x="992" y="567"/>
                    </a:lnTo>
                    <a:lnTo>
                      <a:pt x="986" y="567"/>
                    </a:lnTo>
                    <a:lnTo>
                      <a:pt x="986" y="573"/>
                    </a:lnTo>
                    <a:lnTo>
                      <a:pt x="986" y="579"/>
                    </a:lnTo>
                    <a:lnTo>
                      <a:pt x="980" y="579"/>
                    </a:lnTo>
                    <a:lnTo>
                      <a:pt x="975" y="579"/>
                    </a:lnTo>
                    <a:lnTo>
                      <a:pt x="980" y="579"/>
                    </a:lnTo>
                    <a:lnTo>
                      <a:pt x="980" y="584"/>
                    </a:lnTo>
                    <a:lnTo>
                      <a:pt x="975" y="584"/>
                    </a:lnTo>
                    <a:lnTo>
                      <a:pt x="969" y="590"/>
                    </a:lnTo>
                    <a:lnTo>
                      <a:pt x="975" y="590"/>
                    </a:lnTo>
                    <a:lnTo>
                      <a:pt x="969" y="596"/>
                    </a:lnTo>
                    <a:lnTo>
                      <a:pt x="963" y="590"/>
                    </a:lnTo>
                    <a:lnTo>
                      <a:pt x="963" y="596"/>
                    </a:lnTo>
                    <a:lnTo>
                      <a:pt x="958" y="596"/>
                    </a:lnTo>
                    <a:lnTo>
                      <a:pt x="958" y="590"/>
                    </a:lnTo>
                    <a:lnTo>
                      <a:pt x="952" y="590"/>
                    </a:lnTo>
                    <a:lnTo>
                      <a:pt x="952" y="584"/>
                    </a:lnTo>
                    <a:lnTo>
                      <a:pt x="946" y="584"/>
                    </a:lnTo>
                    <a:lnTo>
                      <a:pt x="946" y="590"/>
                    </a:lnTo>
                    <a:lnTo>
                      <a:pt x="941" y="590"/>
                    </a:lnTo>
                    <a:lnTo>
                      <a:pt x="941" y="596"/>
                    </a:lnTo>
                    <a:lnTo>
                      <a:pt x="935" y="596"/>
                    </a:lnTo>
                    <a:lnTo>
                      <a:pt x="935" y="601"/>
                    </a:lnTo>
                    <a:lnTo>
                      <a:pt x="929" y="607"/>
                    </a:lnTo>
                    <a:lnTo>
                      <a:pt x="929" y="601"/>
                    </a:lnTo>
                    <a:lnTo>
                      <a:pt x="924" y="601"/>
                    </a:lnTo>
                    <a:lnTo>
                      <a:pt x="918" y="601"/>
                    </a:lnTo>
                    <a:lnTo>
                      <a:pt x="912" y="607"/>
                    </a:lnTo>
                    <a:lnTo>
                      <a:pt x="907" y="601"/>
                    </a:lnTo>
                    <a:lnTo>
                      <a:pt x="901" y="601"/>
                    </a:lnTo>
                    <a:lnTo>
                      <a:pt x="895" y="601"/>
                    </a:lnTo>
                    <a:lnTo>
                      <a:pt x="901" y="601"/>
                    </a:lnTo>
                    <a:lnTo>
                      <a:pt x="901" y="607"/>
                    </a:lnTo>
                    <a:lnTo>
                      <a:pt x="901" y="613"/>
                    </a:lnTo>
                    <a:lnTo>
                      <a:pt x="895" y="613"/>
                    </a:lnTo>
                    <a:lnTo>
                      <a:pt x="890" y="613"/>
                    </a:lnTo>
                    <a:lnTo>
                      <a:pt x="890" y="618"/>
                    </a:lnTo>
                    <a:lnTo>
                      <a:pt x="890" y="624"/>
                    </a:lnTo>
                    <a:lnTo>
                      <a:pt x="890" y="630"/>
                    </a:lnTo>
                    <a:lnTo>
                      <a:pt x="884" y="630"/>
                    </a:lnTo>
                    <a:lnTo>
                      <a:pt x="878" y="630"/>
                    </a:lnTo>
                    <a:lnTo>
                      <a:pt x="884" y="630"/>
                    </a:lnTo>
                    <a:lnTo>
                      <a:pt x="878" y="635"/>
                    </a:lnTo>
                    <a:lnTo>
                      <a:pt x="878" y="641"/>
                    </a:lnTo>
                    <a:lnTo>
                      <a:pt x="873" y="641"/>
                    </a:lnTo>
                    <a:lnTo>
                      <a:pt x="873" y="635"/>
                    </a:lnTo>
                    <a:lnTo>
                      <a:pt x="867" y="635"/>
                    </a:lnTo>
                    <a:lnTo>
                      <a:pt x="867" y="641"/>
                    </a:lnTo>
                    <a:lnTo>
                      <a:pt x="873" y="641"/>
                    </a:lnTo>
                    <a:lnTo>
                      <a:pt x="878" y="647"/>
                    </a:lnTo>
                    <a:lnTo>
                      <a:pt x="873" y="647"/>
                    </a:lnTo>
                    <a:lnTo>
                      <a:pt x="867" y="647"/>
                    </a:lnTo>
                    <a:lnTo>
                      <a:pt x="873" y="647"/>
                    </a:lnTo>
                    <a:lnTo>
                      <a:pt x="873" y="652"/>
                    </a:lnTo>
                    <a:lnTo>
                      <a:pt x="873" y="658"/>
                    </a:lnTo>
                    <a:lnTo>
                      <a:pt x="867" y="658"/>
                    </a:lnTo>
                    <a:lnTo>
                      <a:pt x="861" y="664"/>
                    </a:lnTo>
                    <a:lnTo>
                      <a:pt x="861" y="669"/>
                    </a:lnTo>
                    <a:lnTo>
                      <a:pt x="856" y="669"/>
                    </a:lnTo>
                    <a:lnTo>
                      <a:pt x="850" y="669"/>
                    </a:lnTo>
                    <a:lnTo>
                      <a:pt x="850" y="675"/>
                    </a:lnTo>
                    <a:lnTo>
                      <a:pt x="844" y="681"/>
                    </a:lnTo>
                    <a:lnTo>
                      <a:pt x="839" y="681"/>
                    </a:lnTo>
                    <a:lnTo>
                      <a:pt x="839" y="686"/>
                    </a:lnTo>
                    <a:lnTo>
                      <a:pt x="833" y="686"/>
                    </a:lnTo>
                    <a:lnTo>
                      <a:pt x="839" y="692"/>
                    </a:lnTo>
                    <a:lnTo>
                      <a:pt x="839" y="698"/>
                    </a:lnTo>
                    <a:lnTo>
                      <a:pt x="833" y="698"/>
                    </a:lnTo>
                    <a:lnTo>
                      <a:pt x="827" y="703"/>
                    </a:lnTo>
                    <a:lnTo>
                      <a:pt x="822" y="703"/>
                    </a:lnTo>
                    <a:lnTo>
                      <a:pt x="816" y="703"/>
                    </a:lnTo>
                    <a:lnTo>
                      <a:pt x="816" y="709"/>
                    </a:lnTo>
                    <a:lnTo>
                      <a:pt x="822" y="709"/>
                    </a:lnTo>
                    <a:lnTo>
                      <a:pt x="822" y="715"/>
                    </a:lnTo>
                    <a:lnTo>
                      <a:pt x="816" y="715"/>
                    </a:lnTo>
                    <a:lnTo>
                      <a:pt x="810" y="720"/>
                    </a:lnTo>
                    <a:lnTo>
                      <a:pt x="810" y="726"/>
                    </a:lnTo>
                    <a:lnTo>
                      <a:pt x="805" y="726"/>
                    </a:lnTo>
                    <a:lnTo>
                      <a:pt x="810" y="732"/>
                    </a:lnTo>
                    <a:lnTo>
                      <a:pt x="805" y="737"/>
                    </a:lnTo>
                    <a:lnTo>
                      <a:pt x="799" y="737"/>
                    </a:lnTo>
                    <a:lnTo>
                      <a:pt x="799" y="743"/>
                    </a:lnTo>
                    <a:lnTo>
                      <a:pt x="793" y="749"/>
                    </a:lnTo>
                    <a:lnTo>
                      <a:pt x="788" y="749"/>
                    </a:lnTo>
                    <a:lnTo>
                      <a:pt x="793" y="754"/>
                    </a:lnTo>
                    <a:lnTo>
                      <a:pt x="788" y="754"/>
                    </a:lnTo>
                    <a:lnTo>
                      <a:pt x="782" y="754"/>
                    </a:lnTo>
                    <a:lnTo>
                      <a:pt x="776" y="760"/>
                    </a:lnTo>
                    <a:lnTo>
                      <a:pt x="776" y="766"/>
                    </a:lnTo>
                    <a:lnTo>
                      <a:pt x="776" y="771"/>
                    </a:lnTo>
                    <a:lnTo>
                      <a:pt x="771" y="766"/>
                    </a:lnTo>
                    <a:lnTo>
                      <a:pt x="765" y="766"/>
                    </a:lnTo>
                    <a:lnTo>
                      <a:pt x="765" y="771"/>
                    </a:lnTo>
                    <a:lnTo>
                      <a:pt x="759" y="771"/>
                    </a:lnTo>
                    <a:lnTo>
                      <a:pt x="759" y="777"/>
                    </a:lnTo>
                    <a:lnTo>
                      <a:pt x="759" y="771"/>
                    </a:lnTo>
                    <a:lnTo>
                      <a:pt x="754" y="771"/>
                    </a:lnTo>
                    <a:lnTo>
                      <a:pt x="748" y="777"/>
                    </a:lnTo>
                    <a:lnTo>
                      <a:pt x="742" y="777"/>
                    </a:lnTo>
                    <a:lnTo>
                      <a:pt x="737" y="777"/>
                    </a:lnTo>
                    <a:lnTo>
                      <a:pt x="731" y="777"/>
                    </a:lnTo>
                    <a:lnTo>
                      <a:pt x="725" y="783"/>
                    </a:lnTo>
                    <a:lnTo>
                      <a:pt x="725" y="788"/>
                    </a:lnTo>
                    <a:lnTo>
                      <a:pt x="720" y="788"/>
                    </a:lnTo>
                    <a:lnTo>
                      <a:pt x="714" y="788"/>
                    </a:lnTo>
                    <a:lnTo>
                      <a:pt x="714" y="794"/>
                    </a:lnTo>
                    <a:lnTo>
                      <a:pt x="708" y="794"/>
                    </a:lnTo>
                    <a:lnTo>
                      <a:pt x="703" y="794"/>
                    </a:lnTo>
                    <a:lnTo>
                      <a:pt x="703" y="800"/>
                    </a:lnTo>
                    <a:lnTo>
                      <a:pt x="703" y="811"/>
                    </a:lnTo>
                    <a:lnTo>
                      <a:pt x="708" y="811"/>
                    </a:lnTo>
                    <a:lnTo>
                      <a:pt x="714" y="817"/>
                    </a:lnTo>
                    <a:lnTo>
                      <a:pt x="714" y="822"/>
                    </a:lnTo>
                    <a:lnTo>
                      <a:pt x="720" y="822"/>
                    </a:lnTo>
                    <a:lnTo>
                      <a:pt x="720" y="828"/>
                    </a:lnTo>
                    <a:lnTo>
                      <a:pt x="725" y="828"/>
                    </a:lnTo>
                    <a:lnTo>
                      <a:pt x="725" y="839"/>
                    </a:lnTo>
                    <a:lnTo>
                      <a:pt x="731" y="845"/>
                    </a:lnTo>
                    <a:lnTo>
                      <a:pt x="731" y="851"/>
                    </a:lnTo>
                    <a:lnTo>
                      <a:pt x="737" y="862"/>
                    </a:lnTo>
                    <a:lnTo>
                      <a:pt x="737" y="868"/>
                    </a:lnTo>
                    <a:lnTo>
                      <a:pt x="742" y="879"/>
                    </a:lnTo>
                    <a:lnTo>
                      <a:pt x="742" y="885"/>
                    </a:lnTo>
                    <a:lnTo>
                      <a:pt x="748" y="890"/>
                    </a:lnTo>
                    <a:lnTo>
                      <a:pt x="748" y="896"/>
                    </a:lnTo>
                    <a:lnTo>
                      <a:pt x="754" y="896"/>
                    </a:lnTo>
                    <a:lnTo>
                      <a:pt x="754" y="902"/>
                    </a:lnTo>
                    <a:lnTo>
                      <a:pt x="765" y="913"/>
                    </a:lnTo>
                    <a:lnTo>
                      <a:pt x="771" y="913"/>
                    </a:lnTo>
                    <a:lnTo>
                      <a:pt x="771" y="924"/>
                    </a:lnTo>
                    <a:lnTo>
                      <a:pt x="771" y="930"/>
                    </a:lnTo>
                    <a:lnTo>
                      <a:pt x="776" y="936"/>
                    </a:lnTo>
                    <a:lnTo>
                      <a:pt x="782" y="936"/>
                    </a:lnTo>
                    <a:lnTo>
                      <a:pt x="793" y="936"/>
                    </a:lnTo>
                    <a:lnTo>
                      <a:pt x="793" y="941"/>
                    </a:lnTo>
                    <a:lnTo>
                      <a:pt x="788" y="941"/>
                    </a:lnTo>
                    <a:lnTo>
                      <a:pt x="793" y="947"/>
                    </a:lnTo>
                    <a:lnTo>
                      <a:pt x="788" y="947"/>
                    </a:lnTo>
                    <a:lnTo>
                      <a:pt x="788" y="953"/>
                    </a:lnTo>
                    <a:lnTo>
                      <a:pt x="782" y="953"/>
                    </a:lnTo>
                    <a:lnTo>
                      <a:pt x="782" y="959"/>
                    </a:lnTo>
                    <a:lnTo>
                      <a:pt x="782" y="964"/>
                    </a:lnTo>
                    <a:lnTo>
                      <a:pt x="782" y="970"/>
                    </a:lnTo>
                    <a:lnTo>
                      <a:pt x="788" y="970"/>
                    </a:lnTo>
                    <a:lnTo>
                      <a:pt x="788" y="976"/>
                    </a:lnTo>
                    <a:lnTo>
                      <a:pt x="793" y="976"/>
                    </a:lnTo>
                    <a:lnTo>
                      <a:pt x="793" y="981"/>
                    </a:lnTo>
                    <a:lnTo>
                      <a:pt x="788" y="981"/>
                    </a:lnTo>
                    <a:lnTo>
                      <a:pt x="782" y="981"/>
                    </a:lnTo>
                    <a:lnTo>
                      <a:pt x="776" y="987"/>
                    </a:lnTo>
                    <a:lnTo>
                      <a:pt x="782" y="987"/>
                    </a:lnTo>
                    <a:lnTo>
                      <a:pt x="782" y="993"/>
                    </a:lnTo>
                    <a:lnTo>
                      <a:pt x="788" y="993"/>
                    </a:lnTo>
                    <a:lnTo>
                      <a:pt x="793" y="993"/>
                    </a:lnTo>
                    <a:lnTo>
                      <a:pt x="793" y="998"/>
                    </a:lnTo>
                    <a:lnTo>
                      <a:pt x="788" y="1004"/>
                    </a:lnTo>
                    <a:lnTo>
                      <a:pt x="782" y="1004"/>
                    </a:lnTo>
                    <a:lnTo>
                      <a:pt x="776" y="1004"/>
                    </a:lnTo>
                    <a:lnTo>
                      <a:pt x="771" y="1004"/>
                    </a:lnTo>
                    <a:lnTo>
                      <a:pt x="771" y="1010"/>
                    </a:lnTo>
                    <a:lnTo>
                      <a:pt x="776" y="1010"/>
                    </a:lnTo>
                    <a:lnTo>
                      <a:pt x="782" y="1010"/>
                    </a:lnTo>
                    <a:lnTo>
                      <a:pt x="782" y="1015"/>
                    </a:lnTo>
                    <a:lnTo>
                      <a:pt x="776" y="1015"/>
                    </a:lnTo>
                    <a:lnTo>
                      <a:pt x="771" y="1015"/>
                    </a:lnTo>
                    <a:lnTo>
                      <a:pt x="765" y="1015"/>
                    </a:lnTo>
                    <a:lnTo>
                      <a:pt x="765" y="1021"/>
                    </a:lnTo>
                    <a:lnTo>
                      <a:pt x="771" y="1021"/>
                    </a:lnTo>
                    <a:lnTo>
                      <a:pt x="771" y="1027"/>
                    </a:lnTo>
                    <a:lnTo>
                      <a:pt x="765" y="1027"/>
                    </a:lnTo>
                    <a:lnTo>
                      <a:pt x="765" y="1032"/>
                    </a:lnTo>
                    <a:lnTo>
                      <a:pt x="759" y="1032"/>
                    </a:lnTo>
                    <a:lnTo>
                      <a:pt x="754" y="1032"/>
                    </a:lnTo>
                    <a:lnTo>
                      <a:pt x="754" y="1027"/>
                    </a:lnTo>
                    <a:lnTo>
                      <a:pt x="748" y="1027"/>
                    </a:lnTo>
                    <a:lnTo>
                      <a:pt x="748" y="1032"/>
                    </a:lnTo>
                    <a:lnTo>
                      <a:pt x="742" y="1032"/>
                    </a:lnTo>
                    <a:lnTo>
                      <a:pt x="742" y="1027"/>
                    </a:lnTo>
                    <a:lnTo>
                      <a:pt x="737" y="1027"/>
                    </a:lnTo>
                    <a:lnTo>
                      <a:pt x="737" y="1032"/>
                    </a:lnTo>
                    <a:lnTo>
                      <a:pt x="731" y="1032"/>
                    </a:lnTo>
                    <a:lnTo>
                      <a:pt x="725" y="1032"/>
                    </a:lnTo>
                    <a:lnTo>
                      <a:pt x="720" y="1032"/>
                    </a:lnTo>
                    <a:lnTo>
                      <a:pt x="720" y="1038"/>
                    </a:lnTo>
                    <a:lnTo>
                      <a:pt x="720" y="1044"/>
                    </a:lnTo>
                    <a:lnTo>
                      <a:pt x="714" y="1044"/>
                    </a:lnTo>
                    <a:lnTo>
                      <a:pt x="708" y="1044"/>
                    </a:lnTo>
                    <a:lnTo>
                      <a:pt x="708" y="1038"/>
                    </a:lnTo>
                    <a:lnTo>
                      <a:pt x="703" y="1038"/>
                    </a:lnTo>
                    <a:lnTo>
                      <a:pt x="697" y="1038"/>
                    </a:lnTo>
                    <a:lnTo>
                      <a:pt x="691" y="1038"/>
                    </a:lnTo>
                    <a:lnTo>
                      <a:pt x="686" y="1038"/>
                    </a:lnTo>
                    <a:lnTo>
                      <a:pt x="686" y="1044"/>
                    </a:lnTo>
                    <a:lnTo>
                      <a:pt x="691" y="1049"/>
                    </a:lnTo>
                    <a:lnTo>
                      <a:pt x="691" y="1055"/>
                    </a:lnTo>
                    <a:lnTo>
                      <a:pt x="686" y="1055"/>
                    </a:lnTo>
                    <a:lnTo>
                      <a:pt x="680" y="1055"/>
                    </a:lnTo>
                    <a:lnTo>
                      <a:pt x="674" y="1055"/>
                    </a:lnTo>
                    <a:lnTo>
                      <a:pt x="669" y="1061"/>
                    </a:lnTo>
                    <a:lnTo>
                      <a:pt x="669" y="1066"/>
                    </a:lnTo>
                    <a:lnTo>
                      <a:pt x="669" y="1072"/>
                    </a:lnTo>
                    <a:lnTo>
                      <a:pt x="663" y="1072"/>
                    </a:lnTo>
                    <a:lnTo>
                      <a:pt x="657" y="1072"/>
                    </a:lnTo>
                    <a:lnTo>
                      <a:pt x="652" y="1072"/>
                    </a:lnTo>
                    <a:lnTo>
                      <a:pt x="652" y="1078"/>
                    </a:lnTo>
                    <a:lnTo>
                      <a:pt x="646" y="1078"/>
                    </a:lnTo>
                    <a:lnTo>
                      <a:pt x="640" y="1072"/>
                    </a:lnTo>
                    <a:lnTo>
                      <a:pt x="635" y="1066"/>
                    </a:lnTo>
                    <a:lnTo>
                      <a:pt x="629" y="1066"/>
                    </a:lnTo>
                    <a:lnTo>
                      <a:pt x="623" y="1066"/>
                    </a:lnTo>
                    <a:lnTo>
                      <a:pt x="623" y="1072"/>
                    </a:lnTo>
                    <a:lnTo>
                      <a:pt x="618" y="1072"/>
                    </a:lnTo>
                    <a:lnTo>
                      <a:pt x="612" y="1072"/>
                    </a:lnTo>
                    <a:lnTo>
                      <a:pt x="606" y="1078"/>
                    </a:lnTo>
                    <a:lnTo>
                      <a:pt x="601" y="1078"/>
                    </a:lnTo>
                    <a:lnTo>
                      <a:pt x="601" y="1072"/>
                    </a:lnTo>
                    <a:lnTo>
                      <a:pt x="595" y="1072"/>
                    </a:lnTo>
                    <a:lnTo>
                      <a:pt x="595" y="1078"/>
                    </a:lnTo>
                    <a:lnTo>
                      <a:pt x="589" y="1078"/>
                    </a:lnTo>
                    <a:lnTo>
                      <a:pt x="589" y="1083"/>
                    </a:lnTo>
                    <a:lnTo>
                      <a:pt x="584" y="1078"/>
                    </a:lnTo>
                    <a:lnTo>
                      <a:pt x="589" y="1078"/>
                    </a:lnTo>
                    <a:lnTo>
                      <a:pt x="589" y="1072"/>
                    </a:lnTo>
                    <a:lnTo>
                      <a:pt x="584" y="1072"/>
                    </a:lnTo>
                    <a:lnTo>
                      <a:pt x="578" y="1072"/>
                    </a:lnTo>
                    <a:lnTo>
                      <a:pt x="572" y="1072"/>
                    </a:lnTo>
                    <a:lnTo>
                      <a:pt x="567" y="1072"/>
                    </a:lnTo>
                    <a:lnTo>
                      <a:pt x="561" y="1066"/>
                    </a:lnTo>
                    <a:lnTo>
                      <a:pt x="555" y="1066"/>
                    </a:lnTo>
                    <a:lnTo>
                      <a:pt x="549" y="1066"/>
                    </a:lnTo>
                    <a:lnTo>
                      <a:pt x="549" y="1061"/>
                    </a:lnTo>
                    <a:lnTo>
                      <a:pt x="549" y="1055"/>
                    </a:lnTo>
                    <a:lnTo>
                      <a:pt x="538" y="1049"/>
                    </a:lnTo>
                    <a:lnTo>
                      <a:pt x="532" y="1049"/>
                    </a:lnTo>
                    <a:lnTo>
                      <a:pt x="527" y="1049"/>
                    </a:lnTo>
                    <a:lnTo>
                      <a:pt x="521" y="1049"/>
                    </a:lnTo>
                    <a:lnTo>
                      <a:pt x="515" y="1055"/>
                    </a:lnTo>
                    <a:lnTo>
                      <a:pt x="510" y="1055"/>
                    </a:lnTo>
                    <a:lnTo>
                      <a:pt x="504" y="1055"/>
                    </a:lnTo>
                    <a:lnTo>
                      <a:pt x="498" y="1055"/>
                    </a:lnTo>
                    <a:lnTo>
                      <a:pt x="493" y="1049"/>
                    </a:lnTo>
                    <a:lnTo>
                      <a:pt x="493" y="1044"/>
                    </a:lnTo>
                    <a:lnTo>
                      <a:pt x="487" y="1038"/>
                    </a:lnTo>
                    <a:lnTo>
                      <a:pt x="481" y="1038"/>
                    </a:lnTo>
                    <a:lnTo>
                      <a:pt x="476" y="1038"/>
                    </a:lnTo>
                    <a:lnTo>
                      <a:pt x="476" y="1032"/>
                    </a:lnTo>
                    <a:lnTo>
                      <a:pt x="470" y="1027"/>
                    </a:lnTo>
                    <a:lnTo>
                      <a:pt x="464" y="1027"/>
                    </a:lnTo>
                    <a:lnTo>
                      <a:pt x="459" y="1027"/>
                    </a:lnTo>
                    <a:lnTo>
                      <a:pt x="459" y="1032"/>
                    </a:lnTo>
                    <a:lnTo>
                      <a:pt x="464" y="1032"/>
                    </a:lnTo>
                    <a:lnTo>
                      <a:pt x="464" y="1038"/>
                    </a:lnTo>
                    <a:lnTo>
                      <a:pt x="464" y="1044"/>
                    </a:lnTo>
                    <a:lnTo>
                      <a:pt x="464" y="1038"/>
                    </a:lnTo>
                    <a:lnTo>
                      <a:pt x="459" y="1038"/>
                    </a:lnTo>
                    <a:lnTo>
                      <a:pt x="459" y="1044"/>
                    </a:lnTo>
                    <a:lnTo>
                      <a:pt x="453" y="1038"/>
                    </a:lnTo>
                    <a:lnTo>
                      <a:pt x="447" y="1038"/>
                    </a:lnTo>
                    <a:lnTo>
                      <a:pt x="442" y="1038"/>
                    </a:lnTo>
                    <a:lnTo>
                      <a:pt x="436" y="1038"/>
                    </a:lnTo>
                    <a:lnTo>
                      <a:pt x="436" y="1044"/>
                    </a:lnTo>
                    <a:lnTo>
                      <a:pt x="430" y="1044"/>
                    </a:lnTo>
                    <a:lnTo>
                      <a:pt x="430" y="1038"/>
                    </a:lnTo>
                    <a:lnTo>
                      <a:pt x="425" y="1038"/>
                    </a:lnTo>
                    <a:lnTo>
                      <a:pt x="425" y="1044"/>
                    </a:lnTo>
                    <a:lnTo>
                      <a:pt x="419" y="1044"/>
                    </a:lnTo>
                    <a:lnTo>
                      <a:pt x="413" y="1044"/>
                    </a:lnTo>
                    <a:lnTo>
                      <a:pt x="408" y="1049"/>
                    </a:lnTo>
                    <a:lnTo>
                      <a:pt x="408" y="1055"/>
                    </a:lnTo>
                    <a:lnTo>
                      <a:pt x="402" y="1055"/>
                    </a:lnTo>
                    <a:lnTo>
                      <a:pt x="402" y="1049"/>
                    </a:lnTo>
                    <a:lnTo>
                      <a:pt x="402" y="1044"/>
                    </a:lnTo>
                    <a:lnTo>
                      <a:pt x="396" y="1044"/>
                    </a:lnTo>
                    <a:lnTo>
                      <a:pt x="391" y="1044"/>
                    </a:lnTo>
                    <a:lnTo>
                      <a:pt x="385" y="1044"/>
                    </a:lnTo>
                    <a:lnTo>
                      <a:pt x="385" y="1049"/>
                    </a:lnTo>
                    <a:lnTo>
                      <a:pt x="391" y="1049"/>
                    </a:lnTo>
                    <a:lnTo>
                      <a:pt x="391" y="1055"/>
                    </a:lnTo>
                    <a:lnTo>
                      <a:pt x="391" y="1061"/>
                    </a:lnTo>
                    <a:lnTo>
                      <a:pt x="385" y="1061"/>
                    </a:lnTo>
                    <a:lnTo>
                      <a:pt x="379" y="1066"/>
                    </a:lnTo>
                    <a:lnTo>
                      <a:pt x="374" y="1066"/>
                    </a:lnTo>
                    <a:lnTo>
                      <a:pt x="374" y="1072"/>
                    </a:lnTo>
                    <a:lnTo>
                      <a:pt x="368" y="1072"/>
                    </a:lnTo>
                    <a:lnTo>
                      <a:pt x="362" y="1072"/>
                    </a:lnTo>
                    <a:lnTo>
                      <a:pt x="362" y="1078"/>
                    </a:lnTo>
                    <a:lnTo>
                      <a:pt x="357" y="1078"/>
                    </a:lnTo>
                    <a:lnTo>
                      <a:pt x="351" y="1078"/>
                    </a:lnTo>
                    <a:lnTo>
                      <a:pt x="345" y="1078"/>
                    </a:lnTo>
                    <a:lnTo>
                      <a:pt x="340" y="1078"/>
                    </a:lnTo>
                    <a:lnTo>
                      <a:pt x="334" y="1078"/>
                    </a:lnTo>
                    <a:lnTo>
                      <a:pt x="334" y="1072"/>
                    </a:lnTo>
                    <a:lnTo>
                      <a:pt x="328" y="1072"/>
                    </a:lnTo>
                    <a:lnTo>
                      <a:pt x="323" y="1072"/>
                    </a:lnTo>
                    <a:lnTo>
                      <a:pt x="323" y="1066"/>
                    </a:lnTo>
                    <a:lnTo>
                      <a:pt x="323" y="1061"/>
                    </a:lnTo>
                    <a:lnTo>
                      <a:pt x="317" y="1061"/>
                    </a:lnTo>
                    <a:lnTo>
                      <a:pt x="317" y="1055"/>
                    </a:lnTo>
                    <a:lnTo>
                      <a:pt x="311" y="1055"/>
                    </a:lnTo>
                    <a:lnTo>
                      <a:pt x="311" y="1061"/>
                    </a:lnTo>
                    <a:lnTo>
                      <a:pt x="306" y="1061"/>
                    </a:lnTo>
                    <a:lnTo>
                      <a:pt x="300" y="1061"/>
                    </a:lnTo>
                    <a:lnTo>
                      <a:pt x="294" y="1061"/>
                    </a:lnTo>
                    <a:lnTo>
                      <a:pt x="289" y="1061"/>
                    </a:lnTo>
                    <a:lnTo>
                      <a:pt x="283" y="1061"/>
                    </a:lnTo>
                    <a:lnTo>
                      <a:pt x="277" y="1061"/>
                    </a:lnTo>
                    <a:close/>
                  </a:path>
                </a:pathLst>
              </a:custGeom>
              <a:grpFill/>
              <a:ln w="9525" cap="flat" cmpd="sng">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00"/>
              </a:p>
            </p:txBody>
          </p:sp>
          <p:sp>
            <p:nvSpPr>
              <p:cNvPr id="63" name="Freeform 11"/>
              <p:cNvSpPr>
                <a:spLocks/>
              </p:cNvSpPr>
              <p:nvPr>
                <p:custDataLst>
                  <p:tags r:id="rId7"/>
                </p:custDataLst>
              </p:nvPr>
            </p:nvSpPr>
            <p:spPr bwMode="gray">
              <a:xfrm>
                <a:off x="2998101" y="1731501"/>
                <a:ext cx="878008" cy="836292"/>
              </a:xfrm>
              <a:custGeom>
                <a:avLst/>
                <a:gdLst>
                  <a:gd name="T0" fmla="*/ 7638 w 1009"/>
                  <a:gd name="T1" fmla="*/ 201390 h 958"/>
                  <a:gd name="T2" fmla="*/ 35461 w 1009"/>
                  <a:gd name="T3" fmla="*/ 189094 h 958"/>
                  <a:gd name="T4" fmla="*/ 24822 w 1009"/>
                  <a:gd name="T5" fmla="*/ 175157 h 958"/>
                  <a:gd name="T6" fmla="*/ 13912 w 1009"/>
                  <a:gd name="T7" fmla="*/ 157942 h 958"/>
                  <a:gd name="T8" fmla="*/ 44735 w 1009"/>
                  <a:gd name="T9" fmla="*/ 139361 h 958"/>
                  <a:gd name="T10" fmla="*/ 55646 w 1009"/>
                  <a:gd name="T11" fmla="*/ 119413 h 958"/>
                  <a:gd name="T12" fmla="*/ 29459 w 1009"/>
                  <a:gd name="T13" fmla="*/ 120780 h 958"/>
                  <a:gd name="T14" fmla="*/ 29459 w 1009"/>
                  <a:gd name="T15" fmla="*/ 106843 h 958"/>
                  <a:gd name="T16" fmla="*/ 40098 w 1009"/>
                  <a:gd name="T17" fmla="*/ 89901 h 958"/>
                  <a:gd name="T18" fmla="*/ 10911 w 1009"/>
                  <a:gd name="T19" fmla="*/ 94547 h 958"/>
                  <a:gd name="T20" fmla="*/ 26186 w 1009"/>
                  <a:gd name="T21" fmla="*/ 83616 h 958"/>
                  <a:gd name="T22" fmla="*/ 46372 w 1009"/>
                  <a:gd name="T23" fmla="*/ 72959 h 958"/>
                  <a:gd name="T24" fmla="*/ 69558 w 1009"/>
                  <a:gd name="T25" fmla="*/ 69681 h 958"/>
                  <a:gd name="T26" fmla="*/ 83469 w 1009"/>
                  <a:gd name="T27" fmla="*/ 69681 h 958"/>
                  <a:gd name="T28" fmla="*/ 86470 w 1009"/>
                  <a:gd name="T29" fmla="*/ 77605 h 958"/>
                  <a:gd name="T30" fmla="*/ 102018 w 1009"/>
                  <a:gd name="T31" fmla="*/ 91541 h 958"/>
                  <a:gd name="T32" fmla="*/ 111293 w 1009"/>
                  <a:gd name="T33" fmla="*/ 78971 h 958"/>
                  <a:gd name="T34" fmla="*/ 150027 w 1009"/>
                  <a:gd name="T35" fmla="*/ 54378 h 958"/>
                  <a:gd name="T36" fmla="*/ 159301 w 1009"/>
                  <a:gd name="T37" fmla="*/ 51099 h 958"/>
                  <a:gd name="T38" fmla="*/ 174849 w 1009"/>
                  <a:gd name="T39" fmla="*/ 46454 h 958"/>
                  <a:gd name="T40" fmla="*/ 193398 w 1009"/>
                  <a:gd name="T41" fmla="*/ 41808 h 958"/>
                  <a:gd name="T42" fmla="*/ 194762 w 1009"/>
                  <a:gd name="T43" fmla="*/ 59023 h 958"/>
                  <a:gd name="T44" fmla="*/ 208674 w 1009"/>
                  <a:gd name="T45" fmla="*/ 72959 h 958"/>
                  <a:gd name="T46" fmla="*/ 217948 w 1009"/>
                  <a:gd name="T47" fmla="*/ 78971 h 958"/>
                  <a:gd name="T48" fmla="*/ 231859 w 1009"/>
                  <a:gd name="T49" fmla="*/ 75965 h 958"/>
                  <a:gd name="T50" fmla="*/ 225858 w 1009"/>
                  <a:gd name="T51" fmla="*/ 65035 h 958"/>
                  <a:gd name="T52" fmla="*/ 244407 w 1009"/>
                  <a:gd name="T53" fmla="*/ 51099 h 958"/>
                  <a:gd name="T54" fmla="*/ 230495 w 1009"/>
                  <a:gd name="T55" fmla="*/ 34157 h 958"/>
                  <a:gd name="T56" fmla="*/ 224222 w 1009"/>
                  <a:gd name="T57" fmla="*/ 9291 h 958"/>
                  <a:gd name="T58" fmla="*/ 235132 w 1009"/>
                  <a:gd name="T59" fmla="*/ 4645 h 958"/>
                  <a:gd name="T60" fmla="*/ 245771 w 1009"/>
                  <a:gd name="T61" fmla="*/ 7924 h 958"/>
                  <a:gd name="T62" fmla="*/ 255045 w 1009"/>
                  <a:gd name="T63" fmla="*/ 6285 h 958"/>
                  <a:gd name="T64" fmla="*/ 265956 w 1009"/>
                  <a:gd name="T65" fmla="*/ 0 h 958"/>
                  <a:gd name="T66" fmla="*/ 273594 w 1009"/>
                  <a:gd name="T67" fmla="*/ 45087 h 958"/>
                  <a:gd name="T68" fmla="*/ 273594 w 1009"/>
                  <a:gd name="T69" fmla="*/ 100832 h 958"/>
                  <a:gd name="T70" fmla="*/ 272230 w 1009"/>
                  <a:gd name="T71" fmla="*/ 119413 h 958"/>
                  <a:gd name="T72" fmla="*/ 267593 w 1009"/>
                  <a:gd name="T73" fmla="*/ 144006 h 958"/>
                  <a:gd name="T74" fmla="*/ 256682 w 1009"/>
                  <a:gd name="T75" fmla="*/ 148651 h 958"/>
                  <a:gd name="T76" fmla="*/ 239770 w 1009"/>
                  <a:gd name="T77" fmla="*/ 136355 h 958"/>
                  <a:gd name="T78" fmla="*/ 225858 w 1009"/>
                  <a:gd name="T79" fmla="*/ 130070 h 958"/>
                  <a:gd name="T80" fmla="*/ 208674 w 1009"/>
                  <a:gd name="T81" fmla="*/ 144006 h 958"/>
                  <a:gd name="T82" fmla="*/ 202672 w 1009"/>
                  <a:gd name="T83" fmla="*/ 156576 h 958"/>
                  <a:gd name="T84" fmla="*/ 191761 w 1009"/>
                  <a:gd name="T85" fmla="*/ 173518 h 958"/>
                  <a:gd name="T86" fmla="*/ 182487 w 1009"/>
                  <a:gd name="T87" fmla="*/ 189094 h 958"/>
                  <a:gd name="T88" fmla="*/ 180850 w 1009"/>
                  <a:gd name="T89" fmla="*/ 207675 h 958"/>
                  <a:gd name="T90" fmla="*/ 190125 w 1009"/>
                  <a:gd name="T91" fmla="*/ 213960 h 958"/>
                  <a:gd name="T92" fmla="*/ 193398 w 1009"/>
                  <a:gd name="T93" fmla="*/ 224617 h 958"/>
                  <a:gd name="T94" fmla="*/ 198035 w 1009"/>
                  <a:gd name="T95" fmla="*/ 247843 h 958"/>
                  <a:gd name="T96" fmla="*/ 177850 w 1009"/>
                  <a:gd name="T97" fmla="*/ 246477 h 958"/>
                  <a:gd name="T98" fmla="*/ 157664 w 1009"/>
                  <a:gd name="T99" fmla="*/ 246477 h 958"/>
                  <a:gd name="T100" fmla="*/ 137752 w 1009"/>
                  <a:gd name="T101" fmla="*/ 249483 h 958"/>
                  <a:gd name="T102" fmla="*/ 120567 w 1009"/>
                  <a:gd name="T103" fmla="*/ 251123 h 958"/>
                  <a:gd name="T104" fmla="*/ 106656 w 1009"/>
                  <a:gd name="T105" fmla="*/ 257134 h 958"/>
                  <a:gd name="T106" fmla="*/ 89743 w 1009"/>
                  <a:gd name="T107" fmla="*/ 255768 h 958"/>
                  <a:gd name="T108" fmla="*/ 80469 w 1009"/>
                  <a:gd name="T109" fmla="*/ 241832 h 958"/>
                  <a:gd name="T110" fmla="*/ 69558 w 1009"/>
                  <a:gd name="T111" fmla="*/ 237187 h 958"/>
                  <a:gd name="T112" fmla="*/ 55646 w 1009"/>
                  <a:gd name="T113" fmla="*/ 227896 h 958"/>
                  <a:gd name="T114" fmla="*/ 46372 w 1009"/>
                  <a:gd name="T115" fmla="*/ 224617 h 958"/>
                  <a:gd name="T116" fmla="*/ 34097 w 1009"/>
                  <a:gd name="T117" fmla="*/ 223250 h 958"/>
                  <a:gd name="T118" fmla="*/ 26186 w 1009"/>
                  <a:gd name="T119" fmla="*/ 223250 h 958"/>
                  <a:gd name="T120" fmla="*/ 18549 w 1009"/>
                  <a:gd name="T121" fmla="*/ 229262 h 958"/>
                  <a:gd name="T122" fmla="*/ 10911 w 1009"/>
                  <a:gd name="T123" fmla="*/ 224617 h 958"/>
                  <a:gd name="T124" fmla="*/ 0 w 1009"/>
                  <a:gd name="T125" fmla="*/ 216965 h 95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9" h="958">
                    <a:moveTo>
                      <a:pt x="0" y="794"/>
                    </a:moveTo>
                    <a:lnTo>
                      <a:pt x="11" y="783"/>
                    </a:lnTo>
                    <a:lnTo>
                      <a:pt x="6" y="783"/>
                    </a:lnTo>
                    <a:lnTo>
                      <a:pt x="6" y="771"/>
                    </a:lnTo>
                    <a:lnTo>
                      <a:pt x="11" y="771"/>
                    </a:lnTo>
                    <a:lnTo>
                      <a:pt x="11" y="766"/>
                    </a:lnTo>
                    <a:lnTo>
                      <a:pt x="28" y="760"/>
                    </a:lnTo>
                    <a:lnTo>
                      <a:pt x="28" y="754"/>
                    </a:lnTo>
                    <a:lnTo>
                      <a:pt x="23" y="754"/>
                    </a:lnTo>
                    <a:lnTo>
                      <a:pt x="28" y="737"/>
                    </a:lnTo>
                    <a:lnTo>
                      <a:pt x="40" y="731"/>
                    </a:lnTo>
                    <a:lnTo>
                      <a:pt x="51" y="726"/>
                    </a:lnTo>
                    <a:lnTo>
                      <a:pt x="51" y="720"/>
                    </a:lnTo>
                    <a:lnTo>
                      <a:pt x="62" y="714"/>
                    </a:lnTo>
                    <a:lnTo>
                      <a:pt x="62" y="709"/>
                    </a:lnTo>
                    <a:lnTo>
                      <a:pt x="74" y="703"/>
                    </a:lnTo>
                    <a:lnTo>
                      <a:pt x="85" y="703"/>
                    </a:lnTo>
                    <a:lnTo>
                      <a:pt x="91" y="703"/>
                    </a:lnTo>
                    <a:lnTo>
                      <a:pt x="96" y="697"/>
                    </a:lnTo>
                    <a:lnTo>
                      <a:pt x="130" y="692"/>
                    </a:lnTo>
                    <a:lnTo>
                      <a:pt x="130" y="675"/>
                    </a:lnTo>
                    <a:lnTo>
                      <a:pt x="159" y="663"/>
                    </a:lnTo>
                    <a:lnTo>
                      <a:pt x="147" y="641"/>
                    </a:lnTo>
                    <a:lnTo>
                      <a:pt x="142" y="641"/>
                    </a:lnTo>
                    <a:lnTo>
                      <a:pt x="136" y="641"/>
                    </a:lnTo>
                    <a:lnTo>
                      <a:pt x="130" y="641"/>
                    </a:lnTo>
                    <a:lnTo>
                      <a:pt x="113" y="652"/>
                    </a:lnTo>
                    <a:lnTo>
                      <a:pt x="102" y="646"/>
                    </a:lnTo>
                    <a:lnTo>
                      <a:pt x="102" y="641"/>
                    </a:lnTo>
                    <a:lnTo>
                      <a:pt x="91" y="641"/>
                    </a:lnTo>
                    <a:lnTo>
                      <a:pt x="91" y="635"/>
                    </a:lnTo>
                    <a:lnTo>
                      <a:pt x="85" y="624"/>
                    </a:lnTo>
                    <a:lnTo>
                      <a:pt x="79" y="624"/>
                    </a:lnTo>
                    <a:lnTo>
                      <a:pt x="74" y="618"/>
                    </a:lnTo>
                    <a:lnTo>
                      <a:pt x="68" y="612"/>
                    </a:lnTo>
                    <a:lnTo>
                      <a:pt x="68" y="601"/>
                    </a:lnTo>
                    <a:lnTo>
                      <a:pt x="68" y="595"/>
                    </a:lnTo>
                    <a:lnTo>
                      <a:pt x="62" y="595"/>
                    </a:lnTo>
                    <a:lnTo>
                      <a:pt x="62" y="590"/>
                    </a:lnTo>
                    <a:lnTo>
                      <a:pt x="51" y="578"/>
                    </a:lnTo>
                    <a:lnTo>
                      <a:pt x="62" y="573"/>
                    </a:lnTo>
                    <a:lnTo>
                      <a:pt x="68" y="573"/>
                    </a:lnTo>
                    <a:lnTo>
                      <a:pt x="74" y="573"/>
                    </a:lnTo>
                    <a:lnTo>
                      <a:pt x="79" y="573"/>
                    </a:lnTo>
                    <a:lnTo>
                      <a:pt x="85" y="561"/>
                    </a:lnTo>
                    <a:lnTo>
                      <a:pt x="96" y="550"/>
                    </a:lnTo>
                    <a:lnTo>
                      <a:pt x="130" y="550"/>
                    </a:lnTo>
                    <a:lnTo>
                      <a:pt x="136" y="561"/>
                    </a:lnTo>
                    <a:lnTo>
                      <a:pt x="159" y="556"/>
                    </a:lnTo>
                    <a:lnTo>
                      <a:pt x="164" y="510"/>
                    </a:lnTo>
                    <a:lnTo>
                      <a:pt x="181" y="516"/>
                    </a:lnTo>
                    <a:lnTo>
                      <a:pt x="187" y="505"/>
                    </a:lnTo>
                    <a:lnTo>
                      <a:pt x="181" y="499"/>
                    </a:lnTo>
                    <a:lnTo>
                      <a:pt x="198" y="476"/>
                    </a:lnTo>
                    <a:lnTo>
                      <a:pt x="187" y="471"/>
                    </a:lnTo>
                    <a:lnTo>
                      <a:pt x="193" y="459"/>
                    </a:lnTo>
                    <a:lnTo>
                      <a:pt x="215" y="454"/>
                    </a:lnTo>
                    <a:lnTo>
                      <a:pt x="215" y="442"/>
                    </a:lnTo>
                    <a:lnTo>
                      <a:pt x="210" y="431"/>
                    </a:lnTo>
                    <a:lnTo>
                      <a:pt x="204" y="437"/>
                    </a:lnTo>
                    <a:lnTo>
                      <a:pt x="187" y="437"/>
                    </a:lnTo>
                    <a:lnTo>
                      <a:pt x="181" y="442"/>
                    </a:lnTo>
                    <a:lnTo>
                      <a:pt x="170" y="459"/>
                    </a:lnTo>
                    <a:lnTo>
                      <a:pt x="164" y="459"/>
                    </a:lnTo>
                    <a:lnTo>
                      <a:pt x="164" y="465"/>
                    </a:lnTo>
                    <a:lnTo>
                      <a:pt x="159" y="471"/>
                    </a:lnTo>
                    <a:lnTo>
                      <a:pt x="153" y="471"/>
                    </a:lnTo>
                    <a:lnTo>
                      <a:pt x="113" y="465"/>
                    </a:lnTo>
                    <a:lnTo>
                      <a:pt x="113" y="454"/>
                    </a:lnTo>
                    <a:lnTo>
                      <a:pt x="108" y="442"/>
                    </a:lnTo>
                    <a:lnTo>
                      <a:pt x="108" y="437"/>
                    </a:lnTo>
                    <a:lnTo>
                      <a:pt x="102" y="431"/>
                    </a:lnTo>
                    <a:lnTo>
                      <a:pt x="102" y="425"/>
                    </a:lnTo>
                    <a:lnTo>
                      <a:pt x="102" y="420"/>
                    </a:lnTo>
                    <a:lnTo>
                      <a:pt x="108" y="414"/>
                    </a:lnTo>
                    <a:lnTo>
                      <a:pt x="108" y="408"/>
                    </a:lnTo>
                    <a:lnTo>
                      <a:pt x="102" y="403"/>
                    </a:lnTo>
                    <a:lnTo>
                      <a:pt x="108" y="403"/>
                    </a:lnTo>
                    <a:lnTo>
                      <a:pt x="108" y="397"/>
                    </a:lnTo>
                    <a:lnTo>
                      <a:pt x="108" y="391"/>
                    </a:lnTo>
                    <a:lnTo>
                      <a:pt x="108" y="380"/>
                    </a:lnTo>
                    <a:lnTo>
                      <a:pt x="113" y="380"/>
                    </a:lnTo>
                    <a:lnTo>
                      <a:pt x="113" y="369"/>
                    </a:lnTo>
                    <a:lnTo>
                      <a:pt x="113" y="363"/>
                    </a:lnTo>
                    <a:lnTo>
                      <a:pt x="113" y="357"/>
                    </a:lnTo>
                    <a:lnTo>
                      <a:pt x="113" y="352"/>
                    </a:lnTo>
                    <a:lnTo>
                      <a:pt x="130" y="352"/>
                    </a:lnTo>
                    <a:lnTo>
                      <a:pt x="142" y="346"/>
                    </a:lnTo>
                    <a:lnTo>
                      <a:pt x="147" y="340"/>
                    </a:lnTo>
                    <a:lnTo>
                      <a:pt x="147" y="329"/>
                    </a:lnTo>
                    <a:lnTo>
                      <a:pt x="142" y="323"/>
                    </a:lnTo>
                    <a:lnTo>
                      <a:pt x="136" y="323"/>
                    </a:lnTo>
                    <a:lnTo>
                      <a:pt x="119" y="323"/>
                    </a:lnTo>
                    <a:lnTo>
                      <a:pt x="113" y="323"/>
                    </a:lnTo>
                    <a:lnTo>
                      <a:pt x="108" y="323"/>
                    </a:lnTo>
                    <a:lnTo>
                      <a:pt x="102" y="323"/>
                    </a:lnTo>
                    <a:lnTo>
                      <a:pt x="74" y="335"/>
                    </a:lnTo>
                    <a:lnTo>
                      <a:pt x="68" y="340"/>
                    </a:lnTo>
                    <a:lnTo>
                      <a:pt x="57" y="340"/>
                    </a:lnTo>
                    <a:lnTo>
                      <a:pt x="40" y="346"/>
                    </a:lnTo>
                    <a:lnTo>
                      <a:pt x="40" y="335"/>
                    </a:lnTo>
                    <a:lnTo>
                      <a:pt x="34" y="329"/>
                    </a:lnTo>
                    <a:lnTo>
                      <a:pt x="40" y="329"/>
                    </a:lnTo>
                    <a:lnTo>
                      <a:pt x="45" y="323"/>
                    </a:lnTo>
                    <a:lnTo>
                      <a:pt x="57" y="323"/>
                    </a:lnTo>
                    <a:lnTo>
                      <a:pt x="62" y="318"/>
                    </a:lnTo>
                    <a:lnTo>
                      <a:pt x="62" y="312"/>
                    </a:lnTo>
                    <a:lnTo>
                      <a:pt x="68" y="312"/>
                    </a:lnTo>
                    <a:lnTo>
                      <a:pt x="79" y="306"/>
                    </a:lnTo>
                    <a:lnTo>
                      <a:pt x="96" y="306"/>
                    </a:lnTo>
                    <a:lnTo>
                      <a:pt x="102" y="301"/>
                    </a:lnTo>
                    <a:lnTo>
                      <a:pt x="102" y="289"/>
                    </a:lnTo>
                    <a:lnTo>
                      <a:pt x="102" y="284"/>
                    </a:lnTo>
                    <a:lnTo>
                      <a:pt x="113" y="278"/>
                    </a:lnTo>
                    <a:lnTo>
                      <a:pt x="119" y="278"/>
                    </a:lnTo>
                    <a:lnTo>
                      <a:pt x="125" y="272"/>
                    </a:lnTo>
                    <a:lnTo>
                      <a:pt x="130" y="272"/>
                    </a:lnTo>
                    <a:lnTo>
                      <a:pt x="142" y="267"/>
                    </a:lnTo>
                    <a:lnTo>
                      <a:pt x="159" y="261"/>
                    </a:lnTo>
                    <a:lnTo>
                      <a:pt x="170" y="267"/>
                    </a:lnTo>
                    <a:lnTo>
                      <a:pt x="181" y="267"/>
                    </a:lnTo>
                    <a:lnTo>
                      <a:pt x="187" y="261"/>
                    </a:lnTo>
                    <a:lnTo>
                      <a:pt x="193" y="267"/>
                    </a:lnTo>
                    <a:lnTo>
                      <a:pt x="193" y="244"/>
                    </a:lnTo>
                    <a:lnTo>
                      <a:pt x="215" y="250"/>
                    </a:lnTo>
                    <a:lnTo>
                      <a:pt x="215" y="255"/>
                    </a:lnTo>
                    <a:lnTo>
                      <a:pt x="221" y="255"/>
                    </a:lnTo>
                    <a:lnTo>
                      <a:pt x="227" y="278"/>
                    </a:lnTo>
                    <a:lnTo>
                      <a:pt x="255" y="267"/>
                    </a:lnTo>
                    <a:lnTo>
                      <a:pt x="255" y="255"/>
                    </a:lnTo>
                    <a:lnTo>
                      <a:pt x="261" y="255"/>
                    </a:lnTo>
                    <a:lnTo>
                      <a:pt x="261" y="250"/>
                    </a:lnTo>
                    <a:lnTo>
                      <a:pt x="261" y="244"/>
                    </a:lnTo>
                    <a:lnTo>
                      <a:pt x="261" y="238"/>
                    </a:lnTo>
                    <a:lnTo>
                      <a:pt x="278" y="233"/>
                    </a:lnTo>
                    <a:lnTo>
                      <a:pt x="289" y="238"/>
                    </a:lnTo>
                    <a:lnTo>
                      <a:pt x="306" y="238"/>
                    </a:lnTo>
                    <a:lnTo>
                      <a:pt x="300" y="244"/>
                    </a:lnTo>
                    <a:lnTo>
                      <a:pt x="306" y="250"/>
                    </a:lnTo>
                    <a:lnTo>
                      <a:pt x="306" y="255"/>
                    </a:lnTo>
                    <a:lnTo>
                      <a:pt x="312" y="261"/>
                    </a:lnTo>
                    <a:lnTo>
                      <a:pt x="312" y="267"/>
                    </a:lnTo>
                    <a:lnTo>
                      <a:pt x="312" y="272"/>
                    </a:lnTo>
                    <a:lnTo>
                      <a:pt x="306" y="278"/>
                    </a:lnTo>
                    <a:lnTo>
                      <a:pt x="300" y="278"/>
                    </a:lnTo>
                    <a:lnTo>
                      <a:pt x="300" y="284"/>
                    </a:lnTo>
                    <a:lnTo>
                      <a:pt x="306" y="284"/>
                    </a:lnTo>
                    <a:lnTo>
                      <a:pt x="312" y="278"/>
                    </a:lnTo>
                    <a:lnTo>
                      <a:pt x="317" y="278"/>
                    </a:lnTo>
                    <a:lnTo>
                      <a:pt x="317" y="284"/>
                    </a:lnTo>
                    <a:lnTo>
                      <a:pt x="323" y="289"/>
                    </a:lnTo>
                    <a:lnTo>
                      <a:pt x="329" y="295"/>
                    </a:lnTo>
                    <a:lnTo>
                      <a:pt x="329" y="301"/>
                    </a:lnTo>
                    <a:lnTo>
                      <a:pt x="334" y="306"/>
                    </a:lnTo>
                    <a:lnTo>
                      <a:pt x="340" y="312"/>
                    </a:lnTo>
                    <a:lnTo>
                      <a:pt x="340" y="306"/>
                    </a:lnTo>
                    <a:lnTo>
                      <a:pt x="346" y="312"/>
                    </a:lnTo>
                    <a:lnTo>
                      <a:pt x="357" y="323"/>
                    </a:lnTo>
                    <a:lnTo>
                      <a:pt x="357" y="329"/>
                    </a:lnTo>
                    <a:lnTo>
                      <a:pt x="374" y="335"/>
                    </a:lnTo>
                    <a:lnTo>
                      <a:pt x="397" y="335"/>
                    </a:lnTo>
                    <a:lnTo>
                      <a:pt x="403" y="340"/>
                    </a:lnTo>
                    <a:lnTo>
                      <a:pt x="414" y="329"/>
                    </a:lnTo>
                    <a:lnTo>
                      <a:pt x="414" y="323"/>
                    </a:lnTo>
                    <a:lnTo>
                      <a:pt x="425" y="318"/>
                    </a:lnTo>
                    <a:lnTo>
                      <a:pt x="425" y="312"/>
                    </a:lnTo>
                    <a:lnTo>
                      <a:pt x="420" y="301"/>
                    </a:lnTo>
                    <a:lnTo>
                      <a:pt x="414" y="301"/>
                    </a:lnTo>
                    <a:lnTo>
                      <a:pt x="408" y="301"/>
                    </a:lnTo>
                    <a:lnTo>
                      <a:pt x="408" y="289"/>
                    </a:lnTo>
                    <a:lnTo>
                      <a:pt x="425" y="289"/>
                    </a:lnTo>
                    <a:lnTo>
                      <a:pt x="425" y="284"/>
                    </a:lnTo>
                    <a:lnTo>
                      <a:pt x="442" y="272"/>
                    </a:lnTo>
                    <a:lnTo>
                      <a:pt x="459" y="261"/>
                    </a:lnTo>
                    <a:lnTo>
                      <a:pt x="493" y="233"/>
                    </a:lnTo>
                    <a:lnTo>
                      <a:pt x="510" y="227"/>
                    </a:lnTo>
                    <a:lnTo>
                      <a:pt x="510" y="221"/>
                    </a:lnTo>
                    <a:lnTo>
                      <a:pt x="516" y="210"/>
                    </a:lnTo>
                    <a:lnTo>
                      <a:pt x="516" y="204"/>
                    </a:lnTo>
                    <a:lnTo>
                      <a:pt x="550" y="199"/>
                    </a:lnTo>
                    <a:lnTo>
                      <a:pt x="556" y="199"/>
                    </a:lnTo>
                    <a:lnTo>
                      <a:pt x="561" y="199"/>
                    </a:lnTo>
                    <a:lnTo>
                      <a:pt x="561" y="193"/>
                    </a:lnTo>
                    <a:lnTo>
                      <a:pt x="561" y="187"/>
                    </a:lnTo>
                    <a:lnTo>
                      <a:pt x="567" y="187"/>
                    </a:lnTo>
                    <a:lnTo>
                      <a:pt x="573" y="187"/>
                    </a:lnTo>
                    <a:lnTo>
                      <a:pt x="578" y="187"/>
                    </a:lnTo>
                    <a:lnTo>
                      <a:pt x="578" y="182"/>
                    </a:lnTo>
                    <a:lnTo>
                      <a:pt x="584" y="182"/>
                    </a:lnTo>
                    <a:lnTo>
                      <a:pt x="584" y="187"/>
                    </a:lnTo>
                    <a:lnTo>
                      <a:pt x="590" y="187"/>
                    </a:lnTo>
                    <a:lnTo>
                      <a:pt x="595" y="187"/>
                    </a:lnTo>
                    <a:lnTo>
                      <a:pt x="601" y="187"/>
                    </a:lnTo>
                    <a:lnTo>
                      <a:pt x="607" y="187"/>
                    </a:lnTo>
                    <a:lnTo>
                      <a:pt x="607" y="193"/>
                    </a:lnTo>
                    <a:lnTo>
                      <a:pt x="607" y="199"/>
                    </a:lnTo>
                    <a:lnTo>
                      <a:pt x="624" y="187"/>
                    </a:lnTo>
                    <a:lnTo>
                      <a:pt x="635" y="176"/>
                    </a:lnTo>
                    <a:lnTo>
                      <a:pt x="635" y="170"/>
                    </a:lnTo>
                    <a:lnTo>
                      <a:pt x="641" y="170"/>
                    </a:lnTo>
                    <a:lnTo>
                      <a:pt x="641" y="165"/>
                    </a:lnTo>
                    <a:lnTo>
                      <a:pt x="641" y="153"/>
                    </a:lnTo>
                    <a:lnTo>
                      <a:pt x="646" y="153"/>
                    </a:lnTo>
                    <a:lnTo>
                      <a:pt x="652" y="159"/>
                    </a:lnTo>
                    <a:lnTo>
                      <a:pt x="669" y="153"/>
                    </a:lnTo>
                    <a:lnTo>
                      <a:pt x="669" y="142"/>
                    </a:lnTo>
                    <a:lnTo>
                      <a:pt x="675" y="136"/>
                    </a:lnTo>
                    <a:lnTo>
                      <a:pt x="680" y="125"/>
                    </a:lnTo>
                    <a:lnTo>
                      <a:pt x="697" y="142"/>
                    </a:lnTo>
                    <a:lnTo>
                      <a:pt x="709" y="153"/>
                    </a:lnTo>
                    <a:lnTo>
                      <a:pt x="714" y="159"/>
                    </a:lnTo>
                    <a:lnTo>
                      <a:pt x="714" y="165"/>
                    </a:lnTo>
                    <a:lnTo>
                      <a:pt x="709" y="165"/>
                    </a:lnTo>
                    <a:lnTo>
                      <a:pt x="703" y="170"/>
                    </a:lnTo>
                    <a:lnTo>
                      <a:pt x="709" y="176"/>
                    </a:lnTo>
                    <a:lnTo>
                      <a:pt x="709" y="182"/>
                    </a:lnTo>
                    <a:lnTo>
                      <a:pt x="726" y="187"/>
                    </a:lnTo>
                    <a:lnTo>
                      <a:pt x="726" y="193"/>
                    </a:lnTo>
                    <a:lnTo>
                      <a:pt x="726" y="204"/>
                    </a:lnTo>
                    <a:lnTo>
                      <a:pt x="714" y="216"/>
                    </a:lnTo>
                    <a:lnTo>
                      <a:pt x="720" y="227"/>
                    </a:lnTo>
                    <a:lnTo>
                      <a:pt x="720" y="233"/>
                    </a:lnTo>
                    <a:lnTo>
                      <a:pt x="726" y="238"/>
                    </a:lnTo>
                    <a:lnTo>
                      <a:pt x="726" y="244"/>
                    </a:lnTo>
                    <a:lnTo>
                      <a:pt x="726" y="250"/>
                    </a:lnTo>
                    <a:lnTo>
                      <a:pt x="731" y="250"/>
                    </a:lnTo>
                    <a:lnTo>
                      <a:pt x="737" y="250"/>
                    </a:lnTo>
                    <a:lnTo>
                      <a:pt x="760" y="250"/>
                    </a:lnTo>
                    <a:lnTo>
                      <a:pt x="765" y="261"/>
                    </a:lnTo>
                    <a:lnTo>
                      <a:pt x="765" y="267"/>
                    </a:lnTo>
                    <a:lnTo>
                      <a:pt x="765" y="272"/>
                    </a:lnTo>
                    <a:lnTo>
                      <a:pt x="765" y="278"/>
                    </a:lnTo>
                    <a:lnTo>
                      <a:pt x="765" y="284"/>
                    </a:lnTo>
                    <a:lnTo>
                      <a:pt x="765" y="289"/>
                    </a:lnTo>
                    <a:lnTo>
                      <a:pt x="771" y="289"/>
                    </a:lnTo>
                    <a:lnTo>
                      <a:pt x="777" y="289"/>
                    </a:lnTo>
                    <a:lnTo>
                      <a:pt x="782" y="289"/>
                    </a:lnTo>
                    <a:lnTo>
                      <a:pt x="788" y="289"/>
                    </a:lnTo>
                    <a:lnTo>
                      <a:pt x="794" y="289"/>
                    </a:lnTo>
                    <a:lnTo>
                      <a:pt x="799" y="289"/>
                    </a:lnTo>
                    <a:lnTo>
                      <a:pt x="805" y="284"/>
                    </a:lnTo>
                    <a:lnTo>
                      <a:pt x="805" y="278"/>
                    </a:lnTo>
                    <a:lnTo>
                      <a:pt x="811" y="278"/>
                    </a:lnTo>
                    <a:lnTo>
                      <a:pt x="816" y="278"/>
                    </a:lnTo>
                    <a:lnTo>
                      <a:pt x="822" y="278"/>
                    </a:lnTo>
                    <a:lnTo>
                      <a:pt x="828" y="278"/>
                    </a:lnTo>
                    <a:lnTo>
                      <a:pt x="833" y="278"/>
                    </a:lnTo>
                    <a:lnTo>
                      <a:pt x="839" y="278"/>
                    </a:lnTo>
                    <a:lnTo>
                      <a:pt x="845" y="278"/>
                    </a:lnTo>
                    <a:lnTo>
                      <a:pt x="850" y="278"/>
                    </a:lnTo>
                    <a:lnTo>
                      <a:pt x="850" y="267"/>
                    </a:lnTo>
                    <a:lnTo>
                      <a:pt x="862" y="267"/>
                    </a:lnTo>
                    <a:lnTo>
                      <a:pt x="862" y="261"/>
                    </a:lnTo>
                    <a:lnTo>
                      <a:pt x="862" y="250"/>
                    </a:lnTo>
                    <a:lnTo>
                      <a:pt x="850" y="250"/>
                    </a:lnTo>
                    <a:lnTo>
                      <a:pt x="845" y="244"/>
                    </a:lnTo>
                    <a:lnTo>
                      <a:pt x="839" y="244"/>
                    </a:lnTo>
                    <a:lnTo>
                      <a:pt x="833" y="244"/>
                    </a:lnTo>
                    <a:lnTo>
                      <a:pt x="828" y="244"/>
                    </a:lnTo>
                    <a:lnTo>
                      <a:pt x="828" y="238"/>
                    </a:lnTo>
                    <a:lnTo>
                      <a:pt x="828" y="210"/>
                    </a:lnTo>
                    <a:lnTo>
                      <a:pt x="845" y="210"/>
                    </a:lnTo>
                    <a:lnTo>
                      <a:pt x="856" y="210"/>
                    </a:lnTo>
                    <a:lnTo>
                      <a:pt x="879" y="210"/>
                    </a:lnTo>
                    <a:lnTo>
                      <a:pt x="879" y="199"/>
                    </a:lnTo>
                    <a:lnTo>
                      <a:pt x="879" y="193"/>
                    </a:lnTo>
                    <a:lnTo>
                      <a:pt x="884" y="193"/>
                    </a:lnTo>
                    <a:lnTo>
                      <a:pt x="890" y="193"/>
                    </a:lnTo>
                    <a:lnTo>
                      <a:pt x="896" y="193"/>
                    </a:lnTo>
                    <a:lnTo>
                      <a:pt x="896" y="187"/>
                    </a:lnTo>
                    <a:lnTo>
                      <a:pt x="901" y="187"/>
                    </a:lnTo>
                    <a:lnTo>
                      <a:pt x="901" y="182"/>
                    </a:lnTo>
                    <a:lnTo>
                      <a:pt x="890" y="176"/>
                    </a:lnTo>
                    <a:lnTo>
                      <a:pt x="867" y="165"/>
                    </a:lnTo>
                    <a:lnTo>
                      <a:pt x="862" y="159"/>
                    </a:lnTo>
                    <a:lnTo>
                      <a:pt x="862" y="153"/>
                    </a:lnTo>
                    <a:lnTo>
                      <a:pt x="862" y="148"/>
                    </a:lnTo>
                    <a:lnTo>
                      <a:pt x="867" y="142"/>
                    </a:lnTo>
                    <a:lnTo>
                      <a:pt x="839" y="142"/>
                    </a:lnTo>
                    <a:lnTo>
                      <a:pt x="845" y="125"/>
                    </a:lnTo>
                    <a:lnTo>
                      <a:pt x="845" y="119"/>
                    </a:lnTo>
                    <a:lnTo>
                      <a:pt x="850" y="108"/>
                    </a:lnTo>
                    <a:lnTo>
                      <a:pt x="862" y="91"/>
                    </a:lnTo>
                    <a:lnTo>
                      <a:pt x="862" y="80"/>
                    </a:lnTo>
                    <a:lnTo>
                      <a:pt x="862" y="63"/>
                    </a:lnTo>
                    <a:lnTo>
                      <a:pt x="873" y="57"/>
                    </a:lnTo>
                    <a:lnTo>
                      <a:pt x="873" y="46"/>
                    </a:lnTo>
                    <a:lnTo>
                      <a:pt x="816" y="40"/>
                    </a:lnTo>
                    <a:lnTo>
                      <a:pt x="822" y="40"/>
                    </a:lnTo>
                    <a:lnTo>
                      <a:pt x="822" y="34"/>
                    </a:lnTo>
                    <a:lnTo>
                      <a:pt x="828" y="34"/>
                    </a:lnTo>
                    <a:lnTo>
                      <a:pt x="833" y="34"/>
                    </a:lnTo>
                    <a:lnTo>
                      <a:pt x="839" y="34"/>
                    </a:lnTo>
                    <a:lnTo>
                      <a:pt x="839" y="29"/>
                    </a:lnTo>
                    <a:lnTo>
                      <a:pt x="845" y="29"/>
                    </a:lnTo>
                    <a:lnTo>
                      <a:pt x="850" y="29"/>
                    </a:lnTo>
                    <a:lnTo>
                      <a:pt x="856" y="29"/>
                    </a:lnTo>
                    <a:lnTo>
                      <a:pt x="856" y="23"/>
                    </a:lnTo>
                    <a:lnTo>
                      <a:pt x="862" y="23"/>
                    </a:lnTo>
                    <a:lnTo>
                      <a:pt x="862" y="17"/>
                    </a:lnTo>
                    <a:lnTo>
                      <a:pt x="867" y="17"/>
                    </a:lnTo>
                    <a:lnTo>
                      <a:pt x="873" y="17"/>
                    </a:lnTo>
                    <a:lnTo>
                      <a:pt x="873" y="23"/>
                    </a:lnTo>
                    <a:lnTo>
                      <a:pt x="879" y="23"/>
                    </a:lnTo>
                    <a:lnTo>
                      <a:pt x="884" y="23"/>
                    </a:lnTo>
                    <a:lnTo>
                      <a:pt x="884" y="29"/>
                    </a:lnTo>
                    <a:lnTo>
                      <a:pt x="890" y="29"/>
                    </a:lnTo>
                    <a:lnTo>
                      <a:pt x="890" y="23"/>
                    </a:lnTo>
                    <a:lnTo>
                      <a:pt x="896" y="23"/>
                    </a:lnTo>
                    <a:lnTo>
                      <a:pt x="901" y="29"/>
                    </a:lnTo>
                    <a:lnTo>
                      <a:pt x="907" y="29"/>
                    </a:lnTo>
                    <a:lnTo>
                      <a:pt x="907" y="23"/>
                    </a:lnTo>
                    <a:lnTo>
                      <a:pt x="907" y="17"/>
                    </a:lnTo>
                    <a:lnTo>
                      <a:pt x="913" y="17"/>
                    </a:lnTo>
                    <a:lnTo>
                      <a:pt x="918" y="17"/>
                    </a:lnTo>
                    <a:lnTo>
                      <a:pt x="918" y="23"/>
                    </a:lnTo>
                    <a:lnTo>
                      <a:pt x="924" y="29"/>
                    </a:lnTo>
                    <a:lnTo>
                      <a:pt x="930" y="29"/>
                    </a:lnTo>
                    <a:lnTo>
                      <a:pt x="935" y="29"/>
                    </a:lnTo>
                    <a:lnTo>
                      <a:pt x="935" y="23"/>
                    </a:lnTo>
                    <a:lnTo>
                      <a:pt x="941" y="17"/>
                    </a:lnTo>
                    <a:lnTo>
                      <a:pt x="941" y="12"/>
                    </a:lnTo>
                    <a:lnTo>
                      <a:pt x="947" y="12"/>
                    </a:lnTo>
                    <a:lnTo>
                      <a:pt x="947" y="6"/>
                    </a:lnTo>
                    <a:lnTo>
                      <a:pt x="952" y="6"/>
                    </a:lnTo>
                    <a:lnTo>
                      <a:pt x="952" y="0"/>
                    </a:lnTo>
                    <a:lnTo>
                      <a:pt x="958" y="6"/>
                    </a:lnTo>
                    <a:lnTo>
                      <a:pt x="964" y="6"/>
                    </a:lnTo>
                    <a:lnTo>
                      <a:pt x="969" y="6"/>
                    </a:lnTo>
                    <a:lnTo>
                      <a:pt x="975" y="0"/>
                    </a:lnTo>
                    <a:lnTo>
                      <a:pt x="981" y="0"/>
                    </a:lnTo>
                    <a:lnTo>
                      <a:pt x="981" y="6"/>
                    </a:lnTo>
                    <a:lnTo>
                      <a:pt x="981" y="12"/>
                    </a:lnTo>
                    <a:lnTo>
                      <a:pt x="986" y="57"/>
                    </a:lnTo>
                    <a:lnTo>
                      <a:pt x="986" y="63"/>
                    </a:lnTo>
                    <a:lnTo>
                      <a:pt x="1003" y="97"/>
                    </a:lnTo>
                    <a:lnTo>
                      <a:pt x="1003" y="108"/>
                    </a:lnTo>
                    <a:lnTo>
                      <a:pt x="1009" y="125"/>
                    </a:lnTo>
                    <a:lnTo>
                      <a:pt x="1009" y="136"/>
                    </a:lnTo>
                    <a:lnTo>
                      <a:pt x="1003" y="165"/>
                    </a:lnTo>
                    <a:lnTo>
                      <a:pt x="1003" y="193"/>
                    </a:lnTo>
                    <a:lnTo>
                      <a:pt x="1003" y="210"/>
                    </a:lnTo>
                    <a:lnTo>
                      <a:pt x="1009" y="250"/>
                    </a:lnTo>
                    <a:lnTo>
                      <a:pt x="1009" y="272"/>
                    </a:lnTo>
                    <a:lnTo>
                      <a:pt x="1009" y="289"/>
                    </a:lnTo>
                    <a:lnTo>
                      <a:pt x="1009" y="301"/>
                    </a:lnTo>
                    <a:lnTo>
                      <a:pt x="1009" y="312"/>
                    </a:lnTo>
                    <a:lnTo>
                      <a:pt x="1009" y="318"/>
                    </a:lnTo>
                    <a:lnTo>
                      <a:pt x="1009" y="335"/>
                    </a:lnTo>
                    <a:lnTo>
                      <a:pt x="1003" y="369"/>
                    </a:lnTo>
                    <a:lnTo>
                      <a:pt x="1003" y="374"/>
                    </a:lnTo>
                    <a:lnTo>
                      <a:pt x="1003" y="380"/>
                    </a:lnTo>
                    <a:lnTo>
                      <a:pt x="998" y="391"/>
                    </a:lnTo>
                    <a:lnTo>
                      <a:pt x="998" y="397"/>
                    </a:lnTo>
                    <a:lnTo>
                      <a:pt x="992" y="397"/>
                    </a:lnTo>
                    <a:lnTo>
                      <a:pt x="992" y="408"/>
                    </a:lnTo>
                    <a:lnTo>
                      <a:pt x="992" y="414"/>
                    </a:lnTo>
                    <a:lnTo>
                      <a:pt x="992" y="420"/>
                    </a:lnTo>
                    <a:lnTo>
                      <a:pt x="992" y="425"/>
                    </a:lnTo>
                    <a:lnTo>
                      <a:pt x="998" y="437"/>
                    </a:lnTo>
                    <a:lnTo>
                      <a:pt x="998" y="448"/>
                    </a:lnTo>
                    <a:lnTo>
                      <a:pt x="998" y="454"/>
                    </a:lnTo>
                    <a:lnTo>
                      <a:pt x="992" y="459"/>
                    </a:lnTo>
                    <a:lnTo>
                      <a:pt x="986" y="471"/>
                    </a:lnTo>
                    <a:lnTo>
                      <a:pt x="986" y="482"/>
                    </a:lnTo>
                    <a:lnTo>
                      <a:pt x="981" y="488"/>
                    </a:lnTo>
                    <a:lnTo>
                      <a:pt x="981" y="493"/>
                    </a:lnTo>
                    <a:lnTo>
                      <a:pt x="975" y="505"/>
                    </a:lnTo>
                    <a:lnTo>
                      <a:pt x="975" y="510"/>
                    </a:lnTo>
                    <a:lnTo>
                      <a:pt x="981" y="527"/>
                    </a:lnTo>
                    <a:lnTo>
                      <a:pt x="986" y="533"/>
                    </a:lnTo>
                    <a:lnTo>
                      <a:pt x="986" y="539"/>
                    </a:lnTo>
                    <a:lnTo>
                      <a:pt x="981" y="539"/>
                    </a:lnTo>
                    <a:lnTo>
                      <a:pt x="969" y="544"/>
                    </a:lnTo>
                    <a:lnTo>
                      <a:pt x="964" y="550"/>
                    </a:lnTo>
                    <a:lnTo>
                      <a:pt x="964" y="544"/>
                    </a:lnTo>
                    <a:lnTo>
                      <a:pt x="958" y="550"/>
                    </a:lnTo>
                    <a:lnTo>
                      <a:pt x="952" y="550"/>
                    </a:lnTo>
                    <a:lnTo>
                      <a:pt x="947" y="544"/>
                    </a:lnTo>
                    <a:lnTo>
                      <a:pt x="941" y="544"/>
                    </a:lnTo>
                    <a:lnTo>
                      <a:pt x="941" y="539"/>
                    </a:lnTo>
                    <a:lnTo>
                      <a:pt x="935" y="539"/>
                    </a:lnTo>
                    <a:lnTo>
                      <a:pt x="930" y="533"/>
                    </a:lnTo>
                    <a:lnTo>
                      <a:pt x="924" y="533"/>
                    </a:lnTo>
                    <a:lnTo>
                      <a:pt x="918" y="527"/>
                    </a:lnTo>
                    <a:lnTo>
                      <a:pt x="901" y="516"/>
                    </a:lnTo>
                    <a:lnTo>
                      <a:pt x="896" y="510"/>
                    </a:lnTo>
                    <a:lnTo>
                      <a:pt x="890" y="510"/>
                    </a:lnTo>
                    <a:lnTo>
                      <a:pt x="890" y="505"/>
                    </a:lnTo>
                    <a:lnTo>
                      <a:pt x="879" y="499"/>
                    </a:lnTo>
                    <a:lnTo>
                      <a:pt x="873" y="499"/>
                    </a:lnTo>
                    <a:lnTo>
                      <a:pt x="873" y="493"/>
                    </a:lnTo>
                    <a:lnTo>
                      <a:pt x="867" y="493"/>
                    </a:lnTo>
                    <a:lnTo>
                      <a:pt x="862" y="488"/>
                    </a:lnTo>
                    <a:lnTo>
                      <a:pt x="856" y="488"/>
                    </a:lnTo>
                    <a:lnTo>
                      <a:pt x="856" y="482"/>
                    </a:lnTo>
                    <a:lnTo>
                      <a:pt x="845" y="476"/>
                    </a:lnTo>
                    <a:lnTo>
                      <a:pt x="839" y="476"/>
                    </a:lnTo>
                    <a:lnTo>
                      <a:pt x="833" y="476"/>
                    </a:lnTo>
                    <a:lnTo>
                      <a:pt x="828" y="476"/>
                    </a:lnTo>
                    <a:lnTo>
                      <a:pt x="828" y="482"/>
                    </a:lnTo>
                    <a:lnTo>
                      <a:pt x="822" y="482"/>
                    </a:lnTo>
                    <a:lnTo>
                      <a:pt x="816" y="482"/>
                    </a:lnTo>
                    <a:lnTo>
                      <a:pt x="811" y="482"/>
                    </a:lnTo>
                    <a:lnTo>
                      <a:pt x="811" y="488"/>
                    </a:lnTo>
                    <a:lnTo>
                      <a:pt x="805" y="493"/>
                    </a:lnTo>
                    <a:lnTo>
                      <a:pt x="799" y="499"/>
                    </a:lnTo>
                    <a:lnTo>
                      <a:pt x="788" y="505"/>
                    </a:lnTo>
                    <a:lnTo>
                      <a:pt x="771" y="522"/>
                    </a:lnTo>
                    <a:lnTo>
                      <a:pt x="765" y="527"/>
                    </a:lnTo>
                    <a:lnTo>
                      <a:pt x="760" y="527"/>
                    </a:lnTo>
                    <a:lnTo>
                      <a:pt x="760" y="533"/>
                    </a:lnTo>
                    <a:lnTo>
                      <a:pt x="760" y="539"/>
                    </a:lnTo>
                    <a:lnTo>
                      <a:pt x="760" y="544"/>
                    </a:lnTo>
                    <a:lnTo>
                      <a:pt x="760" y="550"/>
                    </a:lnTo>
                    <a:lnTo>
                      <a:pt x="754" y="556"/>
                    </a:lnTo>
                    <a:lnTo>
                      <a:pt x="748" y="561"/>
                    </a:lnTo>
                    <a:lnTo>
                      <a:pt x="748" y="567"/>
                    </a:lnTo>
                    <a:lnTo>
                      <a:pt x="743" y="567"/>
                    </a:lnTo>
                    <a:lnTo>
                      <a:pt x="743" y="573"/>
                    </a:lnTo>
                    <a:lnTo>
                      <a:pt x="743" y="578"/>
                    </a:lnTo>
                    <a:lnTo>
                      <a:pt x="737" y="584"/>
                    </a:lnTo>
                    <a:lnTo>
                      <a:pt x="731" y="590"/>
                    </a:lnTo>
                    <a:lnTo>
                      <a:pt x="731" y="595"/>
                    </a:lnTo>
                    <a:lnTo>
                      <a:pt x="726" y="601"/>
                    </a:lnTo>
                    <a:lnTo>
                      <a:pt x="726" y="607"/>
                    </a:lnTo>
                    <a:lnTo>
                      <a:pt x="720" y="612"/>
                    </a:lnTo>
                    <a:lnTo>
                      <a:pt x="714" y="618"/>
                    </a:lnTo>
                    <a:lnTo>
                      <a:pt x="703" y="629"/>
                    </a:lnTo>
                    <a:lnTo>
                      <a:pt x="703" y="635"/>
                    </a:lnTo>
                    <a:lnTo>
                      <a:pt x="697" y="635"/>
                    </a:lnTo>
                    <a:lnTo>
                      <a:pt x="692" y="641"/>
                    </a:lnTo>
                    <a:lnTo>
                      <a:pt x="692" y="646"/>
                    </a:lnTo>
                    <a:lnTo>
                      <a:pt x="686" y="652"/>
                    </a:lnTo>
                    <a:lnTo>
                      <a:pt x="686" y="658"/>
                    </a:lnTo>
                    <a:lnTo>
                      <a:pt x="680" y="663"/>
                    </a:lnTo>
                    <a:lnTo>
                      <a:pt x="675" y="663"/>
                    </a:lnTo>
                    <a:lnTo>
                      <a:pt x="675" y="669"/>
                    </a:lnTo>
                    <a:lnTo>
                      <a:pt x="675" y="680"/>
                    </a:lnTo>
                    <a:lnTo>
                      <a:pt x="669" y="692"/>
                    </a:lnTo>
                    <a:lnTo>
                      <a:pt x="669" y="703"/>
                    </a:lnTo>
                    <a:lnTo>
                      <a:pt x="663" y="703"/>
                    </a:lnTo>
                    <a:lnTo>
                      <a:pt x="663" y="709"/>
                    </a:lnTo>
                    <a:lnTo>
                      <a:pt x="663" y="714"/>
                    </a:lnTo>
                    <a:lnTo>
                      <a:pt x="663" y="731"/>
                    </a:lnTo>
                    <a:lnTo>
                      <a:pt x="663" y="737"/>
                    </a:lnTo>
                    <a:lnTo>
                      <a:pt x="663" y="743"/>
                    </a:lnTo>
                    <a:lnTo>
                      <a:pt x="663" y="748"/>
                    </a:lnTo>
                    <a:lnTo>
                      <a:pt x="663" y="754"/>
                    </a:lnTo>
                    <a:lnTo>
                      <a:pt x="663" y="760"/>
                    </a:lnTo>
                    <a:lnTo>
                      <a:pt x="669" y="771"/>
                    </a:lnTo>
                    <a:lnTo>
                      <a:pt x="669" y="777"/>
                    </a:lnTo>
                    <a:lnTo>
                      <a:pt x="675" y="777"/>
                    </a:lnTo>
                    <a:lnTo>
                      <a:pt x="680" y="771"/>
                    </a:lnTo>
                    <a:lnTo>
                      <a:pt x="686" y="771"/>
                    </a:lnTo>
                    <a:lnTo>
                      <a:pt x="686" y="766"/>
                    </a:lnTo>
                    <a:lnTo>
                      <a:pt x="692" y="766"/>
                    </a:lnTo>
                    <a:lnTo>
                      <a:pt x="692" y="771"/>
                    </a:lnTo>
                    <a:lnTo>
                      <a:pt x="692" y="777"/>
                    </a:lnTo>
                    <a:lnTo>
                      <a:pt x="697" y="783"/>
                    </a:lnTo>
                    <a:lnTo>
                      <a:pt x="703" y="788"/>
                    </a:lnTo>
                    <a:lnTo>
                      <a:pt x="703" y="794"/>
                    </a:lnTo>
                    <a:lnTo>
                      <a:pt x="709" y="794"/>
                    </a:lnTo>
                    <a:lnTo>
                      <a:pt x="709" y="800"/>
                    </a:lnTo>
                    <a:lnTo>
                      <a:pt x="714" y="800"/>
                    </a:lnTo>
                    <a:lnTo>
                      <a:pt x="714" y="805"/>
                    </a:lnTo>
                    <a:lnTo>
                      <a:pt x="714" y="811"/>
                    </a:lnTo>
                    <a:lnTo>
                      <a:pt x="709" y="811"/>
                    </a:lnTo>
                    <a:lnTo>
                      <a:pt x="709" y="817"/>
                    </a:lnTo>
                    <a:lnTo>
                      <a:pt x="709" y="822"/>
                    </a:lnTo>
                    <a:lnTo>
                      <a:pt x="709" y="828"/>
                    </a:lnTo>
                    <a:lnTo>
                      <a:pt x="714" y="828"/>
                    </a:lnTo>
                    <a:lnTo>
                      <a:pt x="726" y="839"/>
                    </a:lnTo>
                    <a:lnTo>
                      <a:pt x="726" y="845"/>
                    </a:lnTo>
                    <a:lnTo>
                      <a:pt x="731" y="845"/>
                    </a:lnTo>
                    <a:lnTo>
                      <a:pt x="737" y="851"/>
                    </a:lnTo>
                    <a:lnTo>
                      <a:pt x="743" y="856"/>
                    </a:lnTo>
                    <a:lnTo>
                      <a:pt x="748" y="868"/>
                    </a:lnTo>
                    <a:lnTo>
                      <a:pt x="754" y="873"/>
                    </a:lnTo>
                    <a:lnTo>
                      <a:pt x="726" y="907"/>
                    </a:lnTo>
                    <a:lnTo>
                      <a:pt x="703" y="919"/>
                    </a:lnTo>
                    <a:lnTo>
                      <a:pt x="703" y="913"/>
                    </a:lnTo>
                    <a:lnTo>
                      <a:pt x="697" y="913"/>
                    </a:lnTo>
                    <a:lnTo>
                      <a:pt x="692" y="913"/>
                    </a:lnTo>
                    <a:lnTo>
                      <a:pt x="692" y="902"/>
                    </a:lnTo>
                    <a:lnTo>
                      <a:pt x="680" y="902"/>
                    </a:lnTo>
                    <a:lnTo>
                      <a:pt x="675" y="902"/>
                    </a:lnTo>
                    <a:lnTo>
                      <a:pt x="669" y="913"/>
                    </a:lnTo>
                    <a:lnTo>
                      <a:pt x="658" y="902"/>
                    </a:lnTo>
                    <a:lnTo>
                      <a:pt x="652" y="902"/>
                    </a:lnTo>
                    <a:lnTo>
                      <a:pt x="652" y="907"/>
                    </a:lnTo>
                    <a:lnTo>
                      <a:pt x="652" y="902"/>
                    </a:lnTo>
                    <a:lnTo>
                      <a:pt x="646" y="896"/>
                    </a:lnTo>
                    <a:lnTo>
                      <a:pt x="629" y="896"/>
                    </a:lnTo>
                    <a:lnTo>
                      <a:pt x="618" y="896"/>
                    </a:lnTo>
                    <a:lnTo>
                      <a:pt x="612" y="896"/>
                    </a:lnTo>
                    <a:lnTo>
                      <a:pt x="607" y="902"/>
                    </a:lnTo>
                    <a:lnTo>
                      <a:pt x="601" y="907"/>
                    </a:lnTo>
                    <a:lnTo>
                      <a:pt x="584" y="902"/>
                    </a:lnTo>
                    <a:lnTo>
                      <a:pt x="578" y="902"/>
                    </a:lnTo>
                    <a:lnTo>
                      <a:pt x="567" y="902"/>
                    </a:lnTo>
                    <a:lnTo>
                      <a:pt x="561" y="902"/>
                    </a:lnTo>
                    <a:lnTo>
                      <a:pt x="561" y="896"/>
                    </a:lnTo>
                    <a:lnTo>
                      <a:pt x="561" y="890"/>
                    </a:lnTo>
                    <a:lnTo>
                      <a:pt x="550" y="890"/>
                    </a:lnTo>
                    <a:lnTo>
                      <a:pt x="544" y="896"/>
                    </a:lnTo>
                    <a:lnTo>
                      <a:pt x="533" y="896"/>
                    </a:lnTo>
                    <a:lnTo>
                      <a:pt x="527" y="902"/>
                    </a:lnTo>
                    <a:lnTo>
                      <a:pt x="522" y="902"/>
                    </a:lnTo>
                    <a:lnTo>
                      <a:pt x="505" y="913"/>
                    </a:lnTo>
                    <a:lnTo>
                      <a:pt x="493" y="913"/>
                    </a:lnTo>
                    <a:lnTo>
                      <a:pt x="493" y="919"/>
                    </a:lnTo>
                    <a:lnTo>
                      <a:pt x="488" y="924"/>
                    </a:lnTo>
                    <a:lnTo>
                      <a:pt x="482" y="924"/>
                    </a:lnTo>
                    <a:lnTo>
                      <a:pt x="476" y="919"/>
                    </a:lnTo>
                    <a:lnTo>
                      <a:pt x="471" y="919"/>
                    </a:lnTo>
                    <a:lnTo>
                      <a:pt x="465" y="919"/>
                    </a:lnTo>
                    <a:lnTo>
                      <a:pt x="454" y="924"/>
                    </a:lnTo>
                    <a:lnTo>
                      <a:pt x="448" y="919"/>
                    </a:lnTo>
                    <a:lnTo>
                      <a:pt x="442" y="919"/>
                    </a:lnTo>
                    <a:lnTo>
                      <a:pt x="442" y="924"/>
                    </a:lnTo>
                    <a:lnTo>
                      <a:pt x="437" y="924"/>
                    </a:lnTo>
                    <a:lnTo>
                      <a:pt x="431" y="919"/>
                    </a:lnTo>
                    <a:lnTo>
                      <a:pt x="420" y="919"/>
                    </a:lnTo>
                    <a:lnTo>
                      <a:pt x="408" y="924"/>
                    </a:lnTo>
                    <a:lnTo>
                      <a:pt x="403" y="936"/>
                    </a:lnTo>
                    <a:lnTo>
                      <a:pt x="397" y="941"/>
                    </a:lnTo>
                    <a:lnTo>
                      <a:pt x="397" y="947"/>
                    </a:lnTo>
                    <a:lnTo>
                      <a:pt x="391" y="947"/>
                    </a:lnTo>
                    <a:lnTo>
                      <a:pt x="391" y="941"/>
                    </a:lnTo>
                    <a:lnTo>
                      <a:pt x="385" y="941"/>
                    </a:lnTo>
                    <a:lnTo>
                      <a:pt x="374" y="941"/>
                    </a:lnTo>
                    <a:lnTo>
                      <a:pt x="368" y="941"/>
                    </a:lnTo>
                    <a:lnTo>
                      <a:pt x="368" y="947"/>
                    </a:lnTo>
                    <a:lnTo>
                      <a:pt x="368" y="953"/>
                    </a:lnTo>
                    <a:lnTo>
                      <a:pt x="357" y="953"/>
                    </a:lnTo>
                    <a:lnTo>
                      <a:pt x="351" y="958"/>
                    </a:lnTo>
                    <a:lnTo>
                      <a:pt x="346" y="958"/>
                    </a:lnTo>
                    <a:lnTo>
                      <a:pt x="334" y="941"/>
                    </a:lnTo>
                    <a:lnTo>
                      <a:pt x="329" y="936"/>
                    </a:lnTo>
                    <a:lnTo>
                      <a:pt x="323" y="930"/>
                    </a:lnTo>
                    <a:lnTo>
                      <a:pt x="329" y="924"/>
                    </a:lnTo>
                    <a:lnTo>
                      <a:pt x="323" y="924"/>
                    </a:lnTo>
                    <a:lnTo>
                      <a:pt x="312" y="913"/>
                    </a:lnTo>
                    <a:lnTo>
                      <a:pt x="312" y="907"/>
                    </a:lnTo>
                    <a:lnTo>
                      <a:pt x="312" y="902"/>
                    </a:lnTo>
                    <a:lnTo>
                      <a:pt x="306" y="902"/>
                    </a:lnTo>
                    <a:lnTo>
                      <a:pt x="306" y="896"/>
                    </a:lnTo>
                    <a:lnTo>
                      <a:pt x="300" y="890"/>
                    </a:lnTo>
                    <a:lnTo>
                      <a:pt x="295" y="885"/>
                    </a:lnTo>
                    <a:lnTo>
                      <a:pt x="295" y="879"/>
                    </a:lnTo>
                    <a:lnTo>
                      <a:pt x="289" y="879"/>
                    </a:lnTo>
                    <a:lnTo>
                      <a:pt x="278" y="885"/>
                    </a:lnTo>
                    <a:lnTo>
                      <a:pt x="272" y="885"/>
                    </a:lnTo>
                    <a:lnTo>
                      <a:pt x="272" y="879"/>
                    </a:lnTo>
                    <a:lnTo>
                      <a:pt x="278" y="879"/>
                    </a:lnTo>
                    <a:lnTo>
                      <a:pt x="272" y="873"/>
                    </a:lnTo>
                    <a:lnTo>
                      <a:pt x="266" y="873"/>
                    </a:lnTo>
                    <a:lnTo>
                      <a:pt x="261" y="868"/>
                    </a:lnTo>
                    <a:lnTo>
                      <a:pt x="255" y="868"/>
                    </a:lnTo>
                    <a:lnTo>
                      <a:pt x="249" y="868"/>
                    </a:lnTo>
                    <a:lnTo>
                      <a:pt x="249" y="862"/>
                    </a:lnTo>
                    <a:lnTo>
                      <a:pt x="244" y="856"/>
                    </a:lnTo>
                    <a:lnTo>
                      <a:pt x="238" y="856"/>
                    </a:lnTo>
                    <a:lnTo>
                      <a:pt x="227" y="856"/>
                    </a:lnTo>
                    <a:lnTo>
                      <a:pt x="221" y="862"/>
                    </a:lnTo>
                    <a:lnTo>
                      <a:pt x="215" y="862"/>
                    </a:lnTo>
                    <a:lnTo>
                      <a:pt x="210" y="845"/>
                    </a:lnTo>
                    <a:lnTo>
                      <a:pt x="204" y="839"/>
                    </a:lnTo>
                    <a:lnTo>
                      <a:pt x="204" y="834"/>
                    </a:lnTo>
                    <a:lnTo>
                      <a:pt x="204" y="828"/>
                    </a:lnTo>
                    <a:lnTo>
                      <a:pt x="204" y="822"/>
                    </a:lnTo>
                    <a:lnTo>
                      <a:pt x="198" y="822"/>
                    </a:lnTo>
                    <a:lnTo>
                      <a:pt x="198" y="828"/>
                    </a:lnTo>
                    <a:lnTo>
                      <a:pt x="198" y="822"/>
                    </a:lnTo>
                    <a:lnTo>
                      <a:pt x="193" y="822"/>
                    </a:lnTo>
                    <a:lnTo>
                      <a:pt x="187" y="817"/>
                    </a:lnTo>
                    <a:lnTo>
                      <a:pt x="181" y="817"/>
                    </a:lnTo>
                    <a:lnTo>
                      <a:pt x="176" y="822"/>
                    </a:lnTo>
                    <a:lnTo>
                      <a:pt x="170" y="822"/>
                    </a:lnTo>
                    <a:lnTo>
                      <a:pt x="164" y="822"/>
                    </a:lnTo>
                    <a:lnTo>
                      <a:pt x="164" y="834"/>
                    </a:lnTo>
                    <a:lnTo>
                      <a:pt x="159" y="834"/>
                    </a:lnTo>
                    <a:lnTo>
                      <a:pt x="153" y="828"/>
                    </a:lnTo>
                    <a:lnTo>
                      <a:pt x="147" y="828"/>
                    </a:lnTo>
                    <a:lnTo>
                      <a:pt x="142" y="828"/>
                    </a:lnTo>
                    <a:lnTo>
                      <a:pt x="142" y="822"/>
                    </a:lnTo>
                    <a:lnTo>
                      <a:pt x="136" y="828"/>
                    </a:lnTo>
                    <a:lnTo>
                      <a:pt x="130" y="822"/>
                    </a:lnTo>
                    <a:lnTo>
                      <a:pt x="125" y="817"/>
                    </a:lnTo>
                    <a:lnTo>
                      <a:pt x="125" y="822"/>
                    </a:lnTo>
                    <a:lnTo>
                      <a:pt x="119" y="822"/>
                    </a:lnTo>
                    <a:lnTo>
                      <a:pt x="119" y="817"/>
                    </a:lnTo>
                    <a:lnTo>
                      <a:pt x="119" y="811"/>
                    </a:lnTo>
                    <a:lnTo>
                      <a:pt x="113" y="811"/>
                    </a:lnTo>
                    <a:lnTo>
                      <a:pt x="108" y="811"/>
                    </a:lnTo>
                    <a:lnTo>
                      <a:pt x="96" y="805"/>
                    </a:lnTo>
                    <a:lnTo>
                      <a:pt x="96" y="811"/>
                    </a:lnTo>
                    <a:lnTo>
                      <a:pt x="91" y="817"/>
                    </a:lnTo>
                    <a:lnTo>
                      <a:pt x="96" y="817"/>
                    </a:lnTo>
                    <a:lnTo>
                      <a:pt x="102" y="817"/>
                    </a:lnTo>
                    <a:lnTo>
                      <a:pt x="96" y="822"/>
                    </a:lnTo>
                    <a:lnTo>
                      <a:pt x="91" y="822"/>
                    </a:lnTo>
                    <a:lnTo>
                      <a:pt x="85" y="822"/>
                    </a:lnTo>
                    <a:lnTo>
                      <a:pt x="85" y="828"/>
                    </a:lnTo>
                    <a:lnTo>
                      <a:pt x="79" y="828"/>
                    </a:lnTo>
                    <a:lnTo>
                      <a:pt x="74" y="828"/>
                    </a:lnTo>
                    <a:lnTo>
                      <a:pt x="74" y="834"/>
                    </a:lnTo>
                    <a:lnTo>
                      <a:pt x="68" y="834"/>
                    </a:lnTo>
                    <a:lnTo>
                      <a:pt x="68" y="839"/>
                    </a:lnTo>
                    <a:lnTo>
                      <a:pt x="68" y="834"/>
                    </a:lnTo>
                    <a:lnTo>
                      <a:pt x="74" y="834"/>
                    </a:lnTo>
                    <a:lnTo>
                      <a:pt x="68" y="828"/>
                    </a:lnTo>
                    <a:lnTo>
                      <a:pt x="62" y="822"/>
                    </a:lnTo>
                    <a:lnTo>
                      <a:pt x="62" y="817"/>
                    </a:lnTo>
                    <a:lnTo>
                      <a:pt x="57" y="811"/>
                    </a:lnTo>
                    <a:lnTo>
                      <a:pt x="51" y="811"/>
                    </a:lnTo>
                    <a:lnTo>
                      <a:pt x="45" y="811"/>
                    </a:lnTo>
                    <a:lnTo>
                      <a:pt x="45" y="817"/>
                    </a:lnTo>
                    <a:lnTo>
                      <a:pt x="40" y="822"/>
                    </a:lnTo>
                    <a:lnTo>
                      <a:pt x="40" y="817"/>
                    </a:lnTo>
                    <a:lnTo>
                      <a:pt x="40" y="811"/>
                    </a:lnTo>
                    <a:lnTo>
                      <a:pt x="34" y="805"/>
                    </a:lnTo>
                    <a:lnTo>
                      <a:pt x="34" y="800"/>
                    </a:lnTo>
                    <a:lnTo>
                      <a:pt x="28" y="800"/>
                    </a:lnTo>
                    <a:lnTo>
                      <a:pt x="23" y="805"/>
                    </a:lnTo>
                    <a:lnTo>
                      <a:pt x="17" y="805"/>
                    </a:lnTo>
                    <a:lnTo>
                      <a:pt x="11" y="800"/>
                    </a:lnTo>
                    <a:lnTo>
                      <a:pt x="6" y="800"/>
                    </a:lnTo>
                    <a:lnTo>
                      <a:pt x="0" y="794"/>
                    </a:lnTo>
                    <a:close/>
                  </a:path>
                </a:pathLst>
              </a:custGeom>
              <a:grpFill/>
              <a:ln w="9525" cap="flat" cmpd="sng">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00"/>
              </a:p>
            </p:txBody>
          </p:sp>
          <p:sp>
            <p:nvSpPr>
              <p:cNvPr id="64" name="Freeform 12"/>
              <p:cNvSpPr>
                <a:spLocks/>
              </p:cNvSpPr>
              <p:nvPr>
                <p:custDataLst>
                  <p:tags r:id="rId8"/>
                </p:custDataLst>
              </p:nvPr>
            </p:nvSpPr>
            <p:spPr bwMode="gray">
              <a:xfrm>
                <a:off x="2589617" y="1301587"/>
                <a:ext cx="1261453" cy="751564"/>
              </a:xfrm>
              <a:custGeom>
                <a:avLst/>
                <a:gdLst>
                  <a:gd name="T0" fmla="*/ 10619 w 1451"/>
                  <a:gd name="T1" fmla="*/ 171456 h 862"/>
                  <a:gd name="T2" fmla="*/ 21509 w 1451"/>
                  <a:gd name="T3" fmla="*/ 162189 h 862"/>
                  <a:gd name="T4" fmla="*/ 33761 w 1451"/>
                  <a:gd name="T5" fmla="*/ 156192 h 862"/>
                  <a:gd name="T6" fmla="*/ 37028 w 1451"/>
                  <a:gd name="T7" fmla="*/ 140654 h 862"/>
                  <a:gd name="T8" fmla="*/ 41657 w 1451"/>
                  <a:gd name="T9" fmla="*/ 125117 h 862"/>
                  <a:gd name="T10" fmla="*/ 44652 w 1451"/>
                  <a:gd name="T11" fmla="*/ 111215 h 862"/>
                  <a:gd name="T12" fmla="*/ 49280 w 1451"/>
                  <a:gd name="T13" fmla="*/ 109852 h 862"/>
                  <a:gd name="T14" fmla="*/ 56904 w 1451"/>
                  <a:gd name="T15" fmla="*/ 103582 h 862"/>
                  <a:gd name="T16" fmla="*/ 66161 w 1451"/>
                  <a:gd name="T17" fmla="*/ 97313 h 862"/>
                  <a:gd name="T18" fmla="*/ 74057 w 1451"/>
                  <a:gd name="T19" fmla="*/ 95951 h 862"/>
                  <a:gd name="T20" fmla="*/ 86309 w 1451"/>
                  <a:gd name="T21" fmla="*/ 86410 h 862"/>
                  <a:gd name="T22" fmla="*/ 93933 w 1451"/>
                  <a:gd name="T23" fmla="*/ 80413 h 862"/>
                  <a:gd name="T24" fmla="*/ 101828 w 1451"/>
                  <a:gd name="T25" fmla="*/ 75779 h 862"/>
                  <a:gd name="T26" fmla="*/ 112447 w 1451"/>
                  <a:gd name="T27" fmla="*/ 66511 h 862"/>
                  <a:gd name="T28" fmla="*/ 121704 w 1451"/>
                  <a:gd name="T29" fmla="*/ 55607 h 862"/>
                  <a:gd name="T30" fmla="*/ 134228 w 1451"/>
                  <a:gd name="T31" fmla="*/ 40070 h 862"/>
                  <a:gd name="T32" fmla="*/ 155737 w 1451"/>
                  <a:gd name="T33" fmla="*/ 34073 h 862"/>
                  <a:gd name="T34" fmla="*/ 171257 w 1451"/>
                  <a:gd name="T35" fmla="*/ 27804 h 862"/>
                  <a:gd name="T36" fmla="*/ 186504 w 1451"/>
                  <a:gd name="T37" fmla="*/ 23170 h 862"/>
                  <a:gd name="T38" fmla="*/ 192766 w 1451"/>
                  <a:gd name="T39" fmla="*/ 7632 h 862"/>
                  <a:gd name="T40" fmla="*/ 208286 w 1451"/>
                  <a:gd name="T41" fmla="*/ 4634 h 862"/>
                  <a:gd name="T42" fmla="*/ 222171 w 1451"/>
                  <a:gd name="T43" fmla="*/ 4634 h 862"/>
                  <a:gd name="T44" fmla="*/ 236057 w 1451"/>
                  <a:gd name="T45" fmla="*/ 2998 h 862"/>
                  <a:gd name="T46" fmla="*/ 251576 w 1451"/>
                  <a:gd name="T47" fmla="*/ 2998 h 862"/>
                  <a:gd name="T48" fmla="*/ 265462 w 1451"/>
                  <a:gd name="T49" fmla="*/ 9268 h 862"/>
                  <a:gd name="T50" fmla="*/ 279348 w 1451"/>
                  <a:gd name="T51" fmla="*/ 12267 h 862"/>
                  <a:gd name="T52" fmla="*/ 299223 w 1451"/>
                  <a:gd name="T53" fmla="*/ 13902 h 862"/>
                  <a:gd name="T54" fmla="*/ 310113 w 1451"/>
                  <a:gd name="T55" fmla="*/ 13902 h 862"/>
                  <a:gd name="T56" fmla="*/ 328628 w 1451"/>
                  <a:gd name="T57" fmla="*/ 12267 h 862"/>
                  <a:gd name="T58" fmla="*/ 344148 w 1451"/>
                  <a:gd name="T59" fmla="*/ 15537 h 862"/>
                  <a:gd name="T60" fmla="*/ 358033 w 1451"/>
                  <a:gd name="T61" fmla="*/ 21534 h 862"/>
                  <a:gd name="T62" fmla="*/ 371919 w 1451"/>
                  <a:gd name="T63" fmla="*/ 94315 h 862"/>
                  <a:gd name="T64" fmla="*/ 390433 w 1451"/>
                  <a:gd name="T65" fmla="*/ 136020 h 862"/>
                  <a:gd name="T66" fmla="*/ 379542 w 1451"/>
                  <a:gd name="T67" fmla="*/ 142290 h 862"/>
                  <a:gd name="T68" fmla="*/ 368651 w 1451"/>
                  <a:gd name="T69" fmla="*/ 142290 h 862"/>
                  <a:gd name="T70" fmla="*/ 358033 w 1451"/>
                  <a:gd name="T71" fmla="*/ 142290 h 862"/>
                  <a:gd name="T72" fmla="*/ 362662 w 1451"/>
                  <a:gd name="T73" fmla="*/ 156192 h 862"/>
                  <a:gd name="T74" fmla="*/ 370285 w 1451"/>
                  <a:gd name="T75" fmla="*/ 182360 h 862"/>
                  <a:gd name="T76" fmla="*/ 358033 w 1451"/>
                  <a:gd name="T77" fmla="*/ 191628 h 862"/>
                  <a:gd name="T78" fmla="*/ 359394 w 1451"/>
                  <a:gd name="T79" fmla="*/ 207165 h 862"/>
                  <a:gd name="T80" fmla="*/ 345508 w 1451"/>
                  <a:gd name="T81" fmla="*/ 213162 h 862"/>
                  <a:gd name="T82" fmla="*/ 336251 w 1451"/>
                  <a:gd name="T83" fmla="*/ 205530 h 862"/>
                  <a:gd name="T84" fmla="*/ 325633 w 1451"/>
                  <a:gd name="T85" fmla="*/ 186994 h 862"/>
                  <a:gd name="T86" fmla="*/ 311748 w 1451"/>
                  <a:gd name="T87" fmla="*/ 171456 h 862"/>
                  <a:gd name="T88" fmla="*/ 293233 w 1451"/>
                  <a:gd name="T89" fmla="*/ 188629 h 862"/>
                  <a:gd name="T90" fmla="*/ 282342 w 1451"/>
                  <a:gd name="T91" fmla="*/ 185359 h 862"/>
                  <a:gd name="T92" fmla="*/ 252937 w 1451"/>
                  <a:gd name="T93" fmla="*/ 205530 h 862"/>
                  <a:gd name="T94" fmla="*/ 240685 w 1451"/>
                  <a:gd name="T95" fmla="*/ 224066 h 862"/>
                  <a:gd name="T96" fmla="*/ 217542 w 1451"/>
                  <a:gd name="T97" fmla="*/ 214798 h 862"/>
                  <a:gd name="T98" fmla="*/ 212914 w 1451"/>
                  <a:gd name="T99" fmla="*/ 205530 h 862"/>
                  <a:gd name="T100" fmla="*/ 197394 w 1451"/>
                  <a:gd name="T101" fmla="*/ 203895 h 862"/>
                  <a:gd name="T102" fmla="*/ 171257 w 1451"/>
                  <a:gd name="T103" fmla="*/ 205530 h 862"/>
                  <a:gd name="T104" fmla="*/ 146480 w 1451"/>
                  <a:gd name="T105" fmla="*/ 219431 h 862"/>
                  <a:gd name="T106" fmla="*/ 148114 w 1451"/>
                  <a:gd name="T107" fmla="*/ 225701 h 862"/>
                  <a:gd name="T108" fmla="*/ 138857 w 1451"/>
                  <a:gd name="T109" fmla="*/ 234969 h 862"/>
                  <a:gd name="T110" fmla="*/ 121704 w 1451"/>
                  <a:gd name="T111" fmla="*/ 224066 h 862"/>
                  <a:gd name="T112" fmla="*/ 127966 w 1451"/>
                  <a:gd name="T113" fmla="*/ 214798 h 862"/>
                  <a:gd name="T114" fmla="*/ 98561 w 1451"/>
                  <a:gd name="T115" fmla="*/ 210164 h 862"/>
                  <a:gd name="T116" fmla="*/ 83314 w 1451"/>
                  <a:gd name="T117" fmla="*/ 214798 h 862"/>
                  <a:gd name="T118" fmla="*/ 66161 w 1451"/>
                  <a:gd name="T119" fmla="*/ 216434 h 862"/>
                  <a:gd name="T120" fmla="*/ 46286 w 1451"/>
                  <a:gd name="T121" fmla="*/ 199260 h 862"/>
                  <a:gd name="T122" fmla="*/ 26138 w 1451"/>
                  <a:gd name="T123" fmla="*/ 200896 h 862"/>
                  <a:gd name="T124" fmla="*/ 1361 w 1451"/>
                  <a:gd name="T125" fmla="*/ 194626 h 86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451" h="862">
                    <a:moveTo>
                      <a:pt x="0" y="675"/>
                    </a:moveTo>
                    <a:lnTo>
                      <a:pt x="5" y="675"/>
                    </a:lnTo>
                    <a:lnTo>
                      <a:pt x="5" y="669"/>
                    </a:lnTo>
                    <a:lnTo>
                      <a:pt x="11" y="669"/>
                    </a:lnTo>
                    <a:lnTo>
                      <a:pt x="17" y="663"/>
                    </a:lnTo>
                    <a:lnTo>
                      <a:pt x="22" y="646"/>
                    </a:lnTo>
                    <a:lnTo>
                      <a:pt x="28" y="641"/>
                    </a:lnTo>
                    <a:lnTo>
                      <a:pt x="28" y="635"/>
                    </a:lnTo>
                    <a:lnTo>
                      <a:pt x="34" y="635"/>
                    </a:lnTo>
                    <a:lnTo>
                      <a:pt x="34" y="629"/>
                    </a:lnTo>
                    <a:lnTo>
                      <a:pt x="39" y="629"/>
                    </a:lnTo>
                    <a:lnTo>
                      <a:pt x="39" y="624"/>
                    </a:lnTo>
                    <a:lnTo>
                      <a:pt x="45" y="624"/>
                    </a:lnTo>
                    <a:lnTo>
                      <a:pt x="45" y="618"/>
                    </a:lnTo>
                    <a:lnTo>
                      <a:pt x="51" y="618"/>
                    </a:lnTo>
                    <a:lnTo>
                      <a:pt x="56" y="612"/>
                    </a:lnTo>
                    <a:lnTo>
                      <a:pt x="62" y="612"/>
                    </a:lnTo>
                    <a:lnTo>
                      <a:pt x="68" y="612"/>
                    </a:lnTo>
                    <a:lnTo>
                      <a:pt x="73" y="607"/>
                    </a:lnTo>
                    <a:lnTo>
                      <a:pt x="73" y="601"/>
                    </a:lnTo>
                    <a:lnTo>
                      <a:pt x="73" y="595"/>
                    </a:lnTo>
                    <a:lnTo>
                      <a:pt x="79" y="595"/>
                    </a:lnTo>
                    <a:lnTo>
                      <a:pt x="79" y="590"/>
                    </a:lnTo>
                    <a:lnTo>
                      <a:pt x="85" y="590"/>
                    </a:lnTo>
                    <a:lnTo>
                      <a:pt x="90" y="590"/>
                    </a:lnTo>
                    <a:lnTo>
                      <a:pt x="96" y="590"/>
                    </a:lnTo>
                    <a:lnTo>
                      <a:pt x="102" y="590"/>
                    </a:lnTo>
                    <a:lnTo>
                      <a:pt x="107" y="584"/>
                    </a:lnTo>
                    <a:lnTo>
                      <a:pt x="113" y="584"/>
                    </a:lnTo>
                    <a:lnTo>
                      <a:pt x="113" y="578"/>
                    </a:lnTo>
                    <a:lnTo>
                      <a:pt x="119" y="578"/>
                    </a:lnTo>
                    <a:lnTo>
                      <a:pt x="124" y="578"/>
                    </a:lnTo>
                    <a:lnTo>
                      <a:pt x="124" y="573"/>
                    </a:lnTo>
                    <a:lnTo>
                      <a:pt x="124" y="567"/>
                    </a:lnTo>
                    <a:lnTo>
                      <a:pt x="124" y="561"/>
                    </a:lnTo>
                    <a:lnTo>
                      <a:pt x="124" y="556"/>
                    </a:lnTo>
                    <a:lnTo>
                      <a:pt x="124" y="550"/>
                    </a:lnTo>
                    <a:lnTo>
                      <a:pt x="130" y="550"/>
                    </a:lnTo>
                    <a:lnTo>
                      <a:pt x="124" y="544"/>
                    </a:lnTo>
                    <a:lnTo>
                      <a:pt x="124" y="539"/>
                    </a:lnTo>
                    <a:lnTo>
                      <a:pt x="124" y="533"/>
                    </a:lnTo>
                    <a:lnTo>
                      <a:pt x="130" y="527"/>
                    </a:lnTo>
                    <a:lnTo>
                      <a:pt x="130" y="522"/>
                    </a:lnTo>
                    <a:lnTo>
                      <a:pt x="136" y="516"/>
                    </a:lnTo>
                    <a:lnTo>
                      <a:pt x="136" y="510"/>
                    </a:lnTo>
                    <a:lnTo>
                      <a:pt x="136" y="505"/>
                    </a:lnTo>
                    <a:lnTo>
                      <a:pt x="136" y="499"/>
                    </a:lnTo>
                    <a:lnTo>
                      <a:pt x="141" y="499"/>
                    </a:lnTo>
                    <a:lnTo>
                      <a:pt x="141" y="493"/>
                    </a:lnTo>
                    <a:lnTo>
                      <a:pt x="141" y="488"/>
                    </a:lnTo>
                    <a:lnTo>
                      <a:pt x="147" y="482"/>
                    </a:lnTo>
                    <a:lnTo>
                      <a:pt x="147" y="476"/>
                    </a:lnTo>
                    <a:lnTo>
                      <a:pt x="147" y="471"/>
                    </a:lnTo>
                    <a:lnTo>
                      <a:pt x="147" y="465"/>
                    </a:lnTo>
                    <a:lnTo>
                      <a:pt x="153" y="459"/>
                    </a:lnTo>
                    <a:lnTo>
                      <a:pt x="147" y="459"/>
                    </a:lnTo>
                    <a:lnTo>
                      <a:pt x="147" y="454"/>
                    </a:lnTo>
                    <a:lnTo>
                      <a:pt x="147" y="448"/>
                    </a:lnTo>
                    <a:lnTo>
                      <a:pt x="153" y="448"/>
                    </a:lnTo>
                    <a:lnTo>
                      <a:pt x="153" y="442"/>
                    </a:lnTo>
                    <a:lnTo>
                      <a:pt x="153" y="437"/>
                    </a:lnTo>
                    <a:lnTo>
                      <a:pt x="158" y="425"/>
                    </a:lnTo>
                    <a:lnTo>
                      <a:pt x="164" y="425"/>
                    </a:lnTo>
                    <a:lnTo>
                      <a:pt x="164" y="420"/>
                    </a:lnTo>
                    <a:lnTo>
                      <a:pt x="164" y="414"/>
                    </a:lnTo>
                    <a:lnTo>
                      <a:pt x="164" y="408"/>
                    </a:lnTo>
                    <a:lnTo>
                      <a:pt x="170" y="408"/>
                    </a:lnTo>
                    <a:lnTo>
                      <a:pt x="170" y="414"/>
                    </a:lnTo>
                    <a:lnTo>
                      <a:pt x="175" y="414"/>
                    </a:lnTo>
                    <a:lnTo>
                      <a:pt x="170" y="420"/>
                    </a:lnTo>
                    <a:lnTo>
                      <a:pt x="175" y="420"/>
                    </a:lnTo>
                    <a:lnTo>
                      <a:pt x="181" y="420"/>
                    </a:lnTo>
                    <a:lnTo>
                      <a:pt x="181" y="414"/>
                    </a:lnTo>
                    <a:lnTo>
                      <a:pt x="187" y="414"/>
                    </a:lnTo>
                    <a:lnTo>
                      <a:pt x="187" y="408"/>
                    </a:lnTo>
                    <a:lnTo>
                      <a:pt x="181" y="408"/>
                    </a:lnTo>
                    <a:lnTo>
                      <a:pt x="181" y="403"/>
                    </a:lnTo>
                    <a:lnTo>
                      <a:pt x="187" y="403"/>
                    </a:lnTo>
                    <a:lnTo>
                      <a:pt x="187" y="397"/>
                    </a:lnTo>
                    <a:lnTo>
                      <a:pt x="192" y="397"/>
                    </a:lnTo>
                    <a:lnTo>
                      <a:pt x="192" y="391"/>
                    </a:lnTo>
                    <a:lnTo>
                      <a:pt x="198" y="391"/>
                    </a:lnTo>
                    <a:lnTo>
                      <a:pt x="204" y="391"/>
                    </a:lnTo>
                    <a:lnTo>
                      <a:pt x="204" y="386"/>
                    </a:lnTo>
                    <a:lnTo>
                      <a:pt x="198" y="386"/>
                    </a:lnTo>
                    <a:lnTo>
                      <a:pt x="198" y="380"/>
                    </a:lnTo>
                    <a:lnTo>
                      <a:pt x="204" y="380"/>
                    </a:lnTo>
                    <a:lnTo>
                      <a:pt x="209" y="380"/>
                    </a:lnTo>
                    <a:lnTo>
                      <a:pt x="215" y="380"/>
                    </a:lnTo>
                    <a:lnTo>
                      <a:pt x="221" y="380"/>
                    </a:lnTo>
                    <a:lnTo>
                      <a:pt x="215" y="374"/>
                    </a:lnTo>
                    <a:lnTo>
                      <a:pt x="221" y="369"/>
                    </a:lnTo>
                    <a:lnTo>
                      <a:pt x="226" y="374"/>
                    </a:lnTo>
                    <a:lnTo>
                      <a:pt x="226" y="369"/>
                    </a:lnTo>
                    <a:lnTo>
                      <a:pt x="232" y="369"/>
                    </a:lnTo>
                    <a:lnTo>
                      <a:pt x="238" y="369"/>
                    </a:lnTo>
                    <a:lnTo>
                      <a:pt x="238" y="363"/>
                    </a:lnTo>
                    <a:lnTo>
                      <a:pt x="243" y="363"/>
                    </a:lnTo>
                    <a:lnTo>
                      <a:pt x="243" y="357"/>
                    </a:lnTo>
                    <a:lnTo>
                      <a:pt x="249" y="357"/>
                    </a:lnTo>
                    <a:lnTo>
                      <a:pt x="249" y="352"/>
                    </a:lnTo>
                    <a:lnTo>
                      <a:pt x="249" y="346"/>
                    </a:lnTo>
                    <a:lnTo>
                      <a:pt x="255" y="346"/>
                    </a:lnTo>
                    <a:lnTo>
                      <a:pt x="260" y="346"/>
                    </a:lnTo>
                    <a:lnTo>
                      <a:pt x="255" y="352"/>
                    </a:lnTo>
                    <a:lnTo>
                      <a:pt x="260" y="352"/>
                    </a:lnTo>
                    <a:lnTo>
                      <a:pt x="266" y="352"/>
                    </a:lnTo>
                    <a:lnTo>
                      <a:pt x="266" y="346"/>
                    </a:lnTo>
                    <a:lnTo>
                      <a:pt x="272" y="346"/>
                    </a:lnTo>
                    <a:lnTo>
                      <a:pt x="272" y="352"/>
                    </a:lnTo>
                    <a:lnTo>
                      <a:pt x="277" y="352"/>
                    </a:lnTo>
                    <a:lnTo>
                      <a:pt x="277" y="346"/>
                    </a:lnTo>
                    <a:lnTo>
                      <a:pt x="283" y="340"/>
                    </a:lnTo>
                    <a:lnTo>
                      <a:pt x="289" y="340"/>
                    </a:lnTo>
                    <a:lnTo>
                      <a:pt x="300" y="340"/>
                    </a:lnTo>
                    <a:lnTo>
                      <a:pt x="306" y="340"/>
                    </a:lnTo>
                    <a:lnTo>
                      <a:pt x="306" y="335"/>
                    </a:lnTo>
                    <a:lnTo>
                      <a:pt x="311" y="335"/>
                    </a:lnTo>
                    <a:lnTo>
                      <a:pt x="317" y="329"/>
                    </a:lnTo>
                    <a:lnTo>
                      <a:pt x="317" y="323"/>
                    </a:lnTo>
                    <a:lnTo>
                      <a:pt x="317" y="317"/>
                    </a:lnTo>
                    <a:lnTo>
                      <a:pt x="317" y="312"/>
                    </a:lnTo>
                    <a:lnTo>
                      <a:pt x="317" y="306"/>
                    </a:lnTo>
                    <a:lnTo>
                      <a:pt x="323" y="306"/>
                    </a:lnTo>
                    <a:lnTo>
                      <a:pt x="323" y="300"/>
                    </a:lnTo>
                    <a:lnTo>
                      <a:pt x="323" y="295"/>
                    </a:lnTo>
                    <a:lnTo>
                      <a:pt x="328" y="295"/>
                    </a:lnTo>
                    <a:lnTo>
                      <a:pt x="328" y="300"/>
                    </a:lnTo>
                    <a:lnTo>
                      <a:pt x="334" y="300"/>
                    </a:lnTo>
                    <a:lnTo>
                      <a:pt x="340" y="300"/>
                    </a:lnTo>
                    <a:lnTo>
                      <a:pt x="340" y="295"/>
                    </a:lnTo>
                    <a:lnTo>
                      <a:pt x="345" y="295"/>
                    </a:lnTo>
                    <a:lnTo>
                      <a:pt x="351" y="295"/>
                    </a:lnTo>
                    <a:lnTo>
                      <a:pt x="357" y="300"/>
                    </a:lnTo>
                    <a:lnTo>
                      <a:pt x="362" y="300"/>
                    </a:lnTo>
                    <a:lnTo>
                      <a:pt x="362" y="295"/>
                    </a:lnTo>
                    <a:lnTo>
                      <a:pt x="368" y="289"/>
                    </a:lnTo>
                    <a:lnTo>
                      <a:pt x="374" y="283"/>
                    </a:lnTo>
                    <a:lnTo>
                      <a:pt x="374" y="278"/>
                    </a:lnTo>
                    <a:lnTo>
                      <a:pt x="368" y="278"/>
                    </a:lnTo>
                    <a:lnTo>
                      <a:pt x="368" y="272"/>
                    </a:lnTo>
                    <a:lnTo>
                      <a:pt x="374" y="272"/>
                    </a:lnTo>
                    <a:lnTo>
                      <a:pt x="374" y="278"/>
                    </a:lnTo>
                    <a:lnTo>
                      <a:pt x="379" y="278"/>
                    </a:lnTo>
                    <a:lnTo>
                      <a:pt x="385" y="272"/>
                    </a:lnTo>
                    <a:lnTo>
                      <a:pt x="385" y="266"/>
                    </a:lnTo>
                    <a:lnTo>
                      <a:pt x="391" y="266"/>
                    </a:lnTo>
                    <a:lnTo>
                      <a:pt x="396" y="266"/>
                    </a:lnTo>
                    <a:lnTo>
                      <a:pt x="396" y="261"/>
                    </a:lnTo>
                    <a:lnTo>
                      <a:pt x="402" y="261"/>
                    </a:lnTo>
                    <a:lnTo>
                      <a:pt x="408" y="255"/>
                    </a:lnTo>
                    <a:lnTo>
                      <a:pt x="413" y="255"/>
                    </a:lnTo>
                    <a:lnTo>
                      <a:pt x="413" y="249"/>
                    </a:lnTo>
                    <a:lnTo>
                      <a:pt x="413" y="244"/>
                    </a:lnTo>
                    <a:lnTo>
                      <a:pt x="413" y="238"/>
                    </a:lnTo>
                    <a:lnTo>
                      <a:pt x="419" y="238"/>
                    </a:lnTo>
                    <a:lnTo>
                      <a:pt x="419" y="232"/>
                    </a:lnTo>
                    <a:lnTo>
                      <a:pt x="413" y="227"/>
                    </a:lnTo>
                    <a:lnTo>
                      <a:pt x="419" y="227"/>
                    </a:lnTo>
                    <a:lnTo>
                      <a:pt x="425" y="227"/>
                    </a:lnTo>
                    <a:lnTo>
                      <a:pt x="430" y="221"/>
                    </a:lnTo>
                    <a:lnTo>
                      <a:pt x="436" y="221"/>
                    </a:lnTo>
                    <a:lnTo>
                      <a:pt x="442" y="215"/>
                    </a:lnTo>
                    <a:lnTo>
                      <a:pt x="447" y="210"/>
                    </a:lnTo>
                    <a:lnTo>
                      <a:pt x="447" y="204"/>
                    </a:lnTo>
                    <a:lnTo>
                      <a:pt x="447" y="198"/>
                    </a:lnTo>
                    <a:lnTo>
                      <a:pt x="447" y="193"/>
                    </a:lnTo>
                    <a:lnTo>
                      <a:pt x="459" y="187"/>
                    </a:lnTo>
                    <a:lnTo>
                      <a:pt x="464" y="181"/>
                    </a:lnTo>
                    <a:lnTo>
                      <a:pt x="476" y="176"/>
                    </a:lnTo>
                    <a:lnTo>
                      <a:pt x="476" y="170"/>
                    </a:lnTo>
                    <a:lnTo>
                      <a:pt x="476" y="159"/>
                    </a:lnTo>
                    <a:lnTo>
                      <a:pt x="481" y="159"/>
                    </a:lnTo>
                    <a:lnTo>
                      <a:pt x="481" y="153"/>
                    </a:lnTo>
                    <a:lnTo>
                      <a:pt x="487" y="147"/>
                    </a:lnTo>
                    <a:lnTo>
                      <a:pt x="493" y="147"/>
                    </a:lnTo>
                    <a:lnTo>
                      <a:pt x="504" y="142"/>
                    </a:lnTo>
                    <a:lnTo>
                      <a:pt x="510" y="136"/>
                    </a:lnTo>
                    <a:lnTo>
                      <a:pt x="515" y="130"/>
                    </a:lnTo>
                    <a:lnTo>
                      <a:pt x="521" y="130"/>
                    </a:lnTo>
                    <a:lnTo>
                      <a:pt x="527" y="125"/>
                    </a:lnTo>
                    <a:lnTo>
                      <a:pt x="532" y="125"/>
                    </a:lnTo>
                    <a:lnTo>
                      <a:pt x="544" y="119"/>
                    </a:lnTo>
                    <a:lnTo>
                      <a:pt x="555" y="119"/>
                    </a:lnTo>
                    <a:lnTo>
                      <a:pt x="561" y="119"/>
                    </a:lnTo>
                    <a:lnTo>
                      <a:pt x="566" y="125"/>
                    </a:lnTo>
                    <a:lnTo>
                      <a:pt x="572" y="125"/>
                    </a:lnTo>
                    <a:lnTo>
                      <a:pt x="578" y="125"/>
                    </a:lnTo>
                    <a:lnTo>
                      <a:pt x="583" y="119"/>
                    </a:lnTo>
                    <a:lnTo>
                      <a:pt x="589" y="119"/>
                    </a:lnTo>
                    <a:lnTo>
                      <a:pt x="595" y="119"/>
                    </a:lnTo>
                    <a:lnTo>
                      <a:pt x="600" y="119"/>
                    </a:lnTo>
                    <a:lnTo>
                      <a:pt x="612" y="113"/>
                    </a:lnTo>
                    <a:lnTo>
                      <a:pt x="617" y="113"/>
                    </a:lnTo>
                    <a:lnTo>
                      <a:pt x="617" y="108"/>
                    </a:lnTo>
                    <a:lnTo>
                      <a:pt x="623" y="108"/>
                    </a:lnTo>
                    <a:lnTo>
                      <a:pt x="629" y="108"/>
                    </a:lnTo>
                    <a:lnTo>
                      <a:pt x="629" y="102"/>
                    </a:lnTo>
                    <a:lnTo>
                      <a:pt x="634" y="102"/>
                    </a:lnTo>
                    <a:lnTo>
                      <a:pt x="640" y="102"/>
                    </a:lnTo>
                    <a:lnTo>
                      <a:pt x="651" y="96"/>
                    </a:lnTo>
                    <a:lnTo>
                      <a:pt x="657" y="96"/>
                    </a:lnTo>
                    <a:lnTo>
                      <a:pt x="657" y="91"/>
                    </a:lnTo>
                    <a:lnTo>
                      <a:pt x="663" y="91"/>
                    </a:lnTo>
                    <a:lnTo>
                      <a:pt x="668" y="91"/>
                    </a:lnTo>
                    <a:lnTo>
                      <a:pt x="668" y="85"/>
                    </a:lnTo>
                    <a:lnTo>
                      <a:pt x="674" y="91"/>
                    </a:lnTo>
                    <a:lnTo>
                      <a:pt x="680" y="91"/>
                    </a:lnTo>
                    <a:lnTo>
                      <a:pt x="685" y="85"/>
                    </a:lnTo>
                    <a:lnTo>
                      <a:pt x="691" y="74"/>
                    </a:lnTo>
                    <a:lnTo>
                      <a:pt x="691" y="68"/>
                    </a:lnTo>
                    <a:lnTo>
                      <a:pt x="697" y="68"/>
                    </a:lnTo>
                    <a:lnTo>
                      <a:pt x="691" y="57"/>
                    </a:lnTo>
                    <a:lnTo>
                      <a:pt x="691" y="51"/>
                    </a:lnTo>
                    <a:lnTo>
                      <a:pt x="697" y="51"/>
                    </a:lnTo>
                    <a:lnTo>
                      <a:pt x="697" y="45"/>
                    </a:lnTo>
                    <a:lnTo>
                      <a:pt x="702" y="45"/>
                    </a:lnTo>
                    <a:lnTo>
                      <a:pt x="702" y="40"/>
                    </a:lnTo>
                    <a:lnTo>
                      <a:pt x="708" y="34"/>
                    </a:lnTo>
                    <a:lnTo>
                      <a:pt x="708" y="28"/>
                    </a:lnTo>
                    <a:lnTo>
                      <a:pt x="714" y="28"/>
                    </a:lnTo>
                    <a:lnTo>
                      <a:pt x="719" y="28"/>
                    </a:lnTo>
                    <a:lnTo>
                      <a:pt x="725" y="28"/>
                    </a:lnTo>
                    <a:lnTo>
                      <a:pt x="731" y="28"/>
                    </a:lnTo>
                    <a:lnTo>
                      <a:pt x="731" y="23"/>
                    </a:lnTo>
                    <a:lnTo>
                      <a:pt x="736" y="23"/>
                    </a:lnTo>
                    <a:lnTo>
                      <a:pt x="742" y="23"/>
                    </a:lnTo>
                    <a:lnTo>
                      <a:pt x="748" y="23"/>
                    </a:lnTo>
                    <a:lnTo>
                      <a:pt x="753" y="17"/>
                    </a:lnTo>
                    <a:lnTo>
                      <a:pt x="759" y="17"/>
                    </a:lnTo>
                    <a:lnTo>
                      <a:pt x="765" y="17"/>
                    </a:lnTo>
                    <a:lnTo>
                      <a:pt x="770" y="17"/>
                    </a:lnTo>
                    <a:lnTo>
                      <a:pt x="776" y="17"/>
                    </a:lnTo>
                    <a:lnTo>
                      <a:pt x="782" y="17"/>
                    </a:lnTo>
                    <a:lnTo>
                      <a:pt x="787" y="17"/>
                    </a:lnTo>
                    <a:lnTo>
                      <a:pt x="787" y="23"/>
                    </a:lnTo>
                    <a:lnTo>
                      <a:pt x="793" y="23"/>
                    </a:lnTo>
                    <a:lnTo>
                      <a:pt x="799" y="23"/>
                    </a:lnTo>
                    <a:lnTo>
                      <a:pt x="804" y="23"/>
                    </a:lnTo>
                    <a:lnTo>
                      <a:pt x="804" y="17"/>
                    </a:lnTo>
                    <a:lnTo>
                      <a:pt x="810" y="17"/>
                    </a:lnTo>
                    <a:lnTo>
                      <a:pt x="816" y="17"/>
                    </a:lnTo>
                    <a:lnTo>
                      <a:pt x="821" y="11"/>
                    </a:lnTo>
                    <a:lnTo>
                      <a:pt x="827" y="11"/>
                    </a:lnTo>
                    <a:lnTo>
                      <a:pt x="833" y="17"/>
                    </a:lnTo>
                    <a:lnTo>
                      <a:pt x="838" y="17"/>
                    </a:lnTo>
                    <a:lnTo>
                      <a:pt x="844" y="17"/>
                    </a:lnTo>
                    <a:lnTo>
                      <a:pt x="844" y="11"/>
                    </a:lnTo>
                    <a:lnTo>
                      <a:pt x="850" y="6"/>
                    </a:lnTo>
                    <a:lnTo>
                      <a:pt x="855" y="6"/>
                    </a:lnTo>
                    <a:lnTo>
                      <a:pt x="861" y="6"/>
                    </a:lnTo>
                    <a:lnTo>
                      <a:pt x="861" y="11"/>
                    </a:lnTo>
                    <a:lnTo>
                      <a:pt x="867" y="11"/>
                    </a:lnTo>
                    <a:lnTo>
                      <a:pt x="867" y="6"/>
                    </a:lnTo>
                    <a:lnTo>
                      <a:pt x="873" y="6"/>
                    </a:lnTo>
                    <a:lnTo>
                      <a:pt x="878" y="0"/>
                    </a:lnTo>
                    <a:lnTo>
                      <a:pt x="878" y="6"/>
                    </a:lnTo>
                    <a:lnTo>
                      <a:pt x="884" y="6"/>
                    </a:lnTo>
                    <a:lnTo>
                      <a:pt x="890" y="6"/>
                    </a:lnTo>
                    <a:lnTo>
                      <a:pt x="895" y="6"/>
                    </a:lnTo>
                    <a:lnTo>
                      <a:pt x="901" y="6"/>
                    </a:lnTo>
                    <a:lnTo>
                      <a:pt x="907" y="6"/>
                    </a:lnTo>
                    <a:lnTo>
                      <a:pt x="918" y="11"/>
                    </a:lnTo>
                    <a:lnTo>
                      <a:pt x="924" y="11"/>
                    </a:lnTo>
                    <a:lnTo>
                      <a:pt x="924" y="17"/>
                    </a:lnTo>
                    <a:lnTo>
                      <a:pt x="929" y="11"/>
                    </a:lnTo>
                    <a:lnTo>
                      <a:pt x="929" y="17"/>
                    </a:lnTo>
                    <a:lnTo>
                      <a:pt x="935" y="17"/>
                    </a:lnTo>
                    <a:lnTo>
                      <a:pt x="941" y="17"/>
                    </a:lnTo>
                    <a:lnTo>
                      <a:pt x="946" y="17"/>
                    </a:lnTo>
                    <a:lnTo>
                      <a:pt x="952" y="23"/>
                    </a:lnTo>
                    <a:lnTo>
                      <a:pt x="958" y="28"/>
                    </a:lnTo>
                    <a:lnTo>
                      <a:pt x="963" y="28"/>
                    </a:lnTo>
                    <a:lnTo>
                      <a:pt x="969" y="28"/>
                    </a:lnTo>
                    <a:lnTo>
                      <a:pt x="975" y="34"/>
                    </a:lnTo>
                    <a:lnTo>
                      <a:pt x="980" y="34"/>
                    </a:lnTo>
                    <a:lnTo>
                      <a:pt x="980" y="40"/>
                    </a:lnTo>
                    <a:lnTo>
                      <a:pt x="986" y="40"/>
                    </a:lnTo>
                    <a:lnTo>
                      <a:pt x="992" y="45"/>
                    </a:lnTo>
                    <a:lnTo>
                      <a:pt x="997" y="45"/>
                    </a:lnTo>
                    <a:lnTo>
                      <a:pt x="1003" y="51"/>
                    </a:lnTo>
                    <a:lnTo>
                      <a:pt x="1009" y="51"/>
                    </a:lnTo>
                    <a:lnTo>
                      <a:pt x="1009" y="45"/>
                    </a:lnTo>
                    <a:lnTo>
                      <a:pt x="1014" y="45"/>
                    </a:lnTo>
                    <a:lnTo>
                      <a:pt x="1020" y="45"/>
                    </a:lnTo>
                    <a:lnTo>
                      <a:pt x="1026" y="45"/>
                    </a:lnTo>
                    <a:lnTo>
                      <a:pt x="1031" y="51"/>
                    </a:lnTo>
                    <a:lnTo>
                      <a:pt x="1037" y="57"/>
                    </a:lnTo>
                    <a:lnTo>
                      <a:pt x="1043" y="62"/>
                    </a:lnTo>
                    <a:lnTo>
                      <a:pt x="1048" y="62"/>
                    </a:lnTo>
                    <a:lnTo>
                      <a:pt x="1060" y="62"/>
                    </a:lnTo>
                    <a:lnTo>
                      <a:pt x="1065" y="62"/>
                    </a:lnTo>
                    <a:lnTo>
                      <a:pt x="1077" y="57"/>
                    </a:lnTo>
                    <a:lnTo>
                      <a:pt x="1082" y="57"/>
                    </a:lnTo>
                    <a:lnTo>
                      <a:pt x="1088" y="57"/>
                    </a:lnTo>
                    <a:lnTo>
                      <a:pt x="1094" y="51"/>
                    </a:lnTo>
                    <a:lnTo>
                      <a:pt x="1099" y="51"/>
                    </a:lnTo>
                    <a:lnTo>
                      <a:pt x="1105" y="51"/>
                    </a:lnTo>
                    <a:lnTo>
                      <a:pt x="1105" y="57"/>
                    </a:lnTo>
                    <a:lnTo>
                      <a:pt x="1111" y="57"/>
                    </a:lnTo>
                    <a:lnTo>
                      <a:pt x="1116" y="57"/>
                    </a:lnTo>
                    <a:lnTo>
                      <a:pt x="1116" y="51"/>
                    </a:lnTo>
                    <a:lnTo>
                      <a:pt x="1122" y="51"/>
                    </a:lnTo>
                    <a:lnTo>
                      <a:pt x="1128" y="51"/>
                    </a:lnTo>
                    <a:lnTo>
                      <a:pt x="1128" y="57"/>
                    </a:lnTo>
                    <a:lnTo>
                      <a:pt x="1133" y="57"/>
                    </a:lnTo>
                    <a:lnTo>
                      <a:pt x="1139" y="57"/>
                    </a:lnTo>
                    <a:lnTo>
                      <a:pt x="1139" y="51"/>
                    </a:lnTo>
                    <a:lnTo>
                      <a:pt x="1145" y="51"/>
                    </a:lnTo>
                    <a:lnTo>
                      <a:pt x="1150" y="51"/>
                    </a:lnTo>
                    <a:lnTo>
                      <a:pt x="1156" y="51"/>
                    </a:lnTo>
                    <a:lnTo>
                      <a:pt x="1162" y="51"/>
                    </a:lnTo>
                    <a:lnTo>
                      <a:pt x="1173" y="51"/>
                    </a:lnTo>
                    <a:lnTo>
                      <a:pt x="1179" y="51"/>
                    </a:lnTo>
                    <a:lnTo>
                      <a:pt x="1184" y="45"/>
                    </a:lnTo>
                    <a:lnTo>
                      <a:pt x="1190" y="45"/>
                    </a:lnTo>
                    <a:lnTo>
                      <a:pt x="1196" y="45"/>
                    </a:lnTo>
                    <a:lnTo>
                      <a:pt x="1201" y="51"/>
                    </a:lnTo>
                    <a:lnTo>
                      <a:pt x="1207" y="45"/>
                    </a:lnTo>
                    <a:lnTo>
                      <a:pt x="1207" y="51"/>
                    </a:lnTo>
                    <a:lnTo>
                      <a:pt x="1213" y="51"/>
                    </a:lnTo>
                    <a:lnTo>
                      <a:pt x="1218" y="51"/>
                    </a:lnTo>
                    <a:lnTo>
                      <a:pt x="1224" y="51"/>
                    </a:lnTo>
                    <a:lnTo>
                      <a:pt x="1230" y="57"/>
                    </a:lnTo>
                    <a:lnTo>
                      <a:pt x="1235" y="57"/>
                    </a:lnTo>
                    <a:lnTo>
                      <a:pt x="1241" y="57"/>
                    </a:lnTo>
                    <a:lnTo>
                      <a:pt x="1247" y="57"/>
                    </a:lnTo>
                    <a:lnTo>
                      <a:pt x="1247" y="62"/>
                    </a:lnTo>
                    <a:lnTo>
                      <a:pt x="1252" y="62"/>
                    </a:lnTo>
                    <a:lnTo>
                      <a:pt x="1264" y="57"/>
                    </a:lnTo>
                    <a:lnTo>
                      <a:pt x="1269" y="57"/>
                    </a:lnTo>
                    <a:lnTo>
                      <a:pt x="1275" y="57"/>
                    </a:lnTo>
                    <a:lnTo>
                      <a:pt x="1281" y="57"/>
                    </a:lnTo>
                    <a:lnTo>
                      <a:pt x="1286" y="62"/>
                    </a:lnTo>
                    <a:lnTo>
                      <a:pt x="1286" y="68"/>
                    </a:lnTo>
                    <a:lnTo>
                      <a:pt x="1292" y="68"/>
                    </a:lnTo>
                    <a:lnTo>
                      <a:pt x="1298" y="62"/>
                    </a:lnTo>
                    <a:lnTo>
                      <a:pt x="1303" y="68"/>
                    </a:lnTo>
                    <a:lnTo>
                      <a:pt x="1309" y="74"/>
                    </a:lnTo>
                    <a:lnTo>
                      <a:pt x="1309" y="79"/>
                    </a:lnTo>
                    <a:lnTo>
                      <a:pt x="1315" y="79"/>
                    </a:lnTo>
                    <a:lnTo>
                      <a:pt x="1326" y="125"/>
                    </a:lnTo>
                    <a:lnTo>
                      <a:pt x="1337" y="170"/>
                    </a:lnTo>
                    <a:lnTo>
                      <a:pt x="1360" y="238"/>
                    </a:lnTo>
                    <a:lnTo>
                      <a:pt x="1360" y="249"/>
                    </a:lnTo>
                    <a:lnTo>
                      <a:pt x="1366" y="255"/>
                    </a:lnTo>
                    <a:lnTo>
                      <a:pt x="1366" y="272"/>
                    </a:lnTo>
                    <a:lnTo>
                      <a:pt x="1371" y="283"/>
                    </a:lnTo>
                    <a:lnTo>
                      <a:pt x="1371" y="300"/>
                    </a:lnTo>
                    <a:lnTo>
                      <a:pt x="1371" y="312"/>
                    </a:lnTo>
                    <a:lnTo>
                      <a:pt x="1371" y="317"/>
                    </a:lnTo>
                    <a:lnTo>
                      <a:pt x="1366" y="346"/>
                    </a:lnTo>
                    <a:lnTo>
                      <a:pt x="1371" y="363"/>
                    </a:lnTo>
                    <a:lnTo>
                      <a:pt x="1371" y="369"/>
                    </a:lnTo>
                    <a:lnTo>
                      <a:pt x="1394" y="391"/>
                    </a:lnTo>
                    <a:lnTo>
                      <a:pt x="1400" y="403"/>
                    </a:lnTo>
                    <a:lnTo>
                      <a:pt x="1405" y="431"/>
                    </a:lnTo>
                    <a:lnTo>
                      <a:pt x="1417" y="476"/>
                    </a:lnTo>
                    <a:lnTo>
                      <a:pt x="1445" y="493"/>
                    </a:lnTo>
                    <a:lnTo>
                      <a:pt x="1451" y="493"/>
                    </a:lnTo>
                    <a:lnTo>
                      <a:pt x="1445" y="493"/>
                    </a:lnTo>
                    <a:lnTo>
                      <a:pt x="1439" y="499"/>
                    </a:lnTo>
                    <a:lnTo>
                      <a:pt x="1434" y="499"/>
                    </a:lnTo>
                    <a:lnTo>
                      <a:pt x="1428" y="499"/>
                    </a:lnTo>
                    <a:lnTo>
                      <a:pt x="1422" y="493"/>
                    </a:lnTo>
                    <a:lnTo>
                      <a:pt x="1422" y="499"/>
                    </a:lnTo>
                    <a:lnTo>
                      <a:pt x="1417" y="499"/>
                    </a:lnTo>
                    <a:lnTo>
                      <a:pt x="1417" y="505"/>
                    </a:lnTo>
                    <a:lnTo>
                      <a:pt x="1411" y="505"/>
                    </a:lnTo>
                    <a:lnTo>
                      <a:pt x="1411" y="510"/>
                    </a:lnTo>
                    <a:lnTo>
                      <a:pt x="1405" y="516"/>
                    </a:lnTo>
                    <a:lnTo>
                      <a:pt x="1405" y="522"/>
                    </a:lnTo>
                    <a:lnTo>
                      <a:pt x="1400" y="522"/>
                    </a:lnTo>
                    <a:lnTo>
                      <a:pt x="1394" y="522"/>
                    </a:lnTo>
                    <a:lnTo>
                      <a:pt x="1388" y="516"/>
                    </a:lnTo>
                    <a:lnTo>
                      <a:pt x="1388" y="510"/>
                    </a:lnTo>
                    <a:lnTo>
                      <a:pt x="1383" y="510"/>
                    </a:lnTo>
                    <a:lnTo>
                      <a:pt x="1377" y="510"/>
                    </a:lnTo>
                    <a:lnTo>
                      <a:pt x="1377" y="516"/>
                    </a:lnTo>
                    <a:lnTo>
                      <a:pt x="1377" y="522"/>
                    </a:lnTo>
                    <a:lnTo>
                      <a:pt x="1371" y="522"/>
                    </a:lnTo>
                    <a:lnTo>
                      <a:pt x="1366" y="516"/>
                    </a:lnTo>
                    <a:lnTo>
                      <a:pt x="1360" y="516"/>
                    </a:lnTo>
                    <a:lnTo>
                      <a:pt x="1360" y="522"/>
                    </a:lnTo>
                    <a:lnTo>
                      <a:pt x="1354" y="522"/>
                    </a:lnTo>
                    <a:lnTo>
                      <a:pt x="1354" y="516"/>
                    </a:lnTo>
                    <a:lnTo>
                      <a:pt x="1349" y="516"/>
                    </a:lnTo>
                    <a:lnTo>
                      <a:pt x="1343" y="516"/>
                    </a:lnTo>
                    <a:lnTo>
                      <a:pt x="1343" y="510"/>
                    </a:lnTo>
                    <a:lnTo>
                      <a:pt x="1337" y="510"/>
                    </a:lnTo>
                    <a:lnTo>
                      <a:pt x="1332" y="510"/>
                    </a:lnTo>
                    <a:lnTo>
                      <a:pt x="1332" y="516"/>
                    </a:lnTo>
                    <a:lnTo>
                      <a:pt x="1326" y="516"/>
                    </a:lnTo>
                    <a:lnTo>
                      <a:pt x="1326" y="522"/>
                    </a:lnTo>
                    <a:lnTo>
                      <a:pt x="1320" y="522"/>
                    </a:lnTo>
                    <a:lnTo>
                      <a:pt x="1315" y="522"/>
                    </a:lnTo>
                    <a:lnTo>
                      <a:pt x="1309" y="522"/>
                    </a:lnTo>
                    <a:lnTo>
                      <a:pt x="1309" y="527"/>
                    </a:lnTo>
                    <a:lnTo>
                      <a:pt x="1303" y="527"/>
                    </a:lnTo>
                    <a:lnTo>
                      <a:pt x="1298" y="527"/>
                    </a:lnTo>
                    <a:lnTo>
                      <a:pt x="1292" y="527"/>
                    </a:lnTo>
                    <a:lnTo>
                      <a:pt x="1292" y="533"/>
                    </a:lnTo>
                    <a:lnTo>
                      <a:pt x="1286" y="533"/>
                    </a:lnTo>
                    <a:lnTo>
                      <a:pt x="1343" y="539"/>
                    </a:lnTo>
                    <a:lnTo>
                      <a:pt x="1343" y="550"/>
                    </a:lnTo>
                    <a:lnTo>
                      <a:pt x="1332" y="556"/>
                    </a:lnTo>
                    <a:lnTo>
                      <a:pt x="1332" y="573"/>
                    </a:lnTo>
                    <a:lnTo>
                      <a:pt x="1332" y="584"/>
                    </a:lnTo>
                    <a:lnTo>
                      <a:pt x="1320" y="601"/>
                    </a:lnTo>
                    <a:lnTo>
                      <a:pt x="1315" y="612"/>
                    </a:lnTo>
                    <a:lnTo>
                      <a:pt x="1315" y="618"/>
                    </a:lnTo>
                    <a:lnTo>
                      <a:pt x="1309" y="635"/>
                    </a:lnTo>
                    <a:lnTo>
                      <a:pt x="1337" y="635"/>
                    </a:lnTo>
                    <a:lnTo>
                      <a:pt x="1332" y="641"/>
                    </a:lnTo>
                    <a:lnTo>
                      <a:pt x="1332" y="646"/>
                    </a:lnTo>
                    <a:lnTo>
                      <a:pt x="1332" y="652"/>
                    </a:lnTo>
                    <a:lnTo>
                      <a:pt x="1337" y="658"/>
                    </a:lnTo>
                    <a:lnTo>
                      <a:pt x="1360" y="669"/>
                    </a:lnTo>
                    <a:lnTo>
                      <a:pt x="1371" y="675"/>
                    </a:lnTo>
                    <a:lnTo>
                      <a:pt x="1371" y="680"/>
                    </a:lnTo>
                    <a:lnTo>
                      <a:pt x="1366" y="680"/>
                    </a:lnTo>
                    <a:lnTo>
                      <a:pt x="1366" y="686"/>
                    </a:lnTo>
                    <a:lnTo>
                      <a:pt x="1360" y="686"/>
                    </a:lnTo>
                    <a:lnTo>
                      <a:pt x="1354" y="686"/>
                    </a:lnTo>
                    <a:lnTo>
                      <a:pt x="1349" y="686"/>
                    </a:lnTo>
                    <a:lnTo>
                      <a:pt x="1349" y="692"/>
                    </a:lnTo>
                    <a:lnTo>
                      <a:pt x="1349" y="703"/>
                    </a:lnTo>
                    <a:lnTo>
                      <a:pt x="1326" y="703"/>
                    </a:lnTo>
                    <a:lnTo>
                      <a:pt x="1315" y="703"/>
                    </a:lnTo>
                    <a:lnTo>
                      <a:pt x="1298" y="703"/>
                    </a:lnTo>
                    <a:lnTo>
                      <a:pt x="1298" y="731"/>
                    </a:lnTo>
                    <a:lnTo>
                      <a:pt x="1298" y="737"/>
                    </a:lnTo>
                    <a:lnTo>
                      <a:pt x="1303" y="737"/>
                    </a:lnTo>
                    <a:lnTo>
                      <a:pt x="1309" y="737"/>
                    </a:lnTo>
                    <a:lnTo>
                      <a:pt x="1315" y="737"/>
                    </a:lnTo>
                    <a:lnTo>
                      <a:pt x="1320" y="743"/>
                    </a:lnTo>
                    <a:lnTo>
                      <a:pt x="1332" y="743"/>
                    </a:lnTo>
                    <a:lnTo>
                      <a:pt x="1332" y="754"/>
                    </a:lnTo>
                    <a:lnTo>
                      <a:pt x="1332" y="760"/>
                    </a:lnTo>
                    <a:lnTo>
                      <a:pt x="1320" y="760"/>
                    </a:lnTo>
                    <a:lnTo>
                      <a:pt x="1320" y="771"/>
                    </a:lnTo>
                    <a:lnTo>
                      <a:pt x="1315" y="771"/>
                    </a:lnTo>
                    <a:lnTo>
                      <a:pt x="1309" y="771"/>
                    </a:lnTo>
                    <a:lnTo>
                      <a:pt x="1303" y="771"/>
                    </a:lnTo>
                    <a:lnTo>
                      <a:pt x="1298" y="771"/>
                    </a:lnTo>
                    <a:lnTo>
                      <a:pt x="1292" y="771"/>
                    </a:lnTo>
                    <a:lnTo>
                      <a:pt x="1286" y="771"/>
                    </a:lnTo>
                    <a:lnTo>
                      <a:pt x="1281" y="771"/>
                    </a:lnTo>
                    <a:lnTo>
                      <a:pt x="1275" y="771"/>
                    </a:lnTo>
                    <a:lnTo>
                      <a:pt x="1275" y="777"/>
                    </a:lnTo>
                    <a:lnTo>
                      <a:pt x="1269" y="782"/>
                    </a:lnTo>
                    <a:lnTo>
                      <a:pt x="1264" y="782"/>
                    </a:lnTo>
                    <a:lnTo>
                      <a:pt x="1258" y="782"/>
                    </a:lnTo>
                    <a:lnTo>
                      <a:pt x="1252" y="782"/>
                    </a:lnTo>
                    <a:lnTo>
                      <a:pt x="1247" y="782"/>
                    </a:lnTo>
                    <a:lnTo>
                      <a:pt x="1241" y="782"/>
                    </a:lnTo>
                    <a:lnTo>
                      <a:pt x="1235" y="782"/>
                    </a:lnTo>
                    <a:lnTo>
                      <a:pt x="1235" y="777"/>
                    </a:lnTo>
                    <a:lnTo>
                      <a:pt x="1235" y="771"/>
                    </a:lnTo>
                    <a:lnTo>
                      <a:pt x="1235" y="765"/>
                    </a:lnTo>
                    <a:lnTo>
                      <a:pt x="1235" y="760"/>
                    </a:lnTo>
                    <a:lnTo>
                      <a:pt x="1235" y="754"/>
                    </a:lnTo>
                    <a:lnTo>
                      <a:pt x="1230" y="743"/>
                    </a:lnTo>
                    <a:lnTo>
                      <a:pt x="1207" y="743"/>
                    </a:lnTo>
                    <a:lnTo>
                      <a:pt x="1201" y="743"/>
                    </a:lnTo>
                    <a:lnTo>
                      <a:pt x="1196" y="743"/>
                    </a:lnTo>
                    <a:lnTo>
                      <a:pt x="1196" y="737"/>
                    </a:lnTo>
                    <a:lnTo>
                      <a:pt x="1196" y="731"/>
                    </a:lnTo>
                    <a:lnTo>
                      <a:pt x="1190" y="726"/>
                    </a:lnTo>
                    <a:lnTo>
                      <a:pt x="1190" y="720"/>
                    </a:lnTo>
                    <a:lnTo>
                      <a:pt x="1184" y="709"/>
                    </a:lnTo>
                    <a:lnTo>
                      <a:pt x="1196" y="697"/>
                    </a:lnTo>
                    <a:lnTo>
                      <a:pt x="1196" y="686"/>
                    </a:lnTo>
                    <a:lnTo>
                      <a:pt x="1196" y="680"/>
                    </a:lnTo>
                    <a:lnTo>
                      <a:pt x="1179" y="675"/>
                    </a:lnTo>
                    <a:lnTo>
                      <a:pt x="1179" y="669"/>
                    </a:lnTo>
                    <a:lnTo>
                      <a:pt x="1173" y="663"/>
                    </a:lnTo>
                    <a:lnTo>
                      <a:pt x="1179" y="658"/>
                    </a:lnTo>
                    <a:lnTo>
                      <a:pt x="1184" y="658"/>
                    </a:lnTo>
                    <a:lnTo>
                      <a:pt x="1184" y="652"/>
                    </a:lnTo>
                    <a:lnTo>
                      <a:pt x="1179" y="646"/>
                    </a:lnTo>
                    <a:lnTo>
                      <a:pt x="1167" y="635"/>
                    </a:lnTo>
                    <a:lnTo>
                      <a:pt x="1150" y="618"/>
                    </a:lnTo>
                    <a:lnTo>
                      <a:pt x="1145" y="629"/>
                    </a:lnTo>
                    <a:lnTo>
                      <a:pt x="1139" y="635"/>
                    </a:lnTo>
                    <a:lnTo>
                      <a:pt x="1139" y="646"/>
                    </a:lnTo>
                    <a:lnTo>
                      <a:pt x="1122" y="652"/>
                    </a:lnTo>
                    <a:lnTo>
                      <a:pt x="1116" y="646"/>
                    </a:lnTo>
                    <a:lnTo>
                      <a:pt x="1111" y="646"/>
                    </a:lnTo>
                    <a:lnTo>
                      <a:pt x="1111" y="658"/>
                    </a:lnTo>
                    <a:lnTo>
                      <a:pt x="1111" y="663"/>
                    </a:lnTo>
                    <a:lnTo>
                      <a:pt x="1105" y="663"/>
                    </a:lnTo>
                    <a:lnTo>
                      <a:pt x="1105" y="669"/>
                    </a:lnTo>
                    <a:lnTo>
                      <a:pt x="1094" y="680"/>
                    </a:lnTo>
                    <a:lnTo>
                      <a:pt x="1077" y="692"/>
                    </a:lnTo>
                    <a:lnTo>
                      <a:pt x="1077" y="686"/>
                    </a:lnTo>
                    <a:lnTo>
                      <a:pt x="1077" y="680"/>
                    </a:lnTo>
                    <a:lnTo>
                      <a:pt x="1071" y="680"/>
                    </a:lnTo>
                    <a:lnTo>
                      <a:pt x="1065" y="680"/>
                    </a:lnTo>
                    <a:lnTo>
                      <a:pt x="1060" y="680"/>
                    </a:lnTo>
                    <a:lnTo>
                      <a:pt x="1054" y="680"/>
                    </a:lnTo>
                    <a:lnTo>
                      <a:pt x="1054" y="675"/>
                    </a:lnTo>
                    <a:lnTo>
                      <a:pt x="1048" y="675"/>
                    </a:lnTo>
                    <a:lnTo>
                      <a:pt x="1048" y="680"/>
                    </a:lnTo>
                    <a:lnTo>
                      <a:pt x="1043" y="680"/>
                    </a:lnTo>
                    <a:lnTo>
                      <a:pt x="1037" y="680"/>
                    </a:lnTo>
                    <a:lnTo>
                      <a:pt x="1031" y="680"/>
                    </a:lnTo>
                    <a:lnTo>
                      <a:pt x="1031" y="686"/>
                    </a:lnTo>
                    <a:lnTo>
                      <a:pt x="1031" y="692"/>
                    </a:lnTo>
                    <a:lnTo>
                      <a:pt x="1026" y="692"/>
                    </a:lnTo>
                    <a:lnTo>
                      <a:pt x="1020" y="692"/>
                    </a:lnTo>
                    <a:lnTo>
                      <a:pt x="986" y="697"/>
                    </a:lnTo>
                    <a:lnTo>
                      <a:pt x="986" y="703"/>
                    </a:lnTo>
                    <a:lnTo>
                      <a:pt x="980" y="714"/>
                    </a:lnTo>
                    <a:lnTo>
                      <a:pt x="980" y="720"/>
                    </a:lnTo>
                    <a:lnTo>
                      <a:pt x="963" y="726"/>
                    </a:lnTo>
                    <a:lnTo>
                      <a:pt x="929" y="754"/>
                    </a:lnTo>
                    <a:lnTo>
                      <a:pt x="912" y="765"/>
                    </a:lnTo>
                    <a:lnTo>
                      <a:pt x="895" y="777"/>
                    </a:lnTo>
                    <a:lnTo>
                      <a:pt x="895" y="782"/>
                    </a:lnTo>
                    <a:lnTo>
                      <a:pt x="878" y="782"/>
                    </a:lnTo>
                    <a:lnTo>
                      <a:pt x="878" y="794"/>
                    </a:lnTo>
                    <a:lnTo>
                      <a:pt x="884" y="794"/>
                    </a:lnTo>
                    <a:lnTo>
                      <a:pt x="890" y="794"/>
                    </a:lnTo>
                    <a:lnTo>
                      <a:pt x="895" y="805"/>
                    </a:lnTo>
                    <a:lnTo>
                      <a:pt x="895" y="811"/>
                    </a:lnTo>
                    <a:lnTo>
                      <a:pt x="884" y="816"/>
                    </a:lnTo>
                    <a:lnTo>
                      <a:pt x="884" y="822"/>
                    </a:lnTo>
                    <a:lnTo>
                      <a:pt x="873" y="833"/>
                    </a:lnTo>
                    <a:lnTo>
                      <a:pt x="867" y="828"/>
                    </a:lnTo>
                    <a:lnTo>
                      <a:pt x="844" y="828"/>
                    </a:lnTo>
                    <a:lnTo>
                      <a:pt x="827" y="822"/>
                    </a:lnTo>
                    <a:lnTo>
                      <a:pt x="827" y="816"/>
                    </a:lnTo>
                    <a:lnTo>
                      <a:pt x="816" y="805"/>
                    </a:lnTo>
                    <a:lnTo>
                      <a:pt x="810" y="799"/>
                    </a:lnTo>
                    <a:lnTo>
                      <a:pt x="810" y="805"/>
                    </a:lnTo>
                    <a:lnTo>
                      <a:pt x="804" y="799"/>
                    </a:lnTo>
                    <a:lnTo>
                      <a:pt x="799" y="794"/>
                    </a:lnTo>
                    <a:lnTo>
                      <a:pt x="799" y="788"/>
                    </a:lnTo>
                    <a:lnTo>
                      <a:pt x="793" y="782"/>
                    </a:lnTo>
                    <a:lnTo>
                      <a:pt x="787" y="777"/>
                    </a:lnTo>
                    <a:lnTo>
                      <a:pt x="787" y="771"/>
                    </a:lnTo>
                    <a:lnTo>
                      <a:pt x="782" y="771"/>
                    </a:lnTo>
                    <a:lnTo>
                      <a:pt x="776" y="777"/>
                    </a:lnTo>
                    <a:lnTo>
                      <a:pt x="770" y="777"/>
                    </a:lnTo>
                    <a:lnTo>
                      <a:pt x="770" y="771"/>
                    </a:lnTo>
                    <a:lnTo>
                      <a:pt x="776" y="771"/>
                    </a:lnTo>
                    <a:lnTo>
                      <a:pt x="782" y="765"/>
                    </a:lnTo>
                    <a:lnTo>
                      <a:pt x="782" y="760"/>
                    </a:lnTo>
                    <a:lnTo>
                      <a:pt x="782" y="754"/>
                    </a:lnTo>
                    <a:lnTo>
                      <a:pt x="776" y="748"/>
                    </a:lnTo>
                    <a:lnTo>
                      <a:pt x="776" y="743"/>
                    </a:lnTo>
                    <a:lnTo>
                      <a:pt x="770" y="737"/>
                    </a:lnTo>
                    <a:lnTo>
                      <a:pt x="776" y="731"/>
                    </a:lnTo>
                    <a:lnTo>
                      <a:pt x="759" y="731"/>
                    </a:lnTo>
                    <a:lnTo>
                      <a:pt x="748" y="726"/>
                    </a:lnTo>
                    <a:lnTo>
                      <a:pt x="731" y="731"/>
                    </a:lnTo>
                    <a:lnTo>
                      <a:pt x="731" y="737"/>
                    </a:lnTo>
                    <a:lnTo>
                      <a:pt x="731" y="743"/>
                    </a:lnTo>
                    <a:lnTo>
                      <a:pt x="731" y="748"/>
                    </a:lnTo>
                    <a:lnTo>
                      <a:pt x="725" y="748"/>
                    </a:lnTo>
                    <a:lnTo>
                      <a:pt x="725" y="760"/>
                    </a:lnTo>
                    <a:lnTo>
                      <a:pt x="697" y="771"/>
                    </a:lnTo>
                    <a:lnTo>
                      <a:pt x="691" y="748"/>
                    </a:lnTo>
                    <a:lnTo>
                      <a:pt x="685" y="748"/>
                    </a:lnTo>
                    <a:lnTo>
                      <a:pt x="685" y="743"/>
                    </a:lnTo>
                    <a:lnTo>
                      <a:pt x="663" y="737"/>
                    </a:lnTo>
                    <a:lnTo>
                      <a:pt x="663" y="760"/>
                    </a:lnTo>
                    <a:lnTo>
                      <a:pt x="657" y="754"/>
                    </a:lnTo>
                    <a:lnTo>
                      <a:pt x="651" y="760"/>
                    </a:lnTo>
                    <a:lnTo>
                      <a:pt x="640" y="760"/>
                    </a:lnTo>
                    <a:lnTo>
                      <a:pt x="629" y="754"/>
                    </a:lnTo>
                    <a:lnTo>
                      <a:pt x="612" y="760"/>
                    </a:lnTo>
                    <a:lnTo>
                      <a:pt x="600" y="765"/>
                    </a:lnTo>
                    <a:lnTo>
                      <a:pt x="595" y="765"/>
                    </a:lnTo>
                    <a:lnTo>
                      <a:pt x="589" y="771"/>
                    </a:lnTo>
                    <a:lnTo>
                      <a:pt x="583" y="771"/>
                    </a:lnTo>
                    <a:lnTo>
                      <a:pt x="572" y="777"/>
                    </a:lnTo>
                    <a:lnTo>
                      <a:pt x="572" y="782"/>
                    </a:lnTo>
                    <a:lnTo>
                      <a:pt x="572" y="794"/>
                    </a:lnTo>
                    <a:lnTo>
                      <a:pt x="566" y="799"/>
                    </a:lnTo>
                    <a:lnTo>
                      <a:pt x="549" y="799"/>
                    </a:lnTo>
                    <a:lnTo>
                      <a:pt x="538" y="805"/>
                    </a:lnTo>
                    <a:lnTo>
                      <a:pt x="532" y="805"/>
                    </a:lnTo>
                    <a:lnTo>
                      <a:pt x="532" y="811"/>
                    </a:lnTo>
                    <a:lnTo>
                      <a:pt x="527" y="816"/>
                    </a:lnTo>
                    <a:lnTo>
                      <a:pt x="515" y="816"/>
                    </a:lnTo>
                    <a:lnTo>
                      <a:pt x="510" y="822"/>
                    </a:lnTo>
                    <a:lnTo>
                      <a:pt x="504" y="822"/>
                    </a:lnTo>
                    <a:lnTo>
                      <a:pt x="510" y="828"/>
                    </a:lnTo>
                    <a:lnTo>
                      <a:pt x="510" y="839"/>
                    </a:lnTo>
                    <a:lnTo>
                      <a:pt x="527" y="833"/>
                    </a:lnTo>
                    <a:lnTo>
                      <a:pt x="538" y="833"/>
                    </a:lnTo>
                    <a:lnTo>
                      <a:pt x="544" y="828"/>
                    </a:lnTo>
                    <a:lnTo>
                      <a:pt x="572" y="816"/>
                    </a:lnTo>
                    <a:lnTo>
                      <a:pt x="578" y="822"/>
                    </a:lnTo>
                    <a:lnTo>
                      <a:pt x="583" y="833"/>
                    </a:lnTo>
                    <a:lnTo>
                      <a:pt x="589" y="833"/>
                    </a:lnTo>
                    <a:lnTo>
                      <a:pt x="583" y="845"/>
                    </a:lnTo>
                    <a:lnTo>
                      <a:pt x="572" y="850"/>
                    </a:lnTo>
                    <a:lnTo>
                      <a:pt x="572" y="845"/>
                    </a:lnTo>
                    <a:lnTo>
                      <a:pt x="544" y="845"/>
                    </a:lnTo>
                    <a:lnTo>
                      <a:pt x="544" y="856"/>
                    </a:lnTo>
                    <a:lnTo>
                      <a:pt x="527" y="862"/>
                    </a:lnTo>
                    <a:lnTo>
                      <a:pt x="510" y="862"/>
                    </a:lnTo>
                    <a:lnTo>
                      <a:pt x="510" y="856"/>
                    </a:lnTo>
                    <a:lnTo>
                      <a:pt x="487" y="862"/>
                    </a:lnTo>
                    <a:lnTo>
                      <a:pt x="487" y="850"/>
                    </a:lnTo>
                    <a:lnTo>
                      <a:pt x="481" y="850"/>
                    </a:lnTo>
                    <a:lnTo>
                      <a:pt x="481" y="845"/>
                    </a:lnTo>
                    <a:lnTo>
                      <a:pt x="476" y="839"/>
                    </a:lnTo>
                    <a:lnTo>
                      <a:pt x="470" y="833"/>
                    </a:lnTo>
                    <a:lnTo>
                      <a:pt x="470" y="828"/>
                    </a:lnTo>
                    <a:lnTo>
                      <a:pt x="453" y="833"/>
                    </a:lnTo>
                    <a:lnTo>
                      <a:pt x="447" y="833"/>
                    </a:lnTo>
                    <a:lnTo>
                      <a:pt x="447" y="822"/>
                    </a:lnTo>
                    <a:lnTo>
                      <a:pt x="442" y="816"/>
                    </a:lnTo>
                    <a:lnTo>
                      <a:pt x="430" y="816"/>
                    </a:lnTo>
                    <a:lnTo>
                      <a:pt x="430" y="811"/>
                    </a:lnTo>
                    <a:lnTo>
                      <a:pt x="436" y="805"/>
                    </a:lnTo>
                    <a:lnTo>
                      <a:pt x="447" y="805"/>
                    </a:lnTo>
                    <a:lnTo>
                      <a:pt x="453" y="805"/>
                    </a:lnTo>
                    <a:lnTo>
                      <a:pt x="459" y="811"/>
                    </a:lnTo>
                    <a:lnTo>
                      <a:pt x="470" y="811"/>
                    </a:lnTo>
                    <a:lnTo>
                      <a:pt x="470" y="805"/>
                    </a:lnTo>
                    <a:lnTo>
                      <a:pt x="476" y="794"/>
                    </a:lnTo>
                    <a:lnTo>
                      <a:pt x="470" y="788"/>
                    </a:lnTo>
                    <a:lnTo>
                      <a:pt x="464" y="788"/>
                    </a:lnTo>
                    <a:lnTo>
                      <a:pt x="447" y="782"/>
                    </a:lnTo>
                    <a:lnTo>
                      <a:pt x="442" y="777"/>
                    </a:lnTo>
                    <a:lnTo>
                      <a:pt x="436" y="777"/>
                    </a:lnTo>
                    <a:lnTo>
                      <a:pt x="413" y="777"/>
                    </a:lnTo>
                    <a:lnTo>
                      <a:pt x="413" y="771"/>
                    </a:lnTo>
                    <a:lnTo>
                      <a:pt x="408" y="771"/>
                    </a:lnTo>
                    <a:lnTo>
                      <a:pt x="396" y="771"/>
                    </a:lnTo>
                    <a:lnTo>
                      <a:pt x="396" y="777"/>
                    </a:lnTo>
                    <a:lnTo>
                      <a:pt x="391" y="777"/>
                    </a:lnTo>
                    <a:lnTo>
                      <a:pt x="362" y="771"/>
                    </a:lnTo>
                    <a:lnTo>
                      <a:pt x="357" y="771"/>
                    </a:lnTo>
                    <a:lnTo>
                      <a:pt x="351" y="771"/>
                    </a:lnTo>
                    <a:lnTo>
                      <a:pt x="345" y="771"/>
                    </a:lnTo>
                    <a:lnTo>
                      <a:pt x="340" y="777"/>
                    </a:lnTo>
                    <a:lnTo>
                      <a:pt x="328" y="765"/>
                    </a:lnTo>
                    <a:lnTo>
                      <a:pt x="323" y="771"/>
                    </a:lnTo>
                    <a:lnTo>
                      <a:pt x="317" y="765"/>
                    </a:lnTo>
                    <a:lnTo>
                      <a:pt x="306" y="771"/>
                    </a:lnTo>
                    <a:lnTo>
                      <a:pt x="306" y="777"/>
                    </a:lnTo>
                    <a:lnTo>
                      <a:pt x="306" y="782"/>
                    </a:lnTo>
                    <a:lnTo>
                      <a:pt x="306" y="788"/>
                    </a:lnTo>
                    <a:lnTo>
                      <a:pt x="306" y="794"/>
                    </a:lnTo>
                    <a:lnTo>
                      <a:pt x="300" y="794"/>
                    </a:lnTo>
                    <a:lnTo>
                      <a:pt x="294" y="805"/>
                    </a:lnTo>
                    <a:lnTo>
                      <a:pt x="289" y="805"/>
                    </a:lnTo>
                    <a:lnTo>
                      <a:pt x="283" y="799"/>
                    </a:lnTo>
                    <a:lnTo>
                      <a:pt x="283" y="794"/>
                    </a:lnTo>
                    <a:lnTo>
                      <a:pt x="277" y="788"/>
                    </a:lnTo>
                    <a:lnTo>
                      <a:pt x="266" y="794"/>
                    </a:lnTo>
                    <a:lnTo>
                      <a:pt x="260" y="794"/>
                    </a:lnTo>
                    <a:lnTo>
                      <a:pt x="249" y="794"/>
                    </a:lnTo>
                    <a:lnTo>
                      <a:pt x="243" y="794"/>
                    </a:lnTo>
                    <a:lnTo>
                      <a:pt x="243" y="788"/>
                    </a:lnTo>
                    <a:lnTo>
                      <a:pt x="232" y="777"/>
                    </a:lnTo>
                    <a:lnTo>
                      <a:pt x="192" y="771"/>
                    </a:lnTo>
                    <a:lnTo>
                      <a:pt x="198" y="765"/>
                    </a:lnTo>
                    <a:lnTo>
                      <a:pt x="192" y="765"/>
                    </a:lnTo>
                    <a:lnTo>
                      <a:pt x="192" y="760"/>
                    </a:lnTo>
                    <a:lnTo>
                      <a:pt x="187" y="754"/>
                    </a:lnTo>
                    <a:lnTo>
                      <a:pt x="175" y="748"/>
                    </a:lnTo>
                    <a:lnTo>
                      <a:pt x="170" y="748"/>
                    </a:lnTo>
                    <a:lnTo>
                      <a:pt x="170" y="737"/>
                    </a:lnTo>
                    <a:lnTo>
                      <a:pt x="170" y="731"/>
                    </a:lnTo>
                    <a:lnTo>
                      <a:pt x="164" y="726"/>
                    </a:lnTo>
                    <a:lnTo>
                      <a:pt x="164" y="714"/>
                    </a:lnTo>
                    <a:lnTo>
                      <a:pt x="164" y="703"/>
                    </a:lnTo>
                    <a:lnTo>
                      <a:pt x="158" y="703"/>
                    </a:lnTo>
                    <a:lnTo>
                      <a:pt x="153" y="703"/>
                    </a:lnTo>
                    <a:lnTo>
                      <a:pt x="153" y="714"/>
                    </a:lnTo>
                    <a:lnTo>
                      <a:pt x="141" y="714"/>
                    </a:lnTo>
                    <a:lnTo>
                      <a:pt x="141" y="720"/>
                    </a:lnTo>
                    <a:lnTo>
                      <a:pt x="124" y="726"/>
                    </a:lnTo>
                    <a:lnTo>
                      <a:pt x="96" y="731"/>
                    </a:lnTo>
                    <a:lnTo>
                      <a:pt x="96" y="737"/>
                    </a:lnTo>
                    <a:lnTo>
                      <a:pt x="90" y="743"/>
                    </a:lnTo>
                    <a:lnTo>
                      <a:pt x="79" y="737"/>
                    </a:lnTo>
                    <a:lnTo>
                      <a:pt x="68" y="737"/>
                    </a:lnTo>
                    <a:lnTo>
                      <a:pt x="56" y="726"/>
                    </a:lnTo>
                    <a:lnTo>
                      <a:pt x="45" y="731"/>
                    </a:lnTo>
                    <a:lnTo>
                      <a:pt x="39" y="726"/>
                    </a:lnTo>
                    <a:lnTo>
                      <a:pt x="17" y="726"/>
                    </a:lnTo>
                    <a:lnTo>
                      <a:pt x="11" y="726"/>
                    </a:lnTo>
                    <a:lnTo>
                      <a:pt x="11" y="720"/>
                    </a:lnTo>
                    <a:lnTo>
                      <a:pt x="11" y="714"/>
                    </a:lnTo>
                    <a:lnTo>
                      <a:pt x="5" y="714"/>
                    </a:lnTo>
                    <a:lnTo>
                      <a:pt x="5" y="703"/>
                    </a:lnTo>
                    <a:lnTo>
                      <a:pt x="0" y="703"/>
                    </a:lnTo>
                    <a:lnTo>
                      <a:pt x="0" y="697"/>
                    </a:lnTo>
                    <a:lnTo>
                      <a:pt x="5" y="692"/>
                    </a:lnTo>
                    <a:lnTo>
                      <a:pt x="5" y="686"/>
                    </a:lnTo>
                    <a:lnTo>
                      <a:pt x="5" y="680"/>
                    </a:lnTo>
                    <a:lnTo>
                      <a:pt x="0" y="680"/>
                    </a:lnTo>
                    <a:lnTo>
                      <a:pt x="0" y="675"/>
                    </a:lnTo>
                    <a:close/>
                  </a:path>
                </a:pathLst>
              </a:custGeom>
              <a:grpFill/>
              <a:ln w="9525" cap="flat" cmpd="sng">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00"/>
              </a:p>
            </p:txBody>
          </p:sp>
          <p:sp>
            <p:nvSpPr>
              <p:cNvPr id="65" name="Freeform 13"/>
              <p:cNvSpPr>
                <a:spLocks/>
              </p:cNvSpPr>
              <p:nvPr>
                <p:custDataLst>
                  <p:tags r:id="rId9"/>
                </p:custDataLst>
              </p:nvPr>
            </p:nvSpPr>
            <p:spPr bwMode="gray">
              <a:xfrm>
                <a:off x="1710042" y="1889973"/>
                <a:ext cx="1302144" cy="815894"/>
              </a:xfrm>
              <a:custGeom>
                <a:avLst/>
                <a:gdLst>
                  <a:gd name="T0" fmla="*/ 7904 w 1497"/>
                  <a:gd name="T1" fmla="*/ 95838 h 935"/>
                  <a:gd name="T2" fmla="*/ 9267 w 1497"/>
                  <a:gd name="T3" fmla="*/ 86555 h 935"/>
                  <a:gd name="T4" fmla="*/ 15536 w 1497"/>
                  <a:gd name="T5" fmla="*/ 72629 h 935"/>
                  <a:gd name="T6" fmla="*/ 21805 w 1497"/>
                  <a:gd name="T7" fmla="*/ 63346 h 935"/>
                  <a:gd name="T8" fmla="*/ 29437 w 1497"/>
                  <a:gd name="T9" fmla="*/ 49421 h 935"/>
                  <a:gd name="T10" fmla="*/ 43337 w 1497"/>
                  <a:gd name="T11" fmla="*/ 47783 h 935"/>
                  <a:gd name="T12" fmla="*/ 61871 w 1497"/>
                  <a:gd name="T13" fmla="*/ 47783 h 935"/>
                  <a:gd name="T14" fmla="*/ 72774 w 1497"/>
                  <a:gd name="T15" fmla="*/ 55701 h 935"/>
                  <a:gd name="T16" fmla="*/ 82041 w 1497"/>
                  <a:gd name="T17" fmla="*/ 61708 h 935"/>
                  <a:gd name="T18" fmla="*/ 92943 w 1497"/>
                  <a:gd name="T19" fmla="*/ 70991 h 935"/>
                  <a:gd name="T20" fmla="*/ 103573 w 1497"/>
                  <a:gd name="T21" fmla="*/ 75633 h 935"/>
                  <a:gd name="T22" fmla="*/ 116111 w 1497"/>
                  <a:gd name="T23" fmla="*/ 75633 h 935"/>
                  <a:gd name="T24" fmla="*/ 128376 w 1497"/>
                  <a:gd name="T25" fmla="*/ 81913 h 935"/>
                  <a:gd name="T26" fmla="*/ 149909 w 1497"/>
                  <a:gd name="T27" fmla="*/ 86555 h 935"/>
                  <a:gd name="T28" fmla="*/ 165445 w 1497"/>
                  <a:gd name="T29" fmla="*/ 84916 h 935"/>
                  <a:gd name="T30" fmla="*/ 183979 w 1497"/>
                  <a:gd name="T31" fmla="*/ 83551 h 935"/>
                  <a:gd name="T32" fmla="*/ 208783 w 1497"/>
                  <a:gd name="T33" fmla="*/ 75633 h 935"/>
                  <a:gd name="T34" fmla="*/ 225681 w 1497"/>
                  <a:gd name="T35" fmla="*/ 44779 h 935"/>
                  <a:gd name="T36" fmla="*/ 236584 w 1497"/>
                  <a:gd name="T37" fmla="*/ 16929 h 935"/>
                  <a:gd name="T38" fmla="*/ 245851 w 1497"/>
                  <a:gd name="T39" fmla="*/ 6007 h 935"/>
                  <a:gd name="T40" fmla="*/ 275288 w 1497"/>
                  <a:gd name="T41" fmla="*/ 1365 h 935"/>
                  <a:gd name="T42" fmla="*/ 287552 w 1497"/>
                  <a:gd name="T43" fmla="*/ 15290 h 935"/>
                  <a:gd name="T44" fmla="*/ 319988 w 1497"/>
                  <a:gd name="T45" fmla="*/ 7645 h 935"/>
                  <a:gd name="T46" fmla="*/ 341520 w 1497"/>
                  <a:gd name="T47" fmla="*/ 30854 h 935"/>
                  <a:gd name="T48" fmla="*/ 358691 w 1497"/>
                  <a:gd name="T49" fmla="*/ 29216 h 935"/>
                  <a:gd name="T50" fmla="*/ 383222 w 1497"/>
                  <a:gd name="T51" fmla="*/ 26212 h 935"/>
                  <a:gd name="T52" fmla="*/ 398758 w 1497"/>
                  <a:gd name="T53" fmla="*/ 35496 h 935"/>
                  <a:gd name="T54" fmla="*/ 406390 w 1497"/>
                  <a:gd name="T55" fmla="*/ 47783 h 935"/>
                  <a:gd name="T56" fmla="*/ 397122 w 1497"/>
                  <a:gd name="T57" fmla="*/ 55701 h 935"/>
                  <a:gd name="T58" fmla="*/ 387855 w 1497"/>
                  <a:gd name="T59" fmla="*/ 72629 h 935"/>
                  <a:gd name="T60" fmla="*/ 378588 w 1497"/>
                  <a:gd name="T61" fmla="*/ 89558 h 935"/>
                  <a:gd name="T62" fmla="*/ 338522 w 1497"/>
                  <a:gd name="T63" fmla="*/ 111401 h 935"/>
                  <a:gd name="T64" fmla="*/ 347789 w 1497"/>
                  <a:gd name="T65" fmla="*/ 132972 h 935"/>
                  <a:gd name="T66" fmla="*/ 349424 w 1497"/>
                  <a:gd name="T67" fmla="*/ 159457 h 935"/>
                  <a:gd name="T68" fmla="*/ 336886 w 1497"/>
                  <a:gd name="T69" fmla="*/ 162461 h 935"/>
                  <a:gd name="T70" fmla="*/ 324621 w 1497"/>
                  <a:gd name="T71" fmla="*/ 168740 h 935"/>
                  <a:gd name="T72" fmla="*/ 309085 w 1497"/>
                  <a:gd name="T73" fmla="*/ 164099 h 935"/>
                  <a:gd name="T74" fmla="*/ 298455 w 1497"/>
                  <a:gd name="T75" fmla="*/ 168740 h 935"/>
                  <a:gd name="T76" fmla="*/ 282919 w 1497"/>
                  <a:gd name="T77" fmla="*/ 178024 h 935"/>
                  <a:gd name="T78" fmla="*/ 272017 w 1497"/>
                  <a:gd name="T79" fmla="*/ 185669 h 935"/>
                  <a:gd name="T80" fmla="*/ 273652 w 1497"/>
                  <a:gd name="T81" fmla="*/ 197956 h 935"/>
                  <a:gd name="T82" fmla="*/ 269018 w 1497"/>
                  <a:gd name="T83" fmla="*/ 204236 h 935"/>
                  <a:gd name="T84" fmla="*/ 255118 w 1497"/>
                  <a:gd name="T85" fmla="*/ 210516 h 935"/>
                  <a:gd name="T86" fmla="*/ 244216 w 1497"/>
                  <a:gd name="T87" fmla="*/ 225806 h 935"/>
                  <a:gd name="T88" fmla="*/ 225681 w 1497"/>
                  <a:gd name="T89" fmla="*/ 216523 h 935"/>
                  <a:gd name="T90" fmla="*/ 202513 w 1497"/>
                  <a:gd name="T91" fmla="*/ 225806 h 935"/>
                  <a:gd name="T92" fmla="*/ 186977 w 1497"/>
                  <a:gd name="T93" fmla="*/ 233725 h 935"/>
                  <a:gd name="T94" fmla="*/ 173077 w 1497"/>
                  <a:gd name="T95" fmla="*/ 246012 h 935"/>
                  <a:gd name="T96" fmla="*/ 157813 w 1497"/>
                  <a:gd name="T97" fmla="*/ 236728 h 935"/>
                  <a:gd name="T98" fmla="*/ 160812 w 1497"/>
                  <a:gd name="T99" fmla="*/ 224441 h 935"/>
                  <a:gd name="T100" fmla="*/ 143913 w 1497"/>
                  <a:gd name="T101" fmla="*/ 224441 h 935"/>
                  <a:gd name="T102" fmla="*/ 140642 w 1497"/>
                  <a:gd name="T103" fmla="*/ 238366 h 935"/>
                  <a:gd name="T104" fmla="*/ 134646 w 1497"/>
                  <a:gd name="T105" fmla="*/ 252292 h 935"/>
                  <a:gd name="T106" fmla="*/ 122108 w 1497"/>
                  <a:gd name="T107" fmla="*/ 243008 h 935"/>
                  <a:gd name="T108" fmla="*/ 125379 w 1497"/>
                  <a:gd name="T109" fmla="*/ 225806 h 935"/>
                  <a:gd name="T110" fmla="*/ 94307 w 1497"/>
                  <a:gd name="T111" fmla="*/ 201233 h 935"/>
                  <a:gd name="T112" fmla="*/ 80406 w 1497"/>
                  <a:gd name="T113" fmla="*/ 210516 h 935"/>
                  <a:gd name="T114" fmla="*/ 52604 w 1497"/>
                  <a:gd name="T115" fmla="*/ 204236 h 935"/>
                  <a:gd name="T116" fmla="*/ 29437 w 1497"/>
                  <a:gd name="T117" fmla="*/ 190311 h 935"/>
                  <a:gd name="T118" fmla="*/ 29437 w 1497"/>
                  <a:gd name="T119" fmla="*/ 173382 h 935"/>
                  <a:gd name="T120" fmla="*/ 29437 w 1497"/>
                  <a:gd name="T121" fmla="*/ 151539 h 935"/>
                  <a:gd name="T122" fmla="*/ 15536 w 1497"/>
                  <a:gd name="T123" fmla="*/ 143893 h 935"/>
                  <a:gd name="T124" fmla="*/ 4634 w 1497"/>
                  <a:gd name="T125" fmla="*/ 109763 h 9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497" h="935">
                    <a:moveTo>
                      <a:pt x="0" y="396"/>
                    </a:moveTo>
                    <a:lnTo>
                      <a:pt x="6" y="396"/>
                    </a:lnTo>
                    <a:lnTo>
                      <a:pt x="6" y="391"/>
                    </a:lnTo>
                    <a:lnTo>
                      <a:pt x="12" y="391"/>
                    </a:lnTo>
                    <a:lnTo>
                      <a:pt x="12" y="385"/>
                    </a:lnTo>
                    <a:lnTo>
                      <a:pt x="12" y="379"/>
                    </a:lnTo>
                    <a:lnTo>
                      <a:pt x="12" y="374"/>
                    </a:lnTo>
                    <a:lnTo>
                      <a:pt x="17" y="374"/>
                    </a:lnTo>
                    <a:lnTo>
                      <a:pt x="29" y="374"/>
                    </a:lnTo>
                    <a:lnTo>
                      <a:pt x="29" y="368"/>
                    </a:lnTo>
                    <a:lnTo>
                      <a:pt x="29" y="362"/>
                    </a:lnTo>
                    <a:lnTo>
                      <a:pt x="29" y="357"/>
                    </a:lnTo>
                    <a:lnTo>
                      <a:pt x="29" y="351"/>
                    </a:lnTo>
                    <a:lnTo>
                      <a:pt x="34" y="351"/>
                    </a:lnTo>
                    <a:lnTo>
                      <a:pt x="34" y="345"/>
                    </a:lnTo>
                    <a:lnTo>
                      <a:pt x="29" y="345"/>
                    </a:lnTo>
                    <a:lnTo>
                      <a:pt x="29" y="340"/>
                    </a:lnTo>
                    <a:lnTo>
                      <a:pt x="34" y="340"/>
                    </a:lnTo>
                    <a:lnTo>
                      <a:pt x="34" y="334"/>
                    </a:lnTo>
                    <a:lnTo>
                      <a:pt x="34" y="328"/>
                    </a:lnTo>
                    <a:lnTo>
                      <a:pt x="40" y="328"/>
                    </a:lnTo>
                    <a:lnTo>
                      <a:pt x="40" y="323"/>
                    </a:lnTo>
                    <a:lnTo>
                      <a:pt x="46" y="323"/>
                    </a:lnTo>
                    <a:lnTo>
                      <a:pt x="46" y="317"/>
                    </a:lnTo>
                    <a:lnTo>
                      <a:pt x="40" y="317"/>
                    </a:lnTo>
                    <a:lnTo>
                      <a:pt x="34" y="317"/>
                    </a:lnTo>
                    <a:lnTo>
                      <a:pt x="34" y="311"/>
                    </a:lnTo>
                    <a:lnTo>
                      <a:pt x="40" y="311"/>
                    </a:lnTo>
                    <a:lnTo>
                      <a:pt x="40" y="306"/>
                    </a:lnTo>
                    <a:lnTo>
                      <a:pt x="40" y="300"/>
                    </a:lnTo>
                    <a:lnTo>
                      <a:pt x="46" y="294"/>
                    </a:lnTo>
                    <a:lnTo>
                      <a:pt x="51" y="294"/>
                    </a:lnTo>
                    <a:lnTo>
                      <a:pt x="51" y="289"/>
                    </a:lnTo>
                    <a:lnTo>
                      <a:pt x="57" y="289"/>
                    </a:lnTo>
                    <a:lnTo>
                      <a:pt x="57" y="283"/>
                    </a:lnTo>
                    <a:lnTo>
                      <a:pt x="57" y="277"/>
                    </a:lnTo>
                    <a:lnTo>
                      <a:pt x="51" y="277"/>
                    </a:lnTo>
                    <a:lnTo>
                      <a:pt x="51" y="272"/>
                    </a:lnTo>
                    <a:lnTo>
                      <a:pt x="57" y="266"/>
                    </a:lnTo>
                    <a:lnTo>
                      <a:pt x="63" y="266"/>
                    </a:lnTo>
                    <a:lnTo>
                      <a:pt x="63" y="260"/>
                    </a:lnTo>
                    <a:lnTo>
                      <a:pt x="57" y="255"/>
                    </a:lnTo>
                    <a:lnTo>
                      <a:pt x="57" y="249"/>
                    </a:lnTo>
                    <a:lnTo>
                      <a:pt x="63" y="249"/>
                    </a:lnTo>
                    <a:lnTo>
                      <a:pt x="63" y="243"/>
                    </a:lnTo>
                    <a:lnTo>
                      <a:pt x="63" y="238"/>
                    </a:lnTo>
                    <a:lnTo>
                      <a:pt x="68" y="238"/>
                    </a:lnTo>
                    <a:lnTo>
                      <a:pt x="68" y="232"/>
                    </a:lnTo>
                    <a:lnTo>
                      <a:pt x="63" y="232"/>
                    </a:lnTo>
                    <a:lnTo>
                      <a:pt x="68" y="226"/>
                    </a:lnTo>
                    <a:lnTo>
                      <a:pt x="74" y="232"/>
                    </a:lnTo>
                    <a:lnTo>
                      <a:pt x="80" y="232"/>
                    </a:lnTo>
                    <a:lnTo>
                      <a:pt x="80" y="226"/>
                    </a:lnTo>
                    <a:lnTo>
                      <a:pt x="74" y="226"/>
                    </a:lnTo>
                    <a:lnTo>
                      <a:pt x="80" y="221"/>
                    </a:lnTo>
                    <a:lnTo>
                      <a:pt x="80" y="215"/>
                    </a:lnTo>
                    <a:lnTo>
                      <a:pt x="86" y="209"/>
                    </a:lnTo>
                    <a:lnTo>
                      <a:pt x="91" y="204"/>
                    </a:lnTo>
                    <a:lnTo>
                      <a:pt x="97" y="204"/>
                    </a:lnTo>
                    <a:lnTo>
                      <a:pt x="97" y="198"/>
                    </a:lnTo>
                    <a:lnTo>
                      <a:pt x="97" y="192"/>
                    </a:lnTo>
                    <a:lnTo>
                      <a:pt x="103" y="192"/>
                    </a:lnTo>
                    <a:lnTo>
                      <a:pt x="108" y="192"/>
                    </a:lnTo>
                    <a:lnTo>
                      <a:pt x="108" y="187"/>
                    </a:lnTo>
                    <a:lnTo>
                      <a:pt x="108" y="181"/>
                    </a:lnTo>
                    <a:lnTo>
                      <a:pt x="114" y="181"/>
                    </a:lnTo>
                    <a:lnTo>
                      <a:pt x="120" y="181"/>
                    </a:lnTo>
                    <a:lnTo>
                      <a:pt x="120" y="175"/>
                    </a:lnTo>
                    <a:lnTo>
                      <a:pt x="120" y="181"/>
                    </a:lnTo>
                    <a:lnTo>
                      <a:pt x="120" y="187"/>
                    </a:lnTo>
                    <a:lnTo>
                      <a:pt x="125" y="187"/>
                    </a:lnTo>
                    <a:lnTo>
                      <a:pt x="125" y="181"/>
                    </a:lnTo>
                    <a:lnTo>
                      <a:pt x="131" y="181"/>
                    </a:lnTo>
                    <a:lnTo>
                      <a:pt x="137" y="181"/>
                    </a:lnTo>
                    <a:lnTo>
                      <a:pt x="142" y="181"/>
                    </a:lnTo>
                    <a:lnTo>
                      <a:pt x="148" y="181"/>
                    </a:lnTo>
                    <a:lnTo>
                      <a:pt x="154" y="175"/>
                    </a:lnTo>
                    <a:lnTo>
                      <a:pt x="159" y="175"/>
                    </a:lnTo>
                    <a:lnTo>
                      <a:pt x="165" y="175"/>
                    </a:lnTo>
                    <a:lnTo>
                      <a:pt x="171" y="175"/>
                    </a:lnTo>
                    <a:lnTo>
                      <a:pt x="176" y="175"/>
                    </a:lnTo>
                    <a:lnTo>
                      <a:pt x="176" y="170"/>
                    </a:lnTo>
                    <a:lnTo>
                      <a:pt x="182" y="175"/>
                    </a:lnTo>
                    <a:lnTo>
                      <a:pt x="188" y="175"/>
                    </a:lnTo>
                    <a:lnTo>
                      <a:pt x="199" y="175"/>
                    </a:lnTo>
                    <a:lnTo>
                      <a:pt x="199" y="181"/>
                    </a:lnTo>
                    <a:lnTo>
                      <a:pt x="205" y="181"/>
                    </a:lnTo>
                    <a:lnTo>
                      <a:pt x="210" y="181"/>
                    </a:lnTo>
                    <a:lnTo>
                      <a:pt x="216" y="181"/>
                    </a:lnTo>
                    <a:lnTo>
                      <a:pt x="222" y="175"/>
                    </a:lnTo>
                    <a:lnTo>
                      <a:pt x="227" y="175"/>
                    </a:lnTo>
                    <a:lnTo>
                      <a:pt x="227" y="181"/>
                    </a:lnTo>
                    <a:lnTo>
                      <a:pt x="233" y="181"/>
                    </a:lnTo>
                    <a:lnTo>
                      <a:pt x="233" y="187"/>
                    </a:lnTo>
                    <a:lnTo>
                      <a:pt x="239" y="187"/>
                    </a:lnTo>
                    <a:lnTo>
                      <a:pt x="233" y="192"/>
                    </a:lnTo>
                    <a:lnTo>
                      <a:pt x="239" y="192"/>
                    </a:lnTo>
                    <a:lnTo>
                      <a:pt x="244" y="192"/>
                    </a:lnTo>
                    <a:lnTo>
                      <a:pt x="250" y="192"/>
                    </a:lnTo>
                    <a:lnTo>
                      <a:pt x="250" y="198"/>
                    </a:lnTo>
                    <a:lnTo>
                      <a:pt x="256" y="198"/>
                    </a:lnTo>
                    <a:lnTo>
                      <a:pt x="256" y="204"/>
                    </a:lnTo>
                    <a:lnTo>
                      <a:pt x="261" y="204"/>
                    </a:lnTo>
                    <a:lnTo>
                      <a:pt x="267" y="204"/>
                    </a:lnTo>
                    <a:lnTo>
                      <a:pt x="267" y="209"/>
                    </a:lnTo>
                    <a:lnTo>
                      <a:pt x="273" y="209"/>
                    </a:lnTo>
                    <a:lnTo>
                      <a:pt x="273" y="215"/>
                    </a:lnTo>
                    <a:lnTo>
                      <a:pt x="278" y="215"/>
                    </a:lnTo>
                    <a:lnTo>
                      <a:pt x="278" y="209"/>
                    </a:lnTo>
                    <a:lnTo>
                      <a:pt x="278" y="215"/>
                    </a:lnTo>
                    <a:lnTo>
                      <a:pt x="284" y="215"/>
                    </a:lnTo>
                    <a:lnTo>
                      <a:pt x="278" y="215"/>
                    </a:lnTo>
                    <a:lnTo>
                      <a:pt x="278" y="221"/>
                    </a:lnTo>
                    <a:lnTo>
                      <a:pt x="284" y="221"/>
                    </a:lnTo>
                    <a:lnTo>
                      <a:pt x="290" y="221"/>
                    </a:lnTo>
                    <a:lnTo>
                      <a:pt x="295" y="221"/>
                    </a:lnTo>
                    <a:lnTo>
                      <a:pt x="301" y="226"/>
                    </a:lnTo>
                    <a:lnTo>
                      <a:pt x="301" y="232"/>
                    </a:lnTo>
                    <a:lnTo>
                      <a:pt x="307" y="232"/>
                    </a:lnTo>
                    <a:lnTo>
                      <a:pt x="307" y="238"/>
                    </a:lnTo>
                    <a:lnTo>
                      <a:pt x="312" y="238"/>
                    </a:lnTo>
                    <a:lnTo>
                      <a:pt x="318" y="238"/>
                    </a:lnTo>
                    <a:lnTo>
                      <a:pt x="318" y="243"/>
                    </a:lnTo>
                    <a:lnTo>
                      <a:pt x="318" y="249"/>
                    </a:lnTo>
                    <a:lnTo>
                      <a:pt x="324" y="249"/>
                    </a:lnTo>
                    <a:lnTo>
                      <a:pt x="324" y="255"/>
                    </a:lnTo>
                    <a:lnTo>
                      <a:pt x="329" y="255"/>
                    </a:lnTo>
                    <a:lnTo>
                      <a:pt x="335" y="255"/>
                    </a:lnTo>
                    <a:lnTo>
                      <a:pt x="335" y="260"/>
                    </a:lnTo>
                    <a:lnTo>
                      <a:pt x="341" y="260"/>
                    </a:lnTo>
                    <a:lnTo>
                      <a:pt x="341" y="266"/>
                    </a:lnTo>
                    <a:lnTo>
                      <a:pt x="346" y="272"/>
                    </a:lnTo>
                    <a:lnTo>
                      <a:pt x="352" y="272"/>
                    </a:lnTo>
                    <a:lnTo>
                      <a:pt x="352" y="266"/>
                    </a:lnTo>
                    <a:lnTo>
                      <a:pt x="358" y="266"/>
                    </a:lnTo>
                    <a:lnTo>
                      <a:pt x="363" y="266"/>
                    </a:lnTo>
                    <a:lnTo>
                      <a:pt x="369" y="266"/>
                    </a:lnTo>
                    <a:lnTo>
                      <a:pt x="369" y="272"/>
                    </a:lnTo>
                    <a:lnTo>
                      <a:pt x="369" y="277"/>
                    </a:lnTo>
                    <a:lnTo>
                      <a:pt x="369" y="272"/>
                    </a:lnTo>
                    <a:lnTo>
                      <a:pt x="369" y="277"/>
                    </a:lnTo>
                    <a:lnTo>
                      <a:pt x="375" y="272"/>
                    </a:lnTo>
                    <a:lnTo>
                      <a:pt x="380" y="277"/>
                    </a:lnTo>
                    <a:lnTo>
                      <a:pt x="380" y="272"/>
                    </a:lnTo>
                    <a:lnTo>
                      <a:pt x="386" y="272"/>
                    </a:lnTo>
                    <a:lnTo>
                      <a:pt x="392" y="272"/>
                    </a:lnTo>
                    <a:lnTo>
                      <a:pt x="397" y="272"/>
                    </a:lnTo>
                    <a:lnTo>
                      <a:pt x="403" y="272"/>
                    </a:lnTo>
                    <a:lnTo>
                      <a:pt x="403" y="266"/>
                    </a:lnTo>
                    <a:lnTo>
                      <a:pt x="409" y="266"/>
                    </a:lnTo>
                    <a:lnTo>
                      <a:pt x="409" y="272"/>
                    </a:lnTo>
                    <a:lnTo>
                      <a:pt x="414" y="272"/>
                    </a:lnTo>
                    <a:lnTo>
                      <a:pt x="414" y="266"/>
                    </a:lnTo>
                    <a:lnTo>
                      <a:pt x="420" y="272"/>
                    </a:lnTo>
                    <a:lnTo>
                      <a:pt x="426" y="272"/>
                    </a:lnTo>
                    <a:lnTo>
                      <a:pt x="426" y="277"/>
                    </a:lnTo>
                    <a:lnTo>
                      <a:pt x="431" y="283"/>
                    </a:lnTo>
                    <a:lnTo>
                      <a:pt x="431" y="289"/>
                    </a:lnTo>
                    <a:lnTo>
                      <a:pt x="437" y="289"/>
                    </a:lnTo>
                    <a:lnTo>
                      <a:pt x="443" y="289"/>
                    </a:lnTo>
                    <a:lnTo>
                      <a:pt x="443" y="294"/>
                    </a:lnTo>
                    <a:lnTo>
                      <a:pt x="437" y="294"/>
                    </a:lnTo>
                    <a:lnTo>
                      <a:pt x="443" y="294"/>
                    </a:lnTo>
                    <a:lnTo>
                      <a:pt x="448" y="294"/>
                    </a:lnTo>
                    <a:lnTo>
                      <a:pt x="448" y="300"/>
                    </a:lnTo>
                    <a:lnTo>
                      <a:pt x="460" y="306"/>
                    </a:lnTo>
                    <a:lnTo>
                      <a:pt x="465" y="306"/>
                    </a:lnTo>
                    <a:lnTo>
                      <a:pt x="471" y="306"/>
                    </a:lnTo>
                    <a:lnTo>
                      <a:pt x="471" y="300"/>
                    </a:lnTo>
                    <a:lnTo>
                      <a:pt x="477" y="300"/>
                    </a:lnTo>
                    <a:lnTo>
                      <a:pt x="482" y="300"/>
                    </a:lnTo>
                    <a:lnTo>
                      <a:pt x="488" y="300"/>
                    </a:lnTo>
                    <a:lnTo>
                      <a:pt x="494" y="300"/>
                    </a:lnTo>
                    <a:lnTo>
                      <a:pt x="511" y="306"/>
                    </a:lnTo>
                    <a:lnTo>
                      <a:pt x="511" y="311"/>
                    </a:lnTo>
                    <a:lnTo>
                      <a:pt x="516" y="311"/>
                    </a:lnTo>
                    <a:lnTo>
                      <a:pt x="522" y="317"/>
                    </a:lnTo>
                    <a:lnTo>
                      <a:pt x="528" y="317"/>
                    </a:lnTo>
                    <a:lnTo>
                      <a:pt x="533" y="317"/>
                    </a:lnTo>
                    <a:lnTo>
                      <a:pt x="539" y="323"/>
                    </a:lnTo>
                    <a:lnTo>
                      <a:pt x="545" y="323"/>
                    </a:lnTo>
                    <a:lnTo>
                      <a:pt x="550" y="317"/>
                    </a:lnTo>
                    <a:lnTo>
                      <a:pt x="556" y="317"/>
                    </a:lnTo>
                    <a:lnTo>
                      <a:pt x="562" y="317"/>
                    </a:lnTo>
                    <a:lnTo>
                      <a:pt x="562" y="323"/>
                    </a:lnTo>
                    <a:lnTo>
                      <a:pt x="567" y="323"/>
                    </a:lnTo>
                    <a:lnTo>
                      <a:pt x="573" y="323"/>
                    </a:lnTo>
                    <a:lnTo>
                      <a:pt x="579" y="323"/>
                    </a:lnTo>
                    <a:lnTo>
                      <a:pt x="584" y="317"/>
                    </a:lnTo>
                    <a:lnTo>
                      <a:pt x="584" y="323"/>
                    </a:lnTo>
                    <a:lnTo>
                      <a:pt x="590" y="317"/>
                    </a:lnTo>
                    <a:lnTo>
                      <a:pt x="596" y="317"/>
                    </a:lnTo>
                    <a:lnTo>
                      <a:pt x="601" y="317"/>
                    </a:lnTo>
                    <a:lnTo>
                      <a:pt x="607" y="317"/>
                    </a:lnTo>
                    <a:lnTo>
                      <a:pt x="607" y="311"/>
                    </a:lnTo>
                    <a:lnTo>
                      <a:pt x="618" y="306"/>
                    </a:lnTo>
                    <a:lnTo>
                      <a:pt x="624" y="306"/>
                    </a:lnTo>
                    <a:lnTo>
                      <a:pt x="630" y="300"/>
                    </a:lnTo>
                    <a:lnTo>
                      <a:pt x="630" y="294"/>
                    </a:lnTo>
                    <a:lnTo>
                      <a:pt x="635" y="294"/>
                    </a:lnTo>
                    <a:lnTo>
                      <a:pt x="641" y="294"/>
                    </a:lnTo>
                    <a:lnTo>
                      <a:pt x="647" y="294"/>
                    </a:lnTo>
                    <a:lnTo>
                      <a:pt x="652" y="294"/>
                    </a:lnTo>
                    <a:lnTo>
                      <a:pt x="652" y="300"/>
                    </a:lnTo>
                    <a:lnTo>
                      <a:pt x="658" y="300"/>
                    </a:lnTo>
                    <a:lnTo>
                      <a:pt x="664" y="306"/>
                    </a:lnTo>
                    <a:lnTo>
                      <a:pt x="669" y="306"/>
                    </a:lnTo>
                    <a:lnTo>
                      <a:pt x="675" y="306"/>
                    </a:lnTo>
                    <a:lnTo>
                      <a:pt x="681" y="306"/>
                    </a:lnTo>
                    <a:lnTo>
                      <a:pt x="686" y="306"/>
                    </a:lnTo>
                    <a:lnTo>
                      <a:pt x="692" y="306"/>
                    </a:lnTo>
                    <a:lnTo>
                      <a:pt x="703" y="306"/>
                    </a:lnTo>
                    <a:lnTo>
                      <a:pt x="709" y="306"/>
                    </a:lnTo>
                    <a:lnTo>
                      <a:pt x="715" y="306"/>
                    </a:lnTo>
                    <a:lnTo>
                      <a:pt x="720" y="306"/>
                    </a:lnTo>
                    <a:lnTo>
                      <a:pt x="732" y="300"/>
                    </a:lnTo>
                    <a:lnTo>
                      <a:pt x="737" y="300"/>
                    </a:lnTo>
                    <a:lnTo>
                      <a:pt x="743" y="294"/>
                    </a:lnTo>
                    <a:lnTo>
                      <a:pt x="749" y="294"/>
                    </a:lnTo>
                    <a:lnTo>
                      <a:pt x="749" y="289"/>
                    </a:lnTo>
                    <a:lnTo>
                      <a:pt x="766" y="277"/>
                    </a:lnTo>
                    <a:lnTo>
                      <a:pt x="777" y="272"/>
                    </a:lnTo>
                    <a:lnTo>
                      <a:pt x="783" y="272"/>
                    </a:lnTo>
                    <a:lnTo>
                      <a:pt x="783" y="266"/>
                    </a:lnTo>
                    <a:lnTo>
                      <a:pt x="800" y="238"/>
                    </a:lnTo>
                    <a:lnTo>
                      <a:pt x="800" y="226"/>
                    </a:lnTo>
                    <a:lnTo>
                      <a:pt x="805" y="221"/>
                    </a:lnTo>
                    <a:lnTo>
                      <a:pt x="811" y="215"/>
                    </a:lnTo>
                    <a:lnTo>
                      <a:pt x="811" y="209"/>
                    </a:lnTo>
                    <a:lnTo>
                      <a:pt x="811" y="204"/>
                    </a:lnTo>
                    <a:lnTo>
                      <a:pt x="817" y="198"/>
                    </a:lnTo>
                    <a:lnTo>
                      <a:pt x="817" y="175"/>
                    </a:lnTo>
                    <a:lnTo>
                      <a:pt x="822" y="170"/>
                    </a:lnTo>
                    <a:lnTo>
                      <a:pt x="828" y="164"/>
                    </a:lnTo>
                    <a:lnTo>
                      <a:pt x="828" y="158"/>
                    </a:lnTo>
                    <a:lnTo>
                      <a:pt x="834" y="147"/>
                    </a:lnTo>
                    <a:lnTo>
                      <a:pt x="839" y="141"/>
                    </a:lnTo>
                    <a:lnTo>
                      <a:pt x="845" y="130"/>
                    </a:lnTo>
                    <a:lnTo>
                      <a:pt x="845" y="124"/>
                    </a:lnTo>
                    <a:lnTo>
                      <a:pt x="851" y="113"/>
                    </a:lnTo>
                    <a:lnTo>
                      <a:pt x="856" y="102"/>
                    </a:lnTo>
                    <a:lnTo>
                      <a:pt x="862" y="90"/>
                    </a:lnTo>
                    <a:lnTo>
                      <a:pt x="862" y="85"/>
                    </a:lnTo>
                    <a:lnTo>
                      <a:pt x="862" y="79"/>
                    </a:lnTo>
                    <a:lnTo>
                      <a:pt x="868" y="79"/>
                    </a:lnTo>
                    <a:lnTo>
                      <a:pt x="868" y="68"/>
                    </a:lnTo>
                    <a:lnTo>
                      <a:pt x="868" y="62"/>
                    </a:lnTo>
                    <a:lnTo>
                      <a:pt x="868" y="56"/>
                    </a:lnTo>
                    <a:lnTo>
                      <a:pt x="868" y="51"/>
                    </a:lnTo>
                    <a:lnTo>
                      <a:pt x="862" y="51"/>
                    </a:lnTo>
                    <a:lnTo>
                      <a:pt x="862" y="45"/>
                    </a:lnTo>
                    <a:lnTo>
                      <a:pt x="862" y="39"/>
                    </a:lnTo>
                    <a:lnTo>
                      <a:pt x="862" y="34"/>
                    </a:lnTo>
                    <a:lnTo>
                      <a:pt x="868" y="34"/>
                    </a:lnTo>
                    <a:lnTo>
                      <a:pt x="873" y="34"/>
                    </a:lnTo>
                    <a:lnTo>
                      <a:pt x="879" y="34"/>
                    </a:lnTo>
                    <a:lnTo>
                      <a:pt x="879" y="28"/>
                    </a:lnTo>
                    <a:lnTo>
                      <a:pt x="885" y="22"/>
                    </a:lnTo>
                    <a:lnTo>
                      <a:pt x="896" y="22"/>
                    </a:lnTo>
                    <a:lnTo>
                      <a:pt x="902" y="22"/>
                    </a:lnTo>
                    <a:lnTo>
                      <a:pt x="907" y="22"/>
                    </a:lnTo>
                    <a:lnTo>
                      <a:pt x="913" y="22"/>
                    </a:lnTo>
                    <a:lnTo>
                      <a:pt x="930" y="17"/>
                    </a:lnTo>
                    <a:lnTo>
                      <a:pt x="936" y="17"/>
                    </a:lnTo>
                    <a:lnTo>
                      <a:pt x="947" y="17"/>
                    </a:lnTo>
                    <a:lnTo>
                      <a:pt x="964" y="11"/>
                    </a:lnTo>
                    <a:lnTo>
                      <a:pt x="970" y="11"/>
                    </a:lnTo>
                    <a:lnTo>
                      <a:pt x="993" y="5"/>
                    </a:lnTo>
                    <a:lnTo>
                      <a:pt x="998" y="5"/>
                    </a:lnTo>
                    <a:lnTo>
                      <a:pt x="1004" y="5"/>
                    </a:lnTo>
                    <a:lnTo>
                      <a:pt x="1004" y="0"/>
                    </a:lnTo>
                    <a:lnTo>
                      <a:pt x="1010" y="0"/>
                    </a:lnTo>
                    <a:lnTo>
                      <a:pt x="1010" y="5"/>
                    </a:lnTo>
                    <a:lnTo>
                      <a:pt x="1015" y="5"/>
                    </a:lnTo>
                    <a:lnTo>
                      <a:pt x="1015" y="11"/>
                    </a:lnTo>
                    <a:lnTo>
                      <a:pt x="1015" y="17"/>
                    </a:lnTo>
                    <a:lnTo>
                      <a:pt x="1010" y="22"/>
                    </a:lnTo>
                    <a:lnTo>
                      <a:pt x="1010" y="28"/>
                    </a:lnTo>
                    <a:lnTo>
                      <a:pt x="1015" y="28"/>
                    </a:lnTo>
                    <a:lnTo>
                      <a:pt x="1015" y="39"/>
                    </a:lnTo>
                    <a:lnTo>
                      <a:pt x="1021" y="39"/>
                    </a:lnTo>
                    <a:lnTo>
                      <a:pt x="1021" y="45"/>
                    </a:lnTo>
                    <a:lnTo>
                      <a:pt x="1021" y="51"/>
                    </a:lnTo>
                    <a:lnTo>
                      <a:pt x="1027" y="51"/>
                    </a:lnTo>
                    <a:lnTo>
                      <a:pt x="1049" y="51"/>
                    </a:lnTo>
                    <a:lnTo>
                      <a:pt x="1055" y="56"/>
                    </a:lnTo>
                    <a:lnTo>
                      <a:pt x="1066" y="51"/>
                    </a:lnTo>
                    <a:lnTo>
                      <a:pt x="1078" y="62"/>
                    </a:lnTo>
                    <a:lnTo>
                      <a:pt x="1089" y="62"/>
                    </a:lnTo>
                    <a:lnTo>
                      <a:pt x="1100" y="68"/>
                    </a:lnTo>
                    <a:lnTo>
                      <a:pt x="1106" y="62"/>
                    </a:lnTo>
                    <a:lnTo>
                      <a:pt x="1106" y="56"/>
                    </a:lnTo>
                    <a:lnTo>
                      <a:pt x="1134" y="51"/>
                    </a:lnTo>
                    <a:lnTo>
                      <a:pt x="1151" y="45"/>
                    </a:lnTo>
                    <a:lnTo>
                      <a:pt x="1151" y="39"/>
                    </a:lnTo>
                    <a:lnTo>
                      <a:pt x="1163" y="39"/>
                    </a:lnTo>
                    <a:lnTo>
                      <a:pt x="1163" y="28"/>
                    </a:lnTo>
                    <a:lnTo>
                      <a:pt x="1168" y="28"/>
                    </a:lnTo>
                    <a:lnTo>
                      <a:pt x="1174" y="28"/>
                    </a:lnTo>
                    <a:lnTo>
                      <a:pt x="1174" y="39"/>
                    </a:lnTo>
                    <a:lnTo>
                      <a:pt x="1174" y="51"/>
                    </a:lnTo>
                    <a:lnTo>
                      <a:pt x="1180" y="56"/>
                    </a:lnTo>
                    <a:lnTo>
                      <a:pt x="1180" y="62"/>
                    </a:lnTo>
                    <a:lnTo>
                      <a:pt x="1180" y="73"/>
                    </a:lnTo>
                    <a:lnTo>
                      <a:pt x="1185" y="73"/>
                    </a:lnTo>
                    <a:lnTo>
                      <a:pt x="1197" y="79"/>
                    </a:lnTo>
                    <a:lnTo>
                      <a:pt x="1202" y="85"/>
                    </a:lnTo>
                    <a:lnTo>
                      <a:pt x="1202" y="90"/>
                    </a:lnTo>
                    <a:lnTo>
                      <a:pt x="1208" y="90"/>
                    </a:lnTo>
                    <a:lnTo>
                      <a:pt x="1202" y="96"/>
                    </a:lnTo>
                    <a:lnTo>
                      <a:pt x="1242" y="102"/>
                    </a:lnTo>
                    <a:lnTo>
                      <a:pt x="1253" y="113"/>
                    </a:lnTo>
                    <a:lnTo>
                      <a:pt x="1253" y="119"/>
                    </a:lnTo>
                    <a:lnTo>
                      <a:pt x="1259" y="119"/>
                    </a:lnTo>
                    <a:lnTo>
                      <a:pt x="1270" y="119"/>
                    </a:lnTo>
                    <a:lnTo>
                      <a:pt x="1276" y="119"/>
                    </a:lnTo>
                    <a:lnTo>
                      <a:pt x="1287" y="113"/>
                    </a:lnTo>
                    <a:lnTo>
                      <a:pt x="1293" y="119"/>
                    </a:lnTo>
                    <a:lnTo>
                      <a:pt x="1293" y="124"/>
                    </a:lnTo>
                    <a:lnTo>
                      <a:pt x="1299" y="130"/>
                    </a:lnTo>
                    <a:lnTo>
                      <a:pt x="1304" y="130"/>
                    </a:lnTo>
                    <a:lnTo>
                      <a:pt x="1310" y="119"/>
                    </a:lnTo>
                    <a:lnTo>
                      <a:pt x="1316" y="119"/>
                    </a:lnTo>
                    <a:lnTo>
                      <a:pt x="1316" y="113"/>
                    </a:lnTo>
                    <a:lnTo>
                      <a:pt x="1316" y="107"/>
                    </a:lnTo>
                    <a:lnTo>
                      <a:pt x="1316" y="102"/>
                    </a:lnTo>
                    <a:lnTo>
                      <a:pt x="1316" y="96"/>
                    </a:lnTo>
                    <a:lnTo>
                      <a:pt x="1327" y="90"/>
                    </a:lnTo>
                    <a:lnTo>
                      <a:pt x="1333" y="96"/>
                    </a:lnTo>
                    <a:lnTo>
                      <a:pt x="1338" y="90"/>
                    </a:lnTo>
                    <a:lnTo>
                      <a:pt x="1350" y="102"/>
                    </a:lnTo>
                    <a:lnTo>
                      <a:pt x="1355" y="96"/>
                    </a:lnTo>
                    <a:lnTo>
                      <a:pt x="1361" y="96"/>
                    </a:lnTo>
                    <a:lnTo>
                      <a:pt x="1367" y="96"/>
                    </a:lnTo>
                    <a:lnTo>
                      <a:pt x="1372" y="96"/>
                    </a:lnTo>
                    <a:lnTo>
                      <a:pt x="1401" y="102"/>
                    </a:lnTo>
                    <a:lnTo>
                      <a:pt x="1406" y="102"/>
                    </a:lnTo>
                    <a:lnTo>
                      <a:pt x="1406" y="96"/>
                    </a:lnTo>
                    <a:lnTo>
                      <a:pt x="1418" y="96"/>
                    </a:lnTo>
                    <a:lnTo>
                      <a:pt x="1423" y="96"/>
                    </a:lnTo>
                    <a:lnTo>
                      <a:pt x="1423" y="102"/>
                    </a:lnTo>
                    <a:lnTo>
                      <a:pt x="1446" y="102"/>
                    </a:lnTo>
                    <a:lnTo>
                      <a:pt x="1452" y="102"/>
                    </a:lnTo>
                    <a:lnTo>
                      <a:pt x="1457" y="107"/>
                    </a:lnTo>
                    <a:lnTo>
                      <a:pt x="1474" y="113"/>
                    </a:lnTo>
                    <a:lnTo>
                      <a:pt x="1480" y="113"/>
                    </a:lnTo>
                    <a:lnTo>
                      <a:pt x="1486" y="119"/>
                    </a:lnTo>
                    <a:lnTo>
                      <a:pt x="1480" y="130"/>
                    </a:lnTo>
                    <a:lnTo>
                      <a:pt x="1480" y="136"/>
                    </a:lnTo>
                    <a:lnTo>
                      <a:pt x="1469" y="136"/>
                    </a:lnTo>
                    <a:lnTo>
                      <a:pt x="1463" y="130"/>
                    </a:lnTo>
                    <a:lnTo>
                      <a:pt x="1457" y="130"/>
                    </a:lnTo>
                    <a:lnTo>
                      <a:pt x="1446" y="130"/>
                    </a:lnTo>
                    <a:lnTo>
                      <a:pt x="1440" y="136"/>
                    </a:lnTo>
                    <a:lnTo>
                      <a:pt x="1440" y="141"/>
                    </a:lnTo>
                    <a:lnTo>
                      <a:pt x="1452" y="141"/>
                    </a:lnTo>
                    <a:lnTo>
                      <a:pt x="1457" y="147"/>
                    </a:lnTo>
                    <a:lnTo>
                      <a:pt x="1457" y="158"/>
                    </a:lnTo>
                    <a:lnTo>
                      <a:pt x="1463" y="158"/>
                    </a:lnTo>
                    <a:lnTo>
                      <a:pt x="1480" y="153"/>
                    </a:lnTo>
                    <a:lnTo>
                      <a:pt x="1480" y="158"/>
                    </a:lnTo>
                    <a:lnTo>
                      <a:pt x="1486" y="164"/>
                    </a:lnTo>
                    <a:lnTo>
                      <a:pt x="1491" y="170"/>
                    </a:lnTo>
                    <a:lnTo>
                      <a:pt x="1491" y="175"/>
                    </a:lnTo>
                    <a:lnTo>
                      <a:pt x="1497" y="175"/>
                    </a:lnTo>
                    <a:lnTo>
                      <a:pt x="1497" y="187"/>
                    </a:lnTo>
                    <a:lnTo>
                      <a:pt x="1497" y="209"/>
                    </a:lnTo>
                    <a:lnTo>
                      <a:pt x="1486" y="215"/>
                    </a:lnTo>
                    <a:lnTo>
                      <a:pt x="1480" y="215"/>
                    </a:lnTo>
                    <a:lnTo>
                      <a:pt x="1474" y="215"/>
                    </a:lnTo>
                    <a:lnTo>
                      <a:pt x="1469" y="215"/>
                    </a:lnTo>
                    <a:lnTo>
                      <a:pt x="1463" y="215"/>
                    </a:lnTo>
                    <a:lnTo>
                      <a:pt x="1457" y="221"/>
                    </a:lnTo>
                    <a:lnTo>
                      <a:pt x="1452" y="221"/>
                    </a:lnTo>
                    <a:lnTo>
                      <a:pt x="1452" y="215"/>
                    </a:lnTo>
                    <a:lnTo>
                      <a:pt x="1457" y="209"/>
                    </a:lnTo>
                    <a:lnTo>
                      <a:pt x="1457" y="204"/>
                    </a:lnTo>
                    <a:lnTo>
                      <a:pt x="1446" y="204"/>
                    </a:lnTo>
                    <a:lnTo>
                      <a:pt x="1435" y="209"/>
                    </a:lnTo>
                    <a:lnTo>
                      <a:pt x="1435" y="215"/>
                    </a:lnTo>
                    <a:lnTo>
                      <a:pt x="1440" y="221"/>
                    </a:lnTo>
                    <a:lnTo>
                      <a:pt x="1440" y="226"/>
                    </a:lnTo>
                    <a:lnTo>
                      <a:pt x="1440" y="238"/>
                    </a:lnTo>
                    <a:lnTo>
                      <a:pt x="1446" y="238"/>
                    </a:lnTo>
                    <a:lnTo>
                      <a:pt x="1446" y="249"/>
                    </a:lnTo>
                    <a:lnTo>
                      <a:pt x="1440" y="249"/>
                    </a:lnTo>
                    <a:lnTo>
                      <a:pt x="1435" y="255"/>
                    </a:lnTo>
                    <a:lnTo>
                      <a:pt x="1429" y="260"/>
                    </a:lnTo>
                    <a:lnTo>
                      <a:pt x="1429" y="266"/>
                    </a:lnTo>
                    <a:lnTo>
                      <a:pt x="1423" y="266"/>
                    </a:lnTo>
                    <a:lnTo>
                      <a:pt x="1423" y="272"/>
                    </a:lnTo>
                    <a:lnTo>
                      <a:pt x="1418" y="272"/>
                    </a:lnTo>
                    <a:lnTo>
                      <a:pt x="1412" y="272"/>
                    </a:lnTo>
                    <a:lnTo>
                      <a:pt x="1401" y="272"/>
                    </a:lnTo>
                    <a:lnTo>
                      <a:pt x="1401" y="277"/>
                    </a:lnTo>
                    <a:lnTo>
                      <a:pt x="1406" y="289"/>
                    </a:lnTo>
                    <a:lnTo>
                      <a:pt x="1412" y="300"/>
                    </a:lnTo>
                    <a:lnTo>
                      <a:pt x="1401" y="300"/>
                    </a:lnTo>
                    <a:lnTo>
                      <a:pt x="1406" y="317"/>
                    </a:lnTo>
                    <a:lnTo>
                      <a:pt x="1401" y="323"/>
                    </a:lnTo>
                    <a:lnTo>
                      <a:pt x="1401" y="328"/>
                    </a:lnTo>
                    <a:lnTo>
                      <a:pt x="1389" y="323"/>
                    </a:lnTo>
                    <a:lnTo>
                      <a:pt x="1389" y="328"/>
                    </a:lnTo>
                    <a:lnTo>
                      <a:pt x="1367" y="334"/>
                    </a:lnTo>
                    <a:lnTo>
                      <a:pt x="1344" y="340"/>
                    </a:lnTo>
                    <a:lnTo>
                      <a:pt x="1344" y="328"/>
                    </a:lnTo>
                    <a:lnTo>
                      <a:pt x="1327" y="334"/>
                    </a:lnTo>
                    <a:lnTo>
                      <a:pt x="1321" y="323"/>
                    </a:lnTo>
                    <a:lnTo>
                      <a:pt x="1316" y="311"/>
                    </a:lnTo>
                    <a:lnTo>
                      <a:pt x="1293" y="328"/>
                    </a:lnTo>
                    <a:lnTo>
                      <a:pt x="1270" y="334"/>
                    </a:lnTo>
                    <a:lnTo>
                      <a:pt x="1270" y="357"/>
                    </a:lnTo>
                    <a:lnTo>
                      <a:pt x="1265" y="368"/>
                    </a:lnTo>
                    <a:lnTo>
                      <a:pt x="1259" y="396"/>
                    </a:lnTo>
                    <a:lnTo>
                      <a:pt x="1259" y="402"/>
                    </a:lnTo>
                    <a:lnTo>
                      <a:pt x="1242" y="408"/>
                    </a:lnTo>
                    <a:lnTo>
                      <a:pt x="1242" y="413"/>
                    </a:lnTo>
                    <a:lnTo>
                      <a:pt x="1225" y="413"/>
                    </a:lnTo>
                    <a:lnTo>
                      <a:pt x="1231" y="453"/>
                    </a:lnTo>
                    <a:lnTo>
                      <a:pt x="1208" y="464"/>
                    </a:lnTo>
                    <a:lnTo>
                      <a:pt x="1191" y="476"/>
                    </a:lnTo>
                    <a:lnTo>
                      <a:pt x="1202" y="487"/>
                    </a:lnTo>
                    <a:lnTo>
                      <a:pt x="1202" y="498"/>
                    </a:lnTo>
                    <a:lnTo>
                      <a:pt x="1208" y="498"/>
                    </a:lnTo>
                    <a:lnTo>
                      <a:pt x="1202" y="510"/>
                    </a:lnTo>
                    <a:lnTo>
                      <a:pt x="1236" y="498"/>
                    </a:lnTo>
                    <a:lnTo>
                      <a:pt x="1236" y="487"/>
                    </a:lnTo>
                    <a:lnTo>
                      <a:pt x="1276" y="481"/>
                    </a:lnTo>
                    <a:lnTo>
                      <a:pt x="1276" y="487"/>
                    </a:lnTo>
                    <a:lnTo>
                      <a:pt x="1282" y="487"/>
                    </a:lnTo>
                    <a:lnTo>
                      <a:pt x="1282" y="493"/>
                    </a:lnTo>
                    <a:lnTo>
                      <a:pt x="1304" y="493"/>
                    </a:lnTo>
                    <a:lnTo>
                      <a:pt x="1304" y="504"/>
                    </a:lnTo>
                    <a:lnTo>
                      <a:pt x="1299" y="504"/>
                    </a:lnTo>
                    <a:lnTo>
                      <a:pt x="1299" y="510"/>
                    </a:lnTo>
                    <a:lnTo>
                      <a:pt x="1299" y="515"/>
                    </a:lnTo>
                    <a:lnTo>
                      <a:pt x="1293" y="527"/>
                    </a:lnTo>
                    <a:lnTo>
                      <a:pt x="1287" y="527"/>
                    </a:lnTo>
                    <a:lnTo>
                      <a:pt x="1299" y="538"/>
                    </a:lnTo>
                    <a:lnTo>
                      <a:pt x="1287" y="578"/>
                    </a:lnTo>
                    <a:lnTo>
                      <a:pt x="1282" y="578"/>
                    </a:lnTo>
                    <a:lnTo>
                      <a:pt x="1282" y="584"/>
                    </a:lnTo>
                    <a:lnTo>
                      <a:pt x="1282" y="589"/>
                    </a:lnTo>
                    <a:lnTo>
                      <a:pt x="1282" y="595"/>
                    </a:lnTo>
                    <a:lnTo>
                      <a:pt x="1276" y="595"/>
                    </a:lnTo>
                    <a:lnTo>
                      <a:pt x="1276" y="601"/>
                    </a:lnTo>
                    <a:lnTo>
                      <a:pt x="1276" y="606"/>
                    </a:lnTo>
                    <a:lnTo>
                      <a:pt x="1270" y="606"/>
                    </a:lnTo>
                    <a:lnTo>
                      <a:pt x="1265" y="606"/>
                    </a:lnTo>
                    <a:lnTo>
                      <a:pt x="1265" y="612"/>
                    </a:lnTo>
                    <a:lnTo>
                      <a:pt x="1259" y="618"/>
                    </a:lnTo>
                    <a:lnTo>
                      <a:pt x="1253" y="618"/>
                    </a:lnTo>
                    <a:lnTo>
                      <a:pt x="1248" y="612"/>
                    </a:lnTo>
                    <a:lnTo>
                      <a:pt x="1236" y="601"/>
                    </a:lnTo>
                    <a:lnTo>
                      <a:pt x="1236" y="595"/>
                    </a:lnTo>
                    <a:lnTo>
                      <a:pt x="1231" y="595"/>
                    </a:lnTo>
                    <a:lnTo>
                      <a:pt x="1225" y="601"/>
                    </a:lnTo>
                    <a:lnTo>
                      <a:pt x="1219" y="606"/>
                    </a:lnTo>
                    <a:lnTo>
                      <a:pt x="1214" y="612"/>
                    </a:lnTo>
                    <a:lnTo>
                      <a:pt x="1208" y="618"/>
                    </a:lnTo>
                    <a:lnTo>
                      <a:pt x="1202" y="623"/>
                    </a:lnTo>
                    <a:lnTo>
                      <a:pt x="1202" y="629"/>
                    </a:lnTo>
                    <a:lnTo>
                      <a:pt x="1197" y="629"/>
                    </a:lnTo>
                    <a:lnTo>
                      <a:pt x="1191" y="629"/>
                    </a:lnTo>
                    <a:lnTo>
                      <a:pt x="1191" y="623"/>
                    </a:lnTo>
                    <a:lnTo>
                      <a:pt x="1197" y="623"/>
                    </a:lnTo>
                    <a:lnTo>
                      <a:pt x="1197" y="618"/>
                    </a:lnTo>
                    <a:lnTo>
                      <a:pt x="1191" y="618"/>
                    </a:lnTo>
                    <a:lnTo>
                      <a:pt x="1185" y="618"/>
                    </a:lnTo>
                    <a:lnTo>
                      <a:pt x="1185" y="623"/>
                    </a:lnTo>
                    <a:lnTo>
                      <a:pt x="1180" y="623"/>
                    </a:lnTo>
                    <a:lnTo>
                      <a:pt x="1174" y="618"/>
                    </a:lnTo>
                    <a:lnTo>
                      <a:pt x="1168" y="618"/>
                    </a:lnTo>
                    <a:lnTo>
                      <a:pt x="1163" y="618"/>
                    </a:lnTo>
                    <a:lnTo>
                      <a:pt x="1157" y="623"/>
                    </a:lnTo>
                    <a:lnTo>
                      <a:pt x="1151" y="623"/>
                    </a:lnTo>
                    <a:lnTo>
                      <a:pt x="1151" y="618"/>
                    </a:lnTo>
                    <a:lnTo>
                      <a:pt x="1146" y="618"/>
                    </a:lnTo>
                    <a:lnTo>
                      <a:pt x="1134" y="612"/>
                    </a:lnTo>
                    <a:lnTo>
                      <a:pt x="1134" y="606"/>
                    </a:lnTo>
                    <a:lnTo>
                      <a:pt x="1134" y="601"/>
                    </a:lnTo>
                    <a:lnTo>
                      <a:pt x="1129" y="601"/>
                    </a:lnTo>
                    <a:lnTo>
                      <a:pt x="1129" y="606"/>
                    </a:lnTo>
                    <a:lnTo>
                      <a:pt x="1123" y="612"/>
                    </a:lnTo>
                    <a:lnTo>
                      <a:pt x="1129" y="629"/>
                    </a:lnTo>
                    <a:lnTo>
                      <a:pt x="1123" y="629"/>
                    </a:lnTo>
                    <a:lnTo>
                      <a:pt x="1123" y="623"/>
                    </a:lnTo>
                    <a:lnTo>
                      <a:pt x="1123" y="618"/>
                    </a:lnTo>
                    <a:lnTo>
                      <a:pt x="1117" y="618"/>
                    </a:lnTo>
                    <a:lnTo>
                      <a:pt x="1112" y="618"/>
                    </a:lnTo>
                    <a:lnTo>
                      <a:pt x="1106" y="618"/>
                    </a:lnTo>
                    <a:lnTo>
                      <a:pt x="1100" y="623"/>
                    </a:lnTo>
                    <a:lnTo>
                      <a:pt x="1095" y="623"/>
                    </a:lnTo>
                    <a:lnTo>
                      <a:pt x="1095" y="618"/>
                    </a:lnTo>
                    <a:lnTo>
                      <a:pt x="1089" y="623"/>
                    </a:lnTo>
                    <a:lnTo>
                      <a:pt x="1078" y="629"/>
                    </a:lnTo>
                    <a:lnTo>
                      <a:pt x="1072" y="629"/>
                    </a:lnTo>
                    <a:lnTo>
                      <a:pt x="1066" y="635"/>
                    </a:lnTo>
                    <a:lnTo>
                      <a:pt x="1066" y="640"/>
                    </a:lnTo>
                    <a:lnTo>
                      <a:pt x="1061" y="640"/>
                    </a:lnTo>
                    <a:lnTo>
                      <a:pt x="1055" y="640"/>
                    </a:lnTo>
                    <a:lnTo>
                      <a:pt x="1055" y="635"/>
                    </a:lnTo>
                    <a:lnTo>
                      <a:pt x="1049" y="635"/>
                    </a:lnTo>
                    <a:lnTo>
                      <a:pt x="1044" y="640"/>
                    </a:lnTo>
                    <a:lnTo>
                      <a:pt x="1044" y="646"/>
                    </a:lnTo>
                    <a:lnTo>
                      <a:pt x="1038" y="646"/>
                    </a:lnTo>
                    <a:lnTo>
                      <a:pt x="1038" y="652"/>
                    </a:lnTo>
                    <a:lnTo>
                      <a:pt x="1032" y="652"/>
                    </a:lnTo>
                    <a:lnTo>
                      <a:pt x="1038" y="652"/>
                    </a:lnTo>
                    <a:lnTo>
                      <a:pt x="1038" y="657"/>
                    </a:lnTo>
                    <a:lnTo>
                      <a:pt x="1038" y="663"/>
                    </a:lnTo>
                    <a:lnTo>
                      <a:pt x="1032" y="663"/>
                    </a:lnTo>
                    <a:lnTo>
                      <a:pt x="1027" y="663"/>
                    </a:lnTo>
                    <a:lnTo>
                      <a:pt x="1021" y="663"/>
                    </a:lnTo>
                    <a:lnTo>
                      <a:pt x="1015" y="669"/>
                    </a:lnTo>
                    <a:lnTo>
                      <a:pt x="1010" y="669"/>
                    </a:lnTo>
                    <a:lnTo>
                      <a:pt x="1010" y="674"/>
                    </a:lnTo>
                    <a:lnTo>
                      <a:pt x="1004" y="674"/>
                    </a:lnTo>
                    <a:lnTo>
                      <a:pt x="1004" y="680"/>
                    </a:lnTo>
                    <a:lnTo>
                      <a:pt x="998" y="680"/>
                    </a:lnTo>
                    <a:lnTo>
                      <a:pt x="998" y="674"/>
                    </a:lnTo>
                    <a:lnTo>
                      <a:pt x="993" y="674"/>
                    </a:lnTo>
                    <a:lnTo>
                      <a:pt x="993" y="680"/>
                    </a:lnTo>
                    <a:lnTo>
                      <a:pt x="993" y="686"/>
                    </a:lnTo>
                    <a:lnTo>
                      <a:pt x="998" y="691"/>
                    </a:lnTo>
                    <a:lnTo>
                      <a:pt x="998" y="697"/>
                    </a:lnTo>
                    <a:lnTo>
                      <a:pt x="1004" y="697"/>
                    </a:lnTo>
                    <a:lnTo>
                      <a:pt x="1010" y="703"/>
                    </a:lnTo>
                    <a:lnTo>
                      <a:pt x="1010" y="708"/>
                    </a:lnTo>
                    <a:lnTo>
                      <a:pt x="1010" y="714"/>
                    </a:lnTo>
                    <a:lnTo>
                      <a:pt x="1010" y="720"/>
                    </a:lnTo>
                    <a:lnTo>
                      <a:pt x="1010" y="725"/>
                    </a:lnTo>
                    <a:lnTo>
                      <a:pt x="1004" y="725"/>
                    </a:lnTo>
                    <a:lnTo>
                      <a:pt x="1004" y="720"/>
                    </a:lnTo>
                    <a:lnTo>
                      <a:pt x="1004" y="725"/>
                    </a:lnTo>
                    <a:lnTo>
                      <a:pt x="998" y="731"/>
                    </a:lnTo>
                    <a:lnTo>
                      <a:pt x="1004" y="737"/>
                    </a:lnTo>
                    <a:lnTo>
                      <a:pt x="1010" y="737"/>
                    </a:lnTo>
                    <a:lnTo>
                      <a:pt x="1015" y="737"/>
                    </a:lnTo>
                    <a:lnTo>
                      <a:pt x="1015" y="742"/>
                    </a:lnTo>
                    <a:lnTo>
                      <a:pt x="1010" y="742"/>
                    </a:lnTo>
                    <a:lnTo>
                      <a:pt x="1004" y="742"/>
                    </a:lnTo>
                    <a:lnTo>
                      <a:pt x="998" y="742"/>
                    </a:lnTo>
                    <a:lnTo>
                      <a:pt x="993" y="742"/>
                    </a:lnTo>
                    <a:lnTo>
                      <a:pt x="993" y="748"/>
                    </a:lnTo>
                    <a:lnTo>
                      <a:pt x="987" y="748"/>
                    </a:lnTo>
                    <a:lnTo>
                      <a:pt x="981" y="742"/>
                    </a:lnTo>
                    <a:lnTo>
                      <a:pt x="970" y="742"/>
                    </a:lnTo>
                    <a:lnTo>
                      <a:pt x="964" y="748"/>
                    </a:lnTo>
                    <a:lnTo>
                      <a:pt x="964" y="754"/>
                    </a:lnTo>
                    <a:lnTo>
                      <a:pt x="958" y="754"/>
                    </a:lnTo>
                    <a:lnTo>
                      <a:pt x="958" y="748"/>
                    </a:lnTo>
                    <a:lnTo>
                      <a:pt x="953" y="748"/>
                    </a:lnTo>
                    <a:lnTo>
                      <a:pt x="947" y="748"/>
                    </a:lnTo>
                    <a:lnTo>
                      <a:pt x="947" y="754"/>
                    </a:lnTo>
                    <a:lnTo>
                      <a:pt x="941" y="754"/>
                    </a:lnTo>
                    <a:lnTo>
                      <a:pt x="936" y="759"/>
                    </a:lnTo>
                    <a:lnTo>
                      <a:pt x="936" y="765"/>
                    </a:lnTo>
                    <a:lnTo>
                      <a:pt x="936" y="771"/>
                    </a:lnTo>
                    <a:lnTo>
                      <a:pt x="936" y="776"/>
                    </a:lnTo>
                    <a:lnTo>
                      <a:pt x="930" y="776"/>
                    </a:lnTo>
                    <a:lnTo>
                      <a:pt x="924" y="776"/>
                    </a:lnTo>
                    <a:lnTo>
                      <a:pt x="924" y="782"/>
                    </a:lnTo>
                    <a:lnTo>
                      <a:pt x="919" y="782"/>
                    </a:lnTo>
                    <a:lnTo>
                      <a:pt x="913" y="788"/>
                    </a:lnTo>
                    <a:lnTo>
                      <a:pt x="907" y="793"/>
                    </a:lnTo>
                    <a:lnTo>
                      <a:pt x="902" y="793"/>
                    </a:lnTo>
                    <a:lnTo>
                      <a:pt x="902" y="799"/>
                    </a:lnTo>
                    <a:lnTo>
                      <a:pt x="896" y="799"/>
                    </a:lnTo>
                    <a:lnTo>
                      <a:pt x="890" y="816"/>
                    </a:lnTo>
                    <a:lnTo>
                      <a:pt x="890" y="827"/>
                    </a:lnTo>
                    <a:lnTo>
                      <a:pt x="896" y="827"/>
                    </a:lnTo>
                    <a:lnTo>
                      <a:pt x="890" y="827"/>
                    </a:lnTo>
                    <a:lnTo>
                      <a:pt x="890" y="833"/>
                    </a:lnTo>
                    <a:lnTo>
                      <a:pt x="885" y="833"/>
                    </a:lnTo>
                    <a:lnTo>
                      <a:pt x="879" y="833"/>
                    </a:lnTo>
                    <a:lnTo>
                      <a:pt x="879" y="827"/>
                    </a:lnTo>
                    <a:lnTo>
                      <a:pt x="873" y="810"/>
                    </a:lnTo>
                    <a:lnTo>
                      <a:pt x="862" y="805"/>
                    </a:lnTo>
                    <a:lnTo>
                      <a:pt x="856" y="805"/>
                    </a:lnTo>
                    <a:lnTo>
                      <a:pt x="845" y="805"/>
                    </a:lnTo>
                    <a:lnTo>
                      <a:pt x="839" y="805"/>
                    </a:lnTo>
                    <a:lnTo>
                      <a:pt x="834" y="805"/>
                    </a:lnTo>
                    <a:lnTo>
                      <a:pt x="834" y="793"/>
                    </a:lnTo>
                    <a:lnTo>
                      <a:pt x="828" y="793"/>
                    </a:lnTo>
                    <a:lnTo>
                      <a:pt x="822" y="793"/>
                    </a:lnTo>
                    <a:lnTo>
                      <a:pt x="805" y="805"/>
                    </a:lnTo>
                    <a:lnTo>
                      <a:pt x="794" y="810"/>
                    </a:lnTo>
                    <a:lnTo>
                      <a:pt x="788" y="816"/>
                    </a:lnTo>
                    <a:lnTo>
                      <a:pt x="783" y="822"/>
                    </a:lnTo>
                    <a:lnTo>
                      <a:pt x="777" y="822"/>
                    </a:lnTo>
                    <a:lnTo>
                      <a:pt x="771" y="816"/>
                    </a:lnTo>
                    <a:lnTo>
                      <a:pt x="760" y="816"/>
                    </a:lnTo>
                    <a:lnTo>
                      <a:pt x="760" y="822"/>
                    </a:lnTo>
                    <a:lnTo>
                      <a:pt x="754" y="822"/>
                    </a:lnTo>
                    <a:lnTo>
                      <a:pt x="754" y="827"/>
                    </a:lnTo>
                    <a:lnTo>
                      <a:pt x="749" y="827"/>
                    </a:lnTo>
                    <a:lnTo>
                      <a:pt x="743" y="827"/>
                    </a:lnTo>
                    <a:lnTo>
                      <a:pt x="737" y="827"/>
                    </a:lnTo>
                    <a:lnTo>
                      <a:pt x="732" y="827"/>
                    </a:lnTo>
                    <a:lnTo>
                      <a:pt x="726" y="833"/>
                    </a:lnTo>
                    <a:lnTo>
                      <a:pt x="720" y="833"/>
                    </a:lnTo>
                    <a:lnTo>
                      <a:pt x="715" y="839"/>
                    </a:lnTo>
                    <a:lnTo>
                      <a:pt x="709" y="839"/>
                    </a:lnTo>
                    <a:lnTo>
                      <a:pt x="709" y="844"/>
                    </a:lnTo>
                    <a:lnTo>
                      <a:pt x="703" y="844"/>
                    </a:lnTo>
                    <a:lnTo>
                      <a:pt x="703" y="850"/>
                    </a:lnTo>
                    <a:lnTo>
                      <a:pt x="698" y="850"/>
                    </a:lnTo>
                    <a:lnTo>
                      <a:pt x="698" y="856"/>
                    </a:lnTo>
                    <a:lnTo>
                      <a:pt x="692" y="856"/>
                    </a:lnTo>
                    <a:lnTo>
                      <a:pt x="686" y="856"/>
                    </a:lnTo>
                    <a:lnTo>
                      <a:pt x="681" y="861"/>
                    </a:lnTo>
                    <a:lnTo>
                      <a:pt x="675" y="867"/>
                    </a:lnTo>
                    <a:lnTo>
                      <a:pt x="681" y="867"/>
                    </a:lnTo>
                    <a:lnTo>
                      <a:pt x="681" y="873"/>
                    </a:lnTo>
                    <a:lnTo>
                      <a:pt x="675" y="873"/>
                    </a:lnTo>
                    <a:lnTo>
                      <a:pt x="669" y="878"/>
                    </a:lnTo>
                    <a:lnTo>
                      <a:pt x="664" y="878"/>
                    </a:lnTo>
                    <a:lnTo>
                      <a:pt x="664" y="884"/>
                    </a:lnTo>
                    <a:lnTo>
                      <a:pt x="658" y="884"/>
                    </a:lnTo>
                    <a:lnTo>
                      <a:pt x="652" y="890"/>
                    </a:lnTo>
                    <a:lnTo>
                      <a:pt x="647" y="890"/>
                    </a:lnTo>
                    <a:lnTo>
                      <a:pt x="647" y="895"/>
                    </a:lnTo>
                    <a:lnTo>
                      <a:pt x="635" y="901"/>
                    </a:lnTo>
                    <a:lnTo>
                      <a:pt x="635" y="912"/>
                    </a:lnTo>
                    <a:lnTo>
                      <a:pt x="630" y="924"/>
                    </a:lnTo>
                    <a:lnTo>
                      <a:pt x="624" y="924"/>
                    </a:lnTo>
                    <a:lnTo>
                      <a:pt x="618" y="924"/>
                    </a:lnTo>
                    <a:lnTo>
                      <a:pt x="607" y="929"/>
                    </a:lnTo>
                    <a:lnTo>
                      <a:pt x="601" y="929"/>
                    </a:lnTo>
                    <a:lnTo>
                      <a:pt x="596" y="935"/>
                    </a:lnTo>
                    <a:lnTo>
                      <a:pt x="590" y="935"/>
                    </a:lnTo>
                    <a:lnTo>
                      <a:pt x="567" y="884"/>
                    </a:lnTo>
                    <a:lnTo>
                      <a:pt x="567" y="878"/>
                    </a:lnTo>
                    <a:lnTo>
                      <a:pt x="573" y="878"/>
                    </a:lnTo>
                    <a:lnTo>
                      <a:pt x="579" y="873"/>
                    </a:lnTo>
                    <a:lnTo>
                      <a:pt x="579" y="867"/>
                    </a:lnTo>
                    <a:lnTo>
                      <a:pt x="584" y="867"/>
                    </a:lnTo>
                    <a:lnTo>
                      <a:pt x="590" y="861"/>
                    </a:lnTo>
                    <a:lnTo>
                      <a:pt x="590" y="856"/>
                    </a:lnTo>
                    <a:lnTo>
                      <a:pt x="596" y="856"/>
                    </a:lnTo>
                    <a:lnTo>
                      <a:pt x="596" y="850"/>
                    </a:lnTo>
                    <a:lnTo>
                      <a:pt x="601" y="844"/>
                    </a:lnTo>
                    <a:lnTo>
                      <a:pt x="607" y="844"/>
                    </a:lnTo>
                    <a:lnTo>
                      <a:pt x="607" y="839"/>
                    </a:lnTo>
                    <a:lnTo>
                      <a:pt x="613" y="839"/>
                    </a:lnTo>
                    <a:lnTo>
                      <a:pt x="618" y="833"/>
                    </a:lnTo>
                    <a:lnTo>
                      <a:pt x="618" y="827"/>
                    </a:lnTo>
                    <a:lnTo>
                      <a:pt x="613" y="822"/>
                    </a:lnTo>
                    <a:lnTo>
                      <a:pt x="590" y="822"/>
                    </a:lnTo>
                    <a:lnTo>
                      <a:pt x="573" y="827"/>
                    </a:lnTo>
                    <a:lnTo>
                      <a:pt x="562" y="827"/>
                    </a:lnTo>
                    <a:lnTo>
                      <a:pt x="556" y="827"/>
                    </a:lnTo>
                    <a:lnTo>
                      <a:pt x="556" y="822"/>
                    </a:lnTo>
                    <a:lnTo>
                      <a:pt x="556" y="816"/>
                    </a:lnTo>
                    <a:lnTo>
                      <a:pt x="550" y="810"/>
                    </a:lnTo>
                    <a:lnTo>
                      <a:pt x="550" y="805"/>
                    </a:lnTo>
                    <a:lnTo>
                      <a:pt x="545" y="805"/>
                    </a:lnTo>
                    <a:lnTo>
                      <a:pt x="545" y="810"/>
                    </a:lnTo>
                    <a:lnTo>
                      <a:pt x="533" y="810"/>
                    </a:lnTo>
                    <a:lnTo>
                      <a:pt x="528" y="810"/>
                    </a:lnTo>
                    <a:lnTo>
                      <a:pt x="528" y="816"/>
                    </a:lnTo>
                    <a:lnTo>
                      <a:pt x="528" y="822"/>
                    </a:lnTo>
                    <a:lnTo>
                      <a:pt x="528" y="827"/>
                    </a:lnTo>
                    <a:lnTo>
                      <a:pt x="528" y="833"/>
                    </a:lnTo>
                    <a:lnTo>
                      <a:pt x="533" y="833"/>
                    </a:lnTo>
                    <a:lnTo>
                      <a:pt x="533" y="839"/>
                    </a:lnTo>
                    <a:lnTo>
                      <a:pt x="533" y="844"/>
                    </a:lnTo>
                    <a:lnTo>
                      <a:pt x="528" y="850"/>
                    </a:lnTo>
                    <a:lnTo>
                      <a:pt x="528" y="856"/>
                    </a:lnTo>
                    <a:lnTo>
                      <a:pt x="533" y="856"/>
                    </a:lnTo>
                    <a:lnTo>
                      <a:pt x="533" y="861"/>
                    </a:lnTo>
                    <a:lnTo>
                      <a:pt x="528" y="861"/>
                    </a:lnTo>
                    <a:lnTo>
                      <a:pt x="528" y="867"/>
                    </a:lnTo>
                    <a:lnTo>
                      <a:pt x="522" y="867"/>
                    </a:lnTo>
                    <a:lnTo>
                      <a:pt x="516" y="873"/>
                    </a:lnTo>
                    <a:lnTo>
                      <a:pt x="516" y="878"/>
                    </a:lnTo>
                    <a:lnTo>
                      <a:pt x="511" y="878"/>
                    </a:lnTo>
                    <a:lnTo>
                      <a:pt x="511" y="884"/>
                    </a:lnTo>
                    <a:lnTo>
                      <a:pt x="511" y="890"/>
                    </a:lnTo>
                    <a:lnTo>
                      <a:pt x="511" y="895"/>
                    </a:lnTo>
                    <a:lnTo>
                      <a:pt x="511" y="901"/>
                    </a:lnTo>
                    <a:lnTo>
                      <a:pt x="511" y="907"/>
                    </a:lnTo>
                    <a:lnTo>
                      <a:pt x="505" y="907"/>
                    </a:lnTo>
                    <a:lnTo>
                      <a:pt x="505" y="912"/>
                    </a:lnTo>
                    <a:lnTo>
                      <a:pt x="499" y="912"/>
                    </a:lnTo>
                    <a:lnTo>
                      <a:pt x="499" y="918"/>
                    </a:lnTo>
                    <a:lnTo>
                      <a:pt x="494" y="918"/>
                    </a:lnTo>
                    <a:lnTo>
                      <a:pt x="494" y="924"/>
                    </a:lnTo>
                    <a:lnTo>
                      <a:pt x="488" y="929"/>
                    </a:lnTo>
                    <a:lnTo>
                      <a:pt x="482" y="929"/>
                    </a:lnTo>
                    <a:lnTo>
                      <a:pt x="482" y="935"/>
                    </a:lnTo>
                    <a:lnTo>
                      <a:pt x="477" y="929"/>
                    </a:lnTo>
                    <a:lnTo>
                      <a:pt x="465" y="918"/>
                    </a:lnTo>
                    <a:lnTo>
                      <a:pt x="460" y="918"/>
                    </a:lnTo>
                    <a:lnTo>
                      <a:pt x="460" y="912"/>
                    </a:lnTo>
                    <a:lnTo>
                      <a:pt x="465" y="907"/>
                    </a:lnTo>
                    <a:lnTo>
                      <a:pt x="465" y="901"/>
                    </a:lnTo>
                    <a:lnTo>
                      <a:pt x="460" y="895"/>
                    </a:lnTo>
                    <a:lnTo>
                      <a:pt x="460" y="890"/>
                    </a:lnTo>
                    <a:lnTo>
                      <a:pt x="454" y="890"/>
                    </a:lnTo>
                    <a:lnTo>
                      <a:pt x="448" y="890"/>
                    </a:lnTo>
                    <a:lnTo>
                      <a:pt x="443" y="890"/>
                    </a:lnTo>
                    <a:lnTo>
                      <a:pt x="437" y="878"/>
                    </a:lnTo>
                    <a:lnTo>
                      <a:pt x="448" y="873"/>
                    </a:lnTo>
                    <a:lnTo>
                      <a:pt x="448" y="867"/>
                    </a:lnTo>
                    <a:lnTo>
                      <a:pt x="454" y="867"/>
                    </a:lnTo>
                    <a:lnTo>
                      <a:pt x="460" y="861"/>
                    </a:lnTo>
                    <a:lnTo>
                      <a:pt x="460" y="856"/>
                    </a:lnTo>
                    <a:lnTo>
                      <a:pt x="465" y="850"/>
                    </a:lnTo>
                    <a:lnTo>
                      <a:pt x="460" y="850"/>
                    </a:lnTo>
                    <a:lnTo>
                      <a:pt x="460" y="839"/>
                    </a:lnTo>
                    <a:lnTo>
                      <a:pt x="460" y="833"/>
                    </a:lnTo>
                    <a:lnTo>
                      <a:pt x="465" y="833"/>
                    </a:lnTo>
                    <a:lnTo>
                      <a:pt x="460" y="827"/>
                    </a:lnTo>
                    <a:lnTo>
                      <a:pt x="454" y="827"/>
                    </a:lnTo>
                    <a:lnTo>
                      <a:pt x="460" y="822"/>
                    </a:lnTo>
                    <a:lnTo>
                      <a:pt x="414" y="833"/>
                    </a:lnTo>
                    <a:lnTo>
                      <a:pt x="375" y="839"/>
                    </a:lnTo>
                    <a:lnTo>
                      <a:pt x="369" y="833"/>
                    </a:lnTo>
                    <a:lnTo>
                      <a:pt x="375" y="805"/>
                    </a:lnTo>
                    <a:lnTo>
                      <a:pt x="358" y="799"/>
                    </a:lnTo>
                    <a:lnTo>
                      <a:pt x="363" y="754"/>
                    </a:lnTo>
                    <a:lnTo>
                      <a:pt x="369" y="737"/>
                    </a:lnTo>
                    <a:lnTo>
                      <a:pt x="352" y="720"/>
                    </a:lnTo>
                    <a:lnTo>
                      <a:pt x="352" y="725"/>
                    </a:lnTo>
                    <a:lnTo>
                      <a:pt x="346" y="731"/>
                    </a:lnTo>
                    <a:lnTo>
                      <a:pt x="346" y="737"/>
                    </a:lnTo>
                    <a:lnTo>
                      <a:pt x="346" y="742"/>
                    </a:lnTo>
                    <a:lnTo>
                      <a:pt x="346" y="748"/>
                    </a:lnTo>
                    <a:lnTo>
                      <a:pt x="346" y="754"/>
                    </a:lnTo>
                    <a:lnTo>
                      <a:pt x="341" y="754"/>
                    </a:lnTo>
                    <a:lnTo>
                      <a:pt x="324" y="748"/>
                    </a:lnTo>
                    <a:lnTo>
                      <a:pt x="318" y="754"/>
                    </a:lnTo>
                    <a:lnTo>
                      <a:pt x="318" y="759"/>
                    </a:lnTo>
                    <a:lnTo>
                      <a:pt x="324" y="759"/>
                    </a:lnTo>
                    <a:lnTo>
                      <a:pt x="329" y="765"/>
                    </a:lnTo>
                    <a:lnTo>
                      <a:pt x="324" y="771"/>
                    </a:lnTo>
                    <a:lnTo>
                      <a:pt x="318" y="771"/>
                    </a:lnTo>
                    <a:lnTo>
                      <a:pt x="301" y="771"/>
                    </a:lnTo>
                    <a:lnTo>
                      <a:pt x="295" y="771"/>
                    </a:lnTo>
                    <a:lnTo>
                      <a:pt x="284" y="788"/>
                    </a:lnTo>
                    <a:lnTo>
                      <a:pt x="267" y="776"/>
                    </a:lnTo>
                    <a:lnTo>
                      <a:pt x="256" y="776"/>
                    </a:lnTo>
                    <a:lnTo>
                      <a:pt x="244" y="765"/>
                    </a:lnTo>
                    <a:lnTo>
                      <a:pt x="239" y="765"/>
                    </a:lnTo>
                    <a:lnTo>
                      <a:pt x="227" y="765"/>
                    </a:lnTo>
                    <a:lnTo>
                      <a:pt x="210" y="765"/>
                    </a:lnTo>
                    <a:lnTo>
                      <a:pt x="216" y="759"/>
                    </a:lnTo>
                    <a:lnTo>
                      <a:pt x="216" y="754"/>
                    </a:lnTo>
                    <a:lnTo>
                      <a:pt x="210" y="754"/>
                    </a:lnTo>
                    <a:lnTo>
                      <a:pt x="205" y="748"/>
                    </a:lnTo>
                    <a:lnTo>
                      <a:pt x="199" y="748"/>
                    </a:lnTo>
                    <a:lnTo>
                      <a:pt x="193" y="748"/>
                    </a:lnTo>
                    <a:lnTo>
                      <a:pt x="182" y="737"/>
                    </a:lnTo>
                    <a:lnTo>
                      <a:pt x="176" y="737"/>
                    </a:lnTo>
                    <a:lnTo>
                      <a:pt x="171" y="731"/>
                    </a:lnTo>
                    <a:lnTo>
                      <a:pt x="159" y="731"/>
                    </a:lnTo>
                    <a:lnTo>
                      <a:pt x="148" y="731"/>
                    </a:lnTo>
                    <a:lnTo>
                      <a:pt x="142" y="720"/>
                    </a:lnTo>
                    <a:lnTo>
                      <a:pt x="131" y="714"/>
                    </a:lnTo>
                    <a:lnTo>
                      <a:pt x="125" y="708"/>
                    </a:lnTo>
                    <a:lnTo>
                      <a:pt x="125" y="703"/>
                    </a:lnTo>
                    <a:lnTo>
                      <a:pt x="120" y="703"/>
                    </a:lnTo>
                    <a:lnTo>
                      <a:pt x="114" y="691"/>
                    </a:lnTo>
                    <a:lnTo>
                      <a:pt x="108" y="691"/>
                    </a:lnTo>
                    <a:lnTo>
                      <a:pt x="108" y="697"/>
                    </a:lnTo>
                    <a:lnTo>
                      <a:pt x="97" y="697"/>
                    </a:lnTo>
                    <a:lnTo>
                      <a:pt x="97" y="691"/>
                    </a:lnTo>
                    <a:lnTo>
                      <a:pt x="91" y="686"/>
                    </a:lnTo>
                    <a:lnTo>
                      <a:pt x="91" y="680"/>
                    </a:lnTo>
                    <a:lnTo>
                      <a:pt x="86" y="669"/>
                    </a:lnTo>
                    <a:lnTo>
                      <a:pt x="91" y="657"/>
                    </a:lnTo>
                    <a:lnTo>
                      <a:pt x="91" y="652"/>
                    </a:lnTo>
                    <a:lnTo>
                      <a:pt x="91" y="646"/>
                    </a:lnTo>
                    <a:lnTo>
                      <a:pt x="103" y="646"/>
                    </a:lnTo>
                    <a:lnTo>
                      <a:pt x="108" y="640"/>
                    </a:lnTo>
                    <a:lnTo>
                      <a:pt x="114" y="640"/>
                    </a:lnTo>
                    <a:lnTo>
                      <a:pt x="114" y="635"/>
                    </a:lnTo>
                    <a:lnTo>
                      <a:pt x="108" y="635"/>
                    </a:lnTo>
                    <a:lnTo>
                      <a:pt x="103" y="629"/>
                    </a:lnTo>
                    <a:lnTo>
                      <a:pt x="103" y="623"/>
                    </a:lnTo>
                    <a:lnTo>
                      <a:pt x="103" y="612"/>
                    </a:lnTo>
                    <a:lnTo>
                      <a:pt x="97" y="612"/>
                    </a:lnTo>
                    <a:lnTo>
                      <a:pt x="97" y="606"/>
                    </a:lnTo>
                    <a:lnTo>
                      <a:pt x="91" y="601"/>
                    </a:lnTo>
                    <a:lnTo>
                      <a:pt x="97" y="589"/>
                    </a:lnTo>
                    <a:lnTo>
                      <a:pt x="103" y="584"/>
                    </a:lnTo>
                    <a:lnTo>
                      <a:pt x="103" y="578"/>
                    </a:lnTo>
                    <a:lnTo>
                      <a:pt x="97" y="572"/>
                    </a:lnTo>
                    <a:lnTo>
                      <a:pt x="97" y="566"/>
                    </a:lnTo>
                    <a:lnTo>
                      <a:pt x="103" y="561"/>
                    </a:lnTo>
                    <a:lnTo>
                      <a:pt x="108" y="555"/>
                    </a:lnTo>
                    <a:lnTo>
                      <a:pt x="108" y="549"/>
                    </a:lnTo>
                    <a:lnTo>
                      <a:pt x="103" y="549"/>
                    </a:lnTo>
                    <a:lnTo>
                      <a:pt x="97" y="549"/>
                    </a:lnTo>
                    <a:lnTo>
                      <a:pt x="91" y="544"/>
                    </a:lnTo>
                    <a:lnTo>
                      <a:pt x="86" y="538"/>
                    </a:lnTo>
                    <a:lnTo>
                      <a:pt x="80" y="538"/>
                    </a:lnTo>
                    <a:lnTo>
                      <a:pt x="80" y="544"/>
                    </a:lnTo>
                    <a:lnTo>
                      <a:pt x="80" y="538"/>
                    </a:lnTo>
                    <a:lnTo>
                      <a:pt x="74" y="532"/>
                    </a:lnTo>
                    <a:lnTo>
                      <a:pt x="68" y="527"/>
                    </a:lnTo>
                    <a:lnTo>
                      <a:pt x="63" y="532"/>
                    </a:lnTo>
                    <a:lnTo>
                      <a:pt x="57" y="532"/>
                    </a:lnTo>
                    <a:lnTo>
                      <a:pt x="57" y="527"/>
                    </a:lnTo>
                    <a:lnTo>
                      <a:pt x="51" y="521"/>
                    </a:lnTo>
                    <a:lnTo>
                      <a:pt x="46" y="527"/>
                    </a:lnTo>
                    <a:lnTo>
                      <a:pt x="40" y="521"/>
                    </a:lnTo>
                    <a:lnTo>
                      <a:pt x="34" y="521"/>
                    </a:lnTo>
                    <a:lnTo>
                      <a:pt x="29" y="521"/>
                    </a:lnTo>
                    <a:lnTo>
                      <a:pt x="23" y="521"/>
                    </a:lnTo>
                    <a:lnTo>
                      <a:pt x="17" y="521"/>
                    </a:lnTo>
                    <a:lnTo>
                      <a:pt x="17" y="515"/>
                    </a:lnTo>
                    <a:lnTo>
                      <a:pt x="17" y="504"/>
                    </a:lnTo>
                    <a:lnTo>
                      <a:pt x="12" y="498"/>
                    </a:lnTo>
                    <a:lnTo>
                      <a:pt x="12" y="487"/>
                    </a:lnTo>
                    <a:lnTo>
                      <a:pt x="17" y="481"/>
                    </a:lnTo>
                    <a:lnTo>
                      <a:pt x="17" y="402"/>
                    </a:lnTo>
                    <a:lnTo>
                      <a:pt x="0" y="396"/>
                    </a:lnTo>
                    <a:close/>
                  </a:path>
                </a:pathLst>
              </a:custGeom>
              <a:grpFill/>
              <a:ln w="9525" cap="flat" cmpd="sng">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00"/>
              </a:p>
            </p:txBody>
          </p:sp>
          <p:sp>
            <p:nvSpPr>
              <p:cNvPr id="66" name="Freeform 14"/>
              <p:cNvSpPr>
                <a:spLocks/>
              </p:cNvSpPr>
              <p:nvPr>
                <p:custDataLst>
                  <p:tags r:id="rId10"/>
                </p:custDataLst>
              </p:nvPr>
            </p:nvSpPr>
            <p:spPr bwMode="gray">
              <a:xfrm>
                <a:off x="2746122" y="2013926"/>
                <a:ext cx="438221" cy="411084"/>
              </a:xfrm>
              <a:custGeom>
                <a:avLst/>
                <a:gdLst>
                  <a:gd name="T0" fmla="*/ 27779 w 504"/>
                  <a:gd name="T1" fmla="*/ 105437 h 471"/>
                  <a:gd name="T2" fmla="*/ 30774 w 504"/>
                  <a:gd name="T3" fmla="*/ 99155 h 471"/>
                  <a:gd name="T4" fmla="*/ 23149 w 504"/>
                  <a:gd name="T5" fmla="*/ 94511 h 471"/>
                  <a:gd name="T6" fmla="*/ 2996 w 504"/>
                  <a:gd name="T7" fmla="*/ 100794 h 471"/>
                  <a:gd name="T8" fmla="*/ 0 w 504"/>
                  <a:gd name="T9" fmla="*/ 91506 h 471"/>
                  <a:gd name="T10" fmla="*/ 13889 w 504"/>
                  <a:gd name="T11" fmla="*/ 74298 h 471"/>
                  <a:gd name="T12" fmla="*/ 20153 w 504"/>
                  <a:gd name="T13" fmla="*/ 62006 h 471"/>
                  <a:gd name="T14" fmla="*/ 34043 w 504"/>
                  <a:gd name="T15" fmla="*/ 46436 h 471"/>
                  <a:gd name="T16" fmla="*/ 41668 w 504"/>
                  <a:gd name="T17" fmla="*/ 54357 h 471"/>
                  <a:gd name="T18" fmla="*/ 57192 w 504"/>
                  <a:gd name="T19" fmla="*/ 51080 h 471"/>
                  <a:gd name="T20" fmla="*/ 60188 w 504"/>
                  <a:gd name="T21" fmla="*/ 43431 h 471"/>
                  <a:gd name="T22" fmla="*/ 60188 w 504"/>
                  <a:gd name="T23" fmla="*/ 35783 h 471"/>
                  <a:gd name="T24" fmla="*/ 64818 w 504"/>
                  <a:gd name="T25" fmla="*/ 34144 h 471"/>
                  <a:gd name="T26" fmla="*/ 69448 w 504"/>
                  <a:gd name="T27" fmla="*/ 29501 h 471"/>
                  <a:gd name="T28" fmla="*/ 67813 w 504"/>
                  <a:gd name="T29" fmla="*/ 21852 h 471"/>
                  <a:gd name="T30" fmla="*/ 72443 w 504"/>
                  <a:gd name="T31" fmla="*/ 17209 h 471"/>
                  <a:gd name="T32" fmla="*/ 72443 w 504"/>
                  <a:gd name="T33" fmla="*/ 21852 h 471"/>
                  <a:gd name="T34" fmla="*/ 78707 w 504"/>
                  <a:gd name="T35" fmla="*/ 20213 h 471"/>
                  <a:gd name="T36" fmla="*/ 89601 w 504"/>
                  <a:gd name="T37" fmla="*/ 10926 h 471"/>
                  <a:gd name="T38" fmla="*/ 98861 w 504"/>
                  <a:gd name="T39" fmla="*/ 7921 h 471"/>
                  <a:gd name="T40" fmla="*/ 111116 w 504"/>
                  <a:gd name="T41" fmla="*/ 4644 h 471"/>
                  <a:gd name="T42" fmla="*/ 108121 w 504"/>
                  <a:gd name="T43" fmla="*/ 0 h 471"/>
                  <a:gd name="T44" fmla="*/ 117380 w 504"/>
                  <a:gd name="T45" fmla="*/ 0 h 471"/>
                  <a:gd name="T46" fmla="*/ 114112 w 504"/>
                  <a:gd name="T47" fmla="*/ 7921 h 471"/>
                  <a:gd name="T48" fmla="*/ 109482 w 504"/>
                  <a:gd name="T49" fmla="*/ 12565 h 471"/>
                  <a:gd name="T50" fmla="*/ 108121 w 504"/>
                  <a:gd name="T51" fmla="*/ 20213 h 471"/>
                  <a:gd name="T52" fmla="*/ 108121 w 504"/>
                  <a:gd name="T53" fmla="*/ 24857 h 471"/>
                  <a:gd name="T54" fmla="*/ 108121 w 504"/>
                  <a:gd name="T55" fmla="*/ 31140 h 471"/>
                  <a:gd name="T56" fmla="*/ 120376 w 504"/>
                  <a:gd name="T57" fmla="*/ 40427 h 471"/>
                  <a:gd name="T58" fmla="*/ 125006 w 504"/>
                  <a:gd name="T59" fmla="*/ 37149 h 471"/>
                  <a:gd name="T60" fmla="*/ 135899 w 504"/>
                  <a:gd name="T61" fmla="*/ 29501 h 471"/>
                  <a:gd name="T62" fmla="*/ 129636 w 504"/>
                  <a:gd name="T63" fmla="*/ 40427 h 471"/>
                  <a:gd name="T64" fmla="*/ 128002 w 504"/>
                  <a:gd name="T65" fmla="*/ 52719 h 471"/>
                  <a:gd name="T66" fmla="*/ 114112 w 504"/>
                  <a:gd name="T67" fmla="*/ 62006 h 471"/>
                  <a:gd name="T68" fmla="*/ 98861 w 504"/>
                  <a:gd name="T69" fmla="*/ 68289 h 471"/>
                  <a:gd name="T70" fmla="*/ 95593 w 504"/>
                  <a:gd name="T71" fmla="*/ 72932 h 471"/>
                  <a:gd name="T72" fmla="*/ 97227 w 504"/>
                  <a:gd name="T73" fmla="*/ 78942 h 471"/>
                  <a:gd name="T74" fmla="*/ 103491 w 504"/>
                  <a:gd name="T75" fmla="*/ 85224 h 471"/>
                  <a:gd name="T76" fmla="*/ 109482 w 504"/>
                  <a:gd name="T77" fmla="*/ 89868 h 471"/>
                  <a:gd name="T78" fmla="*/ 118742 w 504"/>
                  <a:gd name="T79" fmla="*/ 86863 h 471"/>
                  <a:gd name="T80" fmla="*/ 104852 w 504"/>
                  <a:gd name="T81" fmla="*/ 102159 h 471"/>
                  <a:gd name="T82" fmla="*/ 95593 w 504"/>
                  <a:gd name="T83" fmla="*/ 105437 h 471"/>
                  <a:gd name="T84" fmla="*/ 89601 w 504"/>
                  <a:gd name="T85" fmla="*/ 111447 h 471"/>
                  <a:gd name="T86" fmla="*/ 86333 w 504"/>
                  <a:gd name="T87" fmla="*/ 119369 h 471"/>
                  <a:gd name="T88" fmla="*/ 80341 w 504"/>
                  <a:gd name="T89" fmla="*/ 125651 h 471"/>
                  <a:gd name="T90" fmla="*/ 77073 w 504"/>
                  <a:gd name="T91" fmla="*/ 127017 h 471"/>
                  <a:gd name="T92" fmla="*/ 72443 w 504"/>
                  <a:gd name="T93" fmla="*/ 128655 h 471"/>
                  <a:gd name="T94" fmla="*/ 67813 w 504"/>
                  <a:gd name="T95" fmla="*/ 125651 h 471"/>
                  <a:gd name="T96" fmla="*/ 63184 w 504"/>
                  <a:gd name="T97" fmla="*/ 122373 h 471"/>
                  <a:gd name="T98" fmla="*/ 60188 w 504"/>
                  <a:gd name="T99" fmla="*/ 119369 h 471"/>
                  <a:gd name="T100" fmla="*/ 60188 w 504"/>
                  <a:gd name="T101" fmla="*/ 113086 h 471"/>
                  <a:gd name="T102" fmla="*/ 55558 w 504"/>
                  <a:gd name="T103" fmla="*/ 111447 h 471"/>
                  <a:gd name="T104" fmla="*/ 52562 w 504"/>
                  <a:gd name="T105" fmla="*/ 116090 h 471"/>
                  <a:gd name="T106" fmla="*/ 49294 w 504"/>
                  <a:gd name="T107" fmla="*/ 117729 h 471"/>
                  <a:gd name="T108" fmla="*/ 43302 w 504"/>
                  <a:gd name="T109" fmla="*/ 119369 h 471"/>
                  <a:gd name="T110" fmla="*/ 38673 w 504"/>
                  <a:gd name="T111" fmla="*/ 117729 h 471"/>
                  <a:gd name="T112" fmla="*/ 34043 w 504"/>
                  <a:gd name="T113" fmla="*/ 117729 h 471"/>
                  <a:gd name="T114" fmla="*/ 29413 w 504"/>
                  <a:gd name="T115" fmla="*/ 116090 h 471"/>
                  <a:gd name="T116" fmla="*/ 26145 w 504"/>
                  <a:gd name="T117" fmla="*/ 119369 h 4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04" h="471">
                    <a:moveTo>
                      <a:pt x="96" y="437"/>
                    </a:moveTo>
                    <a:lnTo>
                      <a:pt x="108" y="397"/>
                    </a:lnTo>
                    <a:lnTo>
                      <a:pt x="96" y="386"/>
                    </a:lnTo>
                    <a:lnTo>
                      <a:pt x="102" y="386"/>
                    </a:lnTo>
                    <a:lnTo>
                      <a:pt x="108" y="374"/>
                    </a:lnTo>
                    <a:lnTo>
                      <a:pt x="108" y="369"/>
                    </a:lnTo>
                    <a:lnTo>
                      <a:pt x="108" y="363"/>
                    </a:lnTo>
                    <a:lnTo>
                      <a:pt x="113" y="363"/>
                    </a:lnTo>
                    <a:lnTo>
                      <a:pt x="113" y="352"/>
                    </a:lnTo>
                    <a:lnTo>
                      <a:pt x="91" y="352"/>
                    </a:lnTo>
                    <a:lnTo>
                      <a:pt x="91" y="346"/>
                    </a:lnTo>
                    <a:lnTo>
                      <a:pt x="85" y="346"/>
                    </a:lnTo>
                    <a:lnTo>
                      <a:pt x="85" y="340"/>
                    </a:lnTo>
                    <a:lnTo>
                      <a:pt x="45" y="346"/>
                    </a:lnTo>
                    <a:lnTo>
                      <a:pt x="45" y="357"/>
                    </a:lnTo>
                    <a:lnTo>
                      <a:pt x="11" y="369"/>
                    </a:lnTo>
                    <a:lnTo>
                      <a:pt x="17" y="357"/>
                    </a:lnTo>
                    <a:lnTo>
                      <a:pt x="11" y="357"/>
                    </a:lnTo>
                    <a:lnTo>
                      <a:pt x="11" y="346"/>
                    </a:lnTo>
                    <a:lnTo>
                      <a:pt x="0" y="335"/>
                    </a:lnTo>
                    <a:lnTo>
                      <a:pt x="17" y="323"/>
                    </a:lnTo>
                    <a:lnTo>
                      <a:pt x="40" y="312"/>
                    </a:lnTo>
                    <a:lnTo>
                      <a:pt x="34" y="272"/>
                    </a:lnTo>
                    <a:lnTo>
                      <a:pt x="51" y="272"/>
                    </a:lnTo>
                    <a:lnTo>
                      <a:pt x="51" y="267"/>
                    </a:lnTo>
                    <a:lnTo>
                      <a:pt x="68" y="261"/>
                    </a:lnTo>
                    <a:lnTo>
                      <a:pt x="68" y="255"/>
                    </a:lnTo>
                    <a:lnTo>
                      <a:pt x="74" y="227"/>
                    </a:lnTo>
                    <a:lnTo>
                      <a:pt x="79" y="216"/>
                    </a:lnTo>
                    <a:lnTo>
                      <a:pt x="79" y="193"/>
                    </a:lnTo>
                    <a:lnTo>
                      <a:pt x="102" y="187"/>
                    </a:lnTo>
                    <a:lnTo>
                      <a:pt x="125" y="170"/>
                    </a:lnTo>
                    <a:lnTo>
                      <a:pt x="130" y="182"/>
                    </a:lnTo>
                    <a:lnTo>
                      <a:pt x="136" y="193"/>
                    </a:lnTo>
                    <a:lnTo>
                      <a:pt x="153" y="187"/>
                    </a:lnTo>
                    <a:lnTo>
                      <a:pt x="153" y="199"/>
                    </a:lnTo>
                    <a:lnTo>
                      <a:pt x="176" y="193"/>
                    </a:lnTo>
                    <a:lnTo>
                      <a:pt x="198" y="187"/>
                    </a:lnTo>
                    <a:lnTo>
                      <a:pt x="198" y="182"/>
                    </a:lnTo>
                    <a:lnTo>
                      <a:pt x="210" y="187"/>
                    </a:lnTo>
                    <a:lnTo>
                      <a:pt x="210" y="182"/>
                    </a:lnTo>
                    <a:lnTo>
                      <a:pt x="215" y="176"/>
                    </a:lnTo>
                    <a:lnTo>
                      <a:pt x="210" y="159"/>
                    </a:lnTo>
                    <a:lnTo>
                      <a:pt x="221" y="159"/>
                    </a:lnTo>
                    <a:lnTo>
                      <a:pt x="215" y="148"/>
                    </a:lnTo>
                    <a:lnTo>
                      <a:pt x="210" y="136"/>
                    </a:lnTo>
                    <a:lnTo>
                      <a:pt x="210" y="131"/>
                    </a:lnTo>
                    <a:lnTo>
                      <a:pt x="221" y="131"/>
                    </a:lnTo>
                    <a:lnTo>
                      <a:pt x="227" y="131"/>
                    </a:lnTo>
                    <a:lnTo>
                      <a:pt x="232" y="131"/>
                    </a:lnTo>
                    <a:lnTo>
                      <a:pt x="232" y="125"/>
                    </a:lnTo>
                    <a:lnTo>
                      <a:pt x="238" y="125"/>
                    </a:lnTo>
                    <a:lnTo>
                      <a:pt x="238" y="119"/>
                    </a:lnTo>
                    <a:lnTo>
                      <a:pt x="244" y="114"/>
                    </a:lnTo>
                    <a:lnTo>
                      <a:pt x="249" y="108"/>
                    </a:lnTo>
                    <a:lnTo>
                      <a:pt x="255" y="108"/>
                    </a:lnTo>
                    <a:lnTo>
                      <a:pt x="255" y="97"/>
                    </a:lnTo>
                    <a:lnTo>
                      <a:pt x="249" y="97"/>
                    </a:lnTo>
                    <a:lnTo>
                      <a:pt x="249" y="85"/>
                    </a:lnTo>
                    <a:lnTo>
                      <a:pt x="249" y="80"/>
                    </a:lnTo>
                    <a:lnTo>
                      <a:pt x="244" y="74"/>
                    </a:lnTo>
                    <a:lnTo>
                      <a:pt x="244" y="68"/>
                    </a:lnTo>
                    <a:lnTo>
                      <a:pt x="255" y="63"/>
                    </a:lnTo>
                    <a:lnTo>
                      <a:pt x="266" y="63"/>
                    </a:lnTo>
                    <a:lnTo>
                      <a:pt x="266" y="68"/>
                    </a:lnTo>
                    <a:lnTo>
                      <a:pt x="261" y="74"/>
                    </a:lnTo>
                    <a:lnTo>
                      <a:pt x="261" y="80"/>
                    </a:lnTo>
                    <a:lnTo>
                      <a:pt x="266" y="80"/>
                    </a:lnTo>
                    <a:lnTo>
                      <a:pt x="272" y="74"/>
                    </a:lnTo>
                    <a:lnTo>
                      <a:pt x="278" y="74"/>
                    </a:lnTo>
                    <a:lnTo>
                      <a:pt x="283" y="74"/>
                    </a:lnTo>
                    <a:lnTo>
                      <a:pt x="289" y="74"/>
                    </a:lnTo>
                    <a:lnTo>
                      <a:pt x="295" y="74"/>
                    </a:lnTo>
                    <a:lnTo>
                      <a:pt x="306" y="68"/>
                    </a:lnTo>
                    <a:lnTo>
                      <a:pt x="306" y="46"/>
                    </a:lnTo>
                    <a:lnTo>
                      <a:pt x="329" y="40"/>
                    </a:lnTo>
                    <a:lnTo>
                      <a:pt x="329" y="46"/>
                    </a:lnTo>
                    <a:lnTo>
                      <a:pt x="346" y="46"/>
                    </a:lnTo>
                    <a:lnTo>
                      <a:pt x="363" y="40"/>
                    </a:lnTo>
                    <a:lnTo>
                      <a:pt x="363" y="29"/>
                    </a:lnTo>
                    <a:lnTo>
                      <a:pt x="391" y="29"/>
                    </a:lnTo>
                    <a:lnTo>
                      <a:pt x="391" y="34"/>
                    </a:lnTo>
                    <a:lnTo>
                      <a:pt x="402" y="29"/>
                    </a:lnTo>
                    <a:lnTo>
                      <a:pt x="408" y="17"/>
                    </a:lnTo>
                    <a:lnTo>
                      <a:pt x="402" y="17"/>
                    </a:lnTo>
                    <a:lnTo>
                      <a:pt x="397" y="6"/>
                    </a:lnTo>
                    <a:lnTo>
                      <a:pt x="391" y="0"/>
                    </a:lnTo>
                    <a:lnTo>
                      <a:pt x="397" y="0"/>
                    </a:lnTo>
                    <a:lnTo>
                      <a:pt x="402" y="0"/>
                    </a:lnTo>
                    <a:lnTo>
                      <a:pt x="408" y="0"/>
                    </a:lnTo>
                    <a:lnTo>
                      <a:pt x="425" y="0"/>
                    </a:lnTo>
                    <a:lnTo>
                      <a:pt x="431" y="0"/>
                    </a:lnTo>
                    <a:lnTo>
                      <a:pt x="436" y="6"/>
                    </a:lnTo>
                    <a:lnTo>
                      <a:pt x="436" y="17"/>
                    </a:lnTo>
                    <a:lnTo>
                      <a:pt x="431" y="23"/>
                    </a:lnTo>
                    <a:lnTo>
                      <a:pt x="419" y="29"/>
                    </a:lnTo>
                    <a:lnTo>
                      <a:pt x="402" y="29"/>
                    </a:lnTo>
                    <a:lnTo>
                      <a:pt x="402" y="34"/>
                    </a:lnTo>
                    <a:lnTo>
                      <a:pt x="402" y="40"/>
                    </a:lnTo>
                    <a:lnTo>
                      <a:pt x="402" y="46"/>
                    </a:lnTo>
                    <a:lnTo>
                      <a:pt x="402" y="57"/>
                    </a:lnTo>
                    <a:lnTo>
                      <a:pt x="397" y="57"/>
                    </a:lnTo>
                    <a:lnTo>
                      <a:pt x="397" y="68"/>
                    </a:lnTo>
                    <a:lnTo>
                      <a:pt x="397" y="74"/>
                    </a:lnTo>
                    <a:lnTo>
                      <a:pt x="397" y="80"/>
                    </a:lnTo>
                    <a:lnTo>
                      <a:pt x="391" y="80"/>
                    </a:lnTo>
                    <a:lnTo>
                      <a:pt x="397" y="85"/>
                    </a:lnTo>
                    <a:lnTo>
                      <a:pt x="397" y="91"/>
                    </a:lnTo>
                    <a:lnTo>
                      <a:pt x="391" y="97"/>
                    </a:lnTo>
                    <a:lnTo>
                      <a:pt x="391" y="102"/>
                    </a:lnTo>
                    <a:lnTo>
                      <a:pt x="391" y="108"/>
                    </a:lnTo>
                    <a:lnTo>
                      <a:pt x="397" y="114"/>
                    </a:lnTo>
                    <a:lnTo>
                      <a:pt x="397" y="119"/>
                    </a:lnTo>
                    <a:lnTo>
                      <a:pt x="402" y="131"/>
                    </a:lnTo>
                    <a:lnTo>
                      <a:pt x="402" y="142"/>
                    </a:lnTo>
                    <a:lnTo>
                      <a:pt x="442" y="148"/>
                    </a:lnTo>
                    <a:lnTo>
                      <a:pt x="448" y="148"/>
                    </a:lnTo>
                    <a:lnTo>
                      <a:pt x="453" y="142"/>
                    </a:lnTo>
                    <a:lnTo>
                      <a:pt x="453" y="136"/>
                    </a:lnTo>
                    <a:lnTo>
                      <a:pt x="459" y="136"/>
                    </a:lnTo>
                    <a:lnTo>
                      <a:pt x="470" y="119"/>
                    </a:lnTo>
                    <a:lnTo>
                      <a:pt x="476" y="114"/>
                    </a:lnTo>
                    <a:lnTo>
                      <a:pt x="493" y="114"/>
                    </a:lnTo>
                    <a:lnTo>
                      <a:pt x="499" y="108"/>
                    </a:lnTo>
                    <a:lnTo>
                      <a:pt x="504" y="119"/>
                    </a:lnTo>
                    <a:lnTo>
                      <a:pt x="504" y="131"/>
                    </a:lnTo>
                    <a:lnTo>
                      <a:pt x="482" y="136"/>
                    </a:lnTo>
                    <a:lnTo>
                      <a:pt x="476" y="148"/>
                    </a:lnTo>
                    <a:lnTo>
                      <a:pt x="487" y="153"/>
                    </a:lnTo>
                    <a:lnTo>
                      <a:pt x="470" y="176"/>
                    </a:lnTo>
                    <a:lnTo>
                      <a:pt x="476" y="182"/>
                    </a:lnTo>
                    <a:lnTo>
                      <a:pt x="470" y="193"/>
                    </a:lnTo>
                    <a:lnTo>
                      <a:pt x="453" y="187"/>
                    </a:lnTo>
                    <a:lnTo>
                      <a:pt x="448" y="233"/>
                    </a:lnTo>
                    <a:lnTo>
                      <a:pt x="425" y="238"/>
                    </a:lnTo>
                    <a:lnTo>
                      <a:pt x="419" y="227"/>
                    </a:lnTo>
                    <a:lnTo>
                      <a:pt x="385" y="227"/>
                    </a:lnTo>
                    <a:lnTo>
                      <a:pt x="374" y="238"/>
                    </a:lnTo>
                    <a:lnTo>
                      <a:pt x="368" y="250"/>
                    </a:lnTo>
                    <a:lnTo>
                      <a:pt x="363" y="250"/>
                    </a:lnTo>
                    <a:lnTo>
                      <a:pt x="357" y="250"/>
                    </a:lnTo>
                    <a:lnTo>
                      <a:pt x="351" y="250"/>
                    </a:lnTo>
                    <a:lnTo>
                      <a:pt x="340" y="255"/>
                    </a:lnTo>
                    <a:lnTo>
                      <a:pt x="351" y="267"/>
                    </a:lnTo>
                    <a:lnTo>
                      <a:pt x="351" y="272"/>
                    </a:lnTo>
                    <a:lnTo>
                      <a:pt x="357" y="272"/>
                    </a:lnTo>
                    <a:lnTo>
                      <a:pt x="357" y="278"/>
                    </a:lnTo>
                    <a:lnTo>
                      <a:pt x="357" y="289"/>
                    </a:lnTo>
                    <a:lnTo>
                      <a:pt x="363" y="295"/>
                    </a:lnTo>
                    <a:lnTo>
                      <a:pt x="368" y="301"/>
                    </a:lnTo>
                    <a:lnTo>
                      <a:pt x="374" y="301"/>
                    </a:lnTo>
                    <a:lnTo>
                      <a:pt x="380" y="312"/>
                    </a:lnTo>
                    <a:lnTo>
                      <a:pt x="380" y="318"/>
                    </a:lnTo>
                    <a:lnTo>
                      <a:pt x="391" y="318"/>
                    </a:lnTo>
                    <a:lnTo>
                      <a:pt x="391" y="323"/>
                    </a:lnTo>
                    <a:lnTo>
                      <a:pt x="402" y="329"/>
                    </a:lnTo>
                    <a:lnTo>
                      <a:pt x="419" y="318"/>
                    </a:lnTo>
                    <a:lnTo>
                      <a:pt x="425" y="318"/>
                    </a:lnTo>
                    <a:lnTo>
                      <a:pt x="431" y="318"/>
                    </a:lnTo>
                    <a:lnTo>
                      <a:pt x="436" y="318"/>
                    </a:lnTo>
                    <a:lnTo>
                      <a:pt x="448" y="340"/>
                    </a:lnTo>
                    <a:lnTo>
                      <a:pt x="419" y="352"/>
                    </a:lnTo>
                    <a:lnTo>
                      <a:pt x="419" y="369"/>
                    </a:lnTo>
                    <a:lnTo>
                      <a:pt x="385" y="374"/>
                    </a:lnTo>
                    <a:lnTo>
                      <a:pt x="380" y="380"/>
                    </a:lnTo>
                    <a:lnTo>
                      <a:pt x="374" y="380"/>
                    </a:lnTo>
                    <a:lnTo>
                      <a:pt x="363" y="380"/>
                    </a:lnTo>
                    <a:lnTo>
                      <a:pt x="351" y="386"/>
                    </a:lnTo>
                    <a:lnTo>
                      <a:pt x="351" y="391"/>
                    </a:lnTo>
                    <a:lnTo>
                      <a:pt x="340" y="397"/>
                    </a:lnTo>
                    <a:lnTo>
                      <a:pt x="340" y="403"/>
                    </a:lnTo>
                    <a:lnTo>
                      <a:pt x="329" y="408"/>
                    </a:lnTo>
                    <a:lnTo>
                      <a:pt x="317" y="414"/>
                    </a:lnTo>
                    <a:lnTo>
                      <a:pt x="312" y="431"/>
                    </a:lnTo>
                    <a:lnTo>
                      <a:pt x="317" y="431"/>
                    </a:lnTo>
                    <a:lnTo>
                      <a:pt x="317" y="437"/>
                    </a:lnTo>
                    <a:lnTo>
                      <a:pt x="300" y="443"/>
                    </a:lnTo>
                    <a:lnTo>
                      <a:pt x="300" y="448"/>
                    </a:lnTo>
                    <a:lnTo>
                      <a:pt x="295" y="448"/>
                    </a:lnTo>
                    <a:lnTo>
                      <a:pt x="295" y="460"/>
                    </a:lnTo>
                    <a:lnTo>
                      <a:pt x="300" y="460"/>
                    </a:lnTo>
                    <a:lnTo>
                      <a:pt x="289" y="471"/>
                    </a:lnTo>
                    <a:lnTo>
                      <a:pt x="283" y="471"/>
                    </a:lnTo>
                    <a:lnTo>
                      <a:pt x="283" y="465"/>
                    </a:lnTo>
                    <a:lnTo>
                      <a:pt x="278" y="465"/>
                    </a:lnTo>
                    <a:lnTo>
                      <a:pt x="278" y="471"/>
                    </a:lnTo>
                    <a:lnTo>
                      <a:pt x="272" y="471"/>
                    </a:lnTo>
                    <a:lnTo>
                      <a:pt x="266" y="471"/>
                    </a:lnTo>
                    <a:lnTo>
                      <a:pt x="261" y="465"/>
                    </a:lnTo>
                    <a:lnTo>
                      <a:pt x="261" y="460"/>
                    </a:lnTo>
                    <a:lnTo>
                      <a:pt x="255" y="465"/>
                    </a:lnTo>
                    <a:lnTo>
                      <a:pt x="249" y="460"/>
                    </a:lnTo>
                    <a:lnTo>
                      <a:pt x="249" y="454"/>
                    </a:lnTo>
                    <a:lnTo>
                      <a:pt x="244" y="454"/>
                    </a:lnTo>
                    <a:lnTo>
                      <a:pt x="238" y="454"/>
                    </a:lnTo>
                    <a:lnTo>
                      <a:pt x="232" y="448"/>
                    </a:lnTo>
                    <a:lnTo>
                      <a:pt x="227" y="443"/>
                    </a:lnTo>
                    <a:lnTo>
                      <a:pt x="221" y="443"/>
                    </a:lnTo>
                    <a:lnTo>
                      <a:pt x="227" y="437"/>
                    </a:lnTo>
                    <a:lnTo>
                      <a:pt x="221" y="437"/>
                    </a:lnTo>
                    <a:lnTo>
                      <a:pt x="221" y="431"/>
                    </a:lnTo>
                    <a:lnTo>
                      <a:pt x="221" y="425"/>
                    </a:lnTo>
                    <a:lnTo>
                      <a:pt x="221" y="420"/>
                    </a:lnTo>
                    <a:lnTo>
                      <a:pt x="221" y="414"/>
                    </a:lnTo>
                    <a:lnTo>
                      <a:pt x="221" y="408"/>
                    </a:lnTo>
                    <a:lnTo>
                      <a:pt x="215" y="408"/>
                    </a:lnTo>
                    <a:lnTo>
                      <a:pt x="210" y="408"/>
                    </a:lnTo>
                    <a:lnTo>
                      <a:pt x="204" y="408"/>
                    </a:lnTo>
                    <a:lnTo>
                      <a:pt x="204" y="414"/>
                    </a:lnTo>
                    <a:lnTo>
                      <a:pt x="198" y="420"/>
                    </a:lnTo>
                    <a:lnTo>
                      <a:pt x="193" y="420"/>
                    </a:lnTo>
                    <a:lnTo>
                      <a:pt x="193" y="425"/>
                    </a:lnTo>
                    <a:lnTo>
                      <a:pt x="187" y="425"/>
                    </a:lnTo>
                    <a:lnTo>
                      <a:pt x="187" y="431"/>
                    </a:lnTo>
                    <a:lnTo>
                      <a:pt x="181" y="425"/>
                    </a:lnTo>
                    <a:lnTo>
                      <a:pt x="181" y="431"/>
                    </a:lnTo>
                    <a:lnTo>
                      <a:pt x="170" y="431"/>
                    </a:lnTo>
                    <a:lnTo>
                      <a:pt x="164" y="431"/>
                    </a:lnTo>
                    <a:lnTo>
                      <a:pt x="159" y="431"/>
                    </a:lnTo>
                    <a:lnTo>
                      <a:pt x="159" y="437"/>
                    </a:lnTo>
                    <a:lnTo>
                      <a:pt x="159" y="443"/>
                    </a:lnTo>
                    <a:lnTo>
                      <a:pt x="153" y="437"/>
                    </a:lnTo>
                    <a:lnTo>
                      <a:pt x="147" y="431"/>
                    </a:lnTo>
                    <a:lnTo>
                      <a:pt x="142" y="431"/>
                    </a:lnTo>
                    <a:lnTo>
                      <a:pt x="136" y="431"/>
                    </a:lnTo>
                    <a:lnTo>
                      <a:pt x="130" y="437"/>
                    </a:lnTo>
                    <a:lnTo>
                      <a:pt x="125" y="437"/>
                    </a:lnTo>
                    <a:lnTo>
                      <a:pt x="125" y="431"/>
                    </a:lnTo>
                    <a:lnTo>
                      <a:pt x="125" y="425"/>
                    </a:lnTo>
                    <a:lnTo>
                      <a:pt x="119" y="425"/>
                    </a:lnTo>
                    <a:lnTo>
                      <a:pt x="113" y="425"/>
                    </a:lnTo>
                    <a:lnTo>
                      <a:pt x="108" y="425"/>
                    </a:lnTo>
                    <a:lnTo>
                      <a:pt x="108" y="431"/>
                    </a:lnTo>
                    <a:lnTo>
                      <a:pt x="108" y="437"/>
                    </a:lnTo>
                    <a:lnTo>
                      <a:pt x="102" y="437"/>
                    </a:lnTo>
                    <a:lnTo>
                      <a:pt x="96" y="437"/>
                    </a:lnTo>
                    <a:close/>
                  </a:path>
                </a:pathLst>
              </a:custGeom>
              <a:grpFill/>
              <a:ln w="9525" cap="flat" cmpd="sng">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00"/>
              </a:p>
            </p:txBody>
          </p:sp>
          <p:sp>
            <p:nvSpPr>
              <p:cNvPr id="67" name="Freeform 15"/>
              <p:cNvSpPr>
                <a:spLocks/>
              </p:cNvSpPr>
              <p:nvPr>
                <p:custDataLst>
                  <p:tags r:id="rId11"/>
                </p:custDataLst>
              </p:nvPr>
            </p:nvSpPr>
            <p:spPr bwMode="gray">
              <a:xfrm>
                <a:off x="1678739" y="3154610"/>
                <a:ext cx="1712196" cy="988488"/>
              </a:xfrm>
              <a:custGeom>
                <a:avLst/>
                <a:gdLst>
                  <a:gd name="T0" fmla="*/ 32 w 1094"/>
                  <a:gd name="T1" fmla="*/ 446 h 630"/>
                  <a:gd name="T2" fmla="*/ 63 w 1094"/>
                  <a:gd name="T3" fmla="*/ 422 h 630"/>
                  <a:gd name="T4" fmla="*/ 87 w 1094"/>
                  <a:gd name="T5" fmla="*/ 400 h 630"/>
                  <a:gd name="T6" fmla="*/ 77 w 1094"/>
                  <a:gd name="T7" fmla="*/ 364 h 630"/>
                  <a:gd name="T8" fmla="*/ 144 w 1094"/>
                  <a:gd name="T9" fmla="*/ 344 h 630"/>
                  <a:gd name="T10" fmla="*/ 192 w 1094"/>
                  <a:gd name="T11" fmla="*/ 326 h 630"/>
                  <a:gd name="T12" fmla="*/ 210 w 1094"/>
                  <a:gd name="T13" fmla="*/ 283 h 630"/>
                  <a:gd name="T14" fmla="*/ 269 w 1094"/>
                  <a:gd name="T15" fmla="*/ 253 h 630"/>
                  <a:gd name="T16" fmla="*/ 300 w 1094"/>
                  <a:gd name="T17" fmla="*/ 209 h 630"/>
                  <a:gd name="T18" fmla="*/ 369 w 1094"/>
                  <a:gd name="T19" fmla="*/ 178 h 630"/>
                  <a:gd name="T20" fmla="*/ 408 w 1094"/>
                  <a:gd name="T21" fmla="*/ 154 h 630"/>
                  <a:gd name="T22" fmla="*/ 411 w 1094"/>
                  <a:gd name="T23" fmla="*/ 98 h 630"/>
                  <a:gd name="T24" fmla="*/ 465 w 1094"/>
                  <a:gd name="T25" fmla="*/ 94 h 630"/>
                  <a:gd name="T26" fmla="*/ 536 w 1094"/>
                  <a:gd name="T27" fmla="*/ 86 h 630"/>
                  <a:gd name="T28" fmla="*/ 608 w 1094"/>
                  <a:gd name="T29" fmla="*/ 95 h 630"/>
                  <a:gd name="T30" fmla="*/ 665 w 1094"/>
                  <a:gd name="T31" fmla="*/ 71 h 630"/>
                  <a:gd name="T32" fmla="*/ 702 w 1094"/>
                  <a:gd name="T33" fmla="*/ 49 h 630"/>
                  <a:gd name="T34" fmla="*/ 767 w 1094"/>
                  <a:gd name="T35" fmla="*/ 92 h 630"/>
                  <a:gd name="T36" fmla="*/ 804 w 1094"/>
                  <a:gd name="T37" fmla="*/ 67 h 630"/>
                  <a:gd name="T38" fmla="*/ 836 w 1094"/>
                  <a:gd name="T39" fmla="*/ 26 h 630"/>
                  <a:gd name="T40" fmla="*/ 879 w 1094"/>
                  <a:gd name="T41" fmla="*/ 19 h 630"/>
                  <a:gd name="T42" fmla="*/ 944 w 1094"/>
                  <a:gd name="T43" fmla="*/ 13 h 630"/>
                  <a:gd name="T44" fmla="*/ 896 w 1094"/>
                  <a:gd name="T45" fmla="*/ 43 h 630"/>
                  <a:gd name="T46" fmla="*/ 909 w 1094"/>
                  <a:gd name="T47" fmla="*/ 86 h 630"/>
                  <a:gd name="T48" fmla="*/ 954 w 1094"/>
                  <a:gd name="T49" fmla="*/ 91 h 630"/>
                  <a:gd name="T50" fmla="*/ 1011 w 1094"/>
                  <a:gd name="T51" fmla="*/ 100 h 630"/>
                  <a:gd name="T52" fmla="*/ 1064 w 1094"/>
                  <a:gd name="T53" fmla="*/ 113 h 630"/>
                  <a:gd name="T54" fmla="*/ 1085 w 1094"/>
                  <a:gd name="T55" fmla="*/ 148 h 630"/>
                  <a:gd name="T56" fmla="*/ 1064 w 1094"/>
                  <a:gd name="T57" fmla="*/ 196 h 630"/>
                  <a:gd name="T58" fmla="*/ 1001 w 1094"/>
                  <a:gd name="T59" fmla="*/ 239 h 630"/>
                  <a:gd name="T60" fmla="*/ 948 w 1094"/>
                  <a:gd name="T61" fmla="*/ 283 h 630"/>
                  <a:gd name="T62" fmla="*/ 902 w 1094"/>
                  <a:gd name="T63" fmla="*/ 332 h 630"/>
                  <a:gd name="T64" fmla="*/ 849 w 1094"/>
                  <a:gd name="T65" fmla="*/ 382 h 630"/>
                  <a:gd name="T66" fmla="*/ 807 w 1094"/>
                  <a:gd name="T67" fmla="*/ 406 h 630"/>
                  <a:gd name="T68" fmla="*/ 747 w 1094"/>
                  <a:gd name="T69" fmla="*/ 449 h 630"/>
                  <a:gd name="T70" fmla="*/ 699 w 1094"/>
                  <a:gd name="T71" fmla="*/ 479 h 630"/>
                  <a:gd name="T72" fmla="*/ 668 w 1094"/>
                  <a:gd name="T73" fmla="*/ 502 h 630"/>
                  <a:gd name="T74" fmla="*/ 621 w 1094"/>
                  <a:gd name="T75" fmla="*/ 532 h 630"/>
                  <a:gd name="T76" fmla="*/ 552 w 1094"/>
                  <a:gd name="T77" fmla="*/ 560 h 630"/>
                  <a:gd name="T78" fmla="*/ 465 w 1094"/>
                  <a:gd name="T79" fmla="*/ 551 h 630"/>
                  <a:gd name="T80" fmla="*/ 422 w 1094"/>
                  <a:gd name="T81" fmla="*/ 571 h 630"/>
                  <a:gd name="T82" fmla="*/ 395 w 1094"/>
                  <a:gd name="T83" fmla="*/ 601 h 630"/>
                  <a:gd name="T84" fmla="*/ 318 w 1094"/>
                  <a:gd name="T85" fmla="*/ 595 h 630"/>
                  <a:gd name="T86" fmla="*/ 299 w 1094"/>
                  <a:gd name="T87" fmla="*/ 626 h 630"/>
                  <a:gd name="T88" fmla="*/ 228 w 1094"/>
                  <a:gd name="T89" fmla="*/ 611 h 630"/>
                  <a:gd name="T90" fmla="*/ 156 w 1094"/>
                  <a:gd name="T91" fmla="*/ 596 h 630"/>
                  <a:gd name="T92" fmla="*/ 108 w 1094"/>
                  <a:gd name="T93" fmla="*/ 562 h 630"/>
                  <a:gd name="T94" fmla="*/ 131 w 1094"/>
                  <a:gd name="T95" fmla="*/ 541 h 630"/>
                  <a:gd name="T96" fmla="*/ 78 w 1094"/>
                  <a:gd name="T97" fmla="*/ 505 h 630"/>
                  <a:gd name="T98" fmla="*/ 17 w 1094"/>
                  <a:gd name="T99" fmla="*/ 506 h 6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94" h="630">
                    <a:moveTo>
                      <a:pt x="2" y="496"/>
                    </a:moveTo>
                    <a:cubicBezTo>
                      <a:pt x="8" y="493"/>
                      <a:pt x="10" y="488"/>
                      <a:pt x="17" y="485"/>
                    </a:cubicBezTo>
                    <a:cubicBezTo>
                      <a:pt x="19" y="472"/>
                      <a:pt x="23" y="470"/>
                      <a:pt x="33" y="463"/>
                    </a:cubicBezTo>
                    <a:cubicBezTo>
                      <a:pt x="36" y="456"/>
                      <a:pt x="31" y="451"/>
                      <a:pt x="32" y="446"/>
                    </a:cubicBezTo>
                    <a:cubicBezTo>
                      <a:pt x="33" y="441"/>
                      <a:pt x="37" y="433"/>
                      <a:pt x="41" y="430"/>
                    </a:cubicBezTo>
                    <a:cubicBezTo>
                      <a:pt x="45" y="427"/>
                      <a:pt x="52" y="430"/>
                      <a:pt x="54" y="427"/>
                    </a:cubicBezTo>
                    <a:cubicBezTo>
                      <a:pt x="58" y="414"/>
                      <a:pt x="44" y="415"/>
                      <a:pt x="54" y="412"/>
                    </a:cubicBezTo>
                    <a:cubicBezTo>
                      <a:pt x="56" y="410"/>
                      <a:pt x="59" y="421"/>
                      <a:pt x="63" y="422"/>
                    </a:cubicBezTo>
                    <a:cubicBezTo>
                      <a:pt x="66" y="422"/>
                      <a:pt x="65" y="414"/>
                      <a:pt x="71" y="413"/>
                    </a:cubicBezTo>
                    <a:cubicBezTo>
                      <a:pt x="82" y="417"/>
                      <a:pt x="86" y="419"/>
                      <a:pt x="99" y="418"/>
                    </a:cubicBezTo>
                    <a:cubicBezTo>
                      <a:pt x="96" y="405"/>
                      <a:pt x="101" y="418"/>
                      <a:pt x="93" y="410"/>
                    </a:cubicBezTo>
                    <a:cubicBezTo>
                      <a:pt x="87" y="404"/>
                      <a:pt x="99" y="407"/>
                      <a:pt x="87" y="400"/>
                    </a:cubicBezTo>
                    <a:cubicBezTo>
                      <a:pt x="86" y="399"/>
                      <a:pt x="77" y="395"/>
                      <a:pt x="78" y="394"/>
                    </a:cubicBezTo>
                    <a:cubicBezTo>
                      <a:pt x="80" y="392"/>
                      <a:pt x="85" y="395"/>
                      <a:pt x="87" y="392"/>
                    </a:cubicBezTo>
                    <a:cubicBezTo>
                      <a:pt x="93" y="382"/>
                      <a:pt x="86" y="380"/>
                      <a:pt x="81" y="377"/>
                    </a:cubicBezTo>
                    <a:cubicBezTo>
                      <a:pt x="79" y="367"/>
                      <a:pt x="65" y="367"/>
                      <a:pt x="77" y="364"/>
                    </a:cubicBezTo>
                    <a:cubicBezTo>
                      <a:pt x="79" y="350"/>
                      <a:pt x="89" y="353"/>
                      <a:pt x="99" y="353"/>
                    </a:cubicBezTo>
                    <a:cubicBezTo>
                      <a:pt x="103" y="350"/>
                      <a:pt x="105" y="345"/>
                      <a:pt x="110" y="344"/>
                    </a:cubicBezTo>
                    <a:cubicBezTo>
                      <a:pt x="115" y="343"/>
                      <a:pt x="125" y="347"/>
                      <a:pt x="131" y="347"/>
                    </a:cubicBezTo>
                    <a:cubicBezTo>
                      <a:pt x="135" y="346"/>
                      <a:pt x="142" y="347"/>
                      <a:pt x="144" y="344"/>
                    </a:cubicBezTo>
                    <a:cubicBezTo>
                      <a:pt x="146" y="341"/>
                      <a:pt x="141" y="334"/>
                      <a:pt x="143" y="331"/>
                    </a:cubicBezTo>
                    <a:cubicBezTo>
                      <a:pt x="148" y="328"/>
                      <a:pt x="153" y="325"/>
                      <a:pt x="158" y="325"/>
                    </a:cubicBezTo>
                    <a:cubicBezTo>
                      <a:pt x="163" y="325"/>
                      <a:pt x="170" y="334"/>
                      <a:pt x="176" y="334"/>
                    </a:cubicBezTo>
                    <a:cubicBezTo>
                      <a:pt x="178" y="334"/>
                      <a:pt x="191" y="328"/>
                      <a:pt x="192" y="326"/>
                    </a:cubicBezTo>
                    <a:cubicBezTo>
                      <a:pt x="195" y="320"/>
                      <a:pt x="200" y="320"/>
                      <a:pt x="206" y="319"/>
                    </a:cubicBezTo>
                    <a:cubicBezTo>
                      <a:pt x="207" y="313"/>
                      <a:pt x="206" y="307"/>
                      <a:pt x="209" y="302"/>
                    </a:cubicBezTo>
                    <a:cubicBezTo>
                      <a:pt x="210" y="300"/>
                      <a:pt x="222" y="293"/>
                      <a:pt x="225" y="287"/>
                    </a:cubicBezTo>
                    <a:cubicBezTo>
                      <a:pt x="220" y="286"/>
                      <a:pt x="215" y="284"/>
                      <a:pt x="210" y="283"/>
                    </a:cubicBezTo>
                    <a:cubicBezTo>
                      <a:pt x="203" y="280"/>
                      <a:pt x="209" y="277"/>
                      <a:pt x="212" y="272"/>
                    </a:cubicBezTo>
                    <a:cubicBezTo>
                      <a:pt x="213" y="253"/>
                      <a:pt x="211" y="261"/>
                      <a:pt x="224" y="263"/>
                    </a:cubicBezTo>
                    <a:cubicBezTo>
                      <a:pt x="250" y="260"/>
                      <a:pt x="224" y="266"/>
                      <a:pt x="237" y="257"/>
                    </a:cubicBezTo>
                    <a:cubicBezTo>
                      <a:pt x="244" y="252"/>
                      <a:pt x="260" y="254"/>
                      <a:pt x="269" y="253"/>
                    </a:cubicBezTo>
                    <a:cubicBezTo>
                      <a:pt x="265" y="245"/>
                      <a:pt x="263" y="236"/>
                      <a:pt x="269" y="232"/>
                    </a:cubicBezTo>
                    <a:cubicBezTo>
                      <a:pt x="269" y="227"/>
                      <a:pt x="267" y="216"/>
                      <a:pt x="278" y="214"/>
                    </a:cubicBezTo>
                    <a:cubicBezTo>
                      <a:pt x="281" y="210"/>
                      <a:pt x="279" y="207"/>
                      <a:pt x="285" y="206"/>
                    </a:cubicBezTo>
                    <a:cubicBezTo>
                      <a:pt x="289" y="205"/>
                      <a:pt x="295" y="210"/>
                      <a:pt x="300" y="209"/>
                    </a:cubicBezTo>
                    <a:cubicBezTo>
                      <a:pt x="305" y="206"/>
                      <a:pt x="315" y="204"/>
                      <a:pt x="318" y="199"/>
                    </a:cubicBezTo>
                    <a:cubicBezTo>
                      <a:pt x="324" y="196"/>
                      <a:pt x="326" y="193"/>
                      <a:pt x="333" y="191"/>
                    </a:cubicBezTo>
                    <a:cubicBezTo>
                      <a:pt x="339" y="190"/>
                      <a:pt x="347" y="193"/>
                      <a:pt x="353" y="191"/>
                    </a:cubicBezTo>
                    <a:cubicBezTo>
                      <a:pt x="360" y="189"/>
                      <a:pt x="362" y="180"/>
                      <a:pt x="369" y="178"/>
                    </a:cubicBezTo>
                    <a:cubicBezTo>
                      <a:pt x="375" y="176"/>
                      <a:pt x="385" y="181"/>
                      <a:pt x="390" y="181"/>
                    </a:cubicBezTo>
                    <a:cubicBezTo>
                      <a:pt x="395" y="180"/>
                      <a:pt x="395" y="177"/>
                      <a:pt x="398" y="175"/>
                    </a:cubicBezTo>
                    <a:cubicBezTo>
                      <a:pt x="401" y="172"/>
                      <a:pt x="405" y="167"/>
                      <a:pt x="407" y="164"/>
                    </a:cubicBezTo>
                    <a:cubicBezTo>
                      <a:pt x="412" y="156"/>
                      <a:pt x="410" y="164"/>
                      <a:pt x="408" y="154"/>
                    </a:cubicBezTo>
                    <a:cubicBezTo>
                      <a:pt x="413" y="147"/>
                      <a:pt x="418" y="144"/>
                      <a:pt x="420" y="134"/>
                    </a:cubicBezTo>
                    <a:cubicBezTo>
                      <a:pt x="417" y="129"/>
                      <a:pt x="419" y="128"/>
                      <a:pt x="414" y="125"/>
                    </a:cubicBezTo>
                    <a:cubicBezTo>
                      <a:pt x="424" y="124"/>
                      <a:pt x="422" y="118"/>
                      <a:pt x="413" y="113"/>
                    </a:cubicBezTo>
                    <a:cubicBezTo>
                      <a:pt x="412" y="109"/>
                      <a:pt x="410" y="102"/>
                      <a:pt x="411" y="98"/>
                    </a:cubicBezTo>
                    <a:cubicBezTo>
                      <a:pt x="412" y="94"/>
                      <a:pt x="413" y="91"/>
                      <a:pt x="416" y="89"/>
                    </a:cubicBezTo>
                    <a:cubicBezTo>
                      <a:pt x="419" y="88"/>
                      <a:pt x="428" y="87"/>
                      <a:pt x="432" y="88"/>
                    </a:cubicBezTo>
                    <a:cubicBezTo>
                      <a:pt x="437" y="90"/>
                      <a:pt x="439" y="99"/>
                      <a:pt x="444" y="100"/>
                    </a:cubicBezTo>
                    <a:cubicBezTo>
                      <a:pt x="451" y="105"/>
                      <a:pt x="465" y="94"/>
                      <a:pt x="465" y="94"/>
                    </a:cubicBezTo>
                    <a:cubicBezTo>
                      <a:pt x="471" y="93"/>
                      <a:pt x="470" y="85"/>
                      <a:pt x="474" y="83"/>
                    </a:cubicBezTo>
                    <a:cubicBezTo>
                      <a:pt x="478" y="81"/>
                      <a:pt x="483" y="83"/>
                      <a:pt x="489" y="82"/>
                    </a:cubicBezTo>
                    <a:cubicBezTo>
                      <a:pt x="498" y="80"/>
                      <a:pt x="503" y="75"/>
                      <a:pt x="512" y="75"/>
                    </a:cubicBezTo>
                    <a:cubicBezTo>
                      <a:pt x="522" y="77"/>
                      <a:pt x="527" y="81"/>
                      <a:pt x="536" y="86"/>
                    </a:cubicBezTo>
                    <a:cubicBezTo>
                      <a:pt x="548" y="85"/>
                      <a:pt x="544" y="83"/>
                      <a:pt x="555" y="85"/>
                    </a:cubicBezTo>
                    <a:cubicBezTo>
                      <a:pt x="559" y="88"/>
                      <a:pt x="571" y="95"/>
                      <a:pt x="576" y="97"/>
                    </a:cubicBezTo>
                    <a:cubicBezTo>
                      <a:pt x="582" y="98"/>
                      <a:pt x="586" y="97"/>
                      <a:pt x="591" y="97"/>
                    </a:cubicBezTo>
                    <a:cubicBezTo>
                      <a:pt x="596" y="97"/>
                      <a:pt x="603" y="95"/>
                      <a:pt x="608" y="95"/>
                    </a:cubicBezTo>
                    <a:cubicBezTo>
                      <a:pt x="617" y="102"/>
                      <a:pt x="615" y="99"/>
                      <a:pt x="624" y="95"/>
                    </a:cubicBezTo>
                    <a:cubicBezTo>
                      <a:pt x="628" y="88"/>
                      <a:pt x="627" y="85"/>
                      <a:pt x="635" y="83"/>
                    </a:cubicBezTo>
                    <a:cubicBezTo>
                      <a:pt x="633" y="72"/>
                      <a:pt x="644" y="83"/>
                      <a:pt x="653" y="80"/>
                    </a:cubicBezTo>
                    <a:cubicBezTo>
                      <a:pt x="657" y="79"/>
                      <a:pt x="659" y="72"/>
                      <a:pt x="665" y="71"/>
                    </a:cubicBezTo>
                    <a:cubicBezTo>
                      <a:pt x="670" y="70"/>
                      <a:pt x="678" y="75"/>
                      <a:pt x="681" y="73"/>
                    </a:cubicBezTo>
                    <a:cubicBezTo>
                      <a:pt x="685" y="71"/>
                      <a:pt x="685" y="63"/>
                      <a:pt x="686" y="59"/>
                    </a:cubicBezTo>
                    <a:cubicBezTo>
                      <a:pt x="687" y="55"/>
                      <a:pt x="688" y="49"/>
                      <a:pt x="690" y="47"/>
                    </a:cubicBezTo>
                    <a:cubicBezTo>
                      <a:pt x="693" y="46"/>
                      <a:pt x="698" y="47"/>
                      <a:pt x="702" y="49"/>
                    </a:cubicBezTo>
                    <a:cubicBezTo>
                      <a:pt x="706" y="51"/>
                      <a:pt x="712" y="54"/>
                      <a:pt x="717" y="58"/>
                    </a:cubicBezTo>
                    <a:cubicBezTo>
                      <a:pt x="721" y="74"/>
                      <a:pt x="718" y="65"/>
                      <a:pt x="732" y="71"/>
                    </a:cubicBezTo>
                    <a:cubicBezTo>
                      <a:pt x="739" y="74"/>
                      <a:pt x="739" y="88"/>
                      <a:pt x="749" y="89"/>
                    </a:cubicBezTo>
                    <a:cubicBezTo>
                      <a:pt x="756" y="90"/>
                      <a:pt x="760" y="92"/>
                      <a:pt x="767" y="92"/>
                    </a:cubicBezTo>
                    <a:cubicBezTo>
                      <a:pt x="776" y="97"/>
                      <a:pt x="785" y="95"/>
                      <a:pt x="795" y="94"/>
                    </a:cubicBezTo>
                    <a:cubicBezTo>
                      <a:pt x="796" y="92"/>
                      <a:pt x="796" y="90"/>
                      <a:pt x="797" y="89"/>
                    </a:cubicBezTo>
                    <a:cubicBezTo>
                      <a:pt x="798" y="88"/>
                      <a:pt x="800" y="87"/>
                      <a:pt x="801" y="86"/>
                    </a:cubicBezTo>
                    <a:cubicBezTo>
                      <a:pt x="802" y="83"/>
                      <a:pt x="802" y="71"/>
                      <a:pt x="804" y="67"/>
                    </a:cubicBezTo>
                    <a:cubicBezTo>
                      <a:pt x="806" y="63"/>
                      <a:pt x="813" y="65"/>
                      <a:pt x="815" y="61"/>
                    </a:cubicBezTo>
                    <a:cubicBezTo>
                      <a:pt x="822" y="58"/>
                      <a:pt x="819" y="45"/>
                      <a:pt x="815" y="40"/>
                    </a:cubicBezTo>
                    <a:cubicBezTo>
                      <a:pt x="817" y="20"/>
                      <a:pt x="812" y="44"/>
                      <a:pt x="831" y="37"/>
                    </a:cubicBezTo>
                    <a:cubicBezTo>
                      <a:pt x="835" y="36"/>
                      <a:pt x="833" y="28"/>
                      <a:pt x="836" y="26"/>
                    </a:cubicBezTo>
                    <a:cubicBezTo>
                      <a:pt x="839" y="23"/>
                      <a:pt x="845" y="21"/>
                      <a:pt x="848" y="20"/>
                    </a:cubicBezTo>
                    <a:cubicBezTo>
                      <a:pt x="851" y="19"/>
                      <a:pt x="852" y="17"/>
                      <a:pt x="855" y="17"/>
                    </a:cubicBezTo>
                    <a:cubicBezTo>
                      <a:pt x="860" y="15"/>
                      <a:pt x="863" y="17"/>
                      <a:pt x="867" y="17"/>
                    </a:cubicBezTo>
                    <a:cubicBezTo>
                      <a:pt x="871" y="17"/>
                      <a:pt x="874" y="20"/>
                      <a:pt x="879" y="19"/>
                    </a:cubicBezTo>
                    <a:cubicBezTo>
                      <a:pt x="886" y="15"/>
                      <a:pt x="891" y="15"/>
                      <a:pt x="899" y="13"/>
                    </a:cubicBezTo>
                    <a:cubicBezTo>
                      <a:pt x="909" y="8"/>
                      <a:pt x="907" y="15"/>
                      <a:pt x="915" y="5"/>
                    </a:cubicBezTo>
                    <a:cubicBezTo>
                      <a:pt x="921" y="3"/>
                      <a:pt x="928" y="0"/>
                      <a:pt x="933" y="1"/>
                    </a:cubicBezTo>
                    <a:cubicBezTo>
                      <a:pt x="938" y="2"/>
                      <a:pt x="945" y="9"/>
                      <a:pt x="944" y="13"/>
                    </a:cubicBezTo>
                    <a:cubicBezTo>
                      <a:pt x="940" y="21"/>
                      <a:pt x="936" y="20"/>
                      <a:pt x="927" y="22"/>
                    </a:cubicBezTo>
                    <a:cubicBezTo>
                      <a:pt x="926" y="30"/>
                      <a:pt x="922" y="30"/>
                      <a:pt x="917" y="35"/>
                    </a:cubicBezTo>
                    <a:cubicBezTo>
                      <a:pt x="914" y="38"/>
                      <a:pt x="909" y="42"/>
                      <a:pt x="906" y="43"/>
                    </a:cubicBezTo>
                    <a:cubicBezTo>
                      <a:pt x="903" y="44"/>
                      <a:pt x="898" y="40"/>
                      <a:pt x="896" y="43"/>
                    </a:cubicBezTo>
                    <a:cubicBezTo>
                      <a:pt x="894" y="45"/>
                      <a:pt x="894" y="55"/>
                      <a:pt x="893" y="59"/>
                    </a:cubicBezTo>
                    <a:cubicBezTo>
                      <a:pt x="892" y="63"/>
                      <a:pt x="888" y="68"/>
                      <a:pt x="890" y="70"/>
                    </a:cubicBezTo>
                    <a:cubicBezTo>
                      <a:pt x="891" y="73"/>
                      <a:pt x="899" y="71"/>
                      <a:pt x="903" y="74"/>
                    </a:cubicBezTo>
                    <a:cubicBezTo>
                      <a:pt x="906" y="77"/>
                      <a:pt x="906" y="85"/>
                      <a:pt x="909" y="86"/>
                    </a:cubicBezTo>
                    <a:cubicBezTo>
                      <a:pt x="912" y="87"/>
                      <a:pt x="918" y="85"/>
                      <a:pt x="921" y="83"/>
                    </a:cubicBezTo>
                    <a:cubicBezTo>
                      <a:pt x="925" y="84"/>
                      <a:pt x="925" y="75"/>
                      <a:pt x="928" y="76"/>
                    </a:cubicBezTo>
                    <a:cubicBezTo>
                      <a:pt x="931" y="77"/>
                      <a:pt x="937" y="85"/>
                      <a:pt x="941" y="88"/>
                    </a:cubicBezTo>
                    <a:cubicBezTo>
                      <a:pt x="946" y="91"/>
                      <a:pt x="949" y="90"/>
                      <a:pt x="954" y="91"/>
                    </a:cubicBezTo>
                    <a:cubicBezTo>
                      <a:pt x="959" y="92"/>
                      <a:pt x="966" y="97"/>
                      <a:pt x="972" y="97"/>
                    </a:cubicBezTo>
                    <a:cubicBezTo>
                      <a:pt x="978" y="97"/>
                      <a:pt x="985" y="92"/>
                      <a:pt x="990" y="92"/>
                    </a:cubicBezTo>
                    <a:cubicBezTo>
                      <a:pt x="994" y="92"/>
                      <a:pt x="1000" y="94"/>
                      <a:pt x="1003" y="95"/>
                    </a:cubicBezTo>
                    <a:cubicBezTo>
                      <a:pt x="1006" y="96"/>
                      <a:pt x="1007" y="99"/>
                      <a:pt x="1011" y="100"/>
                    </a:cubicBezTo>
                    <a:cubicBezTo>
                      <a:pt x="1017" y="102"/>
                      <a:pt x="1021" y="103"/>
                      <a:pt x="1026" y="103"/>
                    </a:cubicBezTo>
                    <a:cubicBezTo>
                      <a:pt x="1031" y="103"/>
                      <a:pt x="1035" y="102"/>
                      <a:pt x="1039" y="103"/>
                    </a:cubicBezTo>
                    <a:cubicBezTo>
                      <a:pt x="1043" y="104"/>
                      <a:pt x="1045" y="108"/>
                      <a:pt x="1049" y="110"/>
                    </a:cubicBezTo>
                    <a:cubicBezTo>
                      <a:pt x="1054" y="114"/>
                      <a:pt x="1058" y="112"/>
                      <a:pt x="1064" y="113"/>
                    </a:cubicBezTo>
                    <a:cubicBezTo>
                      <a:pt x="1065" y="120"/>
                      <a:pt x="1065" y="118"/>
                      <a:pt x="1071" y="122"/>
                    </a:cubicBezTo>
                    <a:cubicBezTo>
                      <a:pt x="1074" y="136"/>
                      <a:pt x="1073" y="116"/>
                      <a:pt x="1081" y="128"/>
                    </a:cubicBezTo>
                    <a:cubicBezTo>
                      <a:pt x="1083" y="130"/>
                      <a:pt x="1087" y="137"/>
                      <a:pt x="1088" y="140"/>
                    </a:cubicBezTo>
                    <a:cubicBezTo>
                      <a:pt x="1089" y="143"/>
                      <a:pt x="1084" y="145"/>
                      <a:pt x="1085" y="148"/>
                    </a:cubicBezTo>
                    <a:cubicBezTo>
                      <a:pt x="1086" y="151"/>
                      <a:pt x="1091" y="154"/>
                      <a:pt x="1092" y="158"/>
                    </a:cubicBezTo>
                    <a:cubicBezTo>
                      <a:pt x="1092" y="162"/>
                      <a:pt x="1094" y="169"/>
                      <a:pt x="1091" y="172"/>
                    </a:cubicBezTo>
                    <a:cubicBezTo>
                      <a:pt x="1089" y="175"/>
                      <a:pt x="1084" y="174"/>
                      <a:pt x="1079" y="178"/>
                    </a:cubicBezTo>
                    <a:cubicBezTo>
                      <a:pt x="1073" y="186"/>
                      <a:pt x="1074" y="194"/>
                      <a:pt x="1064" y="196"/>
                    </a:cubicBezTo>
                    <a:cubicBezTo>
                      <a:pt x="1060" y="202"/>
                      <a:pt x="1053" y="208"/>
                      <a:pt x="1046" y="209"/>
                    </a:cubicBezTo>
                    <a:cubicBezTo>
                      <a:pt x="1038" y="213"/>
                      <a:pt x="1034" y="213"/>
                      <a:pt x="1025" y="214"/>
                    </a:cubicBezTo>
                    <a:cubicBezTo>
                      <a:pt x="1023" y="218"/>
                      <a:pt x="1023" y="224"/>
                      <a:pt x="1019" y="227"/>
                    </a:cubicBezTo>
                    <a:cubicBezTo>
                      <a:pt x="1012" y="232"/>
                      <a:pt x="1005" y="230"/>
                      <a:pt x="1001" y="239"/>
                    </a:cubicBezTo>
                    <a:cubicBezTo>
                      <a:pt x="996" y="243"/>
                      <a:pt x="994" y="245"/>
                      <a:pt x="990" y="247"/>
                    </a:cubicBezTo>
                    <a:cubicBezTo>
                      <a:pt x="986" y="249"/>
                      <a:pt x="983" y="247"/>
                      <a:pt x="978" y="251"/>
                    </a:cubicBezTo>
                    <a:cubicBezTo>
                      <a:pt x="976" y="260"/>
                      <a:pt x="970" y="264"/>
                      <a:pt x="962" y="268"/>
                    </a:cubicBezTo>
                    <a:cubicBezTo>
                      <a:pt x="958" y="273"/>
                      <a:pt x="952" y="278"/>
                      <a:pt x="948" y="283"/>
                    </a:cubicBezTo>
                    <a:cubicBezTo>
                      <a:pt x="944" y="288"/>
                      <a:pt x="941" y="294"/>
                      <a:pt x="936" y="299"/>
                    </a:cubicBezTo>
                    <a:cubicBezTo>
                      <a:pt x="930" y="302"/>
                      <a:pt x="925" y="307"/>
                      <a:pt x="920" y="311"/>
                    </a:cubicBezTo>
                    <a:cubicBezTo>
                      <a:pt x="918" y="316"/>
                      <a:pt x="915" y="320"/>
                      <a:pt x="912" y="325"/>
                    </a:cubicBezTo>
                    <a:cubicBezTo>
                      <a:pt x="909" y="329"/>
                      <a:pt x="906" y="328"/>
                      <a:pt x="902" y="332"/>
                    </a:cubicBezTo>
                    <a:cubicBezTo>
                      <a:pt x="898" y="336"/>
                      <a:pt x="892" y="343"/>
                      <a:pt x="888" y="347"/>
                    </a:cubicBezTo>
                    <a:cubicBezTo>
                      <a:pt x="880" y="353"/>
                      <a:pt x="885" y="353"/>
                      <a:pt x="875" y="355"/>
                    </a:cubicBezTo>
                    <a:cubicBezTo>
                      <a:pt x="872" y="357"/>
                      <a:pt x="860" y="365"/>
                      <a:pt x="858" y="368"/>
                    </a:cubicBezTo>
                    <a:cubicBezTo>
                      <a:pt x="854" y="374"/>
                      <a:pt x="857" y="377"/>
                      <a:pt x="849" y="382"/>
                    </a:cubicBezTo>
                    <a:cubicBezTo>
                      <a:pt x="842" y="380"/>
                      <a:pt x="841" y="380"/>
                      <a:pt x="836" y="386"/>
                    </a:cubicBezTo>
                    <a:cubicBezTo>
                      <a:pt x="833" y="395"/>
                      <a:pt x="836" y="397"/>
                      <a:pt x="825" y="398"/>
                    </a:cubicBezTo>
                    <a:cubicBezTo>
                      <a:pt x="820" y="400"/>
                      <a:pt x="815" y="399"/>
                      <a:pt x="810" y="401"/>
                    </a:cubicBezTo>
                    <a:cubicBezTo>
                      <a:pt x="808" y="402"/>
                      <a:pt x="809" y="405"/>
                      <a:pt x="807" y="406"/>
                    </a:cubicBezTo>
                    <a:cubicBezTo>
                      <a:pt x="805" y="407"/>
                      <a:pt x="803" y="407"/>
                      <a:pt x="801" y="407"/>
                    </a:cubicBezTo>
                    <a:cubicBezTo>
                      <a:pt x="795" y="410"/>
                      <a:pt x="786" y="417"/>
                      <a:pt x="780" y="421"/>
                    </a:cubicBezTo>
                    <a:cubicBezTo>
                      <a:pt x="768" y="437"/>
                      <a:pt x="784" y="436"/>
                      <a:pt x="759" y="439"/>
                    </a:cubicBezTo>
                    <a:cubicBezTo>
                      <a:pt x="754" y="442"/>
                      <a:pt x="752" y="446"/>
                      <a:pt x="747" y="449"/>
                    </a:cubicBezTo>
                    <a:cubicBezTo>
                      <a:pt x="747" y="451"/>
                      <a:pt x="747" y="453"/>
                      <a:pt x="746" y="454"/>
                    </a:cubicBezTo>
                    <a:cubicBezTo>
                      <a:pt x="744" y="456"/>
                      <a:pt x="729" y="459"/>
                      <a:pt x="726" y="461"/>
                    </a:cubicBezTo>
                    <a:cubicBezTo>
                      <a:pt x="718" y="465"/>
                      <a:pt x="722" y="469"/>
                      <a:pt x="714" y="472"/>
                    </a:cubicBezTo>
                    <a:cubicBezTo>
                      <a:pt x="709" y="477"/>
                      <a:pt x="706" y="478"/>
                      <a:pt x="699" y="479"/>
                    </a:cubicBezTo>
                    <a:cubicBezTo>
                      <a:pt x="695" y="481"/>
                      <a:pt x="691" y="487"/>
                      <a:pt x="687" y="488"/>
                    </a:cubicBezTo>
                    <a:cubicBezTo>
                      <a:pt x="683" y="489"/>
                      <a:pt x="678" y="484"/>
                      <a:pt x="677" y="485"/>
                    </a:cubicBezTo>
                    <a:cubicBezTo>
                      <a:pt x="676" y="486"/>
                      <a:pt x="682" y="491"/>
                      <a:pt x="681" y="494"/>
                    </a:cubicBezTo>
                    <a:cubicBezTo>
                      <a:pt x="680" y="497"/>
                      <a:pt x="674" y="499"/>
                      <a:pt x="668" y="502"/>
                    </a:cubicBezTo>
                    <a:cubicBezTo>
                      <a:pt x="655" y="508"/>
                      <a:pt x="661" y="508"/>
                      <a:pt x="647" y="511"/>
                    </a:cubicBezTo>
                    <a:cubicBezTo>
                      <a:pt x="645" y="518"/>
                      <a:pt x="647" y="522"/>
                      <a:pt x="639" y="524"/>
                    </a:cubicBezTo>
                    <a:cubicBezTo>
                      <a:pt x="628" y="529"/>
                      <a:pt x="654" y="515"/>
                      <a:pt x="630" y="520"/>
                    </a:cubicBezTo>
                    <a:cubicBezTo>
                      <a:pt x="626" y="520"/>
                      <a:pt x="625" y="530"/>
                      <a:pt x="621" y="532"/>
                    </a:cubicBezTo>
                    <a:cubicBezTo>
                      <a:pt x="617" y="534"/>
                      <a:pt x="612" y="531"/>
                      <a:pt x="606" y="533"/>
                    </a:cubicBezTo>
                    <a:cubicBezTo>
                      <a:pt x="599" y="536"/>
                      <a:pt x="589" y="542"/>
                      <a:pt x="582" y="544"/>
                    </a:cubicBezTo>
                    <a:cubicBezTo>
                      <a:pt x="576" y="546"/>
                      <a:pt x="564" y="547"/>
                      <a:pt x="564" y="547"/>
                    </a:cubicBezTo>
                    <a:cubicBezTo>
                      <a:pt x="557" y="553"/>
                      <a:pt x="559" y="555"/>
                      <a:pt x="552" y="560"/>
                    </a:cubicBezTo>
                    <a:cubicBezTo>
                      <a:pt x="544" y="562"/>
                      <a:pt x="530" y="563"/>
                      <a:pt x="521" y="563"/>
                    </a:cubicBezTo>
                    <a:cubicBezTo>
                      <a:pt x="512" y="563"/>
                      <a:pt x="501" y="561"/>
                      <a:pt x="495" y="559"/>
                    </a:cubicBezTo>
                    <a:cubicBezTo>
                      <a:pt x="485" y="551"/>
                      <a:pt x="501" y="555"/>
                      <a:pt x="486" y="553"/>
                    </a:cubicBezTo>
                    <a:cubicBezTo>
                      <a:pt x="478" y="549"/>
                      <a:pt x="474" y="550"/>
                      <a:pt x="465" y="551"/>
                    </a:cubicBezTo>
                    <a:cubicBezTo>
                      <a:pt x="459" y="552"/>
                      <a:pt x="456" y="553"/>
                      <a:pt x="450" y="554"/>
                    </a:cubicBezTo>
                    <a:cubicBezTo>
                      <a:pt x="444" y="556"/>
                      <a:pt x="436" y="561"/>
                      <a:pt x="431" y="562"/>
                    </a:cubicBezTo>
                    <a:cubicBezTo>
                      <a:pt x="426" y="563"/>
                      <a:pt x="420" y="558"/>
                      <a:pt x="419" y="559"/>
                    </a:cubicBezTo>
                    <a:cubicBezTo>
                      <a:pt x="415" y="566"/>
                      <a:pt x="430" y="570"/>
                      <a:pt x="422" y="571"/>
                    </a:cubicBezTo>
                    <a:cubicBezTo>
                      <a:pt x="423" y="575"/>
                      <a:pt x="410" y="567"/>
                      <a:pt x="410" y="571"/>
                    </a:cubicBezTo>
                    <a:cubicBezTo>
                      <a:pt x="411" y="575"/>
                      <a:pt x="412" y="586"/>
                      <a:pt x="413" y="590"/>
                    </a:cubicBezTo>
                    <a:cubicBezTo>
                      <a:pt x="414" y="593"/>
                      <a:pt x="428" y="601"/>
                      <a:pt x="425" y="601"/>
                    </a:cubicBezTo>
                    <a:cubicBezTo>
                      <a:pt x="421" y="603"/>
                      <a:pt x="406" y="601"/>
                      <a:pt x="395" y="601"/>
                    </a:cubicBezTo>
                    <a:cubicBezTo>
                      <a:pt x="387" y="601"/>
                      <a:pt x="380" y="600"/>
                      <a:pt x="375" y="599"/>
                    </a:cubicBezTo>
                    <a:cubicBezTo>
                      <a:pt x="370" y="598"/>
                      <a:pt x="368" y="595"/>
                      <a:pt x="362" y="593"/>
                    </a:cubicBezTo>
                    <a:cubicBezTo>
                      <a:pt x="353" y="589"/>
                      <a:pt x="348" y="590"/>
                      <a:pt x="338" y="587"/>
                    </a:cubicBezTo>
                    <a:cubicBezTo>
                      <a:pt x="330" y="590"/>
                      <a:pt x="327" y="593"/>
                      <a:pt x="318" y="595"/>
                    </a:cubicBezTo>
                    <a:cubicBezTo>
                      <a:pt x="311" y="601"/>
                      <a:pt x="323" y="605"/>
                      <a:pt x="315" y="607"/>
                    </a:cubicBezTo>
                    <a:cubicBezTo>
                      <a:pt x="313" y="609"/>
                      <a:pt x="307" y="612"/>
                      <a:pt x="303" y="613"/>
                    </a:cubicBezTo>
                    <a:cubicBezTo>
                      <a:pt x="299" y="614"/>
                      <a:pt x="294" y="609"/>
                      <a:pt x="293" y="611"/>
                    </a:cubicBezTo>
                    <a:cubicBezTo>
                      <a:pt x="294" y="615"/>
                      <a:pt x="299" y="622"/>
                      <a:pt x="299" y="626"/>
                    </a:cubicBezTo>
                    <a:cubicBezTo>
                      <a:pt x="299" y="630"/>
                      <a:pt x="292" y="623"/>
                      <a:pt x="288" y="623"/>
                    </a:cubicBezTo>
                    <a:cubicBezTo>
                      <a:pt x="283" y="622"/>
                      <a:pt x="275" y="623"/>
                      <a:pt x="267" y="623"/>
                    </a:cubicBezTo>
                    <a:cubicBezTo>
                      <a:pt x="260" y="623"/>
                      <a:pt x="254" y="622"/>
                      <a:pt x="248" y="620"/>
                    </a:cubicBezTo>
                    <a:cubicBezTo>
                      <a:pt x="242" y="618"/>
                      <a:pt x="234" y="613"/>
                      <a:pt x="228" y="611"/>
                    </a:cubicBezTo>
                    <a:cubicBezTo>
                      <a:pt x="222" y="609"/>
                      <a:pt x="216" y="608"/>
                      <a:pt x="210" y="607"/>
                    </a:cubicBezTo>
                    <a:cubicBezTo>
                      <a:pt x="201" y="604"/>
                      <a:pt x="197" y="605"/>
                      <a:pt x="191" y="604"/>
                    </a:cubicBezTo>
                    <a:cubicBezTo>
                      <a:pt x="185" y="603"/>
                      <a:pt x="180" y="600"/>
                      <a:pt x="174" y="599"/>
                    </a:cubicBezTo>
                    <a:cubicBezTo>
                      <a:pt x="165" y="597"/>
                      <a:pt x="163" y="597"/>
                      <a:pt x="156" y="596"/>
                    </a:cubicBezTo>
                    <a:cubicBezTo>
                      <a:pt x="149" y="595"/>
                      <a:pt x="137" y="597"/>
                      <a:pt x="134" y="593"/>
                    </a:cubicBezTo>
                    <a:cubicBezTo>
                      <a:pt x="125" y="591"/>
                      <a:pt x="134" y="579"/>
                      <a:pt x="140" y="575"/>
                    </a:cubicBezTo>
                    <a:cubicBezTo>
                      <a:pt x="137" y="566"/>
                      <a:pt x="129" y="573"/>
                      <a:pt x="120" y="571"/>
                    </a:cubicBezTo>
                    <a:cubicBezTo>
                      <a:pt x="115" y="567"/>
                      <a:pt x="115" y="563"/>
                      <a:pt x="108" y="562"/>
                    </a:cubicBezTo>
                    <a:cubicBezTo>
                      <a:pt x="106" y="562"/>
                      <a:pt x="88" y="566"/>
                      <a:pt x="99" y="560"/>
                    </a:cubicBezTo>
                    <a:cubicBezTo>
                      <a:pt x="102" y="554"/>
                      <a:pt x="101" y="552"/>
                      <a:pt x="107" y="548"/>
                    </a:cubicBezTo>
                    <a:cubicBezTo>
                      <a:pt x="117" y="553"/>
                      <a:pt x="114" y="545"/>
                      <a:pt x="119" y="542"/>
                    </a:cubicBezTo>
                    <a:cubicBezTo>
                      <a:pt x="123" y="540"/>
                      <a:pt x="127" y="541"/>
                      <a:pt x="131" y="541"/>
                    </a:cubicBezTo>
                    <a:cubicBezTo>
                      <a:pt x="136" y="533"/>
                      <a:pt x="131" y="537"/>
                      <a:pt x="125" y="532"/>
                    </a:cubicBezTo>
                    <a:cubicBezTo>
                      <a:pt x="124" y="529"/>
                      <a:pt x="126" y="526"/>
                      <a:pt x="125" y="523"/>
                    </a:cubicBezTo>
                    <a:cubicBezTo>
                      <a:pt x="123" y="518"/>
                      <a:pt x="106" y="512"/>
                      <a:pt x="101" y="511"/>
                    </a:cubicBezTo>
                    <a:cubicBezTo>
                      <a:pt x="76" y="513"/>
                      <a:pt x="91" y="508"/>
                      <a:pt x="78" y="505"/>
                    </a:cubicBezTo>
                    <a:cubicBezTo>
                      <a:pt x="71" y="504"/>
                      <a:pt x="65" y="505"/>
                      <a:pt x="59" y="505"/>
                    </a:cubicBezTo>
                    <a:cubicBezTo>
                      <a:pt x="53" y="505"/>
                      <a:pt x="46" y="504"/>
                      <a:pt x="41" y="505"/>
                    </a:cubicBezTo>
                    <a:cubicBezTo>
                      <a:pt x="33" y="506"/>
                      <a:pt x="34" y="509"/>
                      <a:pt x="30" y="509"/>
                    </a:cubicBezTo>
                    <a:cubicBezTo>
                      <a:pt x="26" y="509"/>
                      <a:pt x="22" y="507"/>
                      <a:pt x="17" y="506"/>
                    </a:cubicBezTo>
                    <a:cubicBezTo>
                      <a:pt x="9" y="503"/>
                      <a:pt x="7" y="509"/>
                      <a:pt x="0" y="505"/>
                    </a:cubicBezTo>
                    <a:cubicBezTo>
                      <a:pt x="1" y="501"/>
                      <a:pt x="9" y="489"/>
                      <a:pt x="2" y="496"/>
                    </a:cubicBezTo>
                    <a:close/>
                  </a:path>
                </a:pathLst>
              </a:custGeom>
              <a:grpFill/>
              <a:ln w="9525" cap="flat" cmpd="sng">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00"/>
              </a:p>
            </p:txBody>
          </p:sp>
          <p:sp>
            <p:nvSpPr>
              <p:cNvPr id="68" name="Freeform 16"/>
              <p:cNvSpPr>
                <a:spLocks/>
              </p:cNvSpPr>
              <p:nvPr>
                <p:custDataLst>
                  <p:tags r:id="rId12"/>
                </p:custDataLst>
              </p:nvPr>
            </p:nvSpPr>
            <p:spPr bwMode="gray">
              <a:xfrm>
                <a:off x="3071656" y="2393630"/>
                <a:ext cx="990695" cy="1016731"/>
              </a:xfrm>
              <a:custGeom>
                <a:avLst/>
                <a:gdLst>
                  <a:gd name="T0" fmla="*/ 183 w 633"/>
                  <a:gd name="T1" fmla="*/ 613 h 648"/>
                  <a:gd name="T2" fmla="*/ 137 w 633"/>
                  <a:gd name="T3" fmla="*/ 585 h 648"/>
                  <a:gd name="T4" fmla="*/ 77 w 633"/>
                  <a:gd name="T5" fmla="*/ 584 h 648"/>
                  <a:gd name="T6" fmla="*/ 32 w 633"/>
                  <a:gd name="T7" fmla="*/ 567 h 648"/>
                  <a:gd name="T8" fmla="*/ 0 w 633"/>
                  <a:gd name="T9" fmla="*/ 536 h 648"/>
                  <a:gd name="T10" fmla="*/ 32 w 633"/>
                  <a:gd name="T11" fmla="*/ 516 h 648"/>
                  <a:gd name="T12" fmla="*/ 56 w 633"/>
                  <a:gd name="T13" fmla="*/ 495 h 648"/>
                  <a:gd name="T14" fmla="*/ 63 w 633"/>
                  <a:gd name="T15" fmla="*/ 471 h 648"/>
                  <a:gd name="T16" fmla="*/ 65 w 633"/>
                  <a:gd name="T17" fmla="*/ 437 h 648"/>
                  <a:gd name="T18" fmla="*/ 89 w 633"/>
                  <a:gd name="T19" fmla="*/ 405 h 648"/>
                  <a:gd name="T20" fmla="*/ 111 w 633"/>
                  <a:gd name="T21" fmla="*/ 386 h 648"/>
                  <a:gd name="T22" fmla="*/ 81 w 633"/>
                  <a:gd name="T23" fmla="*/ 344 h 648"/>
                  <a:gd name="T24" fmla="*/ 53 w 633"/>
                  <a:gd name="T25" fmla="*/ 326 h 648"/>
                  <a:gd name="T26" fmla="*/ 35 w 633"/>
                  <a:gd name="T27" fmla="*/ 287 h 648"/>
                  <a:gd name="T28" fmla="*/ 68 w 633"/>
                  <a:gd name="T29" fmla="*/ 261 h 648"/>
                  <a:gd name="T30" fmla="*/ 105 w 633"/>
                  <a:gd name="T31" fmla="*/ 239 h 648"/>
                  <a:gd name="T32" fmla="*/ 147 w 633"/>
                  <a:gd name="T33" fmla="*/ 213 h 648"/>
                  <a:gd name="T34" fmla="*/ 150 w 633"/>
                  <a:gd name="T35" fmla="*/ 180 h 648"/>
                  <a:gd name="T36" fmla="*/ 159 w 633"/>
                  <a:gd name="T37" fmla="*/ 143 h 648"/>
                  <a:gd name="T38" fmla="*/ 159 w 633"/>
                  <a:gd name="T39" fmla="*/ 113 h 648"/>
                  <a:gd name="T40" fmla="*/ 212 w 633"/>
                  <a:gd name="T41" fmla="*/ 92 h 648"/>
                  <a:gd name="T42" fmla="*/ 263 w 633"/>
                  <a:gd name="T43" fmla="*/ 74 h 648"/>
                  <a:gd name="T44" fmla="*/ 290 w 633"/>
                  <a:gd name="T45" fmla="*/ 74 h 648"/>
                  <a:gd name="T46" fmla="*/ 333 w 633"/>
                  <a:gd name="T47" fmla="*/ 75 h 648"/>
                  <a:gd name="T48" fmla="*/ 374 w 633"/>
                  <a:gd name="T49" fmla="*/ 62 h 648"/>
                  <a:gd name="T50" fmla="*/ 485 w 633"/>
                  <a:gd name="T51" fmla="*/ 83 h 648"/>
                  <a:gd name="T52" fmla="*/ 497 w 633"/>
                  <a:gd name="T53" fmla="*/ 6 h 648"/>
                  <a:gd name="T54" fmla="*/ 531 w 633"/>
                  <a:gd name="T55" fmla="*/ 11 h 648"/>
                  <a:gd name="T56" fmla="*/ 629 w 633"/>
                  <a:gd name="T57" fmla="*/ 12 h 648"/>
                  <a:gd name="T58" fmla="*/ 602 w 633"/>
                  <a:gd name="T59" fmla="*/ 92 h 648"/>
                  <a:gd name="T60" fmla="*/ 576 w 633"/>
                  <a:gd name="T61" fmla="*/ 164 h 648"/>
                  <a:gd name="T62" fmla="*/ 570 w 633"/>
                  <a:gd name="T63" fmla="*/ 207 h 648"/>
                  <a:gd name="T64" fmla="*/ 549 w 633"/>
                  <a:gd name="T65" fmla="*/ 245 h 648"/>
                  <a:gd name="T66" fmla="*/ 524 w 633"/>
                  <a:gd name="T67" fmla="*/ 285 h 648"/>
                  <a:gd name="T68" fmla="*/ 473 w 633"/>
                  <a:gd name="T69" fmla="*/ 318 h 648"/>
                  <a:gd name="T70" fmla="*/ 447 w 633"/>
                  <a:gd name="T71" fmla="*/ 329 h 648"/>
                  <a:gd name="T72" fmla="*/ 413 w 633"/>
                  <a:gd name="T73" fmla="*/ 362 h 648"/>
                  <a:gd name="T74" fmla="*/ 381 w 633"/>
                  <a:gd name="T75" fmla="*/ 389 h 648"/>
                  <a:gd name="T76" fmla="*/ 348 w 633"/>
                  <a:gd name="T77" fmla="*/ 434 h 648"/>
                  <a:gd name="T78" fmla="*/ 336 w 633"/>
                  <a:gd name="T79" fmla="*/ 455 h 648"/>
                  <a:gd name="T80" fmla="*/ 330 w 633"/>
                  <a:gd name="T81" fmla="*/ 474 h 648"/>
                  <a:gd name="T82" fmla="*/ 293 w 633"/>
                  <a:gd name="T83" fmla="*/ 527 h 648"/>
                  <a:gd name="T84" fmla="*/ 258 w 633"/>
                  <a:gd name="T85" fmla="*/ 578 h 648"/>
                  <a:gd name="T86" fmla="*/ 207 w 633"/>
                  <a:gd name="T87" fmla="*/ 641 h 64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3" h="648">
                    <a:moveTo>
                      <a:pt x="204" y="647"/>
                    </a:moveTo>
                    <a:cubicBezTo>
                      <a:pt x="203" y="639"/>
                      <a:pt x="200" y="641"/>
                      <a:pt x="195" y="635"/>
                    </a:cubicBezTo>
                    <a:cubicBezTo>
                      <a:pt x="200" y="622"/>
                      <a:pt x="197" y="615"/>
                      <a:pt x="183" y="613"/>
                    </a:cubicBezTo>
                    <a:cubicBezTo>
                      <a:pt x="174" y="610"/>
                      <a:pt x="177" y="597"/>
                      <a:pt x="167" y="594"/>
                    </a:cubicBezTo>
                    <a:cubicBezTo>
                      <a:pt x="163" y="593"/>
                      <a:pt x="160" y="593"/>
                      <a:pt x="156" y="593"/>
                    </a:cubicBezTo>
                    <a:cubicBezTo>
                      <a:pt x="150" y="592"/>
                      <a:pt x="144" y="586"/>
                      <a:pt x="137" y="585"/>
                    </a:cubicBezTo>
                    <a:cubicBezTo>
                      <a:pt x="130" y="584"/>
                      <a:pt x="122" y="586"/>
                      <a:pt x="116" y="585"/>
                    </a:cubicBezTo>
                    <a:cubicBezTo>
                      <a:pt x="109" y="584"/>
                      <a:pt x="107" y="581"/>
                      <a:pt x="101" y="578"/>
                    </a:cubicBezTo>
                    <a:cubicBezTo>
                      <a:pt x="78" y="581"/>
                      <a:pt x="89" y="578"/>
                      <a:pt x="77" y="584"/>
                    </a:cubicBezTo>
                    <a:cubicBezTo>
                      <a:pt x="66" y="577"/>
                      <a:pt x="68" y="575"/>
                      <a:pt x="51" y="573"/>
                    </a:cubicBezTo>
                    <a:cubicBezTo>
                      <a:pt x="43" y="567"/>
                      <a:pt x="48" y="562"/>
                      <a:pt x="36" y="560"/>
                    </a:cubicBezTo>
                    <a:cubicBezTo>
                      <a:pt x="32" y="558"/>
                      <a:pt x="36" y="566"/>
                      <a:pt x="32" y="567"/>
                    </a:cubicBezTo>
                    <a:cubicBezTo>
                      <a:pt x="28" y="568"/>
                      <a:pt x="18" y="570"/>
                      <a:pt x="14" y="569"/>
                    </a:cubicBezTo>
                    <a:cubicBezTo>
                      <a:pt x="12" y="563"/>
                      <a:pt x="10" y="561"/>
                      <a:pt x="5" y="558"/>
                    </a:cubicBezTo>
                    <a:cubicBezTo>
                      <a:pt x="7" y="532"/>
                      <a:pt x="7" y="549"/>
                      <a:pt x="0" y="536"/>
                    </a:cubicBezTo>
                    <a:cubicBezTo>
                      <a:pt x="3" y="526"/>
                      <a:pt x="4" y="526"/>
                      <a:pt x="14" y="528"/>
                    </a:cubicBezTo>
                    <a:cubicBezTo>
                      <a:pt x="24" y="533"/>
                      <a:pt x="21" y="523"/>
                      <a:pt x="29" y="521"/>
                    </a:cubicBezTo>
                    <a:cubicBezTo>
                      <a:pt x="30" y="519"/>
                      <a:pt x="30" y="517"/>
                      <a:pt x="32" y="516"/>
                    </a:cubicBezTo>
                    <a:cubicBezTo>
                      <a:pt x="34" y="515"/>
                      <a:pt x="36" y="516"/>
                      <a:pt x="38" y="515"/>
                    </a:cubicBezTo>
                    <a:cubicBezTo>
                      <a:pt x="40" y="513"/>
                      <a:pt x="48" y="510"/>
                      <a:pt x="51" y="507"/>
                    </a:cubicBezTo>
                    <a:cubicBezTo>
                      <a:pt x="54" y="504"/>
                      <a:pt x="57" y="499"/>
                      <a:pt x="56" y="495"/>
                    </a:cubicBezTo>
                    <a:cubicBezTo>
                      <a:pt x="57" y="488"/>
                      <a:pt x="52" y="489"/>
                      <a:pt x="45" y="485"/>
                    </a:cubicBezTo>
                    <a:cubicBezTo>
                      <a:pt x="40" y="478"/>
                      <a:pt x="49" y="483"/>
                      <a:pt x="56" y="482"/>
                    </a:cubicBezTo>
                    <a:cubicBezTo>
                      <a:pt x="58" y="473"/>
                      <a:pt x="61" y="480"/>
                      <a:pt x="63" y="471"/>
                    </a:cubicBezTo>
                    <a:cubicBezTo>
                      <a:pt x="64" y="467"/>
                      <a:pt x="59" y="463"/>
                      <a:pt x="59" y="459"/>
                    </a:cubicBezTo>
                    <a:cubicBezTo>
                      <a:pt x="59" y="455"/>
                      <a:pt x="61" y="453"/>
                      <a:pt x="62" y="449"/>
                    </a:cubicBezTo>
                    <a:cubicBezTo>
                      <a:pt x="63" y="445"/>
                      <a:pt x="62" y="440"/>
                      <a:pt x="65" y="437"/>
                    </a:cubicBezTo>
                    <a:cubicBezTo>
                      <a:pt x="76" y="432"/>
                      <a:pt x="62" y="432"/>
                      <a:pt x="78" y="428"/>
                    </a:cubicBezTo>
                    <a:cubicBezTo>
                      <a:pt x="81" y="424"/>
                      <a:pt x="87" y="424"/>
                      <a:pt x="89" y="420"/>
                    </a:cubicBezTo>
                    <a:cubicBezTo>
                      <a:pt x="91" y="416"/>
                      <a:pt x="87" y="407"/>
                      <a:pt x="89" y="405"/>
                    </a:cubicBezTo>
                    <a:cubicBezTo>
                      <a:pt x="91" y="403"/>
                      <a:pt x="96" y="407"/>
                      <a:pt x="99" y="405"/>
                    </a:cubicBezTo>
                    <a:cubicBezTo>
                      <a:pt x="102" y="399"/>
                      <a:pt x="101" y="397"/>
                      <a:pt x="107" y="393"/>
                    </a:cubicBezTo>
                    <a:cubicBezTo>
                      <a:pt x="108" y="389"/>
                      <a:pt x="111" y="389"/>
                      <a:pt x="111" y="386"/>
                    </a:cubicBezTo>
                    <a:cubicBezTo>
                      <a:pt x="111" y="383"/>
                      <a:pt x="111" y="380"/>
                      <a:pt x="108" y="375"/>
                    </a:cubicBezTo>
                    <a:cubicBezTo>
                      <a:pt x="105" y="370"/>
                      <a:pt x="99" y="361"/>
                      <a:pt x="95" y="356"/>
                    </a:cubicBezTo>
                    <a:cubicBezTo>
                      <a:pt x="91" y="335"/>
                      <a:pt x="98" y="352"/>
                      <a:pt x="81" y="344"/>
                    </a:cubicBezTo>
                    <a:cubicBezTo>
                      <a:pt x="79" y="343"/>
                      <a:pt x="81" y="340"/>
                      <a:pt x="80" y="339"/>
                    </a:cubicBezTo>
                    <a:cubicBezTo>
                      <a:pt x="79" y="338"/>
                      <a:pt x="77" y="338"/>
                      <a:pt x="75" y="338"/>
                    </a:cubicBezTo>
                    <a:cubicBezTo>
                      <a:pt x="67" y="334"/>
                      <a:pt x="60" y="331"/>
                      <a:pt x="53" y="326"/>
                    </a:cubicBezTo>
                    <a:cubicBezTo>
                      <a:pt x="49" y="320"/>
                      <a:pt x="46" y="318"/>
                      <a:pt x="39" y="315"/>
                    </a:cubicBezTo>
                    <a:cubicBezTo>
                      <a:pt x="38" y="307"/>
                      <a:pt x="36" y="301"/>
                      <a:pt x="27" y="299"/>
                    </a:cubicBezTo>
                    <a:cubicBezTo>
                      <a:pt x="29" y="294"/>
                      <a:pt x="32" y="292"/>
                      <a:pt x="35" y="287"/>
                    </a:cubicBezTo>
                    <a:cubicBezTo>
                      <a:pt x="38" y="283"/>
                      <a:pt x="38" y="272"/>
                      <a:pt x="42" y="269"/>
                    </a:cubicBezTo>
                    <a:cubicBezTo>
                      <a:pt x="45" y="265"/>
                      <a:pt x="52" y="265"/>
                      <a:pt x="56" y="264"/>
                    </a:cubicBezTo>
                    <a:cubicBezTo>
                      <a:pt x="61" y="263"/>
                      <a:pt x="64" y="261"/>
                      <a:pt x="68" y="261"/>
                    </a:cubicBezTo>
                    <a:cubicBezTo>
                      <a:pt x="72" y="260"/>
                      <a:pt x="74" y="263"/>
                      <a:pt x="78" y="260"/>
                    </a:cubicBezTo>
                    <a:cubicBezTo>
                      <a:pt x="80" y="249"/>
                      <a:pt x="83" y="248"/>
                      <a:pt x="93" y="246"/>
                    </a:cubicBezTo>
                    <a:cubicBezTo>
                      <a:pt x="98" y="244"/>
                      <a:pt x="100" y="242"/>
                      <a:pt x="105" y="239"/>
                    </a:cubicBezTo>
                    <a:cubicBezTo>
                      <a:pt x="110" y="236"/>
                      <a:pt x="120" y="224"/>
                      <a:pt x="125" y="222"/>
                    </a:cubicBezTo>
                    <a:cubicBezTo>
                      <a:pt x="130" y="220"/>
                      <a:pt x="133" y="226"/>
                      <a:pt x="137" y="224"/>
                    </a:cubicBezTo>
                    <a:cubicBezTo>
                      <a:pt x="138" y="213"/>
                      <a:pt x="139" y="217"/>
                      <a:pt x="147" y="213"/>
                    </a:cubicBezTo>
                    <a:cubicBezTo>
                      <a:pt x="151" y="208"/>
                      <a:pt x="150" y="206"/>
                      <a:pt x="147" y="200"/>
                    </a:cubicBezTo>
                    <a:cubicBezTo>
                      <a:pt x="146" y="195"/>
                      <a:pt x="142" y="193"/>
                      <a:pt x="141" y="188"/>
                    </a:cubicBezTo>
                    <a:cubicBezTo>
                      <a:pt x="141" y="184"/>
                      <a:pt x="149" y="183"/>
                      <a:pt x="150" y="180"/>
                    </a:cubicBezTo>
                    <a:cubicBezTo>
                      <a:pt x="151" y="177"/>
                      <a:pt x="149" y="174"/>
                      <a:pt x="150" y="171"/>
                    </a:cubicBezTo>
                    <a:cubicBezTo>
                      <a:pt x="151" y="168"/>
                      <a:pt x="155" y="164"/>
                      <a:pt x="156" y="159"/>
                    </a:cubicBezTo>
                    <a:cubicBezTo>
                      <a:pt x="158" y="152"/>
                      <a:pt x="159" y="148"/>
                      <a:pt x="159" y="143"/>
                    </a:cubicBezTo>
                    <a:cubicBezTo>
                      <a:pt x="159" y="138"/>
                      <a:pt x="153" y="134"/>
                      <a:pt x="155" y="131"/>
                    </a:cubicBezTo>
                    <a:cubicBezTo>
                      <a:pt x="157" y="128"/>
                      <a:pt x="169" y="126"/>
                      <a:pt x="170" y="123"/>
                    </a:cubicBezTo>
                    <a:cubicBezTo>
                      <a:pt x="166" y="118"/>
                      <a:pt x="166" y="114"/>
                      <a:pt x="159" y="113"/>
                    </a:cubicBezTo>
                    <a:cubicBezTo>
                      <a:pt x="162" y="103"/>
                      <a:pt x="165" y="100"/>
                      <a:pt x="176" y="99"/>
                    </a:cubicBezTo>
                    <a:cubicBezTo>
                      <a:pt x="182" y="96"/>
                      <a:pt x="182" y="90"/>
                      <a:pt x="189" y="89"/>
                    </a:cubicBezTo>
                    <a:cubicBezTo>
                      <a:pt x="197" y="87"/>
                      <a:pt x="212" y="92"/>
                      <a:pt x="212" y="92"/>
                    </a:cubicBezTo>
                    <a:cubicBezTo>
                      <a:pt x="219" y="88"/>
                      <a:pt x="219" y="94"/>
                      <a:pt x="227" y="90"/>
                    </a:cubicBezTo>
                    <a:cubicBezTo>
                      <a:pt x="233" y="82"/>
                      <a:pt x="236" y="79"/>
                      <a:pt x="246" y="77"/>
                    </a:cubicBezTo>
                    <a:cubicBezTo>
                      <a:pt x="251" y="75"/>
                      <a:pt x="257" y="73"/>
                      <a:pt x="263" y="74"/>
                    </a:cubicBezTo>
                    <a:cubicBezTo>
                      <a:pt x="267" y="74"/>
                      <a:pt x="266" y="79"/>
                      <a:pt x="269" y="80"/>
                    </a:cubicBezTo>
                    <a:cubicBezTo>
                      <a:pt x="272" y="81"/>
                      <a:pt x="280" y="84"/>
                      <a:pt x="284" y="83"/>
                    </a:cubicBezTo>
                    <a:cubicBezTo>
                      <a:pt x="290" y="84"/>
                      <a:pt x="285" y="75"/>
                      <a:pt x="290" y="74"/>
                    </a:cubicBezTo>
                    <a:cubicBezTo>
                      <a:pt x="295" y="73"/>
                      <a:pt x="309" y="76"/>
                      <a:pt x="315" y="78"/>
                    </a:cubicBezTo>
                    <a:cubicBezTo>
                      <a:pt x="318" y="86"/>
                      <a:pt x="319" y="80"/>
                      <a:pt x="326" y="84"/>
                    </a:cubicBezTo>
                    <a:cubicBezTo>
                      <a:pt x="329" y="85"/>
                      <a:pt x="331" y="75"/>
                      <a:pt x="333" y="75"/>
                    </a:cubicBezTo>
                    <a:cubicBezTo>
                      <a:pt x="336" y="75"/>
                      <a:pt x="339" y="86"/>
                      <a:pt x="344" y="86"/>
                    </a:cubicBezTo>
                    <a:cubicBezTo>
                      <a:pt x="355" y="84"/>
                      <a:pt x="355" y="79"/>
                      <a:pt x="365" y="77"/>
                    </a:cubicBezTo>
                    <a:cubicBezTo>
                      <a:pt x="367" y="69"/>
                      <a:pt x="366" y="64"/>
                      <a:pt x="374" y="62"/>
                    </a:cubicBezTo>
                    <a:cubicBezTo>
                      <a:pt x="387" y="63"/>
                      <a:pt x="388" y="67"/>
                      <a:pt x="398" y="69"/>
                    </a:cubicBezTo>
                    <a:cubicBezTo>
                      <a:pt x="404" y="72"/>
                      <a:pt x="412" y="76"/>
                      <a:pt x="419" y="77"/>
                    </a:cubicBezTo>
                    <a:cubicBezTo>
                      <a:pt x="440" y="88"/>
                      <a:pt x="463" y="74"/>
                      <a:pt x="485" y="83"/>
                    </a:cubicBezTo>
                    <a:cubicBezTo>
                      <a:pt x="498" y="81"/>
                      <a:pt x="489" y="68"/>
                      <a:pt x="491" y="62"/>
                    </a:cubicBezTo>
                    <a:cubicBezTo>
                      <a:pt x="493" y="56"/>
                      <a:pt x="494" y="54"/>
                      <a:pt x="495" y="45"/>
                    </a:cubicBezTo>
                    <a:cubicBezTo>
                      <a:pt x="497" y="37"/>
                      <a:pt x="494" y="12"/>
                      <a:pt x="497" y="6"/>
                    </a:cubicBezTo>
                    <a:cubicBezTo>
                      <a:pt x="499" y="0"/>
                      <a:pt x="504" y="8"/>
                      <a:pt x="507" y="8"/>
                    </a:cubicBezTo>
                    <a:cubicBezTo>
                      <a:pt x="510" y="8"/>
                      <a:pt x="512" y="4"/>
                      <a:pt x="516" y="5"/>
                    </a:cubicBezTo>
                    <a:cubicBezTo>
                      <a:pt x="522" y="11"/>
                      <a:pt x="524" y="10"/>
                      <a:pt x="531" y="11"/>
                    </a:cubicBezTo>
                    <a:cubicBezTo>
                      <a:pt x="538" y="12"/>
                      <a:pt x="550" y="12"/>
                      <a:pt x="561" y="12"/>
                    </a:cubicBezTo>
                    <a:cubicBezTo>
                      <a:pt x="572" y="12"/>
                      <a:pt x="588" y="9"/>
                      <a:pt x="599" y="9"/>
                    </a:cubicBezTo>
                    <a:cubicBezTo>
                      <a:pt x="609" y="10"/>
                      <a:pt x="625" y="7"/>
                      <a:pt x="629" y="12"/>
                    </a:cubicBezTo>
                    <a:cubicBezTo>
                      <a:pt x="633" y="17"/>
                      <a:pt x="624" y="31"/>
                      <a:pt x="621" y="39"/>
                    </a:cubicBezTo>
                    <a:cubicBezTo>
                      <a:pt x="620" y="56"/>
                      <a:pt x="624" y="54"/>
                      <a:pt x="612" y="63"/>
                    </a:cubicBezTo>
                    <a:cubicBezTo>
                      <a:pt x="609" y="72"/>
                      <a:pt x="607" y="84"/>
                      <a:pt x="602" y="92"/>
                    </a:cubicBezTo>
                    <a:cubicBezTo>
                      <a:pt x="599" y="101"/>
                      <a:pt x="599" y="106"/>
                      <a:pt x="591" y="111"/>
                    </a:cubicBezTo>
                    <a:cubicBezTo>
                      <a:pt x="588" y="125"/>
                      <a:pt x="595" y="112"/>
                      <a:pt x="587" y="125"/>
                    </a:cubicBezTo>
                    <a:cubicBezTo>
                      <a:pt x="582" y="134"/>
                      <a:pt x="581" y="150"/>
                      <a:pt x="576" y="164"/>
                    </a:cubicBezTo>
                    <a:cubicBezTo>
                      <a:pt x="574" y="173"/>
                      <a:pt x="576" y="166"/>
                      <a:pt x="575" y="173"/>
                    </a:cubicBezTo>
                    <a:cubicBezTo>
                      <a:pt x="575" y="178"/>
                      <a:pt x="576" y="186"/>
                      <a:pt x="575" y="192"/>
                    </a:cubicBezTo>
                    <a:cubicBezTo>
                      <a:pt x="574" y="198"/>
                      <a:pt x="572" y="203"/>
                      <a:pt x="570" y="207"/>
                    </a:cubicBezTo>
                    <a:cubicBezTo>
                      <a:pt x="569" y="210"/>
                      <a:pt x="566" y="213"/>
                      <a:pt x="563" y="215"/>
                    </a:cubicBezTo>
                    <a:cubicBezTo>
                      <a:pt x="561" y="219"/>
                      <a:pt x="557" y="228"/>
                      <a:pt x="555" y="233"/>
                    </a:cubicBezTo>
                    <a:cubicBezTo>
                      <a:pt x="553" y="238"/>
                      <a:pt x="551" y="239"/>
                      <a:pt x="549" y="245"/>
                    </a:cubicBezTo>
                    <a:cubicBezTo>
                      <a:pt x="548" y="254"/>
                      <a:pt x="544" y="259"/>
                      <a:pt x="540" y="267"/>
                    </a:cubicBezTo>
                    <a:cubicBezTo>
                      <a:pt x="538" y="275"/>
                      <a:pt x="534" y="272"/>
                      <a:pt x="528" y="276"/>
                    </a:cubicBezTo>
                    <a:cubicBezTo>
                      <a:pt x="527" y="279"/>
                      <a:pt x="527" y="284"/>
                      <a:pt x="524" y="285"/>
                    </a:cubicBezTo>
                    <a:cubicBezTo>
                      <a:pt x="520" y="287"/>
                      <a:pt x="510" y="288"/>
                      <a:pt x="510" y="288"/>
                    </a:cubicBezTo>
                    <a:cubicBezTo>
                      <a:pt x="508" y="300"/>
                      <a:pt x="502" y="303"/>
                      <a:pt x="492" y="309"/>
                    </a:cubicBezTo>
                    <a:cubicBezTo>
                      <a:pt x="490" y="317"/>
                      <a:pt x="481" y="317"/>
                      <a:pt x="473" y="318"/>
                    </a:cubicBezTo>
                    <a:cubicBezTo>
                      <a:pt x="467" y="320"/>
                      <a:pt x="463" y="324"/>
                      <a:pt x="459" y="324"/>
                    </a:cubicBezTo>
                    <a:cubicBezTo>
                      <a:pt x="455" y="324"/>
                      <a:pt x="449" y="320"/>
                      <a:pt x="447" y="321"/>
                    </a:cubicBezTo>
                    <a:cubicBezTo>
                      <a:pt x="443" y="323"/>
                      <a:pt x="448" y="326"/>
                      <a:pt x="447" y="329"/>
                    </a:cubicBezTo>
                    <a:cubicBezTo>
                      <a:pt x="446" y="332"/>
                      <a:pt x="442" y="335"/>
                      <a:pt x="438" y="339"/>
                    </a:cubicBezTo>
                    <a:cubicBezTo>
                      <a:pt x="433" y="347"/>
                      <a:pt x="432" y="350"/>
                      <a:pt x="423" y="351"/>
                    </a:cubicBezTo>
                    <a:cubicBezTo>
                      <a:pt x="420" y="358"/>
                      <a:pt x="421" y="360"/>
                      <a:pt x="413" y="362"/>
                    </a:cubicBezTo>
                    <a:cubicBezTo>
                      <a:pt x="405" y="366"/>
                      <a:pt x="406" y="354"/>
                      <a:pt x="398" y="362"/>
                    </a:cubicBezTo>
                    <a:cubicBezTo>
                      <a:pt x="395" y="364"/>
                      <a:pt x="404" y="370"/>
                      <a:pt x="401" y="374"/>
                    </a:cubicBezTo>
                    <a:cubicBezTo>
                      <a:pt x="398" y="378"/>
                      <a:pt x="386" y="384"/>
                      <a:pt x="381" y="389"/>
                    </a:cubicBezTo>
                    <a:cubicBezTo>
                      <a:pt x="379" y="398"/>
                      <a:pt x="377" y="404"/>
                      <a:pt x="369" y="407"/>
                    </a:cubicBezTo>
                    <a:cubicBezTo>
                      <a:pt x="368" y="414"/>
                      <a:pt x="367" y="422"/>
                      <a:pt x="360" y="423"/>
                    </a:cubicBezTo>
                    <a:cubicBezTo>
                      <a:pt x="355" y="427"/>
                      <a:pt x="353" y="431"/>
                      <a:pt x="348" y="434"/>
                    </a:cubicBezTo>
                    <a:cubicBezTo>
                      <a:pt x="345" y="441"/>
                      <a:pt x="343" y="439"/>
                      <a:pt x="341" y="447"/>
                    </a:cubicBezTo>
                    <a:cubicBezTo>
                      <a:pt x="338" y="450"/>
                      <a:pt x="327" y="449"/>
                      <a:pt x="327" y="452"/>
                    </a:cubicBezTo>
                    <a:cubicBezTo>
                      <a:pt x="326" y="453"/>
                      <a:pt x="334" y="453"/>
                      <a:pt x="336" y="455"/>
                    </a:cubicBezTo>
                    <a:cubicBezTo>
                      <a:pt x="338" y="457"/>
                      <a:pt x="340" y="460"/>
                      <a:pt x="339" y="462"/>
                    </a:cubicBezTo>
                    <a:cubicBezTo>
                      <a:pt x="335" y="468"/>
                      <a:pt x="335" y="468"/>
                      <a:pt x="329" y="465"/>
                    </a:cubicBezTo>
                    <a:cubicBezTo>
                      <a:pt x="327" y="467"/>
                      <a:pt x="332" y="471"/>
                      <a:pt x="330" y="474"/>
                    </a:cubicBezTo>
                    <a:cubicBezTo>
                      <a:pt x="328" y="477"/>
                      <a:pt x="321" y="480"/>
                      <a:pt x="317" y="485"/>
                    </a:cubicBezTo>
                    <a:cubicBezTo>
                      <a:pt x="314" y="493"/>
                      <a:pt x="312" y="499"/>
                      <a:pt x="305" y="504"/>
                    </a:cubicBezTo>
                    <a:cubicBezTo>
                      <a:pt x="300" y="512"/>
                      <a:pt x="302" y="522"/>
                      <a:pt x="293" y="527"/>
                    </a:cubicBezTo>
                    <a:cubicBezTo>
                      <a:pt x="289" y="534"/>
                      <a:pt x="283" y="538"/>
                      <a:pt x="279" y="543"/>
                    </a:cubicBezTo>
                    <a:cubicBezTo>
                      <a:pt x="275" y="548"/>
                      <a:pt x="273" y="554"/>
                      <a:pt x="270" y="560"/>
                    </a:cubicBezTo>
                    <a:cubicBezTo>
                      <a:pt x="268" y="571"/>
                      <a:pt x="270" y="576"/>
                      <a:pt x="258" y="578"/>
                    </a:cubicBezTo>
                    <a:cubicBezTo>
                      <a:pt x="251" y="582"/>
                      <a:pt x="249" y="589"/>
                      <a:pt x="246" y="596"/>
                    </a:cubicBezTo>
                    <a:cubicBezTo>
                      <a:pt x="244" y="605"/>
                      <a:pt x="236" y="612"/>
                      <a:pt x="228" y="617"/>
                    </a:cubicBezTo>
                    <a:cubicBezTo>
                      <a:pt x="226" y="629"/>
                      <a:pt x="217" y="635"/>
                      <a:pt x="207" y="641"/>
                    </a:cubicBezTo>
                    <a:cubicBezTo>
                      <a:pt x="206" y="648"/>
                      <a:pt x="208" y="647"/>
                      <a:pt x="204" y="647"/>
                    </a:cubicBezTo>
                    <a:close/>
                  </a:path>
                </a:pathLst>
              </a:custGeom>
              <a:grpFill/>
              <a:ln w="9525" cap="flat" cmpd="sng">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sz="1200"/>
              </a:p>
            </p:txBody>
          </p:sp>
        </p:grpSp>
        <p:sp>
          <p:nvSpPr>
            <p:cNvPr id="28" name="AutoShape 250"/>
            <p:cNvSpPr>
              <a:spLocks noChangeArrowheads="1"/>
            </p:cNvSpPr>
            <p:nvPr/>
          </p:nvSpPr>
          <p:spPr bwMode="auto">
            <a:xfrm>
              <a:off x="2472588" y="1326398"/>
              <a:ext cx="2620194" cy="387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GB" sz="1200" dirty="0">
                  <a:solidFill>
                    <a:srgbClr val="000000"/>
                  </a:solidFill>
                  <a:ea typeface="Arial Unicode MS" panose="020B0604020202020204" pitchFamily="34" charset="-128"/>
                  <a:cs typeface="Arial Unicode MS" panose="020B0604020202020204" pitchFamily="34" charset="-128"/>
                </a:rPr>
                <a:t>Identify and prioritize </a:t>
              </a:r>
              <a:r>
                <a:rPr lang="en-GB" sz="1200" b="1" dirty="0">
                  <a:solidFill>
                    <a:srgbClr val="0B4623"/>
                  </a:solidFill>
                  <a:ea typeface="Arial Unicode MS" panose="020B0604020202020204" pitchFamily="34" charset="-128"/>
                  <a:cs typeface="Arial Unicode MS" panose="020B0604020202020204" pitchFamily="34" charset="-128"/>
                </a:rPr>
                <a:t>10m Ha for transformation</a:t>
              </a:r>
              <a:r>
                <a:rPr lang="en-GB" sz="1200" dirty="0">
                  <a:solidFill>
                    <a:srgbClr val="000000"/>
                  </a:solidFill>
                  <a:ea typeface="Arial Unicode MS" panose="020B0604020202020204" pitchFamily="34" charset="-128"/>
                  <a:cs typeface="Arial Unicode MS" panose="020B0604020202020204" pitchFamily="34" charset="-128"/>
                </a:rPr>
                <a:t> of wildlife economy</a:t>
              </a:r>
              <a:endParaRPr lang="en-GB" sz="1200" dirty="0">
                <a:ea typeface="Arial Unicode MS" panose="020B0604020202020204" pitchFamily="34" charset="-128"/>
                <a:cs typeface="Arial Unicode MS" panose="020B0604020202020204" pitchFamily="34" charset="-128"/>
              </a:endParaRPr>
            </a:p>
          </p:txBody>
        </p:sp>
        <p:sp>
          <p:nvSpPr>
            <p:cNvPr id="39" name="Marvin Title Tracker Circle"/>
            <p:cNvSpPr/>
            <p:nvPr/>
          </p:nvSpPr>
          <p:spPr>
            <a:xfrm>
              <a:off x="513689" y="1343269"/>
              <a:ext cx="354056" cy="35405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200" b="1" dirty="0">
                  <a:solidFill>
                    <a:schemeClr val="bg1"/>
                  </a:solidFill>
                  <a:latin typeface="Arial" panose="020B0604020202020204" pitchFamily="34" charset="0"/>
                </a:rPr>
                <a:t>1</a:t>
              </a:r>
            </a:p>
          </p:txBody>
        </p:sp>
        <p:sp>
          <p:nvSpPr>
            <p:cNvPr id="54" name="AutoShape 250"/>
            <p:cNvSpPr>
              <a:spLocks noChangeArrowheads="1"/>
            </p:cNvSpPr>
            <p:nvPr/>
          </p:nvSpPr>
          <p:spPr bwMode="auto">
            <a:xfrm>
              <a:off x="5348507" y="1418731"/>
              <a:ext cx="561787" cy="203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GB" sz="1200" dirty="0">
                  <a:solidFill>
                    <a:srgbClr val="000000"/>
                  </a:solidFill>
                  <a:ea typeface="Arial Unicode MS" panose="020B0604020202020204" pitchFamily="34" charset="-128"/>
                  <a:cs typeface="Arial Unicode MS" panose="020B0604020202020204" pitchFamily="34" charset="-128"/>
                </a:rPr>
                <a:t>2018</a:t>
              </a:r>
              <a:endParaRPr lang="en-GB" sz="1200" dirty="0">
                <a:ea typeface="Arial Unicode MS" panose="020B0604020202020204" pitchFamily="34" charset="-128"/>
                <a:cs typeface="Arial Unicode MS" panose="020B0604020202020204" pitchFamily="34" charset="-128"/>
              </a:endParaRPr>
            </a:p>
          </p:txBody>
        </p:sp>
        <p:sp>
          <p:nvSpPr>
            <p:cNvPr id="69" name="AutoShape 250"/>
            <p:cNvSpPr>
              <a:spLocks noChangeArrowheads="1"/>
            </p:cNvSpPr>
            <p:nvPr/>
          </p:nvSpPr>
          <p:spPr bwMode="auto">
            <a:xfrm>
              <a:off x="6887142" y="1326398"/>
              <a:ext cx="1663405" cy="387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171450" indent="-171450">
                <a:buFont typeface="Wingdings" panose="05000000000000000000" pitchFamily="2" charset="2"/>
                <a:buChar char="§"/>
              </a:pPr>
              <a:r>
                <a:rPr lang="en-GB" sz="1200" dirty="0">
                  <a:ea typeface="Arial Unicode MS" panose="020B0604020202020204" pitchFamily="34" charset="-128"/>
                  <a:cs typeface="Arial Unicode MS" panose="020B0604020202020204" pitchFamily="34" charset="-128"/>
                </a:rPr>
                <a:t>10m ha land mapped and prioritised</a:t>
              </a:r>
            </a:p>
          </p:txBody>
        </p:sp>
      </p:grpSp>
      <p:grpSp>
        <p:nvGrpSpPr>
          <p:cNvPr id="13" name="Group 12"/>
          <p:cNvGrpSpPr/>
          <p:nvPr/>
        </p:nvGrpSpPr>
        <p:grpSpPr>
          <a:xfrm>
            <a:off x="513689" y="2083472"/>
            <a:ext cx="8036858" cy="945654"/>
            <a:chOff x="513689" y="2110063"/>
            <a:chExt cx="8036858" cy="945654"/>
          </a:xfrm>
        </p:grpSpPr>
        <p:pic>
          <p:nvPicPr>
            <p:cNvPr id="21" name="Picture 20"/>
            <p:cNvPicPr>
              <a:picLocks/>
            </p:cNvPicPr>
            <p:nvPr/>
          </p:nvPicPr>
          <p:blipFill rotWithShape="1">
            <a:blip r:embed="rId16" cstate="print">
              <a:extLst>
                <a:ext uri="{28A0092B-C50C-407E-A947-70E740481C1C}">
                  <a14:useLocalDpi xmlns:a14="http://schemas.microsoft.com/office/drawing/2010/main" val="0"/>
                </a:ext>
              </a:extLst>
            </a:blip>
            <a:srcRect l="15064" t="6832"/>
            <a:stretch/>
          </p:blipFill>
          <p:spPr>
            <a:xfrm>
              <a:off x="1110013" y="2110063"/>
              <a:ext cx="1206397" cy="945654"/>
            </a:xfrm>
            <a:prstGeom prst="rect">
              <a:avLst/>
            </a:prstGeom>
            <a:solidFill>
              <a:schemeClr val="tx2">
                <a:lumMod val="75000"/>
                <a:lumOff val="25000"/>
              </a:schemeClr>
            </a:solidFill>
          </p:spPr>
        </p:pic>
        <p:sp>
          <p:nvSpPr>
            <p:cNvPr id="29" name="AutoShape 250"/>
            <p:cNvSpPr>
              <a:spLocks noChangeArrowheads="1"/>
            </p:cNvSpPr>
            <p:nvPr/>
          </p:nvSpPr>
          <p:spPr bwMode="auto">
            <a:xfrm>
              <a:off x="2472588" y="2204325"/>
              <a:ext cx="2620194" cy="7571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200" dirty="0">
                  <a:solidFill>
                    <a:srgbClr val="000000"/>
                  </a:solidFill>
                </a:rPr>
                <a:t>Establish, develop and support new wildlife ranching entrants through </a:t>
              </a:r>
              <a:r>
                <a:rPr lang="en-US" sz="1200" b="1" dirty="0">
                  <a:solidFill>
                    <a:srgbClr val="000000"/>
                  </a:solidFill>
                </a:rPr>
                <a:t>infrastructure support and game donation </a:t>
              </a:r>
              <a:r>
                <a:rPr lang="en-US" sz="1200" b="1" dirty="0" err="1">
                  <a:solidFill>
                    <a:srgbClr val="000000"/>
                  </a:solidFill>
                </a:rPr>
                <a:t>programmes</a:t>
              </a:r>
              <a:endParaRPr lang="en-US" sz="1200" b="1" baseline="0" noProof="0" dirty="0">
                <a:solidFill>
                  <a:srgbClr val="808080"/>
                </a:solidFill>
                <a:latin typeface="+mn-lt"/>
              </a:endParaRPr>
            </a:p>
          </p:txBody>
        </p:sp>
        <p:sp>
          <p:nvSpPr>
            <p:cNvPr id="40" name="Marvin Title Tracker Circle"/>
            <p:cNvSpPr/>
            <p:nvPr/>
          </p:nvSpPr>
          <p:spPr>
            <a:xfrm>
              <a:off x="513689" y="2405862"/>
              <a:ext cx="354056" cy="35405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200" b="1" dirty="0">
                  <a:solidFill>
                    <a:schemeClr val="bg1"/>
                  </a:solidFill>
                  <a:latin typeface="Arial" panose="020B0604020202020204" pitchFamily="34" charset="0"/>
                </a:rPr>
                <a:t>2</a:t>
              </a:r>
            </a:p>
          </p:txBody>
        </p:sp>
        <p:sp>
          <p:nvSpPr>
            <p:cNvPr id="55" name="AutoShape 250"/>
            <p:cNvSpPr>
              <a:spLocks noChangeArrowheads="1"/>
            </p:cNvSpPr>
            <p:nvPr/>
          </p:nvSpPr>
          <p:spPr bwMode="auto">
            <a:xfrm>
              <a:off x="5348507" y="2481324"/>
              <a:ext cx="561787" cy="203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200" dirty="0">
                  <a:solidFill>
                    <a:schemeClr val="tx2"/>
                  </a:solidFill>
                  <a:latin typeface="+mn-lt"/>
                </a:rPr>
                <a:t>2020</a:t>
              </a:r>
              <a:endParaRPr lang="en-US" sz="1200" baseline="0" noProof="0" dirty="0">
                <a:solidFill>
                  <a:srgbClr val="808080"/>
                </a:solidFill>
                <a:latin typeface="+mn-lt"/>
              </a:endParaRPr>
            </a:p>
          </p:txBody>
        </p:sp>
        <p:sp>
          <p:nvSpPr>
            <p:cNvPr id="70" name="AutoShape 250"/>
            <p:cNvSpPr>
              <a:spLocks noChangeArrowheads="1"/>
            </p:cNvSpPr>
            <p:nvPr/>
          </p:nvSpPr>
          <p:spPr bwMode="auto">
            <a:xfrm>
              <a:off x="6887142" y="2111993"/>
              <a:ext cx="1663405" cy="572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171450" indent="-171450">
                <a:buFont typeface="Wingdings" panose="05000000000000000000" pitchFamily="2" charset="2"/>
                <a:buChar char="§"/>
              </a:pPr>
              <a:r>
                <a:rPr lang="en-US" sz="1200" dirty="0">
                  <a:solidFill>
                    <a:schemeClr val="tx2"/>
                  </a:solidFill>
                  <a:latin typeface="+mn-lt"/>
                </a:rPr>
                <a:t>60 projects completed (90 000 heads of game)</a:t>
              </a:r>
              <a:endParaRPr lang="en-US" sz="1200" baseline="0" noProof="0" dirty="0">
                <a:solidFill>
                  <a:srgbClr val="808080"/>
                </a:solidFill>
                <a:latin typeface="+mn-lt"/>
              </a:endParaRPr>
            </a:p>
          </p:txBody>
        </p:sp>
      </p:grpSp>
      <p:grpSp>
        <p:nvGrpSpPr>
          <p:cNvPr id="12" name="Group 11"/>
          <p:cNvGrpSpPr/>
          <p:nvPr/>
        </p:nvGrpSpPr>
        <p:grpSpPr>
          <a:xfrm>
            <a:off x="513689" y="3128629"/>
            <a:ext cx="8036858" cy="937967"/>
            <a:chOff x="513689" y="3132593"/>
            <a:chExt cx="8036858" cy="937967"/>
          </a:xfrm>
        </p:grpSpPr>
        <p:pic>
          <p:nvPicPr>
            <p:cNvPr id="22" name="Picture 21"/>
            <p:cNvPicPr>
              <a:picLocks/>
            </p:cNvPicPr>
            <p:nvPr/>
          </p:nvPicPr>
          <p:blipFill>
            <a:blip r:embed="rId17" cstate="print">
              <a:extLst>
                <a:ext uri="{28A0092B-C50C-407E-A947-70E740481C1C}">
                  <a14:useLocalDpi xmlns:a14="http://schemas.microsoft.com/office/drawing/2010/main" val="0"/>
                </a:ext>
              </a:extLst>
            </a:blip>
            <a:stretch>
              <a:fillRect/>
            </a:stretch>
          </p:blipFill>
          <p:spPr>
            <a:xfrm>
              <a:off x="1110013" y="3132593"/>
              <a:ext cx="1206397" cy="937967"/>
            </a:xfrm>
            <a:prstGeom prst="rect">
              <a:avLst/>
            </a:prstGeom>
          </p:spPr>
        </p:pic>
        <p:sp>
          <p:nvSpPr>
            <p:cNvPr id="30" name="AutoShape 250"/>
            <p:cNvSpPr>
              <a:spLocks noChangeArrowheads="1"/>
            </p:cNvSpPr>
            <p:nvPr/>
          </p:nvSpPr>
          <p:spPr bwMode="auto">
            <a:xfrm>
              <a:off x="2472588" y="3407677"/>
              <a:ext cx="2620194" cy="3877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GB" sz="1200" dirty="0">
                  <a:solidFill>
                    <a:srgbClr val="000000"/>
                  </a:solidFill>
                </a:rPr>
                <a:t>Operationalise </a:t>
              </a:r>
              <a:r>
                <a:rPr lang="en-GB" sz="1200" b="1" dirty="0">
                  <a:solidFill>
                    <a:srgbClr val="0B4623"/>
                  </a:solidFill>
                </a:rPr>
                <a:t>11 biodiversity economy nodes (</a:t>
              </a:r>
              <a:r>
                <a:rPr lang="en-GB" sz="1200" b="1" dirty="0" err="1">
                  <a:solidFill>
                    <a:srgbClr val="0B4623"/>
                  </a:solidFill>
                </a:rPr>
                <a:t>BENs</a:t>
              </a:r>
              <a:r>
                <a:rPr lang="en-GB" sz="1200" b="1" dirty="0">
                  <a:solidFill>
                    <a:srgbClr val="0B4623"/>
                  </a:solidFill>
                </a:rPr>
                <a:t>)</a:t>
              </a:r>
              <a:endParaRPr lang="en-US" sz="1200" baseline="0" noProof="0" dirty="0">
                <a:solidFill>
                  <a:srgbClr val="808080"/>
                </a:solidFill>
                <a:latin typeface="+mn-lt"/>
              </a:endParaRPr>
            </a:p>
          </p:txBody>
        </p:sp>
        <p:sp>
          <p:nvSpPr>
            <p:cNvPr id="45" name="Marvin Title Tracker Circle"/>
            <p:cNvSpPr/>
            <p:nvPr/>
          </p:nvSpPr>
          <p:spPr>
            <a:xfrm>
              <a:off x="513689" y="3424548"/>
              <a:ext cx="354056" cy="35405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200" b="1" dirty="0">
                  <a:solidFill>
                    <a:schemeClr val="bg1"/>
                  </a:solidFill>
                  <a:latin typeface="Arial" panose="020B0604020202020204" pitchFamily="34" charset="0"/>
                </a:rPr>
                <a:t>5</a:t>
              </a:r>
            </a:p>
          </p:txBody>
        </p:sp>
        <p:sp>
          <p:nvSpPr>
            <p:cNvPr id="56" name="AutoShape 250"/>
            <p:cNvSpPr>
              <a:spLocks noChangeArrowheads="1"/>
            </p:cNvSpPr>
            <p:nvPr/>
          </p:nvSpPr>
          <p:spPr bwMode="auto">
            <a:xfrm>
              <a:off x="5348507" y="3500010"/>
              <a:ext cx="561787" cy="203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200" dirty="0">
                  <a:solidFill>
                    <a:schemeClr val="tx2"/>
                  </a:solidFill>
                  <a:latin typeface="+mn-lt"/>
                </a:rPr>
                <a:t>2021</a:t>
              </a:r>
              <a:endParaRPr lang="en-US" sz="1200" baseline="0" noProof="0" dirty="0">
                <a:solidFill>
                  <a:srgbClr val="808080"/>
                </a:solidFill>
                <a:latin typeface="+mn-lt"/>
              </a:endParaRPr>
            </a:p>
          </p:txBody>
        </p:sp>
        <p:sp>
          <p:nvSpPr>
            <p:cNvPr id="71" name="AutoShape 250"/>
            <p:cNvSpPr>
              <a:spLocks noChangeArrowheads="1"/>
            </p:cNvSpPr>
            <p:nvPr/>
          </p:nvSpPr>
          <p:spPr bwMode="auto">
            <a:xfrm>
              <a:off x="6887142" y="3500010"/>
              <a:ext cx="1663405" cy="203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171450" indent="-171450">
                <a:buFont typeface="Wingdings" panose="05000000000000000000" pitchFamily="2" charset="2"/>
                <a:buChar char="§"/>
              </a:pPr>
              <a:r>
                <a:rPr lang="en-US" sz="1200" dirty="0">
                  <a:solidFill>
                    <a:schemeClr val="tx2"/>
                  </a:solidFill>
                  <a:latin typeface="+mn-lt"/>
                </a:rPr>
                <a:t>11 </a:t>
              </a:r>
              <a:r>
                <a:rPr lang="en-US" sz="1200" dirty="0" err="1">
                  <a:solidFill>
                    <a:schemeClr val="tx2"/>
                  </a:solidFill>
                  <a:latin typeface="+mn-lt"/>
                </a:rPr>
                <a:t>BENs</a:t>
              </a:r>
              <a:r>
                <a:rPr lang="en-US" sz="1200" dirty="0">
                  <a:solidFill>
                    <a:schemeClr val="tx2"/>
                  </a:solidFill>
                  <a:latin typeface="+mn-lt"/>
                </a:rPr>
                <a:t> established </a:t>
              </a:r>
              <a:endParaRPr lang="en-US" sz="1200" baseline="0" noProof="0" dirty="0">
                <a:solidFill>
                  <a:srgbClr val="808080"/>
                </a:solidFill>
                <a:latin typeface="+mn-lt"/>
              </a:endParaRPr>
            </a:p>
          </p:txBody>
        </p:sp>
      </p:grpSp>
      <p:grpSp>
        <p:nvGrpSpPr>
          <p:cNvPr id="11" name="Group 10"/>
          <p:cNvGrpSpPr/>
          <p:nvPr/>
        </p:nvGrpSpPr>
        <p:grpSpPr>
          <a:xfrm>
            <a:off x="513689" y="4166099"/>
            <a:ext cx="8036858" cy="932567"/>
            <a:chOff x="513689" y="3990940"/>
            <a:chExt cx="8036858" cy="932567"/>
          </a:xfrm>
        </p:grpSpPr>
        <p:pic>
          <p:nvPicPr>
            <p:cNvPr id="23" name="Picture 39" descr="http://eatingplantsdotorg.files.wordpress.com/2011/12/slaughterhouse_span.jpg"/>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24332" t="10115" r="23638" b="14501"/>
            <a:stretch/>
          </p:blipFill>
          <p:spPr bwMode="auto">
            <a:xfrm>
              <a:off x="1110013" y="3990940"/>
              <a:ext cx="1206397" cy="932567"/>
            </a:xfrm>
            <a:prstGeom prst="rect">
              <a:avLst/>
            </a:prstGeom>
            <a:noFill/>
            <a:extLst>
              <a:ext uri="{909E8E84-426E-40DD-AFC4-6F175D3DCCD1}">
                <a14:hiddenFill xmlns:a14="http://schemas.microsoft.com/office/drawing/2010/main">
                  <a:solidFill>
                    <a:srgbClr val="FFFFFF"/>
                  </a:solidFill>
                </a14:hiddenFill>
              </a:ext>
            </a:extLst>
          </p:spPr>
        </p:pic>
        <p:sp>
          <p:nvSpPr>
            <p:cNvPr id="37" name="AutoShape 250"/>
            <p:cNvSpPr>
              <a:spLocks noChangeArrowheads="1"/>
            </p:cNvSpPr>
            <p:nvPr/>
          </p:nvSpPr>
          <p:spPr bwMode="auto">
            <a:xfrm>
              <a:off x="2472588" y="4170991"/>
              <a:ext cx="2620194" cy="572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GB" sz="1200" dirty="0">
                  <a:solidFill>
                    <a:srgbClr val="000000"/>
                  </a:solidFill>
                  <a:ea typeface="Arial Unicode MS" panose="020B0604020202020204" pitchFamily="34" charset="-128"/>
                  <a:cs typeface="Arial Unicode MS" panose="020B0604020202020204" pitchFamily="34" charset="-128"/>
                </a:rPr>
                <a:t>Formalize </a:t>
              </a:r>
              <a:r>
                <a:rPr lang="en-GB" sz="1200" b="1" dirty="0">
                  <a:solidFill>
                    <a:srgbClr val="0B4623"/>
                  </a:solidFill>
                  <a:ea typeface="Arial Unicode MS" panose="020B0604020202020204" pitchFamily="34" charset="-128"/>
                  <a:cs typeface="Arial Unicode MS" panose="020B0604020202020204" pitchFamily="34" charset="-128"/>
                </a:rPr>
                <a:t>SA game meat market </a:t>
              </a:r>
              <a:r>
                <a:rPr lang="en-GB" sz="1200" dirty="0">
                  <a:solidFill>
                    <a:srgbClr val="000000"/>
                  </a:solidFill>
                  <a:ea typeface="Arial Unicode MS" panose="020B0604020202020204" pitchFamily="34" charset="-128"/>
                  <a:cs typeface="Arial Unicode MS" panose="020B0604020202020204" pitchFamily="34" charset="-128"/>
                </a:rPr>
                <a:t>and create a network of game meat processing facilities</a:t>
              </a:r>
              <a:endParaRPr lang="en-GB" sz="1200" b="1" dirty="0">
                <a:solidFill>
                  <a:schemeClr val="tx2"/>
                </a:solidFill>
                <a:ea typeface="Arial Unicode MS" panose="020B0604020202020204" pitchFamily="34" charset="-128"/>
                <a:cs typeface="Arial Unicode MS" panose="020B0604020202020204" pitchFamily="34" charset="-128"/>
              </a:endParaRPr>
            </a:p>
          </p:txBody>
        </p:sp>
        <p:sp>
          <p:nvSpPr>
            <p:cNvPr id="46" name="Marvin Title Tracker Circle"/>
            <p:cNvSpPr/>
            <p:nvPr/>
          </p:nvSpPr>
          <p:spPr>
            <a:xfrm>
              <a:off x="513689" y="4280195"/>
              <a:ext cx="354056" cy="35405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200" b="1" dirty="0">
                  <a:solidFill>
                    <a:schemeClr val="bg1"/>
                  </a:solidFill>
                  <a:latin typeface="Arial" panose="020B0604020202020204" pitchFamily="34" charset="0"/>
                </a:rPr>
                <a:t>7</a:t>
              </a:r>
            </a:p>
          </p:txBody>
        </p:sp>
        <p:sp>
          <p:nvSpPr>
            <p:cNvPr id="57" name="AutoShape 250"/>
            <p:cNvSpPr>
              <a:spLocks noChangeArrowheads="1"/>
            </p:cNvSpPr>
            <p:nvPr/>
          </p:nvSpPr>
          <p:spPr bwMode="auto">
            <a:xfrm>
              <a:off x="5348507" y="4355657"/>
              <a:ext cx="561787" cy="203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200" dirty="0">
                  <a:solidFill>
                    <a:schemeClr val="tx2"/>
                  </a:solidFill>
                  <a:latin typeface="+mn-lt"/>
                </a:rPr>
                <a:t>2021</a:t>
              </a:r>
              <a:endParaRPr lang="en-US" sz="1200" baseline="0" noProof="0" dirty="0">
                <a:solidFill>
                  <a:srgbClr val="808080"/>
                </a:solidFill>
                <a:latin typeface="+mn-lt"/>
              </a:endParaRPr>
            </a:p>
          </p:txBody>
        </p:sp>
        <p:sp>
          <p:nvSpPr>
            <p:cNvPr id="72" name="AutoShape 250"/>
            <p:cNvSpPr>
              <a:spLocks noChangeArrowheads="1"/>
            </p:cNvSpPr>
            <p:nvPr/>
          </p:nvSpPr>
          <p:spPr bwMode="auto">
            <a:xfrm>
              <a:off x="6887142" y="4170991"/>
              <a:ext cx="1663405" cy="572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171450" indent="-171450">
                <a:buFont typeface="Wingdings" panose="05000000000000000000" pitchFamily="2" charset="2"/>
                <a:buChar char="§"/>
              </a:pPr>
              <a:r>
                <a:rPr lang="en-US" sz="1200" dirty="0">
                  <a:solidFill>
                    <a:schemeClr val="tx2"/>
                  </a:solidFill>
                  <a:latin typeface="+mn-lt"/>
                </a:rPr>
                <a:t>2,500 jobs created</a:t>
              </a:r>
            </a:p>
            <a:p>
              <a:pPr marL="171450" indent="-171450">
                <a:buFont typeface="Wingdings" panose="05000000000000000000" pitchFamily="2" charset="2"/>
                <a:buChar char="§"/>
              </a:pPr>
              <a:r>
                <a:rPr lang="en-US" sz="1200" dirty="0">
                  <a:solidFill>
                    <a:schemeClr val="tx2"/>
                  </a:solidFill>
                  <a:latin typeface="+mn-lt"/>
                </a:rPr>
                <a:t>18,5K tons of game meat </a:t>
              </a:r>
            </a:p>
          </p:txBody>
        </p:sp>
      </p:grpSp>
      <p:grpSp>
        <p:nvGrpSpPr>
          <p:cNvPr id="16" name="Group 15"/>
          <p:cNvGrpSpPr/>
          <p:nvPr/>
        </p:nvGrpSpPr>
        <p:grpSpPr>
          <a:xfrm>
            <a:off x="513689" y="5198169"/>
            <a:ext cx="8036858" cy="927344"/>
            <a:chOff x="513689" y="5198169"/>
            <a:chExt cx="8036858" cy="927344"/>
          </a:xfrm>
        </p:grpSpPr>
        <p:sp>
          <p:nvSpPr>
            <p:cNvPr id="19" name="Rectangle 18"/>
            <p:cNvSpPr>
              <a:spLocks/>
            </p:cNvSpPr>
            <p:nvPr/>
          </p:nvSpPr>
          <p:spPr>
            <a:xfrm>
              <a:off x="1110013" y="5198169"/>
              <a:ext cx="1206397" cy="927344"/>
            </a:xfrm>
            <a:prstGeom prst="rect">
              <a:avLst/>
            </a:prstGeom>
            <a:solidFill>
              <a:schemeClr val="accent1">
                <a:lumMod val="40000"/>
                <a:lumOff val="6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00" dirty="0">
                <a:solidFill>
                  <a:schemeClr val="tx1"/>
                </a:solidFill>
              </a:endParaRPr>
            </a:p>
          </p:txBody>
        </p:sp>
        <p:pic>
          <p:nvPicPr>
            <p:cNvPr id="24" name="Picture 51" descr="Gazelle, Animal, Standing, Mammal, Antlers, Wildlife"/>
            <p:cNvPicPr>
              <a:picLocks noChangeArrowheads="1"/>
            </p:cNvPicPr>
            <p:nvPr/>
          </p:nvPicPr>
          <p:blipFill rotWithShape="1">
            <a:blip r:embed="rId19" cstate="print">
              <a:extLst>
                <a:ext uri="{28A0092B-C50C-407E-A947-70E740481C1C}">
                  <a14:useLocalDpi xmlns:a14="http://schemas.microsoft.com/office/drawing/2010/main" val="0"/>
                </a:ext>
              </a:extLst>
            </a:blip>
            <a:srcRect l="-8342" t="-3042" r="44384" b="58608"/>
            <a:stretch/>
          </p:blipFill>
          <p:spPr bwMode="auto">
            <a:xfrm>
              <a:off x="1352023" y="5299042"/>
              <a:ext cx="722376" cy="725599"/>
            </a:xfrm>
            <a:prstGeom prst="ellipse">
              <a:avLst/>
            </a:prstGeom>
            <a:noFill/>
            <a:ln w="28575">
              <a:solidFill>
                <a:schemeClr val="tx2"/>
              </a:solidFill>
            </a:ln>
            <a:extLst>
              <a:ext uri="{909E8E84-426E-40DD-AFC4-6F175D3DCCD1}">
                <a14:hiddenFill xmlns:a14="http://schemas.microsoft.com/office/drawing/2010/main">
                  <a:solidFill>
                    <a:srgbClr val="FFFFFF"/>
                  </a:solidFill>
                </a14:hiddenFill>
              </a:ext>
            </a:extLst>
          </p:spPr>
        </p:pic>
        <p:sp>
          <p:nvSpPr>
            <p:cNvPr id="38" name="AutoShape 250"/>
            <p:cNvSpPr>
              <a:spLocks noChangeArrowheads="1"/>
            </p:cNvSpPr>
            <p:nvPr/>
          </p:nvSpPr>
          <p:spPr bwMode="auto">
            <a:xfrm>
              <a:off x="2472588" y="5375609"/>
              <a:ext cx="2620194" cy="572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a:spcBef>
                  <a:spcPts val="200"/>
                </a:spcBef>
              </a:pPr>
              <a:r>
                <a:rPr lang="en-ZA" sz="1200" dirty="0">
                  <a:solidFill>
                    <a:srgbClr val="000000"/>
                  </a:solidFill>
                </a:rPr>
                <a:t>Develop and Implement a </a:t>
              </a:r>
              <a:r>
                <a:rPr lang="en-ZA" sz="1200" b="1" dirty="0">
                  <a:solidFill>
                    <a:srgbClr val="0B4623"/>
                  </a:solidFill>
                </a:rPr>
                <a:t>national wildlife economy certification scheme</a:t>
              </a:r>
              <a:endParaRPr lang="en-US" sz="1200" dirty="0"/>
            </a:p>
          </p:txBody>
        </p:sp>
        <p:sp>
          <p:nvSpPr>
            <p:cNvPr id="47" name="Marvin Title Tracker Circle"/>
            <p:cNvSpPr/>
            <p:nvPr/>
          </p:nvSpPr>
          <p:spPr>
            <a:xfrm>
              <a:off x="513689" y="5484813"/>
              <a:ext cx="354056" cy="35405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200" b="1" dirty="0">
                  <a:solidFill>
                    <a:schemeClr val="bg1"/>
                  </a:solidFill>
                  <a:latin typeface="Arial" panose="020B0604020202020204" pitchFamily="34" charset="0"/>
                </a:rPr>
                <a:t>11</a:t>
              </a:r>
            </a:p>
          </p:txBody>
        </p:sp>
        <p:sp>
          <p:nvSpPr>
            <p:cNvPr id="59" name="AutoShape 250"/>
            <p:cNvSpPr>
              <a:spLocks noChangeArrowheads="1"/>
            </p:cNvSpPr>
            <p:nvPr/>
          </p:nvSpPr>
          <p:spPr bwMode="auto">
            <a:xfrm>
              <a:off x="5348507" y="5560275"/>
              <a:ext cx="561787" cy="203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200" dirty="0">
                  <a:solidFill>
                    <a:schemeClr val="tx2"/>
                  </a:solidFill>
                  <a:latin typeface="+mn-lt"/>
                </a:rPr>
                <a:t>2019</a:t>
              </a:r>
              <a:endParaRPr lang="en-US" sz="1200" baseline="0" noProof="0" dirty="0">
                <a:solidFill>
                  <a:srgbClr val="808080"/>
                </a:solidFill>
                <a:latin typeface="+mn-lt"/>
              </a:endParaRPr>
            </a:p>
          </p:txBody>
        </p:sp>
        <p:sp>
          <p:nvSpPr>
            <p:cNvPr id="73" name="AutoShape 250"/>
            <p:cNvSpPr>
              <a:spLocks noChangeArrowheads="1"/>
            </p:cNvSpPr>
            <p:nvPr/>
          </p:nvSpPr>
          <p:spPr bwMode="auto">
            <a:xfrm>
              <a:off x="6887142" y="5560275"/>
              <a:ext cx="1663405" cy="203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pPr marL="171450" indent="-171450">
                <a:buFont typeface="Wingdings" panose="05000000000000000000" pitchFamily="2" charset="2"/>
                <a:buChar char="§"/>
              </a:pPr>
              <a:r>
                <a:rPr lang="en-US" sz="1200" dirty="0">
                  <a:solidFill>
                    <a:schemeClr val="tx2"/>
                  </a:solidFill>
                  <a:latin typeface="+mn-lt"/>
                </a:rPr>
                <a:t>Scheme established</a:t>
              </a:r>
              <a:endParaRPr lang="en-US" sz="1200" baseline="0" noProof="0" dirty="0">
                <a:solidFill>
                  <a:srgbClr val="808080"/>
                </a:solidFill>
                <a:latin typeface="+mn-lt"/>
              </a:endParaRPr>
            </a:p>
          </p:txBody>
        </p:sp>
      </p:grpSp>
    </p:spTree>
    <p:extLst>
      <p:ext uri="{BB962C8B-B14F-4D97-AF65-F5344CB8AC3E}">
        <p14:creationId xmlns:p14="http://schemas.microsoft.com/office/powerpoint/2010/main" val="24226246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50" name="think-cell Slide" r:id="rId17" imgW="493" imgH="493" progId="TCLayout.ActiveDocument.1">
                  <p:embed/>
                </p:oleObj>
              </mc:Choice>
              <mc:Fallback>
                <p:oleObj name="think-cell Slide" r:id="rId17" imgW="493" imgH="493"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80" name="Rectangle 79"/>
          <p:cNvSpPr>
            <a:spLocks/>
          </p:cNvSpPr>
          <p:nvPr/>
        </p:nvSpPr>
        <p:spPr>
          <a:xfrm>
            <a:off x="345550" y="960004"/>
            <a:ext cx="8287975" cy="5160667"/>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rgbClr val="000000"/>
              </a:solidFill>
            </a:endParaRPr>
          </a:p>
        </p:txBody>
      </p:sp>
      <p:sp>
        <p:nvSpPr>
          <p:cNvPr id="2" name="Title 1"/>
          <p:cNvSpPr>
            <a:spLocks noGrp="1"/>
          </p:cNvSpPr>
          <p:nvPr>
            <p:ph type="title"/>
          </p:nvPr>
        </p:nvSpPr>
        <p:spPr>
          <a:xfrm>
            <a:off x="142267" y="5718"/>
            <a:ext cx="8789987" cy="87716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92075">
              <a:tabLst>
                <a:tab pos="92075" algn="l"/>
                <a:tab pos="268288" algn="l"/>
                <a:tab pos="2690813" algn="l"/>
                <a:tab pos="2874963" algn="l"/>
                <a:tab pos="3048000" algn="l"/>
              </a:tabLst>
            </a:pPr>
            <a:r>
              <a:rPr lang="en-US" dirty="0" smtClean="0"/>
              <a:t>The new </a:t>
            </a:r>
            <a:r>
              <a:rPr lang="en-US" dirty="0"/>
              <a:t>Wildlife Economy Support </a:t>
            </a:r>
            <a:r>
              <a:rPr lang="en-US" dirty="0" err="1"/>
              <a:t>Programme</a:t>
            </a:r>
            <a:r>
              <a:rPr lang="en-US" dirty="0"/>
              <a:t> (WESP) will harness and coordinate existing support mechanisms to empower new entrants in the industry</a:t>
            </a:r>
            <a:endParaRPr lang="en-ZA" dirty="0"/>
          </a:p>
        </p:txBody>
      </p:sp>
      <p:sp>
        <p:nvSpPr>
          <p:cNvPr id="18" name="TextBox 17"/>
          <p:cNvSpPr txBox="1"/>
          <p:nvPr/>
        </p:nvSpPr>
        <p:spPr>
          <a:xfrm rot="16200000">
            <a:off x="-524195" y="3381914"/>
            <a:ext cx="2237792"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sz="1400" i="1" dirty="0">
                <a:solidFill>
                  <a:srgbClr val="000000"/>
                </a:solidFill>
              </a:rPr>
              <a:t>Coordinated under new </a:t>
            </a:r>
            <a:br>
              <a:rPr lang="en-US" sz="1400" i="1" dirty="0">
                <a:solidFill>
                  <a:srgbClr val="000000"/>
                </a:solidFill>
              </a:rPr>
            </a:br>
            <a:r>
              <a:rPr lang="en-US" sz="1400" i="1" dirty="0">
                <a:solidFill>
                  <a:srgbClr val="000000"/>
                </a:solidFill>
              </a:rPr>
              <a:t>Wildlife Support </a:t>
            </a:r>
            <a:r>
              <a:rPr lang="en-US" sz="1400" i="1">
                <a:solidFill>
                  <a:srgbClr val="000000"/>
                </a:solidFill>
              </a:rPr>
              <a:t>Programme</a:t>
            </a:r>
            <a:endParaRPr lang="en-US" sz="1400" i="1" dirty="0">
              <a:solidFill>
                <a:srgbClr val="000000"/>
              </a:solidFill>
            </a:endParaRPr>
          </a:p>
        </p:txBody>
      </p:sp>
      <p:grpSp>
        <p:nvGrpSpPr>
          <p:cNvPr id="77" name="ACET 12"/>
          <p:cNvGrpSpPr>
            <a:grpSpLocks/>
          </p:cNvGrpSpPr>
          <p:nvPr/>
        </p:nvGrpSpPr>
        <p:grpSpPr bwMode="auto">
          <a:xfrm>
            <a:off x="2979349" y="1056104"/>
            <a:ext cx="2631112" cy="233689"/>
            <a:chOff x="915" y="858"/>
            <a:chExt cx="2686" cy="172"/>
          </a:xfrm>
        </p:grpSpPr>
        <p:cxnSp>
          <p:nvCxnSpPr>
            <p:cNvPr id="78" name="AutoShape 249"/>
            <p:cNvCxnSpPr>
              <a:cxnSpLocks noChangeShapeType="1"/>
              <a:stCxn id="79" idx="4"/>
              <a:endCxn id="79"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9" name="AutoShape 250"/>
            <p:cNvSpPr>
              <a:spLocks noChangeArrowheads="1"/>
            </p:cNvSpPr>
            <p:nvPr/>
          </p:nvSpPr>
          <p:spPr bwMode="auto">
            <a:xfrm>
              <a:off x="915" y="858"/>
              <a:ext cx="2686" cy="1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400" b="1" dirty="0">
                  <a:solidFill>
                    <a:srgbClr val="0B4623"/>
                  </a:solidFill>
                  <a:latin typeface="Arial"/>
                </a:rPr>
                <a:t>Primary delivery mechanism</a:t>
              </a:r>
              <a:endParaRPr lang="en-US" sz="1400" dirty="0">
                <a:solidFill>
                  <a:srgbClr val="0B4623"/>
                </a:solidFill>
                <a:latin typeface="Arial"/>
              </a:endParaRPr>
            </a:p>
          </p:txBody>
        </p:sp>
      </p:grpSp>
      <p:grpSp>
        <p:nvGrpSpPr>
          <p:cNvPr id="26" name="Group 25"/>
          <p:cNvGrpSpPr/>
          <p:nvPr/>
        </p:nvGrpSpPr>
        <p:grpSpPr>
          <a:xfrm>
            <a:off x="1121020" y="1056104"/>
            <a:ext cx="1765717" cy="5002883"/>
            <a:chOff x="782682" y="998954"/>
            <a:chExt cx="1989653" cy="5002883"/>
          </a:xfrm>
        </p:grpSpPr>
        <p:grpSp>
          <p:nvGrpSpPr>
            <p:cNvPr id="54" name="Group 53"/>
            <p:cNvGrpSpPr/>
            <p:nvPr/>
          </p:nvGrpSpPr>
          <p:grpSpPr>
            <a:xfrm>
              <a:off x="782682" y="2182442"/>
              <a:ext cx="1989652" cy="1092296"/>
              <a:chOff x="3716655" y="2384426"/>
              <a:chExt cx="1919289" cy="1966914"/>
            </a:xfrm>
            <a:solidFill>
              <a:schemeClr val="accent1"/>
            </a:solidFill>
          </p:grpSpPr>
          <p:sp>
            <p:nvSpPr>
              <p:cNvPr id="58" name="Chevron 57"/>
              <p:cNvSpPr/>
              <p:nvPr>
                <p:custDataLst>
                  <p:tags r:id="rId14"/>
                </p:custDataLst>
              </p:nvPr>
            </p:nvSpPr>
            <p:spPr bwMode="auto">
              <a:xfrm rot="5400000">
                <a:off x="3692843" y="2408238"/>
                <a:ext cx="1966914" cy="1919289"/>
              </a:xfrm>
              <a:prstGeom prst="chevron">
                <a:avLst>
                  <a:gd name="adj" fmla="val 17892"/>
                </a:avLst>
              </a:prstGeom>
              <a:solidFill>
                <a:schemeClr val="accent2"/>
              </a:solidFill>
              <a:ln w="19050">
                <a:solidFill>
                  <a:schemeClr val="bg1"/>
                </a:solidFill>
                <a:round/>
                <a:headEnd/>
                <a:tailEnd/>
              </a:ln>
            </p:spPr>
            <p:txBody>
              <a:bodyPr wrap="none" rtlCol="0" anchor="ctr"/>
              <a:lstStyle/>
              <a:p>
                <a:pPr algn="ctr"/>
                <a:endParaRPr lang="en-US" sz="1400" b="1" dirty="0">
                  <a:solidFill>
                    <a:srgbClr val="FFFFFF"/>
                  </a:solidFill>
                </a:endParaRPr>
              </a:p>
            </p:txBody>
          </p:sp>
          <p:sp>
            <p:nvSpPr>
              <p:cNvPr id="59" name="Rectangle 14"/>
              <p:cNvSpPr>
                <a:spLocks noChangeArrowheads="1"/>
              </p:cNvSpPr>
              <p:nvPr>
                <p:custDataLst>
                  <p:tags r:id="rId15"/>
                </p:custDataLst>
              </p:nvPr>
            </p:nvSpPr>
            <p:spPr bwMode="auto">
              <a:xfrm>
                <a:off x="3843656" y="2979932"/>
                <a:ext cx="1665288" cy="775905"/>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defTabSz="895350">
                  <a:buClr>
                    <a:srgbClr val="0B4623"/>
                  </a:buClr>
                </a:pPr>
                <a:r>
                  <a:rPr lang="en-US" sz="1400" b="1" dirty="0">
                    <a:solidFill>
                      <a:srgbClr val="FFFFFF"/>
                    </a:solidFill>
                    <a:latin typeface="Arial"/>
                  </a:rPr>
                  <a:t>Infrastructure support</a:t>
                </a:r>
              </a:p>
            </p:txBody>
          </p:sp>
        </p:grpSp>
        <p:grpSp>
          <p:nvGrpSpPr>
            <p:cNvPr id="55" name="Group 54"/>
            <p:cNvGrpSpPr/>
            <p:nvPr/>
          </p:nvGrpSpPr>
          <p:grpSpPr>
            <a:xfrm>
              <a:off x="782682" y="3084312"/>
              <a:ext cx="1989652" cy="1092294"/>
              <a:chOff x="3716655" y="4003682"/>
              <a:chExt cx="1919289" cy="1966913"/>
            </a:xfrm>
            <a:solidFill>
              <a:schemeClr val="bg2">
                <a:lumMod val="85000"/>
              </a:schemeClr>
            </a:solidFill>
          </p:grpSpPr>
          <p:sp>
            <p:nvSpPr>
              <p:cNvPr id="56" name="Chevron 55"/>
              <p:cNvSpPr/>
              <p:nvPr>
                <p:custDataLst>
                  <p:tags r:id="rId12"/>
                </p:custDataLst>
              </p:nvPr>
            </p:nvSpPr>
            <p:spPr bwMode="auto">
              <a:xfrm rot="5400000">
                <a:off x="3692843" y="4027494"/>
                <a:ext cx="1966913" cy="1919289"/>
              </a:xfrm>
              <a:prstGeom prst="chevron">
                <a:avLst>
                  <a:gd name="adj" fmla="val 17892"/>
                </a:avLst>
              </a:prstGeom>
              <a:grpFill/>
              <a:ln w="19050">
                <a:solidFill>
                  <a:schemeClr val="bg1"/>
                </a:solidFill>
                <a:round/>
                <a:headEnd/>
                <a:tailEnd/>
              </a:ln>
            </p:spPr>
            <p:txBody>
              <a:bodyPr wrap="none" rtlCol="0" anchor="ctr"/>
              <a:lstStyle/>
              <a:p>
                <a:pPr algn="ctr"/>
                <a:endParaRPr lang="en-US" sz="1400" b="1" dirty="0">
                  <a:solidFill>
                    <a:srgbClr val="0B4623"/>
                  </a:solidFill>
                </a:endParaRPr>
              </a:p>
            </p:txBody>
          </p:sp>
          <p:sp>
            <p:nvSpPr>
              <p:cNvPr id="57" name="Rectangle 17"/>
              <p:cNvSpPr>
                <a:spLocks noChangeArrowheads="1"/>
              </p:cNvSpPr>
              <p:nvPr>
                <p:custDataLst>
                  <p:tags r:id="rId13"/>
                </p:custDataLst>
              </p:nvPr>
            </p:nvSpPr>
            <p:spPr bwMode="auto">
              <a:xfrm>
                <a:off x="3843657" y="4599185"/>
                <a:ext cx="1665287" cy="775906"/>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defTabSz="895350">
                  <a:buClr>
                    <a:srgbClr val="0B4623"/>
                  </a:buClr>
                </a:pPr>
                <a:r>
                  <a:rPr lang="en-US" sz="1400" b="1" dirty="0">
                    <a:solidFill>
                      <a:srgbClr val="0B4623"/>
                    </a:solidFill>
                    <a:latin typeface="Arial"/>
                  </a:rPr>
                  <a:t>Game loans/ donations</a:t>
                </a:r>
              </a:p>
            </p:txBody>
          </p:sp>
        </p:grpSp>
        <p:grpSp>
          <p:nvGrpSpPr>
            <p:cNvPr id="53" name="Group 52"/>
            <p:cNvGrpSpPr/>
            <p:nvPr/>
          </p:nvGrpSpPr>
          <p:grpSpPr>
            <a:xfrm>
              <a:off x="782682" y="1279689"/>
              <a:ext cx="1989652" cy="1092296"/>
              <a:chOff x="3716655" y="754063"/>
              <a:chExt cx="1919289" cy="1966914"/>
            </a:xfrm>
            <a:solidFill>
              <a:schemeClr val="accent1"/>
            </a:solidFill>
          </p:grpSpPr>
          <p:sp>
            <p:nvSpPr>
              <p:cNvPr id="60" name="Pentagon 59"/>
              <p:cNvSpPr/>
              <p:nvPr>
                <p:custDataLst>
                  <p:tags r:id="rId10"/>
                </p:custDataLst>
              </p:nvPr>
            </p:nvSpPr>
            <p:spPr bwMode="auto">
              <a:xfrm rot="5400000">
                <a:off x="3692843" y="777875"/>
                <a:ext cx="1966914" cy="1919289"/>
              </a:xfrm>
              <a:prstGeom prst="homePlate">
                <a:avLst>
                  <a:gd name="adj" fmla="val 17892"/>
                </a:avLst>
              </a:prstGeom>
              <a:solidFill>
                <a:schemeClr val="accent1"/>
              </a:solidFill>
              <a:ln w="19050">
                <a:solidFill>
                  <a:schemeClr val="bg1"/>
                </a:solidFill>
                <a:round/>
                <a:headEnd/>
                <a:tailEnd/>
              </a:ln>
            </p:spPr>
            <p:txBody>
              <a:bodyPr wrap="none" rtlCol="0" anchor="ctr"/>
              <a:lstStyle/>
              <a:p>
                <a:pPr algn="ctr"/>
                <a:endParaRPr lang="en-US" sz="1400" b="1" dirty="0">
                  <a:solidFill>
                    <a:srgbClr val="0B4623"/>
                  </a:solidFill>
                </a:endParaRPr>
              </a:p>
            </p:txBody>
          </p:sp>
          <p:sp>
            <p:nvSpPr>
              <p:cNvPr id="61" name="Rectangle 11"/>
              <p:cNvSpPr>
                <a:spLocks noChangeArrowheads="1"/>
              </p:cNvSpPr>
              <p:nvPr>
                <p:custDataLst>
                  <p:tags r:id="rId11"/>
                </p:custDataLst>
              </p:nvPr>
            </p:nvSpPr>
            <p:spPr bwMode="auto">
              <a:xfrm>
                <a:off x="3843656" y="1179707"/>
                <a:ext cx="1665288" cy="775905"/>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defTabSz="895350">
                  <a:buClr>
                    <a:srgbClr val="0B4623"/>
                  </a:buClr>
                </a:pPr>
                <a:r>
                  <a:rPr lang="en-US" sz="1400" b="1" dirty="0">
                    <a:solidFill>
                      <a:srgbClr val="0B4623"/>
                    </a:solidFill>
                    <a:latin typeface="Arial"/>
                  </a:rPr>
                  <a:t>Business set-up support</a:t>
                </a:r>
              </a:p>
            </p:txBody>
          </p:sp>
        </p:grpSp>
        <p:grpSp>
          <p:nvGrpSpPr>
            <p:cNvPr id="63" name="Group 62"/>
            <p:cNvGrpSpPr/>
            <p:nvPr/>
          </p:nvGrpSpPr>
          <p:grpSpPr>
            <a:xfrm>
              <a:off x="782682" y="4909543"/>
              <a:ext cx="1989652" cy="1092294"/>
              <a:chOff x="3716655" y="4003682"/>
              <a:chExt cx="1919289" cy="1966913"/>
            </a:xfrm>
            <a:solidFill>
              <a:schemeClr val="accent5"/>
            </a:solidFill>
          </p:grpSpPr>
          <p:sp>
            <p:nvSpPr>
              <p:cNvPr id="64" name="Chevron 63"/>
              <p:cNvSpPr/>
              <p:nvPr>
                <p:custDataLst>
                  <p:tags r:id="rId8"/>
                </p:custDataLst>
              </p:nvPr>
            </p:nvSpPr>
            <p:spPr bwMode="auto">
              <a:xfrm rot="5400000">
                <a:off x="3692843" y="4027494"/>
                <a:ext cx="1966913" cy="1919289"/>
              </a:xfrm>
              <a:prstGeom prst="chevron">
                <a:avLst>
                  <a:gd name="adj" fmla="val 17892"/>
                </a:avLst>
              </a:prstGeom>
              <a:grpFill/>
              <a:ln w="19050">
                <a:solidFill>
                  <a:schemeClr val="bg1"/>
                </a:solidFill>
                <a:round/>
                <a:headEnd/>
                <a:tailEnd/>
              </a:ln>
            </p:spPr>
            <p:txBody>
              <a:bodyPr wrap="none" rtlCol="0" anchor="ctr"/>
              <a:lstStyle/>
              <a:p>
                <a:pPr algn="ctr"/>
                <a:endParaRPr lang="en-US" sz="1400" b="1" dirty="0">
                  <a:solidFill>
                    <a:srgbClr val="FFFFFF"/>
                  </a:solidFill>
                </a:endParaRPr>
              </a:p>
            </p:txBody>
          </p:sp>
          <p:sp>
            <p:nvSpPr>
              <p:cNvPr id="65" name="Rectangle 17"/>
              <p:cNvSpPr>
                <a:spLocks noChangeArrowheads="1"/>
              </p:cNvSpPr>
              <p:nvPr>
                <p:custDataLst>
                  <p:tags r:id="rId9"/>
                </p:custDataLst>
              </p:nvPr>
            </p:nvSpPr>
            <p:spPr bwMode="auto">
              <a:xfrm>
                <a:off x="3843657" y="4405206"/>
                <a:ext cx="1665287" cy="1163860"/>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defTabSz="895350">
                  <a:buClr>
                    <a:srgbClr val="0B4623"/>
                  </a:buClr>
                </a:pPr>
                <a:r>
                  <a:rPr lang="en-US" sz="1400" b="1" dirty="0">
                    <a:solidFill>
                      <a:srgbClr val="FFFFFF"/>
                    </a:solidFill>
                    <a:latin typeface="Arial"/>
                  </a:rPr>
                  <a:t>Ranching skills and market access</a:t>
                </a:r>
              </a:p>
            </p:txBody>
          </p:sp>
        </p:grpSp>
        <p:grpSp>
          <p:nvGrpSpPr>
            <p:cNvPr id="74" name="ACET 12"/>
            <p:cNvGrpSpPr>
              <a:grpSpLocks/>
            </p:cNvGrpSpPr>
            <p:nvPr/>
          </p:nvGrpSpPr>
          <p:grpSpPr bwMode="auto">
            <a:xfrm>
              <a:off x="782682" y="998954"/>
              <a:ext cx="1989653" cy="233689"/>
              <a:chOff x="915" y="858"/>
              <a:chExt cx="2686" cy="172"/>
            </a:xfrm>
          </p:grpSpPr>
          <p:cxnSp>
            <p:nvCxnSpPr>
              <p:cNvPr id="75" name="AutoShape 249"/>
              <p:cNvCxnSpPr>
                <a:cxnSpLocks noChangeShapeType="1"/>
                <a:stCxn id="76" idx="4"/>
                <a:endCxn id="76"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6" name="AutoShape 250"/>
              <p:cNvSpPr>
                <a:spLocks noChangeArrowheads="1"/>
              </p:cNvSpPr>
              <p:nvPr/>
            </p:nvSpPr>
            <p:spPr bwMode="auto">
              <a:xfrm>
                <a:off x="915" y="858"/>
                <a:ext cx="2686" cy="1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00" b="1" dirty="0">
                    <a:solidFill>
                      <a:srgbClr val="0B4623"/>
                    </a:solidFill>
                    <a:latin typeface="Arial"/>
                  </a:rPr>
                  <a:t>Support package</a:t>
                </a:r>
                <a:endParaRPr lang="en-US" sz="1400" dirty="0">
                  <a:solidFill>
                    <a:srgbClr val="0B4623"/>
                  </a:solidFill>
                  <a:latin typeface="Arial"/>
                </a:endParaRPr>
              </a:p>
            </p:txBody>
          </p:sp>
        </p:grpSp>
        <p:grpSp>
          <p:nvGrpSpPr>
            <p:cNvPr id="90" name="Group 89"/>
            <p:cNvGrpSpPr/>
            <p:nvPr/>
          </p:nvGrpSpPr>
          <p:grpSpPr>
            <a:xfrm>
              <a:off x="782682" y="3996536"/>
              <a:ext cx="1989652" cy="1092294"/>
              <a:chOff x="3716655" y="4003682"/>
              <a:chExt cx="1919289" cy="1966913"/>
            </a:xfrm>
            <a:solidFill>
              <a:schemeClr val="accent4"/>
            </a:solidFill>
          </p:grpSpPr>
          <p:sp>
            <p:nvSpPr>
              <p:cNvPr id="91" name="Chevron 90"/>
              <p:cNvSpPr/>
              <p:nvPr>
                <p:custDataLst>
                  <p:tags r:id="rId6"/>
                </p:custDataLst>
              </p:nvPr>
            </p:nvSpPr>
            <p:spPr bwMode="auto">
              <a:xfrm rot="5400000">
                <a:off x="3692843" y="4027494"/>
                <a:ext cx="1966913" cy="1919289"/>
              </a:xfrm>
              <a:prstGeom prst="chevron">
                <a:avLst>
                  <a:gd name="adj" fmla="val 17892"/>
                </a:avLst>
              </a:prstGeom>
              <a:grpFill/>
              <a:ln w="19050">
                <a:solidFill>
                  <a:schemeClr val="bg1"/>
                </a:solidFill>
                <a:round/>
                <a:headEnd/>
                <a:tailEnd/>
              </a:ln>
            </p:spPr>
            <p:txBody>
              <a:bodyPr wrap="none" rtlCol="0" anchor="ctr"/>
              <a:lstStyle/>
              <a:p>
                <a:pPr algn="ctr"/>
                <a:endParaRPr lang="en-US" sz="1400" b="1" dirty="0">
                  <a:solidFill>
                    <a:srgbClr val="FFFFFF"/>
                  </a:solidFill>
                </a:endParaRPr>
              </a:p>
            </p:txBody>
          </p:sp>
          <p:sp>
            <p:nvSpPr>
              <p:cNvPr id="92" name="Rectangle 17"/>
              <p:cNvSpPr>
                <a:spLocks noChangeArrowheads="1"/>
              </p:cNvSpPr>
              <p:nvPr>
                <p:custDataLst>
                  <p:tags r:id="rId7"/>
                </p:custDataLst>
              </p:nvPr>
            </p:nvSpPr>
            <p:spPr bwMode="auto">
              <a:xfrm>
                <a:off x="3843657" y="4314142"/>
                <a:ext cx="1665287" cy="1551812"/>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defTabSz="895350">
                  <a:buClr>
                    <a:srgbClr val="0B4623"/>
                  </a:buClr>
                </a:pPr>
                <a:r>
                  <a:rPr lang="en-US" sz="1400" b="1" dirty="0">
                    <a:solidFill>
                      <a:srgbClr val="FFFFFF"/>
                    </a:solidFill>
                    <a:latin typeface="Arial"/>
                  </a:rPr>
                  <a:t>Agricultural support &amp; veterinary services</a:t>
                </a:r>
              </a:p>
            </p:txBody>
          </p:sp>
        </p:grpSp>
      </p:grpSp>
      <p:pic>
        <p:nvPicPr>
          <p:cNvPr id="66" name="Picture 7"/>
          <p:cNvPicPr>
            <a:picLocks noChangeArrowheads="1"/>
          </p:cNvPicPr>
          <p:nvPr/>
        </p:nvPicPr>
        <p:blipFill rotWithShape="1">
          <a:blip r:embed="rId19" cstate="email">
            <a:extLst>
              <a:ext uri="{28A0092B-C50C-407E-A947-70E740481C1C}">
                <a14:useLocalDpi xmlns:a14="http://schemas.microsoft.com/office/drawing/2010/main"/>
              </a:ext>
            </a:extLst>
          </a:blip>
          <a:srcRect l="2869" r="2869"/>
          <a:stretch/>
        </p:blipFill>
        <p:spPr bwMode="auto">
          <a:xfrm>
            <a:off x="8048814" y="5012414"/>
            <a:ext cx="505581" cy="486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 name="Picture 16"/>
          <p:cNvPicPr>
            <a:picLocks noChangeAspect="1" noChangeArrowheads="1"/>
          </p:cNvPicPr>
          <p:nvPr/>
        </p:nvPicPr>
        <p:blipFill>
          <a:blip r:embed="rId20" cstate="email">
            <a:extLst>
              <a:ext uri="{28A0092B-C50C-407E-A947-70E740481C1C}">
                <a14:useLocalDpi xmlns:a14="http://schemas.microsoft.com/office/drawing/2010/main"/>
              </a:ext>
            </a:extLst>
          </a:blip>
          <a:stretch>
            <a:fillRect/>
          </a:stretch>
        </p:blipFill>
        <p:spPr bwMode="auto">
          <a:xfrm>
            <a:off x="6949502" y="5084479"/>
            <a:ext cx="985750" cy="355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2" name="Picture 12"/>
          <p:cNvPicPr>
            <a:picLocks noChangeArrowheads="1"/>
          </p:cNvPicPr>
          <p:nvPr/>
        </p:nvPicPr>
        <p:blipFill>
          <a:blip r:embed="rId21" cstate="email">
            <a:extLst>
              <a:ext uri="{28A0092B-C50C-407E-A947-70E740481C1C}">
                <a14:useLocalDpi xmlns:a14="http://schemas.microsoft.com/office/drawing/2010/main"/>
              </a:ext>
            </a:extLst>
          </a:blip>
          <a:stretch>
            <a:fillRect/>
          </a:stretch>
        </p:blipFill>
        <p:spPr bwMode="auto">
          <a:xfrm>
            <a:off x="6330360" y="5012414"/>
            <a:ext cx="505581" cy="486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Picture 12" descr="http://www.pacificbreeze353.com/newspics/scan002.gif"/>
          <p:cNvPicPr>
            <a:picLocks noChangeArrowheads="1"/>
          </p:cNvPicPr>
          <p:nvPr/>
        </p:nvPicPr>
        <p:blipFill rotWithShape="1">
          <a:blip r:embed="rId22" cstate="email">
            <a:extLst>
              <a:ext uri="{28A0092B-C50C-407E-A947-70E740481C1C}">
                <a14:useLocalDpi xmlns:a14="http://schemas.microsoft.com/office/drawing/2010/main"/>
              </a:ext>
            </a:extLst>
          </a:blip>
          <a:srcRect l="13423" t="1545" r="19651" b="9101"/>
          <a:stretch/>
        </p:blipFill>
        <p:spPr bwMode="gray">
          <a:xfrm>
            <a:off x="5711218" y="5012414"/>
            <a:ext cx="505581" cy="4862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p:cNvPicPr>
          <p:nvPr/>
        </p:nvPicPr>
        <p:blipFill rotWithShape="1">
          <a:blip r:embed="rId23">
            <a:extLst>
              <a:ext uri="{28A0092B-C50C-407E-A947-70E740481C1C}">
                <a14:useLocalDpi xmlns:a14="http://schemas.microsoft.com/office/drawing/2010/main" val="0"/>
              </a:ext>
            </a:extLst>
          </a:blip>
          <a:srcRect t="16971" b="16971"/>
          <a:stretch/>
        </p:blipFill>
        <p:spPr>
          <a:xfrm>
            <a:off x="5279721" y="2312358"/>
            <a:ext cx="1669782" cy="781830"/>
          </a:xfrm>
          <a:prstGeom prst="rect">
            <a:avLst/>
          </a:prstGeom>
        </p:spPr>
      </p:pic>
      <p:pic>
        <p:nvPicPr>
          <p:cNvPr id="9" name="Picture 8"/>
          <p:cNvPicPr>
            <a:picLocks/>
          </p:cNvPicPr>
          <p:nvPr/>
        </p:nvPicPr>
        <p:blipFill>
          <a:blip r:embed="rId24" cstate="print">
            <a:extLst>
              <a:ext uri="{28A0092B-C50C-407E-A947-70E740481C1C}">
                <a14:useLocalDpi xmlns:a14="http://schemas.microsoft.com/office/drawing/2010/main" val="0"/>
              </a:ext>
            </a:extLst>
          </a:blip>
          <a:stretch>
            <a:fillRect/>
          </a:stretch>
        </p:blipFill>
        <p:spPr>
          <a:xfrm>
            <a:off x="5382760" y="1355828"/>
            <a:ext cx="1544107" cy="713012"/>
          </a:xfrm>
          <a:prstGeom prst="rect">
            <a:avLst/>
          </a:prstGeom>
        </p:spPr>
      </p:pic>
      <p:pic>
        <p:nvPicPr>
          <p:cNvPr id="10" name="Picture 9"/>
          <p:cNvPicPr>
            <a:picLocks noChangeAspect="1"/>
          </p:cNvPicPr>
          <p:nvPr/>
        </p:nvPicPr>
        <p:blipFill rotWithShape="1">
          <a:blip r:embed="rId25" cstate="print">
            <a:extLst>
              <a:ext uri="{28A0092B-C50C-407E-A947-70E740481C1C}">
                <a14:useLocalDpi xmlns:a14="http://schemas.microsoft.com/office/drawing/2010/main" val="0"/>
              </a:ext>
            </a:extLst>
          </a:blip>
          <a:srcRect l="3112" t="3111" r="3112" b="10579"/>
          <a:stretch/>
        </p:blipFill>
        <p:spPr>
          <a:xfrm>
            <a:off x="5640881" y="3283485"/>
            <a:ext cx="1285987" cy="411529"/>
          </a:xfrm>
          <a:prstGeom prst="rect">
            <a:avLst/>
          </a:prstGeom>
        </p:spPr>
      </p:pic>
      <p:sp>
        <p:nvSpPr>
          <p:cNvPr id="11" name="Rectangle 10"/>
          <p:cNvSpPr txBox="1"/>
          <p:nvPr>
            <p:custDataLst>
              <p:tags r:id="rId3"/>
            </p:custDataLst>
          </p:nvPr>
        </p:nvSpPr>
        <p:spPr>
          <a:xfrm>
            <a:off x="6949503" y="3325682"/>
            <a:ext cx="1633384" cy="584775"/>
          </a:xfrm>
          <a:prstGeom prst="rect">
            <a:avLst/>
          </a:prstGeom>
          <a:solidFill>
            <a:schemeClr val="bg1"/>
          </a:solidFill>
          <a:ln w="9525">
            <a:solidFill>
              <a:schemeClr val="accent6"/>
            </a:solidFill>
            <a:miter lim="800000"/>
            <a:headEnd/>
            <a:tailEnd/>
          </a:ln>
          <a:effectLst/>
        </p:spPr>
        <p:txBody>
          <a:bodyPr vert="horz" wrap="square" lIns="76200" tIns="76200" rIns="76200" bIns="7620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buClr>
                <a:srgbClr val="0B4623"/>
              </a:buClr>
            </a:pPr>
            <a:r>
              <a:rPr lang="en-ZA" sz="1400" dirty="0" err="1">
                <a:solidFill>
                  <a:srgbClr val="000000"/>
                </a:solidFill>
              </a:rPr>
              <a:t>Prov</a:t>
            </a:r>
            <a:r>
              <a:rPr lang="en-ZA" sz="1400" dirty="0">
                <a:solidFill>
                  <a:srgbClr val="000000"/>
                </a:solidFill>
              </a:rPr>
              <a:t> Authorities</a:t>
            </a:r>
            <a:endParaRPr lang="en-US" sz="1400" dirty="0">
              <a:solidFill>
                <a:srgbClr val="000000"/>
              </a:solidFill>
            </a:endParaRPr>
          </a:p>
          <a:p>
            <a:pPr lvl="1">
              <a:buClr>
                <a:srgbClr val="0B4623"/>
              </a:buClr>
            </a:pPr>
            <a:r>
              <a:rPr lang="en-US" sz="1400" dirty="0">
                <a:solidFill>
                  <a:srgbClr val="000000"/>
                </a:solidFill>
              </a:rPr>
              <a:t>Private sector</a:t>
            </a:r>
          </a:p>
        </p:txBody>
      </p:sp>
      <p:grpSp>
        <p:nvGrpSpPr>
          <p:cNvPr id="81" name="ACET 12"/>
          <p:cNvGrpSpPr>
            <a:grpSpLocks/>
          </p:cNvGrpSpPr>
          <p:nvPr/>
        </p:nvGrpSpPr>
        <p:grpSpPr bwMode="auto">
          <a:xfrm>
            <a:off x="5711217" y="1056104"/>
            <a:ext cx="2843178" cy="233689"/>
            <a:chOff x="915" y="858"/>
            <a:chExt cx="2686" cy="172"/>
          </a:xfrm>
        </p:grpSpPr>
        <p:cxnSp>
          <p:nvCxnSpPr>
            <p:cNvPr id="87" name="AutoShape 249"/>
            <p:cNvCxnSpPr>
              <a:cxnSpLocks noChangeShapeType="1"/>
              <a:stCxn id="88" idx="4"/>
              <a:endCxn id="88"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8" name="AutoShape 250"/>
            <p:cNvSpPr>
              <a:spLocks noChangeArrowheads="1"/>
            </p:cNvSpPr>
            <p:nvPr/>
          </p:nvSpPr>
          <p:spPr bwMode="auto">
            <a:xfrm>
              <a:off x="915" y="858"/>
              <a:ext cx="2686" cy="17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400" b="1" dirty="0">
                  <a:solidFill>
                    <a:srgbClr val="0B4623"/>
                  </a:solidFill>
                  <a:latin typeface="Arial"/>
                </a:rPr>
                <a:t>WSU partner</a:t>
              </a:r>
              <a:endParaRPr lang="en-US" sz="1400" dirty="0">
                <a:solidFill>
                  <a:srgbClr val="0B4623"/>
                </a:solidFill>
                <a:latin typeface="Arial"/>
              </a:endParaRPr>
            </a:p>
          </p:txBody>
        </p:sp>
      </p:grpSp>
      <p:pic>
        <p:nvPicPr>
          <p:cNvPr id="16" name="Picture 15"/>
          <p:cNvPicPr>
            <a:picLocks noChangeAspect="1"/>
          </p:cNvPicPr>
          <p:nvPr/>
        </p:nvPicPr>
        <p:blipFill rotWithShape="1">
          <a:blip r:embed="rId26" cstate="print">
            <a:extLst>
              <a:ext uri="{28A0092B-C50C-407E-A947-70E740481C1C}">
                <a14:useLocalDpi xmlns:a14="http://schemas.microsoft.com/office/drawing/2010/main" val="0"/>
              </a:ext>
            </a:extLst>
          </a:blip>
          <a:srcRect t="20641" b="16203"/>
          <a:stretch/>
        </p:blipFill>
        <p:spPr>
          <a:xfrm>
            <a:off x="5711217" y="4255613"/>
            <a:ext cx="1379686" cy="412519"/>
          </a:xfrm>
          <a:prstGeom prst="rect">
            <a:avLst/>
          </a:prstGeom>
        </p:spPr>
      </p:pic>
      <p:pic>
        <p:nvPicPr>
          <p:cNvPr id="20" name="Picture 19"/>
          <p:cNvPicPr>
            <a:picLocks noChangeAspect="1"/>
          </p:cNvPicPr>
          <p:nvPr/>
        </p:nvPicPr>
        <p:blipFill rotWithShape="1">
          <a:blip r:embed="rId27">
            <a:extLst>
              <a:ext uri="{28A0092B-C50C-407E-A947-70E740481C1C}">
                <a14:useLocalDpi xmlns:a14="http://schemas.microsoft.com/office/drawing/2010/main" val="0"/>
              </a:ext>
            </a:extLst>
          </a:blip>
          <a:srcRect l="4518" t="4644" r="2025" b="4803"/>
          <a:stretch/>
        </p:blipFill>
        <p:spPr>
          <a:xfrm>
            <a:off x="5682608" y="5540742"/>
            <a:ext cx="1565127" cy="477138"/>
          </a:xfrm>
          <a:prstGeom prst="rect">
            <a:avLst/>
          </a:prstGeom>
        </p:spPr>
      </p:pic>
      <p:grpSp>
        <p:nvGrpSpPr>
          <p:cNvPr id="28" name="Group 27"/>
          <p:cNvGrpSpPr/>
          <p:nvPr/>
        </p:nvGrpSpPr>
        <p:grpSpPr>
          <a:xfrm>
            <a:off x="2915229" y="2239592"/>
            <a:ext cx="5639165" cy="2692116"/>
            <a:chOff x="2790459" y="2182442"/>
            <a:chExt cx="5881101" cy="2692116"/>
          </a:xfrm>
        </p:grpSpPr>
        <p:cxnSp>
          <p:nvCxnSpPr>
            <p:cNvPr id="51" name="Straight Connector 50"/>
            <p:cNvCxnSpPr>
              <a:cxnSpLocks/>
            </p:cNvCxnSpPr>
            <p:nvPr/>
          </p:nvCxnSpPr>
          <p:spPr>
            <a:xfrm>
              <a:off x="2790459" y="2182442"/>
              <a:ext cx="588110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a:off x="2790459" y="3079814"/>
              <a:ext cx="588110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cxnSpLocks/>
            </p:cNvCxnSpPr>
            <p:nvPr/>
          </p:nvCxnSpPr>
          <p:spPr>
            <a:xfrm>
              <a:off x="2790459" y="3977186"/>
              <a:ext cx="588110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nvCxnSpPr>
          <p:spPr>
            <a:xfrm>
              <a:off x="2790459" y="4874558"/>
              <a:ext cx="588110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sp>
        <p:nvSpPr>
          <p:cNvPr id="6" name="TextBox 5"/>
          <p:cNvSpPr txBox="1"/>
          <p:nvPr/>
        </p:nvSpPr>
        <p:spPr>
          <a:xfrm>
            <a:off x="2979349" y="3187183"/>
            <a:ext cx="2631112"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buClr>
                <a:srgbClr val="0B4623"/>
              </a:buClr>
            </a:pPr>
            <a:r>
              <a:rPr lang="en-US" sz="1400" dirty="0">
                <a:solidFill>
                  <a:srgbClr val="000000"/>
                </a:solidFill>
              </a:rPr>
              <a:t>Donations, loans, fence dropping (in context of national protocol for game donations)</a:t>
            </a:r>
          </a:p>
        </p:txBody>
      </p:sp>
      <p:sp>
        <p:nvSpPr>
          <p:cNvPr id="12" name="TextBox 11"/>
          <p:cNvSpPr txBox="1"/>
          <p:nvPr/>
        </p:nvSpPr>
        <p:spPr>
          <a:xfrm>
            <a:off x="2979349" y="4099407"/>
            <a:ext cx="2631112"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buClr>
                <a:srgbClr val="0B4623"/>
              </a:buClr>
            </a:pPr>
            <a:r>
              <a:rPr lang="en-US" sz="1400" dirty="0">
                <a:solidFill>
                  <a:srgbClr val="000000"/>
                </a:solidFill>
              </a:rPr>
              <a:t>Stewardship/ Extension services</a:t>
            </a:r>
          </a:p>
        </p:txBody>
      </p:sp>
      <p:sp>
        <p:nvSpPr>
          <p:cNvPr id="14" name="TextBox 13"/>
          <p:cNvSpPr txBox="1"/>
          <p:nvPr/>
        </p:nvSpPr>
        <p:spPr>
          <a:xfrm>
            <a:off x="2979349" y="5012414"/>
            <a:ext cx="2631112" cy="861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buClr>
                <a:srgbClr val="0B4623"/>
              </a:buClr>
            </a:pPr>
            <a:r>
              <a:rPr lang="en-US" sz="1400" dirty="0">
                <a:solidFill>
                  <a:srgbClr val="000000"/>
                </a:solidFill>
              </a:rPr>
              <a:t>Mentorship </a:t>
            </a:r>
            <a:r>
              <a:rPr lang="en-US" sz="1400" dirty="0" err="1">
                <a:solidFill>
                  <a:srgbClr val="000000"/>
                </a:solidFill>
              </a:rPr>
              <a:t>programmes</a:t>
            </a:r>
            <a:endParaRPr lang="en-US" sz="1400" dirty="0">
              <a:solidFill>
                <a:srgbClr val="000000"/>
              </a:solidFill>
            </a:endParaRPr>
          </a:p>
          <a:p>
            <a:pPr lvl="1">
              <a:buClr>
                <a:srgbClr val="0B4623"/>
              </a:buClr>
            </a:pPr>
            <a:r>
              <a:rPr lang="en-US" sz="1400" dirty="0">
                <a:solidFill>
                  <a:srgbClr val="000000"/>
                </a:solidFill>
              </a:rPr>
              <a:t>Partnership building</a:t>
            </a:r>
          </a:p>
          <a:p>
            <a:pPr lvl="1">
              <a:buClr>
                <a:srgbClr val="0B4623"/>
              </a:buClr>
            </a:pPr>
            <a:r>
              <a:rPr lang="en-US" sz="1400" dirty="0">
                <a:solidFill>
                  <a:srgbClr val="000000"/>
                </a:solidFill>
              </a:rPr>
              <a:t>DTI support with (among others) access to market</a:t>
            </a:r>
          </a:p>
        </p:txBody>
      </p:sp>
      <p:sp>
        <p:nvSpPr>
          <p:cNvPr id="19" name="TextBox 18"/>
          <p:cNvSpPr txBox="1"/>
          <p:nvPr/>
        </p:nvSpPr>
        <p:spPr>
          <a:xfrm>
            <a:off x="2979349" y="2293223"/>
            <a:ext cx="2631112"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buClr>
                <a:srgbClr val="0B4623"/>
              </a:buClr>
            </a:pPr>
            <a:r>
              <a:rPr lang="en-ZA" sz="1400" dirty="0" smtClean="0">
                <a:solidFill>
                  <a:srgbClr val="000000"/>
                </a:solidFill>
              </a:rPr>
              <a:t>DEA:EPIP</a:t>
            </a:r>
            <a:r>
              <a:rPr lang="en-ZA" sz="1400" dirty="0">
                <a:solidFill>
                  <a:srgbClr val="000000"/>
                </a:solidFill>
              </a:rPr>
              <a:t>, </a:t>
            </a:r>
            <a:r>
              <a:rPr lang="en-ZA" sz="1400" dirty="0" err="1" smtClean="0">
                <a:solidFill>
                  <a:srgbClr val="000000"/>
                </a:solidFill>
              </a:rPr>
              <a:t>DRDLR:Recap</a:t>
            </a:r>
            <a:r>
              <a:rPr lang="en-ZA" sz="1400" dirty="0" smtClean="0">
                <a:solidFill>
                  <a:srgbClr val="000000"/>
                </a:solidFill>
              </a:rPr>
              <a:t> </a:t>
            </a:r>
            <a:r>
              <a:rPr lang="en-ZA" sz="1400" dirty="0">
                <a:solidFill>
                  <a:srgbClr val="000000"/>
                </a:solidFill>
              </a:rPr>
              <a:t>and </a:t>
            </a:r>
            <a:r>
              <a:rPr lang="en-ZA" sz="1400" dirty="0" err="1" smtClean="0">
                <a:solidFill>
                  <a:srgbClr val="000000"/>
                </a:solidFill>
              </a:rPr>
              <a:t>Dev</a:t>
            </a:r>
            <a:r>
              <a:rPr lang="en-ZA" sz="1400" dirty="0" smtClean="0">
                <a:solidFill>
                  <a:srgbClr val="000000"/>
                </a:solidFill>
              </a:rPr>
              <a:t>, Private Sector </a:t>
            </a:r>
            <a:endParaRPr lang="en-US" sz="1400" dirty="0">
              <a:solidFill>
                <a:srgbClr val="000000"/>
              </a:solidFill>
            </a:endParaRPr>
          </a:p>
        </p:txBody>
      </p:sp>
      <p:sp>
        <p:nvSpPr>
          <p:cNvPr id="22" name="TextBox 21"/>
          <p:cNvSpPr txBox="1"/>
          <p:nvPr/>
        </p:nvSpPr>
        <p:spPr>
          <a:xfrm>
            <a:off x="2979349" y="1390178"/>
            <a:ext cx="2631112"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buClr>
                <a:srgbClr val="0B4623"/>
              </a:buClr>
            </a:pPr>
            <a:r>
              <a:rPr lang="en-US" sz="1400" dirty="0">
                <a:solidFill>
                  <a:srgbClr val="000000"/>
                </a:solidFill>
              </a:rPr>
              <a:t>Recap and Development Program, </a:t>
            </a:r>
            <a:r>
              <a:rPr lang="en-US" sz="1400" dirty="0" smtClean="0">
                <a:solidFill>
                  <a:srgbClr val="000000"/>
                </a:solidFill>
              </a:rPr>
              <a:t>EPIP, DSBD, The DTI</a:t>
            </a:r>
            <a:endParaRPr lang="en-US" sz="1400" dirty="0">
              <a:solidFill>
                <a:srgbClr val="000000"/>
              </a:solidFill>
            </a:endParaRPr>
          </a:p>
        </p:txBody>
      </p:sp>
      <p:sp>
        <p:nvSpPr>
          <p:cNvPr id="71" name="Bracket 23"/>
          <p:cNvSpPr>
            <a:spLocks/>
          </p:cNvSpPr>
          <p:nvPr>
            <p:custDataLst>
              <p:tags r:id="rId4"/>
            </p:custDataLst>
          </p:nvPr>
        </p:nvSpPr>
        <p:spPr bwMode="auto">
          <a:xfrm flipH="1">
            <a:off x="895683" y="1336839"/>
            <a:ext cx="180989" cy="4521036"/>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0" fmla="*/ 0 w 115"/>
              <a:gd name="connsiteY0" fmla="*/ 0 h 624"/>
              <a:gd name="connsiteX1" fmla="*/ 65 w 115"/>
              <a:gd name="connsiteY1" fmla="*/ 0 h 624"/>
              <a:gd name="connsiteX2" fmla="*/ 65 w 115"/>
              <a:gd name="connsiteY2" fmla="*/ 528 h 624"/>
              <a:gd name="connsiteX3" fmla="*/ 115 w 115"/>
              <a:gd name="connsiteY3" fmla="*/ 576 h 624"/>
              <a:gd name="connsiteX4" fmla="*/ 65 w 115"/>
              <a:gd name="connsiteY4" fmla="*/ 624 h 624"/>
              <a:gd name="connsiteX0" fmla="*/ 0 w 115"/>
              <a:gd name="connsiteY0" fmla="*/ 0 h 576"/>
              <a:gd name="connsiteX1" fmla="*/ 65 w 115"/>
              <a:gd name="connsiteY1" fmla="*/ 0 h 576"/>
              <a:gd name="connsiteX2" fmla="*/ 65 w 115"/>
              <a:gd name="connsiteY2" fmla="*/ 528 h 576"/>
              <a:gd name="connsiteX3" fmla="*/ 115 w 115"/>
              <a:gd name="connsiteY3" fmla="*/ 576 h 576"/>
              <a:gd name="connsiteX0" fmla="*/ 0 w 65"/>
              <a:gd name="connsiteY0" fmla="*/ 0 h 528"/>
              <a:gd name="connsiteX1" fmla="*/ 65 w 65"/>
              <a:gd name="connsiteY1" fmla="*/ 0 h 528"/>
              <a:gd name="connsiteX2" fmla="*/ 65 w 65"/>
              <a:gd name="connsiteY2" fmla="*/ 528 h 528"/>
              <a:gd name="connsiteX0" fmla="*/ 0 w 65"/>
              <a:gd name="connsiteY0" fmla="*/ 0 h 0"/>
              <a:gd name="connsiteX1" fmla="*/ 65 w 65"/>
              <a:gd name="connsiteY1" fmla="*/ 0 h 0"/>
              <a:gd name="connsiteX0" fmla="*/ 465 w 465"/>
              <a:gd name="connsiteY0" fmla="*/ 0 h 841937"/>
              <a:gd name="connsiteX1" fmla="*/ 0 w 465"/>
              <a:gd name="connsiteY1" fmla="*/ 841937 h 841937"/>
              <a:gd name="connsiteX0" fmla="*/ 465 w 530"/>
              <a:gd name="connsiteY0" fmla="*/ 0 h 841937"/>
              <a:gd name="connsiteX1" fmla="*/ 0 w 530"/>
              <a:gd name="connsiteY1" fmla="*/ 841937 h 841937"/>
              <a:gd name="connsiteX2" fmla="*/ 530 w 530"/>
              <a:gd name="connsiteY2" fmla="*/ 1 h 841937"/>
              <a:gd name="connsiteX0" fmla="*/ 465 w 530"/>
              <a:gd name="connsiteY0" fmla="*/ 0 h 841937"/>
              <a:gd name="connsiteX1" fmla="*/ 0 w 530"/>
              <a:gd name="connsiteY1" fmla="*/ 841937 h 841937"/>
              <a:gd name="connsiteX2" fmla="*/ 530 w 530"/>
              <a:gd name="connsiteY2" fmla="*/ 1 h 841937"/>
              <a:gd name="connsiteX3" fmla="*/ 530 w 530"/>
              <a:gd name="connsiteY3" fmla="*/ 838201 h 841937"/>
              <a:gd name="connsiteX0" fmla="*/ 465 w 580"/>
              <a:gd name="connsiteY0" fmla="*/ 0 h 914401"/>
              <a:gd name="connsiteX1" fmla="*/ 0 w 580"/>
              <a:gd name="connsiteY1" fmla="*/ 841937 h 914401"/>
              <a:gd name="connsiteX2" fmla="*/ 530 w 580"/>
              <a:gd name="connsiteY2" fmla="*/ 1 h 914401"/>
              <a:gd name="connsiteX3" fmla="*/ 530 w 580"/>
              <a:gd name="connsiteY3" fmla="*/ 838201 h 914401"/>
              <a:gd name="connsiteX4" fmla="*/ 580 w 580"/>
              <a:gd name="connsiteY4" fmla="*/ 914401 h 914401"/>
              <a:gd name="connsiteX0" fmla="*/ 465 w 580"/>
              <a:gd name="connsiteY0" fmla="*/ 0 h 990601"/>
              <a:gd name="connsiteX1" fmla="*/ 0 w 580"/>
              <a:gd name="connsiteY1" fmla="*/ 841937 h 990601"/>
              <a:gd name="connsiteX2" fmla="*/ 530 w 580"/>
              <a:gd name="connsiteY2" fmla="*/ 1 h 990601"/>
              <a:gd name="connsiteX3" fmla="*/ 530 w 580"/>
              <a:gd name="connsiteY3" fmla="*/ 838201 h 990601"/>
              <a:gd name="connsiteX4" fmla="*/ 580 w 580"/>
              <a:gd name="connsiteY4" fmla="*/ 914401 h 990601"/>
              <a:gd name="connsiteX5" fmla="*/ 530 w 580"/>
              <a:gd name="connsiteY5" fmla="*/ 990601 h 990601"/>
              <a:gd name="connsiteX0" fmla="*/ 465 w 580"/>
              <a:gd name="connsiteY0" fmla="*/ 0 h 1828801"/>
              <a:gd name="connsiteX1" fmla="*/ 0 w 580"/>
              <a:gd name="connsiteY1" fmla="*/ 841937 h 1828801"/>
              <a:gd name="connsiteX2" fmla="*/ 530 w 580"/>
              <a:gd name="connsiteY2" fmla="*/ 1 h 1828801"/>
              <a:gd name="connsiteX3" fmla="*/ 530 w 580"/>
              <a:gd name="connsiteY3" fmla="*/ 838201 h 1828801"/>
              <a:gd name="connsiteX4" fmla="*/ 580 w 580"/>
              <a:gd name="connsiteY4" fmla="*/ 914401 h 1828801"/>
              <a:gd name="connsiteX5" fmla="*/ 530 w 580"/>
              <a:gd name="connsiteY5" fmla="*/ 990601 h 1828801"/>
              <a:gd name="connsiteX6" fmla="*/ 530 w 580"/>
              <a:gd name="connsiteY6" fmla="*/ 1828801 h 1828801"/>
              <a:gd name="connsiteX0" fmla="*/ 465 w 580"/>
              <a:gd name="connsiteY0" fmla="*/ 0 h 1828801"/>
              <a:gd name="connsiteX1" fmla="*/ 0 w 580"/>
              <a:gd name="connsiteY1" fmla="*/ 841937 h 1828801"/>
              <a:gd name="connsiteX2" fmla="*/ 530 w 580"/>
              <a:gd name="connsiteY2" fmla="*/ 1 h 1828801"/>
              <a:gd name="connsiteX3" fmla="*/ 530 w 580"/>
              <a:gd name="connsiteY3" fmla="*/ 838201 h 1828801"/>
              <a:gd name="connsiteX4" fmla="*/ 580 w 580"/>
              <a:gd name="connsiteY4" fmla="*/ 914401 h 1828801"/>
              <a:gd name="connsiteX5" fmla="*/ 530 w 580"/>
              <a:gd name="connsiteY5" fmla="*/ 990601 h 1828801"/>
              <a:gd name="connsiteX6" fmla="*/ 530 w 580"/>
              <a:gd name="connsiteY6" fmla="*/ 1828801 h 1828801"/>
              <a:gd name="connsiteX7" fmla="*/ 465 w 580"/>
              <a:gd name="connsiteY7" fmla="*/ 1828801 h 1828801"/>
              <a:gd name="connsiteX0" fmla="*/ 465 w 580"/>
              <a:gd name="connsiteY0" fmla="*/ 0 h 1828800"/>
              <a:gd name="connsiteX1" fmla="*/ 0 w 580"/>
              <a:gd name="connsiteY1" fmla="*/ 841936 h 1828800"/>
              <a:gd name="connsiteX2" fmla="*/ 530 w 580"/>
              <a:gd name="connsiteY2" fmla="*/ 0 h 1828800"/>
              <a:gd name="connsiteX3" fmla="*/ 530 w 580"/>
              <a:gd name="connsiteY3" fmla="*/ 838200 h 1828800"/>
              <a:gd name="connsiteX4" fmla="*/ 580 w 580"/>
              <a:gd name="connsiteY4" fmla="*/ 914400 h 1828800"/>
              <a:gd name="connsiteX5" fmla="*/ 530 w 580"/>
              <a:gd name="connsiteY5" fmla="*/ 990600 h 1828800"/>
              <a:gd name="connsiteX6" fmla="*/ 530 w 580"/>
              <a:gd name="connsiteY6" fmla="*/ 1828800 h 1828800"/>
              <a:gd name="connsiteX7" fmla="*/ 465 w 580"/>
              <a:gd name="connsiteY7" fmla="*/ 1828800 h 1828800"/>
              <a:gd name="connsiteX0" fmla="*/ 0 w 115"/>
              <a:gd name="connsiteY0" fmla="*/ 1 h 1828801"/>
              <a:gd name="connsiteX1" fmla="*/ 65 w 115"/>
              <a:gd name="connsiteY1" fmla="*/ 0 h 1828801"/>
              <a:gd name="connsiteX2" fmla="*/ 65 w 115"/>
              <a:gd name="connsiteY2" fmla="*/ 1 h 1828801"/>
              <a:gd name="connsiteX3" fmla="*/ 65 w 115"/>
              <a:gd name="connsiteY3" fmla="*/ 838201 h 1828801"/>
              <a:gd name="connsiteX4" fmla="*/ 115 w 115"/>
              <a:gd name="connsiteY4" fmla="*/ 914401 h 1828801"/>
              <a:gd name="connsiteX5" fmla="*/ 65 w 115"/>
              <a:gd name="connsiteY5" fmla="*/ 990601 h 1828801"/>
              <a:gd name="connsiteX6" fmla="*/ 65 w 115"/>
              <a:gd name="connsiteY6" fmla="*/ 1828801 h 1828801"/>
              <a:gd name="connsiteX7" fmla="*/ 0 w 115"/>
              <a:gd name="connsiteY7" fmla="*/ 1828801 h 1828801"/>
              <a:gd name="connsiteX0" fmla="*/ 0 w 115"/>
              <a:gd name="connsiteY0" fmla="*/ 1 h 1828801"/>
              <a:gd name="connsiteX1" fmla="*/ 65 w 115"/>
              <a:gd name="connsiteY1" fmla="*/ 0 h 1828801"/>
              <a:gd name="connsiteX2" fmla="*/ 65 w 115"/>
              <a:gd name="connsiteY2" fmla="*/ 838201 h 1828801"/>
              <a:gd name="connsiteX3" fmla="*/ 65 w 115"/>
              <a:gd name="connsiteY3" fmla="*/ 838201 h 1828801"/>
              <a:gd name="connsiteX4" fmla="*/ 115 w 115"/>
              <a:gd name="connsiteY4" fmla="*/ 914401 h 1828801"/>
              <a:gd name="connsiteX5" fmla="*/ 65 w 115"/>
              <a:gd name="connsiteY5" fmla="*/ 990601 h 1828801"/>
              <a:gd name="connsiteX6" fmla="*/ 65 w 115"/>
              <a:gd name="connsiteY6" fmla="*/ 1828801 h 1828801"/>
              <a:gd name="connsiteX7" fmla="*/ 0 w 115"/>
              <a:gd name="connsiteY7" fmla="*/ 1828801 h 1828801"/>
              <a:gd name="connsiteX0" fmla="*/ 0 w 115"/>
              <a:gd name="connsiteY0" fmla="*/ 1 h 1828801"/>
              <a:gd name="connsiteX1" fmla="*/ 65 w 115"/>
              <a:gd name="connsiteY1" fmla="*/ 0 h 1828801"/>
              <a:gd name="connsiteX2" fmla="*/ 65 w 115"/>
              <a:gd name="connsiteY2" fmla="*/ 838201 h 1828801"/>
              <a:gd name="connsiteX3" fmla="*/ 115 w 115"/>
              <a:gd name="connsiteY3" fmla="*/ 914401 h 1828801"/>
              <a:gd name="connsiteX4" fmla="*/ 115 w 115"/>
              <a:gd name="connsiteY4" fmla="*/ 914401 h 1828801"/>
              <a:gd name="connsiteX5" fmla="*/ 65 w 115"/>
              <a:gd name="connsiteY5" fmla="*/ 990601 h 1828801"/>
              <a:gd name="connsiteX6" fmla="*/ 65 w 115"/>
              <a:gd name="connsiteY6" fmla="*/ 1828801 h 1828801"/>
              <a:gd name="connsiteX7" fmla="*/ 0 w 115"/>
              <a:gd name="connsiteY7" fmla="*/ 1828801 h 1828801"/>
              <a:gd name="connsiteX0" fmla="*/ 0 w 115"/>
              <a:gd name="connsiteY0" fmla="*/ 1 h 1828801"/>
              <a:gd name="connsiteX1" fmla="*/ 65 w 115"/>
              <a:gd name="connsiteY1" fmla="*/ 0 h 1828801"/>
              <a:gd name="connsiteX2" fmla="*/ 65 w 115"/>
              <a:gd name="connsiteY2" fmla="*/ 838201 h 1828801"/>
              <a:gd name="connsiteX3" fmla="*/ 115 w 115"/>
              <a:gd name="connsiteY3" fmla="*/ 914401 h 1828801"/>
              <a:gd name="connsiteX4" fmla="*/ 65 w 115"/>
              <a:gd name="connsiteY4" fmla="*/ 990601 h 1828801"/>
              <a:gd name="connsiteX5" fmla="*/ 65 w 115"/>
              <a:gd name="connsiteY5" fmla="*/ 990601 h 1828801"/>
              <a:gd name="connsiteX6" fmla="*/ 65 w 115"/>
              <a:gd name="connsiteY6" fmla="*/ 1828801 h 1828801"/>
              <a:gd name="connsiteX7" fmla="*/ 0 w 115"/>
              <a:gd name="connsiteY7" fmla="*/ 1828801 h 1828801"/>
              <a:gd name="connsiteX0" fmla="*/ 0 w 115"/>
              <a:gd name="connsiteY0" fmla="*/ 1 h 1828801"/>
              <a:gd name="connsiteX1" fmla="*/ 65 w 115"/>
              <a:gd name="connsiteY1" fmla="*/ 0 h 1828801"/>
              <a:gd name="connsiteX2" fmla="*/ 65 w 115"/>
              <a:gd name="connsiteY2" fmla="*/ 838201 h 1828801"/>
              <a:gd name="connsiteX3" fmla="*/ 115 w 115"/>
              <a:gd name="connsiteY3" fmla="*/ 914401 h 1828801"/>
              <a:gd name="connsiteX4" fmla="*/ 65 w 115"/>
              <a:gd name="connsiteY4" fmla="*/ 990601 h 1828801"/>
              <a:gd name="connsiteX5" fmla="*/ 65 w 115"/>
              <a:gd name="connsiteY5" fmla="*/ 1828801 h 1828801"/>
              <a:gd name="connsiteX6" fmla="*/ 65 w 115"/>
              <a:gd name="connsiteY6" fmla="*/ 1828801 h 1828801"/>
              <a:gd name="connsiteX7" fmla="*/ 0 w 115"/>
              <a:gd name="connsiteY7" fmla="*/ 1828801 h 1828801"/>
              <a:gd name="connsiteX0" fmla="*/ 0 w 115"/>
              <a:gd name="connsiteY0" fmla="*/ 1 h 1828801"/>
              <a:gd name="connsiteX1" fmla="*/ 65 w 115"/>
              <a:gd name="connsiteY1" fmla="*/ 0 h 1828801"/>
              <a:gd name="connsiteX2" fmla="*/ 65 w 115"/>
              <a:gd name="connsiteY2" fmla="*/ 838201 h 1828801"/>
              <a:gd name="connsiteX3" fmla="*/ 115 w 115"/>
              <a:gd name="connsiteY3" fmla="*/ 914401 h 1828801"/>
              <a:gd name="connsiteX4" fmla="*/ 65 w 115"/>
              <a:gd name="connsiteY4" fmla="*/ 990601 h 1828801"/>
              <a:gd name="connsiteX5" fmla="*/ 65 w 115"/>
              <a:gd name="connsiteY5" fmla="*/ 1828801 h 1828801"/>
              <a:gd name="connsiteX6" fmla="*/ 0 w 115"/>
              <a:gd name="connsiteY6" fmla="*/ 1828801 h 1828801"/>
              <a:gd name="connsiteX7" fmla="*/ 0 w 115"/>
              <a:gd name="connsiteY7" fmla="*/ 1828801 h 1828801"/>
              <a:gd name="connsiteX0" fmla="*/ 0 w 115"/>
              <a:gd name="connsiteY0" fmla="*/ 0 h 1828801"/>
              <a:gd name="connsiteX1" fmla="*/ 65 w 115"/>
              <a:gd name="connsiteY1" fmla="*/ 0 h 1828801"/>
              <a:gd name="connsiteX2" fmla="*/ 65 w 115"/>
              <a:gd name="connsiteY2" fmla="*/ 838201 h 1828801"/>
              <a:gd name="connsiteX3" fmla="*/ 115 w 115"/>
              <a:gd name="connsiteY3" fmla="*/ 914401 h 1828801"/>
              <a:gd name="connsiteX4" fmla="*/ 65 w 115"/>
              <a:gd name="connsiteY4" fmla="*/ 990601 h 1828801"/>
              <a:gd name="connsiteX5" fmla="*/ 65 w 115"/>
              <a:gd name="connsiteY5" fmla="*/ 1828801 h 1828801"/>
              <a:gd name="connsiteX6" fmla="*/ 0 w 115"/>
              <a:gd name="connsiteY6" fmla="*/ 1828801 h 1828801"/>
              <a:gd name="connsiteX7" fmla="*/ 0 w 115"/>
              <a:gd name="connsiteY7" fmla="*/ 1828801 h 1828801"/>
              <a:gd name="connsiteX0" fmla="*/ 0 w 115"/>
              <a:gd name="connsiteY0" fmla="*/ 0 h 1828801"/>
              <a:gd name="connsiteX1" fmla="*/ 25 w 115"/>
              <a:gd name="connsiteY1" fmla="*/ 0 h 1828801"/>
              <a:gd name="connsiteX2" fmla="*/ 65 w 115"/>
              <a:gd name="connsiteY2" fmla="*/ 838201 h 1828801"/>
              <a:gd name="connsiteX3" fmla="*/ 115 w 115"/>
              <a:gd name="connsiteY3" fmla="*/ 914401 h 1828801"/>
              <a:gd name="connsiteX4" fmla="*/ 65 w 115"/>
              <a:gd name="connsiteY4" fmla="*/ 990601 h 1828801"/>
              <a:gd name="connsiteX5" fmla="*/ 65 w 115"/>
              <a:gd name="connsiteY5" fmla="*/ 1828801 h 1828801"/>
              <a:gd name="connsiteX6" fmla="*/ 0 w 115"/>
              <a:gd name="connsiteY6" fmla="*/ 1828801 h 1828801"/>
              <a:gd name="connsiteX7" fmla="*/ 0 w 115"/>
              <a:gd name="connsiteY7" fmla="*/ 1828801 h 1828801"/>
              <a:gd name="connsiteX0" fmla="*/ 0 w 115"/>
              <a:gd name="connsiteY0" fmla="*/ 0 h 1828801"/>
              <a:gd name="connsiteX1" fmla="*/ 25 w 115"/>
              <a:gd name="connsiteY1" fmla="*/ 0 h 1828801"/>
              <a:gd name="connsiteX2" fmla="*/ 25 w 115"/>
              <a:gd name="connsiteY2" fmla="*/ 886119 h 1828801"/>
              <a:gd name="connsiteX3" fmla="*/ 115 w 115"/>
              <a:gd name="connsiteY3" fmla="*/ 914401 h 1828801"/>
              <a:gd name="connsiteX4" fmla="*/ 65 w 115"/>
              <a:gd name="connsiteY4" fmla="*/ 990601 h 1828801"/>
              <a:gd name="connsiteX5" fmla="*/ 65 w 115"/>
              <a:gd name="connsiteY5" fmla="*/ 1828801 h 1828801"/>
              <a:gd name="connsiteX6" fmla="*/ 0 w 115"/>
              <a:gd name="connsiteY6" fmla="*/ 1828801 h 1828801"/>
              <a:gd name="connsiteX7" fmla="*/ 0 w 115"/>
              <a:gd name="connsiteY7" fmla="*/ 1828801 h 1828801"/>
              <a:gd name="connsiteX0" fmla="*/ 0 w 65"/>
              <a:gd name="connsiteY0" fmla="*/ 0 h 1828801"/>
              <a:gd name="connsiteX1" fmla="*/ 25 w 65"/>
              <a:gd name="connsiteY1" fmla="*/ 0 h 1828801"/>
              <a:gd name="connsiteX2" fmla="*/ 25 w 65"/>
              <a:gd name="connsiteY2" fmla="*/ 886119 h 1828801"/>
              <a:gd name="connsiteX3" fmla="*/ 44 w 65"/>
              <a:gd name="connsiteY3" fmla="*/ 914401 h 1828801"/>
              <a:gd name="connsiteX4" fmla="*/ 65 w 65"/>
              <a:gd name="connsiteY4" fmla="*/ 990601 h 1828801"/>
              <a:gd name="connsiteX5" fmla="*/ 65 w 65"/>
              <a:gd name="connsiteY5" fmla="*/ 1828801 h 1828801"/>
              <a:gd name="connsiteX6" fmla="*/ 0 w 65"/>
              <a:gd name="connsiteY6" fmla="*/ 1828801 h 1828801"/>
              <a:gd name="connsiteX7" fmla="*/ 0 w 65"/>
              <a:gd name="connsiteY7" fmla="*/ 1828801 h 1828801"/>
              <a:gd name="connsiteX0" fmla="*/ 0 w 65"/>
              <a:gd name="connsiteY0" fmla="*/ 0 h 1828801"/>
              <a:gd name="connsiteX1" fmla="*/ 25 w 65"/>
              <a:gd name="connsiteY1" fmla="*/ 0 h 1828801"/>
              <a:gd name="connsiteX2" fmla="*/ 25 w 65"/>
              <a:gd name="connsiteY2" fmla="*/ 886119 h 1828801"/>
              <a:gd name="connsiteX3" fmla="*/ 44 w 65"/>
              <a:gd name="connsiteY3" fmla="*/ 914401 h 1828801"/>
              <a:gd name="connsiteX4" fmla="*/ 25 w 65"/>
              <a:gd name="connsiteY4" fmla="*/ 942682 h 1828801"/>
              <a:gd name="connsiteX5" fmla="*/ 65 w 65"/>
              <a:gd name="connsiteY5" fmla="*/ 1828801 h 1828801"/>
              <a:gd name="connsiteX6" fmla="*/ 0 w 65"/>
              <a:gd name="connsiteY6" fmla="*/ 1828801 h 1828801"/>
              <a:gd name="connsiteX7" fmla="*/ 0 w 65"/>
              <a:gd name="connsiteY7" fmla="*/ 1828801 h 1828801"/>
              <a:gd name="connsiteX0" fmla="*/ 0 w 44"/>
              <a:gd name="connsiteY0" fmla="*/ 0 h 1828801"/>
              <a:gd name="connsiteX1" fmla="*/ 25 w 44"/>
              <a:gd name="connsiteY1" fmla="*/ 0 h 1828801"/>
              <a:gd name="connsiteX2" fmla="*/ 25 w 44"/>
              <a:gd name="connsiteY2" fmla="*/ 886119 h 1828801"/>
              <a:gd name="connsiteX3" fmla="*/ 44 w 44"/>
              <a:gd name="connsiteY3" fmla="*/ 914401 h 1828801"/>
              <a:gd name="connsiteX4" fmla="*/ 25 w 44"/>
              <a:gd name="connsiteY4" fmla="*/ 942682 h 1828801"/>
              <a:gd name="connsiteX5" fmla="*/ 25 w 44"/>
              <a:gd name="connsiteY5" fmla="*/ 1828801 h 1828801"/>
              <a:gd name="connsiteX6" fmla="*/ 0 w 44"/>
              <a:gd name="connsiteY6" fmla="*/ 1828801 h 1828801"/>
              <a:gd name="connsiteX7" fmla="*/ 0 w 44"/>
              <a:gd name="connsiteY7" fmla="*/ 1828801 h 1828801"/>
              <a:gd name="connsiteX0" fmla="*/ 0 w 44"/>
              <a:gd name="connsiteY0" fmla="*/ 0 h 1828801"/>
              <a:gd name="connsiteX1" fmla="*/ 25 w 44"/>
              <a:gd name="connsiteY1" fmla="*/ 0 h 1828801"/>
              <a:gd name="connsiteX2" fmla="*/ 25 w 44"/>
              <a:gd name="connsiteY2" fmla="*/ 886119 h 1828801"/>
              <a:gd name="connsiteX3" fmla="*/ 44 w 44"/>
              <a:gd name="connsiteY3" fmla="*/ 914401 h 1828801"/>
              <a:gd name="connsiteX4" fmla="*/ 25 w 44"/>
              <a:gd name="connsiteY4" fmla="*/ 942682 h 1828801"/>
              <a:gd name="connsiteX5" fmla="*/ 25 w 44"/>
              <a:gd name="connsiteY5" fmla="*/ 1828801 h 1828801"/>
              <a:gd name="connsiteX6" fmla="*/ 0 w 44"/>
              <a:gd name="connsiteY6" fmla="*/ 1828801 h 1828801"/>
              <a:gd name="connsiteX7" fmla="*/ 0 w 44"/>
              <a:gd name="connsiteY7" fmla="*/ 1828801 h 1828801"/>
              <a:gd name="connsiteX0" fmla="*/ 0 w 44"/>
              <a:gd name="connsiteY0" fmla="*/ 0 h 1828801"/>
              <a:gd name="connsiteX1" fmla="*/ 25 w 44"/>
              <a:gd name="connsiteY1" fmla="*/ 0 h 1828801"/>
              <a:gd name="connsiteX2" fmla="*/ 25 w 44"/>
              <a:gd name="connsiteY2" fmla="*/ 886119 h 1828801"/>
              <a:gd name="connsiteX3" fmla="*/ 44 w 44"/>
              <a:gd name="connsiteY3" fmla="*/ 914401 h 1828801"/>
              <a:gd name="connsiteX4" fmla="*/ 25 w 44"/>
              <a:gd name="connsiteY4" fmla="*/ 942682 h 1828801"/>
              <a:gd name="connsiteX5" fmla="*/ 25 w 44"/>
              <a:gd name="connsiteY5" fmla="*/ 1828801 h 1828801"/>
              <a:gd name="connsiteX6" fmla="*/ 0 w 44"/>
              <a:gd name="connsiteY6" fmla="*/ 1828801 h 1828801"/>
              <a:gd name="connsiteX0" fmla="*/ 0 w 44"/>
              <a:gd name="connsiteY0" fmla="*/ 0 h 1828801"/>
              <a:gd name="connsiteX1" fmla="*/ 25 w 44"/>
              <a:gd name="connsiteY1" fmla="*/ 0 h 1828801"/>
              <a:gd name="connsiteX2" fmla="*/ 25 w 44"/>
              <a:gd name="connsiteY2" fmla="*/ 886119 h 1828801"/>
              <a:gd name="connsiteX3" fmla="*/ 44 w 44"/>
              <a:gd name="connsiteY3" fmla="*/ 914401 h 1828801"/>
              <a:gd name="connsiteX4" fmla="*/ 25 w 44"/>
              <a:gd name="connsiteY4" fmla="*/ 942682 h 1828801"/>
              <a:gd name="connsiteX5" fmla="*/ 0 w 44"/>
              <a:gd name="connsiteY5" fmla="*/ 1828801 h 1828801"/>
              <a:gd name="connsiteX0" fmla="*/ 0 w 44"/>
              <a:gd name="connsiteY0" fmla="*/ 0 h 1828801"/>
              <a:gd name="connsiteX1" fmla="*/ 25 w 44"/>
              <a:gd name="connsiteY1" fmla="*/ 0 h 1828801"/>
              <a:gd name="connsiteX2" fmla="*/ 25 w 44"/>
              <a:gd name="connsiteY2" fmla="*/ 886119 h 1828801"/>
              <a:gd name="connsiteX3" fmla="*/ 44 w 44"/>
              <a:gd name="connsiteY3" fmla="*/ 914401 h 1828801"/>
              <a:gd name="connsiteX4" fmla="*/ 0 w 44"/>
              <a:gd name="connsiteY4" fmla="*/ 1828801 h 1828801"/>
              <a:gd name="connsiteX0" fmla="*/ 0 w 25"/>
              <a:gd name="connsiteY0" fmla="*/ 0 h 1828801"/>
              <a:gd name="connsiteX1" fmla="*/ 25 w 25"/>
              <a:gd name="connsiteY1" fmla="*/ 0 h 1828801"/>
              <a:gd name="connsiteX2" fmla="*/ 25 w 25"/>
              <a:gd name="connsiteY2" fmla="*/ 886119 h 1828801"/>
              <a:gd name="connsiteX3" fmla="*/ 0 w 25"/>
              <a:gd name="connsiteY3" fmla="*/ 1828801 h 1828801"/>
              <a:gd name="connsiteX0" fmla="*/ 0 w 25"/>
              <a:gd name="connsiteY0" fmla="*/ 0 h 1828801"/>
              <a:gd name="connsiteX1" fmla="*/ 25 w 25"/>
              <a:gd name="connsiteY1" fmla="*/ 0 h 1828801"/>
              <a:gd name="connsiteX2" fmla="*/ 0 w 25"/>
              <a:gd name="connsiteY2" fmla="*/ 1828801 h 1828801"/>
              <a:gd name="connsiteX0" fmla="*/ 0 w 0"/>
              <a:gd name="connsiteY0" fmla="*/ 0 h 1828801"/>
              <a:gd name="connsiteX1" fmla="*/ 0 w 0"/>
              <a:gd name="connsiteY1" fmla="*/ 1828801 h 1828801"/>
              <a:gd name="connsiteX0" fmla="*/ 697158 w 697158"/>
              <a:gd name="connsiteY0" fmla="*/ 0 h 2110807"/>
              <a:gd name="connsiteX1" fmla="*/ 0 w 697158"/>
              <a:gd name="connsiteY1" fmla="*/ 2110807 h 2110807"/>
              <a:gd name="connsiteX0" fmla="*/ 697158 w 800346"/>
              <a:gd name="connsiteY0" fmla="*/ 0 h 2110807"/>
              <a:gd name="connsiteX1" fmla="*/ 0 w 800346"/>
              <a:gd name="connsiteY1" fmla="*/ 2110807 h 2110807"/>
              <a:gd name="connsiteX2" fmla="*/ 800346 w 800346"/>
              <a:gd name="connsiteY2" fmla="*/ 0 h 2110807"/>
              <a:gd name="connsiteX0" fmla="*/ 697158 w 800346"/>
              <a:gd name="connsiteY0" fmla="*/ 0 h 2110807"/>
              <a:gd name="connsiteX1" fmla="*/ 0 w 800346"/>
              <a:gd name="connsiteY1" fmla="*/ 2110807 h 2110807"/>
              <a:gd name="connsiteX2" fmla="*/ 800346 w 800346"/>
              <a:gd name="connsiteY2" fmla="*/ 0 h 2110807"/>
              <a:gd name="connsiteX3" fmla="*/ 800346 w 800346"/>
              <a:gd name="connsiteY3" fmla="*/ 339059 h 2110807"/>
              <a:gd name="connsiteX0" fmla="*/ 697158 w 879721"/>
              <a:gd name="connsiteY0" fmla="*/ 0 h 2110807"/>
              <a:gd name="connsiteX1" fmla="*/ 0 w 879721"/>
              <a:gd name="connsiteY1" fmla="*/ 2110807 h 2110807"/>
              <a:gd name="connsiteX2" fmla="*/ 800346 w 879721"/>
              <a:gd name="connsiteY2" fmla="*/ 0 h 2110807"/>
              <a:gd name="connsiteX3" fmla="*/ 800346 w 879721"/>
              <a:gd name="connsiteY3" fmla="*/ 339059 h 2110807"/>
              <a:gd name="connsiteX4" fmla="*/ 879721 w 879721"/>
              <a:gd name="connsiteY4" fmla="*/ 369883 h 2110807"/>
              <a:gd name="connsiteX0" fmla="*/ 697158 w 879721"/>
              <a:gd name="connsiteY0" fmla="*/ 0 h 2110807"/>
              <a:gd name="connsiteX1" fmla="*/ 0 w 879721"/>
              <a:gd name="connsiteY1" fmla="*/ 2110807 h 2110807"/>
              <a:gd name="connsiteX2" fmla="*/ 800346 w 879721"/>
              <a:gd name="connsiteY2" fmla="*/ 0 h 2110807"/>
              <a:gd name="connsiteX3" fmla="*/ 800346 w 879721"/>
              <a:gd name="connsiteY3" fmla="*/ 339059 h 2110807"/>
              <a:gd name="connsiteX4" fmla="*/ 879721 w 879721"/>
              <a:gd name="connsiteY4" fmla="*/ 369883 h 2110807"/>
              <a:gd name="connsiteX5" fmla="*/ 800346 w 879721"/>
              <a:gd name="connsiteY5" fmla="*/ 400706 h 2110807"/>
              <a:gd name="connsiteX0" fmla="*/ 697158 w 879721"/>
              <a:gd name="connsiteY0" fmla="*/ 0 h 2110807"/>
              <a:gd name="connsiteX1" fmla="*/ 0 w 879721"/>
              <a:gd name="connsiteY1" fmla="*/ 2110807 h 2110807"/>
              <a:gd name="connsiteX2" fmla="*/ 800346 w 879721"/>
              <a:gd name="connsiteY2" fmla="*/ 0 h 2110807"/>
              <a:gd name="connsiteX3" fmla="*/ 800346 w 879721"/>
              <a:gd name="connsiteY3" fmla="*/ 339059 h 2110807"/>
              <a:gd name="connsiteX4" fmla="*/ 879721 w 879721"/>
              <a:gd name="connsiteY4" fmla="*/ 369883 h 2110807"/>
              <a:gd name="connsiteX5" fmla="*/ 800346 w 879721"/>
              <a:gd name="connsiteY5" fmla="*/ 400706 h 2110807"/>
              <a:gd name="connsiteX6" fmla="*/ 800346 w 879721"/>
              <a:gd name="connsiteY6" fmla="*/ 739766 h 2110807"/>
              <a:gd name="connsiteX0" fmla="*/ 697158 w 879721"/>
              <a:gd name="connsiteY0" fmla="*/ 0 h 2110807"/>
              <a:gd name="connsiteX1" fmla="*/ 0 w 879721"/>
              <a:gd name="connsiteY1" fmla="*/ 2110807 h 2110807"/>
              <a:gd name="connsiteX2" fmla="*/ 800346 w 879721"/>
              <a:gd name="connsiteY2" fmla="*/ 0 h 2110807"/>
              <a:gd name="connsiteX3" fmla="*/ 800346 w 879721"/>
              <a:gd name="connsiteY3" fmla="*/ 339059 h 2110807"/>
              <a:gd name="connsiteX4" fmla="*/ 879721 w 879721"/>
              <a:gd name="connsiteY4" fmla="*/ 369883 h 2110807"/>
              <a:gd name="connsiteX5" fmla="*/ 800346 w 879721"/>
              <a:gd name="connsiteY5" fmla="*/ 400706 h 2110807"/>
              <a:gd name="connsiteX6" fmla="*/ 800346 w 879721"/>
              <a:gd name="connsiteY6" fmla="*/ 739766 h 2110807"/>
              <a:gd name="connsiteX7" fmla="*/ 697158 w 879721"/>
              <a:gd name="connsiteY7" fmla="*/ 739766 h 2110807"/>
              <a:gd name="connsiteX0" fmla="*/ 697158 w 879721"/>
              <a:gd name="connsiteY0" fmla="*/ 0 h 2110807"/>
              <a:gd name="connsiteX1" fmla="*/ 0 w 879721"/>
              <a:gd name="connsiteY1" fmla="*/ 2110807 h 2110807"/>
              <a:gd name="connsiteX2" fmla="*/ 800346 w 879721"/>
              <a:gd name="connsiteY2" fmla="*/ 0 h 2110807"/>
              <a:gd name="connsiteX3" fmla="*/ 800346 w 879721"/>
              <a:gd name="connsiteY3" fmla="*/ 339059 h 2110807"/>
              <a:gd name="connsiteX4" fmla="*/ 879721 w 879721"/>
              <a:gd name="connsiteY4" fmla="*/ 369883 h 2110807"/>
              <a:gd name="connsiteX5" fmla="*/ 800346 w 879721"/>
              <a:gd name="connsiteY5" fmla="*/ 400706 h 2110807"/>
              <a:gd name="connsiteX6" fmla="*/ 800346 w 879721"/>
              <a:gd name="connsiteY6" fmla="*/ 739766 h 2110807"/>
              <a:gd name="connsiteX7" fmla="*/ 697158 w 879721"/>
              <a:gd name="connsiteY7" fmla="*/ 739766 h 2110807"/>
              <a:gd name="connsiteX0" fmla="*/ 0 w 182563"/>
              <a:gd name="connsiteY0" fmla="*/ 0 h 739766"/>
              <a:gd name="connsiteX1" fmla="*/ 103188 w 182563"/>
              <a:gd name="connsiteY1" fmla="*/ 0 h 739766"/>
              <a:gd name="connsiteX2" fmla="*/ 103188 w 182563"/>
              <a:gd name="connsiteY2" fmla="*/ 0 h 739766"/>
              <a:gd name="connsiteX3" fmla="*/ 103188 w 182563"/>
              <a:gd name="connsiteY3" fmla="*/ 339059 h 739766"/>
              <a:gd name="connsiteX4" fmla="*/ 182563 w 182563"/>
              <a:gd name="connsiteY4" fmla="*/ 369883 h 739766"/>
              <a:gd name="connsiteX5" fmla="*/ 103188 w 182563"/>
              <a:gd name="connsiteY5" fmla="*/ 400706 h 739766"/>
              <a:gd name="connsiteX6" fmla="*/ 103188 w 182563"/>
              <a:gd name="connsiteY6" fmla="*/ 739766 h 739766"/>
              <a:gd name="connsiteX7" fmla="*/ 0 w 182563"/>
              <a:gd name="connsiteY7" fmla="*/ 739766 h 739766"/>
              <a:gd name="connsiteX0" fmla="*/ 0 w 182563"/>
              <a:gd name="connsiteY0" fmla="*/ 0 h 739766"/>
              <a:gd name="connsiteX1" fmla="*/ 103188 w 182563"/>
              <a:gd name="connsiteY1" fmla="*/ 0 h 739766"/>
              <a:gd name="connsiteX2" fmla="*/ 103188 w 182563"/>
              <a:gd name="connsiteY2" fmla="*/ 339060 h 739766"/>
              <a:gd name="connsiteX3" fmla="*/ 103188 w 182563"/>
              <a:gd name="connsiteY3" fmla="*/ 339059 h 739766"/>
              <a:gd name="connsiteX4" fmla="*/ 182563 w 182563"/>
              <a:gd name="connsiteY4" fmla="*/ 369883 h 739766"/>
              <a:gd name="connsiteX5" fmla="*/ 103188 w 182563"/>
              <a:gd name="connsiteY5" fmla="*/ 400706 h 739766"/>
              <a:gd name="connsiteX6" fmla="*/ 103188 w 182563"/>
              <a:gd name="connsiteY6" fmla="*/ 739766 h 739766"/>
              <a:gd name="connsiteX7" fmla="*/ 0 w 182563"/>
              <a:gd name="connsiteY7" fmla="*/ 739766 h 739766"/>
              <a:gd name="connsiteX0" fmla="*/ 0 w 182563"/>
              <a:gd name="connsiteY0" fmla="*/ 0 h 739766"/>
              <a:gd name="connsiteX1" fmla="*/ 103188 w 182563"/>
              <a:gd name="connsiteY1" fmla="*/ 0 h 739766"/>
              <a:gd name="connsiteX2" fmla="*/ 103188 w 182563"/>
              <a:gd name="connsiteY2" fmla="*/ 339060 h 739766"/>
              <a:gd name="connsiteX3" fmla="*/ 182563 w 182563"/>
              <a:gd name="connsiteY3" fmla="*/ 369883 h 739766"/>
              <a:gd name="connsiteX4" fmla="*/ 182563 w 182563"/>
              <a:gd name="connsiteY4" fmla="*/ 369883 h 739766"/>
              <a:gd name="connsiteX5" fmla="*/ 103188 w 182563"/>
              <a:gd name="connsiteY5" fmla="*/ 400706 h 739766"/>
              <a:gd name="connsiteX6" fmla="*/ 103188 w 182563"/>
              <a:gd name="connsiteY6" fmla="*/ 739766 h 739766"/>
              <a:gd name="connsiteX7" fmla="*/ 0 w 182563"/>
              <a:gd name="connsiteY7" fmla="*/ 739766 h 739766"/>
              <a:gd name="connsiteX0" fmla="*/ 0 w 182563"/>
              <a:gd name="connsiteY0" fmla="*/ 0 h 739766"/>
              <a:gd name="connsiteX1" fmla="*/ 103188 w 182563"/>
              <a:gd name="connsiteY1" fmla="*/ 0 h 739766"/>
              <a:gd name="connsiteX2" fmla="*/ 103188 w 182563"/>
              <a:gd name="connsiteY2" fmla="*/ 339060 h 739766"/>
              <a:gd name="connsiteX3" fmla="*/ 182563 w 182563"/>
              <a:gd name="connsiteY3" fmla="*/ 369883 h 739766"/>
              <a:gd name="connsiteX4" fmla="*/ 103188 w 182563"/>
              <a:gd name="connsiteY4" fmla="*/ 400707 h 739766"/>
              <a:gd name="connsiteX5" fmla="*/ 103188 w 182563"/>
              <a:gd name="connsiteY5" fmla="*/ 400706 h 739766"/>
              <a:gd name="connsiteX6" fmla="*/ 103188 w 182563"/>
              <a:gd name="connsiteY6" fmla="*/ 739766 h 739766"/>
              <a:gd name="connsiteX7" fmla="*/ 0 w 182563"/>
              <a:gd name="connsiteY7" fmla="*/ 739766 h 739766"/>
              <a:gd name="connsiteX0" fmla="*/ 0 w 182563"/>
              <a:gd name="connsiteY0" fmla="*/ 0 h 739766"/>
              <a:gd name="connsiteX1" fmla="*/ 103188 w 182563"/>
              <a:gd name="connsiteY1" fmla="*/ 0 h 739766"/>
              <a:gd name="connsiteX2" fmla="*/ 103188 w 182563"/>
              <a:gd name="connsiteY2" fmla="*/ 339060 h 739766"/>
              <a:gd name="connsiteX3" fmla="*/ 182563 w 182563"/>
              <a:gd name="connsiteY3" fmla="*/ 369883 h 739766"/>
              <a:gd name="connsiteX4" fmla="*/ 103188 w 182563"/>
              <a:gd name="connsiteY4" fmla="*/ 400707 h 739766"/>
              <a:gd name="connsiteX5" fmla="*/ 103188 w 182563"/>
              <a:gd name="connsiteY5" fmla="*/ 739766 h 739766"/>
              <a:gd name="connsiteX6" fmla="*/ 103188 w 182563"/>
              <a:gd name="connsiteY6" fmla="*/ 739766 h 739766"/>
              <a:gd name="connsiteX7" fmla="*/ 0 w 182563"/>
              <a:gd name="connsiteY7" fmla="*/ 739766 h 739766"/>
              <a:gd name="connsiteX0" fmla="*/ 0 w 182563"/>
              <a:gd name="connsiteY0" fmla="*/ 0 h 739766"/>
              <a:gd name="connsiteX1" fmla="*/ 103188 w 182563"/>
              <a:gd name="connsiteY1" fmla="*/ 0 h 739766"/>
              <a:gd name="connsiteX2" fmla="*/ 103188 w 182563"/>
              <a:gd name="connsiteY2" fmla="*/ 339060 h 739766"/>
              <a:gd name="connsiteX3" fmla="*/ 182563 w 182563"/>
              <a:gd name="connsiteY3" fmla="*/ 369883 h 739766"/>
              <a:gd name="connsiteX4" fmla="*/ 103188 w 182563"/>
              <a:gd name="connsiteY4" fmla="*/ 400707 h 739766"/>
              <a:gd name="connsiteX5" fmla="*/ 103188 w 182563"/>
              <a:gd name="connsiteY5" fmla="*/ 739766 h 739766"/>
              <a:gd name="connsiteX6" fmla="*/ 0 w 182563"/>
              <a:gd name="connsiteY6" fmla="*/ 739766 h 739766"/>
              <a:gd name="connsiteX7" fmla="*/ 0 w 182563"/>
              <a:gd name="connsiteY7" fmla="*/ 739766 h 739766"/>
              <a:gd name="connsiteX0" fmla="*/ 0 w 182563"/>
              <a:gd name="connsiteY0" fmla="*/ 0 h 739766"/>
              <a:gd name="connsiteX1" fmla="*/ 103188 w 182563"/>
              <a:gd name="connsiteY1" fmla="*/ 0 h 739766"/>
              <a:gd name="connsiteX2" fmla="*/ 103188 w 182563"/>
              <a:gd name="connsiteY2" fmla="*/ 339060 h 739766"/>
              <a:gd name="connsiteX3" fmla="*/ 182563 w 182563"/>
              <a:gd name="connsiteY3" fmla="*/ 369883 h 739766"/>
              <a:gd name="connsiteX4" fmla="*/ 103188 w 182563"/>
              <a:gd name="connsiteY4" fmla="*/ 400707 h 739766"/>
              <a:gd name="connsiteX5" fmla="*/ 103188 w 182563"/>
              <a:gd name="connsiteY5" fmla="*/ 739766 h 739766"/>
              <a:gd name="connsiteX6" fmla="*/ 0 w 182563"/>
              <a:gd name="connsiteY6" fmla="*/ 739766 h 739766"/>
              <a:gd name="connsiteX7" fmla="*/ 0 w 182563"/>
              <a:gd name="connsiteY7" fmla="*/ 739766 h 739766"/>
              <a:gd name="connsiteX0" fmla="*/ 0 w 182563"/>
              <a:gd name="connsiteY0" fmla="*/ 0 h 739766"/>
              <a:gd name="connsiteX1" fmla="*/ 41380 w 182563"/>
              <a:gd name="connsiteY1" fmla="*/ 0 h 739766"/>
              <a:gd name="connsiteX2" fmla="*/ 103188 w 182563"/>
              <a:gd name="connsiteY2" fmla="*/ 339060 h 739766"/>
              <a:gd name="connsiteX3" fmla="*/ 182563 w 182563"/>
              <a:gd name="connsiteY3" fmla="*/ 369883 h 739766"/>
              <a:gd name="connsiteX4" fmla="*/ 103188 w 182563"/>
              <a:gd name="connsiteY4" fmla="*/ 400707 h 739766"/>
              <a:gd name="connsiteX5" fmla="*/ 103188 w 182563"/>
              <a:gd name="connsiteY5" fmla="*/ 739766 h 739766"/>
              <a:gd name="connsiteX6" fmla="*/ 0 w 182563"/>
              <a:gd name="connsiteY6" fmla="*/ 739766 h 739766"/>
              <a:gd name="connsiteX7" fmla="*/ 0 w 182563"/>
              <a:gd name="connsiteY7" fmla="*/ 739766 h 739766"/>
              <a:gd name="connsiteX0" fmla="*/ 0 w 182563"/>
              <a:gd name="connsiteY0" fmla="*/ 0 h 739766"/>
              <a:gd name="connsiteX1" fmla="*/ 41380 w 182563"/>
              <a:gd name="connsiteY1" fmla="*/ 0 h 739766"/>
              <a:gd name="connsiteX2" fmla="*/ 41380 w 182563"/>
              <a:gd name="connsiteY2" fmla="*/ 357934 h 739766"/>
              <a:gd name="connsiteX3" fmla="*/ 182563 w 182563"/>
              <a:gd name="connsiteY3" fmla="*/ 369883 h 739766"/>
              <a:gd name="connsiteX4" fmla="*/ 103188 w 182563"/>
              <a:gd name="connsiteY4" fmla="*/ 400707 h 739766"/>
              <a:gd name="connsiteX5" fmla="*/ 103188 w 182563"/>
              <a:gd name="connsiteY5" fmla="*/ 739766 h 739766"/>
              <a:gd name="connsiteX6" fmla="*/ 0 w 182563"/>
              <a:gd name="connsiteY6" fmla="*/ 739766 h 739766"/>
              <a:gd name="connsiteX7" fmla="*/ 0 w 182563"/>
              <a:gd name="connsiteY7" fmla="*/ 739766 h 739766"/>
              <a:gd name="connsiteX0" fmla="*/ 0 w 103188"/>
              <a:gd name="connsiteY0" fmla="*/ 0 h 739766"/>
              <a:gd name="connsiteX1" fmla="*/ 41380 w 103188"/>
              <a:gd name="connsiteY1" fmla="*/ 0 h 739766"/>
              <a:gd name="connsiteX2" fmla="*/ 41380 w 103188"/>
              <a:gd name="connsiteY2" fmla="*/ 357934 h 739766"/>
              <a:gd name="connsiteX3" fmla="*/ 73212 w 103188"/>
              <a:gd name="connsiteY3" fmla="*/ 369883 h 739766"/>
              <a:gd name="connsiteX4" fmla="*/ 103188 w 103188"/>
              <a:gd name="connsiteY4" fmla="*/ 400707 h 739766"/>
              <a:gd name="connsiteX5" fmla="*/ 103188 w 103188"/>
              <a:gd name="connsiteY5" fmla="*/ 739766 h 739766"/>
              <a:gd name="connsiteX6" fmla="*/ 0 w 103188"/>
              <a:gd name="connsiteY6" fmla="*/ 739766 h 739766"/>
              <a:gd name="connsiteX7" fmla="*/ 0 w 103188"/>
              <a:gd name="connsiteY7" fmla="*/ 739766 h 739766"/>
              <a:gd name="connsiteX0" fmla="*/ 0 w 103188"/>
              <a:gd name="connsiteY0" fmla="*/ 0 h 739766"/>
              <a:gd name="connsiteX1" fmla="*/ 41380 w 103188"/>
              <a:gd name="connsiteY1" fmla="*/ 0 h 739766"/>
              <a:gd name="connsiteX2" fmla="*/ 41380 w 103188"/>
              <a:gd name="connsiteY2" fmla="*/ 357934 h 739766"/>
              <a:gd name="connsiteX3" fmla="*/ 73212 w 103188"/>
              <a:gd name="connsiteY3" fmla="*/ 369883 h 739766"/>
              <a:gd name="connsiteX4" fmla="*/ 41381 w 103188"/>
              <a:gd name="connsiteY4" fmla="*/ 381832 h 739766"/>
              <a:gd name="connsiteX5" fmla="*/ 103188 w 103188"/>
              <a:gd name="connsiteY5" fmla="*/ 739766 h 739766"/>
              <a:gd name="connsiteX6" fmla="*/ 0 w 103188"/>
              <a:gd name="connsiteY6" fmla="*/ 739766 h 739766"/>
              <a:gd name="connsiteX7" fmla="*/ 0 w 103188"/>
              <a:gd name="connsiteY7" fmla="*/ 739766 h 739766"/>
              <a:gd name="connsiteX0" fmla="*/ 0 w 73212"/>
              <a:gd name="connsiteY0" fmla="*/ 0 h 739766"/>
              <a:gd name="connsiteX1" fmla="*/ 41380 w 73212"/>
              <a:gd name="connsiteY1" fmla="*/ 0 h 739766"/>
              <a:gd name="connsiteX2" fmla="*/ 41380 w 73212"/>
              <a:gd name="connsiteY2" fmla="*/ 357934 h 739766"/>
              <a:gd name="connsiteX3" fmla="*/ 73212 w 73212"/>
              <a:gd name="connsiteY3" fmla="*/ 369883 h 739766"/>
              <a:gd name="connsiteX4" fmla="*/ 41381 w 73212"/>
              <a:gd name="connsiteY4" fmla="*/ 381832 h 739766"/>
              <a:gd name="connsiteX5" fmla="*/ 41381 w 73212"/>
              <a:gd name="connsiteY5" fmla="*/ 739766 h 739766"/>
              <a:gd name="connsiteX6" fmla="*/ 0 w 73212"/>
              <a:gd name="connsiteY6" fmla="*/ 739766 h 739766"/>
              <a:gd name="connsiteX7" fmla="*/ 0 w 73212"/>
              <a:gd name="connsiteY7" fmla="*/ 739766 h 739766"/>
              <a:gd name="connsiteX0" fmla="*/ 0 w 73212"/>
              <a:gd name="connsiteY0" fmla="*/ 0 h 739766"/>
              <a:gd name="connsiteX1" fmla="*/ 41380 w 73212"/>
              <a:gd name="connsiteY1" fmla="*/ 0 h 739766"/>
              <a:gd name="connsiteX2" fmla="*/ 41380 w 73212"/>
              <a:gd name="connsiteY2" fmla="*/ 357934 h 739766"/>
              <a:gd name="connsiteX3" fmla="*/ 73212 w 73212"/>
              <a:gd name="connsiteY3" fmla="*/ 369883 h 739766"/>
              <a:gd name="connsiteX4" fmla="*/ 41381 w 73212"/>
              <a:gd name="connsiteY4" fmla="*/ 381832 h 739766"/>
              <a:gd name="connsiteX5" fmla="*/ 41381 w 73212"/>
              <a:gd name="connsiteY5" fmla="*/ 739766 h 739766"/>
              <a:gd name="connsiteX6" fmla="*/ 0 w 73212"/>
              <a:gd name="connsiteY6" fmla="*/ 739766 h 739766"/>
              <a:gd name="connsiteX7" fmla="*/ 0 w 73212"/>
              <a:gd name="connsiteY7" fmla="*/ 739766 h 739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12" h="739766">
                <a:moveTo>
                  <a:pt x="0" y="0"/>
                </a:moveTo>
                <a:lnTo>
                  <a:pt x="41380" y="0"/>
                </a:lnTo>
                <a:lnTo>
                  <a:pt x="41380" y="357934"/>
                </a:lnTo>
                <a:lnTo>
                  <a:pt x="73212" y="369883"/>
                </a:lnTo>
                <a:lnTo>
                  <a:pt x="41381" y="381832"/>
                </a:lnTo>
                <a:lnTo>
                  <a:pt x="41381" y="739766"/>
                </a:lnTo>
                <a:lnTo>
                  <a:pt x="0" y="739766"/>
                </a:lnTo>
                <a:lnTo>
                  <a:pt x="0" y="739766"/>
                </a:lnTo>
              </a:path>
            </a:pathLst>
          </a:custGeom>
          <a:noFill/>
          <a:ln w="9525">
            <a:solidFill>
              <a:schemeClr val="accent6"/>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sz="1400">
              <a:solidFill>
                <a:srgbClr val="000000"/>
              </a:solidFill>
            </a:endParaRPr>
          </a:p>
        </p:txBody>
      </p:sp>
      <p:pic>
        <p:nvPicPr>
          <p:cNvPr id="62" name="Picture 61"/>
          <p:cNvPicPr>
            <a:picLocks noChangeAspect="1"/>
          </p:cNvPicPr>
          <p:nvPr/>
        </p:nvPicPr>
        <p:blipFill rotWithShape="1">
          <a:blip r:embed="rId25" cstate="print">
            <a:extLst>
              <a:ext uri="{28A0092B-C50C-407E-A947-70E740481C1C}">
                <a14:useLocalDpi xmlns:a14="http://schemas.microsoft.com/office/drawing/2010/main" val="0"/>
              </a:ext>
            </a:extLst>
          </a:blip>
          <a:srcRect l="3112" t="3111" r="3112" b="10579"/>
          <a:stretch/>
        </p:blipFill>
        <p:spPr>
          <a:xfrm>
            <a:off x="7132806" y="4049848"/>
            <a:ext cx="1285987" cy="411529"/>
          </a:xfrm>
          <a:prstGeom prst="rect">
            <a:avLst/>
          </a:prstGeom>
        </p:spPr>
      </p:pic>
      <p:sp>
        <p:nvSpPr>
          <p:cNvPr id="82" name="Rectangle 10"/>
          <p:cNvSpPr txBox="1"/>
          <p:nvPr>
            <p:custDataLst>
              <p:tags r:id="rId5"/>
            </p:custDataLst>
          </p:nvPr>
        </p:nvSpPr>
        <p:spPr>
          <a:xfrm>
            <a:off x="7009535" y="4530294"/>
            <a:ext cx="1604892" cy="369332"/>
          </a:xfrm>
          <a:prstGeom prst="rect">
            <a:avLst/>
          </a:prstGeom>
          <a:solidFill>
            <a:schemeClr val="bg1"/>
          </a:solidFill>
          <a:ln w="9525">
            <a:solidFill>
              <a:schemeClr val="accent6"/>
            </a:solidFill>
            <a:miter lim="800000"/>
            <a:headEnd/>
            <a:tailEnd/>
          </a:ln>
          <a:effectLst/>
        </p:spPr>
        <p:txBody>
          <a:bodyPr vert="horz" wrap="square" lIns="76200" tIns="76200" rIns="76200" bIns="7620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buClr>
                <a:srgbClr val="0B4623"/>
              </a:buClr>
            </a:pPr>
            <a:r>
              <a:rPr lang="en-US" sz="1400" dirty="0" err="1">
                <a:solidFill>
                  <a:srgbClr val="000000"/>
                </a:solidFill>
              </a:rPr>
              <a:t>Prov</a:t>
            </a:r>
            <a:r>
              <a:rPr lang="en-US" sz="1400" dirty="0">
                <a:solidFill>
                  <a:srgbClr val="000000"/>
                </a:solidFill>
              </a:rPr>
              <a:t> Authorities</a:t>
            </a:r>
          </a:p>
        </p:txBody>
      </p:sp>
      <p:pic>
        <p:nvPicPr>
          <p:cNvPr id="83" name="Picture 82"/>
          <p:cNvPicPr>
            <a:picLocks/>
          </p:cNvPicPr>
          <p:nvPr/>
        </p:nvPicPr>
        <p:blipFill rotWithShape="1">
          <a:blip r:embed="rId23">
            <a:extLst>
              <a:ext uri="{28A0092B-C50C-407E-A947-70E740481C1C}">
                <a14:useLocalDpi xmlns:a14="http://schemas.microsoft.com/office/drawing/2010/main" val="0"/>
              </a:ext>
            </a:extLst>
          </a:blip>
          <a:srcRect t="16971" b="16971"/>
          <a:stretch/>
        </p:blipFill>
        <p:spPr>
          <a:xfrm>
            <a:off x="6949503" y="1319526"/>
            <a:ext cx="1604892" cy="684575"/>
          </a:xfrm>
          <a:prstGeom prst="rect">
            <a:avLst/>
          </a:prstGeom>
        </p:spPr>
      </p:pic>
      <p:pic>
        <p:nvPicPr>
          <p:cNvPr id="84" name="Picture 83"/>
          <p:cNvPicPr>
            <a:picLocks/>
          </p:cNvPicPr>
          <p:nvPr/>
        </p:nvPicPr>
        <p:blipFill>
          <a:blip r:embed="rId24" cstate="print">
            <a:extLst>
              <a:ext uri="{28A0092B-C50C-407E-A947-70E740481C1C}">
                <a14:useLocalDpi xmlns:a14="http://schemas.microsoft.com/office/drawing/2010/main" val="0"/>
              </a:ext>
            </a:extLst>
          </a:blip>
          <a:stretch>
            <a:fillRect/>
          </a:stretch>
        </p:blipFill>
        <p:spPr>
          <a:xfrm>
            <a:off x="6979895" y="2346767"/>
            <a:ext cx="1544107" cy="713012"/>
          </a:xfrm>
          <a:prstGeom prst="rect">
            <a:avLst/>
          </a:prstGeom>
        </p:spPr>
      </p:pic>
    </p:spTree>
    <p:extLst>
      <p:ext uri="{BB962C8B-B14F-4D97-AF65-F5344CB8AC3E}">
        <p14:creationId xmlns:p14="http://schemas.microsoft.com/office/powerpoint/2010/main" val="333316357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2591993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0"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930400" y="230188"/>
            <a:ext cx="6859588" cy="292388"/>
          </a:xfrm>
        </p:spPr>
        <p:txBody>
          <a:bodyPr/>
          <a:lstStyle/>
          <a:p>
            <a:r>
              <a:rPr lang="en-ZA" dirty="0" smtClean="0"/>
              <a:t>SANPARKS ROLE IN BIODIVERSITY ECONOMY</a:t>
            </a:r>
            <a:endParaRPr lang="en-ZA" dirty="0"/>
          </a:p>
        </p:txBody>
      </p:sp>
      <p:sp>
        <p:nvSpPr>
          <p:cNvPr id="57" name="Rectangle 56"/>
          <p:cNvSpPr>
            <a:spLocks/>
          </p:cNvSpPr>
          <p:nvPr/>
        </p:nvSpPr>
        <p:spPr>
          <a:xfrm>
            <a:off x="171450" y="944880"/>
            <a:ext cx="1637030" cy="1056697"/>
          </a:xfrm>
          <a:prstGeom prst="rect">
            <a:avLst/>
          </a:prstGeom>
          <a:gradFill>
            <a:gsLst>
              <a:gs pos="0">
                <a:schemeClr val="accent3"/>
              </a:gs>
              <a:gs pos="80000">
                <a:schemeClr val="accent2"/>
              </a:gs>
              <a:gs pos="100000">
                <a:schemeClr val="accent1">
                  <a:shade val="94000"/>
                  <a:satMod val="135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noAutofit/>
          </a:bodyPr>
          <a:lstStyle/>
          <a:p>
            <a:r>
              <a:rPr lang="en-US" sz="1350" b="1" dirty="0" smtClean="0">
                <a:solidFill>
                  <a:schemeClr val="bg2"/>
                </a:solidFill>
              </a:rPr>
              <a:t>Focal areas</a:t>
            </a:r>
            <a:endParaRPr lang="en-US" sz="1350" b="1" dirty="0">
              <a:solidFill>
                <a:schemeClr val="bg2"/>
              </a:solidFill>
            </a:endParaRPr>
          </a:p>
          <a:p>
            <a:endParaRPr lang="en-US" sz="1350" b="1" dirty="0">
              <a:solidFill>
                <a:schemeClr val="bg2"/>
              </a:solidFill>
            </a:endParaRPr>
          </a:p>
        </p:txBody>
      </p:sp>
      <p:sp>
        <p:nvSpPr>
          <p:cNvPr id="62" name="Rectangle 61"/>
          <p:cNvSpPr>
            <a:spLocks/>
          </p:cNvSpPr>
          <p:nvPr/>
        </p:nvSpPr>
        <p:spPr>
          <a:xfrm>
            <a:off x="193350" y="2895041"/>
            <a:ext cx="1637030" cy="1454244"/>
          </a:xfrm>
          <a:prstGeom prst="rect">
            <a:avLst/>
          </a:prstGeom>
          <a:gradFill>
            <a:gsLst>
              <a:gs pos="0">
                <a:schemeClr val="accent3"/>
              </a:gs>
              <a:gs pos="80000">
                <a:schemeClr val="accent2"/>
              </a:gs>
              <a:gs pos="100000">
                <a:schemeClr val="accent1">
                  <a:shade val="94000"/>
                  <a:satMod val="135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noAutofit/>
          </a:bodyPr>
          <a:lstStyle/>
          <a:p>
            <a:r>
              <a:rPr lang="en-US" sz="1350" b="1" dirty="0">
                <a:solidFill>
                  <a:schemeClr val="bg2"/>
                </a:solidFill>
              </a:rPr>
              <a:t>Key Initiatives</a:t>
            </a:r>
          </a:p>
          <a:p>
            <a:endParaRPr lang="en-US" sz="1350" b="1" dirty="0" smtClean="0">
              <a:solidFill>
                <a:schemeClr val="bg2"/>
              </a:solidFill>
            </a:endParaRPr>
          </a:p>
        </p:txBody>
      </p:sp>
      <p:grpSp>
        <p:nvGrpSpPr>
          <p:cNvPr id="3" name="Group 2"/>
          <p:cNvGrpSpPr/>
          <p:nvPr/>
        </p:nvGrpSpPr>
        <p:grpSpPr>
          <a:xfrm>
            <a:off x="1835497" y="944880"/>
            <a:ext cx="4863702" cy="4295326"/>
            <a:chOff x="1850138" y="944880"/>
            <a:chExt cx="6846821" cy="4295326"/>
          </a:xfrm>
        </p:grpSpPr>
        <p:sp>
          <p:nvSpPr>
            <p:cNvPr id="13" name="Rectangle 13"/>
            <p:cNvSpPr txBox="1"/>
            <p:nvPr/>
          </p:nvSpPr>
          <p:spPr>
            <a:xfrm>
              <a:off x="1930399" y="944880"/>
              <a:ext cx="6766560" cy="2077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buNone/>
              </a:pPr>
              <a:endParaRPr lang="en-US" sz="1350" dirty="0"/>
            </a:p>
          </p:txBody>
        </p:sp>
        <p:sp>
          <p:nvSpPr>
            <p:cNvPr id="66" name="Rectangle 13"/>
            <p:cNvSpPr txBox="1"/>
            <p:nvPr/>
          </p:nvSpPr>
          <p:spPr>
            <a:xfrm>
              <a:off x="1850138" y="990455"/>
              <a:ext cx="6766562"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800" dirty="0" smtClean="0"/>
                <a:t>Ecotourism</a:t>
              </a:r>
            </a:p>
            <a:p>
              <a:pPr lvl="1"/>
              <a:r>
                <a:rPr lang="en-US" sz="1800" dirty="0" smtClean="0"/>
                <a:t>Game donation/loan</a:t>
              </a:r>
            </a:p>
            <a:p>
              <a:pPr lvl="1"/>
              <a:r>
                <a:rPr lang="en-US" sz="1800" dirty="0" smtClean="0"/>
                <a:t>Technical support</a:t>
              </a:r>
            </a:p>
            <a:p>
              <a:pPr lvl="1"/>
              <a:r>
                <a:rPr lang="en-US" sz="1800" dirty="0" smtClean="0"/>
                <a:t>Product development and marketing</a:t>
              </a:r>
            </a:p>
            <a:p>
              <a:pPr lvl="1"/>
              <a:r>
                <a:rPr lang="en-US" sz="1800" dirty="0" smtClean="0"/>
                <a:t>Value chain support for SMMEs</a:t>
              </a:r>
              <a:endParaRPr lang="en-US" sz="1800" dirty="0"/>
            </a:p>
          </p:txBody>
        </p:sp>
        <p:sp>
          <p:nvSpPr>
            <p:cNvPr id="68" name="Rectangle 13"/>
            <p:cNvSpPr txBox="1"/>
            <p:nvPr/>
          </p:nvSpPr>
          <p:spPr>
            <a:xfrm>
              <a:off x="1850138" y="2895041"/>
              <a:ext cx="6766562" cy="22159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800" dirty="0" smtClean="0"/>
                <a:t>Initiative 2 – Wildlife Support </a:t>
              </a:r>
              <a:r>
                <a:rPr lang="en-US" sz="1800" dirty="0" err="1" smtClean="0"/>
                <a:t>Programme</a:t>
              </a:r>
              <a:endParaRPr lang="en-US" sz="1800" dirty="0" smtClean="0"/>
            </a:p>
            <a:p>
              <a:pPr lvl="1"/>
              <a:r>
                <a:rPr lang="en-US" sz="1800" dirty="0" smtClean="0"/>
                <a:t>Initiative 4 – Create Supply Chain Linkages</a:t>
              </a:r>
            </a:p>
            <a:p>
              <a:pPr lvl="1"/>
              <a:r>
                <a:rPr lang="en-US" sz="1800" dirty="0" smtClean="0"/>
                <a:t>Initiative 5 – Establish Biodiversity Economy Nodes</a:t>
              </a:r>
            </a:p>
            <a:p>
              <a:pPr lvl="1"/>
              <a:r>
                <a:rPr lang="en-US" sz="1800" dirty="0" smtClean="0"/>
                <a:t>Initiative 6 – Capacity Building Emerging Entrepreneurs And Farmers</a:t>
              </a:r>
            </a:p>
            <a:p>
              <a:pPr lvl="1"/>
              <a:r>
                <a:rPr lang="en-US" sz="1800" dirty="0" smtClean="0"/>
                <a:t>Initiative15 – Unlocking the economic potential of protected areas</a:t>
              </a:r>
            </a:p>
          </p:txBody>
        </p:sp>
        <p:sp>
          <p:nvSpPr>
            <p:cNvPr id="70" name="Rectangle 13"/>
            <p:cNvSpPr txBox="1"/>
            <p:nvPr/>
          </p:nvSpPr>
          <p:spPr>
            <a:xfrm>
              <a:off x="1930399" y="5032457"/>
              <a:ext cx="6766560" cy="2077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endParaRPr lang="en-US" sz="1350" dirty="0"/>
            </a:p>
          </p:txBody>
        </p:sp>
      </p:grpSp>
      <p:pic>
        <p:nvPicPr>
          <p:cNvPr id="5" name="Picture 4"/>
          <p:cNvPicPr>
            <a:picLocks noChangeAspect="1"/>
          </p:cNvPicPr>
          <p:nvPr/>
        </p:nvPicPr>
        <p:blipFill>
          <a:blip r:embed="rId6"/>
          <a:stretch>
            <a:fillRect/>
          </a:stretch>
        </p:blipFill>
        <p:spPr>
          <a:xfrm>
            <a:off x="171450" y="146159"/>
            <a:ext cx="1628138" cy="669862"/>
          </a:xfrm>
          <a:prstGeom prst="rect">
            <a:avLst/>
          </a:prstGeom>
        </p:spPr>
      </p:pic>
      <p:pic>
        <p:nvPicPr>
          <p:cNvPr id="21" name="Picture 20"/>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830608" y="974065"/>
            <a:ext cx="1930196" cy="2298760"/>
          </a:xfrm>
          <a:prstGeom prst="rect">
            <a:avLst/>
          </a:prstGeom>
          <a:effectLst>
            <a:outerShdw blurRad="63500" sx="102000" sy="102000" algn="ctr" rotWithShape="0">
              <a:prstClr val="black">
                <a:alpha val="40000"/>
              </a:prstClr>
            </a:outerShdw>
          </a:effectLst>
        </p:spPr>
      </p:pic>
      <p:pic>
        <p:nvPicPr>
          <p:cNvPr id="104476" name="Picture 28" descr="http://s.hswstatic.com/gif/carbon-footprint-travel-1.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30608" y="3395828"/>
            <a:ext cx="1897297" cy="1271014"/>
          </a:xfrm>
          <a:prstGeom prst="rect">
            <a:avLst/>
          </a:prstGeom>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4478" name="Picture 30" descr="http://3.bp.blogspot.com/-JmeaPhh5HME/Th7KzWZ9TZI/AAAAAAAAABc/dAP0hYBv-Fc/s1600/Site+Photos+085.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30608" y="4789843"/>
            <a:ext cx="1899799" cy="1272690"/>
          </a:xfrm>
          <a:prstGeom prst="rect">
            <a:avLst/>
          </a:prstGeom>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867227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80867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4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b="1" dirty="0" err="1" smtClean="0">
              <a:solidFill>
                <a:schemeClr val="tx1"/>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mtClean="0"/>
              <a:t>Contents</a:t>
            </a:r>
            <a:endParaRPr lang="en-US"/>
          </a:p>
        </p:txBody>
      </p:sp>
      <p:sp>
        <p:nvSpPr>
          <p:cNvPr id="3" name="Text Placeholder 2">
            <a:hlinkClick r:id="rId10" action="ppaction://hlinksldjump"/>
          </p:cNvPr>
          <p:cNvSpPr>
            <a:spLocks noGrp="1"/>
          </p:cNvSpPr>
          <p:nvPr>
            <p:custDataLst>
              <p:tags r:id="rId4"/>
            </p:custDataLst>
          </p:nvPr>
        </p:nvSpPr>
        <p:spPr bwMode="gray">
          <a:xfrm>
            <a:off x="2290763" y="2954338"/>
            <a:ext cx="4379913" cy="406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err="1" smtClean="0"/>
              <a:t>Bioprospecting</a:t>
            </a:r>
            <a:r>
              <a:rPr lang="en-US" dirty="0" smtClean="0"/>
              <a:t> detail</a:t>
            </a:r>
            <a:endParaRPr lang="en-US" dirty="0"/>
          </a:p>
        </p:txBody>
      </p:sp>
      <p:sp>
        <p:nvSpPr>
          <p:cNvPr id="8" name="Text Placeholder 2">
            <a:hlinkClick r:id="rId11" action="ppaction://hlinksldjump"/>
          </p:cNvPr>
          <p:cNvSpPr>
            <a:spLocks noGrp="1"/>
          </p:cNvSpPr>
          <p:nvPr>
            <p:custDataLst>
              <p:tags r:id="rId5"/>
            </p:custDataLst>
          </p:nvPr>
        </p:nvSpPr>
        <p:spPr bwMode="gray">
          <a:xfrm>
            <a:off x="2290763" y="3360738"/>
            <a:ext cx="4379913" cy="406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endParaRPr lang="en-US" dirty="0"/>
          </a:p>
        </p:txBody>
      </p:sp>
      <p:sp>
        <p:nvSpPr>
          <p:cNvPr id="9" name="Text Placeholder 2">
            <a:hlinkClick r:id="rId12" action="ppaction://hlinksldjump"/>
          </p:cNvPr>
          <p:cNvSpPr>
            <a:spLocks noGrp="1"/>
          </p:cNvSpPr>
          <p:nvPr>
            <p:custDataLst>
              <p:tags r:id="rId6"/>
            </p:custDataLst>
          </p:nvPr>
        </p:nvSpPr>
        <p:spPr bwMode="gray">
          <a:xfrm>
            <a:off x="2290763" y="3767138"/>
            <a:ext cx="4379913" cy="4079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endParaRPr lang="en-US" dirty="0"/>
          </a:p>
        </p:txBody>
      </p:sp>
      <p:pic>
        <p:nvPicPr>
          <p:cNvPr id="11" name="Picture 1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454060" y="4231946"/>
            <a:ext cx="2507378" cy="1932209"/>
          </a:xfrm>
          <a:prstGeom prst="rect">
            <a:avLst/>
          </a:prstGeom>
        </p:spPr>
      </p:pic>
      <p:pic>
        <p:nvPicPr>
          <p:cNvPr id="12" name="Picture 1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890" y="647362"/>
            <a:ext cx="2125595" cy="5274880"/>
          </a:xfrm>
          <a:prstGeom prst="rect">
            <a:avLst/>
          </a:prstGeom>
        </p:spPr>
      </p:pic>
    </p:spTree>
    <p:extLst>
      <p:ext uri="{BB962C8B-B14F-4D97-AF65-F5344CB8AC3E}">
        <p14:creationId xmlns:p14="http://schemas.microsoft.com/office/powerpoint/2010/main" val="2110122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62" name="Object 3" hidden="1"/>
          <p:cNvGraphicFramePr>
            <a:graphicFrameLocks noChangeAspect="1"/>
          </p:cNvGraphicFramePr>
          <p:nvPr>
            <p:custDataLst>
              <p:tags r:id="rId2"/>
            </p:custData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04464"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57" y="1557"/>
                        <a:ext cx="1555" cy="1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6" name="Rectangle 45"/>
          <p:cNvSpPr>
            <a:spLocks/>
          </p:cNvSpPr>
          <p:nvPr/>
        </p:nvSpPr>
        <p:spPr bwMode="gray">
          <a:xfrm>
            <a:off x="1" y="536785"/>
            <a:ext cx="8972329" cy="504111"/>
          </a:xfrm>
          <a:prstGeom prst="rect">
            <a:avLst/>
          </a:prstGeom>
          <a:solidFill>
            <a:schemeClr val="accent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79983" tIns="35996" rIns="107990" bIns="35996" anchor="ctr"/>
          <a:lstStyle/>
          <a:p>
            <a:pPr defTabSz="914303">
              <a:defRPr/>
            </a:pPr>
            <a:r>
              <a:rPr lang="en-US" b="1" dirty="0">
                <a:solidFill>
                  <a:srgbClr val="FFFFFF"/>
                </a:solidFill>
              </a:rPr>
              <a:t>How do we increase the supply?</a:t>
            </a:r>
            <a:endParaRPr lang="en-ZA" b="1" dirty="0">
              <a:solidFill>
                <a:srgbClr val="FFFFFF"/>
              </a:solidFill>
            </a:endParaRPr>
          </a:p>
        </p:txBody>
      </p:sp>
      <p:sp>
        <p:nvSpPr>
          <p:cNvPr id="72" name="Title 1"/>
          <p:cNvSpPr>
            <a:spLocks noGrp="1"/>
          </p:cNvSpPr>
          <p:nvPr>
            <p:ph type="title"/>
          </p:nvPr>
        </p:nvSpPr>
        <p:spPr bwMode="gray"/>
        <p:txBody>
          <a:bodyPr/>
          <a:lstStyle/>
          <a:p>
            <a:pPr defTabSz="895160">
              <a:tabLst>
                <a:tab pos="269818" algn="l"/>
              </a:tabLst>
              <a:defRPr/>
            </a:pPr>
            <a:r>
              <a:rPr lang="en-US" dirty="0"/>
              <a:t>Key initiatives to drive growth in the Bioprospecting Economy</a:t>
            </a:r>
          </a:p>
        </p:txBody>
      </p:sp>
      <p:sp>
        <p:nvSpPr>
          <p:cNvPr id="65" name="Rectangle 64"/>
          <p:cNvSpPr>
            <a:spLocks/>
          </p:cNvSpPr>
          <p:nvPr/>
        </p:nvSpPr>
        <p:spPr bwMode="gray">
          <a:xfrm>
            <a:off x="0" y="1028449"/>
            <a:ext cx="8956771" cy="2578121"/>
          </a:xfrm>
          <a:prstGeom prst="rect">
            <a:avLst/>
          </a:prstGeom>
          <a:solidFill>
            <a:schemeClr val="accent1">
              <a:lumMod val="40000"/>
              <a:lumOff val="60000"/>
            </a:scheme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5996" tIns="35996" rIns="35996" bIns="35996" anchor="ctr"/>
          <a:lstStyle/>
          <a:p>
            <a:pPr defTabSz="914303">
              <a:defRPr/>
            </a:pPr>
            <a:endParaRPr lang="en-ZA" b="1" dirty="0">
              <a:solidFill>
                <a:srgbClr val="FFFFFF"/>
              </a:solidFill>
            </a:endParaRPr>
          </a:p>
        </p:txBody>
      </p:sp>
      <p:sp>
        <p:nvSpPr>
          <p:cNvPr id="59" name="Rectangle 286"/>
          <p:cNvSpPr txBox="1">
            <a:spLocks noChangeArrowheads="1"/>
          </p:cNvSpPr>
          <p:nvPr/>
        </p:nvSpPr>
        <p:spPr bwMode="gray">
          <a:xfrm>
            <a:off x="992604" y="1065790"/>
            <a:ext cx="7667008" cy="49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88" lvl="1" indent="0">
              <a:spcBef>
                <a:spcPts val="600"/>
              </a:spcBef>
              <a:buClr>
                <a:srgbClr val="0B4623"/>
              </a:buClr>
              <a:buNone/>
              <a:defRPr/>
            </a:pPr>
            <a:r>
              <a:rPr lang="en-US" b="1" dirty="0">
                <a:solidFill>
                  <a:srgbClr val="000000"/>
                </a:solidFill>
              </a:rPr>
              <a:t>Promote a mass cultivation drive of 25 plant species of strategic importance and increase cultivation by 500 hectares per annum</a:t>
            </a:r>
            <a:endParaRPr lang="en-US" dirty="0">
              <a:solidFill>
                <a:srgbClr val="000000"/>
              </a:solidFill>
            </a:endParaRPr>
          </a:p>
        </p:txBody>
      </p:sp>
      <p:pic>
        <p:nvPicPr>
          <p:cNvPr id="54" name="Picture 53"/>
          <p:cNvPicPr>
            <a:picLocks/>
          </p:cNvPicPr>
          <p:nvPr/>
        </p:nvPicPr>
        <p:blipFill rotWithShape="1">
          <a:blip r:embed="rId8" cstate="email">
            <a:extLst>
              <a:ext uri="{28A0092B-C50C-407E-A947-70E740481C1C}">
                <a14:useLocalDpi xmlns:a14="http://schemas.microsoft.com/office/drawing/2010/main"/>
              </a:ext>
            </a:extLst>
          </a:blip>
          <a:srcRect/>
          <a:stretch/>
        </p:blipFill>
        <p:spPr bwMode="gray">
          <a:xfrm>
            <a:off x="229323" y="1118755"/>
            <a:ext cx="692862" cy="652382"/>
          </a:xfrm>
          <a:prstGeom prst="roundRect">
            <a:avLst/>
          </a:prstGeom>
        </p:spPr>
      </p:pic>
      <p:sp>
        <p:nvSpPr>
          <p:cNvPr id="60" name="TextBox 19"/>
          <p:cNvSpPr txBox="1"/>
          <p:nvPr>
            <p:custDataLst>
              <p:tags r:id="rId3"/>
            </p:custDataLst>
          </p:nvPr>
        </p:nvSpPr>
        <p:spPr bwMode="gray">
          <a:xfrm>
            <a:off x="49786" y="1264945"/>
            <a:ext cx="323607" cy="323627"/>
          </a:xfrm>
          <a:prstGeom prst="ellipse">
            <a:avLst/>
          </a:prstGeom>
          <a:solidFill>
            <a:schemeClr val="accent4"/>
          </a:solidFill>
          <a:ln w="19050">
            <a:solidFill>
              <a:schemeClr val="bg1"/>
            </a:solidFill>
            <a:miter lim="800000"/>
            <a:headEnd/>
            <a:tailEnd/>
          </a:ln>
          <a:effectLst/>
        </p:spPr>
        <p:txBody>
          <a:bodyPr wrap="none" lIns="3809" tIns="0" rIns="3809" bIns="0" anchor="ctr"/>
          <a:lstStyle>
            <a:defPPr>
              <a:defRPr lang="en-US"/>
            </a:defPPr>
            <a:lvl1pPr marL="0" lvl="0" indent="0" algn="ctr" defTabSz="895350" eaLnBrk="1" hangingPunct="1">
              <a:buClr>
                <a:schemeClr val="tx2"/>
              </a:buClr>
              <a:defRPr sz="1900" b="1" baseline="0">
                <a:solidFill>
                  <a:schemeClr val="bg2"/>
                </a:solidFill>
                <a:latin typeface="+mn-lt"/>
              </a:defRPr>
            </a:lvl1pPr>
            <a:lvl2pPr marL="193675" lvl="1" indent="-192088" defTabSz="895350" eaLnBrk="1" hangingPunct="1">
              <a:buClr>
                <a:schemeClr val="accent4"/>
              </a:buClr>
              <a:buSzPct val="125000"/>
              <a:buFont typeface="Arial" charset="0"/>
              <a:buChar char="▪"/>
              <a:defRPr baseline="0">
                <a:latin typeface="+mn-lt"/>
              </a:defRPr>
            </a:lvl2pPr>
            <a:lvl3pPr marL="457200" lvl="2" indent="-261938" defTabSz="895350" eaLnBrk="1" hangingPunct="1">
              <a:buClr>
                <a:schemeClr val="accent4"/>
              </a:buClr>
              <a:buSzPct val="120000"/>
              <a:buFont typeface="Arial" charset="0"/>
              <a:buChar char="–"/>
              <a:defRPr baseline="0">
                <a:latin typeface="+mn-lt"/>
              </a:defRPr>
            </a:lvl3pPr>
            <a:lvl4pPr marL="614363" lvl="3" indent="-155575" defTabSz="895350" eaLnBrk="1" hangingPunct="1">
              <a:buClr>
                <a:schemeClr val="accent4"/>
              </a:buClr>
              <a:buSzPct val="120000"/>
              <a:buFont typeface="Arial" charset="0"/>
              <a:buChar char="▫"/>
              <a:defRPr baseline="0">
                <a:latin typeface="+mn-lt"/>
              </a:defRPr>
            </a:lvl4pPr>
            <a:lvl5pPr marL="749808" lvl="4" indent="-130175" defTabSz="895350" eaLnBrk="1" hangingPunct="1">
              <a:buClr>
                <a:schemeClr val="accent4"/>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B4623"/>
              </a:buClr>
              <a:defRPr/>
            </a:pPr>
            <a:r>
              <a:rPr lang="en-US" sz="1600" dirty="0">
                <a:solidFill>
                  <a:srgbClr val="FFFFFF"/>
                </a:solidFill>
              </a:rPr>
              <a:t>1</a:t>
            </a:r>
          </a:p>
        </p:txBody>
      </p:sp>
      <p:sp>
        <p:nvSpPr>
          <p:cNvPr id="101" name="Rectangle 100"/>
          <p:cNvSpPr>
            <a:spLocks/>
          </p:cNvSpPr>
          <p:nvPr/>
        </p:nvSpPr>
        <p:spPr bwMode="gray">
          <a:xfrm>
            <a:off x="14003" y="3573896"/>
            <a:ext cx="8958326" cy="416980"/>
          </a:xfrm>
          <a:prstGeom prst="rect">
            <a:avLst/>
          </a:prstGeom>
          <a:solidFill>
            <a:schemeClr val="accent4"/>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5996" tIns="35996" rIns="35996" bIns="35996" anchor="ctr"/>
          <a:lstStyle/>
          <a:p>
            <a:pPr algn="ctr" defTabSz="914303">
              <a:defRPr/>
            </a:pPr>
            <a:r>
              <a:rPr lang="en-US" b="1" dirty="0">
                <a:solidFill>
                  <a:srgbClr val="FFFFFF"/>
                </a:solidFill>
              </a:rPr>
              <a:t>Transformation is a cross cutting essential</a:t>
            </a:r>
            <a:endParaRPr lang="en-ZA" b="1" dirty="0">
              <a:solidFill>
                <a:srgbClr val="FFFFFF"/>
              </a:solidFill>
            </a:endParaRPr>
          </a:p>
        </p:txBody>
      </p:sp>
      <p:pic>
        <p:nvPicPr>
          <p:cNvPr id="276549" name="Picture 69" descr="http://www.bushpharm.com/home/%20bushph/public_html/wp-content/uploads/2010/01/2010/01/HoodiaField-300.jpg"/>
          <p:cNvPicPr>
            <a:picLocks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20691" y="2424565"/>
            <a:ext cx="692862" cy="652382"/>
          </a:xfrm>
          <a:prstGeom prst="roundRect">
            <a:avLst/>
          </a:prstGeom>
          <a:extLst>
            <a:ext uri="{909E8E84-426E-40DD-AFC4-6F175D3DCCD1}">
              <a14:hiddenFill xmlns:a14="http://schemas.microsoft.com/office/drawing/2010/main">
                <a:solidFill>
                  <a:srgbClr val="FFFFFF"/>
                </a:solidFill>
              </a14:hiddenFill>
            </a:ext>
          </a:extLst>
        </p:spPr>
      </p:pic>
      <p:sp>
        <p:nvSpPr>
          <p:cNvPr id="27" name="TextBox 19"/>
          <p:cNvSpPr txBox="1"/>
          <p:nvPr>
            <p:custDataLst>
              <p:tags r:id="rId4"/>
            </p:custDataLst>
          </p:nvPr>
        </p:nvSpPr>
        <p:spPr bwMode="gray">
          <a:xfrm>
            <a:off x="49786" y="2582789"/>
            <a:ext cx="323607" cy="323627"/>
          </a:xfrm>
          <a:prstGeom prst="ellipse">
            <a:avLst/>
          </a:prstGeom>
          <a:solidFill>
            <a:schemeClr val="accent4"/>
          </a:solidFill>
          <a:ln w="19050">
            <a:solidFill>
              <a:schemeClr val="bg1"/>
            </a:solidFill>
            <a:miter lim="800000"/>
            <a:headEnd/>
            <a:tailEnd/>
          </a:ln>
          <a:effectLst/>
        </p:spPr>
        <p:txBody>
          <a:bodyPr wrap="none" lIns="3809" tIns="0" rIns="3809" bIns="0" anchor="ctr"/>
          <a:lstStyle>
            <a:defPPr>
              <a:defRPr lang="en-US"/>
            </a:defPPr>
            <a:lvl1pPr marL="0" lvl="0" indent="0" algn="ctr" defTabSz="895350" eaLnBrk="1" hangingPunct="1">
              <a:buClr>
                <a:schemeClr val="tx2"/>
              </a:buClr>
              <a:defRPr sz="1900" b="1" baseline="0">
                <a:solidFill>
                  <a:schemeClr val="bg2"/>
                </a:solidFill>
                <a:latin typeface="+mn-lt"/>
              </a:defRPr>
            </a:lvl1pPr>
            <a:lvl2pPr marL="193675" lvl="1" indent="-192088" defTabSz="895350" eaLnBrk="1" hangingPunct="1">
              <a:buClr>
                <a:schemeClr val="accent4"/>
              </a:buClr>
              <a:buSzPct val="125000"/>
              <a:buFont typeface="Arial" charset="0"/>
              <a:buChar char="▪"/>
              <a:defRPr baseline="0">
                <a:latin typeface="+mn-lt"/>
              </a:defRPr>
            </a:lvl2pPr>
            <a:lvl3pPr marL="457200" lvl="2" indent="-261938" defTabSz="895350" eaLnBrk="1" hangingPunct="1">
              <a:buClr>
                <a:schemeClr val="accent4"/>
              </a:buClr>
              <a:buSzPct val="120000"/>
              <a:buFont typeface="Arial" charset="0"/>
              <a:buChar char="–"/>
              <a:defRPr baseline="0">
                <a:latin typeface="+mn-lt"/>
              </a:defRPr>
            </a:lvl3pPr>
            <a:lvl4pPr marL="614363" lvl="3" indent="-155575" defTabSz="895350" eaLnBrk="1" hangingPunct="1">
              <a:buClr>
                <a:schemeClr val="accent4"/>
              </a:buClr>
              <a:buSzPct val="120000"/>
              <a:buFont typeface="Arial" charset="0"/>
              <a:buChar char="▫"/>
              <a:defRPr baseline="0">
                <a:latin typeface="+mn-lt"/>
              </a:defRPr>
            </a:lvl4pPr>
            <a:lvl5pPr marL="749808" lvl="4" indent="-130175" defTabSz="895350" eaLnBrk="1" hangingPunct="1">
              <a:buClr>
                <a:schemeClr val="accent4"/>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B4623"/>
              </a:buClr>
              <a:defRPr/>
            </a:pPr>
            <a:r>
              <a:rPr lang="en-US" sz="1600" dirty="0">
                <a:solidFill>
                  <a:srgbClr val="FFFFFF"/>
                </a:solidFill>
              </a:rPr>
              <a:t>2</a:t>
            </a:r>
          </a:p>
        </p:txBody>
      </p:sp>
      <p:sp>
        <p:nvSpPr>
          <p:cNvPr id="28" name="Rectangle 286"/>
          <p:cNvSpPr txBox="1">
            <a:spLocks noChangeArrowheads="1"/>
          </p:cNvSpPr>
          <p:nvPr/>
        </p:nvSpPr>
        <p:spPr bwMode="gray">
          <a:xfrm>
            <a:off x="961488" y="2424088"/>
            <a:ext cx="7828812" cy="49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88" lvl="1" indent="0">
              <a:spcBef>
                <a:spcPts val="600"/>
              </a:spcBef>
              <a:buClr>
                <a:srgbClr val="0B4623"/>
              </a:buClr>
              <a:buNone/>
              <a:defRPr/>
            </a:pPr>
            <a:r>
              <a:rPr lang="en-US" b="1" dirty="0">
                <a:solidFill>
                  <a:srgbClr val="000000"/>
                </a:solidFill>
              </a:rPr>
              <a:t>Define management plans to ensure sustainable wild harvesting of 7 high value plant species to safeguard long term supply </a:t>
            </a:r>
            <a:endParaRPr lang="en-US" dirty="0">
              <a:solidFill>
                <a:srgbClr val="000000"/>
              </a:solidFill>
            </a:endParaRPr>
          </a:p>
        </p:txBody>
      </p:sp>
      <p:sp>
        <p:nvSpPr>
          <p:cNvPr id="26" name="TextBox 25"/>
          <p:cNvSpPr txBox="1"/>
          <p:nvPr/>
        </p:nvSpPr>
        <p:spPr>
          <a:xfrm>
            <a:off x="7119365" y="6231368"/>
            <a:ext cx="1837406" cy="343853"/>
          </a:xfrm>
          <a:prstGeom prst="rect">
            <a:avLst/>
          </a:prstGeom>
          <a:solidFill>
            <a:schemeClr val="bg1"/>
          </a:solidFill>
        </p:spPr>
        <p:txBody>
          <a:bodyPr lIns="89611" tIns="44806" rIns="89611" bIns="44806">
            <a:spAutoFit/>
          </a:bodyPr>
          <a:lstStyle/>
          <a:p>
            <a:pPr defTabSz="914303">
              <a:defRPr/>
            </a:pPr>
            <a:endParaRPr lang="en-ZA" dirty="0">
              <a:solidFill>
                <a:srgbClr val="000000"/>
              </a:solidFill>
            </a:endParaRPr>
          </a:p>
        </p:txBody>
      </p:sp>
      <p:pic>
        <p:nvPicPr>
          <p:cNvPr id="40974" name="Picture 1"/>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7114" y="3951979"/>
            <a:ext cx="8973885" cy="2187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75" name="Rectangle 5"/>
          <p:cNvSpPr>
            <a:spLocks noChangeArrowheads="1"/>
          </p:cNvSpPr>
          <p:nvPr/>
        </p:nvSpPr>
        <p:spPr bwMode="auto">
          <a:xfrm>
            <a:off x="211590" y="4098233"/>
            <a:ext cx="8784076" cy="1567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spAutoFit/>
          </a:bodyPr>
          <a:lstStyle>
            <a:lvl1pPr marL="285750" indent="-285750">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a:buFont typeface="Arial" pitchFamily="34" charset="0"/>
              <a:buChar char="•"/>
            </a:pPr>
            <a:r>
              <a:rPr lang="en-ZA" altLang="en-US" b="1"/>
              <a:t>Develop cultivation sites focusing </a:t>
            </a:r>
            <a:r>
              <a:rPr lang="en-ZA" altLang="en-US" b="1" u="sng"/>
              <a:t>on communal and restituted land, poverty nodes and rural development needs</a:t>
            </a:r>
          </a:p>
          <a:p>
            <a:pPr>
              <a:buFont typeface="Arial" pitchFamily="34" charset="0"/>
              <a:buChar char="•"/>
            </a:pPr>
            <a:r>
              <a:rPr lang="en-ZA" altLang="en-US" b="1"/>
              <a:t>Develop entrepreneurial and agricultural </a:t>
            </a:r>
            <a:r>
              <a:rPr lang="en-ZA" altLang="en-US" b="1" u="sng"/>
              <a:t>skills incubators </a:t>
            </a:r>
            <a:r>
              <a:rPr lang="en-ZA" altLang="en-US" b="1"/>
              <a:t>as well as provide </a:t>
            </a:r>
            <a:r>
              <a:rPr lang="en-ZA" altLang="en-US" b="1" u="sng"/>
              <a:t>operational support programs</a:t>
            </a:r>
          </a:p>
          <a:p>
            <a:pPr>
              <a:buFont typeface="Arial" pitchFamily="34" charset="0"/>
              <a:buChar char="•"/>
            </a:pPr>
            <a:r>
              <a:rPr lang="en-ZA" altLang="en-US" b="1"/>
              <a:t>Develop </a:t>
            </a:r>
            <a:r>
              <a:rPr lang="en-ZA" altLang="en-US" b="1" u="sng"/>
              <a:t>species and site based cultivation business plans </a:t>
            </a:r>
            <a:r>
              <a:rPr lang="en-ZA" altLang="en-US" b="1"/>
              <a:t>for SMMEs and communities</a:t>
            </a:r>
          </a:p>
          <a:p>
            <a:pPr>
              <a:buFont typeface="Arial" pitchFamily="34" charset="0"/>
              <a:buChar char="•"/>
            </a:pPr>
            <a:r>
              <a:rPr lang="en-ZA" altLang="en-US" b="1"/>
              <a:t>Fund </a:t>
            </a:r>
            <a:r>
              <a:rPr lang="en-ZA" altLang="en-US" b="1" u="sng"/>
              <a:t>skills development programs </a:t>
            </a:r>
            <a:r>
              <a:rPr lang="en-ZA" altLang="en-US" b="1"/>
              <a:t>for wild harvesters specifically for vulnerable groups</a:t>
            </a:r>
          </a:p>
        </p:txBody>
      </p:sp>
    </p:spTree>
    <p:extLst>
      <p:ext uri="{BB962C8B-B14F-4D97-AF65-F5344CB8AC3E}">
        <p14:creationId xmlns:p14="http://schemas.microsoft.com/office/powerpoint/2010/main" val="20845787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94" name="think-cell Slide" r:id="rId9" imgW="353" imgH="353" progId="TCLayout.ActiveDocument.1">
                  <p:embed/>
                </p:oleObj>
              </mc:Choice>
              <mc:Fallback>
                <p:oleObj name="think-cell Slide" r:id="rId9" imgW="353" imgH="353"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Rectangle 15"/>
          <p:cNvSpPr>
            <a:spLocks/>
          </p:cNvSpPr>
          <p:nvPr/>
        </p:nvSpPr>
        <p:spPr>
          <a:xfrm>
            <a:off x="3357706" y="901446"/>
            <a:ext cx="5391360" cy="5275769"/>
          </a:xfrm>
          <a:prstGeom prst="rect">
            <a:avLst/>
          </a:prstGeom>
          <a:solidFill>
            <a:schemeClr val="bg1"/>
          </a:solidFill>
          <a:ln w="1905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chemeClr val="tx1"/>
              </a:solidFill>
            </a:endParaRPr>
          </a:p>
        </p:txBody>
      </p:sp>
      <p:sp>
        <p:nvSpPr>
          <p:cNvPr id="25" name="Rectangle 24"/>
          <p:cNvSpPr>
            <a:spLocks/>
          </p:cNvSpPr>
          <p:nvPr/>
        </p:nvSpPr>
        <p:spPr>
          <a:xfrm>
            <a:off x="171207" y="901446"/>
            <a:ext cx="2665296" cy="5275769"/>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The lab is a collaboration between Tourism and DEA to advance the economic potential of South Africa’s natural resources</a:t>
            </a:r>
          </a:p>
        </p:txBody>
      </p:sp>
      <p:sp>
        <p:nvSpPr>
          <p:cNvPr id="7" name="Rectangle 6"/>
          <p:cNvSpPr txBox="1"/>
          <p:nvPr>
            <p:custDataLst>
              <p:tags r:id="rId3"/>
            </p:custDataLst>
          </p:nvPr>
        </p:nvSpPr>
        <p:spPr>
          <a:xfrm>
            <a:off x="3463801" y="4285432"/>
            <a:ext cx="1463293" cy="1303969"/>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chemeClr val="lt1"/>
              </a:buClr>
            </a:pPr>
            <a:r>
              <a:rPr lang="en-US" b="1" dirty="0" smtClean="0">
                <a:solidFill>
                  <a:schemeClr val="lt1"/>
                </a:solidFill>
              </a:rPr>
              <a:t>Marine &amp; Coastal Tourism</a:t>
            </a:r>
            <a:endParaRPr lang="en-US" b="1" dirty="0">
              <a:solidFill>
                <a:schemeClr val="lt1"/>
              </a:solidFill>
            </a:endParaRPr>
          </a:p>
        </p:txBody>
      </p:sp>
      <p:sp>
        <p:nvSpPr>
          <p:cNvPr id="8" name="Rectangle 6"/>
          <p:cNvSpPr txBox="1"/>
          <p:nvPr>
            <p:custDataLst>
              <p:tags r:id="rId4"/>
            </p:custDataLst>
          </p:nvPr>
        </p:nvSpPr>
        <p:spPr>
          <a:xfrm>
            <a:off x="5231652" y="4285432"/>
            <a:ext cx="1643469" cy="1303969"/>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chemeClr val="lt1"/>
              </a:buClr>
            </a:pPr>
            <a:r>
              <a:rPr lang="en-US" b="1" dirty="0" smtClean="0">
                <a:solidFill>
                  <a:schemeClr val="lt1"/>
                </a:solidFill>
              </a:rPr>
              <a:t>Bioprospecting</a:t>
            </a:r>
            <a:endParaRPr lang="en-US" b="1" dirty="0">
              <a:solidFill>
                <a:schemeClr val="lt1"/>
              </a:solidFill>
            </a:endParaRPr>
          </a:p>
        </p:txBody>
      </p:sp>
      <p:sp>
        <p:nvSpPr>
          <p:cNvPr id="9" name="Rectangle 6"/>
          <p:cNvSpPr txBox="1"/>
          <p:nvPr>
            <p:custDataLst>
              <p:tags r:id="rId5"/>
            </p:custDataLst>
          </p:nvPr>
        </p:nvSpPr>
        <p:spPr>
          <a:xfrm>
            <a:off x="7179679" y="4285432"/>
            <a:ext cx="1463293" cy="1303969"/>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chemeClr val="lt1"/>
              </a:buClr>
            </a:pPr>
            <a:r>
              <a:rPr lang="en-US" b="1" dirty="0" smtClean="0">
                <a:solidFill>
                  <a:schemeClr val="lt1"/>
                </a:solidFill>
              </a:rPr>
              <a:t>Wildlife</a:t>
            </a:r>
            <a:endParaRPr lang="en-US" b="1" dirty="0">
              <a:solidFill>
                <a:schemeClr val="lt1"/>
              </a:solidFill>
            </a:endParaRPr>
          </a:p>
        </p:txBody>
      </p:sp>
      <p:sp>
        <p:nvSpPr>
          <p:cNvPr id="3" name="Rectangle 2"/>
          <p:cNvSpPr txBox="1"/>
          <p:nvPr>
            <p:custDataLst>
              <p:tags r:id="rId6"/>
            </p:custDataLst>
          </p:nvPr>
        </p:nvSpPr>
        <p:spPr>
          <a:xfrm>
            <a:off x="3463801" y="1489260"/>
            <a:ext cx="5173484" cy="1830421"/>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chemeClr val="lt1"/>
              </a:buClr>
            </a:pPr>
            <a:r>
              <a:rPr lang="en-US" b="1" dirty="0" smtClean="0">
                <a:solidFill>
                  <a:schemeClr val="lt1"/>
                </a:solidFill>
              </a:rPr>
              <a:t>The Department of Tourism and Department of Environmental Affairs and have taken the initiative to conduct an ‘implementation lab’ on how South Africa’s biodiversity can be used for transformation purposes</a:t>
            </a:r>
            <a:endParaRPr lang="en-US" b="1" dirty="0">
              <a:solidFill>
                <a:schemeClr val="lt1"/>
              </a:solidFill>
            </a:endParaRPr>
          </a:p>
        </p:txBody>
      </p:sp>
      <p:cxnSp>
        <p:nvCxnSpPr>
          <p:cNvPr id="5" name="Elbow Connector 4"/>
          <p:cNvCxnSpPr>
            <a:stCxn id="3" idx="2"/>
            <a:endCxn id="7" idx="0"/>
          </p:cNvCxnSpPr>
          <p:nvPr/>
        </p:nvCxnSpPr>
        <p:spPr>
          <a:xfrm rot="5400000">
            <a:off x="4640121" y="2875009"/>
            <a:ext cx="965751" cy="1855096"/>
          </a:xfrm>
          <a:prstGeom prst="bentConnector3">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3" idx="2"/>
            <a:endCxn id="9" idx="0"/>
          </p:cNvCxnSpPr>
          <p:nvPr/>
        </p:nvCxnSpPr>
        <p:spPr>
          <a:xfrm rot="16200000" flipH="1">
            <a:off x="6498059" y="2872164"/>
            <a:ext cx="965751" cy="1860782"/>
          </a:xfrm>
          <a:prstGeom prst="bentConnector3">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Elbow Connector 16"/>
          <p:cNvCxnSpPr>
            <a:stCxn id="3" idx="2"/>
            <a:endCxn id="8" idx="0"/>
          </p:cNvCxnSpPr>
          <p:nvPr/>
        </p:nvCxnSpPr>
        <p:spPr>
          <a:xfrm rot="16200000" flipH="1">
            <a:off x="5569089" y="3801134"/>
            <a:ext cx="965751" cy="2843"/>
          </a:xfrm>
          <a:prstGeom prst="bentConnector3">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cxnSpLocks/>
          </p:cNvCxnSpPr>
          <p:nvPr/>
        </p:nvCxnSpPr>
        <p:spPr>
          <a:xfrm flipH="1">
            <a:off x="235886" y="1243447"/>
            <a:ext cx="253593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p:cNvSpPr txBox="1">
            <a:spLocks/>
          </p:cNvSpPr>
          <p:nvPr/>
        </p:nvSpPr>
        <p:spPr>
          <a:xfrm>
            <a:off x="235886" y="979974"/>
            <a:ext cx="253593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tx2"/>
                </a:solidFill>
              </a:rPr>
              <a:t>Context</a:t>
            </a:r>
          </a:p>
        </p:txBody>
      </p:sp>
      <p:sp>
        <p:nvSpPr>
          <p:cNvPr id="30" name="DirArrow 20"/>
          <p:cNvSpPr>
            <a:spLocks noChangeArrowheads="1"/>
          </p:cNvSpPr>
          <p:nvPr>
            <p:custDataLst>
              <p:tags r:id="rId7"/>
            </p:custDataLst>
          </p:nvPr>
        </p:nvSpPr>
        <p:spPr bwMode="auto">
          <a:xfrm rot="5400000">
            <a:off x="1861628" y="3402055"/>
            <a:ext cx="2470952" cy="274550"/>
          </a:xfrm>
          <a:prstGeom prst="triangle">
            <a:avLst>
              <a:gd name="adj" fmla="val 50000"/>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 name="TextBox 30"/>
          <p:cNvSpPr txBox="1">
            <a:spLocks/>
          </p:cNvSpPr>
          <p:nvPr/>
        </p:nvSpPr>
        <p:spPr>
          <a:xfrm>
            <a:off x="235886" y="1280208"/>
            <a:ext cx="2535938" cy="443198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dirty="0" smtClean="0">
                <a:ea typeface="Arial Unicode MS" panose="020B0604020202020204" pitchFamily="34" charset="-128"/>
                <a:cs typeface="Arial Unicode MS" panose="020B0604020202020204" pitchFamily="34" charset="-128"/>
              </a:rPr>
              <a:t>The 2014 Ocean’s Economy Lab and 2015 National Biodiversity Economy Strategy described opportunities to implement initiatives for growth of </a:t>
            </a:r>
            <a:r>
              <a:rPr lang="en-US" dirty="0" err="1" smtClean="0">
                <a:ea typeface="Arial Unicode MS" panose="020B0604020202020204" pitchFamily="34" charset="-128"/>
                <a:cs typeface="Arial Unicode MS" panose="020B0604020202020204" pitchFamily="34" charset="-128"/>
              </a:rPr>
              <a:t>SA’s</a:t>
            </a:r>
            <a:r>
              <a:rPr lang="en-US" dirty="0" smtClean="0">
                <a:ea typeface="Arial Unicode MS" panose="020B0604020202020204" pitchFamily="34" charset="-128"/>
                <a:cs typeface="Arial Unicode MS" panose="020B0604020202020204" pitchFamily="34" charset="-128"/>
              </a:rPr>
              <a:t> Biodiversity Economy</a:t>
            </a:r>
          </a:p>
          <a:p>
            <a:pPr lvl="1">
              <a:spcBef>
                <a:spcPct val="50000"/>
              </a:spcBef>
            </a:pPr>
            <a:r>
              <a:rPr lang="en-US" dirty="0" smtClean="0">
                <a:ea typeface="Arial Unicode MS" panose="020B0604020202020204" pitchFamily="34" charset="-128"/>
                <a:cs typeface="Arial Unicode MS" panose="020B0604020202020204" pitchFamily="34" charset="-128"/>
              </a:rPr>
              <a:t>Tourism and DEA jointly decided to use the implementation lab methodology to create detailed implementation plans to achieve that growth</a:t>
            </a:r>
          </a:p>
          <a:p>
            <a:pPr lvl="1">
              <a:spcBef>
                <a:spcPct val="50000"/>
              </a:spcBef>
            </a:pPr>
            <a:r>
              <a:rPr lang="en-US" dirty="0" smtClean="0">
                <a:ea typeface="Arial Unicode MS" panose="020B0604020202020204" pitchFamily="34" charset="-128"/>
                <a:cs typeface="Arial Unicode MS" panose="020B0604020202020204" pitchFamily="34" charset="-128"/>
              </a:rPr>
              <a:t>The Lab was convened from 10 April to 13 May</a:t>
            </a:r>
            <a:endParaRPr lang="en-US" dirty="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33343554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Object 27" hidden="1"/>
          <p:cNvGraphicFramePr>
            <a:graphicFrameLocks noChangeAspect="1"/>
          </p:cNvGraphicFramePr>
          <p:nvPr>
            <p:custDataLst>
              <p:tags r:id="rId2"/>
            </p:custData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0548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7"/>
                        <a:ext cx="1555" cy="1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5" name="Rectangle 64"/>
          <p:cNvSpPr>
            <a:spLocks/>
          </p:cNvSpPr>
          <p:nvPr/>
        </p:nvSpPr>
        <p:spPr>
          <a:xfrm>
            <a:off x="3682592" y="2817730"/>
            <a:ext cx="1633595" cy="1594794"/>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anchor="ctr"/>
          <a:lstStyle/>
          <a:p>
            <a:pPr algn="ctr" defTabSz="914303">
              <a:defRPr/>
            </a:pPr>
            <a:endParaRPr lang="en-US" dirty="0">
              <a:solidFill>
                <a:srgbClr val="000000"/>
              </a:solidFill>
            </a:endParaRPr>
          </a:p>
        </p:txBody>
      </p:sp>
      <p:sp>
        <p:nvSpPr>
          <p:cNvPr id="63" name="TextBox 62"/>
          <p:cNvSpPr txBox="1">
            <a:spLocks/>
          </p:cNvSpPr>
          <p:nvPr/>
        </p:nvSpPr>
        <p:spPr bwMode="gray">
          <a:xfrm>
            <a:off x="3682592" y="2811506"/>
            <a:ext cx="1633595" cy="59590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dir="5400000" algn="t" rotWithShape="0">
              <a:prstClr val="black">
                <a:alpha val="40000"/>
              </a:prstClr>
            </a:outerShdw>
          </a:effectLst>
          <a:extLst/>
        </p:spPr>
        <p:txBody>
          <a:bodyPr lIns="45716" tIns="45716" rIns="45716" bIns="45716" anchor="ctr">
            <a:spAutoFit/>
          </a:bodyPr>
          <a:lstStyle>
            <a:defPPr>
              <a:defRPr lang="en-US"/>
            </a:defPPr>
            <a:lvl1pPr>
              <a:defRPr b="1">
                <a:solidFill>
                  <a:schemeClr val="bg1"/>
                </a:solidFill>
                <a:latin typeface="+mn-lt"/>
              </a:defRPr>
            </a:lvl1pPr>
          </a:lstStyle>
          <a:p>
            <a:pPr marL="133336" defTabSz="914303">
              <a:defRPr/>
            </a:pPr>
            <a:r>
              <a:rPr lang="en-US" dirty="0">
                <a:solidFill>
                  <a:srgbClr val="FFFFFF"/>
                </a:solidFill>
              </a:rPr>
              <a:t>Market demand</a:t>
            </a:r>
          </a:p>
        </p:txBody>
      </p:sp>
      <p:sp>
        <p:nvSpPr>
          <p:cNvPr id="66" name="Rectangle 65"/>
          <p:cNvSpPr>
            <a:spLocks/>
          </p:cNvSpPr>
          <p:nvPr/>
        </p:nvSpPr>
        <p:spPr>
          <a:xfrm>
            <a:off x="3682592" y="4533884"/>
            <a:ext cx="1633595" cy="1596350"/>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anchor="ctr"/>
          <a:lstStyle/>
          <a:p>
            <a:pPr algn="ctr" defTabSz="914303">
              <a:defRPr/>
            </a:pPr>
            <a:endParaRPr lang="en-US" dirty="0">
              <a:solidFill>
                <a:srgbClr val="000000"/>
              </a:solidFill>
            </a:endParaRPr>
          </a:p>
        </p:txBody>
      </p:sp>
      <p:sp>
        <p:nvSpPr>
          <p:cNvPr id="64" name="TextBox 63"/>
          <p:cNvSpPr txBox="1">
            <a:spLocks/>
          </p:cNvSpPr>
          <p:nvPr/>
        </p:nvSpPr>
        <p:spPr bwMode="gray">
          <a:xfrm>
            <a:off x="3682592" y="4655244"/>
            <a:ext cx="1633595" cy="343854"/>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dir="5400000" algn="t" rotWithShape="0">
              <a:prstClr val="black">
                <a:alpha val="40000"/>
              </a:prstClr>
            </a:outerShdw>
          </a:effectLst>
          <a:extLst/>
        </p:spPr>
        <p:txBody>
          <a:bodyPr lIns="45716" tIns="45716" rIns="45716" bIns="45716" anchor="ctr">
            <a:spAutoFit/>
          </a:bodyPr>
          <a:lstStyle>
            <a:defPPr>
              <a:defRPr lang="en-US"/>
            </a:defPPr>
            <a:lvl1pPr>
              <a:defRPr b="1">
                <a:solidFill>
                  <a:schemeClr val="bg1"/>
                </a:solidFill>
                <a:latin typeface="+mn-lt"/>
              </a:defRPr>
            </a:lvl1pPr>
          </a:lstStyle>
          <a:p>
            <a:pPr marL="133336" defTabSz="914303">
              <a:defRPr/>
            </a:pPr>
            <a:r>
              <a:rPr lang="en-US" dirty="0">
                <a:solidFill>
                  <a:srgbClr val="FFFFFF"/>
                </a:solidFill>
              </a:rPr>
              <a:t>Other criteria</a:t>
            </a:r>
          </a:p>
        </p:txBody>
      </p:sp>
      <p:sp>
        <p:nvSpPr>
          <p:cNvPr id="18" name="Rectangle 17"/>
          <p:cNvSpPr>
            <a:spLocks/>
          </p:cNvSpPr>
          <p:nvPr/>
        </p:nvSpPr>
        <p:spPr>
          <a:xfrm>
            <a:off x="3682592" y="1100020"/>
            <a:ext cx="1633595" cy="1594794"/>
          </a:xfrm>
          <a:prstGeom prst="rect">
            <a:avLst/>
          </a:prstGeom>
          <a:solidFill>
            <a:schemeClr val="bg1"/>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anchor="ctr"/>
          <a:lstStyle/>
          <a:p>
            <a:pPr algn="ctr" defTabSz="914303">
              <a:defRPr/>
            </a:pPr>
            <a:endParaRPr lang="en-US" dirty="0">
              <a:solidFill>
                <a:srgbClr val="000000"/>
              </a:solidFill>
            </a:endParaRPr>
          </a:p>
        </p:txBody>
      </p:sp>
      <p:sp>
        <p:nvSpPr>
          <p:cNvPr id="2" name="Title 1"/>
          <p:cNvSpPr>
            <a:spLocks noGrp="1"/>
          </p:cNvSpPr>
          <p:nvPr>
            <p:ph type="title"/>
          </p:nvPr>
        </p:nvSpPr>
        <p:spPr>
          <a:xfrm>
            <a:off x="108907" y="18671"/>
            <a:ext cx="8617606" cy="597464"/>
          </a:xfrm>
        </p:spPr>
        <p:txBody>
          <a:bodyPr/>
          <a:lstStyle/>
          <a:p>
            <a:pPr marL="457151" defTabSz="895160">
              <a:tabLst>
                <a:tab pos="269818" algn="l"/>
              </a:tabLst>
              <a:defRPr/>
            </a:pPr>
            <a:r>
              <a:rPr lang="en-US" dirty="0"/>
              <a:t>The Lab has identified 25 plant species for mass cultivation and  7 plant species for continued sustainable wild harvesting</a:t>
            </a:r>
          </a:p>
        </p:txBody>
      </p:sp>
      <p:sp>
        <p:nvSpPr>
          <p:cNvPr id="49" name="Round Same Side Corner Rectangle 48"/>
          <p:cNvSpPr>
            <a:spLocks/>
          </p:cNvSpPr>
          <p:nvPr/>
        </p:nvSpPr>
        <p:spPr>
          <a:xfrm>
            <a:off x="3682592" y="639474"/>
            <a:ext cx="5008136" cy="396753"/>
          </a:xfrm>
          <a:prstGeom prst="round2SameRect">
            <a:avLst>
              <a:gd name="adj1" fmla="val 0"/>
              <a:gd name="adj2"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dir="5400000" algn="t" rotWithShape="0">
              <a:prstClr val="black">
                <a:alpha val="40000"/>
              </a:prstClr>
            </a:outerShdw>
          </a:effectLst>
        </p:spPr>
        <p:txBody>
          <a:bodyPr lIns="72003" tIns="72003" rIns="72003" bIns="72003" anchor="ctr">
            <a:spAutoFit/>
          </a:bodyPr>
          <a:lstStyle/>
          <a:p>
            <a:pPr defTabSz="914303">
              <a:defRPr/>
            </a:pPr>
            <a:r>
              <a:rPr lang="en-US" b="1" dirty="0">
                <a:solidFill>
                  <a:srgbClr val="FFFFFF"/>
                </a:solidFill>
                <a:latin typeface="Arial"/>
              </a:rPr>
              <a:t>Criteria</a:t>
            </a:r>
          </a:p>
        </p:txBody>
      </p:sp>
      <p:pic>
        <p:nvPicPr>
          <p:cNvPr id="17" name="Picture 1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78714" y="1731186"/>
            <a:ext cx="1041085" cy="937031"/>
          </a:xfrm>
          <a:prstGeom prst="roundRect">
            <a:avLst/>
          </a:prstGeom>
          <a:noFill/>
          <a:ln>
            <a:noFill/>
          </a:ln>
        </p:spPr>
      </p:pic>
      <p:pic>
        <p:nvPicPr>
          <p:cNvPr id="43" name="Picture 39" descr="http://www.aliveandwell.ie/attachments/Image/shop.jpg"/>
          <p:cNvPicPr>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938985" y="3453226"/>
            <a:ext cx="1120542" cy="913758"/>
          </a:xfrm>
          <a:prstGeom prst="roundRect">
            <a:avLst/>
          </a:prstGeom>
          <a:noFill/>
          <a:ln>
            <a:noFill/>
          </a:ln>
          <a:extLst/>
        </p:spPr>
      </p:pic>
      <p:pic>
        <p:nvPicPr>
          <p:cNvPr id="22537" name="Picture 9" descr="http://www.klipopmekaar.co.za/wp-content/uploads/2012/07/Tea-planting-8-2.jpg"/>
          <p:cNvPicPr>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938985" y="5175124"/>
            <a:ext cx="1120542" cy="913758"/>
          </a:xfrm>
          <a:prstGeom prst="roundRect">
            <a:avLst/>
          </a:prstGeom>
          <a:noFill/>
          <a:ln>
            <a:noFill/>
          </a:ln>
          <a:extLst/>
        </p:spPr>
      </p:pic>
      <p:sp>
        <p:nvSpPr>
          <p:cNvPr id="3" name="TextBox 2"/>
          <p:cNvSpPr txBox="1">
            <a:spLocks/>
          </p:cNvSpPr>
          <p:nvPr/>
        </p:nvSpPr>
        <p:spPr>
          <a:xfrm>
            <a:off x="5446875" y="2817730"/>
            <a:ext cx="3243853" cy="155589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40000"/>
              </a:spcBef>
              <a:buClr>
                <a:srgbClr val="0B4623"/>
              </a:buClr>
              <a:defRPr/>
            </a:pPr>
            <a:r>
              <a:rPr lang="en-US" dirty="0">
                <a:solidFill>
                  <a:srgbClr val="000000"/>
                </a:solidFill>
              </a:rPr>
              <a:t>Permit applications (number and quantity of resource)</a:t>
            </a:r>
          </a:p>
          <a:p>
            <a:pPr lvl="1">
              <a:spcBef>
                <a:spcPct val="40000"/>
              </a:spcBef>
              <a:buClr>
                <a:srgbClr val="0B4623"/>
              </a:buClr>
              <a:defRPr/>
            </a:pPr>
            <a:r>
              <a:rPr lang="en-US" dirty="0">
                <a:solidFill>
                  <a:srgbClr val="000000"/>
                </a:solidFill>
              </a:rPr>
              <a:t>Domestic market retail demand</a:t>
            </a:r>
          </a:p>
          <a:p>
            <a:pPr lvl="1">
              <a:spcBef>
                <a:spcPct val="40000"/>
              </a:spcBef>
              <a:buClr>
                <a:srgbClr val="0B4623"/>
              </a:buClr>
              <a:defRPr/>
            </a:pPr>
            <a:r>
              <a:rPr lang="en-US" dirty="0">
                <a:solidFill>
                  <a:srgbClr val="000000"/>
                </a:solidFill>
              </a:rPr>
              <a:t>International exports</a:t>
            </a:r>
          </a:p>
          <a:p>
            <a:pPr lvl="1">
              <a:spcBef>
                <a:spcPct val="40000"/>
              </a:spcBef>
              <a:buClr>
                <a:srgbClr val="0B4623"/>
              </a:buClr>
              <a:defRPr/>
            </a:pPr>
            <a:r>
              <a:rPr lang="en-US" dirty="0">
                <a:solidFill>
                  <a:srgbClr val="000000"/>
                </a:solidFill>
              </a:rPr>
              <a:t>Syndication with biotraders </a:t>
            </a:r>
          </a:p>
        </p:txBody>
      </p:sp>
      <p:sp>
        <p:nvSpPr>
          <p:cNvPr id="6" name="TextBox 5"/>
          <p:cNvSpPr txBox="1">
            <a:spLocks/>
          </p:cNvSpPr>
          <p:nvPr/>
        </p:nvSpPr>
        <p:spPr>
          <a:xfrm>
            <a:off x="5446875" y="4533885"/>
            <a:ext cx="3243853" cy="142831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40000"/>
              </a:spcBef>
              <a:buClr>
                <a:srgbClr val="0B4623"/>
              </a:buClr>
              <a:defRPr/>
            </a:pPr>
            <a:r>
              <a:rPr lang="en-US" dirty="0">
                <a:solidFill>
                  <a:srgbClr val="000000"/>
                </a:solidFill>
              </a:rPr>
              <a:t>High levels of wild harvesting</a:t>
            </a:r>
          </a:p>
          <a:p>
            <a:pPr lvl="1">
              <a:spcBef>
                <a:spcPct val="40000"/>
              </a:spcBef>
              <a:buClr>
                <a:srgbClr val="0B4623"/>
              </a:buClr>
              <a:defRPr/>
            </a:pPr>
            <a:r>
              <a:rPr lang="en-US" dirty="0">
                <a:solidFill>
                  <a:srgbClr val="000000"/>
                </a:solidFill>
              </a:rPr>
              <a:t>Ineligibility for cultivation due to long lead times to yield a crop e.g. slow growing trees) </a:t>
            </a:r>
          </a:p>
          <a:p>
            <a:pPr lvl="1">
              <a:spcBef>
                <a:spcPct val="40000"/>
              </a:spcBef>
              <a:buClr>
                <a:srgbClr val="0B4623"/>
              </a:buClr>
              <a:defRPr/>
            </a:pPr>
            <a:endParaRPr lang="en-US" dirty="0">
              <a:solidFill>
                <a:srgbClr val="000000"/>
              </a:solidFill>
            </a:endParaRPr>
          </a:p>
        </p:txBody>
      </p:sp>
      <p:sp>
        <p:nvSpPr>
          <p:cNvPr id="9" name="TextBox 8"/>
          <p:cNvSpPr txBox="1">
            <a:spLocks/>
          </p:cNvSpPr>
          <p:nvPr/>
        </p:nvSpPr>
        <p:spPr>
          <a:xfrm>
            <a:off x="5446875" y="1100020"/>
            <a:ext cx="3243853" cy="502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40000"/>
              </a:spcBef>
              <a:buClr>
                <a:srgbClr val="0B4623"/>
              </a:buClr>
              <a:defRPr/>
            </a:pPr>
            <a:r>
              <a:rPr lang="en-US" dirty="0">
                <a:solidFill>
                  <a:srgbClr val="000000"/>
                </a:solidFill>
              </a:rPr>
              <a:t>Only indigenous biological resources are eligible</a:t>
            </a:r>
          </a:p>
        </p:txBody>
      </p:sp>
      <p:sp>
        <p:nvSpPr>
          <p:cNvPr id="37" name="Oval 36"/>
          <p:cNvSpPr/>
          <p:nvPr/>
        </p:nvSpPr>
        <p:spPr bwMode="gray">
          <a:xfrm>
            <a:off x="171138" y="208490"/>
            <a:ext cx="325164" cy="323627"/>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lstStyle/>
          <a:p>
            <a:pPr defTabSz="914303">
              <a:defRPr/>
            </a:pPr>
            <a:r>
              <a:rPr lang="en-US" sz="1900" b="1" dirty="0">
                <a:solidFill>
                  <a:srgbClr val="FFFFFF"/>
                </a:solidFill>
                <a:latin typeface="Arial"/>
              </a:rPr>
              <a:t>2</a:t>
            </a:r>
            <a:endParaRPr lang="ms-MY" sz="1900" b="1" dirty="0">
              <a:solidFill>
                <a:srgbClr val="FFFFFF"/>
              </a:solidFill>
              <a:latin typeface="Arial"/>
            </a:endParaRPr>
          </a:p>
        </p:txBody>
      </p:sp>
      <p:sp>
        <p:nvSpPr>
          <p:cNvPr id="61" name="Freeform 60"/>
          <p:cNvSpPr>
            <a:spLocks/>
          </p:cNvSpPr>
          <p:nvPr/>
        </p:nvSpPr>
        <p:spPr bwMode="auto">
          <a:xfrm rot="5400000">
            <a:off x="-283279" y="1932521"/>
            <a:ext cx="4166692" cy="3248521"/>
          </a:xfrm>
          <a:custGeom>
            <a:avLst/>
            <a:gdLst>
              <a:gd name="connsiteX0" fmla="*/ 0 w 4358925"/>
              <a:gd name="connsiteY0" fmla="*/ 3250045 h 3250045"/>
              <a:gd name="connsiteX1" fmla="*/ 4982 w 4358925"/>
              <a:gd name="connsiteY1" fmla="*/ 0 h 3250045"/>
              <a:gd name="connsiteX2" fmla="*/ 2514390 w 4358925"/>
              <a:gd name="connsiteY2" fmla="*/ 1020480 h 3250045"/>
              <a:gd name="connsiteX3" fmla="*/ 4157750 w 4358925"/>
              <a:gd name="connsiteY3" fmla="*/ 1282783 h 3250045"/>
              <a:gd name="connsiteX4" fmla="*/ 4330949 w 4358925"/>
              <a:gd name="connsiteY4" fmla="*/ 1290860 h 3250045"/>
              <a:gd name="connsiteX5" fmla="*/ 4339423 w 4358925"/>
              <a:gd name="connsiteY5" fmla="*/ 1327810 h 3250045"/>
              <a:gd name="connsiteX6" fmla="*/ 4358925 w 4358925"/>
              <a:gd name="connsiteY6" fmla="*/ 1625023 h 3250045"/>
              <a:gd name="connsiteX7" fmla="*/ 4339423 w 4358925"/>
              <a:gd name="connsiteY7" fmla="*/ 1922236 h 3250045"/>
              <a:gd name="connsiteX8" fmla="*/ 4328224 w 4358925"/>
              <a:gd name="connsiteY8" fmla="*/ 1971070 h 3250045"/>
              <a:gd name="connsiteX9" fmla="*/ 4084403 w 4358925"/>
              <a:gd name="connsiteY9" fmla="*/ 1982670 h 3250045"/>
              <a:gd name="connsiteX10" fmla="*/ 2505161 w 4358925"/>
              <a:gd name="connsiteY10" fmla="*/ 2232606 h 3250045"/>
              <a:gd name="connsiteX11" fmla="*/ 0 w 4358925"/>
              <a:gd name="connsiteY11" fmla="*/ 3250045 h 325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58925" h="3250045">
                <a:moveTo>
                  <a:pt x="0" y="3250045"/>
                </a:moveTo>
                <a:cubicBezTo>
                  <a:pt x="1359" y="2166805"/>
                  <a:pt x="3624" y="1083240"/>
                  <a:pt x="4982" y="0"/>
                </a:cubicBezTo>
                <a:cubicBezTo>
                  <a:pt x="695709" y="398456"/>
                  <a:pt x="2009799" y="906205"/>
                  <a:pt x="2514390" y="1020480"/>
                </a:cubicBezTo>
                <a:cubicBezTo>
                  <a:pt x="2958794" y="1121124"/>
                  <a:pt x="3618893" y="1245404"/>
                  <a:pt x="4157750" y="1282783"/>
                </a:cubicBezTo>
                <a:lnTo>
                  <a:pt x="4330949" y="1290860"/>
                </a:lnTo>
                <a:lnTo>
                  <a:pt x="4339423" y="1327810"/>
                </a:lnTo>
                <a:cubicBezTo>
                  <a:pt x="4351334" y="1398456"/>
                  <a:pt x="4358925" y="1505367"/>
                  <a:pt x="4358925" y="1625023"/>
                </a:cubicBezTo>
                <a:cubicBezTo>
                  <a:pt x="4358925" y="1744679"/>
                  <a:pt x="4351334" y="1851591"/>
                  <a:pt x="4339423" y="1922236"/>
                </a:cubicBezTo>
                <a:lnTo>
                  <a:pt x="4328224" y="1971070"/>
                </a:lnTo>
                <a:lnTo>
                  <a:pt x="4084403" y="1982670"/>
                </a:lnTo>
                <a:cubicBezTo>
                  <a:pt x="3407375" y="2027336"/>
                  <a:pt x="2830995" y="2149240"/>
                  <a:pt x="2505161" y="2232606"/>
                </a:cubicBezTo>
                <a:cubicBezTo>
                  <a:pt x="2136472" y="2332232"/>
                  <a:pt x="1182161" y="2626687"/>
                  <a:pt x="0" y="3250045"/>
                </a:cubicBezTo>
                <a:close/>
              </a:path>
            </a:pathLst>
          </a:custGeom>
          <a:gradFill flip="none" rotWithShape="1">
            <a:gsLst>
              <a:gs pos="0">
                <a:schemeClr val="accent2">
                  <a:lumMod val="67000"/>
                </a:schemeClr>
              </a:gs>
              <a:gs pos="100000">
                <a:schemeClr val="accent2">
                  <a:lumMod val="97000"/>
                  <a:lumOff val="3000"/>
                </a:schemeClr>
              </a:gs>
              <a:gs pos="51000">
                <a:schemeClr val="accent2">
                  <a:lumMod val="92000"/>
                  <a:lumOff val="8000"/>
                </a:schemeClr>
              </a:gs>
            </a:gsLst>
            <a:lin ang="16200000" scaled="1"/>
            <a:tileRect/>
          </a:gradFill>
          <a:ln w="9525">
            <a:noFill/>
            <a:round/>
            <a:headEnd/>
            <a:tailEnd/>
          </a:ln>
          <a:effectLst/>
          <a:extLst/>
        </p:spPr>
        <p:txBody>
          <a:bodyPr lIns="89611" tIns="44806" rIns="89611" bIns="44806"/>
          <a:lstStyle/>
          <a:p>
            <a:pPr defTabSz="914303">
              <a:defRPr/>
            </a:pPr>
            <a:endParaRPr lang="en-US" dirty="0">
              <a:solidFill>
                <a:srgbClr val="000000"/>
              </a:solidFill>
              <a:latin typeface="Arial"/>
            </a:endParaRPr>
          </a:p>
        </p:txBody>
      </p:sp>
      <p:sp>
        <p:nvSpPr>
          <p:cNvPr id="8" name="TextBox 7"/>
          <p:cNvSpPr txBox="1"/>
          <p:nvPr/>
        </p:nvSpPr>
        <p:spPr>
          <a:xfrm>
            <a:off x="863473" y="991107"/>
            <a:ext cx="1614926" cy="245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defRPr/>
            </a:pPr>
            <a:r>
              <a:rPr lang="en-US" b="1" dirty="0">
                <a:solidFill>
                  <a:srgbClr val="0B4623"/>
                </a:solidFill>
              </a:rPr>
              <a:t> ~20 000 species</a:t>
            </a:r>
          </a:p>
        </p:txBody>
      </p:sp>
      <p:sp>
        <p:nvSpPr>
          <p:cNvPr id="32" name="TextBox 31"/>
          <p:cNvSpPr txBox="1"/>
          <p:nvPr/>
        </p:nvSpPr>
        <p:spPr>
          <a:xfrm>
            <a:off x="1274205" y="5666577"/>
            <a:ext cx="1754948" cy="41698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defRPr/>
            </a:pPr>
            <a:r>
              <a:rPr lang="en-US" sz="1200" b="1" dirty="0">
                <a:solidFill>
                  <a:srgbClr val="0B4623"/>
                </a:solidFill>
              </a:rPr>
              <a:t>25 </a:t>
            </a:r>
            <a:r>
              <a:rPr lang="en-US" sz="1200" b="1" dirty="0" err="1">
                <a:solidFill>
                  <a:srgbClr val="0B4623"/>
                </a:solidFill>
              </a:rPr>
              <a:t>spp</a:t>
            </a:r>
            <a:r>
              <a:rPr lang="en-US" sz="1200" b="1" dirty="0">
                <a:solidFill>
                  <a:srgbClr val="0B4623"/>
                </a:solidFill>
              </a:rPr>
              <a:t> for cultivation &amp; 7 </a:t>
            </a:r>
            <a:r>
              <a:rPr lang="en-US" sz="1200" b="1" dirty="0" err="1">
                <a:solidFill>
                  <a:srgbClr val="0B4623"/>
                </a:solidFill>
              </a:rPr>
              <a:t>spp</a:t>
            </a:r>
            <a:r>
              <a:rPr lang="en-US" sz="1200" b="1" dirty="0">
                <a:solidFill>
                  <a:srgbClr val="0B4623"/>
                </a:solidFill>
              </a:rPr>
              <a:t> for sustainable wild harvesting</a:t>
            </a:r>
          </a:p>
        </p:txBody>
      </p:sp>
      <p:grpSp>
        <p:nvGrpSpPr>
          <p:cNvPr id="42004" name="Group 6"/>
          <p:cNvGrpSpPr>
            <a:grpSpLocks/>
          </p:cNvGrpSpPr>
          <p:nvPr/>
        </p:nvGrpSpPr>
        <p:grpSpPr bwMode="auto">
          <a:xfrm>
            <a:off x="707892" y="2859739"/>
            <a:ext cx="2184351" cy="472993"/>
            <a:chOff x="803258" y="2776542"/>
            <a:chExt cx="2183908" cy="473790"/>
          </a:xfrm>
        </p:grpSpPr>
        <p:sp>
          <p:nvSpPr>
            <p:cNvPr id="4" name="Oval 3"/>
            <p:cNvSpPr>
              <a:spLocks/>
            </p:cNvSpPr>
            <p:nvPr/>
          </p:nvSpPr>
          <p:spPr>
            <a:xfrm rot="16200000">
              <a:off x="1697280" y="1960446"/>
              <a:ext cx="395864" cy="2183908"/>
            </a:xfrm>
            <a:prstGeom prst="ellipse">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03">
                <a:defRPr/>
              </a:pPr>
              <a:endParaRPr lang="en-US" dirty="0">
                <a:solidFill>
                  <a:srgbClr val="000000"/>
                </a:solidFill>
              </a:endParaRPr>
            </a:p>
          </p:txBody>
        </p:sp>
        <p:sp>
          <p:nvSpPr>
            <p:cNvPr id="46" name="Oval 13" descr="Small grid"/>
            <p:cNvSpPr>
              <a:spLocks noChangeArrowheads="1"/>
            </p:cNvSpPr>
            <p:nvPr/>
          </p:nvSpPr>
          <p:spPr bwMode="gray">
            <a:xfrm rot="16200000">
              <a:off x="1697280" y="1882520"/>
              <a:ext cx="395864" cy="2183908"/>
            </a:xfrm>
            <a:prstGeom prst="ellipse">
              <a:avLst/>
            </a:prstGeom>
            <a:pattFill prst="smGrid">
              <a:fgClr>
                <a:srgbClr val="C0C0C0"/>
              </a:fgClr>
              <a:bgClr>
                <a:schemeClr val="bg1"/>
              </a:bgClr>
            </a:patt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03">
                <a:defRPr/>
              </a:pPr>
              <a:endParaRPr lang="en-US" dirty="0">
                <a:solidFill>
                  <a:srgbClr val="000000"/>
                </a:solidFill>
                <a:latin typeface="Arial"/>
              </a:endParaRPr>
            </a:p>
          </p:txBody>
        </p:sp>
        <p:sp>
          <p:nvSpPr>
            <p:cNvPr id="5" name="Isosceles Triangle 4"/>
            <p:cNvSpPr/>
            <p:nvPr/>
          </p:nvSpPr>
          <p:spPr>
            <a:xfrm>
              <a:off x="803258" y="2974474"/>
              <a:ext cx="73108" cy="96628"/>
            </a:xfrm>
            <a:prstGeom prst="triangle">
              <a:avLst>
                <a:gd name="adj" fmla="val 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03">
                <a:defRPr/>
              </a:pPr>
              <a:endParaRPr lang="en-US" dirty="0">
                <a:solidFill>
                  <a:srgbClr val="000000"/>
                </a:solidFill>
              </a:endParaRPr>
            </a:p>
          </p:txBody>
        </p:sp>
        <p:sp>
          <p:nvSpPr>
            <p:cNvPr id="41" name="Isosceles Triangle 40"/>
            <p:cNvSpPr/>
            <p:nvPr/>
          </p:nvSpPr>
          <p:spPr>
            <a:xfrm flipH="1">
              <a:off x="2914057" y="2974474"/>
              <a:ext cx="73109" cy="96628"/>
            </a:xfrm>
            <a:prstGeom prst="triangle">
              <a:avLst>
                <a:gd name="adj" fmla="val 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03">
                <a:defRPr/>
              </a:pPr>
              <a:endParaRPr lang="en-US" dirty="0">
                <a:solidFill>
                  <a:srgbClr val="000000"/>
                </a:solidFill>
              </a:endParaRPr>
            </a:p>
          </p:txBody>
        </p:sp>
      </p:grpSp>
      <p:grpSp>
        <p:nvGrpSpPr>
          <p:cNvPr id="42005" name="Group 41"/>
          <p:cNvGrpSpPr>
            <a:grpSpLocks/>
          </p:cNvGrpSpPr>
          <p:nvPr/>
        </p:nvGrpSpPr>
        <p:grpSpPr bwMode="auto">
          <a:xfrm>
            <a:off x="1183968" y="4325394"/>
            <a:ext cx="1232198" cy="356301"/>
            <a:chOff x="803258" y="2776542"/>
            <a:chExt cx="2183908" cy="473790"/>
          </a:xfrm>
        </p:grpSpPr>
        <p:sp>
          <p:nvSpPr>
            <p:cNvPr id="51" name="Oval 50"/>
            <p:cNvSpPr>
              <a:spLocks/>
            </p:cNvSpPr>
            <p:nvPr/>
          </p:nvSpPr>
          <p:spPr>
            <a:xfrm rot="16200000">
              <a:off x="1696593" y="1959759"/>
              <a:ext cx="397238" cy="2183908"/>
            </a:xfrm>
            <a:prstGeom prst="ellipse">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03">
                <a:defRPr/>
              </a:pPr>
              <a:endParaRPr lang="en-US" dirty="0">
                <a:solidFill>
                  <a:srgbClr val="000000"/>
                </a:solidFill>
              </a:endParaRPr>
            </a:p>
          </p:txBody>
        </p:sp>
        <p:sp>
          <p:nvSpPr>
            <p:cNvPr id="52" name="Oval 13" descr="Small grid"/>
            <p:cNvSpPr>
              <a:spLocks noChangeArrowheads="1"/>
            </p:cNvSpPr>
            <p:nvPr/>
          </p:nvSpPr>
          <p:spPr bwMode="gray">
            <a:xfrm rot="16200000">
              <a:off x="1696593" y="1883207"/>
              <a:ext cx="397238" cy="2183908"/>
            </a:xfrm>
            <a:prstGeom prst="ellipse">
              <a:avLst/>
            </a:prstGeom>
            <a:pattFill prst="smGrid">
              <a:fgClr>
                <a:srgbClr val="C0C0C0"/>
              </a:fgClr>
              <a:bgClr>
                <a:schemeClr val="bg1"/>
              </a:bgClr>
            </a:pattFill>
            <a:ln w="952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303">
                <a:defRPr/>
              </a:pPr>
              <a:endParaRPr lang="en-US" dirty="0">
                <a:solidFill>
                  <a:srgbClr val="000000"/>
                </a:solidFill>
                <a:latin typeface="Arial"/>
              </a:endParaRPr>
            </a:p>
          </p:txBody>
        </p:sp>
        <p:sp>
          <p:nvSpPr>
            <p:cNvPr id="53" name="Isosceles Triangle 52"/>
            <p:cNvSpPr/>
            <p:nvPr/>
          </p:nvSpPr>
          <p:spPr>
            <a:xfrm>
              <a:off x="803258" y="2975161"/>
              <a:ext cx="71694" cy="95172"/>
            </a:xfrm>
            <a:prstGeom prst="triangle">
              <a:avLst>
                <a:gd name="adj" fmla="val 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03">
                <a:defRPr/>
              </a:pPr>
              <a:endParaRPr lang="en-US" dirty="0">
                <a:solidFill>
                  <a:srgbClr val="000000"/>
                </a:solidFill>
              </a:endParaRPr>
            </a:p>
          </p:txBody>
        </p:sp>
        <p:sp>
          <p:nvSpPr>
            <p:cNvPr id="54" name="Isosceles Triangle 53"/>
            <p:cNvSpPr/>
            <p:nvPr/>
          </p:nvSpPr>
          <p:spPr>
            <a:xfrm flipH="1">
              <a:off x="2915472" y="2975161"/>
              <a:ext cx="71694" cy="95172"/>
            </a:xfrm>
            <a:prstGeom prst="triangle">
              <a:avLst>
                <a:gd name="adj" fmla="val 0"/>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03">
                <a:defRPr/>
              </a:pPr>
              <a:endParaRPr lang="en-US" dirty="0">
                <a:solidFill>
                  <a:srgbClr val="000000"/>
                </a:solidFill>
              </a:endParaRPr>
            </a:p>
          </p:txBody>
        </p:sp>
      </p:grpSp>
      <p:sp>
        <p:nvSpPr>
          <p:cNvPr id="56" name="Freeform 55"/>
          <p:cNvSpPr/>
          <p:nvPr/>
        </p:nvSpPr>
        <p:spPr>
          <a:xfrm>
            <a:off x="843247" y="2833289"/>
            <a:ext cx="1913640" cy="315847"/>
          </a:xfrm>
          <a:custGeom>
            <a:avLst/>
            <a:gdLst>
              <a:gd name="connsiteX0" fmla="*/ 957330 w 1914091"/>
              <a:gd name="connsiteY0" fmla="*/ 0 h 316678"/>
              <a:gd name="connsiteX1" fmla="*/ 1899233 w 1914091"/>
              <a:gd name="connsiteY1" fmla="*/ 96707 h 316678"/>
              <a:gd name="connsiteX2" fmla="*/ 1914091 w 1914091"/>
              <a:gd name="connsiteY2" fmla="*/ 102995 h 316678"/>
              <a:gd name="connsiteX3" fmla="*/ 1864632 w 1914091"/>
              <a:gd name="connsiteY3" fmla="*/ 231097 h 316678"/>
              <a:gd name="connsiteX4" fmla="*/ 1856187 w 1914091"/>
              <a:gd name="connsiteY4" fmla="*/ 233813 h 316678"/>
              <a:gd name="connsiteX5" fmla="*/ 957330 w 1914091"/>
              <a:gd name="connsiteY5" fmla="*/ 316678 h 316678"/>
              <a:gd name="connsiteX6" fmla="*/ 58473 w 1914091"/>
              <a:gd name="connsiteY6" fmla="*/ 233813 h 316678"/>
              <a:gd name="connsiteX7" fmla="*/ 49739 w 1914091"/>
              <a:gd name="connsiteY7" fmla="*/ 231005 h 316678"/>
              <a:gd name="connsiteX8" fmla="*/ 37426 w 1914091"/>
              <a:gd name="connsiteY8" fmla="*/ 197871 h 316678"/>
              <a:gd name="connsiteX9" fmla="*/ 0 w 1914091"/>
              <a:gd name="connsiteY9" fmla="*/ 103235 h 316678"/>
              <a:gd name="connsiteX10" fmla="*/ 15427 w 1914091"/>
              <a:gd name="connsiteY10" fmla="*/ 96707 h 316678"/>
              <a:gd name="connsiteX11" fmla="*/ 957330 w 1914091"/>
              <a:gd name="connsiteY11" fmla="*/ 0 h 31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4091" h="316678">
                <a:moveTo>
                  <a:pt x="957330" y="0"/>
                </a:moveTo>
                <a:cubicBezTo>
                  <a:pt x="1380754" y="0"/>
                  <a:pt x="1744049" y="39876"/>
                  <a:pt x="1899233" y="96707"/>
                </a:cubicBezTo>
                <a:lnTo>
                  <a:pt x="1914091" y="102995"/>
                </a:lnTo>
                <a:lnTo>
                  <a:pt x="1864632" y="231097"/>
                </a:lnTo>
                <a:lnTo>
                  <a:pt x="1856187" y="233813"/>
                </a:lnTo>
                <a:cubicBezTo>
                  <a:pt x="1683082" y="283171"/>
                  <a:pt x="1345469" y="316678"/>
                  <a:pt x="957330" y="316678"/>
                </a:cubicBezTo>
                <a:cubicBezTo>
                  <a:pt x="569192" y="316678"/>
                  <a:pt x="231578" y="283171"/>
                  <a:pt x="58473" y="233813"/>
                </a:cubicBezTo>
                <a:lnTo>
                  <a:pt x="49739" y="231005"/>
                </a:lnTo>
                <a:lnTo>
                  <a:pt x="37426" y="197871"/>
                </a:lnTo>
                <a:lnTo>
                  <a:pt x="0" y="103235"/>
                </a:lnTo>
                <a:lnTo>
                  <a:pt x="15427" y="96707"/>
                </a:lnTo>
                <a:cubicBezTo>
                  <a:pt x="170611" y="39876"/>
                  <a:pt x="533906" y="0"/>
                  <a:pt x="957330" y="0"/>
                </a:cubicBezTo>
                <a:close/>
              </a:path>
            </a:pathLst>
          </a:custGeom>
          <a:gradFill flip="none" rotWithShape="1">
            <a:gsLst>
              <a:gs pos="0">
                <a:srgbClr val="0C6B2E"/>
              </a:gs>
              <a:gs pos="100000">
                <a:srgbClr val="0F873A"/>
              </a:gs>
              <a:gs pos="51000">
                <a:srgbClr val="10903E"/>
              </a:gs>
            </a:gsLst>
            <a:lin ang="0" scaled="1"/>
            <a:tileRect/>
          </a:gradFill>
          <a:ln w="9525">
            <a:noFill/>
            <a:round/>
            <a:headEnd/>
            <a:tailEnd/>
          </a:ln>
          <a:effectLst/>
        </p:spPr>
        <p:txBody>
          <a:bodyPr lIns="89611" tIns="44806" rIns="89611" bIns="44806"/>
          <a:lstStyle/>
          <a:p>
            <a:pPr defTabSz="914303">
              <a:defRPr/>
            </a:pPr>
            <a:endParaRPr lang="en-US" dirty="0">
              <a:solidFill>
                <a:srgbClr val="000000"/>
              </a:solidFill>
            </a:endParaRPr>
          </a:p>
        </p:txBody>
      </p:sp>
      <p:sp>
        <p:nvSpPr>
          <p:cNvPr id="59" name="Freeform 58"/>
          <p:cNvSpPr>
            <a:spLocks/>
          </p:cNvSpPr>
          <p:nvPr/>
        </p:nvSpPr>
        <p:spPr bwMode="auto">
          <a:xfrm rot="5400000">
            <a:off x="1645255" y="3878104"/>
            <a:ext cx="315847" cy="1057948"/>
          </a:xfrm>
          <a:custGeom>
            <a:avLst/>
            <a:gdLst>
              <a:gd name="connsiteX0" fmla="*/ 0 w 316678"/>
              <a:gd name="connsiteY0" fmla="*/ 531725 h 1058297"/>
              <a:gd name="connsiteX1" fmla="*/ 76235 w 316678"/>
              <a:gd name="connsiteY1" fmla="*/ 13065 h 1058297"/>
              <a:gd name="connsiteX2" fmla="*/ 82898 w 316678"/>
              <a:gd name="connsiteY2" fmla="*/ 0 h 1058297"/>
              <a:gd name="connsiteX3" fmla="*/ 164559 w 316678"/>
              <a:gd name="connsiteY3" fmla="*/ 16544 h 1058297"/>
              <a:gd name="connsiteX4" fmla="*/ 247660 w 316678"/>
              <a:gd name="connsiteY4" fmla="*/ 32004 h 1058297"/>
              <a:gd name="connsiteX5" fmla="*/ 251545 w 316678"/>
              <a:gd name="connsiteY5" fmla="*/ 41416 h 1058297"/>
              <a:gd name="connsiteX6" fmla="*/ 316678 w 316678"/>
              <a:gd name="connsiteY6" fmla="*/ 531725 h 1058297"/>
              <a:gd name="connsiteX7" fmla="*/ 251545 w 316678"/>
              <a:gd name="connsiteY7" fmla="*/ 1022034 h 1058297"/>
              <a:gd name="connsiteX8" fmla="*/ 250460 w 316678"/>
              <a:gd name="connsiteY8" fmla="*/ 1024664 h 1058297"/>
              <a:gd name="connsiteX9" fmla="*/ 80270 w 316678"/>
              <a:gd name="connsiteY9" fmla="*/ 1058297 h 1058297"/>
              <a:gd name="connsiteX10" fmla="*/ 76235 w 316678"/>
              <a:gd name="connsiteY10" fmla="*/ 1050386 h 1058297"/>
              <a:gd name="connsiteX11" fmla="*/ 0 w 316678"/>
              <a:gd name="connsiteY11" fmla="*/ 531725 h 1058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6678" h="1058297">
                <a:moveTo>
                  <a:pt x="0" y="531725"/>
                </a:moveTo>
                <a:cubicBezTo>
                  <a:pt x="0" y="311922"/>
                  <a:pt x="30530" y="119430"/>
                  <a:pt x="76235" y="13065"/>
                </a:cubicBezTo>
                <a:lnTo>
                  <a:pt x="82898" y="0"/>
                </a:lnTo>
                <a:lnTo>
                  <a:pt x="164559" y="16544"/>
                </a:lnTo>
                <a:lnTo>
                  <a:pt x="247660" y="32004"/>
                </a:lnTo>
                <a:lnTo>
                  <a:pt x="251545" y="41416"/>
                </a:lnTo>
                <a:cubicBezTo>
                  <a:pt x="291024" y="151702"/>
                  <a:pt x="316678" y="330238"/>
                  <a:pt x="316678" y="531725"/>
                </a:cubicBezTo>
                <a:cubicBezTo>
                  <a:pt x="316678" y="733212"/>
                  <a:pt x="291024" y="911749"/>
                  <a:pt x="251545" y="1022034"/>
                </a:cubicBezTo>
                <a:lnTo>
                  <a:pt x="250460" y="1024664"/>
                </a:lnTo>
                <a:lnTo>
                  <a:pt x="80270" y="1058297"/>
                </a:lnTo>
                <a:lnTo>
                  <a:pt x="76235" y="1050386"/>
                </a:lnTo>
                <a:cubicBezTo>
                  <a:pt x="30530" y="944021"/>
                  <a:pt x="0" y="751529"/>
                  <a:pt x="0" y="531725"/>
                </a:cubicBezTo>
                <a:close/>
              </a:path>
            </a:pathLst>
          </a:custGeom>
          <a:gradFill flip="none" rotWithShape="1">
            <a:gsLst>
              <a:gs pos="0">
                <a:srgbClr val="0E7B35"/>
              </a:gs>
              <a:gs pos="100000">
                <a:srgbClr val="0F8B3C"/>
              </a:gs>
              <a:gs pos="51000">
                <a:srgbClr val="108F3E"/>
              </a:gs>
            </a:gsLst>
            <a:lin ang="16200000" scaled="1"/>
            <a:tileRect/>
          </a:gradFill>
          <a:ln w="9525">
            <a:noFill/>
            <a:round/>
            <a:headEnd/>
            <a:tailEnd/>
          </a:ln>
          <a:effectLst/>
          <a:extLst/>
        </p:spPr>
        <p:txBody>
          <a:bodyPr lIns="89611" tIns="44806" rIns="89611" bIns="44806"/>
          <a:lstStyle/>
          <a:p>
            <a:pPr defTabSz="914303">
              <a:defRPr/>
            </a:pPr>
            <a:endParaRPr lang="en-US" dirty="0">
              <a:solidFill>
                <a:srgbClr val="000000"/>
              </a:solidFill>
              <a:latin typeface="Arial"/>
            </a:endParaRPr>
          </a:p>
        </p:txBody>
      </p:sp>
      <p:sp>
        <p:nvSpPr>
          <p:cNvPr id="62" name="TextBox 61"/>
          <p:cNvSpPr txBox="1">
            <a:spLocks/>
          </p:cNvSpPr>
          <p:nvPr/>
        </p:nvSpPr>
        <p:spPr bwMode="gray">
          <a:xfrm>
            <a:off x="3682592" y="1095352"/>
            <a:ext cx="1633595" cy="59435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dir="5400000" algn="t" rotWithShape="0">
              <a:prstClr val="black">
                <a:alpha val="40000"/>
              </a:prstClr>
            </a:outerShdw>
          </a:effectLst>
          <a:extLst/>
        </p:spPr>
        <p:txBody>
          <a:bodyPr lIns="45716" tIns="45716" rIns="45716" bIns="45716" anchor="ctr">
            <a:spAutoFit/>
          </a:bodyPr>
          <a:lstStyle>
            <a:defPPr>
              <a:defRPr lang="en-US"/>
            </a:defPPr>
            <a:lvl1pPr>
              <a:defRPr b="1">
                <a:solidFill>
                  <a:schemeClr val="bg1"/>
                </a:solidFill>
                <a:latin typeface="+mn-lt"/>
              </a:defRPr>
            </a:lvl1pPr>
          </a:lstStyle>
          <a:p>
            <a:pPr marL="133336" defTabSz="914303">
              <a:defRPr/>
            </a:pPr>
            <a:r>
              <a:rPr lang="en-US" dirty="0">
                <a:solidFill>
                  <a:srgbClr val="FFFFFF"/>
                </a:solidFill>
              </a:rPr>
              <a:t>Indigenous species</a:t>
            </a:r>
          </a:p>
        </p:txBody>
      </p:sp>
      <p:cxnSp>
        <p:nvCxnSpPr>
          <p:cNvPr id="67" name="Straight Connector 66"/>
          <p:cNvCxnSpPr>
            <a:cxnSpLocks/>
          </p:cNvCxnSpPr>
          <p:nvPr/>
        </p:nvCxnSpPr>
        <p:spPr>
          <a:xfrm>
            <a:off x="5446875" y="2755494"/>
            <a:ext cx="324385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nvCxnSpPr>
        <p:spPr>
          <a:xfrm>
            <a:off x="5446875" y="4473204"/>
            <a:ext cx="324385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2" name="Oval 11"/>
          <p:cNvSpPr>
            <a:spLocks/>
          </p:cNvSpPr>
          <p:nvPr/>
        </p:nvSpPr>
        <p:spPr>
          <a:xfrm>
            <a:off x="3548792" y="1269612"/>
            <a:ext cx="247373" cy="245832"/>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lstStyle/>
          <a:p>
            <a:pPr defTabSz="914303">
              <a:defRPr/>
            </a:pPr>
            <a:r>
              <a:rPr lang="en-US" b="1" dirty="0">
                <a:solidFill>
                  <a:srgbClr val="FFFFFF"/>
                </a:solidFill>
                <a:latin typeface="Arial"/>
              </a:rPr>
              <a:t>1</a:t>
            </a:r>
          </a:p>
        </p:txBody>
      </p:sp>
      <p:sp>
        <p:nvSpPr>
          <p:cNvPr id="15" name="Oval 14"/>
          <p:cNvSpPr>
            <a:spLocks/>
          </p:cNvSpPr>
          <p:nvPr/>
        </p:nvSpPr>
        <p:spPr>
          <a:xfrm>
            <a:off x="3542569" y="2985767"/>
            <a:ext cx="259819" cy="247387"/>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lstStyle/>
          <a:p>
            <a:pPr defTabSz="914303">
              <a:defRPr/>
            </a:pPr>
            <a:r>
              <a:rPr lang="en-US" b="1" dirty="0">
                <a:solidFill>
                  <a:srgbClr val="FFFFFF"/>
                </a:solidFill>
                <a:latin typeface="Arial"/>
              </a:rPr>
              <a:t>2</a:t>
            </a:r>
          </a:p>
        </p:txBody>
      </p:sp>
      <p:sp>
        <p:nvSpPr>
          <p:cNvPr id="19" name="Oval 18"/>
          <p:cNvSpPr>
            <a:spLocks/>
          </p:cNvSpPr>
          <p:nvPr/>
        </p:nvSpPr>
        <p:spPr>
          <a:xfrm>
            <a:off x="3548792" y="4703477"/>
            <a:ext cx="247373" cy="247387"/>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lstStyle/>
          <a:p>
            <a:pPr defTabSz="914303">
              <a:defRPr/>
            </a:pPr>
            <a:r>
              <a:rPr lang="en-US" b="1" dirty="0">
                <a:solidFill>
                  <a:srgbClr val="FFFFFF"/>
                </a:solidFill>
                <a:latin typeface="Arial"/>
              </a:rPr>
              <a:t>3</a:t>
            </a:r>
          </a:p>
        </p:txBody>
      </p:sp>
      <p:sp>
        <p:nvSpPr>
          <p:cNvPr id="70" name="Freeform 69"/>
          <p:cNvSpPr>
            <a:spLocks/>
          </p:cNvSpPr>
          <p:nvPr/>
        </p:nvSpPr>
        <p:spPr>
          <a:xfrm>
            <a:off x="108907" y="1291395"/>
            <a:ext cx="3382321" cy="362524"/>
          </a:xfrm>
          <a:custGeom>
            <a:avLst/>
            <a:gdLst>
              <a:gd name="connsiteX0" fmla="*/ 1691005 w 3382010"/>
              <a:gd name="connsiteY0" fmla="*/ 29750 h 362848"/>
              <a:gd name="connsiteX1" fmla="*/ 65982 w 3382010"/>
              <a:gd name="connsiteY1" fmla="*/ 181424 h 362848"/>
              <a:gd name="connsiteX2" fmla="*/ 1691005 w 3382010"/>
              <a:gd name="connsiteY2" fmla="*/ 333098 h 362848"/>
              <a:gd name="connsiteX3" fmla="*/ 3316028 w 3382010"/>
              <a:gd name="connsiteY3" fmla="*/ 181424 h 362848"/>
              <a:gd name="connsiteX4" fmla="*/ 1691005 w 3382010"/>
              <a:gd name="connsiteY4" fmla="*/ 29750 h 362848"/>
              <a:gd name="connsiteX5" fmla="*/ 1691005 w 3382010"/>
              <a:gd name="connsiteY5" fmla="*/ 0 h 362848"/>
              <a:gd name="connsiteX6" fmla="*/ 3382010 w 3382010"/>
              <a:gd name="connsiteY6" fmla="*/ 181424 h 362848"/>
              <a:gd name="connsiteX7" fmla="*/ 1691005 w 3382010"/>
              <a:gd name="connsiteY7" fmla="*/ 362848 h 362848"/>
              <a:gd name="connsiteX8" fmla="*/ 0 w 3382010"/>
              <a:gd name="connsiteY8" fmla="*/ 181424 h 362848"/>
              <a:gd name="connsiteX9" fmla="*/ 1691005 w 3382010"/>
              <a:gd name="connsiteY9" fmla="*/ 0 h 362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2010" h="362848">
                <a:moveTo>
                  <a:pt x="1691005" y="29750"/>
                </a:moveTo>
                <a:cubicBezTo>
                  <a:pt x="793530" y="29750"/>
                  <a:pt x="65982" y="97657"/>
                  <a:pt x="65982" y="181424"/>
                </a:cubicBezTo>
                <a:cubicBezTo>
                  <a:pt x="65982" y="265191"/>
                  <a:pt x="793530" y="333098"/>
                  <a:pt x="1691005" y="333098"/>
                </a:cubicBezTo>
                <a:cubicBezTo>
                  <a:pt x="2588480" y="333098"/>
                  <a:pt x="3316028" y="265191"/>
                  <a:pt x="3316028" y="181424"/>
                </a:cubicBezTo>
                <a:cubicBezTo>
                  <a:pt x="3316028" y="97657"/>
                  <a:pt x="2588480" y="29750"/>
                  <a:pt x="1691005" y="29750"/>
                </a:cubicBezTo>
                <a:close/>
                <a:moveTo>
                  <a:pt x="1691005" y="0"/>
                </a:moveTo>
                <a:cubicBezTo>
                  <a:pt x="2624921" y="0"/>
                  <a:pt x="3382010" y="81226"/>
                  <a:pt x="3382010" y="181424"/>
                </a:cubicBezTo>
                <a:cubicBezTo>
                  <a:pt x="3382010" y="281622"/>
                  <a:pt x="2624921" y="362848"/>
                  <a:pt x="1691005" y="362848"/>
                </a:cubicBezTo>
                <a:cubicBezTo>
                  <a:pt x="757089" y="362848"/>
                  <a:pt x="0" y="281622"/>
                  <a:pt x="0" y="181424"/>
                </a:cubicBezTo>
                <a:cubicBezTo>
                  <a:pt x="0" y="81226"/>
                  <a:pt x="757089" y="0"/>
                  <a:pt x="1691005" y="0"/>
                </a:cubicBez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anchor="ctr"/>
          <a:lstStyle/>
          <a:p>
            <a:pPr algn="ctr" defTabSz="914303">
              <a:defRPr/>
            </a:pPr>
            <a:endParaRPr lang="en-US" dirty="0">
              <a:solidFill>
                <a:srgbClr val="000000"/>
              </a:solidFill>
            </a:endParaRPr>
          </a:p>
        </p:txBody>
      </p:sp>
      <p:sp>
        <p:nvSpPr>
          <p:cNvPr id="29" name="Oval 28"/>
          <p:cNvSpPr>
            <a:spLocks/>
          </p:cNvSpPr>
          <p:nvPr/>
        </p:nvSpPr>
        <p:spPr>
          <a:xfrm>
            <a:off x="175194" y="1321369"/>
            <a:ext cx="3249853" cy="303348"/>
          </a:xfrm>
          <a:prstGeom prst="ellipse">
            <a:avLst/>
          </a:prstGeom>
          <a:gradFill flip="none" rotWithShape="1">
            <a:gsLst>
              <a:gs pos="0">
                <a:schemeClr val="accent6">
                  <a:lumMod val="40000"/>
                  <a:lumOff val="60000"/>
                </a:schemeClr>
              </a:gs>
              <a:gs pos="46000">
                <a:schemeClr val="accent6">
                  <a:lumMod val="95000"/>
                  <a:lumOff val="5000"/>
                </a:schemeClr>
              </a:gs>
              <a:gs pos="100000">
                <a:schemeClr val="accent6">
                  <a:lumMod val="82000"/>
                </a:schemeClr>
              </a:gs>
            </a:gsLst>
            <a:path path="circle">
              <a:fillToRect l="50000" t="130000" r="50000" b="-3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anchor="ctr"/>
          <a:lstStyle/>
          <a:p>
            <a:pPr algn="ctr" defTabSz="914303">
              <a:defRPr/>
            </a:pPr>
            <a:endParaRPr lang="en-US" dirty="0">
              <a:solidFill>
                <a:srgbClr val="000000"/>
              </a:solidFill>
            </a:endParaRPr>
          </a:p>
        </p:txBody>
      </p:sp>
      <p:sp>
        <p:nvSpPr>
          <p:cNvPr id="76" name="Freeform 75"/>
          <p:cNvSpPr>
            <a:spLocks/>
          </p:cNvSpPr>
          <p:nvPr/>
        </p:nvSpPr>
        <p:spPr>
          <a:xfrm>
            <a:off x="108907" y="1473435"/>
            <a:ext cx="3382321" cy="255167"/>
          </a:xfrm>
          <a:custGeom>
            <a:avLst/>
            <a:gdLst>
              <a:gd name="connsiteX0" fmla="*/ 65982 w 3382010"/>
              <a:gd name="connsiteY0" fmla="*/ 0 h 255350"/>
              <a:gd name="connsiteX1" fmla="*/ 3316028 w 3382010"/>
              <a:gd name="connsiteY1" fmla="*/ 0 h 255350"/>
              <a:gd name="connsiteX2" fmla="*/ 1691005 w 3382010"/>
              <a:gd name="connsiteY2" fmla="*/ 151674 h 255350"/>
              <a:gd name="connsiteX3" fmla="*/ 65982 w 3382010"/>
              <a:gd name="connsiteY3" fmla="*/ 0 h 255350"/>
              <a:gd name="connsiteX4" fmla="*/ 0 w 3382010"/>
              <a:gd name="connsiteY4" fmla="*/ 0 h 255350"/>
              <a:gd name="connsiteX5" fmla="*/ 1691005 w 3382010"/>
              <a:gd name="connsiteY5" fmla="*/ 181424 h 255350"/>
              <a:gd name="connsiteX6" fmla="*/ 3382010 w 3382010"/>
              <a:gd name="connsiteY6" fmla="*/ 0 h 255350"/>
              <a:gd name="connsiteX7" fmla="*/ 3382010 w 3382010"/>
              <a:gd name="connsiteY7" fmla="*/ 64902 h 255350"/>
              <a:gd name="connsiteX8" fmla="*/ 3380954 w 3382010"/>
              <a:gd name="connsiteY8" fmla="*/ 66339 h 255350"/>
              <a:gd name="connsiteX9" fmla="*/ 1691006 w 3382010"/>
              <a:gd name="connsiteY9" fmla="*/ 255350 h 255350"/>
              <a:gd name="connsiteX10" fmla="*/ 1058 w 3382010"/>
              <a:gd name="connsiteY10" fmla="*/ 66339 h 255350"/>
              <a:gd name="connsiteX11" fmla="*/ 0 w 3382010"/>
              <a:gd name="connsiteY11" fmla="*/ 64899 h 255350"/>
              <a:gd name="connsiteX0" fmla="*/ 65982 w 3382010"/>
              <a:gd name="connsiteY0" fmla="*/ 0 h 255350"/>
              <a:gd name="connsiteX1" fmla="*/ 1691005 w 3382010"/>
              <a:gd name="connsiteY1" fmla="*/ 151674 h 255350"/>
              <a:gd name="connsiteX2" fmla="*/ 65982 w 3382010"/>
              <a:gd name="connsiteY2" fmla="*/ 0 h 255350"/>
              <a:gd name="connsiteX3" fmla="*/ 0 w 3382010"/>
              <a:gd name="connsiteY3" fmla="*/ 0 h 255350"/>
              <a:gd name="connsiteX4" fmla="*/ 1691005 w 3382010"/>
              <a:gd name="connsiteY4" fmla="*/ 181424 h 255350"/>
              <a:gd name="connsiteX5" fmla="*/ 3382010 w 3382010"/>
              <a:gd name="connsiteY5" fmla="*/ 0 h 255350"/>
              <a:gd name="connsiteX6" fmla="*/ 3382010 w 3382010"/>
              <a:gd name="connsiteY6" fmla="*/ 64902 h 255350"/>
              <a:gd name="connsiteX7" fmla="*/ 3380954 w 3382010"/>
              <a:gd name="connsiteY7" fmla="*/ 66339 h 255350"/>
              <a:gd name="connsiteX8" fmla="*/ 1691006 w 3382010"/>
              <a:gd name="connsiteY8" fmla="*/ 255350 h 255350"/>
              <a:gd name="connsiteX9" fmla="*/ 1058 w 3382010"/>
              <a:gd name="connsiteY9" fmla="*/ 66339 h 255350"/>
              <a:gd name="connsiteX10" fmla="*/ 0 w 3382010"/>
              <a:gd name="connsiteY10" fmla="*/ 64899 h 255350"/>
              <a:gd name="connsiteX11" fmla="*/ 0 w 3382010"/>
              <a:gd name="connsiteY11" fmla="*/ 0 h 255350"/>
              <a:gd name="connsiteX0" fmla="*/ 0 w 3382010"/>
              <a:gd name="connsiteY0" fmla="*/ 0 h 255350"/>
              <a:gd name="connsiteX1" fmla="*/ 1691005 w 3382010"/>
              <a:gd name="connsiteY1" fmla="*/ 181424 h 255350"/>
              <a:gd name="connsiteX2" fmla="*/ 3382010 w 3382010"/>
              <a:gd name="connsiteY2" fmla="*/ 0 h 255350"/>
              <a:gd name="connsiteX3" fmla="*/ 3382010 w 3382010"/>
              <a:gd name="connsiteY3" fmla="*/ 64902 h 255350"/>
              <a:gd name="connsiteX4" fmla="*/ 3380954 w 3382010"/>
              <a:gd name="connsiteY4" fmla="*/ 66339 h 255350"/>
              <a:gd name="connsiteX5" fmla="*/ 1691006 w 3382010"/>
              <a:gd name="connsiteY5" fmla="*/ 255350 h 255350"/>
              <a:gd name="connsiteX6" fmla="*/ 1058 w 3382010"/>
              <a:gd name="connsiteY6" fmla="*/ 66339 h 255350"/>
              <a:gd name="connsiteX7" fmla="*/ 0 w 3382010"/>
              <a:gd name="connsiteY7" fmla="*/ 64899 h 255350"/>
              <a:gd name="connsiteX8" fmla="*/ 0 w 3382010"/>
              <a:gd name="connsiteY8" fmla="*/ 0 h 25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82010" h="255350">
                <a:moveTo>
                  <a:pt x="0" y="0"/>
                </a:moveTo>
                <a:cubicBezTo>
                  <a:pt x="0" y="100198"/>
                  <a:pt x="757089" y="181424"/>
                  <a:pt x="1691005" y="181424"/>
                </a:cubicBezTo>
                <a:cubicBezTo>
                  <a:pt x="2624921" y="181424"/>
                  <a:pt x="3382010" y="100198"/>
                  <a:pt x="3382010" y="0"/>
                </a:cubicBezTo>
                <a:lnTo>
                  <a:pt x="3382010" y="64902"/>
                </a:lnTo>
                <a:lnTo>
                  <a:pt x="3380954" y="66339"/>
                </a:lnTo>
                <a:cubicBezTo>
                  <a:pt x="3220105" y="174208"/>
                  <a:pt x="2524608" y="255350"/>
                  <a:pt x="1691006" y="255350"/>
                </a:cubicBezTo>
                <a:cubicBezTo>
                  <a:pt x="857404" y="255350"/>
                  <a:pt x="161907" y="174208"/>
                  <a:pt x="1058" y="66339"/>
                </a:cubicBezTo>
                <a:lnTo>
                  <a:pt x="0" y="64899"/>
                </a:lnTo>
                <a:lnTo>
                  <a:pt x="0" y="0"/>
                </a:lnTo>
                <a:close/>
              </a:path>
            </a:pathLst>
          </a:custGeom>
          <a:solidFill>
            <a:schemeClr val="accent2"/>
          </a:solidFill>
          <a:ln w="9525">
            <a:noFill/>
          </a:ln>
          <a:effectLst>
            <a:outerShdw blurRad="38100" dist="38100" dir="5400000" algn="t" rotWithShape="0">
              <a:schemeClr val="accent6">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anchor="ctr"/>
          <a:lstStyle/>
          <a:p>
            <a:pPr algn="ctr" defTabSz="914303">
              <a:defRPr/>
            </a:pPr>
            <a:endParaRPr lang="en-US" dirty="0">
              <a:solidFill>
                <a:srgbClr val="000000"/>
              </a:solidFill>
            </a:endParaRPr>
          </a:p>
        </p:txBody>
      </p:sp>
      <p:pic>
        <p:nvPicPr>
          <p:cNvPr id="42019" name="Picture 9"/>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005791" y="6156685"/>
            <a:ext cx="1834294" cy="471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26605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010" name="Object 97" hidden="1"/>
          <p:cNvGraphicFramePr>
            <a:graphicFrameLocks noChangeAspect="1"/>
          </p:cNvGraphicFramePr>
          <p:nvPr>
            <p:custDataLst>
              <p:tags r:id="rId2"/>
            </p:custData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0651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7"/>
                        <a:ext cx="1555" cy="1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71139" y="230273"/>
            <a:ext cx="8619161" cy="298732"/>
          </a:xfrm>
        </p:spPr>
        <p:txBody>
          <a:bodyPr/>
          <a:lstStyle/>
          <a:p>
            <a:pPr marL="457151" defTabSz="895160">
              <a:tabLst>
                <a:tab pos="269818" algn="l"/>
              </a:tabLst>
              <a:defRPr/>
            </a:pPr>
            <a:r>
              <a:rPr lang="en-US" dirty="0"/>
              <a:t>Top 25 species for cultivation</a:t>
            </a:r>
            <a:endParaRPr lang="en-ZA" dirty="0"/>
          </a:p>
        </p:txBody>
      </p:sp>
      <p:pic>
        <p:nvPicPr>
          <p:cNvPr id="32" name="Picture 31"/>
          <p:cNvPicPr>
            <a:picLocks/>
          </p:cNvPicPr>
          <p:nvPr/>
        </p:nvPicPr>
        <p:blipFill>
          <a:blip r:embed="rId6" cstate="email">
            <a:extLst>
              <a:ext uri="{28A0092B-C50C-407E-A947-70E740481C1C}">
                <a14:useLocalDpi xmlns:a14="http://schemas.microsoft.com/office/drawing/2010/main"/>
              </a:ext>
            </a:extLst>
          </a:blip>
          <a:stretch>
            <a:fillRect/>
          </a:stretch>
        </p:blipFill>
        <p:spPr>
          <a:xfrm>
            <a:off x="7164129" y="2037532"/>
            <a:ext cx="929019"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6"/>
          <p:cNvPicPr>
            <a:picLocks/>
          </p:cNvPicPr>
          <p:nvPr/>
        </p:nvPicPr>
        <p:blipFill>
          <a:blip r:embed="rId7" cstate="email">
            <a:extLst>
              <a:ext uri="{28A0092B-C50C-407E-A947-70E740481C1C}">
                <a14:useLocalDpi xmlns:a14="http://schemas.microsoft.com/office/drawing/2010/main"/>
              </a:ext>
            </a:extLst>
          </a:blip>
          <a:stretch>
            <a:fillRect/>
          </a:stretch>
        </p:blipFill>
        <p:spPr>
          <a:xfrm>
            <a:off x="7182547" y="783651"/>
            <a:ext cx="894423" cy="57129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 name="Picture 2"/>
          <p:cNvPicPr>
            <a:picLocks/>
          </p:cNvPicPr>
          <p:nvPr/>
        </p:nvPicPr>
        <p:blipFill rotWithShape="1">
          <a:blip r:embed="rId8" cstate="email">
            <a:extLst>
              <a:ext uri="{28A0092B-C50C-407E-A947-70E740481C1C}">
                <a14:useLocalDpi xmlns:a14="http://schemas.microsoft.com/office/drawing/2010/main"/>
              </a:ext>
            </a:extLst>
          </a:blip>
          <a:srcRect/>
          <a:stretch/>
        </p:blipFill>
        <p:spPr>
          <a:xfrm>
            <a:off x="264711" y="765381"/>
            <a:ext cx="929019"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 name="Rectangle 4"/>
          <p:cNvSpPr/>
          <p:nvPr/>
        </p:nvSpPr>
        <p:spPr>
          <a:xfrm>
            <a:off x="264487" y="1392529"/>
            <a:ext cx="1247756" cy="376527"/>
          </a:xfrm>
          <a:prstGeom prst="rect">
            <a:avLst/>
          </a:prstGeom>
        </p:spPr>
        <p:txBody>
          <a:bodyPr wrap="none" lIns="0" tIns="0" rIns="0" bIns="0">
            <a:spAutoFit/>
          </a:bodyPr>
          <a:lstStyle/>
          <a:p>
            <a:pPr defTabSz="914303">
              <a:defRPr/>
            </a:pPr>
            <a:r>
              <a:rPr lang="en-US" sz="1200" b="1" i="1" dirty="0">
                <a:solidFill>
                  <a:srgbClr val="0B4623"/>
                </a:solidFill>
              </a:rPr>
              <a:t>Hoodia gordonii </a:t>
            </a:r>
            <a:br>
              <a:rPr lang="en-US" sz="1200" b="1" i="1" dirty="0">
                <a:solidFill>
                  <a:srgbClr val="0B4623"/>
                </a:solidFill>
              </a:rPr>
            </a:br>
            <a:r>
              <a:rPr lang="en-US" sz="1200" dirty="0">
                <a:solidFill>
                  <a:srgbClr val="000000"/>
                </a:solidFill>
              </a:rPr>
              <a:t>(Hoodia)</a:t>
            </a:r>
            <a:endParaRPr lang="en-ZA" sz="1200" dirty="0">
              <a:solidFill>
                <a:srgbClr val="000000"/>
              </a:solidFill>
            </a:endParaRPr>
          </a:p>
        </p:txBody>
      </p:sp>
      <p:pic>
        <p:nvPicPr>
          <p:cNvPr id="4" name="Picture 3"/>
          <p:cNvPicPr>
            <a:picLocks/>
          </p:cNvPicPr>
          <p:nvPr/>
        </p:nvPicPr>
        <p:blipFill>
          <a:blip r:embed="rId9" cstate="email">
            <a:extLst>
              <a:ext uri="{28A0092B-C50C-407E-A947-70E740481C1C}">
                <a14:useLocalDpi xmlns:a14="http://schemas.microsoft.com/office/drawing/2010/main"/>
              </a:ext>
            </a:extLst>
          </a:blip>
          <a:stretch>
            <a:fillRect/>
          </a:stretch>
        </p:blipFill>
        <p:spPr>
          <a:xfrm>
            <a:off x="1689138" y="765381"/>
            <a:ext cx="929019"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Rectangle 5"/>
          <p:cNvSpPr/>
          <p:nvPr/>
        </p:nvSpPr>
        <p:spPr>
          <a:xfrm>
            <a:off x="1689605" y="1392529"/>
            <a:ext cx="1191747" cy="376527"/>
          </a:xfrm>
          <a:prstGeom prst="rect">
            <a:avLst/>
          </a:prstGeom>
        </p:spPr>
        <p:txBody>
          <a:bodyPr wrap="none" lIns="0" tIns="0" rIns="0" bIns="0">
            <a:spAutoFit/>
          </a:bodyPr>
          <a:lstStyle/>
          <a:p>
            <a:pPr defTabSz="914303">
              <a:defRPr/>
            </a:pPr>
            <a:r>
              <a:rPr lang="en-US" sz="1200" b="1" i="1" dirty="0">
                <a:solidFill>
                  <a:srgbClr val="0B4623"/>
                </a:solidFill>
              </a:rPr>
              <a:t>Agathosma </a:t>
            </a:r>
            <a:br>
              <a:rPr lang="en-US" sz="1200" b="1" i="1" dirty="0">
                <a:solidFill>
                  <a:srgbClr val="0B4623"/>
                </a:solidFill>
              </a:rPr>
            </a:br>
            <a:r>
              <a:rPr lang="en-US" sz="1200" b="1" i="1" dirty="0">
                <a:solidFill>
                  <a:srgbClr val="0B4623"/>
                </a:solidFill>
              </a:rPr>
              <a:t>betulina </a:t>
            </a:r>
            <a:r>
              <a:rPr lang="en-US" sz="1200" dirty="0">
                <a:solidFill>
                  <a:srgbClr val="000000"/>
                </a:solidFill>
              </a:rPr>
              <a:t>(Buchu)</a:t>
            </a:r>
            <a:endParaRPr lang="en-ZA" sz="1200" dirty="0">
              <a:solidFill>
                <a:srgbClr val="000000"/>
              </a:solidFill>
            </a:endParaRPr>
          </a:p>
        </p:txBody>
      </p:sp>
      <p:pic>
        <p:nvPicPr>
          <p:cNvPr id="10" name="Picture 15"/>
          <p:cNvPicPr>
            <a:picLocks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094018" y="765381"/>
            <a:ext cx="929019"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3094498" y="1392529"/>
            <a:ext cx="886809" cy="376527"/>
          </a:xfrm>
          <a:prstGeom prst="rect">
            <a:avLst/>
          </a:prstGeom>
        </p:spPr>
        <p:txBody>
          <a:bodyPr wrap="none" lIns="0" tIns="0" rIns="0" bIns="0">
            <a:spAutoFit/>
          </a:bodyPr>
          <a:lstStyle/>
          <a:p>
            <a:pPr defTabSz="914303">
              <a:defRPr/>
            </a:pPr>
            <a:r>
              <a:rPr lang="en-ZA" sz="1200" b="1" i="1" dirty="0">
                <a:solidFill>
                  <a:srgbClr val="0B4623"/>
                </a:solidFill>
              </a:rPr>
              <a:t>Aspalathus</a:t>
            </a:r>
            <a:r>
              <a:rPr lang="en-ZA" sz="1200" i="1" dirty="0">
                <a:solidFill>
                  <a:srgbClr val="0B4623"/>
                </a:solidFill>
              </a:rPr>
              <a:t> </a:t>
            </a:r>
            <a:br>
              <a:rPr lang="en-ZA" sz="1200" i="1" dirty="0">
                <a:solidFill>
                  <a:srgbClr val="0B4623"/>
                </a:solidFill>
              </a:rPr>
            </a:br>
            <a:r>
              <a:rPr lang="en-ZA" sz="1200" dirty="0">
                <a:solidFill>
                  <a:srgbClr val="000000"/>
                </a:solidFill>
              </a:rPr>
              <a:t>(Rooibos)</a:t>
            </a:r>
          </a:p>
        </p:txBody>
      </p:sp>
      <p:sp>
        <p:nvSpPr>
          <p:cNvPr id="12" name="Rectangle 11"/>
          <p:cNvSpPr/>
          <p:nvPr/>
        </p:nvSpPr>
        <p:spPr>
          <a:xfrm>
            <a:off x="4304914" y="1392529"/>
            <a:ext cx="1271092" cy="376527"/>
          </a:xfrm>
          <a:prstGeom prst="rect">
            <a:avLst/>
          </a:prstGeom>
        </p:spPr>
        <p:txBody>
          <a:bodyPr wrap="none" lIns="0" tIns="0" rIns="0" bIns="0">
            <a:spAutoFit/>
          </a:bodyPr>
          <a:lstStyle/>
          <a:p>
            <a:pPr defTabSz="914303">
              <a:defRPr/>
            </a:pPr>
            <a:r>
              <a:rPr lang="en-US" sz="1200" b="1" i="1" dirty="0">
                <a:solidFill>
                  <a:srgbClr val="0B4623"/>
                </a:solidFill>
              </a:rPr>
              <a:t>Buchu crenulata </a:t>
            </a:r>
            <a:r>
              <a:rPr lang="en-US" sz="1200" b="1" dirty="0">
                <a:solidFill>
                  <a:srgbClr val="0B4623"/>
                </a:solidFill>
              </a:rPr>
              <a:t/>
            </a:r>
            <a:br>
              <a:rPr lang="en-US" sz="1200" b="1" dirty="0">
                <a:solidFill>
                  <a:srgbClr val="0B4623"/>
                </a:solidFill>
              </a:rPr>
            </a:br>
            <a:r>
              <a:rPr lang="en-US" sz="1200" dirty="0">
                <a:solidFill>
                  <a:srgbClr val="000000"/>
                </a:solidFill>
              </a:rPr>
              <a:t>(Buchu)</a:t>
            </a:r>
            <a:endParaRPr lang="en-ZA" sz="1200" dirty="0">
              <a:solidFill>
                <a:srgbClr val="000000"/>
              </a:solidFill>
            </a:endParaRPr>
          </a:p>
        </p:txBody>
      </p:sp>
      <p:pic>
        <p:nvPicPr>
          <p:cNvPr id="13" name="Picture 12"/>
          <p:cNvPicPr>
            <a:picLocks/>
          </p:cNvPicPr>
          <p:nvPr/>
        </p:nvPicPr>
        <p:blipFill>
          <a:blip r:embed="rId9" cstate="email">
            <a:extLst>
              <a:ext uri="{28A0092B-C50C-407E-A947-70E740481C1C}">
                <a14:useLocalDpi xmlns:a14="http://schemas.microsoft.com/office/drawing/2010/main"/>
              </a:ext>
            </a:extLst>
          </a:blip>
          <a:stretch>
            <a:fillRect/>
          </a:stretch>
        </p:blipFill>
        <p:spPr>
          <a:xfrm>
            <a:off x="4305035" y="765381"/>
            <a:ext cx="929019"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4" name="Rectangle 13"/>
          <p:cNvSpPr/>
          <p:nvPr/>
        </p:nvSpPr>
        <p:spPr>
          <a:xfrm>
            <a:off x="5753368" y="1392528"/>
            <a:ext cx="835468" cy="564790"/>
          </a:xfrm>
          <a:prstGeom prst="rect">
            <a:avLst/>
          </a:prstGeom>
        </p:spPr>
        <p:txBody>
          <a:bodyPr wrap="none" lIns="0" tIns="0" rIns="0" bIns="0">
            <a:spAutoFit/>
          </a:bodyPr>
          <a:lstStyle/>
          <a:p>
            <a:pPr defTabSz="914303">
              <a:defRPr/>
            </a:pPr>
            <a:r>
              <a:rPr lang="en-ZA" sz="1200" b="1" i="1" dirty="0" err="1">
                <a:solidFill>
                  <a:srgbClr val="0B4623"/>
                </a:solidFill>
              </a:rPr>
              <a:t>Bulbine</a:t>
            </a:r>
            <a:r>
              <a:rPr lang="en-ZA" sz="1200" b="1" i="1" dirty="0">
                <a:solidFill>
                  <a:srgbClr val="0B4623"/>
                </a:solidFill>
              </a:rPr>
              <a:t> </a:t>
            </a:r>
          </a:p>
          <a:p>
            <a:pPr defTabSz="914303">
              <a:defRPr/>
            </a:pPr>
            <a:r>
              <a:rPr lang="en-ZA" sz="1200" b="1" i="1" dirty="0" err="1">
                <a:solidFill>
                  <a:srgbClr val="0B4623"/>
                </a:solidFill>
              </a:rPr>
              <a:t>frutescens</a:t>
            </a:r>
            <a:r>
              <a:rPr lang="en-ZA" sz="1200" b="1" i="1" dirty="0">
                <a:solidFill>
                  <a:srgbClr val="0B4623"/>
                </a:solidFill>
              </a:rPr>
              <a:t> </a:t>
            </a:r>
            <a:br>
              <a:rPr lang="en-ZA" sz="1200" b="1" i="1" dirty="0">
                <a:solidFill>
                  <a:srgbClr val="0B4623"/>
                </a:solidFill>
              </a:rPr>
            </a:br>
            <a:r>
              <a:rPr lang="en-ZA" sz="1200" dirty="0">
                <a:solidFill>
                  <a:srgbClr val="000000"/>
                </a:solidFill>
              </a:rPr>
              <a:t>(Burn Jelly)</a:t>
            </a:r>
          </a:p>
        </p:txBody>
      </p:sp>
      <p:pic>
        <p:nvPicPr>
          <p:cNvPr id="15" name="Picture 14"/>
          <p:cNvPicPr>
            <a:picLocks/>
          </p:cNvPicPr>
          <p:nvPr/>
        </p:nvPicPr>
        <p:blipFill>
          <a:blip r:embed="rId11" cstate="email">
            <a:extLst>
              <a:ext uri="{28A0092B-C50C-407E-A947-70E740481C1C}">
                <a14:useLocalDpi xmlns:a14="http://schemas.microsoft.com/office/drawing/2010/main"/>
              </a:ext>
            </a:extLst>
          </a:blip>
          <a:stretch>
            <a:fillRect/>
          </a:stretch>
        </p:blipFill>
        <p:spPr>
          <a:xfrm>
            <a:off x="5753960" y="765381"/>
            <a:ext cx="929019"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6" name="Rectangle 15"/>
          <p:cNvSpPr/>
          <p:nvPr/>
        </p:nvSpPr>
        <p:spPr>
          <a:xfrm>
            <a:off x="7183153" y="1406531"/>
            <a:ext cx="938150" cy="564791"/>
          </a:xfrm>
          <a:prstGeom prst="rect">
            <a:avLst/>
          </a:prstGeom>
        </p:spPr>
        <p:txBody>
          <a:bodyPr wrap="none" lIns="0" tIns="0" rIns="0" bIns="0">
            <a:spAutoFit/>
          </a:bodyPr>
          <a:lstStyle/>
          <a:p>
            <a:pPr defTabSz="914303">
              <a:defRPr/>
            </a:pPr>
            <a:r>
              <a:rPr lang="en-US" sz="1200" b="1" i="1" dirty="0">
                <a:solidFill>
                  <a:srgbClr val="0B4623"/>
                </a:solidFill>
              </a:rPr>
              <a:t>Cyclopia </a:t>
            </a:r>
            <a:br>
              <a:rPr lang="en-US" sz="1200" b="1" i="1" dirty="0">
                <a:solidFill>
                  <a:srgbClr val="0B4623"/>
                </a:solidFill>
              </a:rPr>
            </a:br>
            <a:r>
              <a:rPr lang="en-US" sz="1200" b="1" i="1" dirty="0">
                <a:solidFill>
                  <a:srgbClr val="0B4623"/>
                </a:solidFill>
              </a:rPr>
              <a:t>intermedia </a:t>
            </a:r>
            <a:br>
              <a:rPr lang="en-US" sz="1200" b="1" i="1" dirty="0">
                <a:solidFill>
                  <a:srgbClr val="0B4623"/>
                </a:solidFill>
              </a:rPr>
            </a:br>
            <a:r>
              <a:rPr lang="en-US" sz="1200" dirty="0">
                <a:solidFill>
                  <a:srgbClr val="000000"/>
                </a:solidFill>
              </a:rPr>
              <a:t>(</a:t>
            </a:r>
            <a:r>
              <a:rPr lang="en-US" sz="1200" dirty="0" err="1">
                <a:solidFill>
                  <a:srgbClr val="000000"/>
                </a:solidFill>
              </a:rPr>
              <a:t>Honeybush</a:t>
            </a:r>
            <a:r>
              <a:rPr lang="en-US" sz="1200" dirty="0">
                <a:solidFill>
                  <a:srgbClr val="000000"/>
                </a:solidFill>
              </a:rPr>
              <a:t>) </a:t>
            </a:r>
            <a:endParaRPr lang="en-ZA" sz="1200" dirty="0">
              <a:solidFill>
                <a:srgbClr val="000000"/>
              </a:solidFill>
            </a:endParaRPr>
          </a:p>
        </p:txBody>
      </p:sp>
      <p:sp>
        <p:nvSpPr>
          <p:cNvPr id="18" name="Rectangle 17"/>
          <p:cNvSpPr/>
          <p:nvPr/>
        </p:nvSpPr>
        <p:spPr>
          <a:xfrm>
            <a:off x="297159" y="2697925"/>
            <a:ext cx="913257" cy="566347"/>
          </a:xfrm>
          <a:prstGeom prst="rect">
            <a:avLst/>
          </a:prstGeom>
        </p:spPr>
        <p:txBody>
          <a:bodyPr wrap="none" lIns="0" tIns="0" rIns="0" bIns="0">
            <a:spAutoFit/>
          </a:bodyPr>
          <a:lstStyle/>
          <a:p>
            <a:pPr defTabSz="914303">
              <a:defRPr/>
            </a:pPr>
            <a:r>
              <a:rPr lang="en-US" sz="1200" b="1" i="1" dirty="0">
                <a:solidFill>
                  <a:srgbClr val="0B4623"/>
                </a:solidFill>
              </a:rPr>
              <a:t>Cyclopia </a:t>
            </a:r>
            <a:br>
              <a:rPr lang="en-US" sz="1200" b="1" i="1" dirty="0">
                <a:solidFill>
                  <a:srgbClr val="0B4623"/>
                </a:solidFill>
              </a:rPr>
            </a:br>
            <a:r>
              <a:rPr lang="en-US" sz="1200" b="1" i="1" dirty="0">
                <a:solidFill>
                  <a:srgbClr val="0B4623"/>
                </a:solidFill>
              </a:rPr>
              <a:t>genistoides </a:t>
            </a:r>
            <a:br>
              <a:rPr lang="en-US" sz="1200" b="1" i="1" dirty="0">
                <a:solidFill>
                  <a:srgbClr val="0B4623"/>
                </a:solidFill>
              </a:rPr>
            </a:br>
            <a:r>
              <a:rPr lang="en-US" sz="1200" dirty="0">
                <a:solidFill>
                  <a:srgbClr val="000000"/>
                </a:solidFill>
              </a:rPr>
              <a:t>(Honeybush)</a:t>
            </a:r>
            <a:endParaRPr lang="en-ZA" sz="1200" dirty="0">
              <a:solidFill>
                <a:srgbClr val="000000"/>
              </a:solidFill>
            </a:endParaRPr>
          </a:p>
        </p:txBody>
      </p:sp>
      <p:pic>
        <p:nvPicPr>
          <p:cNvPr id="19" name="Picture 14" descr="http://www.sahoneybush.co.za/images/phocagallery/cyclopia_genistoides/thumbs/phoca_thumb_l_CYCLOPIA%20GENISTOIDES%20-%20CLOSE%20UP.jpg"/>
          <p:cNvPicPr>
            <a:picLocks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97300" y="2058323"/>
            <a:ext cx="899232"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20" name="Rectangle 19"/>
          <p:cNvSpPr/>
          <p:nvPr/>
        </p:nvSpPr>
        <p:spPr>
          <a:xfrm>
            <a:off x="1702051" y="2697925"/>
            <a:ext cx="1008162" cy="566347"/>
          </a:xfrm>
          <a:prstGeom prst="rect">
            <a:avLst/>
          </a:prstGeom>
        </p:spPr>
        <p:txBody>
          <a:bodyPr wrap="none" lIns="0" tIns="0" rIns="0" bIns="0">
            <a:spAutoFit/>
          </a:bodyPr>
          <a:lstStyle/>
          <a:p>
            <a:pPr defTabSz="914303">
              <a:defRPr/>
            </a:pPr>
            <a:r>
              <a:rPr lang="en-US" sz="1200" b="1" i="1" dirty="0">
                <a:solidFill>
                  <a:srgbClr val="0B4623"/>
                </a:solidFill>
              </a:rPr>
              <a:t>Eriosema </a:t>
            </a:r>
            <a:br>
              <a:rPr lang="en-US" sz="1200" b="1" i="1" dirty="0">
                <a:solidFill>
                  <a:srgbClr val="0B4623"/>
                </a:solidFill>
              </a:rPr>
            </a:br>
            <a:r>
              <a:rPr lang="en-US" sz="1200" b="1" i="1" dirty="0">
                <a:solidFill>
                  <a:srgbClr val="0B4623"/>
                </a:solidFill>
              </a:rPr>
              <a:t>kraussianum </a:t>
            </a:r>
            <a:br>
              <a:rPr lang="en-US" sz="1200" b="1" i="1" dirty="0">
                <a:solidFill>
                  <a:srgbClr val="0B4623"/>
                </a:solidFill>
              </a:rPr>
            </a:br>
            <a:r>
              <a:rPr lang="en-US" sz="1200" dirty="0">
                <a:solidFill>
                  <a:srgbClr val="000000"/>
                </a:solidFill>
              </a:rPr>
              <a:t>(Bangalala)</a:t>
            </a:r>
            <a:endParaRPr lang="en-ZA" sz="1200" dirty="0">
              <a:solidFill>
                <a:srgbClr val="000000"/>
              </a:solidFill>
            </a:endParaRPr>
          </a:p>
        </p:txBody>
      </p:sp>
      <p:pic>
        <p:nvPicPr>
          <p:cNvPr id="21" name="Picture 3"/>
          <p:cNvPicPr>
            <a:picLocks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702181" y="2058324"/>
            <a:ext cx="929019"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tangle 21"/>
          <p:cNvSpPr/>
          <p:nvPr/>
        </p:nvSpPr>
        <p:spPr>
          <a:xfrm>
            <a:off x="2912468" y="2697925"/>
            <a:ext cx="1247756" cy="566347"/>
          </a:xfrm>
          <a:prstGeom prst="rect">
            <a:avLst/>
          </a:prstGeom>
        </p:spPr>
        <p:txBody>
          <a:bodyPr wrap="none" lIns="0" tIns="0" rIns="0" bIns="0">
            <a:spAutoFit/>
          </a:bodyPr>
          <a:lstStyle/>
          <a:p>
            <a:pPr defTabSz="914303">
              <a:defRPr/>
            </a:pPr>
            <a:r>
              <a:rPr lang="en-ZA" sz="1200" b="1" i="1" dirty="0">
                <a:solidFill>
                  <a:srgbClr val="0B4623"/>
                </a:solidFill>
              </a:rPr>
              <a:t>Harpagophytum </a:t>
            </a:r>
            <a:br>
              <a:rPr lang="en-ZA" sz="1200" b="1" i="1" dirty="0">
                <a:solidFill>
                  <a:srgbClr val="0B4623"/>
                </a:solidFill>
              </a:rPr>
            </a:br>
            <a:r>
              <a:rPr lang="en-ZA" sz="1200" b="1" i="1" dirty="0">
                <a:solidFill>
                  <a:srgbClr val="0B4623"/>
                </a:solidFill>
              </a:rPr>
              <a:t>procumbens </a:t>
            </a:r>
            <a:br>
              <a:rPr lang="en-ZA" sz="1200" b="1" i="1" dirty="0">
                <a:solidFill>
                  <a:srgbClr val="0B4623"/>
                </a:solidFill>
              </a:rPr>
            </a:br>
            <a:r>
              <a:rPr lang="en-ZA" sz="1200" dirty="0">
                <a:solidFill>
                  <a:srgbClr val="000000"/>
                </a:solidFill>
              </a:rPr>
              <a:t>(Devil’s claw)</a:t>
            </a:r>
          </a:p>
        </p:txBody>
      </p:sp>
      <p:pic>
        <p:nvPicPr>
          <p:cNvPr id="23" name="Picture 13"/>
          <p:cNvPicPr>
            <a:picLocks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913197" y="2058324"/>
            <a:ext cx="929019"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Rectangle 23"/>
          <p:cNvSpPr/>
          <p:nvPr/>
        </p:nvSpPr>
        <p:spPr>
          <a:xfrm>
            <a:off x="4362478" y="2697925"/>
            <a:ext cx="1408004" cy="566347"/>
          </a:xfrm>
          <a:prstGeom prst="rect">
            <a:avLst/>
          </a:prstGeom>
        </p:spPr>
        <p:txBody>
          <a:bodyPr wrap="none" lIns="0" tIns="0" rIns="0" bIns="0">
            <a:spAutoFit/>
          </a:bodyPr>
          <a:lstStyle/>
          <a:p>
            <a:pPr defTabSz="914303">
              <a:defRPr/>
            </a:pPr>
            <a:r>
              <a:rPr lang="en-US" sz="1200" b="1" i="1" dirty="0">
                <a:solidFill>
                  <a:srgbClr val="0B4623"/>
                </a:solidFill>
              </a:rPr>
              <a:t>Helichrysum </a:t>
            </a:r>
            <a:br>
              <a:rPr lang="en-US" sz="1200" b="1" i="1" dirty="0">
                <a:solidFill>
                  <a:srgbClr val="0B4623"/>
                </a:solidFill>
              </a:rPr>
            </a:br>
            <a:r>
              <a:rPr lang="en-US" sz="1200" b="1" i="1" dirty="0">
                <a:solidFill>
                  <a:srgbClr val="0B4623"/>
                </a:solidFill>
              </a:rPr>
              <a:t>odoratissimum </a:t>
            </a:r>
            <a:br>
              <a:rPr lang="en-US" sz="1200" b="1" i="1" dirty="0">
                <a:solidFill>
                  <a:srgbClr val="0B4623"/>
                </a:solidFill>
              </a:rPr>
            </a:br>
            <a:r>
              <a:rPr lang="en-US" sz="1200" dirty="0">
                <a:solidFill>
                  <a:srgbClr val="000000"/>
                </a:solidFill>
              </a:rPr>
              <a:t>(Golden everlasting)</a:t>
            </a:r>
            <a:endParaRPr lang="en-ZA" sz="1200" b="1" dirty="0">
              <a:solidFill>
                <a:srgbClr val="000000"/>
              </a:solidFill>
            </a:endParaRPr>
          </a:p>
        </p:txBody>
      </p:sp>
      <p:pic>
        <p:nvPicPr>
          <p:cNvPr id="25" name="Picture 24"/>
          <p:cNvPicPr>
            <a:picLocks/>
          </p:cNvPicPr>
          <p:nvPr/>
        </p:nvPicPr>
        <p:blipFill>
          <a:blip r:embed="rId15" cstate="email">
            <a:extLst>
              <a:ext uri="{28A0092B-C50C-407E-A947-70E740481C1C}">
                <a14:useLocalDpi xmlns:a14="http://schemas.microsoft.com/office/drawing/2010/main"/>
              </a:ext>
            </a:extLst>
          </a:blip>
          <a:stretch>
            <a:fillRect/>
          </a:stretch>
        </p:blipFill>
        <p:spPr>
          <a:xfrm>
            <a:off x="4362123" y="2058324"/>
            <a:ext cx="929019"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6" name="Rectangle 25"/>
          <p:cNvSpPr/>
          <p:nvPr/>
        </p:nvSpPr>
        <p:spPr>
          <a:xfrm>
            <a:off x="5739366" y="2674587"/>
            <a:ext cx="1182412" cy="564790"/>
          </a:xfrm>
          <a:prstGeom prst="rect">
            <a:avLst/>
          </a:prstGeom>
        </p:spPr>
        <p:txBody>
          <a:bodyPr wrap="none" lIns="0" tIns="0" rIns="0" bIns="0">
            <a:spAutoFit/>
          </a:bodyPr>
          <a:lstStyle/>
          <a:p>
            <a:pPr defTabSz="914303">
              <a:defRPr/>
            </a:pPr>
            <a:r>
              <a:rPr lang="en-US" sz="1200" b="1" i="1" dirty="0">
                <a:solidFill>
                  <a:srgbClr val="0B4623"/>
                </a:solidFill>
              </a:rPr>
              <a:t>Hypoxis </a:t>
            </a:r>
            <a:br>
              <a:rPr lang="en-US" sz="1200" b="1" i="1" dirty="0">
                <a:solidFill>
                  <a:srgbClr val="0B4623"/>
                </a:solidFill>
              </a:rPr>
            </a:br>
            <a:r>
              <a:rPr lang="en-US" sz="1200" b="1" i="1" dirty="0">
                <a:solidFill>
                  <a:srgbClr val="0B4623"/>
                </a:solidFill>
              </a:rPr>
              <a:t>hemerocallidea </a:t>
            </a:r>
            <a:br>
              <a:rPr lang="en-US" sz="1200" b="1" i="1" dirty="0">
                <a:solidFill>
                  <a:srgbClr val="0B4623"/>
                </a:solidFill>
              </a:rPr>
            </a:br>
            <a:r>
              <a:rPr lang="en-US" sz="1200" dirty="0">
                <a:solidFill>
                  <a:srgbClr val="000000"/>
                </a:solidFill>
              </a:rPr>
              <a:t>(African potato )</a:t>
            </a:r>
            <a:endParaRPr lang="en-ZA" sz="1200" dirty="0">
              <a:solidFill>
                <a:srgbClr val="000000"/>
              </a:solidFill>
            </a:endParaRPr>
          </a:p>
        </p:txBody>
      </p:sp>
      <p:pic>
        <p:nvPicPr>
          <p:cNvPr id="31" name="Picture 30"/>
          <p:cNvPicPr>
            <a:picLocks/>
          </p:cNvPicPr>
          <p:nvPr/>
        </p:nvPicPr>
        <p:blipFill>
          <a:blip r:embed="rId16" cstate="email">
            <a:extLst>
              <a:ext uri="{28A0092B-C50C-407E-A947-70E740481C1C}">
                <a14:useLocalDpi xmlns:a14="http://schemas.microsoft.com/office/drawing/2010/main"/>
              </a:ext>
            </a:extLst>
          </a:blip>
          <a:stretch>
            <a:fillRect/>
          </a:stretch>
        </p:blipFill>
        <p:spPr>
          <a:xfrm>
            <a:off x="5739703" y="2037532"/>
            <a:ext cx="929019"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7" name="Rectangle 26"/>
          <p:cNvSpPr/>
          <p:nvPr/>
        </p:nvSpPr>
        <p:spPr>
          <a:xfrm>
            <a:off x="7164484" y="2674588"/>
            <a:ext cx="1197970" cy="376527"/>
          </a:xfrm>
          <a:prstGeom prst="rect">
            <a:avLst/>
          </a:prstGeom>
        </p:spPr>
        <p:txBody>
          <a:bodyPr wrap="none" lIns="0" tIns="0" rIns="0" bIns="0">
            <a:spAutoFit/>
          </a:bodyPr>
          <a:lstStyle/>
          <a:p>
            <a:pPr defTabSz="914303">
              <a:defRPr/>
            </a:pPr>
            <a:r>
              <a:rPr lang="en-ZA" sz="1200" b="1" i="1" dirty="0">
                <a:solidFill>
                  <a:srgbClr val="0B4623"/>
                </a:solidFill>
              </a:rPr>
              <a:t>Kigelia africana </a:t>
            </a:r>
            <a:br>
              <a:rPr lang="en-ZA" sz="1200" b="1" i="1" dirty="0">
                <a:solidFill>
                  <a:srgbClr val="0B4623"/>
                </a:solidFill>
              </a:rPr>
            </a:br>
            <a:r>
              <a:rPr lang="en-ZA" sz="1200" dirty="0">
                <a:solidFill>
                  <a:srgbClr val="000000"/>
                </a:solidFill>
              </a:rPr>
              <a:t>(Sausage tree)</a:t>
            </a:r>
          </a:p>
        </p:txBody>
      </p:sp>
      <p:sp>
        <p:nvSpPr>
          <p:cNvPr id="28" name="Rectangle 27"/>
          <p:cNvSpPr/>
          <p:nvPr/>
        </p:nvSpPr>
        <p:spPr>
          <a:xfrm>
            <a:off x="340722" y="4098233"/>
            <a:ext cx="986381" cy="564791"/>
          </a:xfrm>
          <a:prstGeom prst="rect">
            <a:avLst/>
          </a:prstGeom>
        </p:spPr>
        <p:txBody>
          <a:bodyPr wrap="none" lIns="0" tIns="0" rIns="0" bIns="0">
            <a:spAutoFit/>
          </a:bodyPr>
          <a:lstStyle/>
          <a:p>
            <a:pPr defTabSz="914303">
              <a:defRPr/>
            </a:pPr>
            <a:r>
              <a:rPr lang="en-ZA" sz="1200" b="1" i="1" dirty="0">
                <a:solidFill>
                  <a:srgbClr val="0B4623"/>
                </a:solidFill>
              </a:rPr>
              <a:t>Lobostemon </a:t>
            </a:r>
            <a:br>
              <a:rPr lang="en-ZA" sz="1200" b="1" i="1" dirty="0">
                <a:solidFill>
                  <a:srgbClr val="0B4623"/>
                </a:solidFill>
              </a:rPr>
            </a:br>
            <a:r>
              <a:rPr lang="en-ZA" sz="1200" b="1" i="1" dirty="0">
                <a:solidFill>
                  <a:srgbClr val="0B4623"/>
                </a:solidFill>
              </a:rPr>
              <a:t>fruticosus </a:t>
            </a:r>
            <a:br>
              <a:rPr lang="en-ZA" sz="1200" b="1" i="1" dirty="0">
                <a:solidFill>
                  <a:srgbClr val="0B4623"/>
                </a:solidFill>
              </a:rPr>
            </a:br>
            <a:r>
              <a:rPr lang="en-ZA" sz="1200" dirty="0">
                <a:solidFill>
                  <a:srgbClr val="000000"/>
                </a:solidFill>
              </a:rPr>
              <a:t>(</a:t>
            </a:r>
            <a:r>
              <a:rPr lang="en-US" sz="1200" dirty="0">
                <a:solidFill>
                  <a:srgbClr val="000000"/>
                </a:solidFill>
              </a:rPr>
              <a:t>Lobostemon)</a:t>
            </a:r>
            <a:endParaRPr lang="en-ZA" sz="1200" dirty="0">
              <a:solidFill>
                <a:srgbClr val="000000"/>
              </a:solidFill>
            </a:endParaRPr>
          </a:p>
        </p:txBody>
      </p:sp>
      <p:pic>
        <p:nvPicPr>
          <p:cNvPr id="33" name="Picture 32"/>
          <p:cNvPicPr>
            <a:picLocks/>
          </p:cNvPicPr>
          <p:nvPr/>
        </p:nvPicPr>
        <p:blipFill>
          <a:blip r:embed="rId17" cstate="email">
            <a:extLst>
              <a:ext uri="{28A0092B-C50C-407E-A947-70E740481C1C}">
                <a14:useLocalDpi xmlns:a14="http://schemas.microsoft.com/office/drawing/2010/main"/>
              </a:ext>
            </a:extLst>
          </a:blip>
          <a:stretch>
            <a:fillRect/>
          </a:stretch>
        </p:blipFill>
        <p:spPr>
          <a:xfrm>
            <a:off x="340820" y="3461300"/>
            <a:ext cx="929019"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9" name="Rectangle 28"/>
          <p:cNvSpPr/>
          <p:nvPr/>
        </p:nvSpPr>
        <p:spPr>
          <a:xfrm>
            <a:off x="1694272" y="4098233"/>
            <a:ext cx="1076617" cy="753054"/>
          </a:xfrm>
          <a:prstGeom prst="rect">
            <a:avLst/>
          </a:prstGeom>
        </p:spPr>
        <p:txBody>
          <a:bodyPr wrap="none" lIns="0" tIns="0" rIns="0" bIns="0">
            <a:spAutoFit/>
          </a:bodyPr>
          <a:lstStyle/>
          <a:p>
            <a:pPr defTabSz="914303">
              <a:defRPr/>
            </a:pPr>
            <a:r>
              <a:rPr lang="en-ZA" sz="1200" b="1" i="1" dirty="0">
                <a:solidFill>
                  <a:srgbClr val="0B4623"/>
                </a:solidFill>
              </a:rPr>
              <a:t>Pelargonium </a:t>
            </a:r>
            <a:br>
              <a:rPr lang="en-ZA" sz="1200" b="1" i="1" dirty="0">
                <a:solidFill>
                  <a:srgbClr val="0B4623"/>
                </a:solidFill>
              </a:rPr>
            </a:br>
            <a:r>
              <a:rPr lang="en-ZA" sz="1200" b="1" i="1" dirty="0">
                <a:solidFill>
                  <a:srgbClr val="0B4623"/>
                </a:solidFill>
              </a:rPr>
              <a:t>reniforme </a:t>
            </a:r>
            <a:br>
              <a:rPr lang="en-ZA" sz="1200" b="1" i="1" dirty="0">
                <a:solidFill>
                  <a:srgbClr val="0B4623"/>
                </a:solidFill>
              </a:rPr>
            </a:br>
            <a:r>
              <a:rPr lang="en-ZA" sz="1200" dirty="0">
                <a:solidFill>
                  <a:srgbClr val="000000"/>
                </a:solidFill>
              </a:rPr>
              <a:t>(</a:t>
            </a:r>
            <a:r>
              <a:rPr lang="en-US" sz="1200" dirty="0">
                <a:solidFill>
                  <a:srgbClr val="000000"/>
                </a:solidFill>
              </a:rPr>
              <a:t>Kidney leaved </a:t>
            </a:r>
            <a:br>
              <a:rPr lang="en-US" sz="1200" dirty="0">
                <a:solidFill>
                  <a:srgbClr val="000000"/>
                </a:solidFill>
              </a:rPr>
            </a:br>
            <a:r>
              <a:rPr lang="en-US" sz="1200" dirty="0">
                <a:solidFill>
                  <a:srgbClr val="000000"/>
                </a:solidFill>
              </a:rPr>
              <a:t>pelargonium)</a:t>
            </a:r>
            <a:endParaRPr lang="en-ZA" sz="1200" dirty="0">
              <a:solidFill>
                <a:srgbClr val="000000"/>
              </a:solidFill>
            </a:endParaRPr>
          </a:p>
        </p:txBody>
      </p:sp>
      <p:pic>
        <p:nvPicPr>
          <p:cNvPr id="34" name="Picture 33"/>
          <p:cNvPicPr>
            <a:picLocks/>
          </p:cNvPicPr>
          <p:nvPr/>
        </p:nvPicPr>
        <p:blipFill>
          <a:blip r:embed="rId18" cstate="email">
            <a:extLst>
              <a:ext uri="{28A0092B-C50C-407E-A947-70E740481C1C}">
                <a14:useLocalDpi xmlns:a14="http://schemas.microsoft.com/office/drawing/2010/main"/>
              </a:ext>
            </a:extLst>
          </a:blip>
          <a:stretch>
            <a:fillRect/>
          </a:stretch>
        </p:blipFill>
        <p:spPr>
          <a:xfrm>
            <a:off x="1694069" y="3461300"/>
            <a:ext cx="929019"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0" name="Rectangle 29"/>
          <p:cNvSpPr/>
          <p:nvPr/>
        </p:nvSpPr>
        <p:spPr>
          <a:xfrm>
            <a:off x="3001149" y="4098233"/>
            <a:ext cx="1036166" cy="564791"/>
          </a:xfrm>
          <a:prstGeom prst="rect">
            <a:avLst/>
          </a:prstGeom>
        </p:spPr>
        <p:txBody>
          <a:bodyPr wrap="none" lIns="0" tIns="0" rIns="0" bIns="0">
            <a:spAutoFit/>
          </a:bodyPr>
          <a:lstStyle/>
          <a:p>
            <a:pPr defTabSz="914303">
              <a:defRPr/>
            </a:pPr>
            <a:r>
              <a:rPr lang="en-ZA" sz="1200" b="1" i="1" dirty="0">
                <a:solidFill>
                  <a:srgbClr val="0B4623"/>
                </a:solidFill>
              </a:rPr>
              <a:t>Pelargonium </a:t>
            </a:r>
            <a:br>
              <a:rPr lang="en-ZA" sz="1200" b="1" i="1" dirty="0">
                <a:solidFill>
                  <a:srgbClr val="0B4623"/>
                </a:solidFill>
              </a:rPr>
            </a:br>
            <a:r>
              <a:rPr lang="en-ZA" sz="1200" b="1" i="1" dirty="0">
                <a:solidFill>
                  <a:srgbClr val="0B4623"/>
                </a:solidFill>
              </a:rPr>
              <a:t>sidoides </a:t>
            </a:r>
            <a:br>
              <a:rPr lang="en-ZA" sz="1200" b="1" i="1" dirty="0">
                <a:solidFill>
                  <a:srgbClr val="0B4623"/>
                </a:solidFill>
              </a:rPr>
            </a:br>
            <a:r>
              <a:rPr lang="en-US" sz="1200" dirty="0">
                <a:solidFill>
                  <a:srgbClr val="000000"/>
                </a:solidFill>
              </a:rPr>
              <a:t>(Kalwerbossie)</a:t>
            </a:r>
            <a:endParaRPr lang="en-ZA" sz="1200" dirty="0">
              <a:solidFill>
                <a:srgbClr val="000000"/>
              </a:solidFill>
            </a:endParaRPr>
          </a:p>
        </p:txBody>
      </p:sp>
      <p:pic>
        <p:nvPicPr>
          <p:cNvPr id="35" name="Picture 34"/>
          <p:cNvPicPr>
            <a:picLocks/>
          </p:cNvPicPr>
          <p:nvPr/>
        </p:nvPicPr>
        <p:blipFill>
          <a:blip r:embed="rId19" cstate="email">
            <a:extLst>
              <a:ext uri="{28A0092B-C50C-407E-A947-70E740481C1C}">
                <a14:useLocalDpi xmlns:a14="http://schemas.microsoft.com/office/drawing/2010/main"/>
              </a:ext>
            </a:extLst>
          </a:blip>
          <a:stretch>
            <a:fillRect/>
          </a:stretch>
        </p:blipFill>
        <p:spPr>
          <a:xfrm>
            <a:off x="3000763" y="3461297"/>
            <a:ext cx="929019" cy="5895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6" name="McK 1. On-page tracker"/>
          <p:cNvSpPr>
            <a:spLocks noChangeArrowheads="1"/>
          </p:cNvSpPr>
          <p:nvPr/>
        </p:nvSpPr>
        <p:spPr bwMode="gray">
          <a:xfrm>
            <a:off x="171139" y="26451"/>
            <a:ext cx="2845568" cy="220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457151" defTabSz="914303">
              <a:defRPr/>
            </a:pPr>
            <a:r>
              <a:rPr lang="en-GB" sz="1400" dirty="0">
                <a:solidFill>
                  <a:srgbClr val="808080"/>
                </a:solidFill>
                <a:latin typeface="Arial"/>
              </a:rPr>
              <a:t>INITIATIVES - CULTIVATION</a:t>
            </a:r>
          </a:p>
        </p:txBody>
      </p:sp>
      <p:sp>
        <p:nvSpPr>
          <p:cNvPr id="37" name="Oval 36"/>
          <p:cNvSpPr/>
          <p:nvPr/>
        </p:nvSpPr>
        <p:spPr bwMode="gray">
          <a:xfrm>
            <a:off x="171138" y="208490"/>
            <a:ext cx="325164" cy="323627"/>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lstStyle/>
          <a:p>
            <a:pPr defTabSz="914303">
              <a:defRPr/>
            </a:pPr>
            <a:r>
              <a:rPr lang="en-US" sz="1900" b="1" dirty="0">
                <a:solidFill>
                  <a:srgbClr val="FFFFFF"/>
                </a:solidFill>
                <a:latin typeface="Arial"/>
              </a:rPr>
              <a:t>1</a:t>
            </a:r>
            <a:endParaRPr lang="ms-MY" sz="1900" b="1" dirty="0">
              <a:solidFill>
                <a:srgbClr val="FFFFFF"/>
              </a:solidFill>
              <a:latin typeface="Arial"/>
            </a:endParaRPr>
          </a:p>
        </p:txBody>
      </p:sp>
      <p:pic>
        <p:nvPicPr>
          <p:cNvPr id="39" name="Picture 38"/>
          <p:cNvPicPr>
            <a:picLocks/>
          </p:cNvPicPr>
          <p:nvPr/>
        </p:nvPicPr>
        <p:blipFill>
          <a:blip r:embed="rId20" cstate="email">
            <a:extLst>
              <a:ext uri="{28A0092B-C50C-407E-A947-70E740481C1C}">
                <a14:useLocalDpi xmlns:a14="http://schemas.microsoft.com/office/drawing/2010/main"/>
              </a:ext>
            </a:extLst>
          </a:blip>
          <a:stretch>
            <a:fillRect/>
          </a:stretch>
        </p:blipFill>
        <p:spPr>
          <a:xfrm>
            <a:off x="5527952" y="5002281"/>
            <a:ext cx="918371" cy="6663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0" name="Picture 39"/>
          <p:cNvPicPr>
            <a:picLocks/>
          </p:cNvPicPr>
          <p:nvPr/>
        </p:nvPicPr>
        <p:blipFill>
          <a:blip r:embed="rId21" cstate="email">
            <a:extLst>
              <a:ext uri="{28A0092B-C50C-407E-A947-70E740481C1C}">
                <a14:useLocalDpi xmlns:a14="http://schemas.microsoft.com/office/drawing/2010/main"/>
              </a:ext>
            </a:extLst>
          </a:blip>
          <a:stretch>
            <a:fillRect/>
          </a:stretch>
        </p:blipFill>
        <p:spPr>
          <a:xfrm>
            <a:off x="4228492" y="5002281"/>
            <a:ext cx="918371" cy="6663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1" name="Picture 40"/>
          <p:cNvPicPr>
            <a:picLocks/>
          </p:cNvPicPr>
          <p:nvPr/>
        </p:nvPicPr>
        <p:blipFill>
          <a:blip r:embed="rId22" cstate="email">
            <a:extLst>
              <a:ext uri="{28A0092B-C50C-407E-A947-70E740481C1C}">
                <a14:useLocalDpi xmlns:a14="http://schemas.microsoft.com/office/drawing/2010/main"/>
              </a:ext>
            </a:extLst>
          </a:blip>
          <a:stretch>
            <a:fillRect/>
          </a:stretch>
        </p:blipFill>
        <p:spPr>
          <a:xfrm>
            <a:off x="5762563" y="3433810"/>
            <a:ext cx="955660" cy="69343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4" name="Rectangle 43"/>
          <p:cNvSpPr/>
          <p:nvPr/>
        </p:nvSpPr>
        <p:spPr>
          <a:xfrm>
            <a:off x="5762703" y="4157357"/>
            <a:ext cx="1079729" cy="564791"/>
          </a:xfrm>
          <a:prstGeom prst="rect">
            <a:avLst/>
          </a:prstGeom>
        </p:spPr>
        <p:txBody>
          <a:bodyPr wrap="none" lIns="0" tIns="0" rIns="0" bIns="0">
            <a:spAutoFit/>
          </a:bodyPr>
          <a:lstStyle/>
          <a:p>
            <a:pPr defTabSz="914303">
              <a:defRPr/>
            </a:pPr>
            <a:r>
              <a:rPr lang="en-ZA" sz="1200" b="1" i="1" dirty="0">
                <a:solidFill>
                  <a:srgbClr val="0B4623"/>
                </a:solidFill>
              </a:rPr>
              <a:t>Siphonochilus</a:t>
            </a:r>
            <a:br>
              <a:rPr lang="en-ZA" sz="1200" b="1" i="1" dirty="0">
                <a:solidFill>
                  <a:srgbClr val="0B4623"/>
                </a:solidFill>
              </a:rPr>
            </a:br>
            <a:r>
              <a:rPr lang="en-ZA" sz="1200" b="1" i="1" dirty="0">
                <a:solidFill>
                  <a:srgbClr val="0B4623"/>
                </a:solidFill>
              </a:rPr>
              <a:t>aethopicus </a:t>
            </a:r>
            <a:br>
              <a:rPr lang="en-ZA" sz="1200" b="1" i="1" dirty="0">
                <a:solidFill>
                  <a:srgbClr val="0B4623"/>
                </a:solidFill>
              </a:rPr>
            </a:br>
            <a:r>
              <a:rPr lang="en-ZA" sz="1200" dirty="0">
                <a:solidFill>
                  <a:srgbClr val="000000"/>
                </a:solidFill>
              </a:rPr>
              <a:t>(Wild Ginger) </a:t>
            </a:r>
          </a:p>
        </p:txBody>
      </p:sp>
      <p:sp>
        <p:nvSpPr>
          <p:cNvPr id="45" name="Rectangle 44"/>
          <p:cNvSpPr/>
          <p:nvPr/>
        </p:nvSpPr>
        <p:spPr>
          <a:xfrm>
            <a:off x="7183153" y="4141798"/>
            <a:ext cx="1436008" cy="564791"/>
          </a:xfrm>
          <a:prstGeom prst="rect">
            <a:avLst/>
          </a:prstGeom>
        </p:spPr>
        <p:txBody>
          <a:bodyPr wrap="none" lIns="0" tIns="0" rIns="0" bIns="0">
            <a:spAutoFit/>
          </a:bodyPr>
          <a:lstStyle/>
          <a:p>
            <a:pPr defTabSz="914303">
              <a:defRPr/>
            </a:pPr>
            <a:r>
              <a:rPr lang="en-ZA" sz="1200" b="1" i="1" dirty="0">
                <a:solidFill>
                  <a:srgbClr val="0B4623"/>
                </a:solidFill>
              </a:rPr>
              <a:t>Sutherlandia</a:t>
            </a:r>
            <a:r>
              <a:rPr lang="en-ZA" sz="1200" b="1" i="1" dirty="0">
                <a:solidFill>
                  <a:srgbClr val="000000"/>
                </a:solidFill>
              </a:rPr>
              <a:t> </a:t>
            </a:r>
            <a:br>
              <a:rPr lang="en-ZA" sz="1200" b="1" i="1" dirty="0">
                <a:solidFill>
                  <a:srgbClr val="000000"/>
                </a:solidFill>
              </a:rPr>
            </a:br>
            <a:r>
              <a:rPr lang="en-ZA" sz="1200" b="1" i="1" dirty="0">
                <a:solidFill>
                  <a:srgbClr val="0B4623"/>
                </a:solidFill>
              </a:rPr>
              <a:t>frutescens</a:t>
            </a:r>
            <a:r>
              <a:rPr lang="en-ZA" sz="1200" b="1" i="1" dirty="0">
                <a:solidFill>
                  <a:srgbClr val="000000"/>
                </a:solidFill>
              </a:rPr>
              <a:t> </a:t>
            </a:r>
            <a:r>
              <a:rPr lang="en-ZA" sz="1200" dirty="0">
                <a:solidFill>
                  <a:srgbClr val="000000"/>
                </a:solidFill>
              </a:rPr>
              <a:t>(</a:t>
            </a:r>
            <a:r>
              <a:rPr lang="en-US" sz="1200" dirty="0">
                <a:solidFill>
                  <a:srgbClr val="000000"/>
                </a:solidFill>
              </a:rPr>
              <a:t>Cancer </a:t>
            </a:r>
            <a:br>
              <a:rPr lang="en-US" sz="1200" dirty="0">
                <a:solidFill>
                  <a:srgbClr val="000000"/>
                </a:solidFill>
              </a:rPr>
            </a:br>
            <a:r>
              <a:rPr lang="en-US" sz="1200" dirty="0">
                <a:solidFill>
                  <a:srgbClr val="000000"/>
                </a:solidFill>
              </a:rPr>
              <a:t>bush, balloon pea)</a:t>
            </a:r>
            <a:endParaRPr lang="en-ZA" sz="1200" dirty="0">
              <a:solidFill>
                <a:srgbClr val="000000"/>
              </a:solidFill>
            </a:endParaRPr>
          </a:p>
        </p:txBody>
      </p:sp>
      <p:pic>
        <p:nvPicPr>
          <p:cNvPr id="46" name="Picture 45"/>
          <p:cNvPicPr>
            <a:picLocks/>
          </p:cNvPicPr>
          <p:nvPr/>
        </p:nvPicPr>
        <p:blipFill>
          <a:blip r:embed="rId23" cstate="email">
            <a:extLst>
              <a:ext uri="{28A0092B-C50C-407E-A947-70E740481C1C}">
                <a14:useLocalDpi xmlns:a14="http://schemas.microsoft.com/office/drawing/2010/main"/>
              </a:ext>
            </a:extLst>
          </a:blip>
          <a:stretch>
            <a:fillRect/>
          </a:stretch>
        </p:blipFill>
        <p:spPr>
          <a:xfrm>
            <a:off x="7182549" y="3418294"/>
            <a:ext cx="955660" cy="69343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7" name="Rectangle 46"/>
          <p:cNvSpPr/>
          <p:nvPr/>
        </p:nvSpPr>
        <p:spPr>
          <a:xfrm>
            <a:off x="350057" y="5711699"/>
            <a:ext cx="1179300" cy="378082"/>
          </a:xfrm>
          <a:prstGeom prst="rect">
            <a:avLst/>
          </a:prstGeom>
        </p:spPr>
        <p:txBody>
          <a:bodyPr wrap="none" lIns="0" tIns="0" rIns="0" bIns="0">
            <a:spAutoFit/>
          </a:bodyPr>
          <a:lstStyle/>
          <a:p>
            <a:pPr defTabSz="914303">
              <a:defRPr/>
            </a:pPr>
            <a:r>
              <a:rPr lang="en-ZA" sz="1200" b="1" i="1" dirty="0">
                <a:solidFill>
                  <a:srgbClr val="0B4623"/>
                </a:solidFill>
              </a:rPr>
              <a:t>Trichilia</a:t>
            </a:r>
            <a:r>
              <a:rPr lang="en-ZA" sz="1200" b="1" i="1" dirty="0">
                <a:solidFill>
                  <a:srgbClr val="000000"/>
                </a:solidFill>
              </a:rPr>
              <a:t> </a:t>
            </a:r>
            <a:r>
              <a:rPr lang="en-ZA" sz="1200" b="1" i="1" dirty="0">
                <a:solidFill>
                  <a:srgbClr val="0B4623"/>
                </a:solidFill>
              </a:rPr>
              <a:t>emetic</a:t>
            </a:r>
            <a:r>
              <a:rPr lang="en-ZA" sz="1200" b="1" i="1" dirty="0">
                <a:solidFill>
                  <a:srgbClr val="000000"/>
                </a:solidFill>
              </a:rPr>
              <a:t> </a:t>
            </a:r>
            <a:br>
              <a:rPr lang="en-ZA" sz="1200" b="1" i="1" dirty="0">
                <a:solidFill>
                  <a:srgbClr val="000000"/>
                </a:solidFill>
              </a:rPr>
            </a:br>
            <a:r>
              <a:rPr lang="en-ZA" sz="1200" dirty="0">
                <a:solidFill>
                  <a:srgbClr val="000000"/>
                </a:solidFill>
              </a:rPr>
              <a:t>(</a:t>
            </a:r>
            <a:r>
              <a:rPr lang="en-US" sz="1200" dirty="0">
                <a:solidFill>
                  <a:srgbClr val="000000"/>
                </a:solidFill>
              </a:rPr>
              <a:t>Mafura – oil)</a:t>
            </a:r>
            <a:endParaRPr lang="en-ZA" sz="1200" dirty="0">
              <a:solidFill>
                <a:srgbClr val="000000"/>
              </a:solidFill>
            </a:endParaRPr>
          </a:p>
        </p:txBody>
      </p:sp>
      <p:pic>
        <p:nvPicPr>
          <p:cNvPr id="48" name="Picture 47"/>
          <p:cNvPicPr>
            <a:picLocks/>
          </p:cNvPicPr>
          <p:nvPr/>
        </p:nvPicPr>
        <p:blipFill>
          <a:blip r:embed="rId24" cstate="email">
            <a:extLst>
              <a:ext uri="{28A0092B-C50C-407E-A947-70E740481C1C}">
                <a14:useLocalDpi xmlns:a14="http://schemas.microsoft.com/office/drawing/2010/main"/>
              </a:ext>
            </a:extLst>
          </a:blip>
          <a:stretch>
            <a:fillRect/>
          </a:stretch>
        </p:blipFill>
        <p:spPr>
          <a:xfrm>
            <a:off x="350245" y="4989173"/>
            <a:ext cx="955660" cy="69343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9" name="Rectangle 48"/>
          <p:cNvSpPr/>
          <p:nvPr/>
        </p:nvSpPr>
        <p:spPr>
          <a:xfrm>
            <a:off x="4440268" y="4157357"/>
            <a:ext cx="821465" cy="564791"/>
          </a:xfrm>
          <a:prstGeom prst="rect">
            <a:avLst/>
          </a:prstGeom>
        </p:spPr>
        <p:txBody>
          <a:bodyPr wrap="none" lIns="0" tIns="0" rIns="0" bIns="0">
            <a:spAutoFit/>
          </a:bodyPr>
          <a:lstStyle/>
          <a:p>
            <a:pPr defTabSz="914303">
              <a:defRPr/>
            </a:pPr>
            <a:r>
              <a:rPr lang="en-ZA" sz="1200" b="1" i="1" dirty="0">
                <a:solidFill>
                  <a:srgbClr val="0B4623"/>
                </a:solidFill>
              </a:rPr>
              <a:t>Sceletium </a:t>
            </a:r>
            <a:br>
              <a:rPr lang="en-ZA" sz="1200" b="1" i="1" dirty="0">
                <a:solidFill>
                  <a:srgbClr val="0B4623"/>
                </a:solidFill>
              </a:rPr>
            </a:br>
            <a:r>
              <a:rPr lang="en-ZA" sz="1200" b="1" i="1" dirty="0">
                <a:solidFill>
                  <a:srgbClr val="0B4623"/>
                </a:solidFill>
              </a:rPr>
              <a:t>tortuosum </a:t>
            </a:r>
            <a:br>
              <a:rPr lang="en-ZA" sz="1200" b="1" i="1" dirty="0">
                <a:solidFill>
                  <a:srgbClr val="0B4623"/>
                </a:solidFill>
              </a:rPr>
            </a:br>
            <a:r>
              <a:rPr lang="en-ZA" sz="1200" dirty="0">
                <a:solidFill>
                  <a:srgbClr val="000000"/>
                </a:solidFill>
              </a:rPr>
              <a:t>(</a:t>
            </a:r>
            <a:r>
              <a:rPr lang="en-US" sz="1200" dirty="0">
                <a:solidFill>
                  <a:srgbClr val="000000"/>
                </a:solidFill>
              </a:rPr>
              <a:t>Kanna)</a:t>
            </a:r>
            <a:endParaRPr lang="en-ZA" sz="1200" dirty="0">
              <a:solidFill>
                <a:srgbClr val="000000"/>
              </a:solidFill>
            </a:endParaRPr>
          </a:p>
        </p:txBody>
      </p:sp>
      <p:pic>
        <p:nvPicPr>
          <p:cNvPr id="50" name="Picture 49"/>
          <p:cNvPicPr>
            <a:picLocks/>
          </p:cNvPicPr>
          <p:nvPr/>
        </p:nvPicPr>
        <p:blipFill>
          <a:blip r:embed="rId25" cstate="email">
            <a:extLst>
              <a:ext uri="{28A0092B-C50C-407E-A947-70E740481C1C}">
                <a14:useLocalDpi xmlns:a14="http://schemas.microsoft.com/office/drawing/2010/main"/>
              </a:ext>
            </a:extLst>
          </a:blip>
          <a:stretch>
            <a:fillRect/>
          </a:stretch>
        </p:blipFill>
        <p:spPr>
          <a:xfrm>
            <a:off x="4440734" y="3462212"/>
            <a:ext cx="677733" cy="6650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1" name="Rectangle 50"/>
          <p:cNvSpPr/>
          <p:nvPr/>
        </p:nvSpPr>
        <p:spPr>
          <a:xfrm>
            <a:off x="2980923" y="5724146"/>
            <a:ext cx="1269537" cy="564790"/>
          </a:xfrm>
          <a:prstGeom prst="rect">
            <a:avLst/>
          </a:prstGeom>
        </p:spPr>
        <p:txBody>
          <a:bodyPr wrap="none" lIns="0" tIns="0" rIns="0" bIns="0">
            <a:spAutoFit/>
          </a:bodyPr>
          <a:lstStyle/>
          <a:p>
            <a:pPr defTabSz="914303">
              <a:defRPr/>
            </a:pPr>
            <a:r>
              <a:rPr lang="en-ZA" sz="1200" b="1" i="1" dirty="0">
                <a:solidFill>
                  <a:srgbClr val="0B4623"/>
                </a:solidFill>
              </a:rPr>
              <a:t>Warburgia</a:t>
            </a:r>
            <a:r>
              <a:rPr lang="en-ZA" sz="1200" b="1" i="1" dirty="0">
                <a:solidFill>
                  <a:srgbClr val="000000"/>
                </a:solidFill>
              </a:rPr>
              <a:t> </a:t>
            </a:r>
            <a:br>
              <a:rPr lang="en-ZA" sz="1200" b="1" i="1" dirty="0">
                <a:solidFill>
                  <a:srgbClr val="000000"/>
                </a:solidFill>
              </a:rPr>
            </a:br>
            <a:r>
              <a:rPr lang="en-ZA" sz="1200" b="1" i="1" dirty="0">
                <a:solidFill>
                  <a:srgbClr val="0B4623"/>
                </a:solidFill>
              </a:rPr>
              <a:t>salutaris</a:t>
            </a:r>
            <a:r>
              <a:rPr lang="en-ZA" sz="1200" b="1" i="1" dirty="0">
                <a:solidFill>
                  <a:srgbClr val="000000"/>
                </a:solidFill>
              </a:rPr>
              <a:t> </a:t>
            </a:r>
            <a:br>
              <a:rPr lang="en-ZA" sz="1200" b="1" i="1" dirty="0">
                <a:solidFill>
                  <a:srgbClr val="000000"/>
                </a:solidFill>
              </a:rPr>
            </a:br>
            <a:r>
              <a:rPr lang="en-ZA" sz="1200" dirty="0">
                <a:solidFill>
                  <a:srgbClr val="000000"/>
                </a:solidFill>
              </a:rPr>
              <a:t>(</a:t>
            </a:r>
            <a:r>
              <a:rPr lang="en-US" sz="1200" dirty="0">
                <a:solidFill>
                  <a:srgbClr val="000000"/>
                </a:solidFill>
              </a:rPr>
              <a:t>Pepperbark tree)</a:t>
            </a:r>
            <a:r>
              <a:rPr lang="en-ZA" sz="1200" dirty="0">
                <a:solidFill>
                  <a:srgbClr val="000000"/>
                </a:solidFill>
              </a:rPr>
              <a:t> </a:t>
            </a:r>
          </a:p>
        </p:txBody>
      </p:sp>
      <p:pic>
        <p:nvPicPr>
          <p:cNvPr id="52" name="Picture 51"/>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2981638" y="4926230"/>
            <a:ext cx="574391" cy="72588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3" name="Rectangle 52"/>
          <p:cNvSpPr/>
          <p:nvPr/>
        </p:nvSpPr>
        <p:spPr>
          <a:xfrm>
            <a:off x="4228679" y="5724146"/>
            <a:ext cx="1330214" cy="564790"/>
          </a:xfrm>
          <a:prstGeom prst="rect">
            <a:avLst/>
          </a:prstGeom>
        </p:spPr>
        <p:txBody>
          <a:bodyPr wrap="none" lIns="0" tIns="0" rIns="0" bIns="0">
            <a:spAutoFit/>
          </a:bodyPr>
          <a:lstStyle/>
          <a:p>
            <a:pPr defTabSz="914303">
              <a:defRPr/>
            </a:pPr>
            <a:r>
              <a:rPr lang="en-ZA" sz="1200" b="1" i="1" dirty="0">
                <a:solidFill>
                  <a:srgbClr val="0B4623"/>
                </a:solidFill>
              </a:rPr>
              <a:t>Ximenia</a:t>
            </a:r>
            <a:r>
              <a:rPr lang="en-ZA" sz="1200" b="1" i="1" dirty="0">
                <a:solidFill>
                  <a:srgbClr val="000000"/>
                </a:solidFill>
              </a:rPr>
              <a:t> </a:t>
            </a:r>
            <a:br>
              <a:rPr lang="en-ZA" sz="1200" b="1" i="1" dirty="0">
                <a:solidFill>
                  <a:srgbClr val="000000"/>
                </a:solidFill>
              </a:rPr>
            </a:br>
            <a:r>
              <a:rPr lang="en-ZA" sz="1200" b="1" i="1" dirty="0">
                <a:solidFill>
                  <a:srgbClr val="0B4623"/>
                </a:solidFill>
              </a:rPr>
              <a:t>americana</a:t>
            </a:r>
            <a:r>
              <a:rPr lang="en-ZA" sz="1200" b="1" i="1" dirty="0">
                <a:solidFill>
                  <a:srgbClr val="000000"/>
                </a:solidFill>
              </a:rPr>
              <a:t> </a:t>
            </a:r>
            <a:r>
              <a:rPr lang="en-ZA" sz="1200" dirty="0">
                <a:solidFill>
                  <a:srgbClr val="000000"/>
                </a:solidFill>
              </a:rPr>
              <a:t>(</a:t>
            </a:r>
            <a:r>
              <a:rPr lang="en-US" sz="1200" dirty="0">
                <a:solidFill>
                  <a:srgbClr val="000000"/>
                </a:solidFill>
              </a:rPr>
              <a:t>Sour </a:t>
            </a:r>
            <a:br>
              <a:rPr lang="en-US" sz="1200" dirty="0">
                <a:solidFill>
                  <a:srgbClr val="000000"/>
                </a:solidFill>
              </a:rPr>
            </a:br>
            <a:r>
              <a:rPr lang="en-US" sz="1200" dirty="0">
                <a:solidFill>
                  <a:srgbClr val="000000"/>
                </a:solidFill>
              </a:rPr>
              <a:t>plum – fruit and oil)</a:t>
            </a:r>
            <a:endParaRPr lang="en-ZA" sz="1200" dirty="0">
              <a:solidFill>
                <a:srgbClr val="000000"/>
              </a:solidFill>
            </a:endParaRPr>
          </a:p>
        </p:txBody>
      </p:sp>
      <p:sp>
        <p:nvSpPr>
          <p:cNvPr id="54" name="Rectangle 53"/>
          <p:cNvSpPr/>
          <p:nvPr/>
        </p:nvSpPr>
        <p:spPr>
          <a:xfrm>
            <a:off x="5527776" y="5724146"/>
            <a:ext cx="1330213" cy="376527"/>
          </a:xfrm>
          <a:prstGeom prst="rect">
            <a:avLst/>
          </a:prstGeom>
        </p:spPr>
        <p:txBody>
          <a:bodyPr wrap="none" lIns="0" tIns="0" rIns="0" bIns="0">
            <a:spAutoFit/>
          </a:bodyPr>
          <a:lstStyle/>
          <a:p>
            <a:pPr defTabSz="914303">
              <a:defRPr/>
            </a:pPr>
            <a:r>
              <a:rPr lang="en-ZA" sz="1200" b="1" i="1" dirty="0">
                <a:solidFill>
                  <a:srgbClr val="0B4623"/>
                </a:solidFill>
              </a:rPr>
              <a:t>X. caffra </a:t>
            </a:r>
            <a:r>
              <a:rPr lang="en-ZA" sz="1200" dirty="0">
                <a:solidFill>
                  <a:srgbClr val="000000"/>
                </a:solidFill>
              </a:rPr>
              <a:t>(</a:t>
            </a:r>
            <a:r>
              <a:rPr lang="en-US" sz="1200" dirty="0">
                <a:solidFill>
                  <a:srgbClr val="000000"/>
                </a:solidFill>
              </a:rPr>
              <a:t>Sour </a:t>
            </a:r>
            <a:br>
              <a:rPr lang="en-US" sz="1200" dirty="0">
                <a:solidFill>
                  <a:srgbClr val="000000"/>
                </a:solidFill>
              </a:rPr>
            </a:br>
            <a:r>
              <a:rPr lang="en-US" sz="1200" dirty="0">
                <a:solidFill>
                  <a:srgbClr val="000000"/>
                </a:solidFill>
              </a:rPr>
              <a:t>plum – fruit and oil)</a:t>
            </a:r>
            <a:endParaRPr lang="en-ZA" sz="1200" dirty="0">
              <a:solidFill>
                <a:srgbClr val="000000"/>
              </a:solidFill>
            </a:endParaRPr>
          </a:p>
        </p:txBody>
      </p:sp>
      <p:sp>
        <p:nvSpPr>
          <p:cNvPr id="55" name="Rectangle 54"/>
          <p:cNvSpPr/>
          <p:nvPr/>
        </p:nvSpPr>
        <p:spPr>
          <a:xfrm>
            <a:off x="6901552" y="5724146"/>
            <a:ext cx="1061059" cy="564790"/>
          </a:xfrm>
          <a:prstGeom prst="rect">
            <a:avLst/>
          </a:prstGeom>
        </p:spPr>
        <p:txBody>
          <a:bodyPr wrap="none" lIns="0" tIns="0" rIns="0" bIns="0">
            <a:spAutoFit/>
          </a:bodyPr>
          <a:lstStyle/>
          <a:p>
            <a:pPr defTabSz="914303">
              <a:defRPr/>
            </a:pPr>
            <a:r>
              <a:rPr lang="en-ZA" sz="1200" b="1" i="1" dirty="0">
                <a:solidFill>
                  <a:srgbClr val="0B4623"/>
                </a:solidFill>
              </a:rPr>
              <a:t>Xysmalobium</a:t>
            </a:r>
            <a:r>
              <a:rPr lang="en-ZA" sz="1200" b="1" i="1" dirty="0">
                <a:solidFill>
                  <a:srgbClr val="000000"/>
                </a:solidFill>
              </a:rPr>
              <a:t> </a:t>
            </a:r>
            <a:br>
              <a:rPr lang="en-ZA" sz="1200" b="1" i="1" dirty="0">
                <a:solidFill>
                  <a:srgbClr val="000000"/>
                </a:solidFill>
              </a:rPr>
            </a:br>
            <a:r>
              <a:rPr lang="en-ZA" sz="1200" b="1" i="1" dirty="0">
                <a:solidFill>
                  <a:srgbClr val="0B4623"/>
                </a:solidFill>
              </a:rPr>
              <a:t>undulatum</a:t>
            </a:r>
            <a:r>
              <a:rPr lang="en-ZA" sz="1200" b="1" i="1" dirty="0">
                <a:solidFill>
                  <a:srgbClr val="000000"/>
                </a:solidFill>
              </a:rPr>
              <a:t> </a:t>
            </a:r>
            <a:br>
              <a:rPr lang="en-ZA" sz="1200" b="1" i="1" dirty="0">
                <a:solidFill>
                  <a:srgbClr val="000000"/>
                </a:solidFill>
              </a:rPr>
            </a:br>
            <a:r>
              <a:rPr lang="en-ZA" sz="1200" dirty="0">
                <a:solidFill>
                  <a:srgbClr val="000000"/>
                </a:solidFill>
              </a:rPr>
              <a:t>(</a:t>
            </a:r>
            <a:r>
              <a:rPr lang="en-US" sz="1200" dirty="0">
                <a:solidFill>
                  <a:srgbClr val="000000"/>
                </a:solidFill>
              </a:rPr>
              <a:t>Uzara)</a:t>
            </a:r>
            <a:endParaRPr lang="en-ZA" sz="1200" dirty="0">
              <a:solidFill>
                <a:srgbClr val="000000"/>
              </a:solidFill>
            </a:endParaRPr>
          </a:p>
        </p:txBody>
      </p:sp>
      <p:pic>
        <p:nvPicPr>
          <p:cNvPr id="56" name="Picture 55"/>
          <p:cNvPicPr>
            <a:picLocks/>
          </p:cNvPicPr>
          <p:nvPr/>
        </p:nvPicPr>
        <p:blipFill>
          <a:blip r:embed="rId27" cstate="email">
            <a:extLst>
              <a:ext uri="{28A0092B-C50C-407E-A947-70E740481C1C}">
                <a14:useLocalDpi xmlns:a14="http://schemas.microsoft.com/office/drawing/2010/main"/>
              </a:ext>
            </a:extLst>
          </a:blip>
          <a:stretch>
            <a:fillRect/>
          </a:stretch>
        </p:blipFill>
        <p:spPr>
          <a:xfrm>
            <a:off x="6901811" y="5030128"/>
            <a:ext cx="651288" cy="6390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7" name="Rectangle 56"/>
          <p:cNvSpPr/>
          <p:nvPr/>
        </p:nvSpPr>
        <p:spPr>
          <a:xfrm>
            <a:off x="1616482" y="5724146"/>
            <a:ext cx="1411115" cy="564790"/>
          </a:xfrm>
          <a:prstGeom prst="rect">
            <a:avLst/>
          </a:prstGeom>
        </p:spPr>
        <p:txBody>
          <a:bodyPr wrap="none" lIns="0" tIns="0" rIns="0" bIns="0">
            <a:spAutoFit/>
          </a:bodyPr>
          <a:lstStyle/>
          <a:p>
            <a:pPr defTabSz="914303">
              <a:defRPr/>
            </a:pPr>
            <a:r>
              <a:rPr lang="en-ZA" sz="1200" b="1" i="1" dirty="0">
                <a:solidFill>
                  <a:srgbClr val="0B4623"/>
                </a:solidFill>
              </a:rPr>
              <a:t>Tylosema</a:t>
            </a:r>
            <a:r>
              <a:rPr lang="en-ZA" sz="1200" b="1" i="1" dirty="0">
                <a:solidFill>
                  <a:srgbClr val="000000"/>
                </a:solidFill>
              </a:rPr>
              <a:t> </a:t>
            </a:r>
            <a:br>
              <a:rPr lang="en-ZA" sz="1200" b="1" i="1" dirty="0">
                <a:solidFill>
                  <a:srgbClr val="000000"/>
                </a:solidFill>
              </a:rPr>
            </a:br>
            <a:r>
              <a:rPr lang="en-ZA" sz="1200" b="1" i="1" dirty="0">
                <a:solidFill>
                  <a:srgbClr val="0B4623"/>
                </a:solidFill>
              </a:rPr>
              <a:t>esculentum</a:t>
            </a:r>
            <a:r>
              <a:rPr lang="en-ZA" sz="1200" b="1" i="1" dirty="0">
                <a:solidFill>
                  <a:srgbClr val="000000"/>
                </a:solidFill>
              </a:rPr>
              <a:t> </a:t>
            </a:r>
            <a:br>
              <a:rPr lang="en-ZA" sz="1200" b="1" i="1" dirty="0">
                <a:solidFill>
                  <a:srgbClr val="000000"/>
                </a:solidFill>
              </a:rPr>
            </a:br>
            <a:r>
              <a:rPr lang="en-ZA" sz="1200" dirty="0">
                <a:solidFill>
                  <a:srgbClr val="000000"/>
                </a:solidFill>
              </a:rPr>
              <a:t>(</a:t>
            </a:r>
            <a:r>
              <a:rPr lang="en-US" sz="1200" dirty="0">
                <a:solidFill>
                  <a:srgbClr val="000000"/>
                </a:solidFill>
              </a:rPr>
              <a:t>Marama bean - oil)</a:t>
            </a:r>
            <a:r>
              <a:rPr lang="en-ZA" sz="1200" dirty="0">
                <a:solidFill>
                  <a:srgbClr val="000000"/>
                </a:solidFill>
              </a:rPr>
              <a:t> </a:t>
            </a:r>
          </a:p>
        </p:txBody>
      </p:sp>
      <p:pic>
        <p:nvPicPr>
          <p:cNvPr id="58" name="Picture 57"/>
          <p:cNvPicPr>
            <a:picLocks/>
          </p:cNvPicPr>
          <p:nvPr/>
        </p:nvPicPr>
        <p:blipFill>
          <a:blip r:embed="rId28" cstate="email">
            <a:extLst>
              <a:ext uri="{28A0092B-C50C-407E-A947-70E740481C1C}">
                <a14:useLocalDpi xmlns:a14="http://schemas.microsoft.com/office/drawing/2010/main"/>
              </a:ext>
            </a:extLst>
          </a:blip>
          <a:stretch>
            <a:fillRect/>
          </a:stretch>
        </p:blipFill>
        <p:spPr>
          <a:xfrm>
            <a:off x="1616420" y="5002281"/>
            <a:ext cx="918371" cy="6663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9" name="Rectangle 58"/>
          <p:cNvSpPr/>
          <p:nvPr/>
        </p:nvSpPr>
        <p:spPr>
          <a:xfrm>
            <a:off x="8004618" y="5722590"/>
            <a:ext cx="659661" cy="564791"/>
          </a:xfrm>
          <a:prstGeom prst="rect">
            <a:avLst/>
          </a:prstGeom>
        </p:spPr>
        <p:txBody>
          <a:bodyPr wrap="none" lIns="0" tIns="0" rIns="0" bIns="0">
            <a:spAutoFit/>
          </a:bodyPr>
          <a:lstStyle/>
          <a:p>
            <a:pPr defTabSz="914303">
              <a:defRPr/>
            </a:pPr>
            <a:r>
              <a:rPr lang="en-ZA" sz="1200" b="1" i="1" dirty="0" err="1">
                <a:solidFill>
                  <a:srgbClr val="0B4623"/>
                </a:solidFill>
              </a:rPr>
              <a:t>Lippia</a:t>
            </a:r>
            <a:r>
              <a:rPr lang="en-ZA" sz="1200" b="1" i="1" dirty="0">
                <a:solidFill>
                  <a:srgbClr val="000000"/>
                </a:solidFill>
              </a:rPr>
              <a:t> </a:t>
            </a:r>
          </a:p>
          <a:p>
            <a:pPr defTabSz="914303">
              <a:defRPr/>
            </a:pPr>
            <a:r>
              <a:rPr lang="en-ZA" sz="1200" b="1" i="1" dirty="0" err="1">
                <a:solidFill>
                  <a:srgbClr val="0B4623"/>
                </a:solidFill>
              </a:rPr>
              <a:t>javanica</a:t>
            </a:r>
            <a:r>
              <a:rPr lang="en-ZA" sz="1200" b="1" i="1" dirty="0">
                <a:solidFill>
                  <a:srgbClr val="000000"/>
                </a:solidFill>
              </a:rPr>
              <a:t> </a:t>
            </a:r>
            <a:br>
              <a:rPr lang="en-ZA" sz="1200" b="1" i="1" dirty="0">
                <a:solidFill>
                  <a:srgbClr val="000000"/>
                </a:solidFill>
              </a:rPr>
            </a:br>
            <a:endParaRPr lang="en-ZA" sz="1200" dirty="0">
              <a:solidFill>
                <a:srgbClr val="000000"/>
              </a:solidFill>
            </a:endParaRPr>
          </a:p>
        </p:txBody>
      </p:sp>
      <p:pic>
        <p:nvPicPr>
          <p:cNvPr id="60" name="Picture 59"/>
          <p:cNvPicPr>
            <a:picLocks/>
          </p:cNvPicPr>
          <p:nvPr/>
        </p:nvPicPr>
        <p:blipFill>
          <a:blip r:embed="rId29" cstate="email">
            <a:extLst>
              <a:ext uri="{28A0092B-C50C-407E-A947-70E740481C1C}">
                <a14:useLocalDpi xmlns:a14="http://schemas.microsoft.com/office/drawing/2010/main"/>
              </a:ext>
            </a:extLst>
          </a:blip>
          <a:stretch>
            <a:fillRect/>
          </a:stretch>
        </p:blipFill>
        <p:spPr>
          <a:xfrm>
            <a:off x="8005003" y="5006559"/>
            <a:ext cx="677733" cy="6650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3064" name="Picture 6"/>
          <p:cNvPicPr>
            <a:picLocks noChangeAspect="1"/>
          </p:cNvPicPr>
          <p:nvPr/>
        </p:nvPicPr>
        <p:blipFill>
          <a:blip r:embed="rId30">
            <a:extLst>
              <a:ext uri="{28A0092B-C50C-407E-A947-70E740481C1C}">
                <a14:useLocalDpi xmlns:a14="http://schemas.microsoft.com/office/drawing/2010/main" val="0"/>
              </a:ext>
            </a:extLst>
          </a:blip>
          <a:srcRect/>
          <a:stretch>
            <a:fillRect/>
          </a:stretch>
        </p:blipFill>
        <p:spPr bwMode="auto">
          <a:xfrm>
            <a:off x="7088249" y="6287381"/>
            <a:ext cx="1834295" cy="376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4312421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p:txBody>
          <a:bodyPr/>
          <a:lstStyle/>
          <a:p>
            <a:endParaRPr lang="en-ZA" altLang="en-US" smtClean="0"/>
          </a:p>
        </p:txBody>
      </p:sp>
      <p:pic>
        <p:nvPicPr>
          <p:cNvPr id="44035" name="Picture 2"/>
          <p:cNvPicPr>
            <a:picLocks noChangeAspect="1"/>
          </p:cNvPicPr>
          <p:nvPr/>
        </p:nvPicPr>
        <p:blipFill>
          <a:blip r:embed="rId2">
            <a:extLst>
              <a:ext uri="{28A0092B-C50C-407E-A947-70E740481C1C}">
                <a14:useLocalDpi xmlns:a14="http://schemas.microsoft.com/office/drawing/2010/main" val="0"/>
              </a:ext>
            </a:extLst>
          </a:blip>
          <a:srcRect b="2264"/>
          <a:stretch>
            <a:fillRect/>
          </a:stretch>
        </p:blipFill>
        <p:spPr bwMode="auto">
          <a:xfrm>
            <a:off x="0" y="0"/>
            <a:ext cx="8961438" cy="625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036"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27144" y="6156685"/>
            <a:ext cx="1834294" cy="493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34118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8" name="Object 7" hidden="1"/>
          <p:cNvGraphicFramePr>
            <a:graphicFrameLocks noChangeAspect="1"/>
          </p:cNvGraphicFramePr>
          <p:nvPr>
            <p:custDataLst>
              <p:tags r:id="rId2"/>
            </p:custData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10753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7"/>
                        <a:ext cx="1555" cy="1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8" name="Picture 2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94507" y="854967"/>
            <a:ext cx="709548" cy="123552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Title 1"/>
          <p:cNvSpPr>
            <a:spLocks noGrp="1"/>
          </p:cNvSpPr>
          <p:nvPr>
            <p:ph type="title"/>
          </p:nvPr>
        </p:nvSpPr>
        <p:spPr>
          <a:xfrm>
            <a:off x="171139" y="230273"/>
            <a:ext cx="8619161" cy="298732"/>
          </a:xfrm>
        </p:spPr>
        <p:txBody>
          <a:bodyPr/>
          <a:lstStyle/>
          <a:p>
            <a:pPr marL="457151" defTabSz="895160">
              <a:tabLst>
                <a:tab pos="269818" algn="l"/>
              </a:tabLst>
              <a:defRPr/>
            </a:pPr>
            <a:r>
              <a:rPr lang="en-US" dirty="0"/>
              <a:t>Top 7 species earmarked for sustainable harvesting</a:t>
            </a:r>
            <a:endParaRPr lang="en-ZA" dirty="0"/>
          </a:p>
        </p:txBody>
      </p:sp>
      <p:sp>
        <p:nvSpPr>
          <p:cNvPr id="7" name="Rectangle 6"/>
          <p:cNvSpPr/>
          <p:nvPr/>
        </p:nvSpPr>
        <p:spPr>
          <a:xfrm>
            <a:off x="4318916" y="2147138"/>
            <a:ext cx="1092175" cy="659700"/>
          </a:xfrm>
          <a:prstGeom prst="rect">
            <a:avLst/>
          </a:prstGeom>
        </p:spPr>
        <p:txBody>
          <a:bodyPr wrap="none" lIns="0" tIns="0" rIns="0" bIns="0">
            <a:spAutoFit/>
          </a:bodyPr>
          <a:lstStyle/>
          <a:p>
            <a:pPr defTabSz="914303">
              <a:defRPr/>
            </a:pPr>
            <a:r>
              <a:rPr lang="en-ZA" sz="1400" b="1" i="1" dirty="0">
                <a:solidFill>
                  <a:srgbClr val="0B4623"/>
                </a:solidFill>
              </a:rPr>
              <a:t>Sclerocarya </a:t>
            </a:r>
            <a:br>
              <a:rPr lang="en-ZA" sz="1400" b="1" i="1" dirty="0">
                <a:solidFill>
                  <a:srgbClr val="0B4623"/>
                </a:solidFill>
              </a:rPr>
            </a:br>
            <a:r>
              <a:rPr lang="en-ZA" sz="1400" b="1" i="1" dirty="0">
                <a:solidFill>
                  <a:srgbClr val="0B4623"/>
                </a:solidFill>
              </a:rPr>
              <a:t>birrea</a:t>
            </a:r>
          </a:p>
          <a:p>
            <a:pPr defTabSz="914303">
              <a:defRPr/>
            </a:pPr>
            <a:r>
              <a:rPr lang="en-ZA" sz="1400" i="1" dirty="0">
                <a:solidFill>
                  <a:srgbClr val="000000"/>
                </a:solidFill>
              </a:rPr>
              <a:t>Marula</a:t>
            </a:r>
          </a:p>
        </p:txBody>
      </p:sp>
      <p:pic>
        <p:nvPicPr>
          <p:cNvPr id="27" name="Picture 26"/>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318607" y="998891"/>
            <a:ext cx="1091534" cy="10915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 name="Rectangle 9"/>
          <p:cNvSpPr/>
          <p:nvPr/>
        </p:nvSpPr>
        <p:spPr>
          <a:xfrm>
            <a:off x="6094089" y="2147138"/>
            <a:ext cx="931927" cy="659700"/>
          </a:xfrm>
          <a:prstGeom prst="rect">
            <a:avLst/>
          </a:prstGeom>
        </p:spPr>
        <p:txBody>
          <a:bodyPr wrap="none" lIns="0" tIns="0" rIns="0" bIns="0">
            <a:spAutoFit/>
          </a:bodyPr>
          <a:lstStyle/>
          <a:p>
            <a:pPr defTabSz="914303">
              <a:defRPr/>
            </a:pPr>
            <a:r>
              <a:rPr lang="en-ZA" sz="1400" b="1" i="1" dirty="0">
                <a:solidFill>
                  <a:srgbClr val="0B4623"/>
                </a:solidFill>
              </a:rPr>
              <a:t>Cyclopia </a:t>
            </a:r>
            <a:br>
              <a:rPr lang="en-ZA" sz="1400" b="1" i="1" dirty="0">
                <a:solidFill>
                  <a:srgbClr val="0B4623"/>
                </a:solidFill>
              </a:rPr>
            </a:br>
            <a:r>
              <a:rPr lang="en-ZA" sz="1400" b="1" i="1" dirty="0">
                <a:solidFill>
                  <a:srgbClr val="0B4623"/>
                </a:solidFill>
              </a:rPr>
              <a:t>intermedia</a:t>
            </a:r>
          </a:p>
          <a:p>
            <a:pPr defTabSz="914303">
              <a:defRPr/>
            </a:pPr>
            <a:r>
              <a:rPr lang="en-ZA" sz="1400" i="1" dirty="0">
                <a:solidFill>
                  <a:srgbClr val="000000"/>
                </a:solidFill>
              </a:rPr>
              <a:t>Honeybush</a:t>
            </a:r>
          </a:p>
        </p:txBody>
      </p:sp>
      <p:sp>
        <p:nvSpPr>
          <p:cNvPr id="11" name="Rectangle 10"/>
          <p:cNvSpPr/>
          <p:nvPr/>
        </p:nvSpPr>
        <p:spPr>
          <a:xfrm>
            <a:off x="7684123" y="2147138"/>
            <a:ext cx="1023720" cy="659700"/>
          </a:xfrm>
          <a:prstGeom prst="rect">
            <a:avLst/>
          </a:prstGeom>
        </p:spPr>
        <p:txBody>
          <a:bodyPr wrap="none" lIns="0" tIns="0" rIns="0" bIns="0">
            <a:spAutoFit/>
          </a:bodyPr>
          <a:lstStyle/>
          <a:p>
            <a:pPr defTabSz="914303">
              <a:defRPr/>
            </a:pPr>
            <a:r>
              <a:rPr lang="en-ZA" sz="1400" b="1" i="1" dirty="0">
                <a:solidFill>
                  <a:srgbClr val="0B4623"/>
                </a:solidFill>
              </a:rPr>
              <a:t>Cyclopia </a:t>
            </a:r>
            <a:br>
              <a:rPr lang="en-ZA" sz="1400" b="1" i="1" dirty="0">
                <a:solidFill>
                  <a:srgbClr val="0B4623"/>
                </a:solidFill>
              </a:rPr>
            </a:br>
            <a:r>
              <a:rPr lang="en-ZA" sz="1400" b="1" i="1" dirty="0">
                <a:solidFill>
                  <a:srgbClr val="0B4623"/>
                </a:solidFill>
              </a:rPr>
              <a:t>genistoides</a:t>
            </a:r>
          </a:p>
          <a:p>
            <a:pPr defTabSz="914303">
              <a:defRPr/>
            </a:pPr>
            <a:r>
              <a:rPr lang="en-ZA" sz="1400" i="1" dirty="0">
                <a:solidFill>
                  <a:srgbClr val="000000"/>
                </a:solidFill>
              </a:rPr>
              <a:t>Honeybush </a:t>
            </a:r>
          </a:p>
        </p:txBody>
      </p:sp>
      <p:pic>
        <p:nvPicPr>
          <p:cNvPr id="29" name="Picture 2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684516" y="942027"/>
            <a:ext cx="860188" cy="11484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 name="Rectangle 4"/>
          <p:cNvSpPr/>
          <p:nvPr/>
        </p:nvSpPr>
        <p:spPr>
          <a:xfrm>
            <a:off x="287825" y="2147138"/>
            <a:ext cx="899255" cy="219382"/>
          </a:xfrm>
          <a:prstGeom prst="rect">
            <a:avLst/>
          </a:prstGeom>
        </p:spPr>
        <p:txBody>
          <a:bodyPr wrap="none" lIns="0" tIns="0" rIns="0" bIns="0">
            <a:spAutoFit/>
          </a:bodyPr>
          <a:lstStyle/>
          <a:p>
            <a:pPr defTabSz="914303">
              <a:defRPr/>
            </a:pPr>
            <a:r>
              <a:rPr lang="en-ZA" sz="1400" b="1" i="1" dirty="0">
                <a:solidFill>
                  <a:srgbClr val="0B4623"/>
                </a:solidFill>
              </a:rPr>
              <a:t>Aloe ferox</a:t>
            </a:r>
          </a:p>
        </p:txBody>
      </p:sp>
      <p:pic>
        <p:nvPicPr>
          <p:cNvPr id="3" name="Picture 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87585" y="1161250"/>
            <a:ext cx="1043141" cy="9292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 name="Rectangle 5"/>
          <p:cNvSpPr/>
          <p:nvPr/>
        </p:nvSpPr>
        <p:spPr>
          <a:xfrm>
            <a:off x="2212355" y="2147138"/>
            <a:ext cx="992604" cy="659700"/>
          </a:xfrm>
          <a:prstGeom prst="rect">
            <a:avLst/>
          </a:prstGeom>
        </p:spPr>
        <p:txBody>
          <a:bodyPr wrap="none" lIns="0" tIns="0" rIns="0" bIns="0">
            <a:spAutoFit/>
          </a:bodyPr>
          <a:lstStyle/>
          <a:p>
            <a:pPr defTabSz="914303">
              <a:defRPr/>
            </a:pPr>
            <a:r>
              <a:rPr lang="en-ZA" sz="1400" b="1" i="1" dirty="0">
                <a:solidFill>
                  <a:srgbClr val="0B4623"/>
                </a:solidFill>
              </a:rPr>
              <a:t>Adansonia </a:t>
            </a:r>
            <a:br>
              <a:rPr lang="en-ZA" sz="1400" b="1" i="1" dirty="0">
                <a:solidFill>
                  <a:srgbClr val="0B4623"/>
                </a:solidFill>
              </a:rPr>
            </a:br>
            <a:r>
              <a:rPr lang="en-ZA" sz="1400" b="1" i="1" dirty="0">
                <a:solidFill>
                  <a:srgbClr val="0B4623"/>
                </a:solidFill>
              </a:rPr>
              <a:t>digitata</a:t>
            </a:r>
          </a:p>
          <a:p>
            <a:pPr defTabSz="914303">
              <a:defRPr/>
            </a:pPr>
            <a:r>
              <a:rPr lang="en-ZA" sz="1400" i="1" dirty="0">
                <a:solidFill>
                  <a:srgbClr val="000000"/>
                </a:solidFill>
              </a:rPr>
              <a:t>Baobab</a:t>
            </a:r>
          </a:p>
        </p:txBody>
      </p:sp>
      <p:pic>
        <p:nvPicPr>
          <p:cNvPr id="4" name="Picture 3"/>
          <p:cNvPicPr>
            <a:picLocks/>
          </p:cNvPicPr>
          <p:nvPr/>
        </p:nvPicPr>
        <p:blipFill>
          <a:blip r:embed="rId10" cstate="email">
            <a:extLst>
              <a:ext uri="{28A0092B-C50C-407E-A947-70E740481C1C}">
                <a14:useLocalDpi xmlns:a14="http://schemas.microsoft.com/office/drawing/2010/main"/>
              </a:ext>
            </a:extLst>
          </a:blip>
          <a:stretch>
            <a:fillRect/>
          </a:stretch>
        </p:blipFill>
        <p:spPr>
          <a:xfrm>
            <a:off x="2212462" y="1161250"/>
            <a:ext cx="1240509" cy="9292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Rectangle 11"/>
          <p:cNvSpPr/>
          <p:nvPr/>
        </p:nvSpPr>
        <p:spPr>
          <a:xfrm>
            <a:off x="287825" y="4102901"/>
            <a:ext cx="1053280" cy="658144"/>
          </a:xfrm>
          <a:prstGeom prst="rect">
            <a:avLst/>
          </a:prstGeom>
        </p:spPr>
        <p:txBody>
          <a:bodyPr wrap="none" lIns="0" tIns="0" rIns="0" bIns="0">
            <a:spAutoFit/>
          </a:bodyPr>
          <a:lstStyle/>
          <a:p>
            <a:pPr defTabSz="914303">
              <a:defRPr/>
            </a:pPr>
            <a:r>
              <a:rPr lang="en-ZA" sz="1400" b="1" i="1" dirty="0">
                <a:solidFill>
                  <a:srgbClr val="0B4623"/>
                </a:solidFill>
              </a:rPr>
              <a:t>Agathosma </a:t>
            </a:r>
            <a:br>
              <a:rPr lang="en-ZA" sz="1400" b="1" i="1" dirty="0">
                <a:solidFill>
                  <a:srgbClr val="0B4623"/>
                </a:solidFill>
              </a:rPr>
            </a:br>
            <a:r>
              <a:rPr lang="en-ZA" sz="1400" b="1" i="1" dirty="0">
                <a:solidFill>
                  <a:srgbClr val="0B4623"/>
                </a:solidFill>
              </a:rPr>
              <a:t>betulina</a:t>
            </a:r>
          </a:p>
          <a:p>
            <a:pPr defTabSz="914303">
              <a:defRPr/>
            </a:pPr>
            <a:r>
              <a:rPr lang="en-ZA" sz="1400" i="1" dirty="0">
                <a:solidFill>
                  <a:srgbClr val="000000"/>
                </a:solidFill>
              </a:rPr>
              <a:t>Buchu</a:t>
            </a:r>
          </a:p>
        </p:txBody>
      </p:sp>
      <p:pic>
        <p:nvPicPr>
          <p:cNvPr id="30" name="Picture 29"/>
          <p:cNvPicPr>
            <a:picLocks/>
          </p:cNvPicPr>
          <p:nvPr/>
        </p:nvPicPr>
        <p:blipFill>
          <a:blip r:embed="rId11" cstate="email">
            <a:extLst>
              <a:ext uri="{28A0092B-C50C-407E-A947-70E740481C1C}">
                <a14:useLocalDpi xmlns:a14="http://schemas.microsoft.com/office/drawing/2010/main"/>
              </a:ext>
            </a:extLst>
          </a:blip>
          <a:stretch>
            <a:fillRect/>
          </a:stretch>
        </p:blipFill>
        <p:spPr>
          <a:xfrm>
            <a:off x="287586" y="3086314"/>
            <a:ext cx="1240509" cy="9292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3" name="Rectangle 12"/>
          <p:cNvSpPr/>
          <p:nvPr/>
        </p:nvSpPr>
        <p:spPr>
          <a:xfrm>
            <a:off x="2212355" y="4102901"/>
            <a:ext cx="1460902" cy="658144"/>
          </a:xfrm>
          <a:prstGeom prst="rect">
            <a:avLst/>
          </a:prstGeom>
        </p:spPr>
        <p:txBody>
          <a:bodyPr wrap="none" lIns="0" tIns="0" rIns="0" bIns="0">
            <a:spAutoFit/>
          </a:bodyPr>
          <a:lstStyle/>
          <a:p>
            <a:pPr defTabSz="914303">
              <a:defRPr/>
            </a:pPr>
            <a:r>
              <a:rPr lang="en-ZA" sz="1400" b="1" i="1" dirty="0">
                <a:solidFill>
                  <a:srgbClr val="0B4623"/>
                </a:solidFill>
              </a:rPr>
              <a:t>Harpagophytum </a:t>
            </a:r>
            <a:br>
              <a:rPr lang="en-ZA" sz="1400" b="1" i="1" dirty="0">
                <a:solidFill>
                  <a:srgbClr val="0B4623"/>
                </a:solidFill>
              </a:rPr>
            </a:br>
            <a:r>
              <a:rPr lang="en-ZA" sz="1400" b="1" i="1" dirty="0">
                <a:solidFill>
                  <a:srgbClr val="0B4623"/>
                </a:solidFill>
              </a:rPr>
              <a:t>procumbens</a:t>
            </a:r>
          </a:p>
          <a:p>
            <a:pPr defTabSz="914303">
              <a:defRPr/>
            </a:pPr>
            <a:r>
              <a:rPr lang="en-ZA" sz="1400" i="1" dirty="0">
                <a:solidFill>
                  <a:srgbClr val="000000"/>
                </a:solidFill>
              </a:rPr>
              <a:t>Devil’s claws</a:t>
            </a:r>
          </a:p>
        </p:txBody>
      </p:sp>
      <p:pic>
        <p:nvPicPr>
          <p:cNvPr id="31" name="Picture 30"/>
          <p:cNvPicPr>
            <a:picLocks/>
          </p:cNvPicPr>
          <p:nvPr/>
        </p:nvPicPr>
        <p:blipFill>
          <a:blip r:embed="rId12" cstate="email">
            <a:extLst>
              <a:ext uri="{28A0092B-C50C-407E-A947-70E740481C1C}">
                <a14:useLocalDpi xmlns:a14="http://schemas.microsoft.com/office/drawing/2010/main"/>
              </a:ext>
            </a:extLst>
          </a:blip>
          <a:stretch>
            <a:fillRect/>
          </a:stretch>
        </p:blipFill>
        <p:spPr>
          <a:xfrm>
            <a:off x="2212462" y="3086314"/>
            <a:ext cx="1240509" cy="9292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8" name="McK 1. On-page tracker"/>
          <p:cNvSpPr>
            <a:spLocks noChangeArrowheads="1"/>
          </p:cNvSpPr>
          <p:nvPr/>
        </p:nvSpPr>
        <p:spPr bwMode="gray">
          <a:xfrm>
            <a:off x="171139" y="26451"/>
            <a:ext cx="4714090" cy="220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457151" defTabSz="914303">
              <a:defRPr/>
            </a:pPr>
            <a:r>
              <a:rPr lang="en-GB" sz="1400" dirty="0">
                <a:solidFill>
                  <a:srgbClr val="808080"/>
                </a:solidFill>
                <a:latin typeface="Arial"/>
              </a:rPr>
              <a:t>INITIATIVES – SUSTAINABLE WILD HARVESTING</a:t>
            </a:r>
          </a:p>
        </p:txBody>
      </p:sp>
      <p:sp>
        <p:nvSpPr>
          <p:cNvPr id="19" name="Oval 18"/>
          <p:cNvSpPr/>
          <p:nvPr/>
        </p:nvSpPr>
        <p:spPr bwMode="gray">
          <a:xfrm>
            <a:off x="171138" y="208490"/>
            <a:ext cx="325164" cy="323627"/>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5875" algn="ctr">
            <a:noFill/>
            <a:round/>
            <a:headEnd/>
            <a:tailEnd/>
          </a:ln>
          <a:effectLst>
            <a:outerShdw blurRad="50800" dist="38100" algn="l" rotWithShape="0">
              <a:prstClr val="black">
                <a:alpha val="40000"/>
              </a:prstClr>
            </a:outerShdw>
          </a:effectLst>
        </p:spPr>
        <p:txBody>
          <a:bodyPr lIns="0" tIns="0" rIns="0" bIns="0" anchor="ctr" anchorCtr="1"/>
          <a:lstStyle/>
          <a:p>
            <a:pPr defTabSz="914303">
              <a:defRPr/>
            </a:pPr>
            <a:r>
              <a:rPr lang="en-US" sz="1900" b="1" dirty="0">
                <a:solidFill>
                  <a:srgbClr val="FFFFFF"/>
                </a:solidFill>
                <a:latin typeface="Arial"/>
              </a:rPr>
              <a:t>2</a:t>
            </a:r>
            <a:endParaRPr lang="ms-MY" sz="1900" b="1" dirty="0">
              <a:solidFill>
                <a:srgbClr val="FFFFFF"/>
              </a:solidFill>
              <a:latin typeface="Arial"/>
            </a:endParaRPr>
          </a:p>
        </p:txBody>
      </p:sp>
      <p:pic>
        <p:nvPicPr>
          <p:cNvPr id="45076" name="Picture 8"/>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7026017" y="6278045"/>
            <a:ext cx="1834295" cy="345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02139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75507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6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b="1" dirty="0" err="1" smtClean="0">
              <a:solidFill>
                <a:schemeClr val="tx1"/>
              </a:solidFill>
              <a:latin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mtClean="0"/>
              <a:t>Contents</a:t>
            </a:r>
            <a:endParaRPr lang="en-US"/>
          </a:p>
        </p:txBody>
      </p:sp>
      <p:sp>
        <p:nvSpPr>
          <p:cNvPr id="3" name="Text Placeholder 2">
            <a:hlinkClick r:id="rId10" action="ppaction://hlinksldjump"/>
          </p:cNvPr>
          <p:cNvSpPr>
            <a:spLocks noGrp="1"/>
          </p:cNvSpPr>
          <p:nvPr>
            <p:custDataLst>
              <p:tags r:id="rId4"/>
            </p:custDataLst>
          </p:nvPr>
        </p:nvSpPr>
        <p:spPr bwMode="gray">
          <a:xfrm>
            <a:off x="2290763" y="2954338"/>
            <a:ext cx="4379913" cy="406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dirty="0" smtClean="0"/>
              <a:t>Coastal and Marine Tourism</a:t>
            </a:r>
            <a:endParaRPr lang="en-US" dirty="0"/>
          </a:p>
        </p:txBody>
      </p:sp>
      <p:sp>
        <p:nvSpPr>
          <p:cNvPr id="8" name="Text Placeholder 2">
            <a:hlinkClick r:id="rId11" action="ppaction://hlinksldjump"/>
          </p:cNvPr>
          <p:cNvSpPr>
            <a:spLocks noGrp="1"/>
          </p:cNvSpPr>
          <p:nvPr>
            <p:custDataLst>
              <p:tags r:id="rId5"/>
            </p:custDataLst>
          </p:nvPr>
        </p:nvSpPr>
        <p:spPr bwMode="gray">
          <a:xfrm>
            <a:off x="2290763" y="3360738"/>
            <a:ext cx="4379913" cy="406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endParaRPr lang="en-US" dirty="0"/>
          </a:p>
        </p:txBody>
      </p:sp>
      <p:sp>
        <p:nvSpPr>
          <p:cNvPr id="9" name="Text Placeholder 2">
            <a:hlinkClick r:id="rId12" action="ppaction://hlinksldjump"/>
          </p:cNvPr>
          <p:cNvSpPr>
            <a:spLocks noGrp="1"/>
          </p:cNvSpPr>
          <p:nvPr>
            <p:custDataLst>
              <p:tags r:id="rId6"/>
            </p:custDataLst>
          </p:nvPr>
        </p:nvSpPr>
        <p:spPr bwMode="gray">
          <a:xfrm>
            <a:off x="2290763" y="3767138"/>
            <a:ext cx="4379913" cy="4079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808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endParaRPr lang="en-US" dirty="0"/>
          </a:p>
        </p:txBody>
      </p:sp>
      <p:pic>
        <p:nvPicPr>
          <p:cNvPr id="11" name="Picture 10"/>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454060" y="4231946"/>
            <a:ext cx="2507378" cy="1932209"/>
          </a:xfrm>
          <a:prstGeom prst="rect">
            <a:avLst/>
          </a:prstGeom>
        </p:spPr>
      </p:pic>
      <p:pic>
        <p:nvPicPr>
          <p:cNvPr id="12" name="Picture 11"/>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890" y="647362"/>
            <a:ext cx="2125595" cy="5274880"/>
          </a:xfrm>
          <a:prstGeom prst="rect">
            <a:avLst/>
          </a:prstGeom>
        </p:spPr>
      </p:pic>
    </p:spTree>
    <p:extLst>
      <p:ext uri="{BB962C8B-B14F-4D97-AF65-F5344CB8AC3E}">
        <p14:creationId xmlns:p14="http://schemas.microsoft.com/office/powerpoint/2010/main" val="41492126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73" name="think-cell Slide" r:id="rId13" imgW="353" imgH="353" progId="TCLayout.ActiveDocument.1">
                  <p:embed/>
                </p:oleObj>
              </mc:Choice>
              <mc:Fallback>
                <p:oleObj name="think-cell Slide" r:id="rId13" imgW="353" imgH="35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57" name="Picture 56"/>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4077283" y="3156760"/>
            <a:ext cx="4884156" cy="3513915"/>
          </a:xfrm>
          <a:prstGeom prst="rect">
            <a:avLst/>
          </a:prstGeom>
        </p:spPr>
      </p:pic>
      <p:sp>
        <p:nvSpPr>
          <p:cNvPr id="49" name="Rectangle 48"/>
          <p:cNvSpPr/>
          <p:nvPr/>
        </p:nvSpPr>
        <p:spPr>
          <a:xfrm>
            <a:off x="4414603" y="1323870"/>
            <a:ext cx="4546835" cy="4218104"/>
          </a:xfrm>
          <a:prstGeom prst="rect">
            <a:avLst/>
          </a:prstGeom>
          <a:solidFill>
            <a:schemeClr val="accent3">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50" name="TextBox 49"/>
          <p:cNvSpPr txBox="1">
            <a:spLocks/>
          </p:cNvSpPr>
          <p:nvPr/>
        </p:nvSpPr>
        <p:spPr>
          <a:xfrm>
            <a:off x="5382065" y="1485560"/>
            <a:ext cx="3218480" cy="38779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fontAlgn="base">
              <a:spcBef>
                <a:spcPct val="50000"/>
              </a:spcBef>
              <a:spcAft>
                <a:spcPct val="0"/>
              </a:spcAft>
              <a:buClr>
                <a:schemeClr val="bg1"/>
              </a:buClr>
            </a:pPr>
            <a:r>
              <a:rPr lang="en-US" sz="1400" dirty="0" smtClean="0">
                <a:solidFill>
                  <a:schemeClr val="bg1"/>
                </a:solidFill>
              </a:rPr>
              <a:t>South Africa has </a:t>
            </a:r>
            <a:r>
              <a:rPr lang="en-US" sz="1400" b="1" dirty="0" smtClean="0">
                <a:solidFill>
                  <a:schemeClr val="accent4">
                    <a:lumMod val="20000"/>
                    <a:lumOff val="80000"/>
                  </a:schemeClr>
                </a:solidFill>
              </a:rPr>
              <a:t>~15% </a:t>
            </a:r>
            <a:r>
              <a:rPr lang="en-US" sz="1400" dirty="0" smtClean="0">
                <a:solidFill>
                  <a:schemeClr val="bg1"/>
                </a:solidFill>
              </a:rPr>
              <a:t>of the </a:t>
            </a:r>
            <a:r>
              <a:rPr lang="en-US" sz="1400" b="1" dirty="0" smtClean="0">
                <a:solidFill>
                  <a:schemeClr val="accent4">
                    <a:lumMod val="20000"/>
                    <a:lumOff val="80000"/>
                  </a:schemeClr>
                </a:solidFill>
              </a:rPr>
              <a:t>global  marine species </a:t>
            </a:r>
            <a:r>
              <a:rPr lang="en-US" sz="1400" dirty="0" smtClean="0">
                <a:solidFill>
                  <a:schemeClr val="bg1"/>
                </a:solidFill>
              </a:rPr>
              <a:t>diversity with </a:t>
            </a:r>
            <a:r>
              <a:rPr lang="en-US" sz="1400" b="1" dirty="0" smtClean="0">
                <a:solidFill>
                  <a:schemeClr val="accent4">
                    <a:lumMod val="20000"/>
                    <a:lumOff val="80000"/>
                  </a:schemeClr>
                </a:solidFill>
              </a:rPr>
              <a:t>10,000 species </a:t>
            </a:r>
            <a:r>
              <a:rPr lang="en-US" sz="1400" dirty="0" smtClean="0">
                <a:solidFill>
                  <a:schemeClr val="bg1"/>
                </a:solidFill>
              </a:rPr>
              <a:t>of marine animals and plants</a:t>
            </a:r>
          </a:p>
          <a:p>
            <a:pPr lvl="1" fontAlgn="base">
              <a:spcBef>
                <a:spcPct val="50000"/>
              </a:spcBef>
              <a:spcAft>
                <a:spcPct val="0"/>
              </a:spcAft>
              <a:buClr>
                <a:schemeClr val="bg1"/>
              </a:buClr>
            </a:pPr>
            <a:r>
              <a:rPr lang="en-US" sz="1400" b="1" dirty="0" smtClean="0">
                <a:solidFill>
                  <a:schemeClr val="accent4">
                    <a:lumMod val="20000"/>
                    <a:lumOff val="80000"/>
                  </a:schemeClr>
                </a:solidFill>
              </a:rPr>
              <a:t>Highly diverse coast </a:t>
            </a:r>
            <a:r>
              <a:rPr lang="en-US" sz="1400" dirty="0" smtClean="0">
                <a:solidFill>
                  <a:schemeClr val="bg1"/>
                </a:solidFill>
              </a:rPr>
              <a:t>with</a:t>
            </a:r>
            <a:r>
              <a:rPr lang="en-US" sz="1400" b="1" dirty="0" smtClean="0">
                <a:solidFill>
                  <a:schemeClr val="bg1"/>
                </a:solidFill>
              </a:rPr>
              <a:t> </a:t>
            </a:r>
            <a:r>
              <a:rPr lang="en-US" sz="1400" b="1" dirty="0" smtClean="0">
                <a:solidFill>
                  <a:schemeClr val="accent4">
                    <a:lumMod val="20000"/>
                    <a:lumOff val="80000"/>
                  </a:schemeClr>
                </a:solidFill>
              </a:rPr>
              <a:t>23 marine protected areas </a:t>
            </a:r>
            <a:r>
              <a:rPr lang="en-US" sz="1400" dirty="0" smtClean="0">
                <a:solidFill>
                  <a:schemeClr val="bg1"/>
                </a:solidFill>
              </a:rPr>
              <a:t>across the provinces and </a:t>
            </a:r>
            <a:r>
              <a:rPr lang="en-US" sz="1400" b="1" dirty="0" smtClean="0">
                <a:solidFill>
                  <a:schemeClr val="accent4">
                    <a:lumMod val="20000"/>
                    <a:lumOff val="80000"/>
                  </a:schemeClr>
                </a:solidFill>
              </a:rPr>
              <a:t>7 national parks </a:t>
            </a:r>
          </a:p>
          <a:p>
            <a:pPr lvl="1">
              <a:spcBef>
                <a:spcPct val="50000"/>
              </a:spcBef>
              <a:buClr>
                <a:schemeClr val="bg1"/>
              </a:buClr>
            </a:pPr>
            <a:r>
              <a:rPr lang="en-US" sz="1400" b="1" dirty="0">
                <a:solidFill>
                  <a:schemeClr val="bg1"/>
                </a:solidFill>
              </a:rPr>
              <a:t>3</a:t>
            </a:r>
            <a:r>
              <a:rPr lang="en-US" sz="1400" dirty="0">
                <a:solidFill>
                  <a:schemeClr val="bg1"/>
                </a:solidFill>
              </a:rPr>
              <a:t> South African </a:t>
            </a:r>
            <a:r>
              <a:rPr lang="en-US" sz="1400" b="1" dirty="0">
                <a:solidFill>
                  <a:schemeClr val="accent4">
                    <a:lumMod val="20000"/>
                    <a:lumOff val="80000"/>
                  </a:schemeClr>
                </a:solidFill>
              </a:rPr>
              <a:t>beaches</a:t>
            </a:r>
            <a:r>
              <a:rPr lang="en-US" sz="1400" dirty="0">
                <a:solidFill>
                  <a:schemeClr val="accent4">
                    <a:lumMod val="20000"/>
                    <a:lumOff val="80000"/>
                  </a:schemeClr>
                </a:solidFill>
              </a:rPr>
              <a:t> </a:t>
            </a:r>
            <a:r>
              <a:rPr lang="en-US" sz="1400" dirty="0">
                <a:solidFill>
                  <a:schemeClr val="bg1"/>
                </a:solidFill>
              </a:rPr>
              <a:t>achieving </a:t>
            </a:r>
            <a:r>
              <a:rPr lang="en-US" sz="1400" b="1" dirty="0">
                <a:solidFill>
                  <a:schemeClr val="accent4">
                    <a:lumMod val="20000"/>
                    <a:lumOff val="80000"/>
                  </a:schemeClr>
                </a:solidFill>
              </a:rPr>
              <a:t>world ranking </a:t>
            </a:r>
            <a:r>
              <a:rPr lang="en-US" sz="1400" b="1" dirty="0" smtClean="0">
                <a:solidFill>
                  <a:schemeClr val="accent4">
                    <a:lumMod val="20000"/>
                    <a:lumOff val="80000"/>
                  </a:schemeClr>
                </a:solidFill>
              </a:rPr>
              <a:t>status</a:t>
            </a:r>
            <a:r>
              <a:rPr lang="en-US" sz="1400" b="1" baseline="30000" dirty="0" smtClean="0">
                <a:solidFill>
                  <a:schemeClr val="accent4">
                    <a:lumMod val="20000"/>
                    <a:lumOff val="80000"/>
                  </a:schemeClr>
                </a:solidFill>
              </a:rPr>
              <a:t>1</a:t>
            </a:r>
            <a:endParaRPr lang="en-US" sz="1400" dirty="0" smtClean="0">
              <a:solidFill>
                <a:schemeClr val="bg1"/>
              </a:solidFill>
            </a:endParaRPr>
          </a:p>
          <a:p>
            <a:pPr lvl="1" fontAlgn="base">
              <a:spcBef>
                <a:spcPct val="50000"/>
              </a:spcBef>
              <a:spcAft>
                <a:spcPct val="0"/>
              </a:spcAft>
              <a:buClr>
                <a:schemeClr val="bg1"/>
              </a:buClr>
            </a:pPr>
            <a:r>
              <a:rPr lang="en-US" sz="1400" b="1" dirty="0" smtClean="0">
                <a:solidFill>
                  <a:schemeClr val="accent4">
                    <a:lumMod val="20000"/>
                    <a:lumOff val="80000"/>
                  </a:schemeClr>
                </a:solidFill>
              </a:rPr>
              <a:t>~15% of beaches </a:t>
            </a:r>
            <a:r>
              <a:rPr lang="en-US" sz="1400" dirty="0" smtClean="0">
                <a:solidFill>
                  <a:schemeClr val="bg1"/>
                </a:solidFill>
              </a:rPr>
              <a:t>with blue flag status (39 out of 200 accessible beaches)</a:t>
            </a:r>
          </a:p>
          <a:p>
            <a:pPr lvl="1" fontAlgn="base">
              <a:spcBef>
                <a:spcPct val="50000"/>
              </a:spcBef>
              <a:spcAft>
                <a:spcPct val="0"/>
              </a:spcAft>
              <a:buClr>
                <a:schemeClr val="bg1"/>
              </a:buClr>
            </a:pPr>
            <a:r>
              <a:rPr lang="en-US" sz="1400" b="1" dirty="0" smtClean="0">
                <a:solidFill>
                  <a:schemeClr val="accent4">
                    <a:lumMod val="20000"/>
                    <a:lumOff val="80000"/>
                  </a:schemeClr>
                </a:solidFill>
              </a:rPr>
              <a:t>Several events, routes and attractions along the coast </a:t>
            </a:r>
            <a:r>
              <a:rPr lang="en-US" sz="1400" dirty="0" smtClean="0">
                <a:solidFill>
                  <a:schemeClr val="bg1"/>
                </a:solidFill>
              </a:rPr>
              <a:t>not always fully exploited (e.g. </a:t>
            </a:r>
            <a:r>
              <a:rPr lang="en-US" sz="1400" b="1" dirty="0" smtClean="0">
                <a:solidFill>
                  <a:schemeClr val="accent4">
                    <a:lumMod val="20000"/>
                    <a:lumOff val="80000"/>
                  </a:schemeClr>
                </a:solidFill>
              </a:rPr>
              <a:t>&lt;20% </a:t>
            </a:r>
            <a:r>
              <a:rPr lang="en-US" sz="1400" dirty="0" smtClean="0">
                <a:solidFill>
                  <a:schemeClr val="bg1"/>
                </a:solidFill>
              </a:rPr>
              <a:t>of Eastern Cape beaches with tourism related </a:t>
            </a:r>
            <a:r>
              <a:rPr lang="en-US" sz="1400" b="1" dirty="0" smtClean="0">
                <a:solidFill>
                  <a:schemeClr val="accent4">
                    <a:lumMod val="20000"/>
                    <a:lumOff val="80000"/>
                  </a:schemeClr>
                </a:solidFill>
              </a:rPr>
              <a:t>economic activity</a:t>
            </a:r>
            <a:r>
              <a:rPr lang="en-US" sz="1400" dirty="0" smtClean="0">
                <a:solidFill>
                  <a:schemeClr val="bg1"/>
                </a:solidFill>
              </a:rPr>
              <a:t>)</a:t>
            </a:r>
          </a:p>
        </p:txBody>
      </p:sp>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With the </a:t>
            </a:r>
            <a:r>
              <a:rPr lang="en-US" dirty="0" smtClean="0"/>
              <a:t>3</a:t>
            </a:r>
            <a:r>
              <a:rPr lang="en-US" baseline="30000" dirty="0" smtClean="0"/>
              <a:t>rd</a:t>
            </a:r>
            <a:r>
              <a:rPr lang="en-US" dirty="0" smtClean="0"/>
              <a:t> longest </a:t>
            </a:r>
            <a:r>
              <a:rPr lang="en-US" dirty="0"/>
              <a:t>coastline in </a:t>
            </a:r>
            <a:r>
              <a:rPr lang="en-US" dirty="0" smtClean="0"/>
              <a:t>Africa (2,798 km), </a:t>
            </a:r>
            <a:r>
              <a:rPr lang="en-US" dirty="0" err="1" smtClean="0"/>
              <a:t>CMT</a:t>
            </a:r>
            <a:r>
              <a:rPr lang="en-US" dirty="0" smtClean="0"/>
              <a:t> has untapped potential to contribute </a:t>
            </a:r>
            <a:r>
              <a:rPr lang="en-US" dirty="0"/>
              <a:t>to </a:t>
            </a:r>
            <a:r>
              <a:rPr lang="en-US" dirty="0" smtClean="0"/>
              <a:t>South Africa’s development and transformation</a:t>
            </a:r>
            <a:endParaRPr lang="en-US" dirty="0"/>
          </a:p>
        </p:txBody>
      </p:sp>
      <p:sp>
        <p:nvSpPr>
          <p:cNvPr id="37" name="5. Source"/>
          <p:cNvSpPr>
            <a:spLocks noChangeArrowheads="1"/>
          </p:cNvSpPr>
          <p:nvPr/>
        </p:nvSpPr>
        <p:spPr bwMode="auto">
          <a:xfrm>
            <a:off x="1452565" y="6339707"/>
            <a:ext cx="566691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09600" indent="-609600" defTabSz="895350" fontAlgn="base">
              <a:spcBef>
                <a:spcPct val="0"/>
              </a:spcBef>
              <a:spcAft>
                <a:spcPct val="0"/>
              </a:spcAft>
              <a:tabLst>
                <a:tab pos="612775" algn="l"/>
              </a:tabLst>
            </a:pPr>
            <a:r>
              <a:rPr lang="en-US" sz="900" dirty="0">
                <a:solidFill>
                  <a:srgbClr val="000000"/>
                </a:solidFill>
              </a:rPr>
              <a:t>SOURCE: South </a:t>
            </a:r>
            <a:r>
              <a:rPr lang="en-US" sz="900" dirty="0" smtClean="0">
                <a:solidFill>
                  <a:srgbClr val="000000"/>
                </a:solidFill>
              </a:rPr>
              <a:t>Africa</a:t>
            </a:r>
            <a:r>
              <a:rPr lang="en-US" sz="900" dirty="0">
                <a:solidFill>
                  <a:srgbClr val="000000"/>
                </a:solidFill>
              </a:rPr>
              <a:t>; World </a:t>
            </a:r>
            <a:r>
              <a:rPr lang="en-US" sz="900" dirty="0" smtClean="0">
                <a:solidFill>
                  <a:srgbClr val="000000"/>
                </a:solidFill>
              </a:rPr>
              <a:t>Fact book</a:t>
            </a:r>
            <a:r>
              <a:rPr lang="en-US" sz="900" dirty="0">
                <a:solidFill>
                  <a:srgbClr val="000000"/>
                </a:solidFill>
              </a:rPr>
              <a:t>, 100 world’s best beaches 2013, </a:t>
            </a:r>
            <a:r>
              <a:rPr lang="en-US" sz="900" dirty="0" smtClean="0">
                <a:solidFill>
                  <a:srgbClr val="000000"/>
                </a:solidFill>
              </a:rPr>
              <a:t>CNN World’s 100 Best Beaches, </a:t>
            </a:r>
            <a:r>
              <a:rPr lang="en-US" sz="900" dirty="0" smtClean="0"/>
              <a:t>National Biodiversity Assessment 2011, Provincial asset and activity register</a:t>
            </a:r>
            <a:endParaRPr lang="en-US" sz="900" dirty="0"/>
          </a:p>
        </p:txBody>
      </p:sp>
      <p:sp>
        <p:nvSpPr>
          <p:cNvPr id="39" name="4. Footnote"/>
          <p:cNvSpPr txBox="1">
            <a:spLocks noChangeArrowheads="1"/>
          </p:cNvSpPr>
          <p:nvPr/>
        </p:nvSpPr>
        <p:spPr bwMode="auto">
          <a:xfrm>
            <a:off x="171752" y="6037268"/>
            <a:ext cx="8618237" cy="138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104775" indent="-104775" defTabSz="895350">
              <a:defRPr sz="9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t>1 CNN best beaches ranking</a:t>
            </a:r>
          </a:p>
        </p:txBody>
      </p:sp>
      <p:pic>
        <p:nvPicPr>
          <p:cNvPr id="54" name="Picture 53"/>
          <p:cNvPicPr>
            <a:picLocks noChangeAspect="1"/>
          </p:cNvPicPr>
          <p:nvPr/>
        </p:nvPicPr>
        <p:blipFill rotWithShape="1">
          <a:blip r:embed="rId16" cstate="email">
            <a:extLst>
              <a:ext uri="{28A0092B-C50C-407E-A947-70E740481C1C}">
                <a14:useLocalDpi xmlns:a14="http://schemas.microsoft.com/office/drawing/2010/main"/>
              </a:ext>
            </a:extLst>
          </a:blip>
          <a:srcRect r="17"/>
          <a:stretch/>
        </p:blipFill>
        <p:spPr>
          <a:xfrm>
            <a:off x="0" y="1082965"/>
            <a:ext cx="5172364" cy="4700423"/>
          </a:xfrm>
          <a:prstGeom prst="rect">
            <a:avLst/>
          </a:prstGeom>
          <a:effectLst>
            <a:outerShdw blurRad="101600" dist="38100" dir="2700000" algn="tl" rotWithShape="0">
              <a:prstClr val="black">
                <a:alpha val="40000"/>
              </a:prstClr>
            </a:outerShdw>
          </a:effectLst>
        </p:spPr>
      </p:pic>
      <p:grpSp>
        <p:nvGrpSpPr>
          <p:cNvPr id="7" name="Group 6"/>
          <p:cNvGrpSpPr/>
          <p:nvPr/>
        </p:nvGrpSpPr>
        <p:grpSpPr>
          <a:xfrm>
            <a:off x="551528" y="2018088"/>
            <a:ext cx="3781393" cy="2982640"/>
            <a:chOff x="357569" y="1821246"/>
            <a:chExt cx="3781393" cy="2982640"/>
          </a:xfrm>
        </p:grpSpPr>
        <p:grpSp>
          <p:nvGrpSpPr>
            <p:cNvPr id="12" name="Group 26"/>
            <p:cNvGrpSpPr>
              <a:grpSpLocks/>
            </p:cNvGrpSpPr>
            <p:nvPr/>
          </p:nvGrpSpPr>
          <p:grpSpPr bwMode="auto">
            <a:xfrm>
              <a:off x="357569" y="1821246"/>
              <a:ext cx="3765896" cy="2982640"/>
              <a:chOff x="1487" y="1274"/>
              <a:chExt cx="2410" cy="1904"/>
            </a:xfrm>
            <a:solidFill>
              <a:schemeClr val="accent2"/>
            </a:solidFill>
            <a:effectLst>
              <a:outerShdw blurRad="88900" dist="38100" dir="2700000" algn="tl" rotWithShape="0">
                <a:prstClr val="black">
                  <a:alpha val="40000"/>
                </a:prstClr>
              </a:outerShdw>
            </a:effectLst>
          </p:grpSpPr>
          <p:sp>
            <p:nvSpPr>
              <p:cNvPr id="13" name="Freeform 6"/>
              <p:cNvSpPr>
                <a:spLocks noEditPoints="1"/>
              </p:cNvSpPr>
              <p:nvPr>
                <p:custDataLst>
                  <p:tags r:id="rId3"/>
                </p:custDataLst>
              </p:nvPr>
            </p:nvSpPr>
            <p:spPr bwMode="gray">
              <a:xfrm>
                <a:off x="1667" y="2516"/>
                <a:ext cx="932" cy="662"/>
              </a:xfrm>
              <a:custGeom>
                <a:avLst/>
                <a:gdLst>
                  <a:gd name="T0" fmla="*/ 30386 w 1678"/>
                  <a:gd name="T1" fmla="*/ 63841 h 1190"/>
                  <a:gd name="T2" fmla="*/ 94590 w 1678"/>
                  <a:gd name="T3" fmla="*/ 10804 h 1190"/>
                  <a:gd name="T4" fmla="*/ 149971 w 1678"/>
                  <a:gd name="T5" fmla="*/ 105583 h 1190"/>
                  <a:gd name="T6" fmla="*/ 169575 w 1678"/>
                  <a:gd name="T7" fmla="*/ 172371 h 1190"/>
                  <a:gd name="T8" fmla="*/ 191630 w 1678"/>
                  <a:gd name="T9" fmla="*/ 192015 h 1190"/>
                  <a:gd name="T10" fmla="*/ 211234 w 1678"/>
                  <a:gd name="T11" fmla="*/ 217060 h 1190"/>
                  <a:gd name="T12" fmla="*/ 208293 w 1678"/>
                  <a:gd name="T13" fmla="*/ 255856 h 1190"/>
                  <a:gd name="T14" fmla="*/ 233288 w 1678"/>
                  <a:gd name="T15" fmla="*/ 267151 h 1190"/>
                  <a:gd name="T16" fmla="*/ 297492 w 1678"/>
                  <a:gd name="T17" fmla="*/ 236213 h 1190"/>
                  <a:gd name="T18" fmla="*/ 302883 w 1678"/>
                  <a:gd name="T19" fmla="*/ 294652 h 1190"/>
                  <a:gd name="T20" fmla="*/ 372477 w 1678"/>
                  <a:gd name="T21" fmla="*/ 330992 h 1190"/>
                  <a:gd name="T22" fmla="*/ 444522 w 1678"/>
                  <a:gd name="T23" fmla="*/ 264205 h 1190"/>
                  <a:gd name="T24" fmla="*/ 519508 w 1678"/>
                  <a:gd name="T25" fmla="*/ 242106 h 1190"/>
                  <a:gd name="T26" fmla="*/ 552835 w 1678"/>
                  <a:gd name="T27" fmla="*/ 192015 h 1190"/>
                  <a:gd name="T28" fmla="*/ 636152 w 1678"/>
                  <a:gd name="T29" fmla="*/ 189068 h 1190"/>
                  <a:gd name="T30" fmla="*/ 733682 w 1678"/>
                  <a:gd name="T31" fmla="*/ 169425 h 1190"/>
                  <a:gd name="T32" fmla="*/ 789064 w 1678"/>
                  <a:gd name="T33" fmla="*/ 169425 h 1190"/>
                  <a:gd name="T34" fmla="*/ 808668 w 1678"/>
                  <a:gd name="T35" fmla="*/ 208712 h 1190"/>
                  <a:gd name="T36" fmla="*/ 761128 w 1678"/>
                  <a:gd name="T37" fmla="*/ 233757 h 1190"/>
                  <a:gd name="T38" fmla="*/ 694474 w 1678"/>
                  <a:gd name="T39" fmla="*/ 294652 h 1190"/>
                  <a:gd name="T40" fmla="*/ 672420 w 1678"/>
                  <a:gd name="T41" fmla="*/ 325591 h 1190"/>
                  <a:gd name="T42" fmla="*/ 647425 w 1678"/>
                  <a:gd name="T43" fmla="*/ 394833 h 1190"/>
                  <a:gd name="T44" fmla="*/ 711138 w 1678"/>
                  <a:gd name="T45" fmla="*/ 439522 h 1190"/>
                  <a:gd name="T46" fmla="*/ 730741 w 1678"/>
                  <a:gd name="T47" fmla="*/ 470461 h 1190"/>
                  <a:gd name="T48" fmla="*/ 711138 w 1678"/>
                  <a:gd name="T49" fmla="*/ 487158 h 1190"/>
                  <a:gd name="T50" fmla="*/ 664088 w 1678"/>
                  <a:gd name="T51" fmla="*/ 481265 h 1190"/>
                  <a:gd name="T52" fmla="*/ 661147 w 1678"/>
                  <a:gd name="T53" fmla="*/ 481265 h 1190"/>
                  <a:gd name="T54" fmla="*/ 602825 w 1678"/>
                  <a:gd name="T55" fmla="*/ 472916 h 1190"/>
                  <a:gd name="T56" fmla="*/ 564107 w 1678"/>
                  <a:gd name="T57" fmla="*/ 478810 h 1190"/>
                  <a:gd name="T58" fmla="*/ 541563 w 1678"/>
                  <a:gd name="T59" fmla="*/ 500908 h 1190"/>
                  <a:gd name="T60" fmla="*/ 511176 w 1678"/>
                  <a:gd name="T61" fmla="*/ 517605 h 1190"/>
                  <a:gd name="T62" fmla="*/ 477849 w 1678"/>
                  <a:gd name="T63" fmla="*/ 520552 h 1190"/>
                  <a:gd name="T64" fmla="*/ 441581 w 1678"/>
                  <a:gd name="T65" fmla="*/ 531356 h 1190"/>
                  <a:gd name="T66" fmla="*/ 391591 w 1678"/>
                  <a:gd name="T67" fmla="*/ 520552 h 1190"/>
                  <a:gd name="T68" fmla="*/ 377868 w 1678"/>
                  <a:gd name="T69" fmla="*/ 534302 h 1190"/>
                  <a:gd name="T70" fmla="*/ 327878 w 1678"/>
                  <a:gd name="T71" fmla="*/ 548053 h 1190"/>
                  <a:gd name="T72" fmla="*/ 280828 w 1678"/>
                  <a:gd name="T73" fmla="*/ 573098 h 1190"/>
                  <a:gd name="T74" fmla="*/ 249952 w 1678"/>
                  <a:gd name="T75" fmla="*/ 573098 h 1190"/>
                  <a:gd name="T76" fmla="*/ 219565 w 1678"/>
                  <a:gd name="T77" fmla="*/ 567696 h 1190"/>
                  <a:gd name="T78" fmla="*/ 186238 w 1678"/>
                  <a:gd name="T79" fmla="*/ 556401 h 1190"/>
                  <a:gd name="T80" fmla="*/ 169575 w 1678"/>
                  <a:gd name="T81" fmla="*/ 528900 h 1190"/>
                  <a:gd name="T82" fmla="*/ 166635 w 1678"/>
                  <a:gd name="T83" fmla="*/ 514659 h 1190"/>
                  <a:gd name="T84" fmla="*/ 133308 w 1678"/>
                  <a:gd name="T85" fmla="*/ 523007 h 1190"/>
                  <a:gd name="T86" fmla="*/ 130367 w 1678"/>
                  <a:gd name="T87" fmla="*/ 506310 h 1190"/>
                  <a:gd name="T88" fmla="*/ 99981 w 1678"/>
                  <a:gd name="T89" fmla="*/ 481265 h 1190"/>
                  <a:gd name="T90" fmla="*/ 83317 w 1678"/>
                  <a:gd name="T91" fmla="*/ 503855 h 1190"/>
                  <a:gd name="T92" fmla="*/ 69595 w 1678"/>
                  <a:gd name="T93" fmla="*/ 509257 h 1190"/>
                  <a:gd name="T94" fmla="*/ 69595 w 1678"/>
                  <a:gd name="T95" fmla="*/ 478810 h 1190"/>
                  <a:gd name="T96" fmla="*/ 83317 w 1678"/>
                  <a:gd name="T97" fmla="*/ 459166 h 1190"/>
                  <a:gd name="T98" fmla="*/ 72045 w 1678"/>
                  <a:gd name="T99" fmla="*/ 419879 h 1190"/>
                  <a:gd name="T100" fmla="*/ 44599 w 1678"/>
                  <a:gd name="T101" fmla="*/ 378137 h 1190"/>
                  <a:gd name="T102" fmla="*/ 27936 w 1678"/>
                  <a:gd name="T103" fmla="*/ 350636 h 1190"/>
                  <a:gd name="T104" fmla="*/ 30386 w 1678"/>
                  <a:gd name="T105" fmla="*/ 356038 h 1190"/>
                  <a:gd name="T106" fmla="*/ 13723 w 1678"/>
                  <a:gd name="T107" fmla="*/ 344743 h 1190"/>
                  <a:gd name="T108" fmla="*/ 8332 w 1678"/>
                  <a:gd name="T109" fmla="*/ 317242 h 1190"/>
                  <a:gd name="T110" fmla="*/ 30386 w 1678"/>
                  <a:gd name="T111" fmla="*/ 305947 h 1190"/>
                  <a:gd name="T112" fmla="*/ 63713 w 1678"/>
                  <a:gd name="T113" fmla="*/ 289250 h 1190"/>
                  <a:gd name="T114" fmla="*/ 66654 w 1678"/>
                  <a:gd name="T115" fmla="*/ 219516 h 1190"/>
                  <a:gd name="T116" fmla="*/ 61263 w 1678"/>
                  <a:gd name="T117" fmla="*/ 183667 h 1190"/>
                  <a:gd name="T118" fmla="*/ 41658 w 1678"/>
                  <a:gd name="T119" fmla="*/ 147326 h 1190"/>
                  <a:gd name="T120" fmla="*/ 5391 w 1678"/>
                  <a:gd name="T121" fmla="*/ 105583 h 11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678" h="1190">
                    <a:moveTo>
                      <a:pt x="74" y="810"/>
                    </a:moveTo>
                    <a:lnTo>
                      <a:pt x="68" y="804"/>
                    </a:lnTo>
                    <a:lnTo>
                      <a:pt x="74" y="804"/>
                    </a:lnTo>
                    <a:lnTo>
                      <a:pt x="74" y="810"/>
                    </a:lnTo>
                    <a:close/>
                    <a:moveTo>
                      <a:pt x="147" y="912"/>
                    </a:moveTo>
                    <a:lnTo>
                      <a:pt x="142" y="912"/>
                    </a:lnTo>
                    <a:lnTo>
                      <a:pt x="142" y="907"/>
                    </a:lnTo>
                    <a:lnTo>
                      <a:pt x="147" y="907"/>
                    </a:lnTo>
                    <a:lnTo>
                      <a:pt x="147" y="912"/>
                    </a:lnTo>
                    <a:close/>
                    <a:moveTo>
                      <a:pt x="0" y="192"/>
                    </a:moveTo>
                    <a:lnTo>
                      <a:pt x="17" y="198"/>
                    </a:lnTo>
                    <a:lnTo>
                      <a:pt x="11" y="175"/>
                    </a:lnTo>
                    <a:lnTo>
                      <a:pt x="40" y="153"/>
                    </a:lnTo>
                    <a:lnTo>
                      <a:pt x="28" y="136"/>
                    </a:lnTo>
                    <a:lnTo>
                      <a:pt x="62" y="130"/>
                    </a:lnTo>
                    <a:lnTo>
                      <a:pt x="62" y="96"/>
                    </a:lnTo>
                    <a:lnTo>
                      <a:pt x="74" y="96"/>
                    </a:lnTo>
                    <a:lnTo>
                      <a:pt x="79" y="96"/>
                    </a:lnTo>
                    <a:lnTo>
                      <a:pt x="85" y="96"/>
                    </a:lnTo>
                    <a:lnTo>
                      <a:pt x="91" y="102"/>
                    </a:lnTo>
                    <a:lnTo>
                      <a:pt x="108" y="113"/>
                    </a:lnTo>
                    <a:lnTo>
                      <a:pt x="119" y="102"/>
                    </a:lnTo>
                    <a:lnTo>
                      <a:pt x="130" y="102"/>
                    </a:lnTo>
                    <a:lnTo>
                      <a:pt x="147" y="85"/>
                    </a:lnTo>
                    <a:lnTo>
                      <a:pt x="159" y="62"/>
                    </a:lnTo>
                    <a:lnTo>
                      <a:pt x="164" y="39"/>
                    </a:lnTo>
                    <a:lnTo>
                      <a:pt x="170" y="22"/>
                    </a:lnTo>
                    <a:lnTo>
                      <a:pt x="170" y="5"/>
                    </a:lnTo>
                    <a:lnTo>
                      <a:pt x="198" y="39"/>
                    </a:lnTo>
                    <a:lnTo>
                      <a:pt x="193" y="22"/>
                    </a:lnTo>
                    <a:lnTo>
                      <a:pt x="193" y="5"/>
                    </a:lnTo>
                    <a:lnTo>
                      <a:pt x="215" y="0"/>
                    </a:lnTo>
                    <a:lnTo>
                      <a:pt x="238" y="34"/>
                    </a:lnTo>
                    <a:lnTo>
                      <a:pt x="261" y="39"/>
                    </a:lnTo>
                    <a:lnTo>
                      <a:pt x="272" y="51"/>
                    </a:lnTo>
                    <a:lnTo>
                      <a:pt x="266" y="62"/>
                    </a:lnTo>
                    <a:lnTo>
                      <a:pt x="289" y="79"/>
                    </a:lnTo>
                    <a:lnTo>
                      <a:pt x="312" y="79"/>
                    </a:lnTo>
                    <a:lnTo>
                      <a:pt x="317" y="119"/>
                    </a:lnTo>
                    <a:lnTo>
                      <a:pt x="295" y="124"/>
                    </a:lnTo>
                    <a:lnTo>
                      <a:pt x="317" y="136"/>
                    </a:lnTo>
                    <a:lnTo>
                      <a:pt x="300" y="147"/>
                    </a:lnTo>
                    <a:lnTo>
                      <a:pt x="295" y="164"/>
                    </a:lnTo>
                    <a:lnTo>
                      <a:pt x="312" y="187"/>
                    </a:lnTo>
                    <a:lnTo>
                      <a:pt x="306" y="215"/>
                    </a:lnTo>
                    <a:lnTo>
                      <a:pt x="312" y="226"/>
                    </a:lnTo>
                    <a:lnTo>
                      <a:pt x="329" y="232"/>
                    </a:lnTo>
                    <a:lnTo>
                      <a:pt x="317" y="243"/>
                    </a:lnTo>
                    <a:lnTo>
                      <a:pt x="329" y="255"/>
                    </a:lnTo>
                    <a:lnTo>
                      <a:pt x="329" y="272"/>
                    </a:lnTo>
                    <a:lnTo>
                      <a:pt x="323" y="289"/>
                    </a:lnTo>
                    <a:lnTo>
                      <a:pt x="340" y="294"/>
                    </a:lnTo>
                    <a:lnTo>
                      <a:pt x="334" y="300"/>
                    </a:lnTo>
                    <a:lnTo>
                      <a:pt x="340" y="306"/>
                    </a:lnTo>
                    <a:lnTo>
                      <a:pt x="346" y="311"/>
                    </a:lnTo>
                    <a:lnTo>
                      <a:pt x="340" y="311"/>
                    </a:lnTo>
                    <a:lnTo>
                      <a:pt x="340" y="328"/>
                    </a:lnTo>
                    <a:lnTo>
                      <a:pt x="334" y="328"/>
                    </a:lnTo>
                    <a:lnTo>
                      <a:pt x="340" y="345"/>
                    </a:lnTo>
                    <a:lnTo>
                      <a:pt x="346" y="351"/>
                    </a:lnTo>
                    <a:lnTo>
                      <a:pt x="346" y="357"/>
                    </a:lnTo>
                    <a:lnTo>
                      <a:pt x="340" y="362"/>
                    </a:lnTo>
                    <a:lnTo>
                      <a:pt x="340" y="368"/>
                    </a:lnTo>
                    <a:lnTo>
                      <a:pt x="329" y="379"/>
                    </a:lnTo>
                    <a:lnTo>
                      <a:pt x="329" y="396"/>
                    </a:lnTo>
                    <a:lnTo>
                      <a:pt x="334" y="396"/>
                    </a:lnTo>
                    <a:lnTo>
                      <a:pt x="340" y="396"/>
                    </a:lnTo>
                    <a:lnTo>
                      <a:pt x="346" y="396"/>
                    </a:lnTo>
                    <a:lnTo>
                      <a:pt x="351" y="396"/>
                    </a:lnTo>
                    <a:lnTo>
                      <a:pt x="351" y="402"/>
                    </a:lnTo>
                    <a:lnTo>
                      <a:pt x="357" y="402"/>
                    </a:lnTo>
                    <a:lnTo>
                      <a:pt x="363" y="402"/>
                    </a:lnTo>
                    <a:lnTo>
                      <a:pt x="368" y="402"/>
                    </a:lnTo>
                    <a:lnTo>
                      <a:pt x="368" y="408"/>
                    </a:lnTo>
                    <a:lnTo>
                      <a:pt x="391" y="391"/>
                    </a:lnTo>
                    <a:lnTo>
                      <a:pt x="391" y="396"/>
                    </a:lnTo>
                    <a:lnTo>
                      <a:pt x="385" y="402"/>
                    </a:lnTo>
                    <a:lnTo>
                      <a:pt x="385" y="408"/>
                    </a:lnTo>
                    <a:lnTo>
                      <a:pt x="385" y="413"/>
                    </a:lnTo>
                    <a:lnTo>
                      <a:pt x="391" y="413"/>
                    </a:lnTo>
                    <a:lnTo>
                      <a:pt x="397" y="419"/>
                    </a:lnTo>
                    <a:lnTo>
                      <a:pt x="402" y="425"/>
                    </a:lnTo>
                    <a:lnTo>
                      <a:pt x="402" y="430"/>
                    </a:lnTo>
                    <a:lnTo>
                      <a:pt x="408" y="436"/>
                    </a:lnTo>
                    <a:lnTo>
                      <a:pt x="408" y="430"/>
                    </a:lnTo>
                    <a:lnTo>
                      <a:pt x="414" y="436"/>
                    </a:lnTo>
                    <a:lnTo>
                      <a:pt x="419" y="436"/>
                    </a:lnTo>
                    <a:lnTo>
                      <a:pt x="425" y="436"/>
                    </a:lnTo>
                    <a:lnTo>
                      <a:pt x="431" y="436"/>
                    </a:lnTo>
                    <a:lnTo>
                      <a:pt x="431" y="442"/>
                    </a:lnTo>
                    <a:lnTo>
                      <a:pt x="436" y="442"/>
                    </a:lnTo>
                    <a:lnTo>
                      <a:pt x="436" y="447"/>
                    </a:lnTo>
                    <a:lnTo>
                      <a:pt x="442" y="447"/>
                    </a:lnTo>
                    <a:lnTo>
                      <a:pt x="448" y="447"/>
                    </a:lnTo>
                    <a:lnTo>
                      <a:pt x="442" y="453"/>
                    </a:lnTo>
                    <a:lnTo>
                      <a:pt x="442" y="459"/>
                    </a:lnTo>
                    <a:lnTo>
                      <a:pt x="442" y="464"/>
                    </a:lnTo>
                    <a:lnTo>
                      <a:pt x="442" y="470"/>
                    </a:lnTo>
                    <a:lnTo>
                      <a:pt x="448" y="476"/>
                    </a:lnTo>
                    <a:lnTo>
                      <a:pt x="448" y="481"/>
                    </a:lnTo>
                    <a:lnTo>
                      <a:pt x="448" y="487"/>
                    </a:lnTo>
                    <a:lnTo>
                      <a:pt x="448" y="493"/>
                    </a:lnTo>
                    <a:lnTo>
                      <a:pt x="431" y="498"/>
                    </a:lnTo>
                    <a:lnTo>
                      <a:pt x="419" y="504"/>
                    </a:lnTo>
                    <a:lnTo>
                      <a:pt x="425" y="521"/>
                    </a:lnTo>
                    <a:lnTo>
                      <a:pt x="431" y="527"/>
                    </a:lnTo>
                    <a:lnTo>
                      <a:pt x="431" y="532"/>
                    </a:lnTo>
                    <a:lnTo>
                      <a:pt x="436" y="532"/>
                    </a:lnTo>
                    <a:lnTo>
                      <a:pt x="436" y="538"/>
                    </a:lnTo>
                    <a:lnTo>
                      <a:pt x="442" y="544"/>
                    </a:lnTo>
                    <a:lnTo>
                      <a:pt x="442" y="549"/>
                    </a:lnTo>
                    <a:lnTo>
                      <a:pt x="448" y="549"/>
                    </a:lnTo>
                    <a:lnTo>
                      <a:pt x="442" y="583"/>
                    </a:lnTo>
                    <a:lnTo>
                      <a:pt x="453" y="600"/>
                    </a:lnTo>
                    <a:lnTo>
                      <a:pt x="470" y="589"/>
                    </a:lnTo>
                    <a:lnTo>
                      <a:pt x="470" y="583"/>
                    </a:lnTo>
                    <a:lnTo>
                      <a:pt x="465" y="578"/>
                    </a:lnTo>
                    <a:lnTo>
                      <a:pt x="465" y="572"/>
                    </a:lnTo>
                    <a:lnTo>
                      <a:pt x="476" y="555"/>
                    </a:lnTo>
                    <a:lnTo>
                      <a:pt x="476" y="544"/>
                    </a:lnTo>
                    <a:lnTo>
                      <a:pt x="482" y="538"/>
                    </a:lnTo>
                    <a:lnTo>
                      <a:pt x="487" y="549"/>
                    </a:lnTo>
                    <a:lnTo>
                      <a:pt x="499" y="544"/>
                    </a:lnTo>
                    <a:lnTo>
                      <a:pt x="499" y="538"/>
                    </a:lnTo>
                    <a:lnTo>
                      <a:pt x="505" y="532"/>
                    </a:lnTo>
                    <a:lnTo>
                      <a:pt x="510" y="538"/>
                    </a:lnTo>
                    <a:lnTo>
                      <a:pt x="522" y="527"/>
                    </a:lnTo>
                    <a:lnTo>
                      <a:pt x="527" y="521"/>
                    </a:lnTo>
                    <a:lnTo>
                      <a:pt x="539" y="521"/>
                    </a:lnTo>
                    <a:lnTo>
                      <a:pt x="539" y="527"/>
                    </a:lnTo>
                    <a:lnTo>
                      <a:pt x="556" y="527"/>
                    </a:lnTo>
                    <a:lnTo>
                      <a:pt x="584" y="504"/>
                    </a:lnTo>
                    <a:lnTo>
                      <a:pt x="590" y="493"/>
                    </a:lnTo>
                    <a:lnTo>
                      <a:pt x="601" y="493"/>
                    </a:lnTo>
                    <a:lnTo>
                      <a:pt x="607" y="481"/>
                    </a:lnTo>
                    <a:lnTo>
                      <a:pt x="618" y="476"/>
                    </a:lnTo>
                    <a:lnTo>
                      <a:pt x="624" y="470"/>
                    </a:lnTo>
                    <a:lnTo>
                      <a:pt x="629" y="476"/>
                    </a:lnTo>
                    <a:lnTo>
                      <a:pt x="629" y="481"/>
                    </a:lnTo>
                    <a:lnTo>
                      <a:pt x="635" y="487"/>
                    </a:lnTo>
                    <a:lnTo>
                      <a:pt x="641" y="504"/>
                    </a:lnTo>
                    <a:lnTo>
                      <a:pt x="635" y="504"/>
                    </a:lnTo>
                    <a:lnTo>
                      <a:pt x="612" y="515"/>
                    </a:lnTo>
                    <a:lnTo>
                      <a:pt x="618" y="527"/>
                    </a:lnTo>
                    <a:lnTo>
                      <a:pt x="607" y="532"/>
                    </a:lnTo>
                    <a:lnTo>
                      <a:pt x="595" y="527"/>
                    </a:lnTo>
                    <a:lnTo>
                      <a:pt x="595" y="544"/>
                    </a:lnTo>
                    <a:lnTo>
                      <a:pt x="601" y="561"/>
                    </a:lnTo>
                    <a:lnTo>
                      <a:pt x="607" y="595"/>
                    </a:lnTo>
                    <a:lnTo>
                      <a:pt x="618" y="600"/>
                    </a:lnTo>
                    <a:lnTo>
                      <a:pt x="624" y="606"/>
                    </a:lnTo>
                    <a:lnTo>
                      <a:pt x="624" y="629"/>
                    </a:lnTo>
                    <a:lnTo>
                      <a:pt x="629" y="634"/>
                    </a:lnTo>
                    <a:lnTo>
                      <a:pt x="635" y="634"/>
                    </a:lnTo>
                    <a:lnTo>
                      <a:pt x="646" y="634"/>
                    </a:lnTo>
                    <a:lnTo>
                      <a:pt x="658" y="651"/>
                    </a:lnTo>
                    <a:lnTo>
                      <a:pt x="663" y="657"/>
                    </a:lnTo>
                    <a:lnTo>
                      <a:pt x="663" y="668"/>
                    </a:lnTo>
                    <a:lnTo>
                      <a:pt x="675" y="668"/>
                    </a:lnTo>
                    <a:lnTo>
                      <a:pt x="686" y="674"/>
                    </a:lnTo>
                    <a:lnTo>
                      <a:pt x="703" y="674"/>
                    </a:lnTo>
                    <a:lnTo>
                      <a:pt x="720" y="663"/>
                    </a:lnTo>
                    <a:lnTo>
                      <a:pt x="731" y="674"/>
                    </a:lnTo>
                    <a:lnTo>
                      <a:pt x="743" y="674"/>
                    </a:lnTo>
                    <a:lnTo>
                      <a:pt x="760" y="674"/>
                    </a:lnTo>
                    <a:lnTo>
                      <a:pt x="765" y="668"/>
                    </a:lnTo>
                    <a:lnTo>
                      <a:pt x="782" y="663"/>
                    </a:lnTo>
                    <a:lnTo>
                      <a:pt x="788" y="640"/>
                    </a:lnTo>
                    <a:lnTo>
                      <a:pt x="788" y="623"/>
                    </a:lnTo>
                    <a:lnTo>
                      <a:pt x="782" y="617"/>
                    </a:lnTo>
                    <a:lnTo>
                      <a:pt x="782" y="612"/>
                    </a:lnTo>
                    <a:lnTo>
                      <a:pt x="794" y="606"/>
                    </a:lnTo>
                    <a:lnTo>
                      <a:pt x="828" y="595"/>
                    </a:lnTo>
                    <a:lnTo>
                      <a:pt x="839" y="600"/>
                    </a:lnTo>
                    <a:lnTo>
                      <a:pt x="879" y="589"/>
                    </a:lnTo>
                    <a:lnTo>
                      <a:pt x="873" y="578"/>
                    </a:lnTo>
                    <a:lnTo>
                      <a:pt x="884" y="561"/>
                    </a:lnTo>
                    <a:lnTo>
                      <a:pt x="890" y="549"/>
                    </a:lnTo>
                    <a:lnTo>
                      <a:pt x="901" y="544"/>
                    </a:lnTo>
                    <a:lnTo>
                      <a:pt x="907" y="538"/>
                    </a:lnTo>
                    <a:lnTo>
                      <a:pt x="913" y="532"/>
                    </a:lnTo>
                    <a:lnTo>
                      <a:pt x="913" y="521"/>
                    </a:lnTo>
                    <a:lnTo>
                      <a:pt x="924" y="527"/>
                    </a:lnTo>
                    <a:lnTo>
                      <a:pt x="941" y="521"/>
                    </a:lnTo>
                    <a:lnTo>
                      <a:pt x="947" y="521"/>
                    </a:lnTo>
                    <a:lnTo>
                      <a:pt x="958" y="510"/>
                    </a:lnTo>
                    <a:lnTo>
                      <a:pt x="964" y="510"/>
                    </a:lnTo>
                    <a:lnTo>
                      <a:pt x="981" y="504"/>
                    </a:lnTo>
                    <a:lnTo>
                      <a:pt x="981" y="487"/>
                    </a:lnTo>
                    <a:lnTo>
                      <a:pt x="998" y="476"/>
                    </a:lnTo>
                    <a:lnTo>
                      <a:pt x="1015" y="487"/>
                    </a:lnTo>
                    <a:lnTo>
                      <a:pt x="1026" y="476"/>
                    </a:lnTo>
                    <a:lnTo>
                      <a:pt x="1037" y="481"/>
                    </a:lnTo>
                    <a:lnTo>
                      <a:pt x="1037" y="487"/>
                    </a:lnTo>
                    <a:lnTo>
                      <a:pt x="1060" y="493"/>
                    </a:lnTo>
                    <a:lnTo>
                      <a:pt x="1077" y="493"/>
                    </a:lnTo>
                    <a:lnTo>
                      <a:pt x="1083" y="481"/>
                    </a:lnTo>
                    <a:lnTo>
                      <a:pt x="1100" y="476"/>
                    </a:lnTo>
                    <a:lnTo>
                      <a:pt x="1100" y="453"/>
                    </a:lnTo>
                    <a:lnTo>
                      <a:pt x="1117" y="442"/>
                    </a:lnTo>
                    <a:lnTo>
                      <a:pt x="1122" y="459"/>
                    </a:lnTo>
                    <a:lnTo>
                      <a:pt x="1134" y="436"/>
                    </a:lnTo>
                    <a:lnTo>
                      <a:pt x="1122" y="430"/>
                    </a:lnTo>
                    <a:lnTo>
                      <a:pt x="1122" y="425"/>
                    </a:lnTo>
                    <a:lnTo>
                      <a:pt x="1122" y="419"/>
                    </a:lnTo>
                    <a:lnTo>
                      <a:pt x="1122" y="413"/>
                    </a:lnTo>
                    <a:lnTo>
                      <a:pt x="1117" y="402"/>
                    </a:lnTo>
                    <a:lnTo>
                      <a:pt x="1122" y="402"/>
                    </a:lnTo>
                    <a:lnTo>
                      <a:pt x="1128" y="396"/>
                    </a:lnTo>
                    <a:lnTo>
                      <a:pt x="1128" y="391"/>
                    </a:lnTo>
                    <a:lnTo>
                      <a:pt x="1122" y="385"/>
                    </a:lnTo>
                    <a:lnTo>
                      <a:pt x="1145" y="391"/>
                    </a:lnTo>
                    <a:lnTo>
                      <a:pt x="1145" y="362"/>
                    </a:lnTo>
                    <a:lnTo>
                      <a:pt x="1162" y="345"/>
                    </a:lnTo>
                    <a:lnTo>
                      <a:pt x="1168" y="328"/>
                    </a:lnTo>
                    <a:lnTo>
                      <a:pt x="1173" y="311"/>
                    </a:lnTo>
                    <a:lnTo>
                      <a:pt x="1179" y="311"/>
                    </a:lnTo>
                    <a:lnTo>
                      <a:pt x="1224" y="334"/>
                    </a:lnTo>
                    <a:lnTo>
                      <a:pt x="1247" y="334"/>
                    </a:lnTo>
                    <a:lnTo>
                      <a:pt x="1247" y="345"/>
                    </a:lnTo>
                    <a:lnTo>
                      <a:pt x="1258" y="351"/>
                    </a:lnTo>
                    <a:lnTo>
                      <a:pt x="1247" y="368"/>
                    </a:lnTo>
                    <a:lnTo>
                      <a:pt x="1264" y="374"/>
                    </a:lnTo>
                    <a:lnTo>
                      <a:pt x="1292" y="374"/>
                    </a:lnTo>
                    <a:lnTo>
                      <a:pt x="1298" y="385"/>
                    </a:lnTo>
                    <a:lnTo>
                      <a:pt x="1321" y="379"/>
                    </a:lnTo>
                    <a:lnTo>
                      <a:pt x="1321" y="385"/>
                    </a:lnTo>
                    <a:lnTo>
                      <a:pt x="1332" y="391"/>
                    </a:lnTo>
                    <a:lnTo>
                      <a:pt x="1349" y="385"/>
                    </a:lnTo>
                    <a:lnTo>
                      <a:pt x="1372" y="391"/>
                    </a:lnTo>
                    <a:lnTo>
                      <a:pt x="1372" y="402"/>
                    </a:lnTo>
                    <a:lnTo>
                      <a:pt x="1377" y="419"/>
                    </a:lnTo>
                    <a:lnTo>
                      <a:pt x="1417" y="391"/>
                    </a:lnTo>
                    <a:lnTo>
                      <a:pt x="1417" y="379"/>
                    </a:lnTo>
                    <a:lnTo>
                      <a:pt x="1429" y="374"/>
                    </a:lnTo>
                    <a:lnTo>
                      <a:pt x="1434" y="357"/>
                    </a:lnTo>
                    <a:lnTo>
                      <a:pt x="1446" y="345"/>
                    </a:lnTo>
                    <a:lnTo>
                      <a:pt x="1468" y="345"/>
                    </a:lnTo>
                    <a:lnTo>
                      <a:pt x="1468" y="340"/>
                    </a:lnTo>
                    <a:lnTo>
                      <a:pt x="1497" y="345"/>
                    </a:lnTo>
                    <a:lnTo>
                      <a:pt x="1502" y="340"/>
                    </a:lnTo>
                    <a:lnTo>
                      <a:pt x="1514" y="340"/>
                    </a:lnTo>
                    <a:lnTo>
                      <a:pt x="1519" y="328"/>
                    </a:lnTo>
                    <a:lnTo>
                      <a:pt x="1525" y="334"/>
                    </a:lnTo>
                    <a:lnTo>
                      <a:pt x="1553" y="334"/>
                    </a:lnTo>
                    <a:lnTo>
                      <a:pt x="1553" y="340"/>
                    </a:lnTo>
                    <a:lnTo>
                      <a:pt x="1582" y="351"/>
                    </a:lnTo>
                    <a:lnTo>
                      <a:pt x="1582" y="357"/>
                    </a:lnTo>
                    <a:lnTo>
                      <a:pt x="1570" y="362"/>
                    </a:lnTo>
                    <a:lnTo>
                      <a:pt x="1582" y="368"/>
                    </a:lnTo>
                    <a:lnTo>
                      <a:pt x="1587" y="379"/>
                    </a:lnTo>
                    <a:lnTo>
                      <a:pt x="1593" y="374"/>
                    </a:lnTo>
                    <a:lnTo>
                      <a:pt x="1599" y="368"/>
                    </a:lnTo>
                    <a:lnTo>
                      <a:pt x="1610" y="362"/>
                    </a:lnTo>
                    <a:lnTo>
                      <a:pt x="1610" y="345"/>
                    </a:lnTo>
                    <a:lnTo>
                      <a:pt x="1633" y="345"/>
                    </a:lnTo>
                    <a:lnTo>
                      <a:pt x="1627" y="351"/>
                    </a:lnTo>
                    <a:lnTo>
                      <a:pt x="1638" y="368"/>
                    </a:lnTo>
                    <a:lnTo>
                      <a:pt x="1661" y="368"/>
                    </a:lnTo>
                    <a:lnTo>
                      <a:pt x="1667" y="374"/>
                    </a:lnTo>
                    <a:lnTo>
                      <a:pt x="1661" y="374"/>
                    </a:lnTo>
                    <a:lnTo>
                      <a:pt x="1661" y="385"/>
                    </a:lnTo>
                    <a:lnTo>
                      <a:pt x="1655" y="385"/>
                    </a:lnTo>
                    <a:lnTo>
                      <a:pt x="1650" y="396"/>
                    </a:lnTo>
                    <a:lnTo>
                      <a:pt x="1661" y="396"/>
                    </a:lnTo>
                    <a:lnTo>
                      <a:pt x="1672" y="402"/>
                    </a:lnTo>
                    <a:lnTo>
                      <a:pt x="1672" y="408"/>
                    </a:lnTo>
                    <a:lnTo>
                      <a:pt x="1678" y="408"/>
                    </a:lnTo>
                    <a:lnTo>
                      <a:pt x="1661" y="425"/>
                    </a:lnTo>
                    <a:lnTo>
                      <a:pt x="1650" y="425"/>
                    </a:lnTo>
                    <a:lnTo>
                      <a:pt x="1650" y="430"/>
                    </a:lnTo>
                    <a:lnTo>
                      <a:pt x="1655" y="430"/>
                    </a:lnTo>
                    <a:lnTo>
                      <a:pt x="1655" y="436"/>
                    </a:lnTo>
                    <a:lnTo>
                      <a:pt x="1644" y="436"/>
                    </a:lnTo>
                    <a:lnTo>
                      <a:pt x="1644" y="447"/>
                    </a:lnTo>
                    <a:lnTo>
                      <a:pt x="1650" y="447"/>
                    </a:lnTo>
                    <a:lnTo>
                      <a:pt x="1650" y="459"/>
                    </a:lnTo>
                    <a:lnTo>
                      <a:pt x="1638" y="464"/>
                    </a:lnTo>
                    <a:lnTo>
                      <a:pt x="1627" y="464"/>
                    </a:lnTo>
                    <a:lnTo>
                      <a:pt x="1627" y="470"/>
                    </a:lnTo>
                    <a:lnTo>
                      <a:pt x="1587" y="493"/>
                    </a:lnTo>
                    <a:lnTo>
                      <a:pt x="1576" y="487"/>
                    </a:lnTo>
                    <a:lnTo>
                      <a:pt x="1570" y="481"/>
                    </a:lnTo>
                    <a:lnTo>
                      <a:pt x="1553" y="470"/>
                    </a:lnTo>
                    <a:lnTo>
                      <a:pt x="1553" y="476"/>
                    </a:lnTo>
                    <a:lnTo>
                      <a:pt x="1531" y="487"/>
                    </a:lnTo>
                    <a:lnTo>
                      <a:pt x="1525" y="504"/>
                    </a:lnTo>
                    <a:lnTo>
                      <a:pt x="1531" y="510"/>
                    </a:lnTo>
                    <a:lnTo>
                      <a:pt x="1525" y="515"/>
                    </a:lnTo>
                    <a:lnTo>
                      <a:pt x="1468" y="510"/>
                    </a:lnTo>
                    <a:lnTo>
                      <a:pt x="1457" y="527"/>
                    </a:lnTo>
                    <a:lnTo>
                      <a:pt x="1440" y="521"/>
                    </a:lnTo>
                    <a:lnTo>
                      <a:pt x="1440" y="527"/>
                    </a:lnTo>
                    <a:lnTo>
                      <a:pt x="1412" y="538"/>
                    </a:lnTo>
                    <a:lnTo>
                      <a:pt x="1417" y="549"/>
                    </a:lnTo>
                    <a:lnTo>
                      <a:pt x="1417" y="561"/>
                    </a:lnTo>
                    <a:lnTo>
                      <a:pt x="1429" y="566"/>
                    </a:lnTo>
                    <a:lnTo>
                      <a:pt x="1434" y="595"/>
                    </a:lnTo>
                    <a:lnTo>
                      <a:pt x="1429" y="600"/>
                    </a:lnTo>
                    <a:lnTo>
                      <a:pt x="1417" y="600"/>
                    </a:lnTo>
                    <a:lnTo>
                      <a:pt x="1440" y="612"/>
                    </a:lnTo>
                    <a:lnTo>
                      <a:pt x="1440" y="629"/>
                    </a:lnTo>
                    <a:lnTo>
                      <a:pt x="1451" y="629"/>
                    </a:lnTo>
                    <a:lnTo>
                      <a:pt x="1446" y="646"/>
                    </a:lnTo>
                    <a:lnTo>
                      <a:pt x="1423" y="640"/>
                    </a:lnTo>
                    <a:lnTo>
                      <a:pt x="1400" y="634"/>
                    </a:lnTo>
                    <a:lnTo>
                      <a:pt x="1383" y="651"/>
                    </a:lnTo>
                    <a:lnTo>
                      <a:pt x="1383" y="646"/>
                    </a:lnTo>
                    <a:lnTo>
                      <a:pt x="1377" y="646"/>
                    </a:lnTo>
                    <a:lnTo>
                      <a:pt x="1377" y="640"/>
                    </a:lnTo>
                    <a:lnTo>
                      <a:pt x="1377" y="634"/>
                    </a:lnTo>
                    <a:lnTo>
                      <a:pt x="1372" y="634"/>
                    </a:lnTo>
                    <a:lnTo>
                      <a:pt x="1372" y="629"/>
                    </a:lnTo>
                    <a:lnTo>
                      <a:pt x="1377" y="657"/>
                    </a:lnTo>
                    <a:lnTo>
                      <a:pt x="1372" y="663"/>
                    </a:lnTo>
                    <a:lnTo>
                      <a:pt x="1355" y="657"/>
                    </a:lnTo>
                    <a:lnTo>
                      <a:pt x="1349" y="668"/>
                    </a:lnTo>
                    <a:lnTo>
                      <a:pt x="1338" y="680"/>
                    </a:lnTo>
                    <a:lnTo>
                      <a:pt x="1338" y="691"/>
                    </a:lnTo>
                    <a:lnTo>
                      <a:pt x="1332" y="697"/>
                    </a:lnTo>
                    <a:lnTo>
                      <a:pt x="1338" y="702"/>
                    </a:lnTo>
                    <a:lnTo>
                      <a:pt x="1332" y="719"/>
                    </a:lnTo>
                    <a:lnTo>
                      <a:pt x="1321" y="731"/>
                    </a:lnTo>
                    <a:lnTo>
                      <a:pt x="1309" y="753"/>
                    </a:lnTo>
                    <a:lnTo>
                      <a:pt x="1304" y="753"/>
                    </a:lnTo>
                    <a:lnTo>
                      <a:pt x="1287" y="776"/>
                    </a:lnTo>
                    <a:lnTo>
                      <a:pt x="1281" y="782"/>
                    </a:lnTo>
                    <a:lnTo>
                      <a:pt x="1281" y="793"/>
                    </a:lnTo>
                    <a:lnTo>
                      <a:pt x="1281" y="799"/>
                    </a:lnTo>
                    <a:lnTo>
                      <a:pt x="1321" y="804"/>
                    </a:lnTo>
                    <a:lnTo>
                      <a:pt x="1360" y="799"/>
                    </a:lnTo>
                    <a:lnTo>
                      <a:pt x="1377" y="799"/>
                    </a:lnTo>
                    <a:lnTo>
                      <a:pt x="1423" y="799"/>
                    </a:lnTo>
                    <a:lnTo>
                      <a:pt x="1434" y="810"/>
                    </a:lnTo>
                    <a:lnTo>
                      <a:pt x="1474" y="810"/>
                    </a:lnTo>
                    <a:lnTo>
                      <a:pt x="1474" y="816"/>
                    </a:lnTo>
                    <a:lnTo>
                      <a:pt x="1497" y="827"/>
                    </a:lnTo>
                    <a:lnTo>
                      <a:pt x="1497" y="844"/>
                    </a:lnTo>
                    <a:lnTo>
                      <a:pt x="1519" y="861"/>
                    </a:lnTo>
                    <a:lnTo>
                      <a:pt x="1514" y="867"/>
                    </a:lnTo>
                    <a:lnTo>
                      <a:pt x="1491" y="873"/>
                    </a:lnTo>
                    <a:lnTo>
                      <a:pt x="1485" y="867"/>
                    </a:lnTo>
                    <a:lnTo>
                      <a:pt x="1480" y="878"/>
                    </a:lnTo>
                    <a:lnTo>
                      <a:pt x="1451" y="884"/>
                    </a:lnTo>
                    <a:lnTo>
                      <a:pt x="1451" y="895"/>
                    </a:lnTo>
                    <a:lnTo>
                      <a:pt x="1440" y="901"/>
                    </a:lnTo>
                    <a:lnTo>
                      <a:pt x="1468" y="907"/>
                    </a:lnTo>
                    <a:lnTo>
                      <a:pt x="1474" y="901"/>
                    </a:lnTo>
                    <a:lnTo>
                      <a:pt x="1485" y="901"/>
                    </a:lnTo>
                    <a:lnTo>
                      <a:pt x="1485" y="918"/>
                    </a:lnTo>
                    <a:lnTo>
                      <a:pt x="1525" y="929"/>
                    </a:lnTo>
                    <a:lnTo>
                      <a:pt x="1519" y="935"/>
                    </a:lnTo>
                    <a:lnTo>
                      <a:pt x="1514" y="935"/>
                    </a:lnTo>
                    <a:lnTo>
                      <a:pt x="1514" y="941"/>
                    </a:lnTo>
                    <a:lnTo>
                      <a:pt x="1508" y="941"/>
                    </a:lnTo>
                    <a:lnTo>
                      <a:pt x="1508" y="946"/>
                    </a:lnTo>
                    <a:lnTo>
                      <a:pt x="1508" y="952"/>
                    </a:lnTo>
                    <a:lnTo>
                      <a:pt x="1508" y="958"/>
                    </a:lnTo>
                    <a:lnTo>
                      <a:pt x="1497" y="958"/>
                    </a:lnTo>
                    <a:lnTo>
                      <a:pt x="1491" y="958"/>
                    </a:lnTo>
                    <a:lnTo>
                      <a:pt x="1485" y="958"/>
                    </a:lnTo>
                    <a:lnTo>
                      <a:pt x="1480" y="963"/>
                    </a:lnTo>
                    <a:lnTo>
                      <a:pt x="1474" y="963"/>
                    </a:lnTo>
                    <a:lnTo>
                      <a:pt x="1468" y="963"/>
                    </a:lnTo>
                    <a:lnTo>
                      <a:pt x="1463" y="963"/>
                    </a:lnTo>
                    <a:lnTo>
                      <a:pt x="1457" y="963"/>
                    </a:lnTo>
                    <a:lnTo>
                      <a:pt x="1451" y="963"/>
                    </a:lnTo>
                    <a:lnTo>
                      <a:pt x="1451" y="969"/>
                    </a:lnTo>
                    <a:lnTo>
                      <a:pt x="1446" y="969"/>
                    </a:lnTo>
                    <a:lnTo>
                      <a:pt x="1440" y="975"/>
                    </a:lnTo>
                    <a:lnTo>
                      <a:pt x="1440" y="980"/>
                    </a:lnTo>
                    <a:lnTo>
                      <a:pt x="1440" y="986"/>
                    </a:lnTo>
                    <a:lnTo>
                      <a:pt x="1446" y="986"/>
                    </a:lnTo>
                    <a:lnTo>
                      <a:pt x="1446" y="992"/>
                    </a:lnTo>
                    <a:lnTo>
                      <a:pt x="1451" y="992"/>
                    </a:lnTo>
                    <a:lnTo>
                      <a:pt x="1446" y="992"/>
                    </a:lnTo>
                    <a:lnTo>
                      <a:pt x="1440" y="986"/>
                    </a:lnTo>
                    <a:lnTo>
                      <a:pt x="1434" y="992"/>
                    </a:lnTo>
                    <a:lnTo>
                      <a:pt x="1429" y="986"/>
                    </a:lnTo>
                    <a:lnTo>
                      <a:pt x="1412" y="986"/>
                    </a:lnTo>
                    <a:lnTo>
                      <a:pt x="1406" y="986"/>
                    </a:lnTo>
                    <a:lnTo>
                      <a:pt x="1400" y="986"/>
                    </a:lnTo>
                    <a:lnTo>
                      <a:pt x="1395" y="986"/>
                    </a:lnTo>
                    <a:lnTo>
                      <a:pt x="1383" y="986"/>
                    </a:lnTo>
                    <a:lnTo>
                      <a:pt x="1377" y="986"/>
                    </a:lnTo>
                    <a:lnTo>
                      <a:pt x="1377" y="980"/>
                    </a:lnTo>
                    <a:lnTo>
                      <a:pt x="1366" y="986"/>
                    </a:lnTo>
                    <a:lnTo>
                      <a:pt x="1360" y="986"/>
                    </a:lnTo>
                    <a:lnTo>
                      <a:pt x="1360" y="980"/>
                    </a:lnTo>
                    <a:lnTo>
                      <a:pt x="1355" y="980"/>
                    </a:lnTo>
                    <a:lnTo>
                      <a:pt x="1360" y="980"/>
                    </a:lnTo>
                    <a:lnTo>
                      <a:pt x="1360" y="975"/>
                    </a:lnTo>
                    <a:lnTo>
                      <a:pt x="1355" y="975"/>
                    </a:lnTo>
                    <a:lnTo>
                      <a:pt x="1360" y="975"/>
                    </a:lnTo>
                    <a:lnTo>
                      <a:pt x="1355" y="975"/>
                    </a:lnTo>
                    <a:lnTo>
                      <a:pt x="1349" y="975"/>
                    </a:lnTo>
                    <a:lnTo>
                      <a:pt x="1343" y="975"/>
                    </a:lnTo>
                    <a:lnTo>
                      <a:pt x="1343" y="969"/>
                    </a:lnTo>
                    <a:lnTo>
                      <a:pt x="1338" y="969"/>
                    </a:lnTo>
                    <a:lnTo>
                      <a:pt x="1343" y="969"/>
                    </a:lnTo>
                    <a:lnTo>
                      <a:pt x="1343" y="975"/>
                    </a:lnTo>
                    <a:lnTo>
                      <a:pt x="1349" y="975"/>
                    </a:lnTo>
                    <a:lnTo>
                      <a:pt x="1355" y="980"/>
                    </a:lnTo>
                    <a:lnTo>
                      <a:pt x="1355" y="986"/>
                    </a:lnTo>
                    <a:lnTo>
                      <a:pt x="1349" y="980"/>
                    </a:lnTo>
                    <a:lnTo>
                      <a:pt x="1343" y="980"/>
                    </a:lnTo>
                    <a:lnTo>
                      <a:pt x="1338" y="980"/>
                    </a:lnTo>
                    <a:lnTo>
                      <a:pt x="1338" y="986"/>
                    </a:lnTo>
                    <a:lnTo>
                      <a:pt x="1332" y="986"/>
                    </a:lnTo>
                    <a:lnTo>
                      <a:pt x="1326" y="980"/>
                    </a:lnTo>
                    <a:lnTo>
                      <a:pt x="1315" y="975"/>
                    </a:lnTo>
                    <a:lnTo>
                      <a:pt x="1304" y="975"/>
                    </a:lnTo>
                    <a:lnTo>
                      <a:pt x="1292" y="969"/>
                    </a:lnTo>
                    <a:lnTo>
                      <a:pt x="1287" y="969"/>
                    </a:lnTo>
                    <a:lnTo>
                      <a:pt x="1281" y="969"/>
                    </a:lnTo>
                    <a:lnTo>
                      <a:pt x="1270" y="969"/>
                    </a:lnTo>
                    <a:lnTo>
                      <a:pt x="1253" y="963"/>
                    </a:lnTo>
                    <a:lnTo>
                      <a:pt x="1247" y="963"/>
                    </a:lnTo>
                    <a:lnTo>
                      <a:pt x="1241" y="963"/>
                    </a:lnTo>
                    <a:lnTo>
                      <a:pt x="1230" y="963"/>
                    </a:lnTo>
                    <a:lnTo>
                      <a:pt x="1224" y="969"/>
                    </a:lnTo>
                    <a:lnTo>
                      <a:pt x="1219" y="969"/>
                    </a:lnTo>
                    <a:lnTo>
                      <a:pt x="1213" y="975"/>
                    </a:lnTo>
                    <a:lnTo>
                      <a:pt x="1207" y="975"/>
                    </a:lnTo>
                    <a:lnTo>
                      <a:pt x="1202" y="975"/>
                    </a:lnTo>
                    <a:lnTo>
                      <a:pt x="1196" y="975"/>
                    </a:lnTo>
                    <a:lnTo>
                      <a:pt x="1190" y="980"/>
                    </a:lnTo>
                    <a:lnTo>
                      <a:pt x="1185" y="980"/>
                    </a:lnTo>
                    <a:lnTo>
                      <a:pt x="1185" y="975"/>
                    </a:lnTo>
                    <a:lnTo>
                      <a:pt x="1185" y="980"/>
                    </a:lnTo>
                    <a:lnTo>
                      <a:pt x="1179" y="980"/>
                    </a:lnTo>
                    <a:lnTo>
                      <a:pt x="1173" y="975"/>
                    </a:lnTo>
                    <a:lnTo>
                      <a:pt x="1168" y="975"/>
                    </a:lnTo>
                    <a:lnTo>
                      <a:pt x="1162" y="975"/>
                    </a:lnTo>
                    <a:lnTo>
                      <a:pt x="1151" y="975"/>
                    </a:lnTo>
                    <a:lnTo>
                      <a:pt x="1145" y="980"/>
                    </a:lnTo>
                    <a:lnTo>
                      <a:pt x="1128" y="980"/>
                    </a:lnTo>
                    <a:lnTo>
                      <a:pt x="1128" y="986"/>
                    </a:lnTo>
                    <a:lnTo>
                      <a:pt x="1122" y="986"/>
                    </a:lnTo>
                    <a:lnTo>
                      <a:pt x="1122" y="992"/>
                    </a:lnTo>
                    <a:lnTo>
                      <a:pt x="1117" y="992"/>
                    </a:lnTo>
                    <a:lnTo>
                      <a:pt x="1111" y="997"/>
                    </a:lnTo>
                    <a:lnTo>
                      <a:pt x="1111" y="1003"/>
                    </a:lnTo>
                    <a:lnTo>
                      <a:pt x="1117" y="1009"/>
                    </a:lnTo>
                    <a:lnTo>
                      <a:pt x="1122" y="1009"/>
                    </a:lnTo>
                    <a:lnTo>
                      <a:pt x="1122" y="1014"/>
                    </a:lnTo>
                    <a:lnTo>
                      <a:pt x="1117" y="1014"/>
                    </a:lnTo>
                    <a:lnTo>
                      <a:pt x="1111" y="1014"/>
                    </a:lnTo>
                    <a:lnTo>
                      <a:pt x="1105" y="1014"/>
                    </a:lnTo>
                    <a:lnTo>
                      <a:pt x="1105" y="1020"/>
                    </a:lnTo>
                    <a:lnTo>
                      <a:pt x="1100" y="1014"/>
                    </a:lnTo>
                    <a:lnTo>
                      <a:pt x="1094" y="1014"/>
                    </a:lnTo>
                    <a:lnTo>
                      <a:pt x="1088" y="1020"/>
                    </a:lnTo>
                    <a:lnTo>
                      <a:pt x="1077" y="1020"/>
                    </a:lnTo>
                    <a:lnTo>
                      <a:pt x="1071" y="1026"/>
                    </a:lnTo>
                    <a:lnTo>
                      <a:pt x="1066" y="1026"/>
                    </a:lnTo>
                    <a:lnTo>
                      <a:pt x="1066" y="1031"/>
                    </a:lnTo>
                    <a:lnTo>
                      <a:pt x="1060" y="1037"/>
                    </a:lnTo>
                    <a:lnTo>
                      <a:pt x="1060" y="1043"/>
                    </a:lnTo>
                    <a:lnTo>
                      <a:pt x="1066" y="1043"/>
                    </a:lnTo>
                    <a:lnTo>
                      <a:pt x="1060" y="1048"/>
                    </a:lnTo>
                    <a:lnTo>
                      <a:pt x="1054" y="1048"/>
                    </a:lnTo>
                    <a:lnTo>
                      <a:pt x="1054" y="1054"/>
                    </a:lnTo>
                    <a:lnTo>
                      <a:pt x="1049" y="1054"/>
                    </a:lnTo>
                    <a:lnTo>
                      <a:pt x="1043" y="1054"/>
                    </a:lnTo>
                    <a:lnTo>
                      <a:pt x="1037" y="1048"/>
                    </a:lnTo>
                    <a:lnTo>
                      <a:pt x="1037" y="1043"/>
                    </a:lnTo>
                    <a:lnTo>
                      <a:pt x="1037" y="1048"/>
                    </a:lnTo>
                    <a:lnTo>
                      <a:pt x="1043" y="1054"/>
                    </a:lnTo>
                    <a:lnTo>
                      <a:pt x="1049" y="1054"/>
                    </a:lnTo>
                    <a:lnTo>
                      <a:pt x="1049" y="1060"/>
                    </a:lnTo>
                    <a:lnTo>
                      <a:pt x="1043" y="1060"/>
                    </a:lnTo>
                    <a:lnTo>
                      <a:pt x="1037" y="1065"/>
                    </a:lnTo>
                    <a:lnTo>
                      <a:pt x="1032" y="1065"/>
                    </a:lnTo>
                    <a:lnTo>
                      <a:pt x="1026" y="1065"/>
                    </a:lnTo>
                    <a:lnTo>
                      <a:pt x="1020" y="1065"/>
                    </a:lnTo>
                    <a:lnTo>
                      <a:pt x="1009" y="1071"/>
                    </a:lnTo>
                    <a:lnTo>
                      <a:pt x="1003" y="1071"/>
                    </a:lnTo>
                    <a:lnTo>
                      <a:pt x="992" y="1065"/>
                    </a:lnTo>
                    <a:lnTo>
                      <a:pt x="975" y="1060"/>
                    </a:lnTo>
                    <a:lnTo>
                      <a:pt x="969" y="1060"/>
                    </a:lnTo>
                    <a:lnTo>
                      <a:pt x="964" y="1060"/>
                    </a:lnTo>
                    <a:lnTo>
                      <a:pt x="958" y="1060"/>
                    </a:lnTo>
                    <a:lnTo>
                      <a:pt x="947" y="1060"/>
                    </a:lnTo>
                    <a:lnTo>
                      <a:pt x="941" y="1060"/>
                    </a:lnTo>
                    <a:lnTo>
                      <a:pt x="935" y="1065"/>
                    </a:lnTo>
                    <a:lnTo>
                      <a:pt x="930" y="1060"/>
                    </a:lnTo>
                    <a:lnTo>
                      <a:pt x="930" y="1065"/>
                    </a:lnTo>
                    <a:lnTo>
                      <a:pt x="930" y="1071"/>
                    </a:lnTo>
                    <a:lnTo>
                      <a:pt x="924" y="1071"/>
                    </a:lnTo>
                    <a:lnTo>
                      <a:pt x="918" y="1071"/>
                    </a:lnTo>
                    <a:lnTo>
                      <a:pt x="918" y="1077"/>
                    </a:lnTo>
                    <a:lnTo>
                      <a:pt x="913" y="1077"/>
                    </a:lnTo>
                    <a:lnTo>
                      <a:pt x="907" y="1077"/>
                    </a:lnTo>
                    <a:lnTo>
                      <a:pt x="901" y="1082"/>
                    </a:lnTo>
                    <a:lnTo>
                      <a:pt x="896" y="1082"/>
                    </a:lnTo>
                    <a:lnTo>
                      <a:pt x="890" y="1077"/>
                    </a:lnTo>
                    <a:lnTo>
                      <a:pt x="884" y="1077"/>
                    </a:lnTo>
                    <a:lnTo>
                      <a:pt x="879" y="1077"/>
                    </a:lnTo>
                    <a:lnTo>
                      <a:pt x="873" y="1071"/>
                    </a:lnTo>
                    <a:lnTo>
                      <a:pt x="856" y="1065"/>
                    </a:lnTo>
                    <a:lnTo>
                      <a:pt x="845" y="1065"/>
                    </a:lnTo>
                    <a:lnTo>
                      <a:pt x="833" y="1060"/>
                    </a:lnTo>
                    <a:lnTo>
                      <a:pt x="828" y="1060"/>
                    </a:lnTo>
                    <a:lnTo>
                      <a:pt x="822" y="1060"/>
                    </a:lnTo>
                    <a:lnTo>
                      <a:pt x="822" y="1054"/>
                    </a:lnTo>
                    <a:lnTo>
                      <a:pt x="822" y="1060"/>
                    </a:lnTo>
                    <a:lnTo>
                      <a:pt x="816" y="1060"/>
                    </a:lnTo>
                    <a:lnTo>
                      <a:pt x="805" y="1060"/>
                    </a:lnTo>
                    <a:lnTo>
                      <a:pt x="799" y="1060"/>
                    </a:lnTo>
                    <a:lnTo>
                      <a:pt x="794" y="1065"/>
                    </a:lnTo>
                    <a:lnTo>
                      <a:pt x="788" y="1065"/>
                    </a:lnTo>
                    <a:lnTo>
                      <a:pt x="782" y="1071"/>
                    </a:lnTo>
                    <a:lnTo>
                      <a:pt x="777" y="1071"/>
                    </a:lnTo>
                    <a:lnTo>
                      <a:pt x="771" y="1071"/>
                    </a:lnTo>
                    <a:lnTo>
                      <a:pt x="765" y="1071"/>
                    </a:lnTo>
                    <a:lnTo>
                      <a:pt x="760" y="1071"/>
                    </a:lnTo>
                    <a:lnTo>
                      <a:pt x="765" y="1071"/>
                    </a:lnTo>
                    <a:lnTo>
                      <a:pt x="771" y="1071"/>
                    </a:lnTo>
                    <a:lnTo>
                      <a:pt x="782" y="1071"/>
                    </a:lnTo>
                    <a:lnTo>
                      <a:pt x="782" y="1077"/>
                    </a:lnTo>
                    <a:lnTo>
                      <a:pt x="788" y="1077"/>
                    </a:lnTo>
                    <a:lnTo>
                      <a:pt x="788" y="1082"/>
                    </a:lnTo>
                    <a:lnTo>
                      <a:pt x="782" y="1088"/>
                    </a:lnTo>
                    <a:lnTo>
                      <a:pt x="771" y="1088"/>
                    </a:lnTo>
                    <a:lnTo>
                      <a:pt x="754" y="1082"/>
                    </a:lnTo>
                    <a:lnTo>
                      <a:pt x="748" y="1082"/>
                    </a:lnTo>
                    <a:lnTo>
                      <a:pt x="743" y="1082"/>
                    </a:lnTo>
                    <a:lnTo>
                      <a:pt x="737" y="1082"/>
                    </a:lnTo>
                    <a:lnTo>
                      <a:pt x="731" y="1082"/>
                    </a:lnTo>
                    <a:lnTo>
                      <a:pt x="726" y="1082"/>
                    </a:lnTo>
                    <a:lnTo>
                      <a:pt x="709" y="1088"/>
                    </a:lnTo>
                    <a:lnTo>
                      <a:pt x="697" y="1088"/>
                    </a:lnTo>
                    <a:lnTo>
                      <a:pt x="692" y="1094"/>
                    </a:lnTo>
                    <a:lnTo>
                      <a:pt x="680" y="1094"/>
                    </a:lnTo>
                    <a:lnTo>
                      <a:pt x="680" y="1099"/>
                    </a:lnTo>
                    <a:lnTo>
                      <a:pt x="675" y="1099"/>
                    </a:lnTo>
                    <a:lnTo>
                      <a:pt x="669" y="1105"/>
                    </a:lnTo>
                    <a:lnTo>
                      <a:pt x="669" y="1111"/>
                    </a:lnTo>
                    <a:lnTo>
                      <a:pt x="669" y="1116"/>
                    </a:lnTo>
                    <a:lnTo>
                      <a:pt x="663" y="1116"/>
                    </a:lnTo>
                    <a:lnTo>
                      <a:pt x="658" y="1122"/>
                    </a:lnTo>
                    <a:lnTo>
                      <a:pt x="646" y="1122"/>
                    </a:lnTo>
                    <a:lnTo>
                      <a:pt x="641" y="1128"/>
                    </a:lnTo>
                    <a:lnTo>
                      <a:pt x="635" y="1133"/>
                    </a:lnTo>
                    <a:lnTo>
                      <a:pt x="624" y="1139"/>
                    </a:lnTo>
                    <a:lnTo>
                      <a:pt x="618" y="1139"/>
                    </a:lnTo>
                    <a:lnTo>
                      <a:pt x="618" y="1145"/>
                    </a:lnTo>
                    <a:lnTo>
                      <a:pt x="618" y="1150"/>
                    </a:lnTo>
                    <a:lnTo>
                      <a:pt x="612" y="1150"/>
                    </a:lnTo>
                    <a:lnTo>
                      <a:pt x="595" y="1150"/>
                    </a:lnTo>
                    <a:lnTo>
                      <a:pt x="590" y="1156"/>
                    </a:lnTo>
                    <a:lnTo>
                      <a:pt x="584" y="1156"/>
                    </a:lnTo>
                    <a:lnTo>
                      <a:pt x="578" y="1162"/>
                    </a:lnTo>
                    <a:lnTo>
                      <a:pt x="573" y="1167"/>
                    </a:lnTo>
                    <a:lnTo>
                      <a:pt x="573" y="1173"/>
                    </a:lnTo>
                    <a:lnTo>
                      <a:pt x="573" y="1179"/>
                    </a:lnTo>
                    <a:lnTo>
                      <a:pt x="573" y="1184"/>
                    </a:lnTo>
                    <a:lnTo>
                      <a:pt x="567" y="1184"/>
                    </a:lnTo>
                    <a:lnTo>
                      <a:pt x="561" y="1184"/>
                    </a:lnTo>
                    <a:lnTo>
                      <a:pt x="561" y="1190"/>
                    </a:lnTo>
                    <a:lnTo>
                      <a:pt x="556" y="1184"/>
                    </a:lnTo>
                    <a:lnTo>
                      <a:pt x="550" y="1184"/>
                    </a:lnTo>
                    <a:lnTo>
                      <a:pt x="544" y="1184"/>
                    </a:lnTo>
                    <a:lnTo>
                      <a:pt x="533" y="1173"/>
                    </a:lnTo>
                    <a:lnTo>
                      <a:pt x="527" y="1173"/>
                    </a:lnTo>
                    <a:lnTo>
                      <a:pt x="527" y="1167"/>
                    </a:lnTo>
                    <a:lnTo>
                      <a:pt x="522" y="1167"/>
                    </a:lnTo>
                    <a:lnTo>
                      <a:pt x="516" y="1167"/>
                    </a:lnTo>
                    <a:lnTo>
                      <a:pt x="510" y="1167"/>
                    </a:lnTo>
                    <a:lnTo>
                      <a:pt x="505" y="1167"/>
                    </a:lnTo>
                    <a:lnTo>
                      <a:pt x="499" y="1167"/>
                    </a:lnTo>
                    <a:lnTo>
                      <a:pt x="493" y="1173"/>
                    </a:lnTo>
                    <a:lnTo>
                      <a:pt x="487" y="1167"/>
                    </a:lnTo>
                    <a:lnTo>
                      <a:pt x="482" y="1167"/>
                    </a:lnTo>
                    <a:lnTo>
                      <a:pt x="476" y="1167"/>
                    </a:lnTo>
                    <a:lnTo>
                      <a:pt x="476" y="1173"/>
                    </a:lnTo>
                    <a:lnTo>
                      <a:pt x="470" y="1173"/>
                    </a:lnTo>
                    <a:lnTo>
                      <a:pt x="465" y="1173"/>
                    </a:lnTo>
                    <a:lnTo>
                      <a:pt x="465" y="1167"/>
                    </a:lnTo>
                    <a:lnTo>
                      <a:pt x="459" y="1167"/>
                    </a:lnTo>
                    <a:lnTo>
                      <a:pt x="453" y="1162"/>
                    </a:lnTo>
                    <a:lnTo>
                      <a:pt x="453" y="1156"/>
                    </a:lnTo>
                    <a:lnTo>
                      <a:pt x="453" y="1162"/>
                    </a:lnTo>
                    <a:lnTo>
                      <a:pt x="448" y="1156"/>
                    </a:lnTo>
                    <a:lnTo>
                      <a:pt x="442" y="1156"/>
                    </a:lnTo>
                    <a:lnTo>
                      <a:pt x="442" y="1150"/>
                    </a:lnTo>
                    <a:lnTo>
                      <a:pt x="436" y="1145"/>
                    </a:lnTo>
                    <a:lnTo>
                      <a:pt x="431" y="1145"/>
                    </a:lnTo>
                    <a:lnTo>
                      <a:pt x="425" y="1139"/>
                    </a:lnTo>
                    <a:lnTo>
                      <a:pt x="419" y="1139"/>
                    </a:lnTo>
                    <a:lnTo>
                      <a:pt x="414" y="1139"/>
                    </a:lnTo>
                    <a:lnTo>
                      <a:pt x="414" y="1133"/>
                    </a:lnTo>
                    <a:lnTo>
                      <a:pt x="408" y="1128"/>
                    </a:lnTo>
                    <a:lnTo>
                      <a:pt x="402" y="1128"/>
                    </a:lnTo>
                    <a:lnTo>
                      <a:pt x="397" y="1128"/>
                    </a:lnTo>
                    <a:lnTo>
                      <a:pt x="391" y="1128"/>
                    </a:lnTo>
                    <a:lnTo>
                      <a:pt x="391" y="1133"/>
                    </a:lnTo>
                    <a:lnTo>
                      <a:pt x="385" y="1133"/>
                    </a:lnTo>
                    <a:lnTo>
                      <a:pt x="380" y="1133"/>
                    </a:lnTo>
                    <a:lnTo>
                      <a:pt x="380" y="1128"/>
                    </a:lnTo>
                    <a:lnTo>
                      <a:pt x="385" y="1128"/>
                    </a:lnTo>
                    <a:lnTo>
                      <a:pt x="391" y="1122"/>
                    </a:lnTo>
                    <a:lnTo>
                      <a:pt x="391" y="1116"/>
                    </a:lnTo>
                    <a:lnTo>
                      <a:pt x="397" y="1111"/>
                    </a:lnTo>
                    <a:lnTo>
                      <a:pt x="397" y="1099"/>
                    </a:lnTo>
                    <a:lnTo>
                      <a:pt x="397" y="1094"/>
                    </a:lnTo>
                    <a:lnTo>
                      <a:pt x="385" y="1082"/>
                    </a:lnTo>
                    <a:lnTo>
                      <a:pt x="385" y="1077"/>
                    </a:lnTo>
                    <a:lnTo>
                      <a:pt x="380" y="1077"/>
                    </a:lnTo>
                    <a:lnTo>
                      <a:pt x="374" y="1077"/>
                    </a:lnTo>
                    <a:lnTo>
                      <a:pt x="368" y="1077"/>
                    </a:lnTo>
                    <a:lnTo>
                      <a:pt x="357" y="1082"/>
                    </a:lnTo>
                    <a:lnTo>
                      <a:pt x="351" y="1077"/>
                    </a:lnTo>
                    <a:lnTo>
                      <a:pt x="346" y="1077"/>
                    </a:lnTo>
                    <a:lnTo>
                      <a:pt x="340" y="1077"/>
                    </a:lnTo>
                    <a:lnTo>
                      <a:pt x="334" y="1077"/>
                    </a:lnTo>
                    <a:lnTo>
                      <a:pt x="334" y="1071"/>
                    </a:lnTo>
                    <a:lnTo>
                      <a:pt x="334" y="1065"/>
                    </a:lnTo>
                    <a:lnTo>
                      <a:pt x="329" y="1065"/>
                    </a:lnTo>
                    <a:lnTo>
                      <a:pt x="323" y="1060"/>
                    </a:lnTo>
                    <a:lnTo>
                      <a:pt x="329" y="1060"/>
                    </a:lnTo>
                    <a:lnTo>
                      <a:pt x="334" y="1060"/>
                    </a:lnTo>
                    <a:lnTo>
                      <a:pt x="334" y="1054"/>
                    </a:lnTo>
                    <a:lnTo>
                      <a:pt x="340" y="1054"/>
                    </a:lnTo>
                    <a:lnTo>
                      <a:pt x="340" y="1048"/>
                    </a:lnTo>
                    <a:lnTo>
                      <a:pt x="346" y="1048"/>
                    </a:lnTo>
                    <a:lnTo>
                      <a:pt x="340" y="1048"/>
                    </a:lnTo>
                    <a:lnTo>
                      <a:pt x="340" y="1043"/>
                    </a:lnTo>
                    <a:lnTo>
                      <a:pt x="340" y="1048"/>
                    </a:lnTo>
                    <a:lnTo>
                      <a:pt x="334" y="1054"/>
                    </a:lnTo>
                    <a:lnTo>
                      <a:pt x="329" y="1054"/>
                    </a:lnTo>
                    <a:lnTo>
                      <a:pt x="329" y="1060"/>
                    </a:lnTo>
                    <a:lnTo>
                      <a:pt x="323" y="1060"/>
                    </a:lnTo>
                    <a:lnTo>
                      <a:pt x="317" y="1054"/>
                    </a:lnTo>
                    <a:lnTo>
                      <a:pt x="323" y="1060"/>
                    </a:lnTo>
                    <a:lnTo>
                      <a:pt x="317" y="1054"/>
                    </a:lnTo>
                    <a:lnTo>
                      <a:pt x="312" y="1054"/>
                    </a:lnTo>
                    <a:lnTo>
                      <a:pt x="306" y="1054"/>
                    </a:lnTo>
                    <a:lnTo>
                      <a:pt x="300" y="1054"/>
                    </a:lnTo>
                    <a:lnTo>
                      <a:pt x="295" y="1060"/>
                    </a:lnTo>
                    <a:lnTo>
                      <a:pt x="283" y="1060"/>
                    </a:lnTo>
                    <a:lnTo>
                      <a:pt x="278" y="1060"/>
                    </a:lnTo>
                    <a:lnTo>
                      <a:pt x="278" y="1065"/>
                    </a:lnTo>
                    <a:lnTo>
                      <a:pt x="272" y="1065"/>
                    </a:lnTo>
                    <a:lnTo>
                      <a:pt x="272" y="1060"/>
                    </a:lnTo>
                    <a:lnTo>
                      <a:pt x="266" y="1060"/>
                    </a:lnTo>
                    <a:lnTo>
                      <a:pt x="266" y="1065"/>
                    </a:lnTo>
                    <a:lnTo>
                      <a:pt x="261" y="1065"/>
                    </a:lnTo>
                    <a:lnTo>
                      <a:pt x="255" y="1065"/>
                    </a:lnTo>
                    <a:lnTo>
                      <a:pt x="255" y="1060"/>
                    </a:lnTo>
                    <a:lnTo>
                      <a:pt x="255" y="1054"/>
                    </a:lnTo>
                    <a:lnTo>
                      <a:pt x="261" y="1054"/>
                    </a:lnTo>
                    <a:lnTo>
                      <a:pt x="255" y="1054"/>
                    </a:lnTo>
                    <a:lnTo>
                      <a:pt x="255" y="1048"/>
                    </a:lnTo>
                    <a:lnTo>
                      <a:pt x="255" y="1043"/>
                    </a:lnTo>
                    <a:lnTo>
                      <a:pt x="255" y="1037"/>
                    </a:lnTo>
                    <a:lnTo>
                      <a:pt x="261" y="1037"/>
                    </a:lnTo>
                    <a:lnTo>
                      <a:pt x="261" y="1031"/>
                    </a:lnTo>
                    <a:lnTo>
                      <a:pt x="266" y="1031"/>
                    </a:lnTo>
                    <a:lnTo>
                      <a:pt x="266" y="1026"/>
                    </a:lnTo>
                    <a:lnTo>
                      <a:pt x="261" y="1020"/>
                    </a:lnTo>
                    <a:lnTo>
                      <a:pt x="255" y="1014"/>
                    </a:lnTo>
                    <a:lnTo>
                      <a:pt x="261" y="1009"/>
                    </a:lnTo>
                    <a:lnTo>
                      <a:pt x="266" y="1009"/>
                    </a:lnTo>
                    <a:lnTo>
                      <a:pt x="266" y="1003"/>
                    </a:lnTo>
                    <a:lnTo>
                      <a:pt x="261" y="992"/>
                    </a:lnTo>
                    <a:lnTo>
                      <a:pt x="255" y="992"/>
                    </a:lnTo>
                    <a:lnTo>
                      <a:pt x="255" y="986"/>
                    </a:lnTo>
                    <a:lnTo>
                      <a:pt x="249" y="986"/>
                    </a:lnTo>
                    <a:lnTo>
                      <a:pt x="244" y="986"/>
                    </a:lnTo>
                    <a:lnTo>
                      <a:pt x="238" y="980"/>
                    </a:lnTo>
                    <a:lnTo>
                      <a:pt x="221" y="980"/>
                    </a:lnTo>
                    <a:lnTo>
                      <a:pt x="210" y="980"/>
                    </a:lnTo>
                    <a:lnTo>
                      <a:pt x="204" y="980"/>
                    </a:lnTo>
                    <a:lnTo>
                      <a:pt x="198" y="986"/>
                    </a:lnTo>
                    <a:lnTo>
                      <a:pt x="187" y="986"/>
                    </a:lnTo>
                    <a:lnTo>
                      <a:pt x="181" y="986"/>
                    </a:lnTo>
                    <a:lnTo>
                      <a:pt x="176" y="986"/>
                    </a:lnTo>
                    <a:lnTo>
                      <a:pt x="170" y="992"/>
                    </a:lnTo>
                    <a:lnTo>
                      <a:pt x="164" y="992"/>
                    </a:lnTo>
                    <a:lnTo>
                      <a:pt x="164" y="997"/>
                    </a:lnTo>
                    <a:lnTo>
                      <a:pt x="159" y="997"/>
                    </a:lnTo>
                    <a:lnTo>
                      <a:pt x="159" y="1003"/>
                    </a:lnTo>
                    <a:lnTo>
                      <a:pt x="159" y="1009"/>
                    </a:lnTo>
                    <a:lnTo>
                      <a:pt x="159" y="1014"/>
                    </a:lnTo>
                    <a:lnTo>
                      <a:pt x="159" y="1009"/>
                    </a:lnTo>
                    <a:lnTo>
                      <a:pt x="159" y="1014"/>
                    </a:lnTo>
                    <a:lnTo>
                      <a:pt x="164" y="1020"/>
                    </a:lnTo>
                    <a:lnTo>
                      <a:pt x="170" y="1026"/>
                    </a:lnTo>
                    <a:lnTo>
                      <a:pt x="170" y="1031"/>
                    </a:lnTo>
                    <a:lnTo>
                      <a:pt x="164" y="1031"/>
                    </a:lnTo>
                    <a:lnTo>
                      <a:pt x="164" y="1037"/>
                    </a:lnTo>
                    <a:lnTo>
                      <a:pt x="164" y="1043"/>
                    </a:lnTo>
                    <a:lnTo>
                      <a:pt x="164" y="1048"/>
                    </a:lnTo>
                    <a:lnTo>
                      <a:pt x="164" y="1054"/>
                    </a:lnTo>
                    <a:lnTo>
                      <a:pt x="170" y="1054"/>
                    </a:lnTo>
                    <a:lnTo>
                      <a:pt x="170" y="1060"/>
                    </a:lnTo>
                    <a:lnTo>
                      <a:pt x="164" y="1054"/>
                    </a:lnTo>
                    <a:lnTo>
                      <a:pt x="159" y="1054"/>
                    </a:lnTo>
                    <a:lnTo>
                      <a:pt x="159" y="1048"/>
                    </a:lnTo>
                    <a:lnTo>
                      <a:pt x="153" y="1048"/>
                    </a:lnTo>
                    <a:lnTo>
                      <a:pt x="147" y="1043"/>
                    </a:lnTo>
                    <a:lnTo>
                      <a:pt x="147" y="1037"/>
                    </a:lnTo>
                    <a:lnTo>
                      <a:pt x="142" y="1037"/>
                    </a:lnTo>
                    <a:lnTo>
                      <a:pt x="142" y="1031"/>
                    </a:lnTo>
                    <a:lnTo>
                      <a:pt x="147" y="1031"/>
                    </a:lnTo>
                    <a:lnTo>
                      <a:pt x="142" y="1031"/>
                    </a:lnTo>
                    <a:lnTo>
                      <a:pt x="142" y="1026"/>
                    </a:lnTo>
                    <a:lnTo>
                      <a:pt x="142" y="1014"/>
                    </a:lnTo>
                    <a:lnTo>
                      <a:pt x="142" y="1009"/>
                    </a:lnTo>
                    <a:lnTo>
                      <a:pt x="136" y="1009"/>
                    </a:lnTo>
                    <a:lnTo>
                      <a:pt x="130" y="1009"/>
                    </a:lnTo>
                    <a:lnTo>
                      <a:pt x="130" y="1003"/>
                    </a:lnTo>
                    <a:lnTo>
                      <a:pt x="130" y="997"/>
                    </a:lnTo>
                    <a:lnTo>
                      <a:pt x="136" y="997"/>
                    </a:lnTo>
                    <a:lnTo>
                      <a:pt x="136" y="992"/>
                    </a:lnTo>
                    <a:lnTo>
                      <a:pt x="136" y="986"/>
                    </a:lnTo>
                    <a:lnTo>
                      <a:pt x="142" y="980"/>
                    </a:lnTo>
                    <a:lnTo>
                      <a:pt x="142" y="975"/>
                    </a:lnTo>
                    <a:lnTo>
                      <a:pt x="136" y="975"/>
                    </a:lnTo>
                    <a:lnTo>
                      <a:pt x="130" y="975"/>
                    </a:lnTo>
                    <a:lnTo>
                      <a:pt x="130" y="969"/>
                    </a:lnTo>
                    <a:lnTo>
                      <a:pt x="136" y="969"/>
                    </a:lnTo>
                    <a:lnTo>
                      <a:pt x="136" y="963"/>
                    </a:lnTo>
                    <a:lnTo>
                      <a:pt x="136" y="958"/>
                    </a:lnTo>
                    <a:lnTo>
                      <a:pt x="142" y="958"/>
                    </a:lnTo>
                    <a:lnTo>
                      <a:pt x="142" y="952"/>
                    </a:lnTo>
                    <a:lnTo>
                      <a:pt x="147" y="941"/>
                    </a:lnTo>
                    <a:lnTo>
                      <a:pt x="147" y="935"/>
                    </a:lnTo>
                    <a:lnTo>
                      <a:pt x="153" y="935"/>
                    </a:lnTo>
                    <a:lnTo>
                      <a:pt x="159" y="935"/>
                    </a:lnTo>
                    <a:lnTo>
                      <a:pt x="159" y="941"/>
                    </a:lnTo>
                    <a:lnTo>
                      <a:pt x="164" y="941"/>
                    </a:lnTo>
                    <a:lnTo>
                      <a:pt x="170" y="935"/>
                    </a:lnTo>
                    <a:lnTo>
                      <a:pt x="170" y="929"/>
                    </a:lnTo>
                    <a:lnTo>
                      <a:pt x="176" y="929"/>
                    </a:lnTo>
                    <a:lnTo>
                      <a:pt x="176" y="924"/>
                    </a:lnTo>
                    <a:lnTo>
                      <a:pt x="170" y="918"/>
                    </a:lnTo>
                    <a:lnTo>
                      <a:pt x="170" y="912"/>
                    </a:lnTo>
                    <a:lnTo>
                      <a:pt x="164" y="901"/>
                    </a:lnTo>
                    <a:lnTo>
                      <a:pt x="164" y="895"/>
                    </a:lnTo>
                    <a:lnTo>
                      <a:pt x="159" y="890"/>
                    </a:lnTo>
                    <a:lnTo>
                      <a:pt x="164" y="890"/>
                    </a:lnTo>
                    <a:lnTo>
                      <a:pt x="164" y="884"/>
                    </a:lnTo>
                    <a:lnTo>
                      <a:pt x="159" y="873"/>
                    </a:lnTo>
                    <a:lnTo>
                      <a:pt x="153" y="867"/>
                    </a:lnTo>
                    <a:lnTo>
                      <a:pt x="153" y="861"/>
                    </a:lnTo>
                    <a:lnTo>
                      <a:pt x="147" y="861"/>
                    </a:lnTo>
                    <a:lnTo>
                      <a:pt x="147" y="855"/>
                    </a:lnTo>
                    <a:lnTo>
                      <a:pt x="142" y="855"/>
                    </a:lnTo>
                    <a:lnTo>
                      <a:pt x="142" y="850"/>
                    </a:lnTo>
                    <a:lnTo>
                      <a:pt x="136" y="844"/>
                    </a:lnTo>
                    <a:lnTo>
                      <a:pt x="130" y="844"/>
                    </a:lnTo>
                    <a:lnTo>
                      <a:pt x="136" y="833"/>
                    </a:lnTo>
                    <a:lnTo>
                      <a:pt x="130" y="827"/>
                    </a:lnTo>
                    <a:lnTo>
                      <a:pt x="130" y="821"/>
                    </a:lnTo>
                    <a:lnTo>
                      <a:pt x="125" y="816"/>
                    </a:lnTo>
                    <a:lnTo>
                      <a:pt x="119" y="810"/>
                    </a:lnTo>
                    <a:lnTo>
                      <a:pt x="113" y="804"/>
                    </a:lnTo>
                    <a:lnTo>
                      <a:pt x="102" y="799"/>
                    </a:lnTo>
                    <a:lnTo>
                      <a:pt x="96" y="793"/>
                    </a:lnTo>
                    <a:lnTo>
                      <a:pt x="91" y="787"/>
                    </a:lnTo>
                    <a:lnTo>
                      <a:pt x="91" y="782"/>
                    </a:lnTo>
                    <a:lnTo>
                      <a:pt x="91" y="770"/>
                    </a:lnTo>
                    <a:lnTo>
                      <a:pt x="85" y="765"/>
                    </a:lnTo>
                    <a:lnTo>
                      <a:pt x="79" y="759"/>
                    </a:lnTo>
                    <a:lnTo>
                      <a:pt x="79" y="753"/>
                    </a:lnTo>
                    <a:lnTo>
                      <a:pt x="57" y="731"/>
                    </a:lnTo>
                    <a:lnTo>
                      <a:pt x="51" y="731"/>
                    </a:lnTo>
                    <a:lnTo>
                      <a:pt x="45" y="731"/>
                    </a:lnTo>
                    <a:lnTo>
                      <a:pt x="45" y="725"/>
                    </a:lnTo>
                    <a:lnTo>
                      <a:pt x="40" y="725"/>
                    </a:lnTo>
                    <a:lnTo>
                      <a:pt x="40" y="719"/>
                    </a:lnTo>
                    <a:lnTo>
                      <a:pt x="45" y="719"/>
                    </a:lnTo>
                    <a:lnTo>
                      <a:pt x="51" y="719"/>
                    </a:lnTo>
                    <a:lnTo>
                      <a:pt x="45" y="714"/>
                    </a:lnTo>
                    <a:lnTo>
                      <a:pt x="51" y="708"/>
                    </a:lnTo>
                    <a:lnTo>
                      <a:pt x="51" y="714"/>
                    </a:lnTo>
                    <a:lnTo>
                      <a:pt x="57" y="714"/>
                    </a:lnTo>
                    <a:lnTo>
                      <a:pt x="57" y="719"/>
                    </a:lnTo>
                    <a:lnTo>
                      <a:pt x="57" y="725"/>
                    </a:lnTo>
                    <a:lnTo>
                      <a:pt x="62" y="725"/>
                    </a:lnTo>
                    <a:lnTo>
                      <a:pt x="62" y="731"/>
                    </a:lnTo>
                    <a:lnTo>
                      <a:pt x="68" y="736"/>
                    </a:lnTo>
                    <a:lnTo>
                      <a:pt x="74" y="742"/>
                    </a:lnTo>
                    <a:lnTo>
                      <a:pt x="79" y="748"/>
                    </a:lnTo>
                    <a:lnTo>
                      <a:pt x="85" y="748"/>
                    </a:lnTo>
                    <a:lnTo>
                      <a:pt x="85" y="742"/>
                    </a:lnTo>
                    <a:lnTo>
                      <a:pt x="79" y="742"/>
                    </a:lnTo>
                    <a:lnTo>
                      <a:pt x="85" y="742"/>
                    </a:lnTo>
                    <a:lnTo>
                      <a:pt x="79" y="742"/>
                    </a:lnTo>
                    <a:lnTo>
                      <a:pt x="74" y="736"/>
                    </a:lnTo>
                    <a:lnTo>
                      <a:pt x="74" y="731"/>
                    </a:lnTo>
                    <a:lnTo>
                      <a:pt x="62" y="725"/>
                    </a:lnTo>
                    <a:lnTo>
                      <a:pt x="62" y="719"/>
                    </a:lnTo>
                    <a:lnTo>
                      <a:pt x="62" y="708"/>
                    </a:lnTo>
                    <a:lnTo>
                      <a:pt x="62" y="702"/>
                    </a:lnTo>
                    <a:lnTo>
                      <a:pt x="62" y="697"/>
                    </a:lnTo>
                    <a:lnTo>
                      <a:pt x="57" y="697"/>
                    </a:lnTo>
                    <a:lnTo>
                      <a:pt x="51" y="691"/>
                    </a:lnTo>
                    <a:lnTo>
                      <a:pt x="45" y="691"/>
                    </a:lnTo>
                    <a:lnTo>
                      <a:pt x="40" y="697"/>
                    </a:lnTo>
                    <a:lnTo>
                      <a:pt x="45" y="702"/>
                    </a:lnTo>
                    <a:lnTo>
                      <a:pt x="40" y="697"/>
                    </a:lnTo>
                    <a:lnTo>
                      <a:pt x="40" y="702"/>
                    </a:lnTo>
                    <a:lnTo>
                      <a:pt x="28" y="708"/>
                    </a:lnTo>
                    <a:lnTo>
                      <a:pt x="28" y="702"/>
                    </a:lnTo>
                    <a:lnTo>
                      <a:pt x="23" y="702"/>
                    </a:lnTo>
                    <a:lnTo>
                      <a:pt x="28" y="702"/>
                    </a:lnTo>
                    <a:lnTo>
                      <a:pt x="28" y="697"/>
                    </a:lnTo>
                    <a:lnTo>
                      <a:pt x="23" y="697"/>
                    </a:lnTo>
                    <a:lnTo>
                      <a:pt x="23" y="691"/>
                    </a:lnTo>
                    <a:lnTo>
                      <a:pt x="23" y="685"/>
                    </a:lnTo>
                    <a:lnTo>
                      <a:pt x="23" y="680"/>
                    </a:lnTo>
                    <a:lnTo>
                      <a:pt x="23" y="674"/>
                    </a:lnTo>
                    <a:lnTo>
                      <a:pt x="23" y="668"/>
                    </a:lnTo>
                    <a:lnTo>
                      <a:pt x="17" y="668"/>
                    </a:lnTo>
                    <a:lnTo>
                      <a:pt x="23" y="663"/>
                    </a:lnTo>
                    <a:lnTo>
                      <a:pt x="17" y="663"/>
                    </a:lnTo>
                    <a:lnTo>
                      <a:pt x="23" y="663"/>
                    </a:lnTo>
                    <a:lnTo>
                      <a:pt x="23" y="657"/>
                    </a:lnTo>
                    <a:lnTo>
                      <a:pt x="23" y="651"/>
                    </a:lnTo>
                    <a:lnTo>
                      <a:pt x="17" y="651"/>
                    </a:lnTo>
                    <a:lnTo>
                      <a:pt x="17" y="646"/>
                    </a:lnTo>
                    <a:lnTo>
                      <a:pt x="23" y="646"/>
                    </a:lnTo>
                    <a:lnTo>
                      <a:pt x="23" y="640"/>
                    </a:lnTo>
                    <a:lnTo>
                      <a:pt x="28" y="640"/>
                    </a:lnTo>
                    <a:lnTo>
                      <a:pt x="34" y="634"/>
                    </a:lnTo>
                    <a:lnTo>
                      <a:pt x="28" y="634"/>
                    </a:lnTo>
                    <a:lnTo>
                      <a:pt x="28" y="623"/>
                    </a:lnTo>
                    <a:lnTo>
                      <a:pt x="34" y="623"/>
                    </a:lnTo>
                    <a:lnTo>
                      <a:pt x="34" y="617"/>
                    </a:lnTo>
                    <a:lnTo>
                      <a:pt x="40" y="617"/>
                    </a:lnTo>
                    <a:lnTo>
                      <a:pt x="45" y="617"/>
                    </a:lnTo>
                    <a:lnTo>
                      <a:pt x="45" y="612"/>
                    </a:lnTo>
                    <a:lnTo>
                      <a:pt x="51" y="612"/>
                    </a:lnTo>
                    <a:lnTo>
                      <a:pt x="51" y="617"/>
                    </a:lnTo>
                    <a:lnTo>
                      <a:pt x="57" y="623"/>
                    </a:lnTo>
                    <a:lnTo>
                      <a:pt x="62" y="623"/>
                    </a:lnTo>
                    <a:lnTo>
                      <a:pt x="57" y="629"/>
                    </a:lnTo>
                    <a:lnTo>
                      <a:pt x="62" y="629"/>
                    </a:lnTo>
                    <a:lnTo>
                      <a:pt x="68" y="629"/>
                    </a:lnTo>
                    <a:lnTo>
                      <a:pt x="68" y="634"/>
                    </a:lnTo>
                    <a:lnTo>
                      <a:pt x="74" y="634"/>
                    </a:lnTo>
                    <a:lnTo>
                      <a:pt x="79" y="634"/>
                    </a:lnTo>
                    <a:lnTo>
                      <a:pt x="91" y="634"/>
                    </a:lnTo>
                    <a:lnTo>
                      <a:pt x="96" y="629"/>
                    </a:lnTo>
                    <a:lnTo>
                      <a:pt x="102" y="623"/>
                    </a:lnTo>
                    <a:lnTo>
                      <a:pt x="102" y="617"/>
                    </a:lnTo>
                    <a:lnTo>
                      <a:pt x="108" y="617"/>
                    </a:lnTo>
                    <a:lnTo>
                      <a:pt x="113" y="612"/>
                    </a:lnTo>
                    <a:lnTo>
                      <a:pt x="119" y="606"/>
                    </a:lnTo>
                    <a:lnTo>
                      <a:pt x="130" y="595"/>
                    </a:lnTo>
                    <a:lnTo>
                      <a:pt x="130" y="589"/>
                    </a:lnTo>
                    <a:lnTo>
                      <a:pt x="136" y="578"/>
                    </a:lnTo>
                    <a:lnTo>
                      <a:pt x="142" y="572"/>
                    </a:lnTo>
                    <a:lnTo>
                      <a:pt x="142" y="561"/>
                    </a:lnTo>
                    <a:lnTo>
                      <a:pt x="142" y="555"/>
                    </a:lnTo>
                    <a:lnTo>
                      <a:pt x="142" y="544"/>
                    </a:lnTo>
                    <a:lnTo>
                      <a:pt x="142" y="538"/>
                    </a:lnTo>
                    <a:lnTo>
                      <a:pt x="142" y="532"/>
                    </a:lnTo>
                    <a:lnTo>
                      <a:pt x="142" y="521"/>
                    </a:lnTo>
                    <a:lnTo>
                      <a:pt x="142" y="510"/>
                    </a:lnTo>
                    <a:lnTo>
                      <a:pt x="147" y="504"/>
                    </a:lnTo>
                    <a:lnTo>
                      <a:pt x="142" y="481"/>
                    </a:lnTo>
                    <a:lnTo>
                      <a:pt x="142" y="470"/>
                    </a:lnTo>
                    <a:lnTo>
                      <a:pt x="136" y="459"/>
                    </a:lnTo>
                    <a:lnTo>
                      <a:pt x="136" y="453"/>
                    </a:lnTo>
                    <a:lnTo>
                      <a:pt x="136" y="447"/>
                    </a:lnTo>
                    <a:lnTo>
                      <a:pt x="142" y="447"/>
                    </a:lnTo>
                    <a:lnTo>
                      <a:pt x="142" y="442"/>
                    </a:lnTo>
                    <a:lnTo>
                      <a:pt x="136" y="430"/>
                    </a:lnTo>
                    <a:lnTo>
                      <a:pt x="136" y="425"/>
                    </a:lnTo>
                    <a:lnTo>
                      <a:pt x="136" y="419"/>
                    </a:lnTo>
                    <a:lnTo>
                      <a:pt x="130" y="413"/>
                    </a:lnTo>
                    <a:lnTo>
                      <a:pt x="130" y="408"/>
                    </a:lnTo>
                    <a:lnTo>
                      <a:pt x="130" y="402"/>
                    </a:lnTo>
                    <a:lnTo>
                      <a:pt x="136" y="402"/>
                    </a:lnTo>
                    <a:lnTo>
                      <a:pt x="136" y="396"/>
                    </a:lnTo>
                    <a:lnTo>
                      <a:pt x="130" y="391"/>
                    </a:lnTo>
                    <a:lnTo>
                      <a:pt x="130" y="385"/>
                    </a:lnTo>
                    <a:lnTo>
                      <a:pt x="125" y="379"/>
                    </a:lnTo>
                    <a:lnTo>
                      <a:pt x="119" y="374"/>
                    </a:lnTo>
                    <a:lnTo>
                      <a:pt x="125" y="374"/>
                    </a:lnTo>
                    <a:lnTo>
                      <a:pt x="119" y="368"/>
                    </a:lnTo>
                    <a:lnTo>
                      <a:pt x="125" y="368"/>
                    </a:lnTo>
                    <a:lnTo>
                      <a:pt x="119" y="362"/>
                    </a:lnTo>
                    <a:lnTo>
                      <a:pt x="119" y="357"/>
                    </a:lnTo>
                    <a:lnTo>
                      <a:pt x="113" y="345"/>
                    </a:lnTo>
                    <a:lnTo>
                      <a:pt x="113" y="340"/>
                    </a:lnTo>
                    <a:lnTo>
                      <a:pt x="113" y="334"/>
                    </a:lnTo>
                    <a:lnTo>
                      <a:pt x="113" y="340"/>
                    </a:lnTo>
                    <a:lnTo>
                      <a:pt x="108" y="340"/>
                    </a:lnTo>
                    <a:lnTo>
                      <a:pt x="102" y="334"/>
                    </a:lnTo>
                    <a:lnTo>
                      <a:pt x="102" y="328"/>
                    </a:lnTo>
                    <a:lnTo>
                      <a:pt x="91" y="317"/>
                    </a:lnTo>
                    <a:lnTo>
                      <a:pt x="91" y="311"/>
                    </a:lnTo>
                    <a:lnTo>
                      <a:pt x="85" y="306"/>
                    </a:lnTo>
                    <a:lnTo>
                      <a:pt x="85" y="300"/>
                    </a:lnTo>
                    <a:lnTo>
                      <a:pt x="79" y="294"/>
                    </a:lnTo>
                    <a:lnTo>
                      <a:pt x="74" y="289"/>
                    </a:lnTo>
                    <a:lnTo>
                      <a:pt x="68" y="283"/>
                    </a:lnTo>
                    <a:lnTo>
                      <a:pt x="62" y="277"/>
                    </a:lnTo>
                    <a:lnTo>
                      <a:pt x="57" y="272"/>
                    </a:lnTo>
                    <a:lnTo>
                      <a:pt x="51" y="266"/>
                    </a:lnTo>
                    <a:lnTo>
                      <a:pt x="51" y="260"/>
                    </a:lnTo>
                    <a:lnTo>
                      <a:pt x="40" y="255"/>
                    </a:lnTo>
                    <a:lnTo>
                      <a:pt x="40" y="249"/>
                    </a:lnTo>
                    <a:lnTo>
                      <a:pt x="34" y="243"/>
                    </a:lnTo>
                    <a:lnTo>
                      <a:pt x="34" y="238"/>
                    </a:lnTo>
                    <a:lnTo>
                      <a:pt x="34" y="232"/>
                    </a:lnTo>
                    <a:lnTo>
                      <a:pt x="28" y="226"/>
                    </a:lnTo>
                    <a:lnTo>
                      <a:pt x="23" y="221"/>
                    </a:lnTo>
                    <a:lnTo>
                      <a:pt x="11" y="215"/>
                    </a:lnTo>
                    <a:lnTo>
                      <a:pt x="6" y="204"/>
                    </a:lnTo>
                    <a:lnTo>
                      <a:pt x="0" y="198"/>
                    </a:lnTo>
                    <a:lnTo>
                      <a:pt x="0" y="192"/>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1100"/>
              </a:p>
            </p:txBody>
          </p:sp>
          <p:sp>
            <p:nvSpPr>
              <p:cNvPr id="14" name="Freeform 8"/>
              <p:cNvSpPr>
                <a:spLocks/>
              </p:cNvSpPr>
              <p:nvPr>
                <p:custDataLst>
                  <p:tags r:id="rId4"/>
                </p:custDataLst>
              </p:nvPr>
            </p:nvSpPr>
            <p:spPr bwMode="gray">
              <a:xfrm>
                <a:off x="1487" y="1668"/>
                <a:ext cx="1311" cy="1223"/>
              </a:xfrm>
              <a:custGeom>
                <a:avLst/>
                <a:gdLst>
                  <a:gd name="T0" fmla="*/ 128045 w 2358"/>
                  <a:gd name="T1" fmla="*/ 787504 h 2199"/>
                  <a:gd name="T2" fmla="*/ 100081 w 2358"/>
                  <a:gd name="T3" fmla="*/ 732025 h 2199"/>
                  <a:gd name="T4" fmla="*/ 78004 w 2358"/>
                  <a:gd name="T5" fmla="*/ 673109 h 2199"/>
                  <a:gd name="T6" fmla="*/ 58381 w 2358"/>
                  <a:gd name="T7" fmla="*/ 612230 h 2199"/>
                  <a:gd name="T8" fmla="*/ 36304 w 2358"/>
                  <a:gd name="T9" fmla="*/ 567552 h 2199"/>
                  <a:gd name="T10" fmla="*/ 8340 w 2358"/>
                  <a:gd name="T11" fmla="*/ 522874 h 2199"/>
                  <a:gd name="T12" fmla="*/ 33360 w 2358"/>
                  <a:gd name="T13" fmla="*/ 492435 h 2199"/>
                  <a:gd name="T14" fmla="*/ 44644 w 2358"/>
                  <a:gd name="T15" fmla="*/ 456104 h 2199"/>
                  <a:gd name="T16" fmla="*/ 86344 w 2358"/>
                  <a:gd name="T17" fmla="*/ 436956 h 2199"/>
                  <a:gd name="T18" fmla="*/ 113817 w 2358"/>
                  <a:gd name="T19" fmla="*/ 464450 h 2199"/>
                  <a:gd name="T20" fmla="*/ 122158 w 2358"/>
                  <a:gd name="T21" fmla="*/ 509128 h 2199"/>
                  <a:gd name="T22" fmla="*/ 158461 w 2358"/>
                  <a:gd name="T23" fmla="*/ 528766 h 2199"/>
                  <a:gd name="T24" fmla="*/ 205558 w 2358"/>
                  <a:gd name="T25" fmla="*/ 545459 h 2199"/>
                  <a:gd name="T26" fmla="*/ 263939 w 2358"/>
                  <a:gd name="T27" fmla="*/ 545459 h 2199"/>
                  <a:gd name="T28" fmla="*/ 319866 w 2358"/>
                  <a:gd name="T29" fmla="*/ 542513 h 2199"/>
                  <a:gd name="T30" fmla="*/ 364020 w 2358"/>
                  <a:gd name="T31" fmla="*/ 545459 h 2199"/>
                  <a:gd name="T32" fmla="*/ 389040 w 2358"/>
                  <a:gd name="T33" fmla="*/ 512074 h 2199"/>
                  <a:gd name="T34" fmla="*/ 442024 w 2358"/>
                  <a:gd name="T35" fmla="*/ 487034 h 2199"/>
                  <a:gd name="T36" fmla="*/ 461648 w 2358"/>
                  <a:gd name="T37" fmla="*/ 233698 h 2199"/>
                  <a:gd name="T38" fmla="*/ 464591 w 2358"/>
                  <a:gd name="T39" fmla="*/ 16693 h 2199"/>
                  <a:gd name="T40" fmla="*/ 500404 w 2358"/>
                  <a:gd name="T41" fmla="*/ 25039 h 2199"/>
                  <a:gd name="T42" fmla="*/ 528368 w 2358"/>
                  <a:gd name="T43" fmla="*/ 60879 h 2199"/>
                  <a:gd name="T44" fmla="*/ 545049 w 2358"/>
                  <a:gd name="T45" fmla="*/ 100156 h 2199"/>
                  <a:gd name="T46" fmla="*/ 558785 w 2358"/>
                  <a:gd name="T47" fmla="*/ 138942 h 2199"/>
                  <a:gd name="T48" fmla="*/ 570069 w 2358"/>
                  <a:gd name="T49" fmla="*/ 180674 h 2199"/>
                  <a:gd name="T50" fmla="*/ 547992 w 2358"/>
                  <a:gd name="T51" fmla="*/ 217005 h 2199"/>
                  <a:gd name="T52" fmla="*/ 542105 w 2358"/>
                  <a:gd name="T53" fmla="*/ 275430 h 2199"/>
                  <a:gd name="T54" fmla="*/ 586749 w 2358"/>
                  <a:gd name="T55" fmla="*/ 272484 h 2199"/>
                  <a:gd name="T56" fmla="*/ 639733 w 2358"/>
                  <a:gd name="T57" fmla="*/ 272484 h 2199"/>
                  <a:gd name="T58" fmla="*/ 689773 w 2358"/>
                  <a:gd name="T59" fmla="*/ 261192 h 2199"/>
                  <a:gd name="T60" fmla="*/ 736870 w 2358"/>
                  <a:gd name="T61" fmla="*/ 233698 h 2199"/>
                  <a:gd name="T62" fmla="*/ 764834 w 2358"/>
                  <a:gd name="T63" fmla="*/ 202767 h 2199"/>
                  <a:gd name="T64" fmla="*/ 800647 w 2358"/>
                  <a:gd name="T65" fmla="*/ 177728 h 2199"/>
                  <a:gd name="T66" fmla="*/ 839895 w 2358"/>
                  <a:gd name="T67" fmla="*/ 247445 h 2199"/>
                  <a:gd name="T68" fmla="*/ 856574 w 2358"/>
                  <a:gd name="T69" fmla="*/ 297523 h 2199"/>
                  <a:gd name="T70" fmla="*/ 884539 w 2358"/>
                  <a:gd name="T71" fmla="*/ 342201 h 2199"/>
                  <a:gd name="T72" fmla="*/ 959599 w 2358"/>
                  <a:gd name="T73" fmla="*/ 355948 h 2199"/>
                  <a:gd name="T74" fmla="*/ 1026320 w 2358"/>
                  <a:gd name="T75" fmla="*/ 389333 h 2199"/>
                  <a:gd name="T76" fmla="*/ 1028773 w 2358"/>
                  <a:gd name="T77" fmla="*/ 434010 h 2199"/>
                  <a:gd name="T78" fmla="*/ 1059680 w 2358"/>
                  <a:gd name="T79" fmla="*/ 406026 h 2199"/>
                  <a:gd name="T80" fmla="*/ 1076360 w 2358"/>
                  <a:gd name="T81" fmla="*/ 389333 h 2199"/>
                  <a:gd name="T82" fmla="*/ 1093040 w 2358"/>
                  <a:gd name="T83" fmla="*/ 442357 h 2199"/>
                  <a:gd name="T84" fmla="*/ 1009640 w 2358"/>
                  <a:gd name="T85" fmla="*/ 648070 h 2199"/>
                  <a:gd name="T86" fmla="*/ 1045453 w 2358"/>
                  <a:gd name="T87" fmla="*/ 681456 h 2199"/>
                  <a:gd name="T88" fmla="*/ 1076360 w 2358"/>
                  <a:gd name="T89" fmla="*/ 712386 h 2199"/>
                  <a:gd name="T90" fmla="*/ 1101381 w 2358"/>
                  <a:gd name="T91" fmla="*/ 742826 h 2199"/>
                  <a:gd name="T92" fmla="*/ 1137194 w 2358"/>
                  <a:gd name="T93" fmla="*/ 767865 h 2199"/>
                  <a:gd name="T94" fmla="*/ 1128854 w 2358"/>
                  <a:gd name="T95" fmla="*/ 854274 h 2199"/>
                  <a:gd name="T96" fmla="*/ 973336 w 2358"/>
                  <a:gd name="T97" fmla="*/ 921045 h 2199"/>
                  <a:gd name="T98" fmla="*/ 892878 w 2358"/>
                  <a:gd name="T99" fmla="*/ 918099 h 2199"/>
                  <a:gd name="T100" fmla="*/ 770230 w 2358"/>
                  <a:gd name="T101" fmla="*/ 912699 h 2199"/>
                  <a:gd name="T102" fmla="*/ 698113 w 2358"/>
                  <a:gd name="T103" fmla="*/ 982415 h 2199"/>
                  <a:gd name="T104" fmla="*/ 592146 w 2358"/>
                  <a:gd name="T105" fmla="*/ 1024147 h 2199"/>
                  <a:gd name="T106" fmla="*/ 481272 w 2358"/>
                  <a:gd name="T107" fmla="*/ 1068334 h 2199"/>
                  <a:gd name="T108" fmla="*/ 456251 w 2358"/>
                  <a:gd name="T109" fmla="*/ 984870 h 2199"/>
                  <a:gd name="T110" fmla="*/ 380700 w 2358"/>
                  <a:gd name="T111" fmla="*/ 1043295 h 2199"/>
                  <a:gd name="T112" fmla="*/ 375303 w 2358"/>
                  <a:gd name="T113" fmla="*/ 968178 h 2199"/>
                  <a:gd name="T114" fmla="*/ 336547 w 2358"/>
                  <a:gd name="T115" fmla="*/ 946084 h 2199"/>
                  <a:gd name="T116" fmla="*/ 316923 w 2358"/>
                  <a:gd name="T117" fmla="*/ 890605 h 2199"/>
                  <a:gd name="T118" fmla="*/ 253146 w 2358"/>
                  <a:gd name="T119" fmla="*/ 759519 h 21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358" h="2199">
                    <a:moveTo>
                      <a:pt x="323" y="1717"/>
                    </a:moveTo>
                    <a:lnTo>
                      <a:pt x="317" y="1712"/>
                    </a:lnTo>
                    <a:lnTo>
                      <a:pt x="317" y="1706"/>
                    </a:lnTo>
                    <a:lnTo>
                      <a:pt x="312" y="1706"/>
                    </a:lnTo>
                    <a:lnTo>
                      <a:pt x="312" y="1700"/>
                    </a:lnTo>
                    <a:lnTo>
                      <a:pt x="312" y="1695"/>
                    </a:lnTo>
                    <a:lnTo>
                      <a:pt x="306" y="1683"/>
                    </a:lnTo>
                    <a:lnTo>
                      <a:pt x="306" y="1678"/>
                    </a:lnTo>
                    <a:lnTo>
                      <a:pt x="300" y="1672"/>
                    </a:lnTo>
                    <a:lnTo>
                      <a:pt x="295" y="1666"/>
                    </a:lnTo>
                    <a:lnTo>
                      <a:pt x="289" y="1661"/>
                    </a:lnTo>
                    <a:lnTo>
                      <a:pt x="283" y="1655"/>
                    </a:lnTo>
                    <a:lnTo>
                      <a:pt x="283" y="1649"/>
                    </a:lnTo>
                    <a:lnTo>
                      <a:pt x="283" y="1644"/>
                    </a:lnTo>
                    <a:lnTo>
                      <a:pt x="278" y="1638"/>
                    </a:lnTo>
                    <a:lnTo>
                      <a:pt x="272" y="1632"/>
                    </a:lnTo>
                    <a:lnTo>
                      <a:pt x="272" y="1621"/>
                    </a:lnTo>
                    <a:lnTo>
                      <a:pt x="266" y="1621"/>
                    </a:lnTo>
                    <a:lnTo>
                      <a:pt x="266" y="1610"/>
                    </a:lnTo>
                    <a:lnTo>
                      <a:pt x="266" y="1604"/>
                    </a:lnTo>
                    <a:lnTo>
                      <a:pt x="261" y="1604"/>
                    </a:lnTo>
                    <a:lnTo>
                      <a:pt x="255" y="1593"/>
                    </a:lnTo>
                    <a:lnTo>
                      <a:pt x="249" y="1587"/>
                    </a:lnTo>
                    <a:lnTo>
                      <a:pt x="244" y="1576"/>
                    </a:lnTo>
                    <a:lnTo>
                      <a:pt x="244" y="1570"/>
                    </a:lnTo>
                    <a:lnTo>
                      <a:pt x="244" y="1564"/>
                    </a:lnTo>
                    <a:lnTo>
                      <a:pt x="238" y="1564"/>
                    </a:lnTo>
                    <a:lnTo>
                      <a:pt x="238" y="1553"/>
                    </a:lnTo>
                    <a:lnTo>
                      <a:pt x="232" y="1553"/>
                    </a:lnTo>
                    <a:lnTo>
                      <a:pt x="227" y="1547"/>
                    </a:lnTo>
                    <a:lnTo>
                      <a:pt x="227" y="1542"/>
                    </a:lnTo>
                    <a:lnTo>
                      <a:pt x="227" y="1536"/>
                    </a:lnTo>
                    <a:lnTo>
                      <a:pt x="221" y="1536"/>
                    </a:lnTo>
                    <a:lnTo>
                      <a:pt x="221" y="1530"/>
                    </a:lnTo>
                    <a:lnTo>
                      <a:pt x="215" y="1525"/>
                    </a:lnTo>
                    <a:lnTo>
                      <a:pt x="215" y="1519"/>
                    </a:lnTo>
                    <a:lnTo>
                      <a:pt x="210" y="1513"/>
                    </a:lnTo>
                    <a:lnTo>
                      <a:pt x="210" y="1508"/>
                    </a:lnTo>
                    <a:lnTo>
                      <a:pt x="210" y="1502"/>
                    </a:lnTo>
                    <a:lnTo>
                      <a:pt x="204" y="1502"/>
                    </a:lnTo>
                    <a:lnTo>
                      <a:pt x="204" y="1496"/>
                    </a:lnTo>
                    <a:lnTo>
                      <a:pt x="204" y="1491"/>
                    </a:lnTo>
                    <a:lnTo>
                      <a:pt x="204" y="1485"/>
                    </a:lnTo>
                    <a:lnTo>
                      <a:pt x="198" y="1485"/>
                    </a:lnTo>
                    <a:lnTo>
                      <a:pt x="198" y="1479"/>
                    </a:lnTo>
                    <a:lnTo>
                      <a:pt x="198" y="1474"/>
                    </a:lnTo>
                    <a:lnTo>
                      <a:pt x="193" y="1468"/>
                    </a:lnTo>
                    <a:lnTo>
                      <a:pt x="193" y="1462"/>
                    </a:lnTo>
                    <a:lnTo>
                      <a:pt x="193" y="1456"/>
                    </a:lnTo>
                    <a:lnTo>
                      <a:pt x="187" y="1451"/>
                    </a:lnTo>
                    <a:lnTo>
                      <a:pt x="187" y="1445"/>
                    </a:lnTo>
                    <a:lnTo>
                      <a:pt x="181" y="1445"/>
                    </a:lnTo>
                    <a:lnTo>
                      <a:pt x="181" y="1439"/>
                    </a:lnTo>
                    <a:lnTo>
                      <a:pt x="181" y="1428"/>
                    </a:lnTo>
                    <a:lnTo>
                      <a:pt x="176" y="1417"/>
                    </a:lnTo>
                    <a:lnTo>
                      <a:pt x="176" y="1411"/>
                    </a:lnTo>
                    <a:lnTo>
                      <a:pt x="170" y="1394"/>
                    </a:lnTo>
                    <a:lnTo>
                      <a:pt x="164" y="1394"/>
                    </a:lnTo>
                    <a:lnTo>
                      <a:pt x="164" y="1388"/>
                    </a:lnTo>
                    <a:lnTo>
                      <a:pt x="159" y="1383"/>
                    </a:lnTo>
                    <a:lnTo>
                      <a:pt x="159" y="1377"/>
                    </a:lnTo>
                    <a:lnTo>
                      <a:pt x="164" y="1377"/>
                    </a:lnTo>
                    <a:lnTo>
                      <a:pt x="159" y="1371"/>
                    </a:lnTo>
                    <a:lnTo>
                      <a:pt x="153" y="1360"/>
                    </a:lnTo>
                    <a:lnTo>
                      <a:pt x="153" y="1354"/>
                    </a:lnTo>
                    <a:lnTo>
                      <a:pt x="153" y="1349"/>
                    </a:lnTo>
                    <a:lnTo>
                      <a:pt x="147" y="1349"/>
                    </a:lnTo>
                    <a:lnTo>
                      <a:pt x="147" y="1343"/>
                    </a:lnTo>
                    <a:lnTo>
                      <a:pt x="147" y="1337"/>
                    </a:lnTo>
                    <a:lnTo>
                      <a:pt x="147" y="1332"/>
                    </a:lnTo>
                    <a:lnTo>
                      <a:pt x="147" y="1326"/>
                    </a:lnTo>
                    <a:lnTo>
                      <a:pt x="147" y="1315"/>
                    </a:lnTo>
                    <a:lnTo>
                      <a:pt x="142" y="1309"/>
                    </a:lnTo>
                    <a:lnTo>
                      <a:pt x="142" y="1303"/>
                    </a:lnTo>
                    <a:lnTo>
                      <a:pt x="136" y="1298"/>
                    </a:lnTo>
                    <a:lnTo>
                      <a:pt x="136" y="1292"/>
                    </a:lnTo>
                    <a:lnTo>
                      <a:pt x="136" y="1286"/>
                    </a:lnTo>
                    <a:lnTo>
                      <a:pt x="136" y="1281"/>
                    </a:lnTo>
                    <a:lnTo>
                      <a:pt x="130" y="1281"/>
                    </a:lnTo>
                    <a:lnTo>
                      <a:pt x="130" y="1269"/>
                    </a:lnTo>
                    <a:lnTo>
                      <a:pt x="130" y="1258"/>
                    </a:lnTo>
                    <a:lnTo>
                      <a:pt x="125" y="1258"/>
                    </a:lnTo>
                    <a:lnTo>
                      <a:pt x="125" y="1252"/>
                    </a:lnTo>
                    <a:lnTo>
                      <a:pt x="119" y="1247"/>
                    </a:lnTo>
                    <a:lnTo>
                      <a:pt x="119" y="1241"/>
                    </a:lnTo>
                    <a:lnTo>
                      <a:pt x="119" y="1235"/>
                    </a:lnTo>
                    <a:lnTo>
                      <a:pt x="113" y="1235"/>
                    </a:lnTo>
                    <a:lnTo>
                      <a:pt x="113" y="1230"/>
                    </a:lnTo>
                    <a:lnTo>
                      <a:pt x="108" y="1224"/>
                    </a:lnTo>
                    <a:lnTo>
                      <a:pt x="102" y="1218"/>
                    </a:lnTo>
                    <a:lnTo>
                      <a:pt x="102" y="1213"/>
                    </a:lnTo>
                    <a:lnTo>
                      <a:pt x="102" y="1207"/>
                    </a:lnTo>
                    <a:lnTo>
                      <a:pt x="96" y="1207"/>
                    </a:lnTo>
                    <a:lnTo>
                      <a:pt x="96" y="1201"/>
                    </a:lnTo>
                    <a:lnTo>
                      <a:pt x="96" y="1196"/>
                    </a:lnTo>
                    <a:lnTo>
                      <a:pt x="96" y="1190"/>
                    </a:lnTo>
                    <a:lnTo>
                      <a:pt x="91" y="1184"/>
                    </a:lnTo>
                    <a:lnTo>
                      <a:pt x="96" y="1184"/>
                    </a:lnTo>
                    <a:lnTo>
                      <a:pt x="91" y="1179"/>
                    </a:lnTo>
                    <a:lnTo>
                      <a:pt x="91" y="1173"/>
                    </a:lnTo>
                    <a:lnTo>
                      <a:pt x="91" y="1167"/>
                    </a:lnTo>
                    <a:lnTo>
                      <a:pt x="85" y="1162"/>
                    </a:lnTo>
                    <a:lnTo>
                      <a:pt x="79" y="1162"/>
                    </a:lnTo>
                    <a:lnTo>
                      <a:pt x="79" y="1156"/>
                    </a:lnTo>
                    <a:lnTo>
                      <a:pt x="74" y="1156"/>
                    </a:lnTo>
                    <a:lnTo>
                      <a:pt x="68" y="1150"/>
                    </a:lnTo>
                    <a:lnTo>
                      <a:pt x="68" y="1145"/>
                    </a:lnTo>
                    <a:lnTo>
                      <a:pt x="62" y="1145"/>
                    </a:lnTo>
                    <a:lnTo>
                      <a:pt x="62" y="1139"/>
                    </a:lnTo>
                    <a:lnTo>
                      <a:pt x="62" y="1133"/>
                    </a:lnTo>
                    <a:lnTo>
                      <a:pt x="57" y="1128"/>
                    </a:lnTo>
                    <a:lnTo>
                      <a:pt x="57" y="1122"/>
                    </a:lnTo>
                    <a:lnTo>
                      <a:pt x="51" y="1116"/>
                    </a:lnTo>
                    <a:lnTo>
                      <a:pt x="45" y="1116"/>
                    </a:lnTo>
                    <a:lnTo>
                      <a:pt x="40" y="1111"/>
                    </a:lnTo>
                    <a:lnTo>
                      <a:pt x="34" y="1111"/>
                    </a:lnTo>
                    <a:lnTo>
                      <a:pt x="34" y="1099"/>
                    </a:lnTo>
                    <a:lnTo>
                      <a:pt x="28" y="1099"/>
                    </a:lnTo>
                    <a:lnTo>
                      <a:pt x="28" y="1094"/>
                    </a:lnTo>
                    <a:lnTo>
                      <a:pt x="28" y="1088"/>
                    </a:lnTo>
                    <a:lnTo>
                      <a:pt x="28" y="1082"/>
                    </a:lnTo>
                    <a:lnTo>
                      <a:pt x="23" y="1077"/>
                    </a:lnTo>
                    <a:lnTo>
                      <a:pt x="28" y="1077"/>
                    </a:lnTo>
                    <a:lnTo>
                      <a:pt x="28" y="1071"/>
                    </a:lnTo>
                    <a:lnTo>
                      <a:pt x="23" y="1065"/>
                    </a:lnTo>
                    <a:lnTo>
                      <a:pt x="17" y="1065"/>
                    </a:lnTo>
                    <a:lnTo>
                      <a:pt x="17" y="1060"/>
                    </a:lnTo>
                    <a:lnTo>
                      <a:pt x="11" y="1054"/>
                    </a:lnTo>
                    <a:lnTo>
                      <a:pt x="6" y="1048"/>
                    </a:lnTo>
                    <a:lnTo>
                      <a:pt x="0" y="1043"/>
                    </a:lnTo>
                    <a:lnTo>
                      <a:pt x="0" y="1037"/>
                    </a:lnTo>
                    <a:lnTo>
                      <a:pt x="0" y="1031"/>
                    </a:lnTo>
                    <a:lnTo>
                      <a:pt x="6" y="1026"/>
                    </a:lnTo>
                    <a:lnTo>
                      <a:pt x="11" y="1026"/>
                    </a:lnTo>
                    <a:lnTo>
                      <a:pt x="17" y="1026"/>
                    </a:lnTo>
                    <a:lnTo>
                      <a:pt x="23" y="1026"/>
                    </a:lnTo>
                    <a:lnTo>
                      <a:pt x="28" y="1020"/>
                    </a:lnTo>
                    <a:lnTo>
                      <a:pt x="34" y="1020"/>
                    </a:lnTo>
                    <a:lnTo>
                      <a:pt x="40" y="1014"/>
                    </a:lnTo>
                    <a:lnTo>
                      <a:pt x="40" y="1009"/>
                    </a:lnTo>
                    <a:lnTo>
                      <a:pt x="45" y="1003"/>
                    </a:lnTo>
                    <a:lnTo>
                      <a:pt x="51" y="1003"/>
                    </a:lnTo>
                    <a:lnTo>
                      <a:pt x="57" y="1003"/>
                    </a:lnTo>
                    <a:lnTo>
                      <a:pt x="62" y="1003"/>
                    </a:lnTo>
                    <a:lnTo>
                      <a:pt x="62" y="1009"/>
                    </a:lnTo>
                    <a:lnTo>
                      <a:pt x="68" y="1009"/>
                    </a:lnTo>
                    <a:lnTo>
                      <a:pt x="68" y="1003"/>
                    </a:lnTo>
                    <a:lnTo>
                      <a:pt x="74" y="1003"/>
                    </a:lnTo>
                    <a:lnTo>
                      <a:pt x="74" y="997"/>
                    </a:lnTo>
                    <a:lnTo>
                      <a:pt x="79" y="997"/>
                    </a:lnTo>
                    <a:lnTo>
                      <a:pt x="79" y="992"/>
                    </a:lnTo>
                    <a:lnTo>
                      <a:pt x="79" y="980"/>
                    </a:lnTo>
                    <a:lnTo>
                      <a:pt x="85" y="975"/>
                    </a:lnTo>
                    <a:lnTo>
                      <a:pt x="91" y="975"/>
                    </a:lnTo>
                    <a:lnTo>
                      <a:pt x="91" y="969"/>
                    </a:lnTo>
                    <a:lnTo>
                      <a:pt x="85" y="969"/>
                    </a:lnTo>
                    <a:lnTo>
                      <a:pt x="85" y="963"/>
                    </a:lnTo>
                    <a:lnTo>
                      <a:pt x="79" y="958"/>
                    </a:lnTo>
                    <a:lnTo>
                      <a:pt x="74" y="952"/>
                    </a:lnTo>
                    <a:lnTo>
                      <a:pt x="79" y="946"/>
                    </a:lnTo>
                    <a:lnTo>
                      <a:pt x="79" y="941"/>
                    </a:lnTo>
                    <a:lnTo>
                      <a:pt x="85" y="941"/>
                    </a:lnTo>
                    <a:lnTo>
                      <a:pt x="85" y="946"/>
                    </a:lnTo>
                    <a:lnTo>
                      <a:pt x="91" y="946"/>
                    </a:lnTo>
                    <a:lnTo>
                      <a:pt x="96" y="946"/>
                    </a:lnTo>
                    <a:lnTo>
                      <a:pt x="96" y="941"/>
                    </a:lnTo>
                    <a:lnTo>
                      <a:pt x="91" y="935"/>
                    </a:lnTo>
                    <a:lnTo>
                      <a:pt x="91" y="929"/>
                    </a:lnTo>
                    <a:lnTo>
                      <a:pt x="96" y="929"/>
                    </a:lnTo>
                    <a:lnTo>
                      <a:pt x="102" y="929"/>
                    </a:lnTo>
                    <a:lnTo>
                      <a:pt x="102" y="924"/>
                    </a:lnTo>
                    <a:lnTo>
                      <a:pt x="96" y="924"/>
                    </a:lnTo>
                    <a:lnTo>
                      <a:pt x="96" y="918"/>
                    </a:lnTo>
                    <a:lnTo>
                      <a:pt x="102" y="918"/>
                    </a:lnTo>
                    <a:lnTo>
                      <a:pt x="108" y="924"/>
                    </a:lnTo>
                    <a:lnTo>
                      <a:pt x="113" y="918"/>
                    </a:lnTo>
                    <a:lnTo>
                      <a:pt x="113" y="912"/>
                    </a:lnTo>
                    <a:lnTo>
                      <a:pt x="113" y="901"/>
                    </a:lnTo>
                    <a:lnTo>
                      <a:pt x="113" y="895"/>
                    </a:lnTo>
                    <a:lnTo>
                      <a:pt x="119" y="890"/>
                    </a:lnTo>
                    <a:lnTo>
                      <a:pt x="125" y="895"/>
                    </a:lnTo>
                    <a:lnTo>
                      <a:pt x="130" y="895"/>
                    </a:lnTo>
                    <a:lnTo>
                      <a:pt x="136" y="890"/>
                    </a:lnTo>
                    <a:lnTo>
                      <a:pt x="142" y="895"/>
                    </a:lnTo>
                    <a:lnTo>
                      <a:pt x="147" y="890"/>
                    </a:lnTo>
                    <a:lnTo>
                      <a:pt x="159" y="884"/>
                    </a:lnTo>
                    <a:lnTo>
                      <a:pt x="164" y="884"/>
                    </a:lnTo>
                    <a:lnTo>
                      <a:pt x="170" y="890"/>
                    </a:lnTo>
                    <a:lnTo>
                      <a:pt x="176" y="890"/>
                    </a:lnTo>
                    <a:lnTo>
                      <a:pt x="176" y="895"/>
                    </a:lnTo>
                    <a:lnTo>
                      <a:pt x="181" y="901"/>
                    </a:lnTo>
                    <a:lnTo>
                      <a:pt x="187" y="901"/>
                    </a:lnTo>
                    <a:lnTo>
                      <a:pt x="193" y="901"/>
                    </a:lnTo>
                    <a:lnTo>
                      <a:pt x="193" y="907"/>
                    </a:lnTo>
                    <a:lnTo>
                      <a:pt x="193" y="912"/>
                    </a:lnTo>
                    <a:lnTo>
                      <a:pt x="187" y="924"/>
                    </a:lnTo>
                    <a:lnTo>
                      <a:pt x="187" y="929"/>
                    </a:lnTo>
                    <a:lnTo>
                      <a:pt x="193" y="935"/>
                    </a:lnTo>
                    <a:lnTo>
                      <a:pt x="198" y="941"/>
                    </a:lnTo>
                    <a:lnTo>
                      <a:pt x="204" y="941"/>
                    </a:lnTo>
                    <a:lnTo>
                      <a:pt x="204" y="935"/>
                    </a:lnTo>
                    <a:lnTo>
                      <a:pt x="210" y="935"/>
                    </a:lnTo>
                    <a:lnTo>
                      <a:pt x="210" y="941"/>
                    </a:lnTo>
                    <a:lnTo>
                      <a:pt x="215" y="941"/>
                    </a:lnTo>
                    <a:lnTo>
                      <a:pt x="215" y="935"/>
                    </a:lnTo>
                    <a:lnTo>
                      <a:pt x="221" y="935"/>
                    </a:lnTo>
                    <a:lnTo>
                      <a:pt x="227" y="935"/>
                    </a:lnTo>
                    <a:lnTo>
                      <a:pt x="232" y="935"/>
                    </a:lnTo>
                    <a:lnTo>
                      <a:pt x="232" y="941"/>
                    </a:lnTo>
                    <a:lnTo>
                      <a:pt x="232" y="946"/>
                    </a:lnTo>
                    <a:lnTo>
                      <a:pt x="238" y="952"/>
                    </a:lnTo>
                    <a:lnTo>
                      <a:pt x="244" y="952"/>
                    </a:lnTo>
                    <a:lnTo>
                      <a:pt x="238" y="958"/>
                    </a:lnTo>
                    <a:lnTo>
                      <a:pt x="238" y="963"/>
                    </a:lnTo>
                    <a:lnTo>
                      <a:pt x="244" y="969"/>
                    </a:lnTo>
                    <a:lnTo>
                      <a:pt x="249" y="969"/>
                    </a:lnTo>
                    <a:lnTo>
                      <a:pt x="249" y="975"/>
                    </a:lnTo>
                    <a:lnTo>
                      <a:pt x="249" y="986"/>
                    </a:lnTo>
                    <a:lnTo>
                      <a:pt x="244" y="992"/>
                    </a:lnTo>
                    <a:lnTo>
                      <a:pt x="232" y="992"/>
                    </a:lnTo>
                    <a:lnTo>
                      <a:pt x="227" y="997"/>
                    </a:lnTo>
                    <a:lnTo>
                      <a:pt x="227" y="1003"/>
                    </a:lnTo>
                    <a:lnTo>
                      <a:pt x="227" y="1009"/>
                    </a:lnTo>
                    <a:lnTo>
                      <a:pt x="232" y="1009"/>
                    </a:lnTo>
                    <a:lnTo>
                      <a:pt x="238" y="1014"/>
                    </a:lnTo>
                    <a:lnTo>
                      <a:pt x="238" y="1020"/>
                    </a:lnTo>
                    <a:lnTo>
                      <a:pt x="238" y="1026"/>
                    </a:lnTo>
                    <a:lnTo>
                      <a:pt x="244" y="1026"/>
                    </a:lnTo>
                    <a:lnTo>
                      <a:pt x="249" y="1026"/>
                    </a:lnTo>
                    <a:lnTo>
                      <a:pt x="249" y="1031"/>
                    </a:lnTo>
                    <a:lnTo>
                      <a:pt x="249" y="1037"/>
                    </a:lnTo>
                    <a:lnTo>
                      <a:pt x="249" y="1043"/>
                    </a:lnTo>
                    <a:lnTo>
                      <a:pt x="249" y="1048"/>
                    </a:lnTo>
                    <a:lnTo>
                      <a:pt x="249" y="1054"/>
                    </a:lnTo>
                    <a:lnTo>
                      <a:pt x="249" y="1060"/>
                    </a:lnTo>
                    <a:lnTo>
                      <a:pt x="244" y="1065"/>
                    </a:lnTo>
                    <a:lnTo>
                      <a:pt x="249" y="1065"/>
                    </a:lnTo>
                    <a:lnTo>
                      <a:pt x="255" y="1065"/>
                    </a:lnTo>
                    <a:lnTo>
                      <a:pt x="261" y="1065"/>
                    </a:lnTo>
                    <a:lnTo>
                      <a:pt x="266" y="1060"/>
                    </a:lnTo>
                    <a:lnTo>
                      <a:pt x="272" y="1060"/>
                    </a:lnTo>
                    <a:lnTo>
                      <a:pt x="283" y="1065"/>
                    </a:lnTo>
                    <a:lnTo>
                      <a:pt x="283" y="1060"/>
                    </a:lnTo>
                    <a:lnTo>
                      <a:pt x="289" y="1060"/>
                    </a:lnTo>
                    <a:lnTo>
                      <a:pt x="295" y="1060"/>
                    </a:lnTo>
                    <a:lnTo>
                      <a:pt x="295" y="1065"/>
                    </a:lnTo>
                    <a:lnTo>
                      <a:pt x="300" y="1071"/>
                    </a:lnTo>
                    <a:lnTo>
                      <a:pt x="300" y="1077"/>
                    </a:lnTo>
                    <a:lnTo>
                      <a:pt x="306" y="1082"/>
                    </a:lnTo>
                    <a:lnTo>
                      <a:pt x="312" y="1082"/>
                    </a:lnTo>
                    <a:lnTo>
                      <a:pt x="317" y="1082"/>
                    </a:lnTo>
                    <a:lnTo>
                      <a:pt x="323" y="1077"/>
                    </a:lnTo>
                    <a:lnTo>
                      <a:pt x="329" y="1077"/>
                    </a:lnTo>
                    <a:lnTo>
                      <a:pt x="334" y="1077"/>
                    </a:lnTo>
                    <a:lnTo>
                      <a:pt x="340" y="1077"/>
                    </a:lnTo>
                    <a:lnTo>
                      <a:pt x="346" y="1077"/>
                    </a:lnTo>
                    <a:lnTo>
                      <a:pt x="351" y="1077"/>
                    </a:lnTo>
                    <a:lnTo>
                      <a:pt x="363" y="1077"/>
                    </a:lnTo>
                    <a:lnTo>
                      <a:pt x="368" y="1077"/>
                    </a:lnTo>
                    <a:lnTo>
                      <a:pt x="368" y="1082"/>
                    </a:lnTo>
                    <a:lnTo>
                      <a:pt x="374" y="1082"/>
                    </a:lnTo>
                    <a:lnTo>
                      <a:pt x="380" y="1077"/>
                    </a:lnTo>
                    <a:lnTo>
                      <a:pt x="380" y="1082"/>
                    </a:lnTo>
                    <a:lnTo>
                      <a:pt x="385" y="1082"/>
                    </a:lnTo>
                    <a:lnTo>
                      <a:pt x="385" y="1088"/>
                    </a:lnTo>
                    <a:lnTo>
                      <a:pt x="391" y="1088"/>
                    </a:lnTo>
                    <a:lnTo>
                      <a:pt x="397" y="1094"/>
                    </a:lnTo>
                    <a:lnTo>
                      <a:pt x="402" y="1094"/>
                    </a:lnTo>
                    <a:lnTo>
                      <a:pt x="402" y="1099"/>
                    </a:lnTo>
                    <a:lnTo>
                      <a:pt x="408" y="1099"/>
                    </a:lnTo>
                    <a:lnTo>
                      <a:pt x="414" y="1105"/>
                    </a:lnTo>
                    <a:lnTo>
                      <a:pt x="414" y="1111"/>
                    </a:lnTo>
                    <a:lnTo>
                      <a:pt x="419" y="1111"/>
                    </a:lnTo>
                    <a:lnTo>
                      <a:pt x="425" y="1111"/>
                    </a:lnTo>
                    <a:lnTo>
                      <a:pt x="431" y="1116"/>
                    </a:lnTo>
                    <a:lnTo>
                      <a:pt x="436" y="1116"/>
                    </a:lnTo>
                    <a:lnTo>
                      <a:pt x="442" y="1116"/>
                    </a:lnTo>
                    <a:lnTo>
                      <a:pt x="448" y="1116"/>
                    </a:lnTo>
                    <a:lnTo>
                      <a:pt x="448" y="1122"/>
                    </a:lnTo>
                    <a:lnTo>
                      <a:pt x="453" y="1116"/>
                    </a:lnTo>
                    <a:lnTo>
                      <a:pt x="459" y="1116"/>
                    </a:lnTo>
                    <a:lnTo>
                      <a:pt x="465" y="1116"/>
                    </a:lnTo>
                    <a:lnTo>
                      <a:pt x="470" y="1111"/>
                    </a:lnTo>
                    <a:lnTo>
                      <a:pt x="476" y="1111"/>
                    </a:lnTo>
                    <a:lnTo>
                      <a:pt x="482" y="1111"/>
                    </a:lnTo>
                    <a:lnTo>
                      <a:pt x="493" y="1111"/>
                    </a:lnTo>
                    <a:lnTo>
                      <a:pt x="499" y="1116"/>
                    </a:lnTo>
                    <a:lnTo>
                      <a:pt x="504" y="1116"/>
                    </a:lnTo>
                    <a:lnTo>
                      <a:pt x="510" y="1116"/>
                    </a:lnTo>
                    <a:lnTo>
                      <a:pt x="516" y="1116"/>
                    </a:lnTo>
                    <a:lnTo>
                      <a:pt x="521" y="1111"/>
                    </a:lnTo>
                    <a:lnTo>
                      <a:pt x="527" y="1111"/>
                    </a:lnTo>
                    <a:lnTo>
                      <a:pt x="533" y="1111"/>
                    </a:lnTo>
                    <a:lnTo>
                      <a:pt x="538" y="1111"/>
                    </a:lnTo>
                    <a:lnTo>
                      <a:pt x="544" y="1111"/>
                    </a:lnTo>
                    <a:lnTo>
                      <a:pt x="544" y="1105"/>
                    </a:lnTo>
                    <a:lnTo>
                      <a:pt x="550" y="1105"/>
                    </a:lnTo>
                    <a:lnTo>
                      <a:pt x="555" y="1105"/>
                    </a:lnTo>
                    <a:lnTo>
                      <a:pt x="567" y="1099"/>
                    </a:lnTo>
                    <a:lnTo>
                      <a:pt x="572" y="1105"/>
                    </a:lnTo>
                    <a:lnTo>
                      <a:pt x="578" y="1105"/>
                    </a:lnTo>
                    <a:lnTo>
                      <a:pt x="584" y="1099"/>
                    </a:lnTo>
                    <a:lnTo>
                      <a:pt x="589" y="1099"/>
                    </a:lnTo>
                    <a:lnTo>
                      <a:pt x="595" y="1099"/>
                    </a:lnTo>
                    <a:lnTo>
                      <a:pt x="601" y="1099"/>
                    </a:lnTo>
                    <a:lnTo>
                      <a:pt x="606" y="1099"/>
                    </a:lnTo>
                    <a:lnTo>
                      <a:pt x="612" y="1099"/>
                    </a:lnTo>
                    <a:lnTo>
                      <a:pt x="618" y="1099"/>
                    </a:lnTo>
                    <a:lnTo>
                      <a:pt x="623" y="1105"/>
                    </a:lnTo>
                    <a:lnTo>
                      <a:pt x="629" y="1099"/>
                    </a:lnTo>
                    <a:lnTo>
                      <a:pt x="629" y="1105"/>
                    </a:lnTo>
                    <a:lnTo>
                      <a:pt x="635" y="1105"/>
                    </a:lnTo>
                    <a:lnTo>
                      <a:pt x="640" y="1105"/>
                    </a:lnTo>
                    <a:lnTo>
                      <a:pt x="646" y="1105"/>
                    </a:lnTo>
                    <a:lnTo>
                      <a:pt x="652" y="1105"/>
                    </a:lnTo>
                    <a:lnTo>
                      <a:pt x="652" y="1111"/>
                    </a:lnTo>
                    <a:lnTo>
                      <a:pt x="657" y="1111"/>
                    </a:lnTo>
                    <a:lnTo>
                      <a:pt x="663" y="1116"/>
                    </a:lnTo>
                    <a:lnTo>
                      <a:pt x="663" y="1122"/>
                    </a:lnTo>
                    <a:lnTo>
                      <a:pt x="663" y="1128"/>
                    </a:lnTo>
                    <a:lnTo>
                      <a:pt x="669" y="1128"/>
                    </a:lnTo>
                    <a:lnTo>
                      <a:pt x="669" y="1122"/>
                    </a:lnTo>
                    <a:lnTo>
                      <a:pt x="669" y="1128"/>
                    </a:lnTo>
                    <a:lnTo>
                      <a:pt x="674" y="1128"/>
                    </a:lnTo>
                    <a:lnTo>
                      <a:pt x="680" y="1128"/>
                    </a:lnTo>
                    <a:lnTo>
                      <a:pt x="686" y="1133"/>
                    </a:lnTo>
                    <a:lnTo>
                      <a:pt x="691" y="1133"/>
                    </a:lnTo>
                    <a:lnTo>
                      <a:pt x="697" y="1133"/>
                    </a:lnTo>
                    <a:lnTo>
                      <a:pt x="703" y="1133"/>
                    </a:lnTo>
                    <a:lnTo>
                      <a:pt x="708" y="1133"/>
                    </a:lnTo>
                    <a:lnTo>
                      <a:pt x="714" y="1128"/>
                    </a:lnTo>
                    <a:lnTo>
                      <a:pt x="720" y="1122"/>
                    </a:lnTo>
                    <a:lnTo>
                      <a:pt x="725" y="1116"/>
                    </a:lnTo>
                    <a:lnTo>
                      <a:pt x="731" y="1116"/>
                    </a:lnTo>
                    <a:lnTo>
                      <a:pt x="737" y="1116"/>
                    </a:lnTo>
                    <a:lnTo>
                      <a:pt x="742" y="1111"/>
                    </a:lnTo>
                    <a:lnTo>
                      <a:pt x="737" y="1111"/>
                    </a:lnTo>
                    <a:lnTo>
                      <a:pt x="731" y="1105"/>
                    </a:lnTo>
                    <a:lnTo>
                      <a:pt x="725" y="1094"/>
                    </a:lnTo>
                    <a:lnTo>
                      <a:pt x="725" y="1088"/>
                    </a:lnTo>
                    <a:lnTo>
                      <a:pt x="731" y="1082"/>
                    </a:lnTo>
                    <a:lnTo>
                      <a:pt x="731" y="1077"/>
                    </a:lnTo>
                    <a:lnTo>
                      <a:pt x="737" y="1071"/>
                    </a:lnTo>
                    <a:lnTo>
                      <a:pt x="742" y="1071"/>
                    </a:lnTo>
                    <a:lnTo>
                      <a:pt x="748" y="1071"/>
                    </a:lnTo>
                    <a:lnTo>
                      <a:pt x="754" y="1071"/>
                    </a:lnTo>
                    <a:lnTo>
                      <a:pt x="759" y="1071"/>
                    </a:lnTo>
                    <a:lnTo>
                      <a:pt x="765" y="1071"/>
                    </a:lnTo>
                    <a:lnTo>
                      <a:pt x="771" y="1071"/>
                    </a:lnTo>
                    <a:lnTo>
                      <a:pt x="776" y="1071"/>
                    </a:lnTo>
                    <a:lnTo>
                      <a:pt x="782" y="1065"/>
                    </a:lnTo>
                    <a:lnTo>
                      <a:pt x="788" y="1065"/>
                    </a:lnTo>
                    <a:lnTo>
                      <a:pt x="788" y="1060"/>
                    </a:lnTo>
                    <a:lnTo>
                      <a:pt x="793" y="1060"/>
                    </a:lnTo>
                    <a:lnTo>
                      <a:pt x="793" y="1054"/>
                    </a:lnTo>
                    <a:lnTo>
                      <a:pt x="793" y="1048"/>
                    </a:lnTo>
                    <a:lnTo>
                      <a:pt x="793" y="1043"/>
                    </a:lnTo>
                    <a:lnTo>
                      <a:pt x="799" y="1037"/>
                    </a:lnTo>
                    <a:lnTo>
                      <a:pt x="799" y="1031"/>
                    </a:lnTo>
                    <a:lnTo>
                      <a:pt x="805" y="1026"/>
                    </a:lnTo>
                    <a:lnTo>
                      <a:pt x="810" y="1020"/>
                    </a:lnTo>
                    <a:lnTo>
                      <a:pt x="810" y="1014"/>
                    </a:lnTo>
                    <a:lnTo>
                      <a:pt x="816" y="1014"/>
                    </a:lnTo>
                    <a:lnTo>
                      <a:pt x="828" y="1014"/>
                    </a:lnTo>
                    <a:lnTo>
                      <a:pt x="833" y="1014"/>
                    </a:lnTo>
                    <a:lnTo>
                      <a:pt x="839" y="1014"/>
                    </a:lnTo>
                    <a:lnTo>
                      <a:pt x="845" y="1014"/>
                    </a:lnTo>
                    <a:lnTo>
                      <a:pt x="850" y="1009"/>
                    </a:lnTo>
                    <a:lnTo>
                      <a:pt x="856" y="1003"/>
                    </a:lnTo>
                    <a:lnTo>
                      <a:pt x="862" y="1003"/>
                    </a:lnTo>
                    <a:lnTo>
                      <a:pt x="867" y="1009"/>
                    </a:lnTo>
                    <a:lnTo>
                      <a:pt x="873" y="1009"/>
                    </a:lnTo>
                    <a:lnTo>
                      <a:pt x="879" y="1009"/>
                    </a:lnTo>
                    <a:lnTo>
                      <a:pt x="884" y="1003"/>
                    </a:lnTo>
                    <a:lnTo>
                      <a:pt x="884" y="997"/>
                    </a:lnTo>
                    <a:lnTo>
                      <a:pt x="890" y="997"/>
                    </a:lnTo>
                    <a:lnTo>
                      <a:pt x="896" y="992"/>
                    </a:lnTo>
                    <a:lnTo>
                      <a:pt x="901" y="992"/>
                    </a:lnTo>
                    <a:lnTo>
                      <a:pt x="907" y="992"/>
                    </a:lnTo>
                    <a:lnTo>
                      <a:pt x="913" y="992"/>
                    </a:lnTo>
                    <a:lnTo>
                      <a:pt x="918" y="986"/>
                    </a:lnTo>
                    <a:lnTo>
                      <a:pt x="924" y="992"/>
                    </a:lnTo>
                    <a:lnTo>
                      <a:pt x="924" y="986"/>
                    </a:lnTo>
                    <a:lnTo>
                      <a:pt x="930" y="952"/>
                    </a:lnTo>
                    <a:lnTo>
                      <a:pt x="930" y="918"/>
                    </a:lnTo>
                    <a:lnTo>
                      <a:pt x="930" y="884"/>
                    </a:lnTo>
                    <a:lnTo>
                      <a:pt x="930" y="850"/>
                    </a:lnTo>
                    <a:lnTo>
                      <a:pt x="930" y="816"/>
                    </a:lnTo>
                    <a:lnTo>
                      <a:pt x="930" y="782"/>
                    </a:lnTo>
                    <a:lnTo>
                      <a:pt x="930" y="748"/>
                    </a:lnTo>
                    <a:lnTo>
                      <a:pt x="935" y="714"/>
                    </a:lnTo>
                    <a:lnTo>
                      <a:pt x="935" y="703"/>
                    </a:lnTo>
                    <a:lnTo>
                      <a:pt x="935" y="680"/>
                    </a:lnTo>
                    <a:lnTo>
                      <a:pt x="935" y="646"/>
                    </a:lnTo>
                    <a:lnTo>
                      <a:pt x="935" y="612"/>
                    </a:lnTo>
                    <a:lnTo>
                      <a:pt x="935" y="578"/>
                    </a:lnTo>
                    <a:lnTo>
                      <a:pt x="935" y="544"/>
                    </a:lnTo>
                    <a:lnTo>
                      <a:pt x="935" y="510"/>
                    </a:lnTo>
                    <a:lnTo>
                      <a:pt x="941" y="476"/>
                    </a:lnTo>
                    <a:lnTo>
                      <a:pt x="941" y="442"/>
                    </a:lnTo>
                    <a:lnTo>
                      <a:pt x="941" y="408"/>
                    </a:lnTo>
                    <a:lnTo>
                      <a:pt x="941" y="374"/>
                    </a:lnTo>
                    <a:lnTo>
                      <a:pt x="941" y="340"/>
                    </a:lnTo>
                    <a:lnTo>
                      <a:pt x="941" y="306"/>
                    </a:lnTo>
                    <a:lnTo>
                      <a:pt x="941" y="272"/>
                    </a:lnTo>
                    <a:lnTo>
                      <a:pt x="941" y="243"/>
                    </a:lnTo>
                    <a:lnTo>
                      <a:pt x="941" y="238"/>
                    </a:lnTo>
                    <a:lnTo>
                      <a:pt x="947" y="232"/>
                    </a:lnTo>
                    <a:lnTo>
                      <a:pt x="947" y="221"/>
                    </a:lnTo>
                    <a:lnTo>
                      <a:pt x="947" y="204"/>
                    </a:lnTo>
                    <a:lnTo>
                      <a:pt x="947" y="181"/>
                    </a:lnTo>
                    <a:lnTo>
                      <a:pt x="947" y="170"/>
                    </a:lnTo>
                    <a:lnTo>
                      <a:pt x="947" y="158"/>
                    </a:lnTo>
                    <a:lnTo>
                      <a:pt x="947" y="136"/>
                    </a:lnTo>
                    <a:lnTo>
                      <a:pt x="947" y="113"/>
                    </a:lnTo>
                    <a:lnTo>
                      <a:pt x="947" y="102"/>
                    </a:lnTo>
                    <a:lnTo>
                      <a:pt x="947" y="90"/>
                    </a:lnTo>
                    <a:lnTo>
                      <a:pt x="947" y="68"/>
                    </a:lnTo>
                    <a:lnTo>
                      <a:pt x="947" y="45"/>
                    </a:lnTo>
                    <a:lnTo>
                      <a:pt x="947" y="34"/>
                    </a:lnTo>
                    <a:lnTo>
                      <a:pt x="947" y="22"/>
                    </a:lnTo>
                    <a:lnTo>
                      <a:pt x="947" y="0"/>
                    </a:lnTo>
                    <a:lnTo>
                      <a:pt x="952" y="5"/>
                    </a:lnTo>
                    <a:lnTo>
                      <a:pt x="958" y="5"/>
                    </a:lnTo>
                    <a:lnTo>
                      <a:pt x="958" y="11"/>
                    </a:lnTo>
                    <a:lnTo>
                      <a:pt x="958" y="17"/>
                    </a:lnTo>
                    <a:lnTo>
                      <a:pt x="964" y="17"/>
                    </a:lnTo>
                    <a:lnTo>
                      <a:pt x="964" y="22"/>
                    </a:lnTo>
                    <a:lnTo>
                      <a:pt x="969" y="22"/>
                    </a:lnTo>
                    <a:lnTo>
                      <a:pt x="975" y="22"/>
                    </a:lnTo>
                    <a:lnTo>
                      <a:pt x="975" y="28"/>
                    </a:lnTo>
                    <a:lnTo>
                      <a:pt x="981" y="34"/>
                    </a:lnTo>
                    <a:lnTo>
                      <a:pt x="986" y="34"/>
                    </a:lnTo>
                    <a:lnTo>
                      <a:pt x="992" y="34"/>
                    </a:lnTo>
                    <a:lnTo>
                      <a:pt x="992" y="39"/>
                    </a:lnTo>
                    <a:lnTo>
                      <a:pt x="998" y="39"/>
                    </a:lnTo>
                    <a:lnTo>
                      <a:pt x="1003" y="39"/>
                    </a:lnTo>
                    <a:lnTo>
                      <a:pt x="1009" y="45"/>
                    </a:lnTo>
                    <a:lnTo>
                      <a:pt x="1015" y="45"/>
                    </a:lnTo>
                    <a:lnTo>
                      <a:pt x="1020" y="45"/>
                    </a:lnTo>
                    <a:lnTo>
                      <a:pt x="1020" y="51"/>
                    </a:lnTo>
                    <a:lnTo>
                      <a:pt x="1020" y="56"/>
                    </a:lnTo>
                    <a:lnTo>
                      <a:pt x="1026" y="56"/>
                    </a:lnTo>
                    <a:lnTo>
                      <a:pt x="1026" y="62"/>
                    </a:lnTo>
                    <a:lnTo>
                      <a:pt x="1032" y="62"/>
                    </a:lnTo>
                    <a:lnTo>
                      <a:pt x="1037" y="68"/>
                    </a:lnTo>
                    <a:lnTo>
                      <a:pt x="1037" y="73"/>
                    </a:lnTo>
                    <a:lnTo>
                      <a:pt x="1043" y="73"/>
                    </a:lnTo>
                    <a:lnTo>
                      <a:pt x="1049" y="73"/>
                    </a:lnTo>
                    <a:lnTo>
                      <a:pt x="1049" y="79"/>
                    </a:lnTo>
                    <a:lnTo>
                      <a:pt x="1054" y="85"/>
                    </a:lnTo>
                    <a:lnTo>
                      <a:pt x="1054" y="90"/>
                    </a:lnTo>
                    <a:lnTo>
                      <a:pt x="1060" y="96"/>
                    </a:lnTo>
                    <a:lnTo>
                      <a:pt x="1060" y="102"/>
                    </a:lnTo>
                    <a:lnTo>
                      <a:pt x="1060" y="107"/>
                    </a:lnTo>
                    <a:lnTo>
                      <a:pt x="1066" y="107"/>
                    </a:lnTo>
                    <a:lnTo>
                      <a:pt x="1071" y="107"/>
                    </a:lnTo>
                    <a:lnTo>
                      <a:pt x="1071" y="113"/>
                    </a:lnTo>
                    <a:lnTo>
                      <a:pt x="1066" y="119"/>
                    </a:lnTo>
                    <a:lnTo>
                      <a:pt x="1066" y="124"/>
                    </a:lnTo>
                    <a:lnTo>
                      <a:pt x="1071" y="124"/>
                    </a:lnTo>
                    <a:lnTo>
                      <a:pt x="1077" y="124"/>
                    </a:lnTo>
                    <a:lnTo>
                      <a:pt x="1077" y="130"/>
                    </a:lnTo>
                    <a:lnTo>
                      <a:pt x="1077" y="136"/>
                    </a:lnTo>
                    <a:lnTo>
                      <a:pt x="1083" y="141"/>
                    </a:lnTo>
                    <a:lnTo>
                      <a:pt x="1088" y="141"/>
                    </a:lnTo>
                    <a:lnTo>
                      <a:pt x="1083" y="147"/>
                    </a:lnTo>
                    <a:lnTo>
                      <a:pt x="1083" y="153"/>
                    </a:lnTo>
                    <a:lnTo>
                      <a:pt x="1088" y="153"/>
                    </a:lnTo>
                    <a:lnTo>
                      <a:pt x="1088" y="158"/>
                    </a:lnTo>
                    <a:lnTo>
                      <a:pt x="1094" y="164"/>
                    </a:lnTo>
                    <a:lnTo>
                      <a:pt x="1094" y="170"/>
                    </a:lnTo>
                    <a:lnTo>
                      <a:pt x="1100" y="170"/>
                    </a:lnTo>
                    <a:lnTo>
                      <a:pt x="1105" y="175"/>
                    </a:lnTo>
                    <a:lnTo>
                      <a:pt x="1105" y="181"/>
                    </a:lnTo>
                    <a:lnTo>
                      <a:pt x="1111" y="181"/>
                    </a:lnTo>
                    <a:lnTo>
                      <a:pt x="1111" y="187"/>
                    </a:lnTo>
                    <a:lnTo>
                      <a:pt x="1117" y="187"/>
                    </a:lnTo>
                    <a:lnTo>
                      <a:pt x="1122" y="187"/>
                    </a:lnTo>
                    <a:lnTo>
                      <a:pt x="1122" y="192"/>
                    </a:lnTo>
                    <a:lnTo>
                      <a:pt x="1117" y="192"/>
                    </a:lnTo>
                    <a:lnTo>
                      <a:pt x="1111" y="198"/>
                    </a:lnTo>
                    <a:lnTo>
                      <a:pt x="1111" y="204"/>
                    </a:lnTo>
                    <a:lnTo>
                      <a:pt x="1111" y="209"/>
                    </a:lnTo>
                    <a:lnTo>
                      <a:pt x="1122" y="215"/>
                    </a:lnTo>
                    <a:lnTo>
                      <a:pt x="1128" y="221"/>
                    </a:lnTo>
                    <a:lnTo>
                      <a:pt x="1128" y="226"/>
                    </a:lnTo>
                    <a:lnTo>
                      <a:pt x="1122" y="226"/>
                    </a:lnTo>
                    <a:lnTo>
                      <a:pt x="1122" y="232"/>
                    </a:lnTo>
                    <a:lnTo>
                      <a:pt x="1117" y="232"/>
                    </a:lnTo>
                    <a:lnTo>
                      <a:pt x="1117" y="238"/>
                    </a:lnTo>
                    <a:lnTo>
                      <a:pt x="1122" y="238"/>
                    </a:lnTo>
                    <a:lnTo>
                      <a:pt x="1128" y="238"/>
                    </a:lnTo>
                    <a:lnTo>
                      <a:pt x="1122" y="249"/>
                    </a:lnTo>
                    <a:lnTo>
                      <a:pt x="1122" y="255"/>
                    </a:lnTo>
                    <a:lnTo>
                      <a:pt x="1128" y="255"/>
                    </a:lnTo>
                    <a:lnTo>
                      <a:pt x="1134" y="260"/>
                    </a:lnTo>
                    <a:lnTo>
                      <a:pt x="1134" y="266"/>
                    </a:lnTo>
                    <a:lnTo>
                      <a:pt x="1134" y="272"/>
                    </a:lnTo>
                    <a:lnTo>
                      <a:pt x="1139" y="272"/>
                    </a:lnTo>
                    <a:lnTo>
                      <a:pt x="1139" y="277"/>
                    </a:lnTo>
                    <a:lnTo>
                      <a:pt x="1145" y="277"/>
                    </a:lnTo>
                    <a:lnTo>
                      <a:pt x="1139" y="277"/>
                    </a:lnTo>
                    <a:lnTo>
                      <a:pt x="1139" y="283"/>
                    </a:lnTo>
                    <a:lnTo>
                      <a:pt x="1139" y="289"/>
                    </a:lnTo>
                    <a:lnTo>
                      <a:pt x="1151" y="283"/>
                    </a:lnTo>
                    <a:lnTo>
                      <a:pt x="1151" y="294"/>
                    </a:lnTo>
                    <a:lnTo>
                      <a:pt x="1151" y="300"/>
                    </a:lnTo>
                    <a:lnTo>
                      <a:pt x="1156" y="300"/>
                    </a:lnTo>
                    <a:lnTo>
                      <a:pt x="1156" y="306"/>
                    </a:lnTo>
                    <a:lnTo>
                      <a:pt x="1151" y="306"/>
                    </a:lnTo>
                    <a:lnTo>
                      <a:pt x="1151" y="311"/>
                    </a:lnTo>
                    <a:lnTo>
                      <a:pt x="1156" y="317"/>
                    </a:lnTo>
                    <a:lnTo>
                      <a:pt x="1162" y="323"/>
                    </a:lnTo>
                    <a:lnTo>
                      <a:pt x="1162" y="328"/>
                    </a:lnTo>
                    <a:lnTo>
                      <a:pt x="1162" y="334"/>
                    </a:lnTo>
                    <a:lnTo>
                      <a:pt x="1156" y="334"/>
                    </a:lnTo>
                    <a:lnTo>
                      <a:pt x="1156" y="340"/>
                    </a:lnTo>
                    <a:lnTo>
                      <a:pt x="1162" y="345"/>
                    </a:lnTo>
                    <a:lnTo>
                      <a:pt x="1162" y="351"/>
                    </a:lnTo>
                    <a:lnTo>
                      <a:pt x="1156" y="351"/>
                    </a:lnTo>
                    <a:lnTo>
                      <a:pt x="1162" y="351"/>
                    </a:lnTo>
                    <a:lnTo>
                      <a:pt x="1162" y="357"/>
                    </a:lnTo>
                    <a:lnTo>
                      <a:pt x="1156" y="362"/>
                    </a:lnTo>
                    <a:lnTo>
                      <a:pt x="1162" y="368"/>
                    </a:lnTo>
                    <a:lnTo>
                      <a:pt x="1168" y="368"/>
                    </a:lnTo>
                    <a:lnTo>
                      <a:pt x="1168" y="374"/>
                    </a:lnTo>
                    <a:lnTo>
                      <a:pt x="1168" y="379"/>
                    </a:lnTo>
                    <a:lnTo>
                      <a:pt x="1162" y="379"/>
                    </a:lnTo>
                    <a:lnTo>
                      <a:pt x="1156" y="379"/>
                    </a:lnTo>
                    <a:lnTo>
                      <a:pt x="1156" y="385"/>
                    </a:lnTo>
                    <a:lnTo>
                      <a:pt x="1156" y="391"/>
                    </a:lnTo>
                    <a:lnTo>
                      <a:pt x="1151" y="396"/>
                    </a:lnTo>
                    <a:lnTo>
                      <a:pt x="1151" y="402"/>
                    </a:lnTo>
                    <a:lnTo>
                      <a:pt x="1151" y="408"/>
                    </a:lnTo>
                    <a:lnTo>
                      <a:pt x="1145" y="408"/>
                    </a:lnTo>
                    <a:lnTo>
                      <a:pt x="1145" y="413"/>
                    </a:lnTo>
                    <a:lnTo>
                      <a:pt x="1139" y="413"/>
                    </a:lnTo>
                    <a:lnTo>
                      <a:pt x="1134" y="419"/>
                    </a:lnTo>
                    <a:lnTo>
                      <a:pt x="1134" y="425"/>
                    </a:lnTo>
                    <a:lnTo>
                      <a:pt x="1128" y="425"/>
                    </a:lnTo>
                    <a:lnTo>
                      <a:pt x="1128" y="430"/>
                    </a:lnTo>
                    <a:lnTo>
                      <a:pt x="1122" y="430"/>
                    </a:lnTo>
                    <a:lnTo>
                      <a:pt x="1122" y="436"/>
                    </a:lnTo>
                    <a:lnTo>
                      <a:pt x="1122" y="442"/>
                    </a:lnTo>
                    <a:lnTo>
                      <a:pt x="1117" y="442"/>
                    </a:lnTo>
                    <a:lnTo>
                      <a:pt x="1111" y="447"/>
                    </a:lnTo>
                    <a:lnTo>
                      <a:pt x="1111" y="453"/>
                    </a:lnTo>
                    <a:lnTo>
                      <a:pt x="1105" y="453"/>
                    </a:lnTo>
                    <a:lnTo>
                      <a:pt x="1100" y="453"/>
                    </a:lnTo>
                    <a:lnTo>
                      <a:pt x="1100" y="464"/>
                    </a:lnTo>
                    <a:lnTo>
                      <a:pt x="1100" y="470"/>
                    </a:lnTo>
                    <a:lnTo>
                      <a:pt x="1100" y="476"/>
                    </a:lnTo>
                    <a:lnTo>
                      <a:pt x="1100" y="487"/>
                    </a:lnTo>
                    <a:lnTo>
                      <a:pt x="1100" y="493"/>
                    </a:lnTo>
                    <a:lnTo>
                      <a:pt x="1105" y="493"/>
                    </a:lnTo>
                    <a:lnTo>
                      <a:pt x="1105" y="504"/>
                    </a:lnTo>
                    <a:lnTo>
                      <a:pt x="1105" y="515"/>
                    </a:lnTo>
                    <a:lnTo>
                      <a:pt x="1100" y="521"/>
                    </a:lnTo>
                    <a:lnTo>
                      <a:pt x="1100" y="527"/>
                    </a:lnTo>
                    <a:lnTo>
                      <a:pt x="1105" y="532"/>
                    </a:lnTo>
                    <a:lnTo>
                      <a:pt x="1105" y="538"/>
                    </a:lnTo>
                    <a:lnTo>
                      <a:pt x="1105" y="544"/>
                    </a:lnTo>
                    <a:lnTo>
                      <a:pt x="1105" y="550"/>
                    </a:lnTo>
                    <a:lnTo>
                      <a:pt x="1111" y="555"/>
                    </a:lnTo>
                    <a:lnTo>
                      <a:pt x="1105" y="555"/>
                    </a:lnTo>
                    <a:lnTo>
                      <a:pt x="1105" y="561"/>
                    </a:lnTo>
                    <a:lnTo>
                      <a:pt x="1111" y="561"/>
                    </a:lnTo>
                    <a:lnTo>
                      <a:pt x="1117" y="561"/>
                    </a:lnTo>
                    <a:lnTo>
                      <a:pt x="1117" y="567"/>
                    </a:lnTo>
                    <a:lnTo>
                      <a:pt x="1117" y="572"/>
                    </a:lnTo>
                    <a:lnTo>
                      <a:pt x="1117" y="578"/>
                    </a:lnTo>
                    <a:lnTo>
                      <a:pt x="1122" y="578"/>
                    </a:lnTo>
                    <a:lnTo>
                      <a:pt x="1122" y="572"/>
                    </a:lnTo>
                    <a:lnTo>
                      <a:pt x="1128" y="572"/>
                    </a:lnTo>
                    <a:lnTo>
                      <a:pt x="1128" y="567"/>
                    </a:lnTo>
                    <a:lnTo>
                      <a:pt x="1134" y="567"/>
                    </a:lnTo>
                    <a:lnTo>
                      <a:pt x="1139" y="567"/>
                    </a:lnTo>
                    <a:lnTo>
                      <a:pt x="1145" y="561"/>
                    </a:lnTo>
                    <a:lnTo>
                      <a:pt x="1151" y="561"/>
                    </a:lnTo>
                    <a:lnTo>
                      <a:pt x="1156" y="555"/>
                    </a:lnTo>
                    <a:lnTo>
                      <a:pt x="1162" y="555"/>
                    </a:lnTo>
                    <a:lnTo>
                      <a:pt x="1168" y="550"/>
                    </a:lnTo>
                    <a:lnTo>
                      <a:pt x="1173" y="550"/>
                    </a:lnTo>
                    <a:lnTo>
                      <a:pt x="1179" y="550"/>
                    </a:lnTo>
                    <a:lnTo>
                      <a:pt x="1185" y="555"/>
                    </a:lnTo>
                    <a:lnTo>
                      <a:pt x="1190" y="550"/>
                    </a:lnTo>
                    <a:lnTo>
                      <a:pt x="1196" y="555"/>
                    </a:lnTo>
                    <a:lnTo>
                      <a:pt x="1202" y="561"/>
                    </a:lnTo>
                    <a:lnTo>
                      <a:pt x="1207" y="561"/>
                    </a:lnTo>
                    <a:lnTo>
                      <a:pt x="1207" y="567"/>
                    </a:lnTo>
                    <a:lnTo>
                      <a:pt x="1213" y="561"/>
                    </a:lnTo>
                    <a:lnTo>
                      <a:pt x="1213" y="567"/>
                    </a:lnTo>
                    <a:lnTo>
                      <a:pt x="1219" y="567"/>
                    </a:lnTo>
                    <a:lnTo>
                      <a:pt x="1236" y="572"/>
                    </a:lnTo>
                    <a:lnTo>
                      <a:pt x="1241" y="572"/>
                    </a:lnTo>
                    <a:lnTo>
                      <a:pt x="1247" y="567"/>
                    </a:lnTo>
                    <a:lnTo>
                      <a:pt x="1253" y="567"/>
                    </a:lnTo>
                    <a:lnTo>
                      <a:pt x="1258" y="561"/>
                    </a:lnTo>
                    <a:lnTo>
                      <a:pt x="1264" y="561"/>
                    </a:lnTo>
                    <a:lnTo>
                      <a:pt x="1270" y="561"/>
                    </a:lnTo>
                    <a:lnTo>
                      <a:pt x="1275" y="561"/>
                    </a:lnTo>
                    <a:lnTo>
                      <a:pt x="1275" y="567"/>
                    </a:lnTo>
                    <a:lnTo>
                      <a:pt x="1281" y="567"/>
                    </a:lnTo>
                    <a:lnTo>
                      <a:pt x="1281" y="561"/>
                    </a:lnTo>
                    <a:lnTo>
                      <a:pt x="1287" y="561"/>
                    </a:lnTo>
                    <a:lnTo>
                      <a:pt x="1292" y="555"/>
                    </a:lnTo>
                    <a:lnTo>
                      <a:pt x="1298" y="561"/>
                    </a:lnTo>
                    <a:lnTo>
                      <a:pt x="1304" y="555"/>
                    </a:lnTo>
                    <a:lnTo>
                      <a:pt x="1309" y="555"/>
                    </a:lnTo>
                    <a:lnTo>
                      <a:pt x="1315" y="555"/>
                    </a:lnTo>
                    <a:lnTo>
                      <a:pt x="1321" y="561"/>
                    </a:lnTo>
                    <a:lnTo>
                      <a:pt x="1326" y="561"/>
                    </a:lnTo>
                    <a:lnTo>
                      <a:pt x="1332" y="567"/>
                    </a:lnTo>
                    <a:lnTo>
                      <a:pt x="1338" y="567"/>
                    </a:lnTo>
                    <a:lnTo>
                      <a:pt x="1343" y="567"/>
                    </a:lnTo>
                    <a:lnTo>
                      <a:pt x="1343" y="561"/>
                    </a:lnTo>
                    <a:lnTo>
                      <a:pt x="1355" y="561"/>
                    </a:lnTo>
                    <a:lnTo>
                      <a:pt x="1360" y="567"/>
                    </a:lnTo>
                    <a:lnTo>
                      <a:pt x="1366" y="567"/>
                    </a:lnTo>
                    <a:lnTo>
                      <a:pt x="1372" y="567"/>
                    </a:lnTo>
                    <a:lnTo>
                      <a:pt x="1377" y="567"/>
                    </a:lnTo>
                    <a:lnTo>
                      <a:pt x="1383" y="567"/>
                    </a:lnTo>
                    <a:lnTo>
                      <a:pt x="1389" y="567"/>
                    </a:lnTo>
                    <a:lnTo>
                      <a:pt x="1394" y="555"/>
                    </a:lnTo>
                    <a:lnTo>
                      <a:pt x="1400" y="555"/>
                    </a:lnTo>
                    <a:lnTo>
                      <a:pt x="1406" y="550"/>
                    </a:lnTo>
                    <a:lnTo>
                      <a:pt x="1406" y="544"/>
                    </a:lnTo>
                    <a:lnTo>
                      <a:pt x="1406" y="538"/>
                    </a:lnTo>
                    <a:lnTo>
                      <a:pt x="1406" y="532"/>
                    </a:lnTo>
                    <a:lnTo>
                      <a:pt x="1406" y="527"/>
                    </a:lnTo>
                    <a:lnTo>
                      <a:pt x="1406" y="521"/>
                    </a:lnTo>
                    <a:lnTo>
                      <a:pt x="1411" y="515"/>
                    </a:lnTo>
                    <a:lnTo>
                      <a:pt x="1417" y="515"/>
                    </a:lnTo>
                    <a:lnTo>
                      <a:pt x="1423" y="515"/>
                    </a:lnTo>
                    <a:lnTo>
                      <a:pt x="1428" y="515"/>
                    </a:lnTo>
                    <a:lnTo>
                      <a:pt x="1440" y="515"/>
                    </a:lnTo>
                    <a:lnTo>
                      <a:pt x="1445" y="515"/>
                    </a:lnTo>
                    <a:lnTo>
                      <a:pt x="1451" y="515"/>
                    </a:lnTo>
                    <a:lnTo>
                      <a:pt x="1457" y="515"/>
                    </a:lnTo>
                    <a:lnTo>
                      <a:pt x="1462" y="510"/>
                    </a:lnTo>
                    <a:lnTo>
                      <a:pt x="1468" y="510"/>
                    </a:lnTo>
                    <a:lnTo>
                      <a:pt x="1474" y="504"/>
                    </a:lnTo>
                    <a:lnTo>
                      <a:pt x="1479" y="504"/>
                    </a:lnTo>
                    <a:lnTo>
                      <a:pt x="1479" y="498"/>
                    </a:lnTo>
                    <a:lnTo>
                      <a:pt x="1485" y="493"/>
                    </a:lnTo>
                    <a:lnTo>
                      <a:pt x="1491" y="493"/>
                    </a:lnTo>
                    <a:lnTo>
                      <a:pt x="1491" y="487"/>
                    </a:lnTo>
                    <a:lnTo>
                      <a:pt x="1491" y="481"/>
                    </a:lnTo>
                    <a:lnTo>
                      <a:pt x="1496" y="481"/>
                    </a:lnTo>
                    <a:lnTo>
                      <a:pt x="1502" y="476"/>
                    </a:lnTo>
                    <a:lnTo>
                      <a:pt x="1508" y="470"/>
                    </a:lnTo>
                    <a:lnTo>
                      <a:pt x="1508" y="464"/>
                    </a:lnTo>
                    <a:lnTo>
                      <a:pt x="1513" y="464"/>
                    </a:lnTo>
                    <a:lnTo>
                      <a:pt x="1513" y="459"/>
                    </a:lnTo>
                    <a:lnTo>
                      <a:pt x="1513" y="453"/>
                    </a:lnTo>
                    <a:lnTo>
                      <a:pt x="1519" y="453"/>
                    </a:lnTo>
                    <a:lnTo>
                      <a:pt x="1519" y="447"/>
                    </a:lnTo>
                    <a:lnTo>
                      <a:pt x="1519" y="442"/>
                    </a:lnTo>
                    <a:lnTo>
                      <a:pt x="1525" y="442"/>
                    </a:lnTo>
                    <a:lnTo>
                      <a:pt x="1525" y="436"/>
                    </a:lnTo>
                    <a:lnTo>
                      <a:pt x="1530" y="436"/>
                    </a:lnTo>
                    <a:lnTo>
                      <a:pt x="1530" y="430"/>
                    </a:lnTo>
                    <a:lnTo>
                      <a:pt x="1536" y="430"/>
                    </a:lnTo>
                    <a:lnTo>
                      <a:pt x="1542" y="430"/>
                    </a:lnTo>
                    <a:lnTo>
                      <a:pt x="1547" y="430"/>
                    </a:lnTo>
                    <a:lnTo>
                      <a:pt x="1547" y="425"/>
                    </a:lnTo>
                    <a:lnTo>
                      <a:pt x="1553" y="425"/>
                    </a:lnTo>
                    <a:lnTo>
                      <a:pt x="1559" y="425"/>
                    </a:lnTo>
                    <a:lnTo>
                      <a:pt x="1564" y="425"/>
                    </a:lnTo>
                    <a:lnTo>
                      <a:pt x="1564" y="419"/>
                    </a:lnTo>
                    <a:lnTo>
                      <a:pt x="1559" y="413"/>
                    </a:lnTo>
                    <a:lnTo>
                      <a:pt x="1564" y="413"/>
                    </a:lnTo>
                    <a:lnTo>
                      <a:pt x="1570" y="413"/>
                    </a:lnTo>
                    <a:lnTo>
                      <a:pt x="1570" y="408"/>
                    </a:lnTo>
                    <a:lnTo>
                      <a:pt x="1570" y="402"/>
                    </a:lnTo>
                    <a:lnTo>
                      <a:pt x="1576" y="396"/>
                    </a:lnTo>
                    <a:lnTo>
                      <a:pt x="1581" y="396"/>
                    </a:lnTo>
                    <a:lnTo>
                      <a:pt x="1587" y="396"/>
                    </a:lnTo>
                    <a:lnTo>
                      <a:pt x="1587" y="391"/>
                    </a:lnTo>
                    <a:lnTo>
                      <a:pt x="1593" y="391"/>
                    </a:lnTo>
                    <a:lnTo>
                      <a:pt x="1598" y="391"/>
                    </a:lnTo>
                    <a:lnTo>
                      <a:pt x="1604" y="391"/>
                    </a:lnTo>
                    <a:lnTo>
                      <a:pt x="1604" y="396"/>
                    </a:lnTo>
                    <a:lnTo>
                      <a:pt x="1610" y="396"/>
                    </a:lnTo>
                    <a:lnTo>
                      <a:pt x="1615" y="396"/>
                    </a:lnTo>
                    <a:lnTo>
                      <a:pt x="1615" y="391"/>
                    </a:lnTo>
                    <a:lnTo>
                      <a:pt x="1621" y="385"/>
                    </a:lnTo>
                    <a:lnTo>
                      <a:pt x="1621" y="379"/>
                    </a:lnTo>
                    <a:lnTo>
                      <a:pt x="1621" y="374"/>
                    </a:lnTo>
                    <a:lnTo>
                      <a:pt x="1627" y="374"/>
                    </a:lnTo>
                    <a:lnTo>
                      <a:pt x="1632" y="368"/>
                    </a:lnTo>
                    <a:lnTo>
                      <a:pt x="1632" y="362"/>
                    </a:lnTo>
                    <a:lnTo>
                      <a:pt x="1649" y="368"/>
                    </a:lnTo>
                    <a:lnTo>
                      <a:pt x="1649" y="447"/>
                    </a:lnTo>
                    <a:lnTo>
                      <a:pt x="1644" y="453"/>
                    </a:lnTo>
                    <a:lnTo>
                      <a:pt x="1644" y="464"/>
                    </a:lnTo>
                    <a:lnTo>
                      <a:pt x="1649" y="470"/>
                    </a:lnTo>
                    <a:lnTo>
                      <a:pt x="1649" y="481"/>
                    </a:lnTo>
                    <a:lnTo>
                      <a:pt x="1649" y="487"/>
                    </a:lnTo>
                    <a:lnTo>
                      <a:pt x="1655" y="487"/>
                    </a:lnTo>
                    <a:lnTo>
                      <a:pt x="1661" y="487"/>
                    </a:lnTo>
                    <a:lnTo>
                      <a:pt x="1666" y="487"/>
                    </a:lnTo>
                    <a:lnTo>
                      <a:pt x="1672" y="487"/>
                    </a:lnTo>
                    <a:lnTo>
                      <a:pt x="1678" y="493"/>
                    </a:lnTo>
                    <a:lnTo>
                      <a:pt x="1683" y="487"/>
                    </a:lnTo>
                    <a:lnTo>
                      <a:pt x="1689" y="493"/>
                    </a:lnTo>
                    <a:lnTo>
                      <a:pt x="1689" y="498"/>
                    </a:lnTo>
                    <a:lnTo>
                      <a:pt x="1695" y="498"/>
                    </a:lnTo>
                    <a:lnTo>
                      <a:pt x="1700" y="493"/>
                    </a:lnTo>
                    <a:lnTo>
                      <a:pt x="1706" y="498"/>
                    </a:lnTo>
                    <a:lnTo>
                      <a:pt x="1712" y="504"/>
                    </a:lnTo>
                    <a:lnTo>
                      <a:pt x="1712" y="510"/>
                    </a:lnTo>
                    <a:lnTo>
                      <a:pt x="1712" y="504"/>
                    </a:lnTo>
                    <a:lnTo>
                      <a:pt x="1718" y="504"/>
                    </a:lnTo>
                    <a:lnTo>
                      <a:pt x="1723" y="510"/>
                    </a:lnTo>
                    <a:lnTo>
                      <a:pt x="1729" y="515"/>
                    </a:lnTo>
                    <a:lnTo>
                      <a:pt x="1735" y="515"/>
                    </a:lnTo>
                    <a:lnTo>
                      <a:pt x="1740" y="515"/>
                    </a:lnTo>
                    <a:lnTo>
                      <a:pt x="1740" y="521"/>
                    </a:lnTo>
                    <a:lnTo>
                      <a:pt x="1735" y="527"/>
                    </a:lnTo>
                    <a:lnTo>
                      <a:pt x="1729" y="532"/>
                    </a:lnTo>
                    <a:lnTo>
                      <a:pt x="1729" y="538"/>
                    </a:lnTo>
                    <a:lnTo>
                      <a:pt x="1735" y="544"/>
                    </a:lnTo>
                    <a:lnTo>
                      <a:pt x="1735" y="550"/>
                    </a:lnTo>
                    <a:lnTo>
                      <a:pt x="1729" y="555"/>
                    </a:lnTo>
                    <a:lnTo>
                      <a:pt x="1723" y="567"/>
                    </a:lnTo>
                    <a:lnTo>
                      <a:pt x="1729" y="572"/>
                    </a:lnTo>
                    <a:lnTo>
                      <a:pt x="1729" y="578"/>
                    </a:lnTo>
                    <a:lnTo>
                      <a:pt x="1735" y="578"/>
                    </a:lnTo>
                    <a:lnTo>
                      <a:pt x="1735" y="589"/>
                    </a:lnTo>
                    <a:lnTo>
                      <a:pt x="1735" y="595"/>
                    </a:lnTo>
                    <a:lnTo>
                      <a:pt x="1740" y="601"/>
                    </a:lnTo>
                    <a:lnTo>
                      <a:pt x="1746" y="601"/>
                    </a:lnTo>
                    <a:lnTo>
                      <a:pt x="1746" y="606"/>
                    </a:lnTo>
                    <a:lnTo>
                      <a:pt x="1740" y="606"/>
                    </a:lnTo>
                    <a:lnTo>
                      <a:pt x="1735" y="612"/>
                    </a:lnTo>
                    <a:lnTo>
                      <a:pt x="1723" y="612"/>
                    </a:lnTo>
                    <a:lnTo>
                      <a:pt x="1723" y="618"/>
                    </a:lnTo>
                    <a:lnTo>
                      <a:pt x="1723" y="623"/>
                    </a:lnTo>
                    <a:lnTo>
                      <a:pt x="1718" y="635"/>
                    </a:lnTo>
                    <a:lnTo>
                      <a:pt x="1723" y="646"/>
                    </a:lnTo>
                    <a:lnTo>
                      <a:pt x="1723" y="652"/>
                    </a:lnTo>
                    <a:lnTo>
                      <a:pt x="1729" y="657"/>
                    </a:lnTo>
                    <a:lnTo>
                      <a:pt x="1729" y="663"/>
                    </a:lnTo>
                    <a:lnTo>
                      <a:pt x="1740" y="663"/>
                    </a:lnTo>
                    <a:lnTo>
                      <a:pt x="1740" y="657"/>
                    </a:lnTo>
                    <a:lnTo>
                      <a:pt x="1746" y="657"/>
                    </a:lnTo>
                    <a:lnTo>
                      <a:pt x="1752" y="669"/>
                    </a:lnTo>
                    <a:lnTo>
                      <a:pt x="1757" y="669"/>
                    </a:lnTo>
                    <a:lnTo>
                      <a:pt x="1757" y="674"/>
                    </a:lnTo>
                    <a:lnTo>
                      <a:pt x="1763" y="680"/>
                    </a:lnTo>
                    <a:lnTo>
                      <a:pt x="1774" y="686"/>
                    </a:lnTo>
                    <a:lnTo>
                      <a:pt x="1780" y="697"/>
                    </a:lnTo>
                    <a:lnTo>
                      <a:pt x="1791" y="697"/>
                    </a:lnTo>
                    <a:lnTo>
                      <a:pt x="1803" y="697"/>
                    </a:lnTo>
                    <a:lnTo>
                      <a:pt x="1808" y="703"/>
                    </a:lnTo>
                    <a:lnTo>
                      <a:pt x="1814" y="703"/>
                    </a:lnTo>
                    <a:lnTo>
                      <a:pt x="1825" y="714"/>
                    </a:lnTo>
                    <a:lnTo>
                      <a:pt x="1831" y="714"/>
                    </a:lnTo>
                    <a:lnTo>
                      <a:pt x="1837" y="714"/>
                    </a:lnTo>
                    <a:lnTo>
                      <a:pt x="1842" y="720"/>
                    </a:lnTo>
                    <a:lnTo>
                      <a:pt x="1848" y="720"/>
                    </a:lnTo>
                    <a:lnTo>
                      <a:pt x="1848" y="725"/>
                    </a:lnTo>
                    <a:lnTo>
                      <a:pt x="1842" y="731"/>
                    </a:lnTo>
                    <a:lnTo>
                      <a:pt x="1859" y="731"/>
                    </a:lnTo>
                    <a:lnTo>
                      <a:pt x="1871" y="731"/>
                    </a:lnTo>
                    <a:lnTo>
                      <a:pt x="1876" y="731"/>
                    </a:lnTo>
                    <a:lnTo>
                      <a:pt x="1888" y="742"/>
                    </a:lnTo>
                    <a:lnTo>
                      <a:pt x="1899" y="742"/>
                    </a:lnTo>
                    <a:lnTo>
                      <a:pt x="1916" y="754"/>
                    </a:lnTo>
                    <a:lnTo>
                      <a:pt x="1927" y="737"/>
                    </a:lnTo>
                    <a:lnTo>
                      <a:pt x="1933" y="737"/>
                    </a:lnTo>
                    <a:lnTo>
                      <a:pt x="1950" y="737"/>
                    </a:lnTo>
                    <a:lnTo>
                      <a:pt x="1956" y="737"/>
                    </a:lnTo>
                    <a:lnTo>
                      <a:pt x="1961" y="731"/>
                    </a:lnTo>
                    <a:lnTo>
                      <a:pt x="1956" y="725"/>
                    </a:lnTo>
                    <a:lnTo>
                      <a:pt x="1950" y="725"/>
                    </a:lnTo>
                    <a:lnTo>
                      <a:pt x="1950" y="720"/>
                    </a:lnTo>
                    <a:lnTo>
                      <a:pt x="1956" y="714"/>
                    </a:lnTo>
                    <a:lnTo>
                      <a:pt x="1973" y="720"/>
                    </a:lnTo>
                    <a:lnTo>
                      <a:pt x="1978" y="720"/>
                    </a:lnTo>
                    <a:lnTo>
                      <a:pt x="1978" y="714"/>
                    </a:lnTo>
                    <a:lnTo>
                      <a:pt x="1978" y="708"/>
                    </a:lnTo>
                    <a:lnTo>
                      <a:pt x="1978" y="703"/>
                    </a:lnTo>
                    <a:lnTo>
                      <a:pt x="1978" y="697"/>
                    </a:lnTo>
                    <a:lnTo>
                      <a:pt x="1984" y="691"/>
                    </a:lnTo>
                    <a:lnTo>
                      <a:pt x="1984" y="686"/>
                    </a:lnTo>
                    <a:lnTo>
                      <a:pt x="2001" y="703"/>
                    </a:lnTo>
                    <a:lnTo>
                      <a:pt x="1995" y="720"/>
                    </a:lnTo>
                    <a:lnTo>
                      <a:pt x="1990" y="765"/>
                    </a:lnTo>
                    <a:lnTo>
                      <a:pt x="2007" y="771"/>
                    </a:lnTo>
                    <a:lnTo>
                      <a:pt x="2001" y="799"/>
                    </a:lnTo>
                    <a:lnTo>
                      <a:pt x="2007" y="805"/>
                    </a:lnTo>
                    <a:lnTo>
                      <a:pt x="2046" y="799"/>
                    </a:lnTo>
                    <a:lnTo>
                      <a:pt x="2092" y="788"/>
                    </a:lnTo>
                    <a:lnTo>
                      <a:pt x="2086" y="793"/>
                    </a:lnTo>
                    <a:lnTo>
                      <a:pt x="2092" y="793"/>
                    </a:lnTo>
                    <a:lnTo>
                      <a:pt x="2097" y="799"/>
                    </a:lnTo>
                    <a:lnTo>
                      <a:pt x="2092" y="799"/>
                    </a:lnTo>
                    <a:lnTo>
                      <a:pt x="2092" y="805"/>
                    </a:lnTo>
                    <a:lnTo>
                      <a:pt x="2092" y="816"/>
                    </a:lnTo>
                    <a:lnTo>
                      <a:pt x="2097" y="816"/>
                    </a:lnTo>
                    <a:lnTo>
                      <a:pt x="2092" y="822"/>
                    </a:lnTo>
                    <a:lnTo>
                      <a:pt x="2092" y="827"/>
                    </a:lnTo>
                    <a:lnTo>
                      <a:pt x="2086" y="833"/>
                    </a:lnTo>
                    <a:lnTo>
                      <a:pt x="2080" y="833"/>
                    </a:lnTo>
                    <a:lnTo>
                      <a:pt x="2080" y="839"/>
                    </a:lnTo>
                    <a:lnTo>
                      <a:pt x="2069" y="844"/>
                    </a:lnTo>
                    <a:lnTo>
                      <a:pt x="2075" y="856"/>
                    </a:lnTo>
                    <a:lnTo>
                      <a:pt x="2080" y="856"/>
                    </a:lnTo>
                    <a:lnTo>
                      <a:pt x="2086" y="856"/>
                    </a:lnTo>
                    <a:lnTo>
                      <a:pt x="2092" y="856"/>
                    </a:lnTo>
                    <a:lnTo>
                      <a:pt x="2092" y="861"/>
                    </a:lnTo>
                    <a:lnTo>
                      <a:pt x="2097" y="867"/>
                    </a:lnTo>
                    <a:lnTo>
                      <a:pt x="2097" y="873"/>
                    </a:lnTo>
                    <a:lnTo>
                      <a:pt x="2092" y="878"/>
                    </a:lnTo>
                    <a:lnTo>
                      <a:pt x="2092" y="884"/>
                    </a:lnTo>
                    <a:lnTo>
                      <a:pt x="2097" y="884"/>
                    </a:lnTo>
                    <a:lnTo>
                      <a:pt x="2109" y="895"/>
                    </a:lnTo>
                    <a:lnTo>
                      <a:pt x="2114" y="901"/>
                    </a:lnTo>
                    <a:lnTo>
                      <a:pt x="2114" y="895"/>
                    </a:lnTo>
                    <a:lnTo>
                      <a:pt x="2120" y="895"/>
                    </a:lnTo>
                    <a:lnTo>
                      <a:pt x="2126" y="890"/>
                    </a:lnTo>
                    <a:lnTo>
                      <a:pt x="2126" y="884"/>
                    </a:lnTo>
                    <a:lnTo>
                      <a:pt x="2131" y="884"/>
                    </a:lnTo>
                    <a:lnTo>
                      <a:pt x="2131" y="878"/>
                    </a:lnTo>
                    <a:lnTo>
                      <a:pt x="2137" y="878"/>
                    </a:lnTo>
                    <a:lnTo>
                      <a:pt x="2137" y="873"/>
                    </a:lnTo>
                    <a:lnTo>
                      <a:pt x="2143" y="873"/>
                    </a:lnTo>
                    <a:lnTo>
                      <a:pt x="2143" y="867"/>
                    </a:lnTo>
                    <a:lnTo>
                      <a:pt x="2143" y="861"/>
                    </a:lnTo>
                    <a:lnTo>
                      <a:pt x="2143" y="856"/>
                    </a:lnTo>
                    <a:lnTo>
                      <a:pt x="2143" y="850"/>
                    </a:lnTo>
                    <a:lnTo>
                      <a:pt x="2143" y="844"/>
                    </a:lnTo>
                    <a:lnTo>
                      <a:pt x="2148" y="844"/>
                    </a:lnTo>
                    <a:lnTo>
                      <a:pt x="2148" y="839"/>
                    </a:lnTo>
                    <a:lnTo>
                      <a:pt x="2154" y="833"/>
                    </a:lnTo>
                    <a:lnTo>
                      <a:pt x="2160" y="833"/>
                    </a:lnTo>
                    <a:lnTo>
                      <a:pt x="2160" y="827"/>
                    </a:lnTo>
                    <a:lnTo>
                      <a:pt x="2165" y="827"/>
                    </a:lnTo>
                    <a:lnTo>
                      <a:pt x="2165" y="822"/>
                    </a:lnTo>
                    <a:lnTo>
                      <a:pt x="2160" y="822"/>
                    </a:lnTo>
                    <a:lnTo>
                      <a:pt x="2160" y="816"/>
                    </a:lnTo>
                    <a:lnTo>
                      <a:pt x="2165" y="810"/>
                    </a:lnTo>
                    <a:lnTo>
                      <a:pt x="2165" y="805"/>
                    </a:lnTo>
                    <a:lnTo>
                      <a:pt x="2165" y="799"/>
                    </a:lnTo>
                    <a:lnTo>
                      <a:pt x="2160" y="799"/>
                    </a:lnTo>
                    <a:lnTo>
                      <a:pt x="2160" y="793"/>
                    </a:lnTo>
                    <a:lnTo>
                      <a:pt x="2160" y="788"/>
                    </a:lnTo>
                    <a:lnTo>
                      <a:pt x="2160" y="782"/>
                    </a:lnTo>
                    <a:lnTo>
                      <a:pt x="2160" y="776"/>
                    </a:lnTo>
                    <a:lnTo>
                      <a:pt x="2165" y="776"/>
                    </a:lnTo>
                    <a:lnTo>
                      <a:pt x="2177" y="776"/>
                    </a:lnTo>
                    <a:lnTo>
                      <a:pt x="2177" y="771"/>
                    </a:lnTo>
                    <a:lnTo>
                      <a:pt x="2182" y="771"/>
                    </a:lnTo>
                    <a:lnTo>
                      <a:pt x="2182" y="776"/>
                    </a:lnTo>
                    <a:lnTo>
                      <a:pt x="2188" y="782"/>
                    </a:lnTo>
                    <a:lnTo>
                      <a:pt x="2188" y="788"/>
                    </a:lnTo>
                    <a:lnTo>
                      <a:pt x="2188" y="793"/>
                    </a:lnTo>
                    <a:lnTo>
                      <a:pt x="2194" y="793"/>
                    </a:lnTo>
                    <a:lnTo>
                      <a:pt x="2205" y="793"/>
                    </a:lnTo>
                    <a:lnTo>
                      <a:pt x="2222" y="788"/>
                    </a:lnTo>
                    <a:lnTo>
                      <a:pt x="2245" y="788"/>
                    </a:lnTo>
                    <a:lnTo>
                      <a:pt x="2250" y="793"/>
                    </a:lnTo>
                    <a:lnTo>
                      <a:pt x="2250" y="799"/>
                    </a:lnTo>
                    <a:lnTo>
                      <a:pt x="2245" y="805"/>
                    </a:lnTo>
                    <a:lnTo>
                      <a:pt x="2239" y="805"/>
                    </a:lnTo>
                    <a:lnTo>
                      <a:pt x="2239" y="810"/>
                    </a:lnTo>
                    <a:lnTo>
                      <a:pt x="2233" y="810"/>
                    </a:lnTo>
                    <a:lnTo>
                      <a:pt x="2228" y="816"/>
                    </a:lnTo>
                    <a:lnTo>
                      <a:pt x="2228" y="822"/>
                    </a:lnTo>
                    <a:lnTo>
                      <a:pt x="2222" y="822"/>
                    </a:lnTo>
                    <a:lnTo>
                      <a:pt x="2222" y="827"/>
                    </a:lnTo>
                    <a:lnTo>
                      <a:pt x="2216" y="833"/>
                    </a:lnTo>
                    <a:lnTo>
                      <a:pt x="2211" y="833"/>
                    </a:lnTo>
                    <a:lnTo>
                      <a:pt x="2211" y="839"/>
                    </a:lnTo>
                    <a:lnTo>
                      <a:pt x="2205" y="844"/>
                    </a:lnTo>
                    <a:lnTo>
                      <a:pt x="2199" y="844"/>
                    </a:lnTo>
                    <a:lnTo>
                      <a:pt x="2199" y="850"/>
                    </a:lnTo>
                    <a:lnTo>
                      <a:pt x="2222" y="901"/>
                    </a:lnTo>
                    <a:lnTo>
                      <a:pt x="2228" y="901"/>
                    </a:lnTo>
                    <a:lnTo>
                      <a:pt x="2233" y="895"/>
                    </a:lnTo>
                    <a:lnTo>
                      <a:pt x="2239" y="895"/>
                    </a:lnTo>
                    <a:lnTo>
                      <a:pt x="2245" y="907"/>
                    </a:lnTo>
                    <a:lnTo>
                      <a:pt x="2228" y="935"/>
                    </a:lnTo>
                    <a:lnTo>
                      <a:pt x="2222" y="941"/>
                    </a:lnTo>
                    <a:lnTo>
                      <a:pt x="2216" y="946"/>
                    </a:lnTo>
                    <a:lnTo>
                      <a:pt x="2211" y="946"/>
                    </a:lnTo>
                    <a:lnTo>
                      <a:pt x="2216" y="958"/>
                    </a:lnTo>
                    <a:lnTo>
                      <a:pt x="2211" y="992"/>
                    </a:lnTo>
                    <a:lnTo>
                      <a:pt x="2199" y="997"/>
                    </a:lnTo>
                    <a:lnTo>
                      <a:pt x="2199" y="1003"/>
                    </a:lnTo>
                    <a:lnTo>
                      <a:pt x="2199" y="1009"/>
                    </a:lnTo>
                    <a:lnTo>
                      <a:pt x="2194" y="1037"/>
                    </a:lnTo>
                    <a:lnTo>
                      <a:pt x="2205" y="1043"/>
                    </a:lnTo>
                    <a:lnTo>
                      <a:pt x="2177" y="1099"/>
                    </a:lnTo>
                    <a:lnTo>
                      <a:pt x="2148" y="1150"/>
                    </a:lnTo>
                    <a:lnTo>
                      <a:pt x="2148" y="1156"/>
                    </a:lnTo>
                    <a:lnTo>
                      <a:pt x="2143" y="1156"/>
                    </a:lnTo>
                    <a:lnTo>
                      <a:pt x="2143" y="1162"/>
                    </a:lnTo>
                    <a:lnTo>
                      <a:pt x="2080" y="1269"/>
                    </a:lnTo>
                    <a:lnTo>
                      <a:pt x="2058" y="1320"/>
                    </a:lnTo>
                    <a:lnTo>
                      <a:pt x="2058" y="1326"/>
                    </a:lnTo>
                    <a:lnTo>
                      <a:pt x="2058" y="1332"/>
                    </a:lnTo>
                    <a:lnTo>
                      <a:pt x="2058" y="1337"/>
                    </a:lnTo>
                    <a:lnTo>
                      <a:pt x="2063" y="1337"/>
                    </a:lnTo>
                    <a:lnTo>
                      <a:pt x="2063" y="1343"/>
                    </a:lnTo>
                    <a:lnTo>
                      <a:pt x="2069" y="1349"/>
                    </a:lnTo>
                    <a:lnTo>
                      <a:pt x="2069" y="1354"/>
                    </a:lnTo>
                    <a:lnTo>
                      <a:pt x="2075" y="1354"/>
                    </a:lnTo>
                    <a:lnTo>
                      <a:pt x="2075" y="1360"/>
                    </a:lnTo>
                    <a:lnTo>
                      <a:pt x="2080" y="1360"/>
                    </a:lnTo>
                    <a:lnTo>
                      <a:pt x="2086" y="1360"/>
                    </a:lnTo>
                    <a:lnTo>
                      <a:pt x="2092" y="1360"/>
                    </a:lnTo>
                    <a:lnTo>
                      <a:pt x="2092" y="1366"/>
                    </a:lnTo>
                    <a:lnTo>
                      <a:pt x="2097" y="1371"/>
                    </a:lnTo>
                    <a:lnTo>
                      <a:pt x="2109" y="1371"/>
                    </a:lnTo>
                    <a:lnTo>
                      <a:pt x="2109" y="1377"/>
                    </a:lnTo>
                    <a:lnTo>
                      <a:pt x="2109" y="1383"/>
                    </a:lnTo>
                    <a:lnTo>
                      <a:pt x="2114" y="1383"/>
                    </a:lnTo>
                    <a:lnTo>
                      <a:pt x="2120" y="1388"/>
                    </a:lnTo>
                    <a:lnTo>
                      <a:pt x="2126" y="1388"/>
                    </a:lnTo>
                    <a:lnTo>
                      <a:pt x="2131" y="1388"/>
                    </a:lnTo>
                    <a:lnTo>
                      <a:pt x="2137" y="1388"/>
                    </a:lnTo>
                    <a:lnTo>
                      <a:pt x="2137" y="1394"/>
                    </a:lnTo>
                    <a:lnTo>
                      <a:pt x="2137" y="1400"/>
                    </a:lnTo>
                    <a:lnTo>
                      <a:pt x="2137" y="1405"/>
                    </a:lnTo>
                    <a:lnTo>
                      <a:pt x="2143" y="1405"/>
                    </a:lnTo>
                    <a:lnTo>
                      <a:pt x="2143" y="1411"/>
                    </a:lnTo>
                    <a:lnTo>
                      <a:pt x="2148" y="1411"/>
                    </a:lnTo>
                    <a:lnTo>
                      <a:pt x="2154" y="1411"/>
                    </a:lnTo>
                    <a:lnTo>
                      <a:pt x="2154" y="1405"/>
                    </a:lnTo>
                    <a:lnTo>
                      <a:pt x="2160" y="1405"/>
                    </a:lnTo>
                    <a:lnTo>
                      <a:pt x="2160" y="1411"/>
                    </a:lnTo>
                    <a:lnTo>
                      <a:pt x="2165" y="1411"/>
                    </a:lnTo>
                    <a:lnTo>
                      <a:pt x="2171" y="1411"/>
                    </a:lnTo>
                    <a:lnTo>
                      <a:pt x="2171" y="1417"/>
                    </a:lnTo>
                    <a:lnTo>
                      <a:pt x="2171" y="1428"/>
                    </a:lnTo>
                    <a:lnTo>
                      <a:pt x="2177" y="1428"/>
                    </a:lnTo>
                    <a:lnTo>
                      <a:pt x="2182" y="1428"/>
                    </a:lnTo>
                    <a:lnTo>
                      <a:pt x="2182" y="1434"/>
                    </a:lnTo>
                    <a:lnTo>
                      <a:pt x="2177" y="1439"/>
                    </a:lnTo>
                    <a:lnTo>
                      <a:pt x="2182" y="1445"/>
                    </a:lnTo>
                    <a:lnTo>
                      <a:pt x="2194" y="1451"/>
                    </a:lnTo>
                    <a:lnTo>
                      <a:pt x="2194" y="1456"/>
                    </a:lnTo>
                    <a:lnTo>
                      <a:pt x="2194" y="1462"/>
                    </a:lnTo>
                    <a:lnTo>
                      <a:pt x="2199" y="1468"/>
                    </a:lnTo>
                    <a:lnTo>
                      <a:pt x="2205" y="1468"/>
                    </a:lnTo>
                    <a:lnTo>
                      <a:pt x="2205" y="1474"/>
                    </a:lnTo>
                    <a:lnTo>
                      <a:pt x="2211" y="1474"/>
                    </a:lnTo>
                    <a:lnTo>
                      <a:pt x="2211" y="1479"/>
                    </a:lnTo>
                    <a:lnTo>
                      <a:pt x="2211" y="1485"/>
                    </a:lnTo>
                    <a:lnTo>
                      <a:pt x="2216" y="1485"/>
                    </a:lnTo>
                    <a:lnTo>
                      <a:pt x="2222" y="1491"/>
                    </a:lnTo>
                    <a:lnTo>
                      <a:pt x="2228" y="1491"/>
                    </a:lnTo>
                    <a:lnTo>
                      <a:pt x="2228" y="1485"/>
                    </a:lnTo>
                    <a:lnTo>
                      <a:pt x="2233" y="1485"/>
                    </a:lnTo>
                    <a:lnTo>
                      <a:pt x="2233" y="1491"/>
                    </a:lnTo>
                    <a:lnTo>
                      <a:pt x="2233" y="1496"/>
                    </a:lnTo>
                    <a:lnTo>
                      <a:pt x="2233" y="1502"/>
                    </a:lnTo>
                    <a:lnTo>
                      <a:pt x="2228" y="1508"/>
                    </a:lnTo>
                    <a:lnTo>
                      <a:pt x="2233" y="1508"/>
                    </a:lnTo>
                    <a:lnTo>
                      <a:pt x="2239" y="1508"/>
                    </a:lnTo>
                    <a:lnTo>
                      <a:pt x="2245" y="1508"/>
                    </a:lnTo>
                    <a:lnTo>
                      <a:pt x="2245" y="1513"/>
                    </a:lnTo>
                    <a:lnTo>
                      <a:pt x="2250" y="1519"/>
                    </a:lnTo>
                    <a:lnTo>
                      <a:pt x="2250" y="1525"/>
                    </a:lnTo>
                    <a:lnTo>
                      <a:pt x="2256" y="1525"/>
                    </a:lnTo>
                    <a:lnTo>
                      <a:pt x="2262" y="1525"/>
                    </a:lnTo>
                    <a:lnTo>
                      <a:pt x="2262" y="1530"/>
                    </a:lnTo>
                    <a:lnTo>
                      <a:pt x="2262" y="1536"/>
                    </a:lnTo>
                    <a:lnTo>
                      <a:pt x="2267" y="1542"/>
                    </a:lnTo>
                    <a:lnTo>
                      <a:pt x="2273" y="1547"/>
                    </a:lnTo>
                    <a:lnTo>
                      <a:pt x="2279" y="1547"/>
                    </a:lnTo>
                    <a:lnTo>
                      <a:pt x="2284" y="1547"/>
                    </a:lnTo>
                    <a:lnTo>
                      <a:pt x="2284" y="1553"/>
                    </a:lnTo>
                    <a:lnTo>
                      <a:pt x="2290" y="1553"/>
                    </a:lnTo>
                    <a:lnTo>
                      <a:pt x="2296" y="1559"/>
                    </a:lnTo>
                    <a:lnTo>
                      <a:pt x="2296" y="1564"/>
                    </a:lnTo>
                    <a:lnTo>
                      <a:pt x="2301" y="1564"/>
                    </a:lnTo>
                    <a:lnTo>
                      <a:pt x="2307" y="1564"/>
                    </a:lnTo>
                    <a:lnTo>
                      <a:pt x="2307" y="1559"/>
                    </a:lnTo>
                    <a:lnTo>
                      <a:pt x="2307" y="1564"/>
                    </a:lnTo>
                    <a:lnTo>
                      <a:pt x="2313" y="1564"/>
                    </a:lnTo>
                    <a:lnTo>
                      <a:pt x="2313" y="1559"/>
                    </a:lnTo>
                    <a:lnTo>
                      <a:pt x="2318" y="1564"/>
                    </a:lnTo>
                    <a:lnTo>
                      <a:pt x="2324" y="1564"/>
                    </a:lnTo>
                    <a:lnTo>
                      <a:pt x="2330" y="1564"/>
                    </a:lnTo>
                    <a:lnTo>
                      <a:pt x="2330" y="1570"/>
                    </a:lnTo>
                    <a:lnTo>
                      <a:pt x="2335" y="1576"/>
                    </a:lnTo>
                    <a:lnTo>
                      <a:pt x="2341" y="1621"/>
                    </a:lnTo>
                    <a:lnTo>
                      <a:pt x="2358" y="1627"/>
                    </a:lnTo>
                    <a:lnTo>
                      <a:pt x="2352" y="1638"/>
                    </a:lnTo>
                    <a:lnTo>
                      <a:pt x="2341" y="1638"/>
                    </a:lnTo>
                    <a:lnTo>
                      <a:pt x="2341" y="1644"/>
                    </a:lnTo>
                    <a:lnTo>
                      <a:pt x="2352" y="1655"/>
                    </a:lnTo>
                    <a:lnTo>
                      <a:pt x="2352" y="1666"/>
                    </a:lnTo>
                    <a:lnTo>
                      <a:pt x="2335" y="1678"/>
                    </a:lnTo>
                    <a:lnTo>
                      <a:pt x="2341" y="1689"/>
                    </a:lnTo>
                    <a:lnTo>
                      <a:pt x="2335" y="1695"/>
                    </a:lnTo>
                    <a:lnTo>
                      <a:pt x="2330" y="1695"/>
                    </a:lnTo>
                    <a:lnTo>
                      <a:pt x="2335" y="1706"/>
                    </a:lnTo>
                    <a:lnTo>
                      <a:pt x="2324" y="1717"/>
                    </a:lnTo>
                    <a:lnTo>
                      <a:pt x="2318" y="1717"/>
                    </a:lnTo>
                    <a:lnTo>
                      <a:pt x="2313" y="1723"/>
                    </a:lnTo>
                    <a:lnTo>
                      <a:pt x="2313" y="1734"/>
                    </a:lnTo>
                    <a:lnTo>
                      <a:pt x="2301" y="1740"/>
                    </a:lnTo>
                    <a:lnTo>
                      <a:pt x="2267" y="1734"/>
                    </a:lnTo>
                    <a:lnTo>
                      <a:pt x="2228" y="1757"/>
                    </a:lnTo>
                    <a:lnTo>
                      <a:pt x="2205" y="1757"/>
                    </a:lnTo>
                    <a:lnTo>
                      <a:pt x="2194" y="1763"/>
                    </a:lnTo>
                    <a:lnTo>
                      <a:pt x="2177" y="1768"/>
                    </a:lnTo>
                    <a:lnTo>
                      <a:pt x="2171" y="1780"/>
                    </a:lnTo>
                    <a:lnTo>
                      <a:pt x="2165" y="1774"/>
                    </a:lnTo>
                    <a:lnTo>
                      <a:pt x="2154" y="1785"/>
                    </a:lnTo>
                    <a:lnTo>
                      <a:pt x="2131" y="1791"/>
                    </a:lnTo>
                    <a:lnTo>
                      <a:pt x="2114" y="1785"/>
                    </a:lnTo>
                    <a:lnTo>
                      <a:pt x="2097" y="1791"/>
                    </a:lnTo>
                    <a:lnTo>
                      <a:pt x="2097" y="1797"/>
                    </a:lnTo>
                    <a:lnTo>
                      <a:pt x="2092" y="1808"/>
                    </a:lnTo>
                    <a:lnTo>
                      <a:pt x="2086" y="1814"/>
                    </a:lnTo>
                    <a:lnTo>
                      <a:pt x="2080" y="1831"/>
                    </a:lnTo>
                    <a:lnTo>
                      <a:pt x="2080" y="1836"/>
                    </a:lnTo>
                    <a:lnTo>
                      <a:pt x="2075" y="1870"/>
                    </a:lnTo>
                    <a:lnTo>
                      <a:pt x="2029" y="1870"/>
                    </a:lnTo>
                    <a:lnTo>
                      <a:pt x="2029" y="1876"/>
                    </a:lnTo>
                    <a:lnTo>
                      <a:pt x="2012" y="1887"/>
                    </a:lnTo>
                    <a:lnTo>
                      <a:pt x="1984" y="1876"/>
                    </a:lnTo>
                    <a:lnTo>
                      <a:pt x="1984" y="1882"/>
                    </a:lnTo>
                    <a:lnTo>
                      <a:pt x="1984" y="1893"/>
                    </a:lnTo>
                    <a:lnTo>
                      <a:pt x="1961" y="1893"/>
                    </a:lnTo>
                    <a:lnTo>
                      <a:pt x="1950" y="1876"/>
                    </a:lnTo>
                    <a:lnTo>
                      <a:pt x="1956" y="1870"/>
                    </a:lnTo>
                    <a:lnTo>
                      <a:pt x="1933" y="1870"/>
                    </a:lnTo>
                    <a:lnTo>
                      <a:pt x="1933" y="1887"/>
                    </a:lnTo>
                    <a:lnTo>
                      <a:pt x="1922" y="1893"/>
                    </a:lnTo>
                    <a:lnTo>
                      <a:pt x="1916" y="1899"/>
                    </a:lnTo>
                    <a:lnTo>
                      <a:pt x="1910" y="1904"/>
                    </a:lnTo>
                    <a:lnTo>
                      <a:pt x="1905" y="1893"/>
                    </a:lnTo>
                    <a:lnTo>
                      <a:pt x="1893" y="1887"/>
                    </a:lnTo>
                    <a:lnTo>
                      <a:pt x="1905" y="1882"/>
                    </a:lnTo>
                    <a:lnTo>
                      <a:pt x="1905" y="1876"/>
                    </a:lnTo>
                    <a:lnTo>
                      <a:pt x="1876" y="1865"/>
                    </a:lnTo>
                    <a:lnTo>
                      <a:pt x="1876" y="1859"/>
                    </a:lnTo>
                    <a:lnTo>
                      <a:pt x="1848" y="1859"/>
                    </a:lnTo>
                    <a:lnTo>
                      <a:pt x="1842" y="1853"/>
                    </a:lnTo>
                    <a:lnTo>
                      <a:pt x="1837" y="1865"/>
                    </a:lnTo>
                    <a:lnTo>
                      <a:pt x="1825" y="1865"/>
                    </a:lnTo>
                    <a:lnTo>
                      <a:pt x="1820" y="1870"/>
                    </a:lnTo>
                    <a:lnTo>
                      <a:pt x="1791" y="1865"/>
                    </a:lnTo>
                    <a:lnTo>
                      <a:pt x="1791" y="1870"/>
                    </a:lnTo>
                    <a:lnTo>
                      <a:pt x="1769" y="1870"/>
                    </a:lnTo>
                    <a:lnTo>
                      <a:pt x="1757" y="1882"/>
                    </a:lnTo>
                    <a:lnTo>
                      <a:pt x="1752" y="1899"/>
                    </a:lnTo>
                    <a:lnTo>
                      <a:pt x="1740" y="1904"/>
                    </a:lnTo>
                    <a:lnTo>
                      <a:pt x="1740" y="1916"/>
                    </a:lnTo>
                    <a:lnTo>
                      <a:pt x="1700" y="1944"/>
                    </a:lnTo>
                    <a:lnTo>
                      <a:pt x="1695" y="1927"/>
                    </a:lnTo>
                    <a:lnTo>
                      <a:pt x="1695" y="1916"/>
                    </a:lnTo>
                    <a:lnTo>
                      <a:pt x="1672" y="1910"/>
                    </a:lnTo>
                    <a:lnTo>
                      <a:pt x="1655" y="1916"/>
                    </a:lnTo>
                    <a:lnTo>
                      <a:pt x="1644" y="1910"/>
                    </a:lnTo>
                    <a:lnTo>
                      <a:pt x="1644" y="1904"/>
                    </a:lnTo>
                    <a:lnTo>
                      <a:pt x="1621" y="1910"/>
                    </a:lnTo>
                    <a:lnTo>
                      <a:pt x="1615" y="1899"/>
                    </a:lnTo>
                    <a:lnTo>
                      <a:pt x="1587" y="1899"/>
                    </a:lnTo>
                    <a:lnTo>
                      <a:pt x="1570" y="1893"/>
                    </a:lnTo>
                    <a:lnTo>
                      <a:pt x="1581" y="1876"/>
                    </a:lnTo>
                    <a:lnTo>
                      <a:pt x="1570" y="1870"/>
                    </a:lnTo>
                    <a:lnTo>
                      <a:pt x="1570" y="1859"/>
                    </a:lnTo>
                    <a:lnTo>
                      <a:pt x="1547" y="1859"/>
                    </a:lnTo>
                    <a:lnTo>
                      <a:pt x="1502" y="1836"/>
                    </a:lnTo>
                    <a:lnTo>
                      <a:pt x="1496" y="1836"/>
                    </a:lnTo>
                    <a:lnTo>
                      <a:pt x="1491" y="1853"/>
                    </a:lnTo>
                    <a:lnTo>
                      <a:pt x="1485" y="1870"/>
                    </a:lnTo>
                    <a:lnTo>
                      <a:pt x="1468" y="1887"/>
                    </a:lnTo>
                    <a:lnTo>
                      <a:pt x="1468" y="1916"/>
                    </a:lnTo>
                    <a:lnTo>
                      <a:pt x="1445" y="1910"/>
                    </a:lnTo>
                    <a:lnTo>
                      <a:pt x="1451" y="1916"/>
                    </a:lnTo>
                    <a:lnTo>
                      <a:pt x="1451" y="1921"/>
                    </a:lnTo>
                    <a:lnTo>
                      <a:pt x="1445" y="1927"/>
                    </a:lnTo>
                    <a:lnTo>
                      <a:pt x="1440" y="1927"/>
                    </a:lnTo>
                    <a:lnTo>
                      <a:pt x="1445" y="1938"/>
                    </a:lnTo>
                    <a:lnTo>
                      <a:pt x="1445" y="1944"/>
                    </a:lnTo>
                    <a:lnTo>
                      <a:pt x="1445" y="1950"/>
                    </a:lnTo>
                    <a:lnTo>
                      <a:pt x="1445" y="1955"/>
                    </a:lnTo>
                    <a:lnTo>
                      <a:pt x="1457" y="1961"/>
                    </a:lnTo>
                    <a:lnTo>
                      <a:pt x="1445" y="1984"/>
                    </a:lnTo>
                    <a:lnTo>
                      <a:pt x="1440" y="1967"/>
                    </a:lnTo>
                    <a:lnTo>
                      <a:pt x="1423" y="1978"/>
                    </a:lnTo>
                    <a:lnTo>
                      <a:pt x="1423" y="2001"/>
                    </a:lnTo>
                    <a:lnTo>
                      <a:pt x="1406" y="2006"/>
                    </a:lnTo>
                    <a:lnTo>
                      <a:pt x="1400" y="2018"/>
                    </a:lnTo>
                    <a:lnTo>
                      <a:pt x="1383" y="2018"/>
                    </a:lnTo>
                    <a:lnTo>
                      <a:pt x="1360" y="2012"/>
                    </a:lnTo>
                    <a:lnTo>
                      <a:pt x="1360" y="2006"/>
                    </a:lnTo>
                    <a:lnTo>
                      <a:pt x="1349" y="2001"/>
                    </a:lnTo>
                    <a:lnTo>
                      <a:pt x="1338" y="2012"/>
                    </a:lnTo>
                    <a:lnTo>
                      <a:pt x="1321" y="2001"/>
                    </a:lnTo>
                    <a:lnTo>
                      <a:pt x="1304" y="2012"/>
                    </a:lnTo>
                    <a:lnTo>
                      <a:pt x="1304" y="2029"/>
                    </a:lnTo>
                    <a:lnTo>
                      <a:pt x="1287" y="2035"/>
                    </a:lnTo>
                    <a:lnTo>
                      <a:pt x="1281" y="2035"/>
                    </a:lnTo>
                    <a:lnTo>
                      <a:pt x="1270" y="2046"/>
                    </a:lnTo>
                    <a:lnTo>
                      <a:pt x="1264" y="2046"/>
                    </a:lnTo>
                    <a:lnTo>
                      <a:pt x="1247" y="2052"/>
                    </a:lnTo>
                    <a:lnTo>
                      <a:pt x="1236" y="2046"/>
                    </a:lnTo>
                    <a:lnTo>
                      <a:pt x="1236" y="2057"/>
                    </a:lnTo>
                    <a:lnTo>
                      <a:pt x="1230" y="2063"/>
                    </a:lnTo>
                    <a:lnTo>
                      <a:pt x="1224" y="2069"/>
                    </a:lnTo>
                    <a:lnTo>
                      <a:pt x="1213" y="2074"/>
                    </a:lnTo>
                    <a:lnTo>
                      <a:pt x="1207" y="2086"/>
                    </a:lnTo>
                    <a:lnTo>
                      <a:pt x="1196" y="2103"/>
                    </a:lnTo>
                    <a:lnTo>
                      <a:pt x="1202" y="2114"/>
                    </a:lnTo>
                    <a:lnTo>
                      <a:pt x="1162" y="2125"/>
                    </a:lnTo>
                    <a:lnTo>
                      <a:pt x="1151" y="2120"/>
                    </a:lnTo>
                    <a:lnTo>
                      <a:pt x="1117" y="2131"/>
                    </a:lnTo>
                    <a:lnTo>
                      <a:pt x="1105" y="2137"/>
                    </a:lnTo>
                    <a:lnTo>
                      <a:pt x="1105" y="2142"/>
                    </a:lnTo>
                    <a:lnTo>
                      <a:pt x="1111" y="2148"/>
                    </a:lnTo>
                    <a:lnTo>
                      <a:pt x="1111" y="2165"/>
                    </a:lnTo>
                    <a:lnTo>
                      <a:pt x="1105" y="2188"/>
                    </a:lnTo>
                    <a:lnTo>
                      <a:pt x="1088" y="2193"/>
                    </a:lnTo>
                    <a:lnTo>
                      <a:pt x="1083" y="2199"/>
                    </a:lnTo>
                    <a:lnTo>
                      <a:pt x="1066" y="2199"/>
                    </a:lnTo>
                    <a:lnTo>
                      <a:pt x="1054" y="2199"/>
                    </a:lnTo>
                    <a:lnTo>
                      <a:pt x="1043" y="2188"/>
                    </a:lnTo>
                    <a:lnTo>
                      <a:pt x="1026" y="2199"/>
                    </a:lnTo>
                    <a:lnTo>
                      <a:pt x="1009" y="2199"/>
                    </a:lnTo>
                    <a:lnTo>
                      <a:pt x="998" y="2193"/>
                    </a:lnTo>
                    <a:lnTo>
                      <a:pt x="986" y="2193"/>
                    </a:lnTo>
                    <a:lnTo>
                      <a:pt x="986" y="2182"/>
                    </a:lnTo>
                    <a:lnTo>
                      <a:pt x="981" y="2176"/>
                    </a:lnTo>
                    <a:lnTo>
                      <a:pt x="969" y="2159"/>
                    </a:lnTo>
                    <a:lnTo>
                      <a:pt x="958" y="2159"/>
                    </a:lnTo>
                    <a:lnTo>
                      <a:pt x="952" y="2159"/>
                    </a:lnTo>
                    <a:lnTo>
                      <a:pt x="947" y="2154"/>
                    </a:lnTo>
                    <a:lnTo>
                      <a:pt x="947" y="2131"/>
                    </a:lnTo>
                    <a:lnTo>
                      <a:pt x="941" y="2125"/>
                    </a:lnTo>
                    <a:lnTo>
                      <a:pt x="930" y="2120"/>
                    </a:lnTo>
                    <a:lnTo>
                      <a:pt x="924" y="2086"/>
                    </a:lnTo>
                    <a:lnTo>
                      <a:pt x="918" y="2069"/>
                    </a:lnTo>
                    <a:lnTo>
                      <a:pt x="918" y="2052"/>
                    </a:lnTo>
                    <a:lnTo>
                      <a:pt x="930" y="2057"/>
                    </a:lnTo>
                    <a:lnTo>
                      <a:pt x="941" y="2052"/>
                    </a:lnTo>
                    <a:lnTo>
                      <a:pt x="935" y="2040"/>
                    </a:lnTo>
                    <a:lnTo>
                      <a:pt x="958" y="2029"/>
                    </a:lnTo>
                    <a:lnTo>
                      <a:pt x="964" y="2029"/>
                    </a:lnTo>
                    <a:lnTo>
                      <a:pt x="958" y="2012"/>
                    </a:lnTo>
                    <a:lnTo>
                      <a:pt x="952" y="2006"/>
                    </a:lnTo>
                    <a:lnTo>
                      <a:pt x="952" y="2001"/>
                    </a:lnTo>
                    <a:lnTo>
                      <a:pt x="947" y="1995"/>
                    </a:lnTo>
                    <a:lnTo>
                      <a:pt x="941" y="2001"/>
                    </a:lnTo>
                    <a:lnTo>
                      <a:pt x="930" y="2006"/>
                    </a:lnTo>
                    <a:lnTo>
                      <a:pt x="924" y="2018"/>
                    </a:lnTo>
                    <a:lnTo>
                      <a:pt x="913" y="2018"/>
                    </a:lnTo>
                    <a:lnTo>
                      <a:pt x="907" y="2029"/>
                    </a:lnTo>
                    <a:lnTo>
                      <a:pt x="879" y="2052"/>
                    </a:lnTo>
                    <a:lnTo>
                      <a:pt x="862" y="2052"/>
                    </a:lnTo>
                    <a:lnTo>
                      <a:pt x="862" y="2046"/>
                    </a:lnTo>
                    <a:lnTo>
                      <a:pt x="850" y="2046"/>
                    </a:lnTo>
                    <a:lnTo>
                      <a:pt x="845" y="2052"/>
                    </a:lnTo>
                    <a:lnTo>
                      <a:pt x="833" y="2063"/>
                    </a:lnTo>
                    <a:lnTo>
                      <a:pt x="828" y="2057"/>
                    </a:lnTo>
                    <a:lnTo>
                      <a:pt x="822" y="2063"/>
                    </a:lnTo>
                    <a:lnTo>
                      <a:pt x="822" y="2069"/>
                    </a:lnTo>
                    <a:lnTo>
                      <a:pt x="810" y="2074"/>
                    </a:lnTo>
                    <a:lnTo>
                      <a:pt x="805" y="2063"/>
                    </a:lnTo>
                    <a:lnTo>
                      <a:pt x="799" y="2069"/>
                    </a:lnTo>
                    <a:lnTo>
                      <a:pt x="799" y="2080"/>
                    </a:lnTo>
                    <a:lnTo>
                      <a:pt x="788" y="2097"/>
                    </a:lnTo>
                    <a:lnTo>
                      <a:pt x="788" y="2103"/>
                    </a:lnTo>
                    <a:lnTo>
                      <a:pt x="793" y="2108"/>
                    </a:lnTo>
                    <a:lnTo>
                      <a:pt x="793" y="2114"/>
                    </a:lnTo>
                    <a:lnTo>
                      <a:pt x="776" y="2125"/>
                    </a:lnTo>
                    <a:lnTo>
                      <a:pt x="765" y="2108"/>
                    </a:lnTo>
                    <a:lnTo>
                      <a:pt x="771" y="2074"/>
                    </a:lnTo>
                    <a:lnTo>
                      <a:pt x="765" y="2074"/>
                    </a:lnTo>
                    <a:lnTo>
                      <a:pt x="765" y="2069"/>
                    </a:lnTo>
                    <a:lnTo>
                      <a:pt x="759" y="2063"/>
                    </a:lnTo>
                    <a:lnTo>
                      <a:pt x="759" y="2057"/>
                    </a:lnTo>
                    <a:lnTo>
                      <a:pt x="754" y="2057"/>
                    </a:lnTo>
                    <a:lnTo>
                      <a:pt x="754" y="2052"/>
                    </a:lnTo>
                    <a:lnTo>
                      <a:pt x="748" y="2046"/>
                    </a:lnTo>
                    <a:lnTo>
                      <a:pt x="742" y="2029"/>
                    </a:lnTo>
                    <a:lnTo>
                      <a:pt x="754" y="2023"/>
                    </a:lnTo>
                    <a:lnTo>
                      <a:pt x="771" y="2018"/>
                    </a:lnTo>
                    <a:lnTo>
                      <a:pt x="771" y="2012"/>
                    </a:lnTo>
                    <a:lnTo>
                      <a:pt x="771" y="2006"/>
                    </a:lnTo>
                    <a:lnTo>
                      <a:pt x="771" y="2001"/>
                    </a:lnTo>
                    <a:lnTo>
                      <a:pt x="765" y="1995"/>
                    </a:lnTo>
                    <a:lnTo>
                      <a:pt x="765" y="1989"/>
                    </a:lnTo>
                    <a:lnTo>
                      <a:pt x="765" y="1984"/>
                    </a:lnTo>
                    <a:lnTo>
                      <a:pt x="765" y="1978"/>
                    </a:lnTo>
                    <a:lnTo>
                      <a:pt x="771" y="1972"/>
                    </a:lnTo>
                    <a:lnTo>
                      <a:pt x="765" y="1972"/>
                    </a:lnTo>
                    <a:lnTo>
                      <a:pt x="759" y="1972"/>
                    </a:lnTo>
                    <a:lnTo>
                      <a:pt x="759" y="1967"/>
                    </a:lnTo>
                    <a:lnTo>
                      <a:pt x="754" y="1967"/>
                    </a:lnTo>
                    <a:lnTo>
                      <a:pt x="754" y="1961"/>
                    </a:lnTo>
                    <a:lnTo>
                      <a:pt x="748" y="1961"/>
                    </a:lnTo>
                    <a:lnTo>
                      <a:pt x="742" y="1961"/>
                    </a:lnTo>
                    <a:lnTo>
                      <a:pt x="737" y="1961"/>
                    </a:lnTo>
                    <a:lnTo>
                      <a:pt x="731" y="1955"/>
                    </a:lnTo>
                    <a:lnTo>
                      <a:pt x="731" y="1961"/>
                    </a:lnTo>
                    <a:lnTo>
                      <a:pt x="725" y="1955"/>
                    </a:lnTo>
                    <a:lnTo>
                      <a:pt x="725" y="1950"/>
                    </a:lnTo>
                    <a:lnTo>
                      <a:pt x="720" y="1944"/>
                    </a:lnTo>
                    <a:lnTo>
                      <a:pt x="714" y="1938"/>
                    </a:lnTo>
                    <a:lnTo>
                      <a:pt x="708" y="1938"/>
                    </a:lnTo>
                    <a:lnTo>
                      <a:pt x="708" y="1933"/>
                    </a:lnTo>
                    <a:lnTo>
                      <a:pt x="708" y="1927"/>
                    </a:lnTo>
                    <a:lnTo>
                      <a:pt x="714" y="1921"/>
                    </a:lnTo>
                    <a:lnTo>
                      <a:pt x="714" y="1916"/>
                    </a:lnTo>
                    <a:lnTo>
                      <a:pt x="691" y="1933"/>
                    </a:lnTo>
                    <a:lnTo>
                      <a:pt x="691" y="1927"/>
                    </a:lnTo>
                    <a:lnTo>
                      <a:pt x="686" y="1927"/>
                    </a:lnTo>
                    <a:lnTo>
                      <a:pt x="680" y="1927"/>
                    </a:lnTo>
                    <a:lnTo>
                      <a:pt x="674" y="1927"/>
                    </a:lnTo>
                    <a:lnTo>
                      <a:pt x="674" y="1921"/>
                    </a:lnTo>
                    <a:lnTo>
                      <a:pt x="669" y="1921"/>
                    </a:lnTo>
                    <a:lnTo>
                      <a:pt x="663" y="1921"/>
                    </a:lnTo>
                    <a:lnTo>
                      <a:pt x="657" y="1921"/>
                    </a:lnTo>
                    <a:lnTo>
                      <a:pt x="652" y="1921"/>
                    </a:lnTo>
                    <a:lnTo>
                      <a:pt x="652" y="1904"/>
                    </a:lnTo>
                    <a:lnTo>
                      <a:pt x="663" y="1893"/>
                    </a:lnTo>
                    <a:lnTo>
                      <a:pt x="663" y="1887"/>
                    </a:lnTo>
                    <a:lnTo>
                      <a:pt x="669" y="1882"/>
                    </a:lnTo>
                    <a:lnTo>
                      <a:pt x="669" y="1876"/>
                    </a:lnTo>
                    <a:lnTo>
                      <a:pt x="663" y="1870"/>
                    </a:lnTo>
                    <a:lnTo>
                      <a:pt x="657" y="1853"/>
                    </a:lnTo>
                    <a:lnTo>
                      <a:pt x="663" y="1853"/>
                    </a:lnTo>
                    <a:lnTo>
                      <a:pt x="663" y="1836"/>
                    </a:lnTo>
                    <a:lnTo>
                      <a:pt x="669" y="1836"/>
                    </a:lnTo>
                    <a:lnTo>
                      <a:pt x="663" y="1831"/>
                    </a:lnTo>
                    <a:lnTo>
                      <a:pt x="657" y="1825"/>
                    </a:lnTo>
                    <a:lnTo>
                      <a:pt x="663" y="1819"/>
                    </a:lnTo>
                    <a:lnTo>
                      <a:pt x="646" y="1814"/>
                    </a:lnTo>
                    <a:lnTo>
                      <a:pt x="652" y="1797"/>
                    </a:lnTo>
                    <a:lnTo>
                      <a:pt x="652" y="1780"/>
                    </a:lnTo>
                    <a:lnTo>
                      <a:pt x="640" y="1768"/>
                    </a:lnTo>
                    <a:lnTo>
                      <a:pt x="652" y="1757"/>
                    </a:lnTo>
                    <a:lnTo>
                      <a:pt x="635" y="1751"/>
                    </a:lnTo>
                    <a:lnTo>
                      <a:pt x="629" y="1740"/>
                    </a:lnTo>
                    <a:lnTo>
                      <a:pt x="635" y="1712"/>
                    </a:lnTo>
                    <a:lnTo>
                      <a:pt x="618" y="1689"/>
                    </a:lnTo>
                    <a:lnTo>
                      <a:pt x="623" y="1672"/>
                    </a:lnTo>
                    <a:lnTo>
                      <a:pt x="640" y="1661"/>
                    </a:lnTo>
                    <a:lnTo>
                      <a:pt x="618" y="1649"/>
                    </a:lnTo>
                    <a:lnTo>
                      <a:pt x="640" y="1644"/>
                    </a:lnTo>
                    <a:lnTo>
                      <a:pt x="635" y="1604"/>
                    </a:lnTo>
                    <a:lnTo>
                      <a:pt x="612" y="1604"/>
                    </a:lnTo>
                    <a:lnTo>
                      <a:pt x="589" y="1587"/>
                    </a:lnTo>
                    <a:lnTo>
                      <a:pt x="595" y="1576"/>
                    </a:lnTo>
                    <a:lnTo>
                      <a:pt x="584" y="1564"/>
                    </a:lnTo>
                    <a:lnTo>
                      <a:pt x="561" y="1559"/>
                    </a:lnTo>
                    <a:lnTo>
                      <a:pt x="538" y="1525"/>
                    </a:lnTo>
                    <a:lnTo>
                      <a:pt x="516" y="1530"/>
                    </a:lnTo>
                    <a:lnTo>
                      <a:pt x="516" y="1547"/>
                    </a:lnTo>
                    <a:lnTo>
                      <a:pt x="521" y="1564"/>
                    </a:lnTo>
                    <a:lnTo>
                      <a:pt x="493" y="1530"/>
                    </a:lnTo>
                    <a:lnTo>
                      <a:pt x="493" y="1547"/>
                    </a:lnTo>
                    <a:lnTo>
                      <a:pt x="487" y="1564"/>
                    </a:lnTo>
                    <a:lnTo>
                      <a:pt x="482" y="1587"/>
                    </a:lnTo>
                    <a:lnTo>
                      <a:pt x="470" y="1610"/>
                    </a:lnTo>
                    <a:lnTo>
                      <a:pt x="453" y="1627"/>
                    </a:lnTo>
                    <a:lnTo>
                      <a:pt x="442" y="1627"/>
                    </a:lnTo>
                    <a:lnTo>
                      <a:pt x="431" y="1638"/>
                    </a:lnTo>
                    <a:lnTo>
                      <a:pt x="414" y="1627"/>
                    </a:lnTo>
                    <a:lnTo>
                      <a:pt x="408" y="1621"/>
                    </a:lnTo>
                    <a:lnTo>
                      <a:pt x="402" y="1621"/>
                    </a:lnTo>
                    <a:lnTo>
                      <a:pt x="397" y="1621"/>
                    </a:lnTo>
                    <a:lnTo>
                      <a:pt x="385" y="1621"/>
                    </a:lnTo>
                    <a:lnTo>
                      <a:pt x="385" y="1655"/>
                    </a:lnTo>
                    <a:lnTo>
                      <a:pt x="351" y="1661"/>
                    </a:lnTo>
                    <a:lnTo>
                      <a:pt x="363" y="1678"/>
                    </a:lnTo>
                    <a:lnTo>
                      <a:pt x="334" y="1700"/>
                    </a:lnTo>
                    <a:lnTo>
                      <a:pt x="340" y="1723"/>
                    </a:lnTo>
                    <a:lnTo>
                      <a:pt x="323" y="1717"/>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1100"/>
              </a:p>
            </p:txBody>
          </p:sp>
          <p:sp>
            <p:nvSpPr>
              <p:cNvPr id="15" name="Freeform 9"/>
              <p:cNvSpPr>
                <a:spLocks/>
              </p:cNvSpPr>
              <p:nvPr>
                <p:custDataLst>
                  <p:tags r:id="rId5"/>
                </p:custDataLst>
              </p:nvPr>
            </p:nvSpPr>
            <p:spPr bwMode="gray">
              <a:xfrm>
                <a:off x="2631" y="1955"/>
                <a:ext cx="803" cy="602"/>
              </a:xfrm>
              <a:custGeom>
                <a:avLst/>
                <a:gdLst>
                  <a:gd name="T0" fmla="*/ 113762 w 1445"/>
                  <a:gd name="T1" fmla="*/ 509345 h 1083"/>
                  <a:gd name="T2" fmla="*/ 88754 w 1445"/>
                  <a:gd name="T3" fmla="*/ 487264 h 1083"/>
                  <a:gd name="T4" fmla="*/ 72082 w 1445"/>
                  <a:gd name="T5" fmla="*/ 470580 h 1083"/>
                  <a:gd name="T6" fmla="*/ 52468 w 1445"/>
                  <a:gd name="T7" fmla="*/ 439666 h 1083"/>
                  <a:gd name="T8" fmla="*/ 30402 w 1445"/>
                  <a:gd name="T9" fmla="*/ 428380 h 1083"/>
                  <a:gd name="T10" fmla="*/ 2452 w 1445"/>
                  <a:gd name="T11" fmla="*/ 406298 h 1083"/>
                  <a:gd name="T12" fmla="*/ 69140 w 1445"/>
                  <a:gd name="T13" fmla="*/ 242405 h 1083"/>
                  <a:gd name="T14" fmla="*/ 102484 w 1445"/>
                  <a:gd name="T15" fmla="*/ 178124 h 1083"/>
                  <a:gd name="T16" fmla="*/ 127492 w 1445"/>
                  <a:gd name="T17" fmla="*/ 150645 h 1083"/>
                  <a:gd name="T18" fmla="*/ 158384 w 1445"/>
                  <a:gd name="T19" fmla="*/ 136414 h 1083"/>
                  <a:gd name="T20" fmla="*/ 200064 w 1445"/>
                  <a:gd name="T21" fmla="*/ 125619 h 1083"/>
                  <a:gd name="T22" fmla="*/ 230467 w 1445"/>
                  <a:gd name="T23" fmla="*/ 122675 h 1083"/>
                  <a:gd name="T24" fmla="*/ 255475 w 1445"/>
                  <a:gd name="T25" fmla="*/ 100593 h 1083"/>
                  <a:gd name="T26" fmla="*/ 286367 w 1445"/>
                  <a:gd name="T27" fmla="*/ 94705 h 1083"/>
                  <a:gd name="T28" fmla="*/ 283425 w 1445"/>
                  <a:gd name="T29" fmla="*/ 72624 h 1083"/>
                  <a:gd name="T30" fmla="*/ 294703 w 1445"/>
                  <a:gd name="T31" fmla="*/ 55940 h 1083"/>
                  <a:gd name="T32" fmla="*/ 313827 w 1445"/>
                  <a:gd name="T33" fmla="*/ 44654 h 1083"/>
                  <a:gd name="T34" fmla="*/ 344719 w 1445"/>
                  <a:gd name="T35" fmla="*/ 39256 h 1083"/>
                  <a:gd name="T36" fmla="*/ 369727 w 1445"/>
                  <a:gd name="T37" fmla="*/ 36312 h 1083"/>
                  <a:gd name="T38" fmla="*/ 391793 w 1445"/>
                  <a:gd name="T39" fmla="*/ 25516 h 1083"/>
                  <a:gd name="T40" fmla="*/ 419743 w 1445"/>
                  <a:gd name="T41" fmla="*/ 19628 h 1083"/>
                  <a:gd name="T42" fmla="*/ 441809 w 1445"/>
                  <a:gd name="T43" fmla="*/ 11286 h 1083"/>
                  <a:gd name="T44" fmla="*/ 469759 w 1445"/>
                  <a:gd name="T45" fmla="*/ 5888 h 1083"/>
                  <a:gd name="T46" fmla="*/ 486431 w 1445"/>
                  <a:gd name="T47" fmla="*/ 17175 h 1083"/>
                  <a:gd name="T48" fmla="*/ 513891 w 1445"/>
                  <a:gd name="T49" fmla="*/ 30914 h 1083"/>
                  <a:gd name="T50" fmla="*/ 541841 w 1445"/>
                  <a:gd name="T51" fmla="*/ 39256 h 1083"/>
                  <a:gd name="T52" fmla="*/ 561455 w 1445"/>
                  <a:gd name="T53" fmla="*/ 44654 h 1083"/>
                  <a:gd name="T54" fmla="*/ 580579 w 1445"/>
                  <a:gd name="T55" fmla="*/ 44654 h 1083"/>
                  <a:gd name="T56" fmla="*/ 613923 w 1445"/>
                  <a:gd name="T57" fmla="*/ 44654 h 1083"/>
                  <a:gd name="T58" fmla="*/ 638931 w 1445"/>
                  <a:gd name="T59" fmla="*/ 67226 h 1083"/>
                  <a:gd name="T60" fmla="*/ 666882 w 1445"/>
                  <a:gd name="T61" fmla="*/ 83909 h 1083"/>
                  <a:gd name="T62" fmla="*/ 697284 w 1445"/>
                  <a:gd name="T63" fmla="*/ 103047 h 1083"/>
                  <a:gd name="T64" fmla="*/ 697284 w 1445"/>
                  <a:gd name="T65" fmla="*/ 144756 h 1083"/>
                  <a:gd name="T66" fmla="*/ 688947 w 1445"/>
                  <a:gd name="T67" fmla="*/ 189410 h 1083"/>
                  <a:gd name="T68" fmla="*/ 647267 w 1445"/>
                  <a:gd name="T69" fmla="*/ 225721 h 1083"/>
                  <a:gd name="T70" fmla="*/ 597251 w 1445"/>
                  <a:gd name="T71" fmla="*/ 250747 h 1083"/>
                  <a:gd name="T72" fmla="*/ 563907 w 1445"/>
                  <a:gd name="T73" fmla="*/ 264486 h 1083"/>
                  <a:gd name="T74" fmla="*/ 533505 w 1445"/>
                  <a:gd name="T75" fmla="*/ 256145 h 1083"/>
                  <a:gd name="T76" fmla="*/ 503103 w 1445"/>
                  <a:gd name="T77" fmla="*/ 267431 h 1083"/>
                  <a:gd name="T78" fmla="*/ 483489 w 1445"/>
                  <a:gd name="T79" fmla="*/ 281170 h 1083"/>
                  <a:gd name="T80" fmla="*/ 466817 w 1445"/>
                  <a:gd name="T81" fmla="*/ 289512 h 1083"/>
                  <a:gd name="T82" fmla="*/ 441809 w 1445"/>
                  <a:gd name="T83" fmla="*/ 294910 h 1083"/>
                  <a:gd name="T84" fmla="*/ 430531 w 1445"/>
                  <a:gd name="T85" fmla="*/ 314537 h 1083"/>
                  <a:gd name="T86" fmla="*/ 422195 w 1445"/>
                  <a:gd name="T87" fmla="*/ 328277 h 1083"/>
                  <a:gd name="T88" fmla="*/ 400129 w 1445"/>
                  <a:gd name="T89" fmla="*/ 347905 h 1083"/>
                  <a:gd name="T90" fmla="*/ 386399 w 1445"/>
                  <a:gd name="T91" fmla="*/ 369987 h 1083"/>
                  <a:gd name="T92" fmla="*/ 361391 w 1445"/>
                  <a:gd name="T93" fmla="*/ 381273 h 1083"/>
                  <a:gd name="T94" fmla="*/ 353055 w 1445"/>
                  <a:gd name="T95" fmla="*/ 403354 h 1083"/>
                  <a:gd name="T96" fmla="*/ 375121 w 1445"/>
                  <a:gd name="T97" fmla="*/ 448008 h 1083"/>
                  <a:gd name="T98" fmla="*/ 383457 w 1445"/>
                  <a:gd name="T99" fmla="*/ 473034 h 1083"/>
                  <a:gd name="T100" fmla="*/ 386399 w 1445"/>
                  <a:gd name="T101" fmla="*/ 492661 h 1083"/>
                  <a:gd name="T102" fmla="*/ 375121 w 1445"/>
                  <a:gd name="T103" fmla="*/ 503947 h 1083"/>
                  <a:gd name="T104" fmla="*/ 353055 w 1445"/>
                  <a:gd name="T105" fmla="*/ 509345 h 1083"/>
                  <a:gd name="T106" fmla="*/ 330499 w 1445"/>
                  <a:gd name="T107" fmla="*/ 517687 h 1083"/>
                  <a:gd name="T108" fmla="*/ 303039 w 1445"/>
                  <a:gd name="T109" fmla="*/ 526029 h 1083"/>
                  <a:gd name="T110" fmla="*/ 280483 w 1445"/>
                  <a:gd name="T111" fmla="*/ 526029 h 1083"/>
                  <a:gd name="T112" fmla="*/ 244196 w 1445"/>
                  <a:gd name="T113" fmla="*/ 517687 h 1083"/>
                  <a:gd name="T114" fmla="*/ 227524 w 1445"/>
                  <a:gd name="T115" fmla="*/ 509345 h 1083"/>
                  <a:gd name="T116" fmla="*/ 200064 w 1445"/>
                  <a:gd name="T117" fmla="*/ 514743 h 1083"/>
                  <a:gd name="T118" fmla="*/ 183392 w 1445"/>
                  <a:gd name="T119" fmla="*/ 523085 h 1083"/>
                  <a:gd name="T120" fmla="*/ 158384 w 1445"/>
                  <a:gd name="T121" fmla="*/ 520631 h 108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45" h="1083">
                    <a:moveTo>
                      <a:pt x="277" y="1061"/>
                    </a:moveTo>
                    <a:lnTo>
                      <a:pt x="272" y="1055"/>
                    </a:lnTo>
                    <a:lnTo>
                      <a:pt x="272" y="1049"/>
                    </a:lnTo>
                    <a:lnTo>
                      <a:pt x="266" y="1049"/>
                    </a:lnTo>
                    <a:lnTo>
                      <a:pt x="260" y="1049"/>
                    </a:lnTo>
                    <a:lnTo>
                      <a:pt x="255" y="1044"/>
                    </a:lnTo>
                    <a:lnTo>
                      <a:pt x="255" y="1049"/>
                    </a:lnTo>
                    <a:lnTo>
                      <a:pt x="249" y="1049"/>
                    </a:lnTo>
                    <a:lnTo>
                      <a:pt x="249" y="1044"/>
                    </a:lnTo>
                    <a:lnTo>
                      <a:pt x="249" y="1049"/>
                    </a:lnTo>
                    <a:lnTo>
                      <a:pt x="243" y="1049"/>
                    </a:lnTo>
                    <a:lnTo>
                      <a:pt x="238" y="1049"/>
                    </a:lnTo>
                    <a:lnTo>
                      <a:pt x="238" y="1044"/>
                    </a:lnTo>
                    <a:lnTo>
                      <a:pt x="232" y="1038"/>
                    </a:lnTo>
                    <a:lnTo>
                      <a:pt x="226" y="1038"/>
                    </a:lnTo>
                    <a:lnTo>
                      <a:pt x="226" y="1032"/>
                    </a:lnTo>
                    <a:lnTo>
                      <a:pt x="221" y="1032"/>
                    </a:lnTo>
                    <a:lnTo>
                      <a:pt x="215" y="1032"/>
                    </a:lnTo>
                    <a:lnTo>
                      <a:pt x="209" y="1027"/>
                    </a:lnTo>
                    <a:lnTo>
                      <a:pt x="204" y="1021"/>
                    </a:lnTo>
                    <a:lnTo>
                      <a:pt x="204" y="1015"/>
                    </a:lnTo>
                    <a:lnTo>
                      <a:pt x="204" y="1010"/>
                    </a:lnTo>
                    <a:lnTo>
                      <a:pt x="198" y="1010"/>
                    </a:lnTo>
                    <a:lnTo>
                      <a:pt x="192" y="1010"/>
                    </a:lnTo>
                    <a:lnTo>
                      <a:pt x="192" y="1004"/>
                    </a:lnTo>
                    <a:lnTo>
                      <a:pt x="187" y="998"/>
                    </a:lnTo>
                    <a:lnTo>
                      <a:pt x="187" y="993"/>
                    </a:lnTo>
                    <a:lnTo>
                      <a:pt x="181" y="993"/>
                    </a:lnTo>
                    <a:lnTo>
                      <a:pt x="175" y="993"/>
                    </a:lnTo>
                    <a:lnTo>
                      <a:pt x="170" y="993"/>
                    </a:lnTo>
                    <a:lnTo>
                      <a:pt x="175" y="987"/>
                    </a:lnTo>
                    <a:lnTo>
                      <a:pt x="175" y="981"/>
                    </a:lnTo>
                    <a:lnTo>
                      <a:pt x="175" y="976"/>
                    </a:lnTo>
                    <a:lnTo>
                      <a:pt x="175" y="970"/>
                    </a:lnTo>
                    <a:lnTo>
                      <a:pt x="170" y="970"/>
                    </a:lnTo>
                    <a:lnTo>
                      <a:pt x="170" y="976"/>
                    </a:lnTo>
                    <a:lnTo>
                      <a:pt x="164" y="976"/>
                    </a:lnTo>
                    <a:lnTo>
                      <a:pt x="158" y="970"/>
                    </a:lnTo>
                    <a:lnTo>
                      <a:pt x="153" y="970"/>
                    </a:lnTo>
                    <a:lnTo>
                      <a:pt x="153" y="964"/>
                    </a:lnTo>
                    <a:lnTo>
                      <a:pt x="153" y="959"/>
                    </a:lnTo>
                    <a:lnTo>
                      <a:pt x="147" y="959"/>
                    </a:lnTo>
                    <a:lnTo>
                      <a:pt x="147" y="953"/>
                    </a:lnTo>
                    <a:lnTo>
                      <a:pt x="141" y="953"/>
                    </a:lnTo>
                    <a:lnTo>
                      <a:pt x="136" y="947"/>
                    </a:lnTo>
                    <a:lnTo>
                      <a:pt x="136" y="941"/>
                    </a:lnTo>
                    <a:lnTo>
                      <a:pt x="136" y="936"/>
                    </a:lnTo>
                    <a:lnTo>
                      <a:pt x="124" y="930"/>
                    </a:lnTo>
                    <a:lnTo>
                      <a:pt x="119" y="924"/>
                    </a:lnTo>
                    <a:lnTo>
                      <a:pt x="124" y="919"/>
                    </a:lnTo>
                    <a:lnTo>
                      <a:pt x="124" y="913"/>
                    </a:lnTo>
                    <a:lnTo>
                      <a:pt x="119" y="913"/>
                    </a:lnTo>
                    <a:lnTo>
                      <a:pt x="113" y="913"/>
                    </a:lnTo>
                    <a:lnTo>
                      <a:pt x="113" y="902"/>
                    </a:lnTo>
                    <a:lnTo>
                      <a:pt x="113" y="896"/>
                    </a:lnTo>
                    <a:lnTo>
                      <a:pt x="107" y="896"/>
                    </a:lnTo>
                    <a:lnTo>
                      <a:pt x="102" y="896"/>
                    </a:lnTo>
                    <a:lnTo>
                      <a:pt x="102" y="890"/>
                    </a:lnTo>
                    <a:lnTo>
                      <a:pt x="96" y="890"/>
                    </a:lnTo>
                    <a:lnTo>
                      <a:pt x="96" y="896"/>
                    </a:lnTo>
                    <a:lnTo>
                      <a:pt x="90" y="896"/>
                    </a:lnTo>
                    <a:lnTo>
                      <a:pt x="85" y="896"/>
                    </a:lnTo>
                    <a:lnTo>
                      <a:pt x="85" y="890"/>
                    </a:lnTo>
                    <a:lnTo>
                      <a:pt x="79" y="890"/>
                    </a:lnTo>
                    <a:lnTo>
                      <a:pt x="79" y="885"/>
                    </a:lnTo>
                    <a:lnTo>
                      <a:pt x="79" y="879"/>
                    </a:lnTo>
                    <a:lnTo>
                      <a:pt x="79" y="873"/>
                    </a:lnTo>
                    <a:lnTo>
                      <a:pt x="73" y="873"/>
                    </a:lnTo>
                    <a:lnTo>
                      <a:pt x="68" y="873"/>
                    </a:lnTo>
                    <a:lnTo>
                      <a:pt x="62" y="873"/>
                    </a:lnTo>
                    <a:lnTo>
                      <a:pt x="56" y="868"/>
                    </a:lnTo>
                    <a:lnTo>
                      <a:pt x="51" y="868"/>
                    </a:lnTo>
                    <a:lnTo>
                      <a:pt x="51" y="862"/>
                    </a:lnTo>
                    <a:lnTo>
                      <a:pt x="51" y="856"/>
                    </a:lnTo>
                    <a:lnTo>
                      <a:pt x="39" y="856"/>
                    </a:lnTo>
                    <a:lnTo>
                      <a:pt x="34" y="851"/>
                    </a:lnTo>
                    <a:lnTo>
                      <a:pt x="34" y="845"/>
                    </a:lnTo>
                    <a:lnTo>
                      <a:pt x="28" y="845"/>
                    </a:lnTo>
                    <a:lnTo>
                      <a:pt x="22" y="845"/>
                    </a:lnTo>
                    <a:lnTo>
                      <a:pt x="17" y="845"/>
                    </a:lnTo>
                    <a:lnTo>
                      <a:pt x="17" y="839"/>
                    </a:lnTo>
                    <a:lnTo>
                      <a:pt x="11" y="839"/>
                    </a:lnTo>
                    <a:lnTo>
                      <a:pt x="11" y="834"/>
                    </a:lnTo>
                    <a:lnTo>
                      <a:pt x="5" y="828"/>
                    </a:lnTo>
                    <a:lnTo>
                      <a:pt x="5" y="822"/>
                    </a:lnTo>
                    <a:lnTo>
                      <a:pt x="0" y="822"/>
                    </a:lnTo>
                    <a:lnTo>
                      <a:pt x="0" y="817"/>
                    </a:lnTo>
                    <a:lnTo>
                      <a:pt x="0" y="811"/>
                    </a:lnTo>
                    <a:lnTo>
                      <a:pt x="0" y="805"/>
                    </a:lnTo>
                    <a:lnTo>
                      <a:pt x="22" y="754"/>
                    </a:lnTo>
                    <a:lnTo>
                      <a:pt x="85" y="647"/>
                    </a:lnTo>
                    <a:lnTo>
                      <a:pt x="85" y="641"/>
                    </a:lnTo>
                    <a:lnTo>
                      <a:pt x="90" y="641"/>
                    </a:lnTo>
                    <a:lnTo>
                      <a:pt x="90" y="635"/>
                    </a:lnTo>
                    <a:lnTo>
                      <a:pt x="119" y="584"/>
                    </a:lnTo>
                    <a:lnTo>
                      <a:pt x="147" y="528"/>
                    </a:lnTo>
                    <a:lnTo>
                      <a:pt x="136" y="522"/>
                    </a:lnTo>
                    <a:lnTo>
                      <a:pt x="141" y="494"/>
                    </a:lnTo>
                    <a:lnTo>
                      <a:pt x="141" y="488"/>
                    </a:lnTo>
                    <a:lnTo>
                      <a:pt x="141" y="482"/>
                    </a:lnTo>
                    <a:lnTo>
                      <a:pt x="153" y="477"/>
                    </a:lnTo>
                    <a:lnTo>
                      <a:pt x="158" y="443"/>
                    </a:lnTo>
                    <a:lnTo>
                      <a:pt x="153" y="431"/>
                    </a:lnTo>
                    <a:lnTo>
                      <a:pt x="158" y="431"/>
                    </a:lnTo>
                    <a:lnTo>
                      <a:pt x="164" y="426"/>
                    </a:lnTo>
                    <a:lnTo>
                      <a:pt x="170" y="420"/>
                    </a:lnTo>
                    <a:lnTo>
                      <a:pt x="187" y="392"/>
                    </a:lnTo>
                    <a:lnTo>
                      <a:pt x="181" y="380"/>
                    </a:lnTo>
                    <a:lnTo>
                      <a:pt x="192" y="375"/>
                    </a:lnTo>
                    <a:lnTo>
                      <a:pt x="198" y="375"/>
                    </a:lnTo>
                    <a:lnTo>
                      <a:pt x="204" y="375"/>
                    </a:lnTo>
                    <a:lnTo>
                      <a:pt x="209" y="363"/>
                    </a:lnTo>
                    <a:lnTo>
                      <a:pt x="209" y="352"/>
                    </a:lnTo>
                    <a:lnTo>
                      <a:pt x="221" y="346"/>
                    </a:lnTo>
                    <a:lnTo>
                      <a:pt x="221" y="341"/>
                    </a:lnTo>
                    <a:lnTo>
                      <a:pt x="226" y="341"/>
                    </a:lnTo>
                    <a:lnTo>
                      <a:pt x="232" y="335"/>
                    </a:lnTo>
                    <a:lnTo>
                      <a:pt x="238" y="335"/>
                    </a:lnTo>
                    <a:lnTo>
                      <a:pt x="238" y="329"/>
                    </a:lnTo>
                    <a:lnTo>
                      <a:pt x="243" y="329"/>
                    </a:lnTo>
                    <a:lnTo>
                      <a:pt x="249" y="324"/>
                    </a:lnTo>
                    <a:lnTo>
                      <a:pt x="255" y="324"/>
                    </a:lnTo>
                    <a:lnTo>
                      <a:pt x="255" y="318"/>
                    </a:lnTo>
                    <a:lnTo>
                      <a:pt x="249" y="318"/>
                    </a:lnTo>
                    <a:lnTo>
                      <a:pt x="255" y="312"/>
                    </a:lnTo>
                    <a:lnTo>
                      <a:pt x="260" y="307"/>
                    </a:lnTo>
                    <a:lnTo>
                      <a:pt x="266" y="307"/>
                    </a:lnTo>
                    <a:lnTo>
                      <a:pt x="272" y="307"/>
                    </a:lnTo>
                    <a:lnTo>
                      <a:pt x="272" y="301"/>
                    </a:lnTo>
                    <a:lnTo>
                      <a:pt x="277" y="301"/>
                    </a:lnTo>
                    <a:lnTo>
                      <a:pt x="277" y="295"/>
                    </a:lnTo>
                    <a:lnTo>
                      <a:pt x="283" y="295"/>
                    </a:lnTo>
                    <a:lnTo>
                      <a:pt x="283" y="290"/>
                    </a:lnTo>
                    <a:lnTo>
                      <a:pt x="289" y="290"/>
                    </a:lnTo>
                    <a:lnTo>
                      <a:pt x="294" y="284"/>
                    </a:lnTo>
                    <a:lnTo>
                      <a:pt x="300" y="284"/>
                    </a:lnTo>
                    <a:lnTo>
                      <a:pt x="306" y="278"/>
                    </a:lnTo>
                    <a:lnTo>
                      <a:pt x="311" y="278"/>
                    </a:lnTo>
                    <a:lnTo>
                      <a:pt x="317" y="278"/>
                    </a:lnTo>
                    <a:lnTo>
                      <a:pt x="323" y="278"/>
                    </a:lnTo>
                    <a:lnTo>
                      <a:pt x="328" y="278"/>
                    </a:lnTo>
                    <a:lnTo>
                      <a:pt x="328" y="273"/>
                    </a:lnTo>
                    <a:lnTo>
                      <a:pt x="334" y="273"/>
                    </a:lnTo>
                    <a:lnTo>
                      <a:pt x="334" y="267"/>
                    </a:lnTo>
                    <a:lnTo>
                      <a:pt x="345" y="267"/>
                    </a:lnTo>
                    <a:lnTo>
                      <a:pt x="351" y="273"/>
                    </a:lnTo>
                    <a:lnTo>
                      <a:pt x="357" y="273"/>
                    </a:lnTo>
                    <a:lnTo>
                      <a:pt x="362" y="267"/>
                    </a:lnTo>
                    <a:lnTo>
                      <a:pt x="368" y="261"/>
                    </a:lnTo>
                    <a:lnTo>
                      <a:pt x="379" y="256"/>
                    </a:lnTo>
                    <a:lnTo>
                      <a:pt x="396" y="244"/>
                    </a:lnTo>
                    <a:lnTo>
                      <a:pt x="402" y="244"/>
                    </a:lnTo>
                    <a:lnTo>
                      <a:pt x="408" y="244"/>
                    </a:lnTo>
                    <a:lnTo>
                      <a:pt x="408" y="256"/>
                    </a:lnTo>
                    <a:lnTo>
                      <a:pt x="413" y="256"/>
                    </a:lnTo>
                    <a:lnTo>
                      <a:pt x="419" y="256"/>
                    </a:lnTo>
                    <a:lnTo>
                      <a:pt x="430" y="256"/>
                    </a:lnTo>
                    <a:lnTo>
                      <a:pt x="436" y="256"/>
                    </a:lnTo>
                    <a:lnTo>
                      <a:pt x="447" y="261"/>
                    </a:lnTo>
                    <a:lnTo>
                      <a:pt x="453" y="278"/>
                    </a:lnTo>
                    <a:lnTo>
                      <a:pt x="453" y="284"/>
                    </a:lnTo>
                    <a:lnTo>
                      <a:pt x="459" y="284"/>
                    </a:lnTo>
                    <a:lnTo>
                      <a:pt x="464" y="284"/>
                    </a:lnTo>
                    <a:lnTo>
                      <a:pt x="464" y="278"/>
                    </a:lnTo>
                    <a:lnTo>
                      <a:pt x="470" y="278"/>
                    </a:lnTo>
                    <a:lnTo>
                      <a:pt x="464" y="278"/>
                    </a:lnTo>
                    <a:lnTo>
                      <a:pt x="464" y="267"/>
                    </a:lnTo>
                    <a:lnTo>
                      <a:pt x="470" y="250"/>
                    </a:lnTo>
                    <a:lnTo>
                      <a:pt x="476" y="250"/>
                    </a:lnTo>
                    <a:lnTo>
                      <a:pt x="476" y="244"/>
                    </a:lnTo>
                    <a:lnTo>
                      <a:pt x="481" y="244"/>
                    </a:lnTo>
                    <a:lnTo>
                      <a:pt x="487" y="239"/>
                    </a:lnTo>
                    <a:lnTo>
                      <a:pt x="493" y="233"/>
                    </a:lnTo>
                    <a:lnTo>
                      <a:pt x="498" y="233"/>
                    </a:lnTo>
                    <a:lnTo>
                      <a:pt x="498" y="227"/>
                    </a:lnTo>
                    <a:lnTo>
                      <a:pt x="504" y="227"/>
                    </a:lnTo>
                    <a:lnTo>
                      <a:pt x="510" y="227"/>
                    </a:lnTo>
                    <a:lnTo>
                      <a:pt x="510" y="222"/>
                    </a:lnTo>
                    <a:lnTo>
                      <a:pt x="510" y="216"/>
                    </a:lnTo>
                    <a:lnTo>
                      <a:pt x="510" y="210"/>
                    </a:lnTo>
                    <a:lnTo>
                      <a:pt x="515" y="205"/>
                    </a:lnTo>
                    <a:lnTo>
                      <a:pt x="521" y="205"/>
                    </a:lnTo>
                    <a:lnTo>
                      <a:pt x="521" y="199"/>
                    </a:lnTo>
                    <a:lnTo>
                      <a:pt x="527" y="199"/>
                    </a:lnTo>
                    <a:lnTo>
                      <a:pt x="532" y="199"/>
                    </a:lnTo>
                    <a:lnTo>
                      <a:pt x="532" y="205"/>
                    </a:lnTo>
                    <a:lnTo>
                      <a:pt x="538" y="205"/>
                    </a:lnTo>
                    <a:lnTo>
                      <a:pt x="538" y="199"/>
                    </a:lnTo>
                    <a:lnTo>
                      <a:pt x="544" y="193"/>
                    </a:lnTo>
                    <a:lnTo>
                      <a:pt x="555" y="193"/>
                    </a:lnTo>
                    <a:lnTo>
                      <a:pt x="561" y="199"/>
                    </a:lnTo>
                    <a:lnTo>
                      <a:pt x="567" y="199"/>
                    </a:lnTo>
                    <a:lnTo>
                      <a:pt x="567" y="193"/>
                    </a:lnTo>
                    <a:lnTo>
                      <a:pt x="572" y="193"/>
                    </a:lnTo>
                    <a:lnTo>
                      <a:pt x="578" y="193"/>
                    </a:lnTo>
                    <a:lnTo>
                      <a:pt x="584" y="193"/>
                    </a:lnTo>
                    <a:lnTo>
                      <a:pt x="589" y="193"/>
                    </a:lnTo>
                    <a:lnTo>
                      <a:pt x="589" y="188"/>
                    </a:lnTo>
                    <a:lnTo>
                      <a:pt x="584" y="188"/>
                    </a:lnTo>
                    <a:lnTo>
                      <a:pt x="578" y="188"/>
                    </a:lnTo>
                    <a:lnTo>
                      <a:pt x="572" y="182"/>
                    </a:lnTo>
                    <a:lnTo>
                      <a:pt x="578" y="176"/>
                    </a:lnTo>
                    <a:lnTo>
                      <a:pt x="578" y="171"/>
                    </a:lnTo>
                    <a:lnTo>
                      <a:pt x="578" y="176"/>
                    </a:lnTo>
                    <a:lnTo>
                      <a:pt x="584" y="176"/>
                    </a:lnTo>
                    <a:lnTo>
                      <a:pt x="584" y="171"/>
                    </a:lnTo>
                    <a:lnTo>
                      <a:pt x="584" y="165"/>
                    </a:lnTo>
                    <a:lnTo>
                      <a:pt x="584" y="159"/>
                    </a:lnTo>
                    <a:lnTo>
                      <a:pt x="584" y="154"/>
                    </a:lnTo>
                    <a:lnTo>
                      <a:pt x="578" y="148"/>
                    </a:lnTo>
                    <a:lnTo>
                      <a:pt x="572" y="148"/>
                    </a:lnTo>
                    <a:lnTo>
                      <a:pt x="572" y="142"/>
                    </a:lnTo>
                    <a:lnTo>
                      <a:pt x="567" y="137"/>
                    </a:lnTo>
                    <a:lnTo>
                      <a:pt x="567" y="131"/>
                    </a:lnTo>
                    <a:lnTo>
                      <a:pt x="567" y="125"/>
                    </a:lnTo>
                    <a:lnTo>
                      <a:pt x="572" y="125"/>
                    </a:lnTo>
                    <a:lnTo>
                      <a:pt x="572" y="131"/>
                    </a:lnTo>
                    <a:lnTo>
                      <a:pt x="578" y="131"/>
                    </a:lnTo>
                    <a:lnTo>
                      <a:pt x="578" y="125"/>
                    </a:lnTo>
                    <a:lnTo>
                      <a:pt x="584" y="125"/>
                    </a:lnTo>
                    <a:lnTo>
                      <a:pt x="584" y="120"/>
                    </a:lnTo>
                    <a:lnTo>
                      <a:pt x="589" y="120"/>
                    </a:lnTo>
                    <a:lnTo>
                      <a:pt x="595" y="114"/>
                    </a:lnTo>
                    <a:lnTo>
                      <a:pt x="601" y="114"/>
                    </a:lnTo>
                    <a:lnTo>
                      <a:pt x="606" y="114"/>
                    </a:lnTo>
                    <a:lnTo>
                      <a:pt x="612" y="114"/>
                    </a:lnTo>
                    <a:lnTo>
                      <a:pt x="612" y="108"/>
                    </a:lnTo>
                    <a:lnTo>
                      <a:pt x="612" y="103"/>
                    </a:lnTo>
                    <a:lnTo>
                      <a:pt x="606" y="103"/>
                    </a:lnTo>
                    <a:lnTo>
                      <a:pt x="612" y="103"/>
                    </a:lnTo>
                    <a:lnTo>
                      <a:pt x="612" y="97"/>
                    </a:lnTo>
                    <a:lnTo>
                      <a:pt x="618" y="97"/>
                    </a:lnTo>
                    <a:lnTo>
                      <a:pt x="618" y="91"/>
                    </a:lnTo>
                    <a:lnTo>
                      <a:pt x="623" y="86"/>
                    </a:lnTo>
                    <a:lnTo>
                      <a:pt x="629" y="86"/>
                    </a:lnTo>
                    <a:lnTo>
                      <a:pt x="629" y="91"/>
                    </a:lnTo>
                    <a:lnTo>
                      <a:pt x="635" y="91"/>
                    </a:lnTo>
                    <a:lnTo>
                      <a:pt x="640" y="91"/>
                    </a:lnTo>
                    <a:lnTo>
                      <a:pt x="640" y="86"/>
                    </a:lnTo>
                    <a:lnTo>
                      <a:pt x="646" y="80"/>
                    </a:lnTo>
                    <a:lnTo>
                      <a:pt x="652" y="80"/>
                    </a:lnTo>
                    <a:lnTo>
                      <a:pt x="663" y="74"/>
                    </a:lnTo>
                    <a:lnTo>
                      <a:pt x="669" y="69"/>
                    </a:lnTo>
                    <a:lnTo>
                      <a:pt x="669" y="74"/>
                    </a:lnTo>
                    <a:lnTo>
                      <a:pt x="674" y="74"/>
                    </a:lnTo>
                    <a:lnTo>
                      <a:pt x="680" y="69"/>
                    </a:lnTo>
                    <a:lnTo>
                      <a:pt x="686" y="69"/>
                    </a:lnTo>
                    <a:lnTo>
                      <a:pt x="691" y="69"/>
                    </a:lnTo>
                    <a:lnTo>
                      <a:pt x="697" y="69"/>
                    </a:lnTo>
                    <a:lnTo>
                      <a:pt x="697" y="74"/>
                    </a:lnTo>
                    <a:lnTo>
                      <a:pt x="697" y="80"/>
                    </a:lnTo>
                    <a:lnTo>
                      <a:pt x="703" y="80"/>
                    </a:lnTo>
                    <a:lnTo>
                      <a:pt x="697" y="63"/>
                    </a:lnTo>
                    <a:lnTo>
                      <a:pt x="703" y="57"/>
                    </a:lnTo>
                    <a:lnTo>
                      <a:pt x="703" y="52"/>
                    </a:lnTo>
                    <a:lnTo>
                      <a:pt x="708" y="52"/>
                    </a:lnTo>
                    <a:lnTo>
                      <a:pt x="708" y="57"/>
                    </a:lnTo>
                    <a:lnTo>
                      <a:pt x="708" y="63"/>
                    </a:lnTo>
                    <a:lnTo>
                      <a:pt x="720" y="69"/>
                    </a:lnTo>
                    <a:lnTo>
                      <a:pt x="725" y="69"/>
                    </a:lnTo>
                    <a:lnTo>
                      <a:pt x="725" y="74"/>
                    </a:lnTo>
                    <a:lnTo>
                      <a:pt x="731" y="74"/>
                    </a:lnTo>
                    <a:lnTo>
                      <a:pt x="737" y="69"/>
                    </a:lnTo>
                    <a:lnTo>
                      <a:pt x="742" y="69"/>
                    </a:lnTo>
                    <a:lnTo>
                      <a:pt x="748" y="69"/>
                    </a:lnTo>
                    <a:lnTo>
                      <a:pt x="754" y="74"/>
                    </a:lnTo>
                    <a:lnTo>
                      <a:pt x="759" y="74"/>
                    </a:lnTo>
                    <a:lnTo>
                      <a:pt x="759" y="69"/>
                    </a:lnTo>
                    <a:lnTo>
                      <a:pt x="765" y="69"/>
                    </a:lnTo>
                    <a:lnTo>
                      <a:pt x="771" y="69"/>
                    </a:lnTo>
                    <a:lnTo>
                      <a:pt x="771" y="74"/>
                    </a:lnTo>
                    <a:lnTo>
                      <a:pt x="765" y="74"/>
                    </a:lnTo>
                    <a:lnTo>
                      <a:pt x="765" y="80"/>
                    </a:lnTo>
                    <a:lnTo>
                      <a:pt x="771" y="80"/>
                    </a:lnTo>
                    <a:lnTo>
                      <a:pt x="776" y="80"/>
                    </a:lnTo>
                    <a:lnTo>
                      <a:pt x="776" y="74"/>
                    </a:lnTo>
                    <a:lnTo>
                      <a:pt x="782" y="69"/>
                    </a:lnTo>
                    <a:lnTo>
                      <a:pt x="788" y="63"/>
                    </a:lnTo>
                    <a:lnTo>
                      <a:pt x="793" y="57"/>
                    </a:lnTo>
                    <a:lnTo>
                      <a:pt x="799" y="52"/>
                    </a:lnTo>
                    <a:lnTo>
                      <a:pt x="805" y="46"/>
                    </a:lnTo>
                    <a:lnTo>
                      <a:pt x="810" y="46"/>
                    </a:lnTo>
                    <a:lnTo>
                      <a:pt x="810" y="52"/>
                    </a:lnTo>
                    <a:lnTo>
                      <a:pt x="822" y="63"/>
                    </a:lnTo>
                    <a:lnTo>
                      <a:pt x="827" y="69"/>
                    </a:lnTo>
                    <a:lnTo>
                      <a:pt x="833" y="69"/>
                    </a:lnTo>
                    <a:lnTo>
                      <a:pt x="839" y="63"/>
                    </a:lnTo>
                    <a:lnTo>
                      <a:pt x="839" y="57"/>
                    </a:lnTo>
                    <a:lnTo>
                      <a:pt x="844" y="57"/>
                    </a:lnTo>
                    <a:lnTo>
                      <a:pt x="850" y="57"/>
                    </a:lnTo>
                    <a:lnTo>
                      <a:pt x="850" y="52"/>
                    </a:lnTo>
                    <a:lnTo>
                      <a:pt x="850" y="46"/>
                    </a:lnTo>
                    <a:lnTo>
                      <a:pt x="856" y="46"/>
                    </a:lnTo>
                    <a:lnTo>
                      <a:pt x="856" y="40"/>
                    </a:lnTo>
                    <a:lnTo>
                      <a:pt x="856" y="35"/>
                    </a:lnTo>
                    <a:lnTo>
                      <a:pt x="856" y="29"/>
                    </a:lnTo>
                    <a:lnTo>
                      <a:pt x="861" y="29"/>
                    </a:lnTo>
                    <a:lnTo>
                      <a:pt x="867" y="29"/>
                    </a:lnTo>
                    <a:lnTo>
                      <a:pt x="873" y="29"/>
                    </a:lnTo>
                    <a:lnTo>
                      <a:pt x="873" y="23"/>
                    </a:lnTo>
                    <a:lnTo>
                      <a:pt x="873" y="17"/>
                    </a:lnTo>
                    <a:lnTo>
                      <a:pt x="878" y="17"/>
                    </a:lnTo>
                    <a:lnTo>
                      <a:pt x="884" y="17"/>
                    </a:lnTo>
                    <a:lnTo>
                      <a:pt x="890" y="17"/>
                    </a:lnTo>
                    <a:lnTo>
                      <a:pt x="890" y="23"/>
                    </a:lnTo>
                    <a:lnTo>
                      <a:pt x="890" y="29"/>
                    </a:lnTo>
                    <a:lnTo>
                      <a:pt x="895" y="29"/>
                    </a:lnTo>
                    <a:lnTo>
                      <a:pt x="901" y="23"/>
                    </a:lnTo>
                    <a:lnTo>
                      <a:pt x="907" y="23"/>
                    </a:lnTo>
                    <a:lnTo>
                      <a:pt x="912" y="23"/>
                    </a:lnTo>
                    <a:lnTo>
                      <a:pt x="918" y="29"/>
                    </a:lnTo>
                    <a:lnTo>
                      <a:pt x="924" y="35"/>
                    </a:lnTo>
                    <a:lnTo>
                      <a:pt x="924" y="29"/>
                    </a:lnTo>
                    <a:lnTo>
                      <a:pt x="924" y="23"/>
                    </a:lnTo>
                    <a:lnTo>
                      <a:pt x="929" y="23"/>
                    </a:lnTo>
                    <a:lnTo>
                      <a:pt x="935" y="23"/>
                    </a:lnTo>
                    <a:lnTo>
                      <a:pt x="946" y="23"/>
                    </a:lnTo>
                    <a:lnTo>
                      <a:pt x="946" y="17"/>
                    </a:lnTo>
                    <a:lnTo>
                      <a:pt x="952" y="23"/>
                    </a:lnTo>
                    <a:lnTo>
                      <a:pt x="952" y="17"/>
                    </a:lnTo>
                    <a:lnTo>
                      <a:pt x="958" y="17"/>
                    </a:lnTo>
                    <a:lnTo>
                      <a:pt x="958" y="12"/>
                    </a:lnTo>
                    <a:lnTo>
                      <a:pt x="963" y="12"/>
                    </a:lnTo>
                    <a:lnTo>
                      <a:pt x="969" y="6"/>
                    </a:lnTo>
                    <a:lnTo>
                      <a:pt x="969" y="0"/>
                    </a:lnTo>
                    <a:lnTo>
                      <a:pt x="975" y="0"/>
                    </a:lnTo>
                    <a:lnTo>
                      <a:pt x="980" y="0"/>
                    </a:lnTo>
                    <a:lnTo>
                      <a:pt x="986" y="0"/>
                    </a:lnTo>
                    <a:lnTo>
                      <a:pt x="986" y="6"/>
                    </a:lnTo>
                    <a:lnTo>
                      <a:pt x="986" y="12"/>
                    </a:lnTo>
                    <a:lnTo>
                      <a:pt x="986" y="17"/>
                    </a:lnTo>
                    <a:lnTo>
                      <a:pt x="986" y="23"/>
                    </a:lnTo>
                    <a:lnTo>
                      <a:pt x="986" y="29"/>
                    </a:lnTo>
                    <a:lnTo>
                      <a:pt x="992" y="29"/>
                    </a:lnTo>
                    <a:lnTo>
                      <a:pt x="986" y="35"/>
                    </a:lnTo>
                    <a:lnTo>
                      <a:pt x="992" y="35"/>
                    </a:lnTo>
                    <a:lnTo>
                      <a:pt x="997" y="40"/>
                    </a:lnTo>
                    <a:lnTo>
                      <a:pt x="1003" y="46"/>
                    </a:lnTo>
                    <a:lnTo>
                      <a:pt x="1009" y="46"/>
                    </a:lnTo>
                    <a:lnTo>
                      <a:pt x="1014" y="46"/>
                    </a:lnTo>
                    <a:lnTo>
                      <a:pt x="1014" y="52"/>
                    </a:lnTo>
                    <a:lnTo>
                      <a:pt x="1020" y="57"/>
                    </a:lnTo>
                    <a:lnTo>
                      <a:pt x="1026" y="52"/>
                    </a:lnTo>
                    <a:lnTo>
                      <a:pt x="1026" y="57"/>
                    </a:lnTo>
                    <a:lnTo>
                      <a:pt x="1031" y="63"/>
                    </a:lnTo>
                    <a:lnTo>
                      <a:pt x="1037" y="63"/>
                    </a:lnTo>
                    <a:lnTo>
                      <a:pt x="1043" y="63"/>
                    </a:lnTo>
                    <a:lnTo>
                      <a:pt x="1043" y="57"/>
                    </a:lnTo>
                    <a:lnTo>
                      <a:pt x="1048" y="57"/>
                    </a:lnTo>
                    <a:lnTo>
                      <a:pt x="1048" y="63"/>
                    </a:lnTo>
                    <a:lnTo>
                      <a:pt x="1054" y="63"/>
                    </a:lnTo>
                    <a:lnTo>
                      <a:pt x="1060" y="69"/>
                    </a:lnTo>
                    <a:lnTo>
                      <a:pt x="1065" y="69"/>
                    </a:lnTo>
                    <a:lnTo>
                      <a:pt x="1071" y="74"/>
                    </a:lnTo>
                    <a:lnTo>
                      <a:pt x="1077" y="74"/>
                    </a:lnTo>
                    <a:lnTo>
                      <a:pt x="1082" y="69"/>
                    </a:lnTo>
                    <a:lnTo>
                      <a:pt x="1088" y="69"/>
                    </a:lnTo>
                    <a:lnTo>
                      <a:pt x="1088" y="74"/>
                    </a:lnTo>
                    <a:lnTo>
                      <a:pt x="1094" y="80"/>
                    </a:lnTo>
                    <a:lnTo>
                      <a:pt x="1094" y="86"/>
                    </a:lnTo>
                    <a:lnTo>
                      <a:pt x="1094" y="91"/>
                    </a:lnTo>
                    <a:lnTo>
                      <a:pt x="1099" y="86"/>
                    </a:lnTo>
                    <a:lnTo>
                      <a:pt x="1099" y="80"/>
                    </a:lnTo>
                    <a:lnTo>
                      <a:pt x="1105" y="80"/>
                    </a:lnTo>
                    <a:lnTo>
                      <a:pt x="1111" y="80"/>
                    </a:lnTo>
                    <a:lnTo>
                      <a:pt x="1116" y="86"/>
                    </a:lnTo>
                    <a:lnTo>
                      <a:pt x="1116" y="91"/>
                    </a:lnTo>
                    <a:lnTo>
                      <a:pt x="1122" y="97"/>
                    </a:lnTo>
                    <a:lnTo>
                      <a:pt x="1128" y="103"/>
                    </a:lnTo>
                    <a:lnTo>
                      <a:pt x="1122" y="103"/>
                    </a:lnTo>
                    <a:lnTo>
                      <a:pt x="1122" y="108"/>
                    </a:lnTo>
                    <a:lnTo>
                      <a:pt x="1122" y="103"/>
                    </a:lnTo>
                    <a:lnTo>
                      <a:pt x="1128" y="103"/>
                    </a:lnTo>
                    <a:lnTo>
                      <a:pt x="1128" y="97"/>
                    </a:lnTo>
                    <a:lnTo>
                      <a:pt x="1133" y="97"/>
                    </a:lnTo>
                    <a:lnTo>
                      <a:pt x="1139" y="97"/>
                    </a:lnTo>
                    <a:lnTo>
                      <a:pt x="1139" y="91"/>
                    </a:lnTo>
                    <a:lnTo>
                      <a:pt x="1145" y="91"/>
                    </a:lnTo>
                    <a:lnTo>
                      <a:pt x="1150" y="91"/>
                    </a:lnTo>
                    <a:lnTo>
                      <a:pt x="1156" y="86"/>
                    </a:lnTo>
                    <a:lnTo>
                      <a:pt x="1150" y="86"/>
                    </a:lnTo>
                    <a:lnTo>
                      <a:pt x="1145" y="86"/>
                    </a:lnTo>
                    <a:lnTo>
                      <a:pt x="1150" y="80"/>
                    </a:lnTo>
                    <a:lnTo>
                      <a:pt x="1150" y="74"/>
                    </a:lnTo>
                    <a:lnTo>
                      <a:pt x="1162" y="80"/>
                    </a:lnTo>
                    <a:lnTo>
                      <a:pt x="1167" y="80"/>
                    </a:lnTo>
                    <a:lnTo>
                      <a:pt x="1173" y="80"/>
                    </a:lnTo>
                    <a:lnTo>
                      <a:pt x="1173" y="86"/>
                    </a:lnTo>
                    <a:lnTo>
                      <a:pt x="1173" y="91"/>
                    </a:lnTo>
                    <a:lnTo>
                      <a:pt x="1179" y="91"/>
                    </a:lnTo>
                    <a:lnTo>
                      <a:pt x="1179" y="86"/>
                    </a:lnTo>
                    <a:lnTo>
                      <a:pt x="1184" y="91"/>
                    </a:lnTo>
                    <a:lnTo>
                      <a:pt x="1190" y="97"/>
                    </a:lnTo>
                    <a:lnTo>
                      <a:pt x="1196" y="91"/>
                    </a:lnTo>
                    <a:lnTo>
                      <a:pt x="1196" y="97"/>
                    </a:lnTo>
                    <a:lnTo>
                      <a:pt x="1201" y="97"/>
                    </a:lnTo>
                    <a:lnTo>
                      <a:pt x="1207" y="97"/>
                    </a:lnTo>
                    <a:lnTo>
                      <a:pt x="1213" y="103"/>
                    </a:lnTo>
                    <a:lnTo>
                      <a:pt x="1218" y="103"/>
                    </a:lnTo>
                    <a:lnTo>
                      <a:pt x="1218" y="91"/>
                    </a:lnTo>
                    <a:lnTo>
                      <a:pt x="1224" y="91"/>
                    </a:lnTo>
                    <a:lnTo>
                      <a:pt x="1230" y="91"/>
                    </a:lnTo>
                    <a:lnTo>
                      <a:pt x="1235" y="86"/>
                    </a:lnTo>
                    <a:lnTo>
                      <a:pt x="1241" y="86"/>
                    </a:lnTo>
                    <a:lnTo>
                      <a:pt x="1247" y="91"/>
                    </a:lnTo>
                    <a:lnTo>
                      <a:pt x="1252" y="91"/>
                    </a:lnTo>
                    <a:lnTo>
                      <a:pt x="1252" y="97"/>
                    </a:lnTo>
                    <a:lnTo>
                      <a:pt x="1252" y="91"/>
                    </a:lnTo>
                    <a:lnTo>
                      <a:pt x="1258" y="91"/>
                    </a:lnTo>
                    <a:lnTo>
                      <a:pt x="1258" y="97"/>
                    </a:lnTo>
                    <a:lnTo>
                      <a:pt x="1258" y="103"/>
                    </a:lnTo>
                    <a:lnTo>
                      <a:pt x="1258" y="108"/>
                    </a:lnTo>
                    <a:lnTo>
                      <a:pt x="1264" y="114"/>
                    </a:lnTo>
                    <a:lnTo>
                      <a:pt x="1269" y="131"/>
                    </a:lnTo>
                    <a:lnTo>
                      <a:pt x="1275" y="131"/>
                    </a:lnTo>
                    <a:lnTo>
                      <a:pt x="1281" y="125"/>
                    </a:lnTo>
                    <a:lnTo>
                      <a:pt x="1292" y="125"/>
                    </a:lnTo>
                    <a:lnTo>
                      <a:pt x="1298" y="125"/>
                    </a:lnTo>
                    <a:lnTo>
                      <a:pt x="1303" y="131"/>
                    </a:lnTo>
                    <a:lnTo>
                      <a:pt x="1303" y="137"/>
                    </a:lnTo>
                    <a:lnTo>
                      <a:pt x="1309" y="137"/>
                    </a:lnTo>
                    <a:lnTo>
                      <a:pt x="1315" y="137"/>
                    </a:lnTo>
                    <a:lnTo>
                      <a:pt x="1320" y="142"/>
                    </a:lnTo>
                    <a:lnTo>
                      <a:pt x="1326" y="142"/>
                    </a:lnTo>
                    <a:lnTo>
                      <a:pt x="1332" y="148"/>
                    </a:lnTo>
                    <a:lnTo>
                      <a:pt x="1326" y="148"/>
                    </a:lnTo>
                    <a:lnTo>
                      <a:pt x="1326" y="154"/>
                    </a:lnTo>
                    <a:lnTo>
                      <a:pt x="1332" y="154"/>
                    </a:lnTo>
                    <a:lnTo>
                      <a:pt x="1343" y="148"/>
                    </a:lnTo>
                    <a:lnTo>
                      <a:pt x="1349" y="148"/>
                    </a:lnTo>
                    <a:lnTo>
                      <a:pt x="1349" y="154"/>
                    </a:lnTo>
                    <a:lnTo>
                      <a:pt x="1354" y="159"/>
                    </a:lnTo>
                    <a:lnTo>
                      <a:pt x="1360" y="165"/>
                    </a:lnTo>
                    <a:lnTo>
                      <a:pt x="1360" y="171"/>
                    </a:lnTo>
                    <a:lnTo>
                      <a:pt x="1366" y="171"/>
                    </a:lnTo>
                    <a:lnTo>
                      <a:pt x="1366" y="176"/>
                    </a:lnTo>
                    <a:lnTo>
                      <a:pt x="1366" y="182"/>
                    </a:lnTo>
                    <a:lnTo>
                      <a:pt x="1377" y="193"/>
                    </a:lnTo>
                    <a:lnTo>
                      <a:pt x="1383" y="193"/>
                    </a:lnTo>
                    <a:lnTo>
                      <a:pt x="1377" y="199"/>
                    </a:lnTo>
                    <a:lnTo>
                      <a:pt x="1383" y="205"/>
                    </a:lnTo>
                    <a:lnTo>
                      <a:pt x="1388" y="210"/>
                    </a:lnTo>
                    <a:lnTo>
                      <a:pt x="1400" y="227"/>
                    </a:lnTo>
                    <a:lnTo>
                      <a:pt x="1405" y="227"/>
                    </a:lnTo>
                    <a:lnTo>
                      <a:pt x="1411" y="222"/>
                    </a:lnTo>
                    <a:lnTo>
                      <a:pt x="1422" y="222"/>
                    </a:lnTo>
                    <a:lnTo>
                      <a:pt x="1422" y="216"/>
                    </a:lnTo>
                    <a:lnTo>
                      <a:pt x="1422" y="210"/>
                    </a:lnTo>
                    <a:lnTo>
                      <a:pt x="1428" y="210"/>
                    </a:lnTo>
                    <a:lnTo>
                      <a:pt x="1439" y="210"/>
                    </a:lnTo>
                    <a:lnTo>
                      <a:pt x="1428" y="216"/>
                    </a:lnTo>
                    <a:lnTo>
                      <a:pt x="1428" y="222"/>
                    </a:lnTo>
                    <a:lnTo>
                      <a:pt x="1428" y="227"/>
                    </a:lnTo>
                    <a:lnTo>
                      <a:pt x="1439" y="233"/>
                    </a:lnTo>
                    <a:lnTo>
                      <a:pt x="1445" y="244"/>
                    </a:lnTo>
                    <a:lnTo>
                      <a:pt x="1439" y="250"/>
                    </a:lnTo>
                    <a:lnTo>
                      <a:pt x="1422" y="261"/>
                    </a:lnTo>
                    <a:lnTo>
                      <a:pt x="1417" y="267"/>
                    </a:lnTo>
                    <a:lnTo>
                      <a:pt x="1417" y="273"/>
                    </a:lnTo>
                    <a:lnTo>
                      <a:pt x="1422" y="278"/>
                    </a:lnTo>
                    <a:lnTo>
                      <a:pt x="1422" y="284"/>
                    </a:lnTo>
                    <a:lnTo>
                      <a:pt x="1422" y="295"/>
                    </a:lnTo>
                    <a:lnTo>
                      <a:pt x="1422" y="301"/>
                    </a:lnTo>
                    <a:lnTo>
                      <a:pt x="1422" y="307"/>
                    </a:lnTo>
                    <a:lnTo>
                      <a:pt x="1422" y="312"/>
                    </a:lnTo>
                    <a:lnTo>
                      <a:pt x="1417" y="329"/>
                    </a:lnTo>
                    <a:lnTo>
                      <a:pt x="1411" y="335"/>
                    </a:lnTo>
                    <a:lnTo>
                      <a:pt x="1405" y="341"/>
                    </a:lnTo>
                    <a:lnTo>
                      <a:pt x="1411" y="346"/>
                    </a:lnTo>
                    <a:lnTo>
                      <a:pt x="1411" y="352"/>
                    </a:lnTo>
                    <a:lnTo>
                      <a:pt x="1400" y="358"/>
                    </a:lnTo>
                    <a:lnTo>
                      <a:pt x="1394" y="369"/>
                    </a:lnTo>
                    <a:lnTo>
                      <a:pt x="1394" y="375"/>
                    </a:lnTo>
                    <a:lnTo>
                      <a:pt x="1400" y="375"/>
                    </a:lnTo>
                    <a:lnTo>
                      <a:pt x="1405" y="380"/>
                    </a:lnTo>
                    <a:lnTo>
                      <a:pt x="1405" y="386"/>
                    </a:lnTo>
                    <a:lnTo>
                      <a:pt x="1411" y="392"/>
                    </a:lnTo>
                    <a:lnTo>
                      <a:pt x="1411" y="397"/>
                    </a:lnTo>
                    <a:lnTo>
                      <a:pt x="1405" y="403"/>
                    </a:lnTo>
                    <a:lnTo>
                      <a:pt x="1394" y="409"/>
                    </a:lnTo>
                    <a:lnTo>
                      <a:pt x="1394" y="414"/>
                    </a:lnTo>
                    <a:lnTo>
                      <a:pt x="1388" y="420"/>
                    </a:lnTo>
                    <a:lnTo>
                      <a:pt x="1383" y="426"/>
                    </a:lnTo>
                    <a:lnTo>
                      <a:pt x="1360" y="426"/>
                    </a:lnTo>
                    <a:lnTo>
                      <a:pt x="1360" y="431"/>
                    </a:lnTo>
                    <a:lnTo>
                      <a:pt x="1354" y="437"/>
                    </a:lnTo>
                    <a:lnTo>
                      <a:pt x="1349" y="443"/>
                    </a:lnTo>
                    <a:lnTo>
                      <a:pt x="1337" y="454"/>
                    </a:lnTo>
                    <a:lnTo>
                      <a:pt x="1332" y="454"/>
                    </a:lnTo>
                    <a:lnTo>
                      <a:pt x="1320" y="460"/>
                    </a:lnTo>
                    <a:lnTo>
                      <a:pt x="1309" y="471"/>
                    </a:lnTo>
                    <a:lnTo>
                      <a:pt x="1303" y="471"/>
                    </a:lnTo>
                    <a:lnTo>
                      <a:pt x="1298" y="471"/>
                    </a:lnTo>
                    <a:lnTo>
                      <a:pt x="1292" y="477"/>
                    </a:lnTo>
                    <a:lnTo>
                      <a:pt x="1281" y="482"/>
                    </a:lnTo>
                    <a:lnTo>
                      <a:pt x="1281" y="488"/>
                    </a:lnTo>
                    <a:lnTo>
                      <a:pt x="1281" y="494"/>
                    </a:lnTo>
                    <a:lnTo>
                      <a:pt x="1281" y="499"/>
                    </a:lnTo>
                    <a:lnTo>
                      <a:pt x="1275" y="505"/>
                    </a:lnTo>
                    <a:lnTo>
                      <a:pt x="1269" y="499"/>
                    </a:lnTo>
                    <a:lnTo>
                      <a:pt x="1264" y="505"/>
                    </a:lnTo>
                    <a:lnTo>
                      <a:pt x="1252" y="505"/>
                    </a:lnTo>
                    <a:lnTo>
                      <a:pt x="1235" y="505"/>
                    </a:lnTo>
                    <a:lnTo>
                      <a:pt x="1218" y="511"/>
                    </a:lnTo>
                    <a:lnTo>
                      <a:pt x="1218" y="516"/>
                    </a:lnTo>
                    <a:lnTo>
                      <a:pt x="1213" y="522"/>
                    </a:lnTo>
                    <a:lnTo>
                      <a:pt x="1207" y="522"/>
                    </a:lnTo>
                    <a:lnTo>
                      <a:pt x="1207" y="533"/>
                    </a:lnTo>
                    <a:lnTo>
                      <a:pt x="1201" y="539"/>
                    </a:lnTo>
                    <a:lnTo>
                      <a:pt x="1190" y="562"/>
                    </a:lnTo>
                    <a:lnTo>
                      <a:pt x="1179" y="562"/>
                    </a:lnTo>
                    <a:lnTo>
                      <a:pt x="1179" y="556"/>
                    </a:lnTo>
                    <a:lnTo>
                      <a:pt x="1179" y="550"/>
                    </a:lnTo>
                    <a:lnTo>
                      <a:pt x="1173" y="545"/>
                    </a:lnTo>
                    <a:lnTo>
                      <a:pt x="1167" y="545"/>
                    </a:lnTo>
                    <a:lnTo>
                      <a:pt x="1162" y="545"/>
                    </a:lnTo>
                    <a:lnTo>
                      <a:pt x="1156" y="545"/>
                    </a:lnTo>
                    <a:lnTo>
                      <a:pt x="1150" y="539"/>
                    </a:lnTo>
                    <a:lnTo>
                      <a:pt x="1150" y="528"/>
                    </a:lnTo>
                    <a:lnTo>
                      <a:pt x="1150" y="522"/>
                    </a:lnTo>
                    <a:lnTo>
                      <a:pt x="1145" y="516"/>
                    </a:lnTo>
                    <a:lnTo>
                      <a:pt x="1139" y="511"/>
                    </a:lnTo>
                    <a:lnTo>
                      <a:pt x="1133" y="511"/>
                    </a:lnTo>
                    <a:lnTo>
                      <a:pt x="1128" y="516"/>
                    </a:lnTo>
                    <a:lnTo>
                      <a:pt x="1122" y="516"/>
                    </a:lnTo>
                    <a:lnTo>
                      <a:pt x="1116" y="522"/>
                    </a:lnTo>
                    <a:lnTo>
                      <a:pt x="1111" y="522"/>
                    </a:lnTo>
                    <a:lnTo>
                      <a:pt x="1105" y="522"/>
                    </a:lnTo>
                    <a:lnTo>
                      <a:pt x="1105" y="516"/>
                    </a:lnTo>
                    <a:lnTo>
                      <a:pt x="1105" y="522"/>
                    </a:lnTo>
                    <a:lnTo>
                      <a:pt x="1099" y="522"/>
                    </a:lnTo>
                    <a:lnTo>
                      <a:pt x="1088" y="522"/>
                    </a:lnTo>
                    <a:lnTo>
                      <a:pt x="1082" y="522"/>
                    </a:lnTo>
                    <a:lnTo>
                      <a:pt x="1077" y="522"/>
                    </a:lnTo>
                    <a:lnTo>
                      <a:pt x="1071" y="522"/>
                    </a:lnTo>
                    <a:lnTo>
                      <a:pt x="1071" y="528"/>
                    </a:lnTo>
                    <a:lnTo>
                      <a:pt x="1065" y="533"/>
                    </a:lnTo>
                    <a:lnTo>
                      <a:pt x="1060" y="539"/>
                    </a:lnTo>
                    <a:lnTo>
                      <a:pt x="1060" y="545"/>
                    </a:lnTo>
                    <a:lnTo>
                      <a:pt x="1054" y="545"/>
                    </a:lnTo>
                    <a:lnTo>
                      <a:pt x="1048" y="545"/>
                    </a:lnTo>
                    <a:lnTo>
                      <a:pt x="1043" y="545"/>
                    </a:lnTo>
                    <a:lnTo>
                      <a:pt x="1043" y="550"/>
                    </a:lnTo>
                    <a:lnTo>
                      <a:pt x="1037" y="550"/>
                    </a:lnTo>
                    <a:lnTo>
                      <a:pt x="1031" y="545"/>
                    </a:lnTo>
                    <a:lnTo>
                      <a:pt x="1026" y="545"/>
                    </a:lnTo>
                    <a:lnTo>
                      <a:pt x="1020" y="545"/>
                    </a:lnTo>
                    <a:lnTo>
                      <a:pt x="1020" y="550"/>
                    </a:lnTo>
                    <a:lnTo>
                      <a:pt x="1014" y="550"/>
                    </a:lnTo>
                    <a:lnTo>
                      <a:pt x="1014" y="545"/>
                    </a:lnTo>
                    <a:lnTo>
                      <a:pt x="1009" y="545"/>
                    </a:lnTo>
                    <a:lnTo>
                      <a:pt x="1009" y="550"/>
                    </a:lnTo>
                    <a:lnTo>
                      <a:pt x="1003" y="550"/>
                    </a:lnTo>
                    <a:lnTo>
                      <a:pt x="1003" y="556"/>
                    </a:lnTo>
                    <a:lnTo>
                      <a:pt x="997" y="556"/>
                    </a:lnTo>
                    <a:lnTo>
                      <a:pt x="997" y="562"/>
                    </a:lnTo>
                    <a:lnTo>
                      <a:pt x="992" y="562"/>
                    </a:lnTo>
                    <a:lnTo>
                      <a:pt x="992" y="567"/>
                    </a:lnTo>
                    <a:lnTo>
                      <a:pt x="986" y="567"/>
                    </a:lnTo>
                    <a:lnTo>
                      <a:pt x="986" y="573"/>
                    </a:lnTo>
                    <a:lnTo>
                      <a:pt x="986" y="579"/>
                    </a:lnTo>
                    <a:lnTo>
                      <a:pt x="980" y="579"/>
                    </a:lnTo>
                    <a:lnTo>
                      <a:pt x="975" y="579"/>
                    </a:lnTo>
                    <a:lnTo>
                      <a:pt x="980" y="579"/>
                    </a:lnTo>
                    <a:lnTo>
                      <a:pt x="980" y="584"/>
                    </a:lnTo>
                    <a:lnTo>
                      <a:pt x="975" y="584"/>
                    </a:lnTo>
                    <a:lnTo>
                      <a:pt x="969" y="590"/>
                    </a:lnTo>
                    <a:lnTo>
                      <a:pt x="975" y="590"/>
                    </a:lnTo>
                    <a:lnTo>
                      <a:pt x="969" y="596"/>
                    </a:lnTo>
                    <a:lnTo>
                      <a:pt x="963" y="590"/>
                    </a:lnTo>
                    <a:lnTo>
                      <a:pt x="963" y="596"/>
                    </a:lnTo>
                    <a:lnTo>
                      <a:pt x="958" y="596"/>
                    </a:lnTo>
                    <a:lnTo>
                      <a:pt x="958" y="590"/>
                    </a:lnTo>
                    <a:lnTo>
                      <a:pt x="952" y="590"/>
                    </a:lnTo>
                    <a:lnTo>
                      <a:pt x="952" y="584"/>
                    </a:lnTo>
                    <a:lnTo>
                      <a:pt x="946" y="584"/>
                    </a:lnTo>
                    <a:lnTo>
                      <a:pt x="946" y="590"/>
                    </a:lnTo>
                    <a:lnTo>
                      <a:pt x="941" y="590"/>
                    </a:lnTo>
                    <a:lnTo>
                      <a:pt x="941" y="596"/>
                    </a:lnTo>
                    <a:lnTo>
                      <a:pt x="935" y="596"/>
                    </a:lnTo>
                    <a:lnTo>
                      <a:pt x="935" y="601"/>
                    </a:lnTo>
                    <a:lnTo>
                      <a:pt x="929" y="607"/>
                    </a:lnTo>
                    <a:lnTo>
                      <a:pt x="929" y="601"/>
                    </a:lnTo>
                    <a:lnTo>
                      <a:pt x="924" y="601"/>
                    </a:lnTo>
                    <a:lnTo>
                      <a:pt x="918" y="601"/>
                    </a:lnTo>
                    <a:lnTo>
                      <a:pt x="912" y="607"/>
                    </a:lnTo>
                    <a:lnTo>
                      <a:pt x="907" y="601"/>
                    </a:lnTo>
                    <a:lnTo>
                      <a:pt x="901" y="601"/>
                    </a:lnTo>
                    <a:lnTo>
                      <a:pt x="895" y="601"/>
                    </a:lnTo>
                    <a:lnTo>
                      <a:pt x="901" y="601"/>
                    </a:lnTo>
                    <a:lnTo>
                      <a:pt x="901" y="607"/>
                    </a:lnTo>
                    <a:lnTo>
                      <a:pt x="901" y="613"/>
                    </a:lnTo>
                    <a:lnTo>
                      <a:pt x="895" y="613"/>
                    </a:lnTo>
                    <a:lnTo>
                      <a:pt x="890" y="613"/>
                    </a:lnTo>
                    <a:lnTo>
                      <a:pt x="890" y="618"/>
                    </a:lnTo>
                    <a:lnTo>
                      <a:pt x="890" y="624"/>
                    </a:lnTo>
                    <a:lnTo>
                      <a:pt x="890" y="630"/>
                    </a:lnTo>
                    <a:lnTo>
                      <a:pt x="884" y="630"/>
                    </a:lnTo>
                    <a:lnTo>
                      <a:pt x="878" y="630"/>
                    </a:lnTo>
                    <a:lnTo>
                      <a:pt x="884" y="630"/>
                    </a:lnTo>
                    <a:lnTo>
                      <a:pt x="878" y="635"/>
                    </a:lnTo>
                    <a:lnTo>
                      <a:pt x="878" y="641"/>
                    </a:lnTo>
                    <a:lnTo>
                      <a:pt x="873" y="641"/>
                    </a:lnTo>
                    <a:lnTo>
                      <a:pt x="873" y="635"/>
                    </a:lnTo>
                    <a:lnTo>
                      <a:pt x="867" y="635"/>
                    </a:lnTo>
                    <a:lnTo>
                      <a:pt x="867" y="641"/>
                    </a:lnTo>
                    <a:lnTo>
                      <a:pt x="873" y="641"/>
                    </a:lnTo>
                    <a:lnTo>
                      <a:pt x="878" y="647"/>
                    </a:lnTo>
                    <a:lnTo>
                      <a:pt x="873" y="647"/>
                    </a:lnTo>
                    <a:lnTo>
                      <a:pt x="867" y="647"/>
                    </a:lnTo>
                    <a:lnTo>
                      <a:pt x="873" y="647"/>
                    </a:lnTo>
                    <a:lnTo>
                      <a:pt x="873" y="652"/>
                    </a:lnTo>
                    <a:lnTo>
                      <a:pt x="873" y="658"/>
                    </a:lnTo>
                    <a:lnTo>
                      <a:pt x="867" y="658"/>
                    </a:lnTo>
                    <a:lnTo>
                      <a:pt x="861" y="664"/>
                    </a:lnTo>
                    <a:lnTo>
                      <a:pt x="861" y="669"/>
                    </a:lnTo>
                    <a:lnTo>
                      <a:pt x="856" y="669"/>
                    </a:lnTo>
                    <a:lnTo>
                      <a:pt x="850" y="669"/>
                    </a:lnTo>
                    <a:lnTo>
                      <a:pt x="850" y="675"/>
                    </a:lnTo>
                    <a:lnTo>
                      <a:pt x="844" y="681"/>
                    </a:lnTo>
                    <a:lnTo>
                      <a:pt x="839" y="681"/>
                    </a:lnTo>
                    <a:lnTo>
                      <a:pt x="839" y="686"/>
                    </a:lnTo>
                    <a:lnTo>
                      <a:pt x="833" y="686"/>
                    </a:lnTo>
                    <a:lnTo>
                      <a:pt x="839" y="692"/>
                    </a:lnTo>
                    <a:lnTo>
                      <a:pt x="839" y="698"/>
                    </a:lnTo>
                    <a:lnTo>
                      <a:pt x="833" y="698"/>
                    </a:lnTo>
                    <a:lnTo>
                      <a:pt x="827" y="703"/>
                    </a:lnTo>
                    <a:lnTo>
                      <a:pt x="822" y="703"/>
                    </a:lnTo>
                    <a:lnTo>
                      <a:pt x="816" y="703"/>
                    </a:lnTo>
                    <a:lnTo>
                      <a:pt x="816" y="709"/>
                    </a:lnTo>
                    <a:lnTo>
                      <a:pt x="822" y="709"/>
                    </a:lnTo>
                    <a:lnTo>
                      <a:pt x="822" y="715"/>
                    </a:lnTo>
                    <a:lnTo>
                      <a:pt x="816" y="715"/>
                    </a:lnTo>
                    <a:lnTo>
                      <a:pt x="810" y="720"/>
                    </a:lnTo>
                    <a:lnTo>
                      <a:pt x="810" y="726"/>
                    </a:lnTo>
                    <a:lnTo>
                      <a:pt x="805" y="726"/>
                    </a:lnTo>
                    <a:lnTo>
                      <a:pt x="810" y="732"/>
                    </a:lnTo>
                    <a:lnTo>
                      <a:pt x="805" y="737"/>
                    </a:lnTo>
                    <a:lnTo>
                      <a:pt x="799" y="737"/>
                    </a:lnTo>
                    <a:lnTo>
                      <a:pt x="799" y="743"/>
                    </a:lnTo>
                    <a:lnTo>
                      <a:pt x="793" y="749"/>
                    </a:lnTo>
                    <a:lnTo>
                      <a:pt x="788" y="749"/>
                    </a:lnTo>
                    <a:lnTo>
                      <a:pt x="793" y="754"/>
                    </a:lnTo>
                    <a:lnTo>
                      <a:pt x="788" y="754"/>
                    </a:lnTo>
                    <a:lnTo>
                      <a:pt x="782" y="754"/>
                    </a:lnTo>
                    <a:lnTo>
                      <a:pt x="776" y="760"/>
                    </a:lnTo>
                    <a:lnTo>
                      <a:pt x="776" y="766"/>
                    </a:lnTo>
                    <a:lnTo>
                      <a:pt x="776" y="771"/>
                    </a:lnTo>
                    <a:lnTo>
                      <a:pt x="771" y="766"/>
                    </a:lnTo>
                    <a:lnTo>
                      <a:pt x="765" y="766"/>
                    </a:lnTo>
                    <a:lnTo>
                      <a:pt x="765" y="771"/>
                    </a:lnTo>
                    <a:lnTo>
                      <a:pt x="759" y="771"/>
                    </a:lnTo>
                    <a:lnTo>
                      <a:pt x="759" y="777"/>
                    </a:lnTo>
                    <a:lnTo>
                      <a:pt x="759" y="771"/>
                    </a:lnTo>
                    <a:lnTo>
                      <a:pt x="754" y="771"/>
                    </a:lnTo>
                    <a:lnTo>
                      <a:pt x="748" y="777"/>
                    </a:lnTo>
                    <a:lnTo>
                      <a:pt x="742" y="777"/>
                    </a:lnTo>
                    <a:lnTo>
                      <a:pt x="737" y="777"/>
                    </a:lnTo>
                    <a:lnTo>
                      <a:pt x="731" y="777"/>
                    </a:lnTo>
                    <a:lnTo>
                      <a:pt x="725" y="783"/>
                    </a:lnTo>
                    <a:lnTo>
                      <a:pt x="725" y="788"/>
                    </a:lnTo>
                    <a:lnTo>
                      <a:pt x="720" y="788"/>
                    </a:lnTo>
                    <a:lnTo>
                      <a:pt x="714" y="788"/>
                    </a:lnTo>
                    <a:lnTo>
                      <a:pt x="714" y="794"/>
                    </a:lnTo>
                    <a:lnTo>
                      <a:pt x="708" y="794"/>
                    </a:lnTo>
                    <a:lnTo>
                      <a:pt x="703" y="794"/>
                    </a:lnTo>
                    <a:lnTo>
                      <a:pt x="703" y="800"/>
                    </a:lnTo>
                    <a:lnTo>
                      <a:pt x="703" y="811"/>
                    </a:lnTo>
                    <a:lnTo>
                      <a:pt x="708" y="811"/>
                    </a:lnTo>
                    <a:lnTo>
                      <a:pt x="714" y="817"/>
                    </a:lnTo>
                    <a:lnTo>
                      <a:pt x="714" y="822"/>
                    </a:lnTo>
                    <a:lnTo>
                      <a:pt x="720" y="822"/>
                    </a:lnTo>
                    <a:lnTo>
                      <a:pt x="720" y="828"/>
                    </a:lnTo>
                    <a:lnTo>
                      <a:pt x="725" y="828"/>
                    </a:lnTo>
                    <a:lnTo>
                      <a:pt x="725" y="839"/>
                    </a:lnTo>
                    <a:lnTo>
                      <a:pt x="731" y="845"/>
                    </a:lnTo>
                    <a:lnTo>
                      <a:pt x="731" y="851"/>
                    </a:lnTo>
                    <a:lnTo>
                      <a:pt x="737" y="862"/>
                    </a:lnTo>
                    <a:lnTo>
                      <a:pt x="737" y="868"/>
                    </a:lnTo>
                    <a:lnTo>
                      <a:pt x="742" y="879"/>
                    </a:lnTo>
                    <a:lnTo>
                      <a:pt x="742" y="885"/>
                    </a:lnTo>
                    <a:lnTo>
                      <a:pt x="748" y="890"/>
                    </a:lnTo>
                    <a:lnTo>
                      <a:pt x="748" y="896"/>
                    </a:lnTo>
                    <a:lnTo>
                      <a:pt x="754" y="896"/>
                    </a:lnTo>
                    <a:lnTo>
                      <a:pt x="754" y="902"/>
                    </a:lnTo>
                    <a:lnTo>
                      <a:pt x="765" y="913"/>
                    </a:lnTo>
                    <a:lnTo>
                      <a:pt x="771" y="913"/>
                    </a:lnTo>
                    <a:lnTo>
                      <a:pt x="771" y="924"/>
                    </a:lnTo>
                    <a:lnTo>
                      <a:pt x="771" y="930"/>
                    </a:lnTo>
                    <a:lnTo>
                      <a:pt x="776" y="936"/>
                    </a:lnTo>
                    <a:lnTo>
                      <a:pt x="782" y="936"/>
                    </a:lnTo>
                    <a:lnTo>
                      <a:pt x="793" y="936"/>
                    </a:lnTo>
                    <a:lnTo>
                      <a:pt x="793" y="941"/>
                    </a:lnTo>
                    <a:lnTo>
                      <a:pt x="788" y="941"/>
                    </a:lnTo>
                    <a:lnTo>
                      <a:pt x="793" y="947"/>
                    </a:lnTo>
                    <a:lnTo>
                      <a:pt x="788" y="947"/>
                    </a:lnTo>
                    <a:lnTo>
                      <a:pt x="788" y="953"/>
                    </a:lnTo>
                    <a:lnTo>
                      <a:pt x="782" y="953"/>
                    </a:lnTo>
                    <a:lnTo>
                      <a:pt x="782" y="959"/>
                    </a:lnTo>
                    <a:lnTo>
                      <a:pt x="782" y="964"/>
                    </a:lnTo>
                    <a:lnTo>
                      <a:pt x="782" y="970"/>
                    </a:lnTo>
                    <a:lnTo>
                      <a:pt x="788" y="970"/>
                    </a:lnTo>
                    <a:lnTo>
                      <a:pt x="788" y="976"/>
                    </a:lnTo>
                    <a:lnTo>
                      <a:pt x="793" y="976"/>
                    </a:lnTo>
                    <a:lnTo>
                      <a:pt x="793" y="981"/>
                    </a:lnTo>
                    <a:lnTo>
                      <a:pt x="788" y="981"/>
                    </a:lnTo>
                    <a:lnTo>
                      <a:pt x="782" y="981"/>
                    </a:lnTo>
                    <a:lnTo>
                      <a:pt x="776" y="987"/>
                    </a:lnTo>
                    <a:lnTo>
                      <a:pt x="782" y="987"/>
                    </a:lnTo>
                    <a:lnTo>
                      <a:pt x="782" y="993"/>
                    </a:lnTo>
                    <a:lnTo>
                      <a:pt x="788" y="993"/>
                    </a:lnTo>
                    <a:lnTo>
                      <a:pt x="793" y="993"/>
                    </a:lnTo>
                    <a:lnTo>
                      <a:pt x="793" y="998"/>
                    </a:lnTo>
                    <a:lnTo>
                      <a:pt x="788" y="1004"/>
                    </a:lnTo>
                    <a:lnTo>
                      <a:pt x="782" y="1004"/>
                    </a:lnTo>
                    <a:lnTo>
                      <a:pt x="776" y="1004"/>
                    </a:lnTo>
                    <a:lnTo>
                      <a:pt x="771" y="1004"/>
                    </a:lnTo>
                    <a:lnTo>
                      <a:pt x="771" y="1010"/>
                    </a:lnTo>
                    <a:lnTo>
                      <a:pt x="776" y="1010"/>
                    </a:lnTo>
                    <a:lnTo>
                      <a:pt x="782" y="1010"/>
                    </a:lnTo>
                    <a:lnTo>
                      <a:pt x="782" y="1015"/>
                    </a:lnTo>
                    <a:lnTo>
                      <a:pt x="776" y="1015"/>
                    </a:lnTo>
                    <a:lnTo>
                      <a:pt x="771" y="1015"/>
                    </a:lnTo>
                    <a:lnTo>
                      <a:pt x="765" y="1015"/>
                    </a:lnTo>
                    <a:lnTo>
                      <a:pt x="765" y="1021"/>
                    </a:lnTo>
                    <a:lnTo>
                      <a:pt x="771" y="1021"/>
                    </a:lnTo>
                    <a:lnTo>
                      <a:pt x="771" y="1027"/>
                    </a:lnTo>
                    <a:lnTo>
                      <a:pt x="765" y="1027"/>
                    </a:lnTo>
                    <a:lnTo>
                      <a:pt x="765" y="1032"/>
                    </a:lnTo>
                    <a:lnTo>
                      <a:pt x="759" y="1032"/>
                    </a:lnTo>
                    <a:lnTo>
                      <a:pt x="754" y="1032"/>
                    </a:lnTo>
                    <a:lnTo>
                      <a:pt x="754" y="1027"/>
                    </a:lnTo>
                    <a:lnTo>
                      <a:pt x="748" y="1027"/>
                    </a:lnTo>
                    <a:lnTo>
                      <a:pt x="748" y="1032"/>
                    </a:lnTo>
                    <a:lnTo>
                      <a:pt x="742" y="1032"/>
                    </a:lnTo>
                    <a:lnTo>
                      <a:pt x="742" y="1027"/>
                    </a:lnTo>
                    <a:lnTo>
                      <a:pt x="737" y="1027"/>
                    </a:lnTo>
                    <a:lnTo>
                      <a:pt x="737" y="1032"/>
                    </a:lnTo>
                    <a:lnTo>
                      <a:pt x="731" y="1032"/>
                    </a:lnTo>
                    <a:lnTo>
                      <a:pt x="725" y="1032"/>
                    </a:lnTo>
                    <a:lnTo>
                      <a:pt x="720" y="1032"/>
                    </a:lnTo>
                    <a:lnTo>
                      <a:pt x="720" y="1038"/>
                    </a:lnTo>
                    <a:lnTo>
                      <a:pt x="720" y="1044"/>
                    </a:lnTo>
                    <a:lnTo>
                      <a:pt x="714" y="1044"/>
                    </a:lnTo>
                    <a:lnTo>
                      <a:pt x="708" y="1044"/>
                    </a:lnTo>
                    <a:lnTo>
                      <a:pt x="708" y="1038"/>
                    </a:lnTo>
                    <a:lnTo>
                      <a:pt x="703" y="1038"/>
                    </a:lnTo>
                    <a:lnTo>
                      <a:pt x="697" y="1038"/>
                    </a:lnTo>
                    <a:lnTo>
                      <a:pt x="691" y="1038"/>
                    </a:lnTo>
                    <a:lnTo>
                      <a:pt x="686" y="1038"/>
                    </a:lnTo>
                    <a:lnTo>
                      <a:pt x="686" y="1044"/>
                    </a:lnTo>
                    <a:lnTo>
                      <a:pt x="691" y="1049"/>
                    </a:lnTo>
                    <a:lnTo>
                      <a:pt x="691" y="1055"/>
                    </a:lnTo>
                    <a:lnTo>
                      <a:pt x="686" y="1055"/>
                    </a:lnTo>
                    <a:lnTo>
                      <a:pt x="680" y="1055"/>
                    </a:lnTo>
                    <a:lnTo>
                      <a:pt x="674" y="1055"/>
                    </a:lnTo>
                    <a:lnTo>
                      <a:pt x="669" y="1061"/>
                    </a:lnTo>
                    <a:lnTo>
                      <a:pt x="669" y="1066"/>
                    </a:lnTo>
                    <a:lnTo>
                      <a:pt x="669" y="1072"/>
                    </a:lnTo>
                    <a:lnTo>
                      <a:pt x="663" y="1072"/>
                    </a:lnTo>
                    <a:lnTo>
                      <a:pt x="657" y="1072"/>
                    </a:lnTo>
                    <a:lnTo>
                      <a:pt x="652" y="1072"/>
                    </a:lnTo>
                    <a:lnTo>
                      <a:pt x="652" y="1078"/>
                    </a:lnTo>
                    <a:lnTo>
                      <a:pt x="646" y="1078"/>
                    </a:lnTo>
                    <a:lnTo>
                      <a:pt x="640" y="1072"/>
                    </a:lnTo>
                    <a:lnTo>
                      <a:pt x="635" y="1066"/>
                    </a:lnTo>
                    <a:lnTo>
                      <a:pt x="629" y="1066"/>
                    </a:lnTo>
                    <a:lnTo>
                      <a:pt x="623" y="1066"/>
                    </a:lnTo>
                    <a:lnTo>
                      <a:pt x="623" y="1072"/>
                    </a:lnTo>
                    <a:lnTo>
                      <a:pt x="618" y="1072"/>
                    </a:lnTo>
                    <a:lnTo>
                      <a:pt x="612" y="1072"/>
                    </a:lnTo>
                    <a:lnTo>
                      <a:pt x="606" y="1078"/>
                    </a:lnTo>
                    <a:lnTo>
                      <a:pt x="601" y="1078"/>
                    </a:lnTo>
                    <a:lnTo>
                      <a:pt x="601" y="1072"/>
                    </a:lnTo>
                    <a:lnTo>
                      <a:pt x="595" y="1072"/>
                    </a:lnTo>
                    <a:lnTo>
                      <a:pt x="595" y="1078"/>
                    </a:lnTo>
                    <a:lnTo>
                      <a:pt x="589" y="1078"/>
                    </a:lnTo>
                    <a:lnTo>
                      <a:pt x="589" y="1083"/>
                    </a:lnTo>
                    <a:lnTo>
                      <a:pt x="584" y="1078"/>
                    </a:lnTo>
                    <a:lnTo>
                      <a:pt x="589" y="1078"/>
                    </a:lnTo>
                    <a:lnTo>
                      <a:pt x="589" y="1072"/>
                    </a:lnTo>
                    <a:lnTo>
                      <a:pt x="584" y="1072"/>
                    </a:lnTo>
                    <a:lnTo>
                      <a:pt x="578" y="1072"/>
                    </a:lnTo>
                    <a:lnTo>
                      <a:pt x="572" y="1072"/>
                    </a:lnTo>
                    <a:lnTo>
                      <a:pt x="567" y="1072"/>
                    </a:lnTo>
                    <a:lnTo>
                      <a:pt x="561" y="1066"/>
                    </a:lnTo>
                    <a:lnTo>
                      <a:pt x="555" y="1066"/>
                    </a:lnTo>
                    <a:lnTo>
                      <a:pt x="549" y="1066"/>
                    </a:lnTo>
                    <a:lnTo>
                      <a:pt x="549" y="1061"/>
                    </a:lnTo>
                    <a:lnTo>
                      <a:pt x="549" y="1055"/>
                    </a:lnTo>
                    <a:lnTo>
                      <a:pt x="538" y="1049"/>
                    </a:lnTo>
                    <a:lnTo>
                      <a:pt x="532" y="1049"/>
                    </a:lnTo>
                    <a:lnTo>
                      <a:pt x="527" y="1049"/>
                    </a:lnTo>
                    <a:lnTo>
                      <a:pt x="521" y="1049"/>
                    </a:lnTo>
                    <a:lnTo>
                      <a:pt x="515" y="1055"/>
                    </a:lnTo>
                    <a:lnTo>
                      <a:pt x="510" y="1055"/>
                    </a:lnTo>
                    <a:lnTo>
                      <a:pt x="504" y="1055"/>
                    </a:lnTo>
                    <a:lnTo>
                      <a:pt x="498" y="1055"/>
                    </a:lnTo>
                    <a:lnTo>
                      <a:pt x="493" y="1049"/>
                    </a:lnTo>
                    <a:lnTo>
                      <a:pt x="493" y="1044"/>
                    </a:lnTo>
                    <a:lnTo>
                      <a:pt x="487" y="1038"/>
                    </a:lnTo>
                    <a:lnTo>
                      <a:pt x="481" y="1038"/>
                    </a:lnTo>
                    <a:lnTo>
                      <a:pt x="476" y="1038"/>
                    </a:lnTo>
                    <a:lnTo>
                      <a:pt x="476" y="1032"/>
                    </a:lnTo>
                    <a:lnTo>
                      <a:pt x="470" y="1027"/>
                    </a:lnTo>
                    <a:lnTo>
                      <a:pt x="464" y="1027"/>
                    </a:lnTo>
                    <a:lnTo>
                      <a:pt x="459" y="1027"/>
                    </a:lnTo>
                    <a:lnTo>
                      <a:pt x="459" y="1032"/>
                    </a:lnTo>
                    <a:lnTo>
                      <a:pt x="464" y="1032"/>
                    </a:lnTo>
                    <a:lnTo>
                      <a:pt x="464" y="1038"/>
                    </a:lnTo>
                    <a:lnTo>
                      <a:pt x="464" y="1044"/>
                    </a:lnTo>
                    <a:lnTo>
                      <a:pt x="464" y="1038"/>
                    </a:lnTo>
                    <a:lnTo>
                      <a:pt x="459" y="1038"/>
                    </a:lnTo>
                    <a:lnTo>
                      <a:pt x="459" y="1044"/>
                    </a:lnTo>
                    <a:lnTo>
                      <a:pt x="453" y="1038"/>
                    </a:lnTo>
                    <a:lnTo>
                      <a:pt x="447" y="1038"/>
                    </a:lnTo>
                    <a:lnTo>
                      <a:pt x="442" y="1038"/>
                    </a:lnTo>
                    <a:lnTo>
                      <a:pt x="436" y="1038"/>
                    </a:lnTo>
                    <a:lnTo>
                      <a:pt x="436" y="1044"/>
                    </a:lnTo>
                    <a:lnTo>
                      <a:pt x="430" y="1044"/>
                    </a:lnTo>
                    <a:lnTo>
                      <a:pt x="430" y="1038"/>
                    </a:lnTo>
                    <a:lnTo>
                      <a:pt x="425" y="1038"/>
                    </a:lnTo>
                    <a:lnTo>
                      <a:pt x="425" y="1044"/>
                    </a:lnTo>
                    <a:lnTo>
                      <a:pt x="419" y="1044"/>
                    </a:lnTo>
                    <a:lnTo>
                      <a:pt x="413" y="1044"/>
                    </a:lnTo>
                    <a:lnTo>
                      <a:pt x="408" y="1049"/>
                    </a:lnTo>
                    <a:lnTo>
                      <a:pt x="408" y="1055"/>
                    </a:lnTo>
                    <a:lnTo>
                      <a:pt x="402" y="1055"/>
                    </a:lnTo>
                    <a:lnTo>
                      <a:pt x="402" y="1049"/>
                    </a:lnTo>
                    <a:lnTo>
                      <a:pt x="402" y="1044"/>
                    </a:lnTo>
                    <a:lnTo>
                      <a:pt x="396" y="1044"/>
                    </a:lnTo>
                    <a:lnTo>
                      <a:pt x="391" y="1044"/>
                    </a:lnTo>
                    <a:lnTo>
                      <a:pt x="385" y="1044"/>
                    </a:lnTo>
                    <a:lnTo>
                      <a:pt x="385" y="1049"/>
                    </a:lnTo>
                    <a:lnTo>
                      <a:pt x="391" y="1049"/>
                    </a:lnTo>
                    <a:lnTo>
                      <a:pt x="391" y="1055"/>
                    </a:lnTo>
                    <a:lnTo>
                      <a:pt x="391" y="1061"/>
                    </a:lnTo>
                    <a:lnTo>
                      <a:pt x="385" y="1061"/>
                    </a:lnTo>
                    <a:lnTo>
                      <a:pt x="379" y="1066"/>
                    </a:lnTo>
                    <a:lnTo>
                      <a:pt x="374" y="1066"/>
                    </a:lnTo>
                    <a:lnTo>
                      <a:pt x="374" y="1072"/>
                    </a:lnTo>
                    <a:lnTo>
                      <a:pt x="368" y="1072"/>
                    </a:lnTo>
                    <a:lnTo>
                      <a:pt x="362" y="1072"/>
                    </a:lnTo>
                    <a:lnTo>
                      <a:pt x="362" y="1078"/>
                    </a:lnTo>
                    <a:lnTo>
                      <a:pt x="357" y="1078"/>
                    </a:lnTo>
                    <a:lnTo>
                      <a:pt x="351" y="1078"/>
                    </a:lnTo>
                    <a:lnTo>
                      <a:pt x="345" y="1078"/>
                    </a:lnTo>
                    <a:lnTo>
                      <a:pt x="340" y="1078"/>
                    </a:lnTo>
                    <a:lnTo>
                      <a:pt x="334" y="1078"/>
                    </a:lnTo>
                    <a:lnTo>
                      <a:pt x="334" y="1072"/>
                    </a:lnTo>
                    <a:lnTo>
                      <a:pt x="328" y="1072"/>
                    </a:lnTo>
                    <a:lnTo>
                      <a:pt x="323" y="1072"/>
                    </a:lnTo>
                    <a:lnTo>
                      <a:pt x="323" y="1066"/>
                    </a:lnTo>
                    <a:lnTo>
                      <a:pt x="323" y="1061"/>
                    </a:lnTo>
                    <a:lnTo>
                      <a:pt x="317" y="1061"/>
                    </a:lnTo>
                    <a:lnTo>
                      <a:pt x="317" y="1055"/>
                    </a:lnTo>
                    <a:lnTo>
                      <a:pt x="311" y="1055"/>
                    </a:lnTo>
                    <a:lnTo>
                      <a:pt x="311" y="1061"/>
                    </a:lnTo>
                    <a:lnTo>
                      <a:pt x="306" y="1061"/>
                    </a:lnTo>
                    <a:lnTo>
                      <a:pt x="300" y="1061"/>
                    </a:lnTo>
                    <a:lnTo>
                      <a:pt x="294" y="1061"/>
                    </a:lnTo>
                    <a:lnTo>
                      <a:pt x="289" y="1061"/>
                    </a:lnTo>
                    <a:lnTo>
                      <a:pt x="283" y="1061"/>
                    </a:lnTo>
                    <a:lnTo>
                      <a:pt x="277" y="1061"/>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1100"/>
              </a:p>
            </p:txBody>
          </p:sp>
          <p:sp>
            <p:nvSpPr>
              <p:cNvPr id="16" name="Freeform 11"/>
              <p:cNvSpPr>
                <a:spLocks/>
              </p:cNvSpPr>
              <p:nvPr>
                <p:custDataLst>
                  <p:tags r:id="rId6"/>
                </p:custDataLst>
              </p:nvPr>
            </p:nvSpPr>
            <p:spPr bwMode="gray">
              <a:xfrm>
                <a:off x="3217" y="1548"/>
                <a:ext cx="561" cy="533"/>
              </a:xfrm>
              <a:custGeom>
                <a:avLst/>
                <a:gdLst>
                  <a:gd name="T0" fmla="*/ 13737 w 1009"/>
                  <a:gd name="T1" fmla="*/ 361973 h 958"/>
                  <a:gd name="T2" fmla="*/ 63779 w 1009"/>
                  <a:gd name="T3" fmla="*/ 339872 h 958"/>
                  <a:gd name="T4" fmla="*/ 44645 w 1009"/>
                  <a:gd name="T5" fmla="*/ 314823 h 958"/>
                  <a:gd name="T6" fmla="*/ 25021 w 1009"/>
                  <a:gd name="T7" fmla="*/ 283881 h 958"/>
                  <a:gd name="T8" fmla="*/ 80460 w 1009"/>
                  <a:gd name="T9" fmla="*/ 250483 h 958"/>
                  <a:gd name="T10" fmla="*/ 100084 w 1009"/>
                  <a:gd name="T11" fmla="*/ 214630 h 958"/>
                  <a:gd name="T12" fmla="*/ 52985 w 1009"/>
                  <a:gd name="T13" fmla="*/ 217086 h 958"/>
                  <a:gd name="T14" fmla="*/ 52985 w 1009"/>
                  <a:gd name="T15" fmla="*/ 192037 h 958"/>
                  <a:gd name="T16" fmla="*/ 72119 w 1009"/>
                  <a:gd name="T17" fmla="*/ 161586 h 958"/>
                  <a:gd name="T18" fmla="*/ 19624 w 1009"/>
                  <a:gd name="T19" fmla="*/ 169936 h 958"/>
                  <a:gd name="T20" fmla="*/ 47098 w 1009"/>
                  <a:gd name="T21" fmla="*/ 150290 h 958"/>
                  <a:gd name="T22" fmla="*/ 83403 w 1009"/>
                  <a:gd name="T23" fmla="*/ 131135 h 958"/>
                  <a:gd name="T24" fmla="*/ 125105 w 1009"/>
                  <a:gd name="T25" fmla="*/ 125242 h 958"/>
                  <a:gd name="T26" fmla="*/ 150126 w 1009"/>
                  <a:gd name="T27" fmla="*/ 125242 h 958"/>
                  <a:gd name="T28" fmla="*/ 155523 w 1009"/>
                  <a:gd name="T29" fmla="*/ 139485 h 958"/>
                  <a:gd name="T30" fmla="*/ 183487 w 1009"/>
                  <a:gd name="T31" fmla="*/ 164533 h 958"/>
                  <a:gd name="T32" fmla="*/ 200168 w 1009"/>
                  <a:gd name="T33" fmla="*/ 141940 h 958"/>
                  <a:gd name="T34" fmla="*/ 269834 w 1009"/>
                  <a:gd name="T35" fmla="*/ 97738 h 958"/>
                  <a:gd name="T36" fmla="*/ 286515 w 1009"/>
                  <a:gd name="T37" fmla="*/ 91844 h 958"/>
                  <a:gd name="T38" fmla="*/ 314479 w 1009"/>
                  <a:gd name="T39" fmla="*/ 83495 h 958"/>
                  <a:gd name="T40" fmla="*/ 347841 w 1009"/>
                  <a:gd name="T41" fmla="*/ 75145 h 958"/>
                  <a:gd name="T42" fmla="*/ 350294 w 1009"/>
                  <a:gd name="T43" fmla="*/ 106087 h 958"/>
                  <a:gd name="T44" fmla="*/ 375315 w 1009"/>
                  <a:gd name="T45" fmla="*/ 131135 h 958"/>
                  <a:gd name="T46" fmla="*/ 391995 w 1009"/>
                  <a:gd name="T47" fmla="*/ 141940 h 958"/>
                  <a:gd name="T48" fmla="*/ 417016 w 1009"/>
                  <a:gd name="T49" fmla="*/ 136538 h 958"/>
                  <a:gd name="T50" fmla="*/ 406223 w 1009"/>
                  <a:gd name="T51" fmla="*/ 116892 h 958"/>
                  <a:gd name="T52" fmla="*/ 439584 w 1009"/>
                  <a:gd name="T53" fmla="*/ 91844 h 958"/>
                  <a:gd name="T54" fmla="*/ 414563 w 1009"/>
                  <a:gd name="T55" fmla="*/ 61393 h 958"/>
                  <a:gd name="T56" fmla="*/ 403279 w 1009"/>
                  <a:gd name="T57" fmla="*/ 16699 h 958"/>
                  <a:gd name="T58" fmla="*/ 422903 w 1009"/>
                  <a:gd name="T59" fmla="*/ 8349 h 958"/>
                  <a:gd name="T60" fmla="*/ 442037 w 1009"/>
                  <a:gd name="T61" fmla="*/ 14243 h 958"/>
                  <a:gd name="T62" fmla="*/ 458718 w 1009"/>
                  <a:gd name="T63" fmla="*/ 11296 h 958"/>
                  <a:gd name="T64" fmla="*/ 478342 w 1009"/>
                  <a:gd name="T65" fmla="*/ 0 h 958"/>
                  <a:gd name="T66" fmla="*/ 492079 w 1009"/>
                  <a:gd name="T67" fmla="*/ 81039 h 958"/>
                  <a:gd name="T68" fmla="*/ 492079 w 1009"/>
                  <a:gd name="T69" fmla="*/ 181232 h 958"/>
                  <a:gd name="T70" fmla="*/ 489626 w 1009"/>
                  <a:gd name="T71" fmla="*/ 214630 h 958"/>
                  <a:gd name="T72" fmla="*/ 481286 w 1009"/>
                  <a:gd name="T73" fmla="*/ 258833 h 958"/>
                  <a:gd name="T74" fmla="*/ 461661 w 1009"/>
                  <a:gd name="T75" fmla="*/ 267182 h 958"/>
                  <a:gd name="T76" fmla="*/ 431244 w 1009"/>
                  <a:gd name="T77" fmla="*/ 245080 h 958"/>
                  <a:gd name="T78" fmla="*/ 406223 w 1009"/>
                  <a:gd name="T79" fmla="*/ 233784 h 958"/>
                  <a:gd name="T80" fmla="*/ 375315 w 1009"/>
                  <a:gd name="T81" fmla="*/ 258833 h 958"/>
                  <a:gd name="T82" fmla="*/ 364521 w 1009"/>
                  <a:gd name="T83" fmla="*/ 281425 h 958"/>
                  <a:gd name="T84" fmla="*/ 344897 w 1009"/>
                  <a:gd name="T85" fmla="*/ 311876 h 958"/>
                  <a:gd name="T86" fmla="*/ 328216 w 1009"/>
                  <a:gd name="T87" fmla="*/ 339872 h 958"/>
                  <a:gd name="T88" fmla="*/ 325273 w 1009"/>
                  <a:gd name="T89" fmla="*/ 373269 h 958"/>
                  <a:gd name="T90" fmla="*/ 341953 w 1009"/>
                  <a:gd name="T91" fmla="*/ 384566 h 958"/>
                  <a:gd name="T92" fmla="*/ 347841 w 1009"/>
                  <a:gd name="T93" fmla="*/ 403720 h 958"/>
                  <a:gd name="T94" fmla="*/ 356181 w 1009"/>
                  <a:gd name="T95" fmla="*/ 445467 h 958"/>
                  <a:gd name="T96" fmla="*/ 319876 w 1009"/>
                  <a:gd name="T97" fmla="*/ 443011 h 958"/>
                  <a:gd name="T98" fmla="*/ 283571 w 1009"/>
                  <a:gd name="T99" fmla="*/ 443011 h 958"/>
                  <a:gd name="T100" fmla="*/ 247757 w 1009"/>
                  <a:gd name="T101" fmla="*/ 448414 h 958"/>
                  <a:gd name="T102" fmla="*/ 216848 w 1009"/>
                  <a:gd name="T103" fmla="*/ 451361 h 958"/>
                  <a:gd name="T104" fmla="*/ 191828 w 1009"/>
                  <a:gd name="T105" fmla="*/ 462166 h 958"/>
                  <a:gd name="T106" fmla="*/ 161410 w 1009"/>
                  <a:gd name="T107" fmla="*/ 459710 h 958"/>
                  <a:gd name="T108" fmla="*/ 144729 w 1009"/>
                  <a:gd name="T109" fmla="*/ 434662 h 958"/>
                  <a:gd name="T110" fmla="*/ 125105 w 1009"/>
                  <a:gd name="T111" fmla="*/ 426313 h 958"/>
                  <a:gd name="T112" fmla="*/ 100084 w 1009"/>
                  <a:gd name="T113" fmla="*/ 409614 h 958"/>
                  <a:gd name="T114" fmla="*/ 83403 w 1009"/>
                  <a:gd name="T115" fmla="*/ 403720 h 958"/>
                  <a:gd name="T116" fmla="*/ 61326 w 1009"/>
                  <a:gd name="T117" fmla="*/ 401264 h 958"/>
                  <a:gd name="T118" fmla="*/ 47098 w 1009"/>
                  <a:gd name="T119" fmla="*/ 401264 h 958"/>
                  <a:gd name="T120" fmla="*/ 33361 w 1009"/>
                  <a:gd name="T121" fmla="*/ 412070 h 958"/>
                  <a:gd name="T122" fmla="*/ 19624 w 1009"/>
                  <a:gd name="T123" fmla="*/ 403720 h 958"/>
                  <a:gd name="T124" fmla="*/ 0 w 1009"/>
                  <a:gd name="T125" fmla="*/ 389968 h 95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9" h="958">
                    <a:moveTo>
                      <a:pt x="0" y="794"/>
                    </a:moveTo>
                    <a:lnTo>
                      <a:pt x="11" y="783"/>
                    </a:lnTo>
                    <a:lnTo>
                      <a:pt x="6" y="783"/>
                    </a:lnTo>
                    <a:lnTo>
                      <a:pt x="6" y="771"/>
                    </a:lnTo>
                    <a:lnTo>
                      <a:pt x="11" y="771"/>
                    </a:lnTo>
                    <a:lnTo>
                      <a:pt x="11" y="766"/>
                    </a:lnTo>
                    <a:lnTo>
                      <a:pt x="28" y="760"/>
                    </a:lnTo>
                    <a:lnTo>
                      <a:pt x="28" y="754"/>
                    </a:lnTo>
                    <a:lnTo>
                      <a:pt x="23" y="754"/>
                    </a:lnTo>
                    <a:lnTo>
                      <a:pt x="28" y="737"/>
                    </a:lnTo>
                    <a:lnTo>
                      <a:pt x="40" y="731"/>
                    </a:lnTo>
                    <a:lnTo>
                      <a:pt x="51" y="726"/>
                    </a:lnTo>
                    <a:lnTo>
                      <a:pt x="51" y="720"/>
                    </a:lnTo>
                    <a:lnTo>
                      <a:pt x="62" y="714"/>
                    </a:lnTo>
                    <a:lnTo>
                      <a:pt x="62" y="709"/>
                    </a:lnTo>
                    <a:lnTo>
                      <a:pt x="74" y="703"/>
                    </a:lnTo>
                    <a:lnTo>
                      <a:pt x="85" y="703"/>
                    </a:lnTo>
                    <a:lnTo>
                      <a:pt x="91" y="703"/>
                    </a:lnTo>
                    <a:lnTo>
                      <a:pt x="96" y="697"/>
                    </a:lnTo>
                    <a:lnTo>
                      <a:pt x="130" y="692"/>
                    </a:lnTo>
                    <a:lnTo>
                      <a:pt x="130" y="675"/>
                    </a:lnTo>
                    <a:lnTo>
                      <a:pt x="159" y="663"/>
                    </a:lnTo>
                    <a:lnTo>
                      <a:pt x="147" y="641"/>
                    </a:lnTo>
                    <a:lnTo>
                      <a:pt x="142" y="641"/>
                    </a:lnTo>
                    <a:lnTo>
                      <a:pt x="136" y="641"/>
                    </a:lnTo>
                    <a:lnTo>
                      <a:pt x="130" y="641"/>
                    </a:lnTo>
                    <a:lnTo>
                      <a:pt x="113" y="652"/>
                    </a:lnTo>
                    <a:lnTo>
                      <a:pt x="102" y="646"/>
                    </a:lnTo>
                    <a:lnTo>
                      <a:pt x="102" y="641"/>
                    </a:lnTo>
                    <a:lnTo>
                      <a:pt x="91" y="641"/>
                    </a:lnTo>
                    <a:lnTo>
                      <a:pt x="91" y="635"/>
                    </a:lnTo>
                    <a:lnTo>
                      <a:pt x="85" y="624"/>
                    </a:lnTo>
                    <a:lnTo>
                      <a:pt x="79" y="624"/>
                    </a:lnTo>
                    <a:lnTo>
                      <a:pt x="74" y="618"/>
                    </a:lnTo>
                    <a:lnTo>
                      <a:pt x="68" y="612"/>
                    </a:lnTo>
                    <a:lnTo>
                      <a:pt x="68" y="601"/>
                    </a:lnTo>
                    <a:lnTo>
                      <a:pt x="68" y="595"/>
                    </a:lnTo>
                    <a:lnTo>
                      <a:pt x="62" y="595"/>
                    </a:lnTo>
                    <a:lnTo>
                      <a:pt x="62" y="590"/>
                    </a:lnTo>
                    <a:lnTo>
                      <a:pt x="51" y="578"/>
                    </a:lnTo>
                    <a:lnTo>
                      <a:pt x="62" y="573"/>
                    </a:lnTo>
                    <a:lnTo>
                      <a:pt x="68" y="573"/>
                    </a:lnTo>
                    <a:lnTo>
                      <a:pt x="74" y="573"/>
                    </a:lnTo>
                    <a:lnTo>
                      <a:pt x="79" y="573"/>
                    </a:lnTo>
                    <a:lnTo>
                      <a:pt x="85" y="561"/>
                    </a:lnTo>
                    <a:lnTo>
                      <a:pt x="96" y="550"/>
                    </a:lnTo>
                    <a:lnTo>
                      <a:pt x="130" y="550"/>
                    </a:lnTo>
                    <a:lnTo>
                      <a:pt x="136" y="561"/>
                    </a:lnTo>
                    <a:lnTo>
                      <a:pt x="159" y="556"/>
                    </a:lnTo>
                    <a:lnTo>
                      <a:pt x="164" y="510"/>
                    </a:lnTo>
                    <a:lnTo>
                      <a:pt x="181" y="516"/>
                    </a:lnTo>
                    <a:lnTo>
                      <a:pt x="187" y="505"/>
                    </a:lnTo>
                    <a:lnTo>
                      <a:pt x="181" y="499"/>
                    </a:lnTo>
                    <a:lnTo>
                      <a:pt x="198" y="476"/>
                    </a:lnTo>
                    <a:lnTo>
                      <a:pt x="187" y="471"/>
                    </a:lnTo>
                    <a:lnTo>
                      <a:pt x="193" y="459"/>
                    </a:lnTo>
                    <a:lnTo>
                      <a:pt x="215" y="454"/>
                    </a:lnTo>
                    <a:lnTo>
                      <a:pt x="215" y="442"/>
                    </a:lnTo>
                    <a:lnTo>
                      <a:pt x="210" y="431"/>
                    </a:lnTo>
                    <a:lnTo>
                      <a:pt x="204" y="437"/>
                    </a:lnTo>
                    <a:lnTo>
                      <a:pt x="187" y="437"/>
                    </a:lnTo>
                    <a:lnTo>
                      <a:pt x="181" y="442"/>
                    </a:lnTo>
                    <a:lnTo>
                      <a:pt x="170" y="459"/>
                    </a:lnTo>
                    <a:lnTo>
                      <a:pt x="164" y="459"/>
                    </a:lnTo>
                    <a:lnTo>
                      <a:pt x="164" y="465"/>
                    </a:lnTo>
                    <a:lnTo>
                      <a:pt x="159" y="471"/>
                    </a:lnTo>
                    <a:lnTo>
                      <a:pt x="153" y="471"/>
                    </a:lnTo>
                    <a:lnTo>
                      <a:pt x="113" y="465"/>
                    </a:lnTo>
                    <a:lnTo>
                      <a:pt x="113" y="454"/>
                    </a:lnTo>
                    <a:lnTo>
                      <a:pt x="108" y="442"/>
                    </a:lnTo>
                    <a:lnTo>
                      <a:pt x="108" y="437"/>
                    </a:lnTo>
                    <a:lnTo>
                      <a:pt x="102" y="431"/>
                    </a:lnTo>
                    <a:lnTo>
                      <a:pt x="102" y="425"/>
                    </a:lnTo>
                    <a:lnTo>
                      <a:pt x="102" y="420"/>
                    </a:lnTo>
                    <a:lnTo>
                      <a:pt x="108" y="414"/>
                    </a:lnTo>
                    <a:lnTo>
                      <a:pt x="108" y="408"/>
                    </a:lnTo>
                    <a:lnTo>
                      <a:pt x="102" y="403"/>
                    </a:lnTo>
                    <a:lnTo>
                      <a:pt x="108" y="403"/>
                    </a:lnTo>
                    <a:lnTo>
                      <a:pt x="108" y="397"/>
                    </a:lnTo>
                    <a:lnTo>
                      <a:pt x="108" y="391"/>
                    </a:lnTo>
                    <a:lnTo>
                      <a:pt x="108" y="380"/>
                    </a:lnTo>
                    <a:lnTo>
                      <a:pt x="113" y="380"/>
                    </a:lnTo>
                    <a:lnTo>
                      <a:pt x="113" y="369"/>
                    </a:lnTo>
                    <a:lnTo>
                      <a:pt x="113" y="363"/>
                    </a:lnTo>
                    <a:lnTo>
                      <a:pt x="113" y="357"/>
                    </a:lnTo>
                    <a:lnTo>
                      <a:pt x="113" y="352"/>
                    </a:lnTo>
                    <a:lnTo>
                      <a:pt x="130" y="352"/>
                    </a:lnTo>
                    <a:lnTo>
                      <a:pt x="142" y="346"/>
                    </a:lnTo>
                    <a:lnTo>
                      <a:pt x="147" y="340"/>
                    </a:lnTo>
                    <a:lnTo>
                      <a:pt x="147" y="329"/>
                    </a:lnTo>
                    <a:lnTo>
                      <a:pt x="142" y="323"/>
                    </a:lnTo>
                    <a:lnTo>
                      <a:pt x="136" y="323"/>
                    </a:lnTo>
                    <a:lnTo>
                      <a:pt x="119" y="323"/>
                    </a:lnTo>
                    <a:lnTo>
                      <a:pt x="113" y="323"/>
                    </a:lnTo>
                    <a:lnTo>
                      <a:pt x="108" y="323"/>
                    </a:lnTo>
                    <a:lnTo>
                      <a:pt x="102" y="323"/>
                    </a:lnTo>
                    <a:lnTo>
                      <a:pt x="74" y="335"/>
                    </a:lnTo>
                    <a:lnTo>
                      <a:pt x="68" y="340"/>
                    </a:lnTo>
                    <a:lnTo>
                      <a:pt x="57" y="340"/>
                    </a:lnTo>
                    <a:lnTo>
                      <a:pt x="40" y="346"/>
                    </a:lnTo>
                    <a:lnTo>
                      <a:pt x="40" y="335"/>
                    </a:lnTo>
                    <a:lnTo>
                      <a:pt x="34" y="329"/>
                    </a:lnTo>
                    <a:lnTo>
                      <a:pt x="40" y="329"/>
                    </a:lnTo>
                    <a:lnTo>
                      <a:pt x="45" y="323"/>
                    </a:lnTo>
                    <a:lnTo>
                      <a:pt x="57" y="323"/>
                    </a:lnTo>
                    <a:lnTo>
                      <a:pt x="62" y="318"/>
                    </a:lnTo>
                    <a:lnTo>
                      <a:pt x="62" y="312"/>
                    </a:lnTo>
                    <a:lnTo>
                      <a:pt x="68" y="312"/>
                    </a:lnTo>
                    <a:lnTo>
                      <a:pt x="79" y="306"/>
                    </a:lnTo>
                    <a:lnTo>
                      <a:pt x="96" y="306"/>
                    </a:lnTo>
                    <a:lnTo>
                      <a:pt x="102" y="301"/>
                    </a:lnTo>
                    <a:lnTo>
                      <a:pt x="102" y="289"/>
                    </a:lnTo>
                    <a:lnTo>
                      <a:pt x="102" y="284"/>
                    </a:lnTo>
                    <a:lnTo>
                      <a:pt x="113" y="278"/>
                    </a:lnTo>
                    <a:lnTo>
                      <a:pt x="119" y="278"/>
                    </a:lnTo>
                    <a:lnTo>
                      <a:pt x="125" y="272"/>
                    </a:lnTo>
                    <a:lnTo>
                      <a:pt x="130" y="272"/>
                    </a:lnTo>
                    <a:lnTo>
                      <a:pt x="142" y="267"/>
                    </a:lnTo>
                    <a:lnTo>
                      <a:pt x="159" y="261"/>
                    </a:lnTo>
                    <a:lnTo>
                      <a:pt x="170" y="267"/>
                    </a:lnTo>
                    <a:lnTo>
                      <a:pt x="181" y="267"/>
                    </a:lnTo>
                    <a:lnTo>
                      <a:pt x="187" y="261"/>
                    </a:lnTo>
                    <a:lnTo>
                      <a:pt x="193" y="267"/>
                    </a:lnTo>
                    <a:lnTo>
                      <a:pt x="193" y="244"/>
                    </a:lnTo>
                    <a:lnTo>
                      <a:pt x="215" y="250"/>
                    </a:lnTo>
                    <a:lnTo>
                      <a:pt x="215" y="255"/>
                    </a:lnTo>
                    <a:lnTo>
                      <a:pt x="221" y="255"/>
                    </a:lnTo>
                    <a:lnTo>
                      <a:pt x="227" y="278"/>
                    </a:lnTo>
                    <a:lnTo>
                      <a:pt x="255" y="267"/>
                    </a:lnTo>
                    <a:lnTo>
                      <a:pt x="255" y="255"/>
                    </a:lnTo>
                    <a:lnTo>
                      <a:pt x="261" y="255"/>
                    </a:lnTo>
                    <a:lnTo>
                      <a:pt x="261" y="250"/>
                    </a:lnTo>
                    <a:lnTo>
                      <a:pt x="261" y="244"/>
                    </a:lnTo>
                    <a:lnTo>
                      <a:pt x="261" y="238"/>
                    </a:lnTo>
                    <a:lnTo>
                      <a:pt x="278" y="233"/>
                    </a:lnTo>
                    <a:lnTo>
                      <a:pt x="289" y="238"/>
                    </a:lnTo>
                    <a:lnTo>
                      <a:pt x="306" y="238"/>
                    </a:lnTo>
                    <a:lnTo>
                      <a:pt x="300" y="244"/>
                    </a:lnTo>
                    <a:lnTo>
                      <a:pt x="306" y="250"/>
                    </a:lnTo>
                    <a:lnTo>
                      <a:pt x="306" y="255"/>
                    </a:lnTo>
                    <a:lnTo>
                      <a:pt x="312" y="261"/>
                    </a:lnTo>
                    <a:lnTo>
                      <a:pt x="312" y="267"/>
                    </a:lnTo>
                    <a:lnTo>
                      <a:pt x="312" y="272"/>
                    </a:lnTo>
                    <a:lnTo>
                      <a:pt x="306" y="278"/>
                    </a:lnTo>
                    <a:lnTo>
                      <a:pt x="300" y="278"/>
                    </a:lnTo>
                    <a:lnTo>
                      <a:pt x="300" y="284"/>
                    </a:lnTo>
                    <a:lnTo>
                      <a:pt x="306" y="284"/>
                    </a:lnTo>
                    <a:lnTo>
                      <a:pt x="312" y="278"/>
                    </a:lnTo>
                    <a:lnTo>
                      <a:pt x="317" y="278"/>
                    </a:lnTo>
                    <a:lnTo>
                      <a:pt x="317" y="284"/>
                    </a:lnTo>
                    <a:lnTo>
                      <a:pt x="323" y="289"/>
                    </a:lnTo>
                    <a:lnTo>
                      <a:pt x="329" y="295"/>
                    </a:lnTo>
                    <a:lnTo>
                      <a:pt x="329" y="301"/>
                    </a:lnTo>
                    <a:lnTo>
                      <a:pt x="334" y="306"/>
                    </a:lnTo>
                    <a:lnTo>
                      <a:pt x="340" y="312"/>
                    </a:lnTo>
                    <a:lnTo>
                      <a:pt x="340" y="306"/>
                    </a:lnTo>
                    <a:lnTo>
                      <a:pt x="346" y="312"/>
                    </a:lnTo>
                    <a:lnTo>
                      <a:pt x="357" y="323"/>
                    </a:lnTo>
                    <a:lnTo>
                      <a:pt x="357" y="329"/>
                    </a:lnTo>
                    <a:lnTo>
                      <a:pt x="374" y="335"/>
                    </a:lnTo>
                    <a:lnTo>
                      <a:pt x="397" y="335"/>
                    </a:lnTo>
                    <a:lnTo>
                      <a:pt x="403" y="340"/>
                    </a:lnTo>
                    <a:lnTo>
                      <a:pt x="414" y="329"/>
                    </a:lnTo>
                    <a:lnTo>
                      <a:pt x="414" y="323"/>
                    </a:lnTo>
                    <a:lnTo>
                      <a:pt x="425" y="318"/>
                    </a:lnTo>
                    <a:lnTo>
                      <a:pt x="425" y="312"/>
                    </a:lnTo>
                    <a:lnTo>
                      <a:pt x="420" y="301"/>
                    </a:lnTo>
                    <a:lnTo>
                      <a:pt x="414" y="301"/>
                    </a:lnTo>
                    <a:lnTo>
                      <a:pt x="408" y="301"/>
                    </a:lnTo>
                    <a:lnTo>
                      <a:pt x="408" y="289"/>
                    </a:lnTo>
                    <a:lnTo>
                      <a:pt x="425" y="289"/>
                    </a:lnTo>
                    <a:lnTo>
                      <a:pt x="425" y="284"/>
                    </a:lnTo>
                    <a:lnTo>
                      <a:pt x="442" y="272"/>
                    </a:lnTo>
                    <a:lnTo>
                      <a:pt x="459" y="261"/>
                    </a:lnTo>
                    <a:lnTo>
                      <a:pt x="493" y="233"/>
                    </a:lnTo>
                    <a:lnTo>
                      <a:pt x="510" y="227"/>
                    </a:lnTo>
                    <a:lnTo>
                      <a:pt x="510" y="221"/>
                    </a:lnTo>
                    <a:lnTo>
                      <a:pt x="516" y="210"/>
                    </a:lnTo>
                    <a:lnTo>
                      <a:pt x="516" y="204"/>
                    </a:lnTo>
                    <a:lnTo>
                      <a:pt x="550" y="199"/>
                    </a:lnTo>
                    <a:lnTo>
                      <a:pt x="556" y="199"/>
                    </a:lnTo>
                    <a:lnTo>
                      <a:pt x="561" y="199"/>
                    </a:lnTo>
                    <a:lnTo>
                      <a:pt x="561" y="193"/>
                    </a:lnTo>
                    <a:lnTo>
                      <a:pt x="561" y="187"/>
                    </a:lnTo>
                    <a:lnTo>
                      <a:pt x="567" y="187"/>
                    </a:lnTo>
                    <a:lnTo>
                      <a:pt x="573" y="187"/>
                    </a:lnTo>
                    <a:lnTo>
                      <a:pt x="578" y="187"/>
                    </a:lnTo>
                    <a:lnTo>
                      <a:pt x="578" y="182"/>
                    </a:lnTo>
                    <a:lnTo>
                      <a:pt x="584" y="182"/>
                    </a:lnTo>
                    <a:lnTo>
                      <a:pt x="584" y="187"/>
                    </a:lnTo>
                    <a:lnTo>
                      <a:pt x="590" y="187"/>
                    </a:lnTo>
                    <a:lnTo>
                      <a:pt x="595" y="187"/>
                    </a:lnTo>
                    <a:lnTo>
                      <a:pt x="601" y="187"/>
                    </a:lnTo>
                    <a:lnTo>
                      <a:pt x="607" y="187"/>
                    </a:lnTo>
                    <a:lnTo>
                      <a:pt x="607" y="193"/>
                    </a:lnTo>
                    <a:lnTo>
                      <a:pt x="607" y="199"/>
                    </a:lnTo>
                    <a:lnTo>
                      <a:pt x="624" y="187"/>
                    </a:lnTo>
                    <a:lnTo>
                      <a:pt x="635" y="176"/>
                    </a:lnTo>
                    <a:lnTo>
                      <a:pt x="635" y="170"/>
                    </a:lnTo>
                    <a:lnTo>
                      <a:pt x="641" y="170"/>
                    </a:lnTo>
                    <a:lnTo>
                      <a:pt x="641" y="165"/>
                    </a:lnTo>
                    <a:lnTo>
                      <a:pt x="641" y="153"/>
                    </a:lnTo>
                    <a:lnTo>
                      <a:pt x="646" y="153"/>
                    </a:lnTo>
                    <a:lnTo>
                      <a:pt x="652" y="159"/>
                    </a:lnTo>
                    <a:lnTo>
                      <a:pt x="669" y="153"/>
                    </a:lnTo>
                    <a:lnTo>
                      <a:pt x="669" y="142"/>
                    </a:lnTo>
                    <a:lnTo>
                      <a:pt x="675" y="136"/>
                    </a:lnTo>
                    <a:lnTo>
                      <a:pt x="680" y="125"/>
                    </a:lnTo>
                    <a:lnTo>
                      <a:pt x="697" y="142"/>
                    </a:lnTo>
                    <a:lnTo>
                      <a:pt x="709" y="153"/>
                    </a:lnTo>
                    <a:lnTo>
                      <a:pt x="714" y="159"/>
                    </a:lnTo>
                    <a:lnTo>
                      <a:pt x="714" y="165"/>
                    </a:lnTo>
                    <a:lnTo>
                      <a:pt x="709" y="165"/>
                    </a:lnTo>
                    <a:lnTo>
                      <a:pt x="703" y="170"/>
                    </a:lnTo>
                    <a:lnTo>
                      <a:pt x="709" y="176"/>
                    </a:lnTo>
                    <a:lnTo>
                      <a:pt x="709" y="182"/>
                    </a:lnTo>
                    <a:lnTo>
                      <a:pt x="726" y="187"/>
                    </a:lnTo>
                    <a:lnTo>
                      <a:pt x="726" y="193"/>
                    </a:lnTo>
                    <a:lnTo>
                      <a:pt x="726" y="204"/>
                    </a:lnTo>
                    <a:lnTo>
                      <a:pt x="714" y="216"/>
                    </a:lnTo>
                    <a:lnTo>
                      <a:pt x="720" y="227"/>
                    </a:lnTo>
                    <a:lnTo>
                      <a:pt x="720" y="233"/>
                    </a:lnTo>
                    <a:lnTo>
                      <a:pt x="726" y="238"/>
                    </a:lnTo>
                    <a:lnTo>
                      <a:pt x="726" y="244"/>
                    </a:lnTo>
                    <a:lnTo>
                      <a:pt x="726" y="250"/>
                    </a:lnTo>
                    <a:lnTo>
                      <a:pt x="731" y="250"/>
                    </a:lnTo>
                    <a:lnTo>
                      <a:pt x="737" y="250"/>
                    </a:lnTo>
                    <a:lnTo>
                      <a:pt x="760" y="250"/>
                    </a:lnTo>
                    <a:lnTo>
                      <a:pt x="765" y="261"/>
                    </a:lnTo>
                    <a:lnTo>
                      <a:pt x="765" y="267"/>
                    </a:lnTo>
                    <a:lnTo>
                      <a:pt x="765" y="272"/>
                    </a:lnTo>
                    <a:lnTo>
                      <a:pt x="765" y="278"/>
                    </a:lnTo>
                    <a:lnTo>
                      <a:pt x="765" y="284"/>
                    </a:lnTo>
                    <a:lnTo>
                      <a:pt x="765" y="289"/>
                    </a:lnTo>
                    <a:lnTo>
                      <a:pt x="771" y="289"/>
                    </a:lnTo>
                    <a:lnTo>
                      <a:pt x="777" y="289"/>
                    </a:lnTo>
                    <a:lnTo>
                      <a:pt x="782" y="289"/>
                    </a:lnTo>
                    <a:lnTo>
                      <a:pt x="788" y="289"/>
                    </a:lnTo>
                    <a:lnTo>
                      <a:pt x="794" y="289"/>
                    </a:lnTo>
                    <a:lnTo>
                      <a:pt x="799" y="289"/>
                    </a:lnTo>
                    <a:lnTo>
                      <a:pt x="805" y="284"/>
                    </a:lnTo>
                    <a:lnTo>
                      <a:pt x="805" y="278"/>
                    </a:lnTo>
                    <a:lnTo>
                      <a:pt x="811" y="278"/>
                    </a:lnTo>
                    <a:lnTo>
                      <a:pt x="816" y="278"/>
                    </a:lnTo>
                    <a:lnTo>
                      <a:pt x="822" y="278"/>
                    </a:lnTo>
                    <a:lnTo>
                      <a:pt x="828" y="278"/>
                    </a:lnTo>
                    <a:lnTo>
                      <a:pt x="833" y="278"/>
                    </a:lnTo>
                    <a:lnTo>
                      <a:pt x="839" y="278"/>
                    </a:lnTo>
                    <a:lnTo>
                      <a:pt x="845" y="278"/>
                    </a:lnTo>
                    <a:lnTo>
                      <a:pt x="850" y="278"/>
                    </a:lnTo>
                    <a:lnTo>
                      <a:pt x="850" y="267"/>
                    </a:lnTo>
                    <a:lnTo>
                      <a:pt x="862" y="267"/>
                    </a:lnTo>
                    <a:lnTo>
                      <a:pt x="862" y="261"/>
                    </a:lnTo>
                    <a:lnTo>
                      <a:pt x="862" y="250"/>
                    </a:lnTo>
                    <a:lnTo>
                      <a:pt x="850" y="250"/>
                    </a:lnTo>
                    <a:lnTo>
                      <a:pt x="845" y="244"/>
                    </a:lnTo>
                    <a:lnTo>
                      <a:pt x="839" y="244"/>
                    </a:lnTo>
                    <a:lnTo>
                      <a:pt x="833" y="244"/>
                    </a:lnTo>
                    <a:lnTo>
                      <a:pt x="828" y="244"/>
                    </a:lnTo>
                    <a:lnTo>
                      <a:pt x="828" y="238"/>
                    </a:lnTo>
                    <a:lnTo>
                      <a:pt x="828" y="210"/>
                    </a:lnTo>
                    <a:lnTo>
                      <a:pt x="845" y="210"/>
                    </a:lnTo>
                    <a:lnTo>
                      <a:pt x="856" y="210"/>
                    </a:lnTo>
                    <a:lnTo>
                      <a:pt x="879" y="210"/>
                    </a:lnTo>
                    <a:lnTo>
                      <a:pt x="879" y="199"/>
                    </a:lnTo>
                    <a:lnTo>
                      <a:pt x="879" y="193"/>
                    </a:lnTo>
                    <a:lnTo>
                      <a:pt x="884" y="193"/>
                    </a:lnTo>
                    <a:lnTo>
                      <a:pt x="890" y="193"/>
                    </a:lnTo>
                    <a:lnTo>
                      <a:pt x="896" y="193"/>
                    </a:lnTo>
                    <a:lnTo>
                      <a:pt x="896" y="187"/>
                    </a:lnTo>
                    <a:lnTo>
                      <a:pt x="901" y="187"/>
                    </a:lnTo>
                    <a:lnTo>
                      <a:pt x="901" y="182"/>
                    </a:lnTo>
                    <a:lnTo>
                      <a:pt x="890" y="176"/>
                    </a:lnTo>
                    <a:lnTo>
                      <a:pt x="867" y="165"/>
                    </a:lnTo>
                    <a:lnTo>
                      <a:pt x="862" y="159"/>
                    </a:lnTo>
                    <a:lnTo>
                      <a:pt x="862" y="153"/>
                    </a:lnTo>
                    <a:lnTo>
                      <a:pt x="862" y="148"/>
                    </a:lnTo>
                    <a:lnTo>
                      <a:pt x="867" y="142"/>
                    </a:lnTo>
                    <a:lnTo>
                      <a:pt x="839" y="142"/>
                    </a:lnTo>
                    <a:lnTo>
                      <a:pt x="845" y="125"/>
                    </a:lnTo>
                    <a:lnTo>
                      <a:pt x="845" y="119"/>
                    </a:lnTo>
                    <a:lnTo>
                      <a:pt x="850" y="108"/>
                    </a:lnTo>
                    <a:lnTo>
                      <a:pt x="862" y="91"/>
                    </a:lnTo>
                    <a:lnTo>
                      <a:pt x="862" y="80"/>
                    </a:lnTo>
                    <a:lnTo>
                      <a:pt x="862" y="63"/>
                    </a:lnTo>
                    <a:lnTo>
                      <a:pt x="873" y="57"/>
                    </a:lnTo>
                    <a:lnTo>
                      <a:pt x="873" y="46"/>
                    </a:lnTo>
                    <a:lnTo>
                      <a:pt x="816" y="40"/>
                    </a:lnTo>
                    <a:lnTo>
                      <a:pt x="822" y="40"/>
                    </a:lnTo>
                    <a:lnTo>
                      <a:pt x="822" y="34"/>
                    </a:lnTo>
                    <a:lnTo>
                      <a:pt x="828" y="34"/>
                    </a:lnTo>
                    <a:lnTo>
                      <a:pt x="833" y="34"/>
                    </a:lnTo>
                    <a:lnTo>
                      <a:pt x="839" y="34"/>
                    </a:lnTo>
                    <a:lnTo>
                      <a:pt x="839" y="29"/>
                    </a:lnTo>
                    <a:lnTo>
                      <a:pt x="845" y="29"/>
                    </a:lnTo>
                    <a:lnTo>
                      <a:pt x="850" y="29"/>
                    </a:lnTo>
                    <a:lnTo>
                      <a:pt x="856" y="29"/>
                    </a:lnTo>
                    <a:lnTo>
                      <a:pt x="856" y="23"/>
                    </a:lnTo>
                    <a:lnTo>
                      <a:pt x="862" y="23"/>
                    </a:lnTo>
                    <a:lnTo>
                      <a:pt x="862" y="17"/>
                    </a:lnTo>
                    <a:lnTo>
                      <a:pt x="867" y="17"/>
                    </a:lnTo>
                    <a:lnTo>
                      <a:pt x="873" y="17"/>
                    </a:lnTo>
                    <a:lnTo>
                      <a:pt x="873" y="23"/>
                    </a:lnTo>
                    <a:lnTo>
                      <a:pt x="879" y="23"/>
                    </a:lnTo>
                    <a:lnTo>
                      <a:pt x="884" y="23"/>
                    </a:lnTo>
                    <a:lnTo>
                      <a:pt x="884" y="29"/>
                    </a:lnTo>
                    <a:lnTo>
                      <a:pt x="890" y="29"/>
                    </a:lnTo>
                    <a:lnTo>
                      <a:pt x="890" y="23"/>
                    </a:lnTo>
                    <a:lnTo>
                      <a:pt x="896" y="23"/>
                    </a:lnTo>
                    <a:lnTo>
                      <a:pt x="901" y="29"/>
                    </a:lnTo>
                    <a:lnTo>
                      <a:pt x="907" y="29"/>
                    </a:lnTo>
                    <a:lnTo>
                      <a:pt x="907" y="23"/>
                    </a:lnTo>
                    <a:lnTo>
                      <a:pt x="907" y="17"/>
                    </a:lnTo>
                    <a:lnTo>
                      <a:pt x="913" y="17"/>
                    </a:lnTo>
                    <a:lnTo>
                      <a:pt x="918" y="17"/>
                    </a:lnTo>
                    <a:lnTo>
                      <a:pt x="918" y="23"/>
                    </a:lnTo>
                    <a:lnTo>
                      <a:pt x="924" y="29"/>
                    </a:lnTo>
                    <a:lnTo>
                      <a:pt x="930" y="29"/>
                    </a:lnTo>
                    <a:lnTo>
                      <a:pt x="935" y="29"/>
                    </a:lnTo>
                    <a:lnTo>
                      <a:pt x="935" y="23"/>
                    </a:lnTo>
                    <a:lnTo>
                      <a:pt x="941" y="17"/>
                    </a:lnTo>
                    <a:lnTo>
                      <a:pt x="941" y="12"/>
                    </a:lnTo>
                    <a:lnTo>
                      <a:pt x="947" y="12"/>
                    </a:lnTo>
                    <a:lnTo>
                      <a:pt x="947" y="6"/>
                    </a:lnTo>
                    <a:lnTo>
                      <a:pt x="952" y="6"/>
                    </a:lnTo>
                    <a:lnTo>
                      <a:pt x="952" y="0"/>
                    </a:lnTo>
                    <a:lnTo>
                      <a:pt x="958" y="6"/>
                    </a:lnTo>
                    <a:lnTo>
                      <a:pt x="964" y="6"/>
                    </a:lnTo>
                    <a:lnTo>
                      <a:pt x="969" y="6"/>
                    </a:lnTo>
                    <a:lnTo>
                      <a:pt x="975" y="0"/>
                    </a:lnTo>
                    <a:lnTo>
                      <a:pt x="981" y="0"/>
                    </a:lnTo>
                    <a:lnTo>
                      <a:pt x="981" y="6"/>
                    </a:lnTo>
                    <a:lnTo>
                      <a:pt x="981" y="12"/>
                    </a:lnTo>
                    <a:lnTo>
                      <a:pt x="986" y="57"/>
                    </a:lnTo>
                    <a:lnTo>
                      <a:pt x="986" y="63"/>
                    </a:lnTo>
                    <a:lnTo>
                      <a:pt x="1003" y="97"/>
                    </a:lnTo>
                    <a:lnTo>
                      <a:pt x="1003" y="108"/>
                    </a:lnTo>
                    <a:lnTo>
                      <a:pt x="1009" y="125"/>
                    </a:lnTo>
                    <a:lnTo>
                      <a:pt x="1009" y="136"/>
                    </a:lnTo>
                    <a:lnTo>
                      <a:pt x="1003" y="165"/>
                    </a:lnTo>
                    <a:lnTo>
                      <a:pt x="1003" y="193"/>
                    </a:lnTo>
                    <a:lnTo>
                      <a:pt x="1003" y="210"/>
                    </a:lnTo>
                    <a:lnTo>
                      <a:pt x="1009" y="250"/>
                    </a:lnTo>
                    <a:lnTo>
                      <a:pt x="1009" y="272"/>
                    </a:lnTo>
                    <a:lnTo>
                      <a:pt x="1009" y="289"/>
                    </a:lnTo>
                    <a:lnTo>
                      <a:pt x="1009" y="301"/>
                    </a:lnTo>
                    <a:lnTo>
                      <a:pt x="1009" y="312"/>
                    </a:lnTo>
                    <a:lnTo>
                      <a:pt x="1009" y="318"/>
                    </a:lnTo>
                    <a:lnTo>
                      <a:pt x="1009" y="335"/>
                    </a:lnTo>
                    <a:lnTo>
                      <a:pt x="1003" y="369"/>
                    </a:lnTo>
                    <a:lnTo>
                      <a:pt x="1003" y="374"/>
                    </a:lnTo>
                    <a:lnTo>
                      <a:pt x="1003" y="380"/>
                    </a:lnTo>
                    <a:lnTo>
                      <a:pt x="998" y="391"/>
                    </a:lnTo>
                    <a:lnTo>
                      <a:pt x="998" y="397"/>
                    </a:lnTo>
                    <a:lnTo>
                      <a:pt x="992" y="397"/>
                    </a:lnTo>
                    <a:lnTo>
                      <a:pt x="992" y="408"/>
                    </a:lnTo>
                    <a:lnTo>
                      <a:pt x="992" y="414"/>
                    </a:lnTo>
                    <a:lnTo>
                      <a:pt x="992" y="420"/>
                    </a:lnTo>
                    <a:lnTo>
                      <a:pt x="992" y="425"/>
                    </a:lnTo>
                    <a:lnTo>
                      <a:pt x="998" y="437"/>
                    </a:lnTo>
                    <a:lnTo>
                      <a:pt x="998" y="448"/>
                    </a:lnTo>
                    <a:lnTo>
                      <a:pt x="998" y="454"/>
                    </a:lnTo>
                    <a:lnTo>
                      <a:pt x="992" y="459"/>
                    </a:lnTo>
                    <a:lnTo>
                      <a:pt x="986" y="471"/>
                    </a:lnTo>
                    <a:lnTo>
                      <a:pt x="986" y="482"/>
                    </a:lnTo>
                    <a:lnTo>
                      <a:pt x="981" y="488"/>
                    </a:lnTo>
                    <a:lnTo>
                      <a:pt x="981" y="493"/>
                    </a:lnTo>
                    <a:lnTo>
                      <a:pt x="975" y="505"/>
                    </a:lnTo>
                    <a:lnTo>
                      <a:pt x="975" y="510"/>
                    </a:lnTo>
                    <a:lnTo>
                      <a:pt x="981" y="527"/>
                    </a:lnTo>
                    <a:lnTo>
                      <a:pt x="986" y="533"/>
                    </a:lnTo>
                    <a:lnTo>
                      <a:pt x="986" y="539"/>
                    </a:lnTo>
                    <a:lnTo>
                      <a:pt x="981" y="539"/>
                    </a:lnTo>
                    <a:lnTo>
                      <a:pt x="969" y="544"/>
                    </a:lnTo>
                    <a:lnTo>
                      <a:pt x="964" y="550"/>
                    </a:lnTo>
                    <a:lnTo>
                      <a:pt x="964" y="544"/>
                    </a:lnTo>
                    <a:lnTo>
                      <a:pt x="958" y="550"/>
                    </a:lnTo>
                    <a:lnTo>
                      <a:pt x="952" y="550"/>
                    </a:lnTo>
                    <a:lnTo>
                      <a:pt x="947" y="544"/>
                    </a:lnTo>
                    <a:lnTo>
                      <a:pt x="941" y="544"/>
                    </a:lnTo>
                    <a:lnTo>
                      <a:pt x="941" y="539"/>
                    </a:lnTo>
                    <a:lnTo>
                      <a:pt x="935" y="539"/>
                    </a:lnTo>
                    <a:lnTo>
                      <a:pt x="930" y="533"/>
                    </a:lnTo>
                    <a:lnTo>
                      <a:pt x="924" y="533"/>
                    </a:lnTo>
                    <a:lnTo>
                      <a:pt x="918" y="527"/>
                    </a:lnTo>
                    <a:lnTo>
                      <a:pt x="901" y="516"/>
                    </a:lnTo>
                    <a:lnTo>
                      <a:pt x="896" y="510"/>
                    </a:lnTo>
                    <a:lnTo>
                      <a:pt x="890" y="510"/>
                    </a:lnTo>
                    <a:lnTo>
                      <a:pt x="890" y="505"/>
                    </a:lnTo>
                    <a:lnTo>
                      <a:pt x="879" y="499"/>
                    </a:lnTo>
                    <a:lnTo>
                      <a:pt x="873" y="499"/>
                    </a:lnTo>
                    <a:lnTo>
                      <a:pt x="873" y="493"/>
                    </a:lnTo>
                    <a:lnTo>
                      <a:pt x="867" y="493"/>
                    </a:lnTo>
                    <a:lnTo>
                      <a:pt x="862" y="488"/>
                    </a:lnTo>
                    <a:lnTo>
                      <a:pt x="856" y="488"/>
                    </a:lnTo>
                    <a:lnTo>
                      <a:pt x="856" y="482"/>
                    </a:lnTo>
                    <a:lnTo>
                      <a:pt x="845" y="476"/>
                    </a:lnTo>
                    <a:lnTo>
                      <a:pt x="839" y="476"/>
                    </a:lnTo>
                    <a:lnTo>
                      <a:pt x="833" y="476"/>
                    </a:lnTo>
                    <a:lnTo>
                      <a:pt x="828" y="476"/>
                    </a:lnTo>
                    <a:lnTo>
                      <a:pt x="828" y="482"/>
                    </a:lnTo>
                    <a:lnTo>
                      <a:pt x="822" y="482"/>
                    </a:lnTo>
                    <a:lnTo>
                      <a:pt x="816" y="482"/>
                    </a:lnTo>
                    <a:lnTo>
                      <a:pt x="811" y="482"/>
                    </a:lnTo>
                    <a:lnTo>
                      <a:pt x="811" y="488"/>
                    </a:lnTo>
                    <a:lnTo>
                      <a:pt x="805" y="493"/>
                    </a:lnTo>
                    <a:lnTo>
                      <a:pt x="799" y="499"/>
                    </a:lnTo>
                    <a:lnTo>
                      <a:pt x="788" y="505"/>
                    </a:lnTo>
                    <a:lnTo>
                      <a:pt x="771" y="522"/>
                    </a:lnTo>
                    <a:lnTo>
                      <a:pt x="765" y="527"/>
                    </a:lnTo>
                    <a:lnTo>
                      <a:pt x="760" y="527"/>
                    </a:lnTo>
                    <a:lnTo>
                      <a:pt x="760" y="533"/>
                    </a:lnTo>
                    <a:lnTo>
                      <a:pt x="760" y="539"/>
                    </a:lnTo>
                    <a:lnTo>
                      <a:pt x="760" y="544"/>
                    </a:lnTo>
                    <a:lnTo>
                      <a:pt x="760" y="550"/>
                    </a:lnTo>
                    <a:lnTo>
                      <a:pt x="754" y="556"/>
                    </a:lnTo>
                    <a:lnTo>
                      <a:pt x="748" y="561"/>
                    </a:lnTo>
                    <a:lnTo>
                      <a:pt x="748" y="567"/>
                    </a:lnTo>
                    <a:lnTo>
                      <a:pt x="743" y="567"/>
                    </a:lnTo>
                    <a:lnTo>
                      <a:pt x="743" y="573"/>
                    </a:lnTo>
                    <a:lnTo>
                      <a:pt x="743" y="578"/>
                    </a:lnTo>
                    <a:lnTo>
                      <a:pt x="737" y="584"/>
                    </a:lnTo>
                    <a:lnTo>
                      <a:pt x="731" y="590"/>
                    </a:lnTo>
                    <a:lnTo>
                      <a:pt x="731" y="595"/>
                    </a:lnTo>
                    <a:lnTo>
                      <a:pt x="726" y="601"/>
                    </a:lnTo>
                    <a:lnTo>
                      <a:pt x="726" y="607"/>
                    </a:lnTo>
                    <a:lnTo>
                      <a:pt x="720" y="612"/>
                    </a:lnTo>
                    <a:lnTo>
                      <a:pt x="714" y="618"/>
                    </a:lnTo>
                    <a:lnTo>
                      <a:pt x="703" y="629"/>
                    </a:lnTo>
                    <a:lnTo>
                      <a:pt x="703" y="635"/>
                    </a:lnTo>
                    <a:lnTo>
                      <a:pt x="697" y="635"/>
                    </a:lnTo>
                    <a:lnTo>
                      <a:pt x="692" y="641"/>
                    </a:lnTo>
                    <a:lnTo>
                      <a:pt x="692" y="646"/>
                    </a:lnTo>
                    <a:lnTo>
                      <a:pt x="686" y="652"/>
                    </a:lnTo>
                    <a:lnTo>
                      <a:pt x="686" y="658"/>
                    </a:lnTo>
                    <a:lnTo>
                      <a:pt x="680" y="663"/>
                    </a:lnTo>
                    <a:lnTo>
                      <a:pt x="675" y="663"/>
                    </a:lnTo>
                    <a:lnTo>
                      <a:pt x="675" y="669"/>
                    </a:lnTo>
                    <a:lnTo>
                      <a:pt x="675" y="680"/>
                    </a:lnTo>
                    <a:lnTo>
                      <a:pt x="669" y="692"/>
                    </a:lnTo>
                    <a:lnTo>
                      <a:pt x="669" y="703"/>
                    </a:lnTo>
                    <a:lnTo>
                      <a:pt x="663" y="703"/>
                    </a:lnTo>
                    <a:lnTo>
                      <a:pt x="663" y="709"/>
                    </a:lnTo>
                    <a:lnTo>
                      <a:pt x="663" y="714"/>
                    </a:lnTo>
                    <a:lnTo>
                      <a:pt x="663" y="731"/>
                    </a:lnTo>
                    <a:lnTo>
                      <a:pt x="663" y="737"/>
                    </a:lnTo>
                    <a:lnTo>
                      <a:pt x="663" y="743"/>
                    </a:lnTo>
                    <a:lnTo>
                      <a:pt x="663" y="748"/>
                    </a:lnTo>
                    <a:lnTo>
                      <a:pt x="663" y="754"/>
                    </a:lnTo>
                    <a:lnTo>
                      <a:pt x="663" y="760"/>
                    </a:lnTo>
                    <a:lnTo>
                      <a:pt x="669" y="771"/>
                    </a:lnTo>
                    <a:lnTo>
                      <a:pt x="669" y="777"/>
                    </a:lnTo>
                    <a:lnTo>
                      <a:pt x="675" y="777"/>
                    </a:lnTo>
                    <a:lnTo>
                      <a:pt x="680" y="771"/>
                    </a:lnTo>
                    <a:lnTo>
                      <a:pt x="686" y="771"/>
                    </a:lnTo>
                    <a:lnTo>
                      <a:pt x="686" y="766"/>
                    </a:lnTo>
                    <a:lnTo>
                      <a:pt x="692" y="766"/>
                    </a:lnTo>
                    <a:lnTo>
                      <a:pt x="692" y="771"/>
                    </a:lnTo>
                    <a:lnTo>
                      <a:pt x="692" y="777"/>
                    </a:lnTo>
                    <a:lnTo>
                      <a:pt x="697" y="783"/>
                    </a:lnTo>
                    <a:lnTo>
                      <a:pt x="703" y="788"/>
                    </a:lnTo>
                    <a:lnTo>
                      <a:pt x="703" y="794"/>
                    </a:lnTo>
                    <a:lnTo>
                      <a:pt x="709" y="794"/>
                    </a:lnTo>
                    <a:lnTo>
                      <a:pt x="709" y="800"/>
                    </a:lnTo>
                    <a:lnTo>
                      <a:pt x="714" y="800"/>
                    </a:lnTo>
                    <a:lnTo>
                      <a:pt x="714" y="805"/>
                    </a:lnTo>
                    <a:lnTo>
                      <a:pt x="714" y="811"/>
                    </a:lnTo>
                    <a:lnTo>
                      <a:pt x="709" y="811"/>
                    </a:lnTo>
                    <a:lnTo>
                      <a:pt x="709" y="817"/>
                    </a:lnTo>
                    <a:lnTo>
                      <a:pt x="709" y="822"/>
                    </a:lnTo>
                    <a:lnTo>
                      <a:pt x="709" y="828"/>
                    </a:lnTo>
                    <a:lnTo>
                      <a:pt x="714" y="828"/>
                    </a:lnTo>
                    <a:lnTo>
                      <a:pt x="726" y="839"/>
                    </a:lnTo>
                    <a:lnTo>
                      <a:pt x="726" y="845"/>
                    </a:lnTo>
                    <a:lnTo>
                      <a:pt x="731" y="845"/>
                    </a:lnTo>
                    <a:lnTo>
                      <a:pt x="737" y="851"/>
                    </a:lnTo>
                    <a:lnTo>
                      <a:pt x="743" y="856"/>
                    </a:lnTo>
                    <a:lnTo>
                      <a:pt x="748" y="868"/>
                    </a:lnTo>
                    <a:lnTo>
                      <a:pt x="754" y="873"/>
                    </a:lnTo>
                    <a:lnTo>
                      <a:pt x="726" y="907"/>
                    </a:lnTo>
                    <a:lnTo>
                      <a:pt x="703" y="919"/>
                    </a:lnTo>
                    <a:lnTo>
                      <a:pt x="703" y="913"/>
                    </a:lnTo>
                    <a:lnTo>
                      <a:pt x="697" y="913"/>
                    </a:lnTo>
                    <a:lnTo>
                      <a:pt x="692" y="913"/>
                    </a:lnTo>
                    <a:lnTo>
                      <a:pt x="692" y="902"/>
                    </a:lnTo>
                    <a:lnTo>
                      <a:pt x="680" y="902"/>
                    </a:lnTo>
                    <a:lnTo>
                      <a:pt x="675" y="902"/>
                    </a:lnTo>
                    <a:lnTo>
                      <a:pt x="669" y="913"/>
                    </a:lnTo>
                    <a:lnTo>
                      <a:pt x="658" y="902"/>
                    </a:lnTo>
                    <a:lnTo>
                      <a:pt x="652" y="902"/>
                    </a:lnTo>
                    <a:lnTo>
                      <a:pt x="652" y="907"/>
                    </a:lnTo>
                    <a:lnTo>
                      <a:pt x="652" y="902"/>
                    </a:lnTo>
                    <a:lnTo>
                      <a:pt x="646" y="896"/>
                    </a:lnTo>
                    <a:lnTo>
                      <a:pt x="629" y="896"/>
                    </a:lnTo>
                    <a:lnTo>
                      <a:pt x="618" y="896"/>
                    </a:lnTo>
                    <a:lnTo>
                      <a:pt x="612" y="896"/>
                    </a:lnTo>
                    <a:lnTo>
                      <a:pt x="607" y="902"/>
                    </a:lnTo>
                    <a:lnTo>
                      <a:pt x="601" y="907"/>
                    </a:lnTo>
                    <a:lnTo>
                      <a:pt x="584" y="902"/>
                    </a:lnTo>
                    <a:lnTo>
                      <a:pt x="578" y="902"/>
                    </a:lnTo>
                    <a:lnTo>
                      <a:pt x="567" y="902"/>
                    </a:lnTo>
                    <a:lnTo>
                      <a:pt x="561" y="902"/>
                    </a:lnTo>
                    <a:lnTo>
                      <a:pt x="561" y="896"/>
                    </a:lnTo>
                    <a:lnTo>
                      <a:pt x="561" y="890"/>
                    </a:lnTo>
                    <a:lnTo>
                      <a:pt x="550" y="890"/>
                    </a:lnTo>
                    <a:lnTo>
                      <a:pt x="544" y="896"/>
                    </a:lnTo>
                    <a:lnTo>
                      <a:pt x="533" y="896"/>
                    </a:lnTo>
                    <a:lnTo>
                      <a:pt x="527" y="902"/>
                    </a:lnTo>
                    <a:lnTo>
                      <a:pt x="522" y="902"/>
                    </a:lnTo>
                    <a:lnTo>
                      <a:pt x="505" y="913"/>
                    </a:lnTo>
                    <a:lnTo>
                      <a:pt x="493" y="913"/>
                    </a:lnTo>
                    <a:lnTo>
                      <a:pt x="493" y="919"/>
                    </a:lnTo>
                    <a:lnTo>
                      <a:pt x="488" y="924"/>
                    </a:lnTo>
                    <a:lnTo>
                      <a:pt x="482" y="924"/>
                    </a:lnTo>
                    <a:lnTo>
                      <a:pt x="476" y="919"/>
                    </a:lnTo>
                    <a:lnTo>
                      <a:pt x="471" y="919"/>
                    </a:lnTo>
                    <a:lnTo>
                      <a:pt x="465" y="919"/>
                    </a:lnTo>
                    <a:lnTo>
                      <a:pt x="454" y="924"/>
                    </a:lnTo>
                    <a:lnTo>
                      <a:pt x="448" y="919"/>
                    </a:lnTo>
                    <a:lnTo>
                      <a:pt x="442" y="919"/>
                    </a:lnTo>
                    <a:lnTo>
                      <a:pt x="442" y="924"/>
                    </a:lnTo>
                    <a:lnTo>
                      <a:pt x="437" y="924"/>
                    </a:lnTo>
                    <a:lnTo>
                      <a:pt x="431" y="919"/>
                    </a:lnTo>
                    <a:lnTo>
                      <a:pt x="420" y="919"/>
                    </a:lnTo>
                    <a:lnTo>
                      <a:pt x="408" y="924"/>
                    </a:lnTo>
                    <a:lnTo>
                      <a:pt x="403" y="936"/>
                    </a:lnTo>
                    <a:lnTo>
                      <a:pt x="397" y="941"/>
                    </a:lnTo>
                    <a:lnTo>
                      <a:pt x="397" y="947"/>
                    </a:lnTo>
                    <a:lnTo>
                      <a:pt x="391" y="947"/>
                    </a:lnTo>
                    <a:lnTo>
                      <a:pt x="391" y="941"/>
                    </a:lnTo>
                    <a:lnTo>
                      <a:pt x="385" y="941"/>
                    </a:lnTo>
                    <a:lnTo>
                      <a:pt x="374" y="941"/>
                    </a:lnTo>
                    <a:lnTo>
                      <a:pt x="368" y="941"/>
                    </a:lnTo>
                    <a:lnTo>
                      <a:pt x="368" y="947"/>
                    </a:lnTo>
                    <a:lnTo>
                      <a:pt x="368" y="953"/>
                    </a:lnTo>
                    <a:lnTo>
                      <a:pt x="357" y="953"/>
                    </a:lnTo>
                    <a:lnTo>
                      <a:pt x="351" y="958"/>
                    </a:lnTo>
                    <a:lnTo>
                      <a:pt x="346" y="958"/>
                    </a:lnTo>
                    <a:lnTo>
                      <a:pt x="334" y="941"/>
                    </a:lnTo>
                    <a:lnTo>
                      <a:pt x="329" y="936"/>
                    </a:lnTo>
                    <a:lnTo>
                      <a:pt x="323" y="930"/>
                    </a:lnTo>
                    <a:lnTo>
                      <a:pt x="329" y="924"/>
                    </a:lnTo>
                    <a:lnTo>
                      <a:pt x="323" y="924"/>
                    </a:lnTo>
                    <a:lnTo>
                      <a:pt x="312" y="913"/>
                    </a:lnTo>
                    <a:lnTo>
                      <a:pt x="312" y="907"/>
                    </a:lnTo>
                    <a:lnTo>
                      <a:pt x="312" y="902"/>
                    </a:lnTo>
                    <a:lnTo>
                      <a:pt x="306" y="902"/>
                    </a:lnTo>
                    <a:lnTo>
                      <a:pt x="306" y="896"/>
                    </a:lnTo>
                    <a:lnTo>
                      <a:pt x="300" y="890"/>
                    </a:lnTo>
                    <a:lnTo>
                      <a:pt x="295" y="885"/>
                    </a:lnTo>
                    <a:lnTo>
                      <a:pt x="295" y="879"/>
                    </a:lnTo>
                    <a:lnTo>
                      <a:pt x="289" y="879"/>
                    </a:lnTo>
                    <a:lnTo>
                      <a:pt x="278" y="885"/>
                    </a:lnTo>
                    <a:lnTo>
                      <a:pt x="272" y="885"/>
                    </a:lnTo>
                    <a:lnTo>
                      <a:pt x="272" y="879"/>
                    </a:lnTo>
                    <a:lnTo>
                      <a:pt x="278" y="879"/>
                    </a:lnTo>
                    <a:lnTo>
                      <a:pt x="272" y="873"/>
                    </a:lnTo>
                    <a:lnTo>
                      <a:pt x="266" y="873"/>
                    </a:lnTo>
                    <a:lnTo>
                      <a:pt x="261" y="868"/>
                    </a:lnTo>
                    <a:lnTo>
                      <a:pt x="255" y="868"/>
                    </a:lnTo>
                    <a:lnTo>
                      <a:pt x="249" y="868"/>
                    </a:lnTo>
                    <a:lnTo>
                      <a:pt x="249" y="862"/>
                    </a:lnTo>
                    <a:lnTo>
                      <a:pt x="244" y="856"/>
                    </a:lnTo>
                    <a:lnTo>
                      <a:pt x="238" y="856"/>
                    </a:lnTo>
                    <a:lnTo>
                      <a:pt x="227" y="856"/>
                    </a:lnTo>
                    <a:lnTo>
                      <a:pt x="221" y="862"/>
                    </a:lnTo>
                    <a:lnTo>
                      <a:pt x="215" y="862"/>
                    </a:lnTo>
                    <a:lnTo>
                      <a:pt x="210" y="845"/>
                    </a:lnTo>
                    <a:lnTo>
                      <a:pt x="204" y="839"/>
                    </a:lnTo>
                    <a:lnTo>
                      <a:pt x="204" y="834"/>
                    </a:lnTo>
                    <a:lnTo>
                      <a:pt x="204" y="828"/>
                    </a:lnTo>
                    <a:lnTo>
                      <a:pt x="204" y="822"/>
                    </a:lnTo>
                    <a:lnTo>
                      <a:pt x="198" y="822"/>
                    </a:lnTo>
                    <a:lnTo>
                      <a:pt x="198" y="828"/>
                    </a:lnTo>
                    <a:lnTo>
                      <a:pt x="198" y="822"/>
                    </a:lnTo>
                    <a:lnTo>
                      <a:pt x="193" y="822"/>
                    </a:lnTo>
                    <a:lnTo>
                      <a:pt x="187" y="817"/>
                    </a:lnTo>
                    <a:lnTo>
                      <a:pt x="181" y="817"/>
                    </a:lnTo>
                    <a:lnTo>
                      <a:pt x="176" y="822"/>
                    </a:lnTo>
                    <a:lnTo>
                      <a:pt x="170" y="822"/>
                    </a:lnTo>
                    <a:lnTo>
                      <a:pt x="164" y="822"/>
                    </a:lnTo>
                    <a:lnTo>
                      <a:pt x="164" y="834"/>
                    </a:lnTo>
                    <a:lnTo>
                      <a:pt x="159" y="834"/>
                    </a:lnTo>
                    <a:lnTo>
                      <a:pt x="153" y="828"/>
                    </a:lnTo>
                    <a:lnTo>
                      <a:pt x="147" y="828"/>
                    </a:lnTo>
                    <a:lnTo>
                      <a:pt x="142" y="828"/>
                    </a:lnTo>
                    <a:lnTo>
                      <a:pt x="142" y="822"/>
                    </a:lnTo>
                    <a:lnTo>
                      <a:pt x="136" y="828"/>
                    </a:lnTo>
                    <a:lnTo>
                      <a:pt x="130" y="822"/>
                    </a:lnTo>
                    <a:lnTo>
                      <a:pt x="125" y="817"/>
                    </a:lnTo>
                    <a:lnTo>
                      <a:pt x="125" y="822"/>
                    </a:lnTo>
                    <a:lnTo>
                      <a:pt x="119" y="822"/>
                    </a:lnTo>
                    <a:lnTo>
                      <a:pt x="119" y="817"/>
                    </a:lnTo>
                    <a:lnTo>
                      <a:pt x="119" y="811"/>
                    </a:lnTo>
                    <a:lnTo>
                      <a:pt x="113" y="811"/>
                    </a:lnTo>
                    <a:lnTo>
                      <a:pt x="108" y="811"/>
                    </a:lnTo>
                    <a:lnTo>
                      <a:pt x="96" y="805"/>
                    </a:lnTo>
                    <a:lnTo>
                      <a:pt x="96" y="811"/>
                    </a:lnTo>
                    <a:lnTo>
                      <a:pt x="91" y="817"/>
                    </a:lnTo>
                    <a:lnTo>
                      <a:pt x="96" y="817"/>
                    </a:lnTo>
                    <a:lnTo>
                      <a:pt x="102" y="817"/>
                    </a:lnTo>
                    <a:lnTo>
                      <a:pt x="96" y="822"/>
                    </a:lnTo>
                    <a:lnTo>
                      <a:pt x="91" y="822"/>
                    </a:lnTo>
                    <a:lnTo>
                      <a:pt x="85" y="822"/>
                    </a:lnTo>
                    <a:lnTo>
                      <a:pt x="85" y="828"/>
                    </a:lnTo>
                    <a:lnTo>
                      <a:pt x="79" y="828"/>
                    </a:lnTo>
                    <a:lnTo>
                      <a:pt x="74" y="828"/>
                    </a:lnTo>
                    <a:lnTo>
                      <a:pt x="74" y="834"/>
                    </a:lnTo>
                    <a:lnTo>
                      <a:pt x="68" y="834"/>
                    </a:lnTo>
                    <a:lnTo>
                      <a:pt x="68" y="839"/>
                    </a:lnTo>
                    <a:lnTo>
                      <a:pt x="68" y="834"/>
                    </a:lnTo>
                    <a:lnTo>
                      <a:pt x="74" y="834"/>
                    </a:lnTo>
                    <a:lnTo>
                      <a:pt x="68" y="828"/>
                    </a:lnTo>
                    <a:lnTo>
                      <a:pt x="62" y="822"/>
                    </a:lnTo>
                    <a:lnTo>
                      <a:pt x="62" y="817"/>
                    </a:lnTo>
                    <a:lnTo>
                      <a:pt x="57" y="811"/>
                    </a:lnTo>
                    <a:lnTo>
                      <a:pt x="51" y="811"/>
                    </a:lnTo>
                    <a:lnTo>
                      <a:pt x="45" y="811"/>
                    </a:lnTo>
                    <a:lnTo>
                      <a:pt x="45" y="817"/>
                    </a:lnTo>
                    <a:lnTo>
                      <a:pt x="40" y="822"/>
                    </a:lnTo>
                    <a:lnTo>
                      <a:pt x="40" y="817"/>
                    </a:lnTo>
                    <a:lnTo>
                      <a:pt x="40" y="811"/>
                    </a:lnTo>
                    <a:lnTo>
                      <a:pt x="34" y="805"/>
                    </a:lnTo>
                    <a:lnTo>
                      <a:pt x="34" y="800"/>
                    </a:lnTo>
                    <a:lnTo>
                      <a:pt x="28" y="800"/>
                    </a:lnTo>
                    <a:lnTo>
                      <a:pt x="23" y="805"/>
                    </a:lnTo>
                    <a:lnTo>
                      <a:pt x="17" y="805"/>
                    </a:lnTo>
                    <a:lnTo>
                      <a:pt x="11" y="800"/>
                    </a:lnTo>
                    <a:lnTo>
                      <a:pt x="6" y="800"/>
                    </a:lnTo>
                    <a:lnTo>
                      <a:pt x="0" y="794"/>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1100"/>
              </a:p>
            </p:txBody>
          </p:sp>
          <p:sp>
            <p:nvSpPr>
              <p:cNvPr id="17" name="Freeform 12"/>
              <p:cNvSpPr>
                <a:spLocks/>
              </p:cNvSpPr>
              <p:nvPr>
                <p:custDataLst>
                  <p:tags r:id="rId7"/>
                </p:custDataLst>
              </p:nvPr>
            </p:nvSpPr>
            <p:spPr bwMode="gray">
              <a:xfrm>
                <a:off x="2956" y="1274"/>
                <a:ext cx="806" cy="479"/>
              </a:xfrm>
              <a:custGeom>
                <a:avLst/>
                <a:gdLst>
                  <a:gd name="T0" fmla="*/ 19116 w 1451"/>
                  <a:gd name="T1" fmla="*/ 308550 h 862"/>
                  <a:gd name="T2" fmla="*/ 38722 w 1451"/>
                  <a:gd name="T3" fmla="*/ 291872 h 862"/>
                  <a:gd name="T4" fmla="*/ 60779 w 1451"/>
                  <a:gd name="T5" fmla="*/ 281080 h 862"/>
                  <a:gd name="T6" fmla="*/ 66660 w 1451"/>
                  <a:gd name="T7" fmla="*/ 253119 h 862"/>
                  <a:gd name="T8" fmla="*/ 74993 w 1451"/>
                  <a:gd name="T9" fmla="*/ 225158 h 862"/>
                  <a:gd name="T10" fmla="*/ 80384 w 1451"/>
                  <a:gd name="T11" fmla="*/ 200141 h 862"/>
                  <a:gd name="T12" fmla="*/ 88717 w 1451"/>
                  <a:gd name="T13" fmla="*/ 197688 h 862"/>
                  <a:gd name="T14" fmla="*/ 102441 w 1451"/>
                  <a:gd name="T15" fmla="*/ 186405 h 862"/>
                  <a:gd name="T16" fmla="*/ 119106 w 1451"/>
                  <a:gd name="T17" fmla="*/ 175123 h 862"/>
                  <a:gd name="T18" fmla="*/ 133321 w 1451"/>
                  <a:gd name="T19" fmla="*/ 172671 h 862"/>
                  <a:gd name="T20" fmla="*/ 155378 w 1451"/>
                  <a:gd name="T21" fmla="*/ 155502 h 862"/>
                  <a:gd name="T22" fmla="*/ 169102 w 1451"/>
                  <a:gd name="T23" fmla="*/ 144710 h 862"/>
                  <a:gd name="T24" fmla="*/ 183316 w 1451"/>
                  <a:gd name="T25" fmla="*/ 136371 h 862"/>
                  <a:gd name="T26" fmla="*/ 202432 w 1451"/>
                  <a:gd name="T27" fmla="*/ 119692 h 862"/>
                  <a:gd name="T28" fmla="*/ 219098 w 1451"/>
                  <a:gd name="T29" fmla="*/ 100070 h 862"/>
                  <a:gd name="T30" fmla="*/ 241644 w 1451"/>
                  <a:gd name="T31" fmla="*/ 72110 h 862"/>
                  <a:gd name="T32" fmla="*/ 280366 w 1451"/>
                  <a:gd name="T33" fmla="*/ 61318 h 862"/>
                  <a:gd name="T34" fmla="*/ 308305 w 1451"/>
                  <a:gd name="T35" fmla="*/ 50035 h 862"/>
                  <a:gd name="T36" fmla="*/ 335753 w 1451"/>
                  <a:gd name="T37" fmla="*/ 41696 h 862"/>
                  <a:gd name="T38" fmla="*/ 347027 w 1451"/>
                  <a:gd name="T39" fmla="*/ 13735 h 862"/>
                  <a:gd name="T40" fmla="*/ 374966 w 1451"/>
                  <a:gd name="T41" fmla="*/ 8339 h 862"/>
                  <a:gd name="T42" fmla="*/ 399963 w 1451"/>
                  <a:gd name="T43" fmla="*/ 8339 h 862"/>
                  <a:gd name="T44" fmla="*/ 424961 w 1451"/>
                  <a:gd name="T45" fmla="*/ 5396 h 862"/>
                  <a:gd name="T46" fmla="*/ 452899 w 1451"/>
                  <a:gd name="T47" fmla="*/ 5396 h 862"/>
                  <a:gd name="T48" fmla="*/ 477897 w 1451"/>
                  <a:gd name="T49" fmla="*/ 16678 h 862"/>
                  <a:gd name="T50" fmla="*/ 502895 w 1451"/>
                  <a:gd name="T51" fmla="*/ 22075 h 862"/>
                  <a:gd name="T52" fmla="*/ 538676 w 1451"/>
                  <a:gd name="T53" fmla="*/ 25017 h 862"/>
                  <a:gd name="T54" fmla="*/ 558281 w 1451"/>
                  <a:gd name="T55" fmla="*/ 25017 h 862"/>
                  <a:gd name="T56" fmla="*/ 591612 w 1451"/>
                  <a:gd name="T57" fmla="*/ 22075 h 862"/>
                  <a:gd name="T58" fmla="*/ 619551 w 1451"/>
                  <a:gd name="T59" fmla="*/ 27961 h 862"/>
                  <a:gd name="T60" fmla="*/ 644548 w 1451"/>
                  <a:gd name="T61" fmla="*/ 38753 h 862"/>
                  <a:gd name="T62" fmla="*/ 669546 w 1451"/>
                  <a:gd name="T63" fmla="*/ 169727 h 862"/>
                  <a:gd name="T64" fmla="*/ 702876 w 1451"/>
                  <a:gd name="T65" fmla="*/ 244780 h 862"/>
                  <a:gd name="T66" fmla="*/ 683270 w 1451"/>
                  <a:gd name="T67" fmla="*/ 256062 h 862"/>
                  <a:gd name="T68" fmla="*/ 663664 w 1451"/>
                  <a:gd name="T69" fmla="*/ 256062 h 862"/>
                  <a:gd name="T70" fmla="*/ 644548 w 1451"/>
                  <a:gd name="T71" fmla="*/ 256062 h 862"/>
                  <a:gd name="T72" fmla="*/ 652881 w 1451"/>
                  <a:gd name="T73" fmla="*/ 281080 h 862"/>
                  <a:gd name="T74" fmla="*/ 666605 w 1451"/>
                  <a:gd name="T75" fmla="*/ 328172 h 862"/>
                  <a:gd name="T76" fmla="*/ 644548 w 1451"/>
                  <a:gd name="T77" fmla="*/ 344851 h 862"/>
                  <a:gd name="T78" fmla="*/ 646999 w 1451"/>
                  <a:gd name="T79" fmla="*/ 372811 h 862"/>
                  <a:gd name="T80" fmla="*/ 622001 w 1451"/>
                  <a:gd name="T81" fmla="*/ 383603 h 862"/>
                  <a:gd name="T82" fmla="*/ 605336 w 1451"/>
                  <a:gd name="T83" fmla="*/ 369868 h 862"/>
                  <a:gd name="T84" fmla="*/ 586220 w 1451"/>
                  <a:gd name="T85" fmla="*/ 336511 h 862"/>
                  <a:gd name="T86" fmla="*/ 561223 w 1451"/>
                  <a:gd name="T87" fmla="*/ 308550 h 862"/>
                  <a:gd name="T88" fmla="*/ 527892 w 1451"/>
                  <a:gd name="T89" fmla="*/ 339454 h 862"/>
                  <a:gd name="T90" fmla="*/ 508286 w 1451"/>
                  <a:gd name="T91" fmla="*/ 333568 h 862"/>
                  <a:gd name="T92" fmla="*/ 455350 w 1451"/>
                  <a:gd name="T93" fmla="*/ 369868 h 862"/>
                  <a:gd name="T94" fmla="*/ 433293 w 1451"/>
                  <a:gd name="T95" fmla="*/ 403225 h 862"/>
                  <a:gd name="T96" fmla="*/ 391630 w 1451"/>
                  <a:gd name="T97" fmla="*/ 386546 h 862"/>
                  <a:gd name="T98" fmla="*/ 383298 w 1451"/>
                  <a:gd name="T99" fmla="*/ 369868 h 862"/>
                  <a:gd name="T100" fmla="*/ 355359 w 1451"/>
                  <a:gd name="T101" fmla="*/ 366925 h 862"/>
                  <a:gd name="T102" fmla="*/ 308305 w 1451"/>
                  <a:gd name="T103" fmla="*/ 369868 h 862"/>
                  <a:gd name="T104" fmla="*/ 263701 w 1451"/>
                  <a:gd name="T105" fmla="*/ 394885 h 862"/>
                  <a:gd name="T106" fmla="*/ 266642 w 1451"/>
                  <a:gd name="T107" fmla="*/ 406168 h 862"/>
                  <a:gd name="T108" fmla="*/ 249977 w 1451"/>
                  <a:gd name="T109" fmla="*/ 422846 h 862"/>
                  <a:gd name="T110" fmla="*/ 219098 w 1451"/>
                  <a:gd name="T111" fmla="*/ 403225 h 862"/>
                  <a:gd name="T112" fmla="*/ 230371 w 1451"/>
                  <a:gd name="T113" fmla="*/ 386546 h 862"/>
                  <a:gd name="T114" fmla="*/ 177434 w 1451"/>
                  <a:gd name="T115" fmla="*/ 378207 h 862"/>
                  <a:gd name="T116" fmla="*/ 149986 w 1451"/>
                  <a:gd name="T117" fmla="*/ 386546 h 862"/>
                  <a:gd name="T118" fmla="*/ 119106 w 1451"/>
                  <a:gd name="T119" fmla="*/ 389490 h 862"/>
                  <a:gd name="T120" fmla="*/ 83326 w 1451"/>
                  <a:gd name="T121" fmla="*/ 358585 h 862"/>
                  <a:gd name="T122" fmla="*/ 47055 w 1451"/>
                  <a:gd name="T123" fmla="*/ 361529 h 862"/>
                  <a:gd name="T124" fmla="*/ 2451 w 1451"/>
                  <a:gd name="T125" fmla="*/ 350246 h 86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451" h="862">
                    <a:moveTo>
                      <a:pt x="0" y="675"/>
                    </a:moveTo>
                    <a:lnTo>
                      <a:pt x="5" y="675"/>
                    </a:lnTo>
                    <a:lnTo>
                      <a:pt x="5" y="669"/>
                    </a:lnTo>
                    <a:lnTo>
                      <a:pt x="11" y="669"/>
                    </a:lnTo>
                    <a:lnTo>
                      <a:pt x="17" y="663"/>
                    </a:lnTo>
                    <a:lnTo>
                      <a:pt x="22" y="646"/>
                    </a:lnTo>
                    <a:lnTo>
                      <a:pt x="28" y="641"/>
                    </a:lnTo>
                    <a:lnTo>
                      <a:pt x="28" y="635"/>
                    </a:lnTo>
                    <a:lnTo>
                      <a:pt x="34" y="635"/>
                    </a:lnTo>
                    <a:lnTo>
                      <a:pt x="34" y="629"/>
                    </a:lnTo>
                    <a:lnTo>
                      <a:pt x="39" y="629"/>
                    </a:lnTo>
                    <a:lnTo>
                      <a:pt x="39" y="624"/>
                    </a:lnTo>
                    <a:lnTo>
                      <a:pt x="45" y="624"/>
                    </a:lnTo>
                    <a:lnTo>
                      <a:pt x="45" y="618"/>
                    </a:lnTo>
                    <a:lnTo>
                      <a:pt x="51" y="618"/>
                    </a:lnTo>
                    <a:lnTo>
                      <a:pt x="56" y="612"/>
                    </a:lnTo>
                    <a:lnTo>
                      <a:pt x="62" y="612"/>
                    </a:lnTo>
                    <a:lnTo>
                      <a:pt x="68" y="612"/>
                    </a:lnTo>
                    <a:lnTo>
                      <a:pt x="73" y="607"/>
                    </a:lnTo>
                    <a:lnTo>
                      <a:pt x="73" y="601"/>
                    </a:lnTo>
                    <a:lnTo>
                      <a:pt x="73" y="595"/>
                    </a:lnTo>
                    <a:lnTo>
                      <a:pt x="79" y="595"/>
                    </a:lnTo>
                    <a:lnTo>
                      <a:pt x="79" y="590"/>
                    </a:lnTo>
                    <a:lnTo>
                      <a:pt x="85" y="590"/>
                    </a:lnTo>
                    <a:lnTo>
                      <a:pt x="90" y="590"/>
                    </a:lnTo>
                    <a:lnTo>
                      <a:pt x="96" y="590"/>
                    </a:lnTo>
                    <a:lnTo>
                      <a:pt x="102" y="590"/>
                    </a:lnTo>
                    <a:lnTo>
                      <a:pt x="107" y="584"/>
                    </a:lnTo>
                    <a:lnTo>
                      <a:pt x="113" y="584"/>
                    </a:lnTo>
                    <a:lnTo>
                      <a:pt x="113" y="578"/>
                    </a:lnTo>
                    <a:lnTo>
                      <a:pt x="119" y="578"/>
                    </a:lnTo>
                    <a:lnTo>
                      <a:pt x="124" y="578"/>
                    </a:lnTo>
                    <a:lnTo>
                      <a:pt x="124" y="573"/>
                    </a:lnTo>
                    <a:lnTo>
                      <a:pt x="124" y="567"/>
                    </a:lnTo>
                    <a:lnTo>
                      <a:pt x="124" y="561"/>
                    </a:lnTo>
                    <a:lnTo>
                      <a:pt x="124" y="556"/>
                    </a:lnTo>
                    <a:lnTo>
                      <a:pt x="124" y="550"/>
                    </a:lnTo>
                    <a:lnTo>
                      <a:pt x="130" y="550"/>
                    </a:lnTo>
                    <a:lnTo>
                      <a:pt x="124" y="544"/>
                    </a:lnTo>
                    <a:lnTo>
                      <a:pt x="124" y="539"/>
                    </a:lnTo>
                    <a:lnTo>
                      <a:pt x="124" y="533"/>
                    </a:lnTo>
                    <a:lnTo>
                      <a:pt x="130" y="527"/>
                    </a:lnTo>
                    <a:lnTo>
                      <a:pt x="130" y="522"/>
                    </a:lnTo>
                    <a:lnTo>
                      <a:pt x="136" y="516"/>
                    </a:lnTo>
                    <a:lnTo>
                      <a:pt x="136" y="510"/>
                    </a:lnTo>
                    <a:lnTo>
                      <a:pt x="136" y="505"/>
                    </a:lnTo>
                    <a:lnTo>
                      <a:pt x="136" y="499"/>
                    </a:lnTo>
                    <a:lnTo>
                      <a:pt x="141" y="499"/>
                    </a:lnTo>
                    <a:lnTo>
                      <a:pt x="141" y="493"/>
                    </a:lnTo>
                    <a:lnTo>
                      <a:pt x="141" y="488"/>
                    </a:lnTo>
                    <a:lnTo>
                      <a:pt x="147" y="482"/>
                    </a:lnTo>
                    <a:lnTo>
                      <a:pt x="147" y="476"/>
                    </a:lnTo>
                    <a:lnTo>
                      <a:pt x="147" y="471"/>
                    </a:lnTo>
                    <a:lnTo>
                      <a:pt x="147" y="465"/>
                    </a:lnTo>
                    <a:lnTo>
                      <a:pt x="153" y="459"/>
                    </a:lnTo>
                    <a:lnTo>
                      <a:pt x="147" y="459"/>
                    </a:lnTo>
                    <a:lnTo>
                      <a:pt x="147" y="454"/>
                    </a:lnTo>
                    <a:lnTo>
                      <a:pt x="147" y="448"/>
                    </a:lnTo>
                    <a:lnTo>
                      <a:pt x="153" y="448"/>
                    </a:lnTo>
                    <a:lnTo>
                      <a:pt x="153" y="442"/>
                    </a:lnTo>
                    <a:lnTo>
                      <a:pt x="153" y="437"/>
                    </a:lnTo>
                    <a:lnTo>
                      <a:pt x="158" y="425"/>
                    </a:lnTo>
                    <a:lnTo>
                      <a:pt x="164" y="425"/>
                    </a:lnTo>
                    <a:lnTo>
                      <a:pt x="164" y="420"/>
                    </a:lnTo>
                    <a:lnTo>
                      <a:pt x="164" y="414"/>
                    </a:lnTo>
                    <a:lnTo>
                      <a:pt x="164" y="408"/>
                    </a:lnTo>
                    <a:lnTo>
                      <a:pt x="170" y="408"/>
                    </a:lnTo>
                    <a:lnTo>
                      <a:pt x="170" y="414"/>
                    </a:lnTo>
                    <a:lnTo>
                      <a:pt x="175" y="414"/>
                    </a:lnTo>
                    <a:lnTo>
                      <a:pt x="170" y="420"/>
                    </a:lnTo>
                    <a:lnTo>
                      <a:pt x="175" y="420"/>
                    </a:lnTo>
                    <a:lnTo>
                      <a:pt x="181" y="420"/>
                    </a:lnTo>
                    <a:lnTo>
                      <a:pt x="181" y="414"/>
                    </a:lnTo>
                    <a:lnTo>
                      <a:pt x="187" y="414"/>
                    </a:lnTo>
                    <a:lnTo>
                      <a:pt x="187" y="408"/>
                    </a:lnTo>
                    <a:lnTo>
                      <a:pt x="181" y="408"/>
                    </a:lnTo>
                    <a:lnTo>
                      <a:pt x="181" y="403"/>
                    </a:lnTo>
                    <a:lnTo>
                      <a:pt x="187" y="403"/>
                    </a:lnTo>
                    <a:lnTo>
                      <a:pt x="187" y="397"/>
                    </a:lnTo>
                    <a:lnTo>
                      <a:pt x="192" y="397"/>
                    </a:lnTo>
                    <a:lnTo>
                      <a:pt x="192" y="391"/>
                    </a:lnTo>
                    <a:lnTo>
                      <a:pt x="198" y="391"/>
                    </a:lnTo>
                    <a:lnTo>
                      <a:pt x="204" y="391"/>
                    </a:lnTo>
                    <a:lnTo>
                      <a:pt x="204" y="386"/>
                    </a:lnTo>
                    <a:lnTo>
                      <a:pt x="198" y="386"/>
                    </a:lnTo>
                    <a:lnTo>
                      <a:pt x="198" y="380"/>
                    </a:lnTo>
                    <a:lnTo>
                      <a:pt x="204" y="380"/>
                    </a:lnTo>
                    <a:lnTo>
                      <a:pt x="209" y="380"/>
                    </a:lnTo>
                    <a:lnTo>
                      <a:pt x="215" y="380"/>
                    </a:lnTo>
                    <a:lnTo>
                      <a:pt x="221" y="380"/>
                    </a:lnTo>
                    <a:lnTo>
                      <a:pt x="215" y="374"/>
                    </a:lnTo>
                    <a:lnTo>
                      <a:pt x="221" y="369"/>
                    </a:lnTo>
                    <a:lnTo>
                      <a:pt x="226" y="374"/>
                    </a:lnTo>
                    <a:lnTo>
                      <a:pt x="226" y="369"/>
                    </a:lnTo>
                    <a:lnTo>
                      <a:pt x="232" y="369"/>
                    </a:lnTo>
                    <a:lnTo>
                      <a:pt x="238" y="369"/>
                    </a:lnTo>
                    <a:lnTo>
                      <a:pt x="238" y="363"/>
                    </a:lnTo>
                    <a:lnTo>
                      <a:pt x="243" y="363"/>
                    </a:lnTo>
                    <a:lnTo>
                      <a:pt x="243" y="357"/>
                    </a:lnTo>
                    <a:lnTo>
                      <a:pt x="249" y="357"/>
                    </a:lnTo>
                    <a:lnTo>
                      <a:pt x="249" y="352"/>
                    </a:lnTo>
                    <a:lnTo>
                      <a:pt x="249" y="346"/>
                    </a:lnTo>
                    <a:lnTo>
                      <a:pt x="255" y="346"/>
                    </a:lnTo>
                    <a:lnTo>
                      <a:pt x="260" y="346"/>
                    </a:lnTo>
                    <a:lnTo>
                      <a:pt x="255" y="352"/>
                    </a:lnTo>
                    <a:lnTo>
                      <a:pt x="260" y="352"/>
                    </a:lnTo>
                    <a:lnTo>
                      <a:pt x="266" y="352"/>
                    </a:lnTo>
                    <a:lnTo>
                      <a:pt x="266" y="346"/>
                    </a:lnTo>
                    <a:lnTo>
                      <a:pt x="272" y="346"/>
                    </a:lnTo>
                    <a:lnTo>
                      <a:pt x="272" y="352"/>
                    </a:lnTo>
                    <a:lnTo>
                      <a:pt x="277" y="352"/>
                    </a:lnTo>
                    <a:lnTo>
                      <a:pt x="277" y="346"/>
                    </a:lnTo>
                    <a:lnTo>
                      <a:pt x="283" y="340"/>
                    </a:lnTo>
                    <a:lnTo>
                      <a:pt x="289" y="340"/>
                    </a:lnTo>
                    <a:lnTo>
                      <a:pt x="300" y="340"/>
                    </a:lnTo>
                    <a:lnTo>
                      <a:pt x="306" y="340"/>
                    </a:lnTo>
                    <a:lnTo>
                      <a:pt x="306" y="335"/>
                    </a:lnTo>
                    <a:lnTo>
                      <a:pt x="311" y="335"/>
                    </a:lnTo>
                    <a:lnTo>
                      <a:pt x="317" y="329"/>
                    </a:lnTo>
                    <a:lnTo>
                      <a:pt x="317" y="323"/>
                    </a:lnTo>
                    <a:lnTo>
                      <a:pt x="317" y="317"/>
                    </a:lnTo>
                    <a:lnTo>
                      <a:pt x="317" y="312"/>
                    </a:lnTo>
                    <a:lnTo>
                      <a:pt x="317" y="306"/>
                    </a:lnTo>
                    <a:lnTo>
                      <a:pt x="323" y="306"/>
                    </a:lnTo>
                    <a:lnTo>
                      <a:pt x="323" y="300"/>
                    </a:lnTo>
                    <a:lnTo>
                      <a:pt x="323" y="295"/>
                    </a:lnTo>
                    <a:lnTo>
                      <a:pt x="328" y="295"/>
                    </a:lnTo>
                    <a:lnTo>
                      <a:pt x="328" y="300"/>
                    </a:lnTo>
                    <a:lnTo>
                      <a:pt x="334" y="300"/>
                    </a:lnTo>
                    <a:lnTo>
                      <a:pt x="340" y="300"/>
                    </a:lnTo>
                    <a:lnTo>
                      <a:pt x="340" y="295"/>
                    </a:lnTo>
                    <a:lnTo>
                      <a:pt x="345" y="295"/>
                    </a:lnTo>
                    <a:lnTo>
                      <a:pt x="351" y="295"/>
                    </a:lnTo>
                    <a:lnTo>
                      <a:pt x="357" y="300"/>
                    </a:lnTo>
                    <a:lnTo>
                      <a:pt x="362" y="300"/>
                    </a:lnTo>
                    <a:lnTo>
                      <a:pt x="362" y="295"/>
                    </a:lnTo>
                    <a:lnTo>
                      <a:pt x="368" y="289"/>
                    </a:lnTo>
                    <a:lnTo>
                      <a:pt x="374" y="283"/>
                    </a:lnTo>
                    <a:lnTo>
                      <a:pt x="374" y="278"/>
                    </a:lnTo>
                    <a:lnTo>
                      <a:pt x="368" y="278"/>
                    </a:lnTo>
                    <a:lnTo>
                      <a:pt x="368" y="272"/>
                    </a:lnTo>
                    <a:lnTo>
                      <a:pt x="374" y="272"/>
                    </a:lnTo>
                    <a:lnTo>
                      <a:pt x="374" y="278"/>
                    </a:lnTo>
                    <a:lnTo>
                      <a:pt x="379" y="278"/>
                    </a:lnTo>
                    <a:lnTo>
                      <a:pt x="385" y="272"/>
                    </a:lnTo>
                    <a:lnTo>
                      <a:pt x="385" y="266"/>
                    </a:lnTo>
                    <a:lnTo>
                      <a:pt x="391" y="266"/>
                    </a:lnTo>
                    <a:lnTo>
                      <a:pt x="396" y="266"/>
                    </a:lnTo>
                    <a:lnTo>
                      <a:pt x="396" y="261"/>
                    </a:lnTo>
                    <a:lnTo>
                      <a:pt x="402" y="261"/>
                    </a:lnTo>
                    <a:lnTo>
                      <a:pt x="408" y="255"/>
                    </a:lnTo>
                    <a:lnTo>
                      <a:pt x="413" y="255"/>
                    </a:lnTo>
                    <a:lnTo>
                      <a:pt x="413" y="249"/>
                    </a:lnTo>
                    <a:lnTo>
                      <a:pt x="413" y="244"/>
                    </a:lnTo>
                    <a:lnTo>
                      <a:pt x="413" y="238"/>
                    </a:lnTo>
                    <a:lnTo>
                      <a:pt x="419" y="238"/>
                    </a:lnTo>
                    <a:lnTo>
                      <a:pt x="419" y="232"/>
                    </a:lnTo>
                    <a:lnTo>
                      <a:pt x="413" y="227"/>
                    </a:lnTo>
                    <a:lnTo>
                      <a:pt x="419" y="227"/>
                    </a:lnTo>
                    <a:lnTo>
                      <a:pt x="425" y="227"/>
                    </a:lnTo>
                    <a:lnTo>
                      <a:pt x="430" y="221"/>
                    </a:lnTo>
                    <a:lnTo>
                      <a:pt x="436" y="221"/>
                    </a:lnTo>
                    <a:lnTo>
                      <a:pt x="442" y="215"/>
                    </a:lnTo>
                    <a:lnTo>
                      <a:pt x="447" y="210"/>
                    </a:lnTo>
                    <a:lnTo>
                      <a:pt x="447" y="204"/>
                    </a:lnTo>
                    <a:lnTo>
                      <a:pt x="447" y="198"/>
                    </a:lnTo>
                    <a:lnTo>
                      <a:pt x="447" y="193"/>
                    </a:lnTo>
                    <a:lnTo>
                      <a:pt x="459" y="187"/>
                    </a:lnTo>
                    <a:lnTo>
                      <a:pt x="464" y="181"/>
                    </a:lnTo>
                    <a:lnTo>
                      <a:pt x="476" y="176"/>
                    </a:lnTo>
                    <a:lnTo>
                      <a:pt x="476" y="170"/>
                    </a:lnTo>
                    <a:lnTo>
                      <a:pt x="476" y="159"/>
                    </a:lnTo>
                    <a:lnTo>
                      <a:pt x="481" y="159"/>
                    </a:lnTo>
                    <a:lnTo>
                      <a:pt x="481" y="153"/>
                    </a:lnTo>
                    <a:lnTo>
                      <a:pt x="487" y="147"/>
                    </a:lnTo>
                    <a:lnTo>
                      <a:pt x="493" y="147"/>
                    </a:lnTo>
                    <a:lnTo>
                      <a:pt x="504" y="142"/>
                    </a:lnTo>
                    <a:lnTo>
                      <a:pt x="510" y="136"/>
                    </a:lnTo>
                    <a:lnTo>
                      <a:pt x="515" y="130"/>
                    </a:lnTo>
                    <a:lnTo>
                      <a:pt x="521" y="130"/>
                    </a:lnTo>
                    <a:lnTo>
                      <a:pt x="527" y="125"/>
                    </a:lnTo>
                    <a:lnTo>
                      <a:pt x="532" y="125"/>
                    </a:lnTo>
                    <a:lnTo>
                      <a:pt x="544" y="119"/>
                    </a:lnTo>
                    <a:lnTo>
                      <a:pt x="555" y="119"/>
                    </a:lnTo>
                    <a:lnTo>
                      <a:pt x="561" y="119"/>
                    </a:lnTo>
                    <a:lnTo>
                      <a:pt x="566" y="125"/>
                    </a:lnTo>
                    <a:lnTo>
                      <a:pt x="572" y="125"/>
                    </a:lnTo>
                    <a:lnTo>
                      <a:pt x="578" y="125"/>
                    </a:lnTo>
                    <a:lnTo>
                      <a:pt x="583" y="119"/>
                    </a:lnTo>
                    <a:lnTo>
                      <a:pt x="589" y="119"/>
                    </a:lnTo>
                    <a:lnTo>
                      <a:pt x="595" y="119"/>
                    </a:lnTo>
                    <a:lnTo>
                      <a:pt x="600" y="119"/>
                    </a:lnTo>
                    <a:lnTo>
                      <a:pt x="612" y="113"/>
                    </a:lnTo>
                    <a:lnTo>
                      <a:pt x="617" y="113"/>
                    </a:lnTo>
                    <a:lnTo>
                      <a:pt x="617" y="108"/>
                    </a:lnTo>
                    <a:lnTo>
                      <a:pt x="623" y="108"/>
                    </a:lnTo>
                    <a:lnTo>
                      <a:pt x="629" y="108"/>
                    </a:lnTo>
                    <a:lnTo>
                      <a:pt x="629" y="102"/>
                    </a:lnTo>
                    <a:lnTo>
                      <a:pt x="634" y="102"/>
                    </a:lnTo>
                    <a:lnTo>
                      <a:pt x="640" y="102"/>
                    </a:lnTo>
                    <a:lnTo>
                      <a:pt x="651" y="96"/>
                    </a:lnTo>
                    <a:lnTo>
                      <a:pt x="657" y="96"/>
                    </a:lnTo>
                    <a:lnTo>
                      <a:pt x="657" y="91"/>
                    </a:lnTo>
                    <a:lnTo>
                      <a:pt x="663" y="91"/>
                    </a:lnTo>
                    <a:lnTo>
                      <a:pt x="668" y="91"/>
                    </a:lnTo>
                    <a:lnTo>
                      <a:pt x="668" y="85"/>
                    </a:lnTo>
                    <a:lnTo>
                      <a:pt x="674" y="91"/>
                    </a:lnTo>
                    <a:lnTo>
                      <a:pt x="680" y="91"/>
                    </a:lnTo>
                    <a:lnTo>
                      <a:pt x="685" y="85"/>
                    </a:lnTo>
                    <a:lnTo>
                      <a:pt x="691" y="74"/>
                    </a:lnTo>
                    <a:lnTo>
                      <a:pt x="691" y="68"/>
                    </a:lnTo>
                    <a:lnTo>
                      <a:pt x="697" y="68"/>
                    </a:lnTo>
                    <a:lnTo>
                      <a:pt x="691" y="57"/>
                    </a:lnTo>
                    <a:lnTo>
                      <a:pt x="691" y="51"/>
                    </a:lnTo>
                    <a:lnTo>
                      <a:pt x="697" y="51"/>
                    </a:lnTo>
                    <a:lnTo>
                      <a:pt x="697" y="45"/>
                    </a:lnTo>
                    <a:lnTo>
                      <a:pt x="702" y="45"/>
                    </a:lnTo>
                    <a:lnTo>
                      <a:pt x="702" y="40"/>
                    </a:lnTo>
                    <a:lnTo>
                      <a:pt x="708" y="34"/>
                    </a:lnTo>
                    <a:lnTo>
                      <a:pt x="708" y="28"/>
                    </a:lnTo>
                    <a:lnTo>
                      <a:pt x="714" y="28"/>
                    </a:lnTo>
                    <a:lnTo>
                      <a:pt x="719" y="28"/>
                    </a:lnTo>
                    <a:lnTo>
                      <a:pt x="725" y="28"/>
                    </a:lnTo>
                    <a:lnTo>
                      <a:pt x="731" y="28"/>
                    </a:lnTo>
                    <a:lnTo>
                      <a:pt x="731" y="23"/>
                    </a:lnTo>
                    <a:lnTo>
                      <a:pt x="736" y="23"/>
                    </a:lnTo>
                    <a:lnTo>
                      <a:pt x="742" y="23"/>
                    </a:lnTo>
                    <a:lnTo>
                      <a:pt x="748" y="23"/>
                    </a:lnTo>
                    <a:lnTo>
                      <a:pt x="753" y="17"/>
                    </a:lnTo>
                    <a:lnTo>
                      <a:pt x="759" y="17"/>
                    </a:lnTo>
                    <a:lnTo>
                      <a:pt x="765" y="17"/>
                    </a:lnTo>
                    <a:lnTo>
                      <a:pt x="770" y="17"/>
                    </a:lnTo>
                    <a:lnTo>
                      <a:pt x="776" y="17"/>
                    </a:lnTo>
                    <a:lnTo>
                      <a:pt x="782" y="17"/>
                    </a:lnTo>
                    <a:lnTo>
                      <a:pt x="787" y="17"/>
                    </a:lnTo>
                    <a:lnTo>
                      <a:pt x="787" y="23"/>
                    </a:lnTo>
                    <a:lnTo>
                      <a:pt x="793" y="23"/>
                    </a:lnTo>
                    <a:lnTo>
                      <a:pt x="799" y="23"/>
                    </a:lnTo>
                    <a:lnTo>
                      <a:pt x="804" y="23"/>
                    </a:lnTo>
                    <a:lnTo>
                      <a:pt x="804" y="17"/>
                    </a:lnTo>
                    <a:lnTo>
                      <a:pt x="810" y="17"/>
                    </a:lnTo>
                    <a:lnTo>
                      <a:pt x="816" y="17"/>
                    </a:lnTo>
                    <a:lnTo>
                      <a:pt x="821" y="11"/>
                    </a:lnTo>
                    <a:lnTo>
                      <a:pt x="827" y="11"/>
                    </a:lnTo>
                    <a:lnTo>
                      <a:pt x="833" y="17"/>
                    </a:lnTo>
                    <a:lnTo>
                      <a:pt x="838" y="17"/>
                    </a:lnTo>
                    <a:lnTo>
                      <a:pt x="844" y="17"/>
                    </a:lnTo>
                    <a:lnTo>
                      <a:pt x="844" y="11"/>
                    </a:lnTo>
                    <a:lnTo>
                      <a:pt x="850" y="6"/>
                    </a:lnTo>
                    <a:lnTo>
                      <a:pt x="855" y="6"/>
                    </a:lnTo>
                    <a:lnTo>
                      <a:pt x="861" y="6"/>
                    </a:lnTo>
                    <a:lnTo>
                      <a:pt x="861" y="11"/>
                    </a:lnTo>
                    <a:lnTo>
                      <a:pt x="867" y="11"/>
                    </a:lnTo>
                    <a:lnTo>
                      <a:pt x="867" y="6"/>
                    </a:lnTo>
                    <a:lnTo>
                      <a:pt x="873" y="6"/>
                    </a:lnTo>
                    <a:lnTo>
                      <a:pt x="878" y="0"/>
                    </a:lnTo>
                    <a:lnTo>
                      <a:pt x="878" y="6"/>
                    </a:lnTo>
                    <a:lnTo>
                      <a:pt x="884" y="6"/>
                    </a:lnTo>
                    <a:lnTo>
                      <a:pt x="890" y="6"/>
                    </a:lnTo>
                    <a:lnTo>
                      <a:pt x="895" y="6"/>
                    </a:lnTo>
                    <a:lnTo>
                      <a:pt x="901" y="6"/>
                    </a:lnTo>
                    <a:lnTo>
                      <a:pt x="907" y="6"/>
                    </a:lnTo>
                    <a:lnTo>
                      <a:pt x="918" y="11"/>
                    </a:lnTo>
                    <a:lnTo>
                      <a:pt x="924" y="11"/>
                    </a:lnTo>
                    <a:lnTo>
                      <a:pt x="924" y="17"/>
                    </a:lnTo>
                    <a:lnTo>
                      <a:pt x="929" y="11"/>
                    </a:lnTo>
                    <a:lnTo>
                      <a:pt x="929" y="17"/>
                    </a:lnTo>
                    <a:lnTo>
                      <a:pt x="935" y="17"/>
                    </a:lnTo>
                    <a:lnTo>
                      <a:pt x="941" y="17"/>
                    </a:lnTo>
                    <a:lnTo>
                      <a:pt x="946" y="17"/>
                    </a:lnTo>
                    <a:lnTo>
                      <a:pt x="952" y="23"/>
                    </a:lnTo>
                    <a:lnTo>
                      <a:pt x="958" y="28"/>
                    </a:lnTo>
                    <a:lnTo>
                      <a:pt x="963" y="28"/>
                    </a:lnTo>
                    <a:lnTo>
                      <a:pt x="969" y="28"/>
                    </a:lnTo>
                    <a:lnTo>
                      <a:pt x="975" y="34"/>
                    </a:lnTo>
                    <a:lnTo>
                      <a:pt x="980" y="34"/>
                    </a:lnTo>
                    <a:lnTo>
                      <a:pt x="980" y="40"/>
                    </a:lnTo>
                    <a:lnTo>
                      <a:pt x="986" y="40"/>
                    </a:lnTo>
                    <a:lnTo>
                      <a:pt x="992" y="45"/>
                    </a:lnTo>
                    <a:lnTo>
                      <a:pt x="997" y="45"/>
                    </a:lnTo>
                    <a:lnTo>
                      <a:pt x="1003" y="51"/>
                    </a:lnTo>
                    <a:lnTo>
                      <a:pt x="1009" y="51"/>
                    </a:lnTo>
                    <a:lnTo>
                      <a:pt x="1009" y="45"/>
                    </a:lnTo>
                    <a:lnTo>
                      <a:pt x="1014" y="45"/>
                    </a:lnTo>
                    <a:lnTo>
                      <a:pt x="1020" y="45"/>
                    </a:lnTo>
                    <a:lnTo>
                      <a:pt x="1026" y="45"/>
                    </a:lnTo>
                    <a:lnTo>
                      <a:pt x="1031" y="51"/>
                    </a:lnTo>
                    <a:lnTo>
                      <a:pt x="1037" y="57"/>
                    </a:lnTo>
                    <a:lnTo>
                      <a:pt x="1043" y="62"/>
                    </a:lnTo>
                    <a:lnTo>
                      <a:pt x="1048" y="62"/>
                    </a:lnTo>
                    <a:lnTo>
                      <a:pt x="1060" y="62"/>
                    </a:lnTo>
                    <a:lnTo>
                      <a:pt x="1065" y="62"/>
                    </a:lnTo>
                    <a:lnTo>
                      <a:pt x="1077" y="57"/>
                    </a:lnTo>
                    <a:lnTo>
                      <a:pt x="1082" y="57"/>
                    </a:lnTo>
                    <a:lnTo>
                      <a:pt x="1088" y="57"/>
                    </a:lnTo>
                    <a:lnTo>
                      <a:pt x="1094" y="51"/>
                    </a:lnTo>
                    <a:lnTo>
                      <a:pt x="1099" y="51"/>
                    </a:lnTo>
                    <a:lnTo>
                      <a:pt x="1105" y="51"/>
                    </a:lnTo>
                    <a:lnTo>
                      <a:pt x="1105" y="57"/>
                    </a:lnTo>
                    <a:lnTo>
                      <a:pt x="1111" y="57"/>
                    </a:lnTo>
                    <a:lnTo>
                      <a:pt x="1116" y="57"/>
                    </a:lnTo>
                    <a:lnTo>
                      <a:pt x="1116" y="51"/>
                    </a:lnTo>
                    <a:lnTo>
                      <a:pt x="1122" y="51"/>
                    </a:lnTo>
                    <a:lnTo>
                      <a:pt x="1128" y="51"/>
                    </a:lnTo>
                    <a:lnTo>
                      <a:pt x="1128" y="57"/>
                    </a:lnTo>
                    <a:lnTo>
                      <a:pt x="1133" y="57"/>
                    </a:lnTo>
                    <a:lnTo>
                      <a:pt x="1139" y="57"/>
                    </a:lnTo>
                    <a:lnTo>
                      <a:pt x="1139" y="51"/>
                    </a:lnTo>
                    <a:lnTo>
                      <a:pt x="1145" y="51"/>
                    </a:lnTo>
                    <a:lnTo>
                      <a:pt x="1150" y="51"/>
                    </a:lnTo>
                    <a:lnTo>
                      <a:pt x="1156" y="51"/>
                    </a:lnTo>
                    <a:lnTo>
                      <a:pt x="1162" y="51"/>
                    </a:lnTo>
                    <a:lnTo>
                      <a:pt x="1173" y="51"/>
                    </a:lnTo>
                    <a:lnTo>
                      <a:pt x="1179" y="51"/>
                    </a:lnTo>
                    <a:lnTo>
                      <a:pt x="1184" y="45"/>
                    </a:lnTo>
                    <a:lnTo>
                      <a:pt x="1190" y="45"/>
                    </a:lnTo>
                    <a:lnTo>
                      <a:pt x="1196" y="45"/>
                    </a:lnTo>
                    <a:lnTo>
                      <a:pt x="1201" y="51"/>
                    </a:lnTo>
                    <a:lnTo>
                      <a:pt x="1207" y="45"/>
                    </a:lnTo>
                    <a:lnTo>
                      <a:pt x="1207" y="51"/>
                    </a:lnTo>
                    <a:lnTo>
                      <a:pt x="1213" y="51"/>
                    </a:lnTo>
                    <a:lnTo>
                      <a:pt x="1218" y="51"/>
                    </a:lnTo>
                    <a:lnTo>
                      <a:pt x="1224" y="51"/>
                    </a:lnTo>
                    <a:lnTo>
                      <a:pt x="1230" y="57"/>
                    </a:lnTo>
                    <a:lnTo>
                      <a:pt x="1235" y="57"/>
                    </a:lnTo>
                    <a:lnTo>
                      <a:pt x="1241" y="57"/>
                    </a:lnTo>
                    <a:lnTo>
                      <a:pt x="1247" y="57"/>
                    </a:lnTo>
                    <a:lnTo>
                      <a:pt x="1247" y="62"/>
                    </a:lnTo>
                    <a:lnTo>
                      <a:pt x="1252" y="62"/>
                    </a:lnTo>
                    <a:lnTo>
                      <a:pt x="1264" y="57"/>
                    </a:lnTo>
                    <a:lnTo>
                      <a:pt x="1269" y="57"/>
                    </a:lnTo>
                    <a:lnTo>
                      <a:pt x="1275" y="57"/>
                    </a:lnTo>
                    <a:lnTo>
                      <a:pt x="1281" y="57"/>
                    </a:lnTo>
                    <a:lnTo>
                      <a:pt x="1286" y="62"/>
                    </a:lnTo>
                    <a:lnTo>
                      <a:pt x="1286" y="68"/>
                    </a:lnTo>
                    <a:lnTo>
                      <a:pt x="1292" y="68"/>
                    </a:lnTo>
                    <a:lnTo>
                      <a:pt x="1298" y="62"/>
                    </a:lnTo>
                    <a:lnTo>
                      <a:pt x="1303" y="68"/>
                    </a:lnTo>
                    <a:lnTo>
                      <a:pt x="1309" y="74"/>
                    </a:lnTo>
                    <a:lnTo>
                      <a:pt x="1309" y="79"/>
                    </a:lnTo>
                    <a:lnTo>
                      <a:pt x="1315" y="79"/>
                    </a:lnTo>
                    <a:lnTo>
                      <a:pt x="1326" y="125"/>
                    </a:lnTo>
                    <a:lnTo>
                      <a:pt x="1337" y="170"/>
                    </a:lnTo>
                    <a:lnTo>
                      <a:pt x="1360" y="238"/>
                    </a:lnTo>
                    <a:lnTo>
                      <a:pt x="1360" y="249"/>
                    </a:lnTo>
                    <a:lnTo>
                      <a:pt x="1366" y="255"/>
                    </a:lnTo>
                    <a:lnTo>
                      <a:pt x="1366" y="272"/>
                    </a:lnTo>
                    <a:lnTo>
                      <a:pt x="1371" y="283"/>
                    </a:lnTo>
                    <a:lnTo>
                      <a:pt x="1371" y="300"/>
                    </a:lnTo>
                    <a:lnTo>
                      <a:pt x="1371" y="312"/>
                    </a:lnTo>
                    <a:lnTo>
                      <a:pt x="1371" y="317"/>
                    </a:lnTo>
                    <a:lnTo>
                      <a:pt x="1366" y="346"/>
                    </a:lnTo>
                    <a:lnTo>
                      <a:pt x="1371" y="363"/>
                    </a:lnTo>
                    <a:lnTo>
                      <a:pt x="1371" y="369"/>
                    </a:lnTo>
                    <a:lnTo>
                      <a:pt x="1394" y="391"/>
                    </a:lnTo>
                    <a:lnTo>
                      <a:pt x="1400" y="403"/>
                    </a:lnTo>
                    <a:lnTo>
                      <a:pt x="1405" y="431"/>
                    </a:lnTo>
                    <a:lnTo>
                      <a:pt x="1417" y="476"/>
                    </a:lnTo>
                    <a:lnTo>
                      <a:pt x="1445" y="493"/>
                    </a:lnTo>
                    <a:lnTo>
                      <a:pt x="1451" y="493"/>
                    </a:lnTo>
                    <a:lnTo>
                      <a:pt x="1445" y="493"/>
                    </a:lnTo>
                    <a:lnTo>
                      <a:pt x="1439" y="499"/>
                    </a:lnTo>
                    <a:lnTo>
                      <a:pt x="1434" y="499"/>
                    </a:lnTo>
                    <a:lnTo>
                      <a:pt x="1428" y="499"/>
                    </a:lnTo>
                    <a:lnTo>
                      <a:pt x="1422" y="493"/>
                    </a:lnTo>
                    <a:lnTo>
                      <a:pt x="1422" y="499"/>
                    </a:lnTo>
                    <a:lnTo>
                      <a:pt x="1417" y="499"/>
                    </a:lnTo>
                    <a:lnTo>
                      <a:pt x="1417" y="505"/>
                    </a:lnTo>
                    <a:lnTo>
                      <a:pt x="1411" y="505"/>
                    </a:lnTo>
                    <a:lnTo>
                      <a:pt x="1411" y="510"/>
                    </a:lnTo>
                    <a:lnTo>
                      <a:pt x="1405" y="516"/>
                    </a:lnTo>
                    <a:lnTo>
                      <a:pt x="1405" y="522"/>
                    </a:lnTo>
                    <a:lnTo>
                      <a:pt x="1400" y="522"/>
                    </a:lnTo>
                    <a:lnTo>
                      <a:pt x="1394" y="522"/>
                    </a:lnTo>
                    <a:lnTo>
                      <a:pt x="1388" y="516"/>
                    </a:lnTo>
                    <a:lnTo>
                      <a:pt x="1388" y="510"/>
                    </a:lnTo>
                    <a:lnTo>
                      <a:pt x="1383" y="510"/>
                    </a:lnTo>
                    <a:lnTo>
                      <a:pt x="1377" y="510"/>
                    </a:lnTo>
                    <a:lnTo>
                      <a:pt x="1377" y="516"/>
                    </a:lnTo>
                    <a:lnTo>
                      <a:pt x="1377" y="522"/>
                    </a:lnTo>
                    <a:lnTo>
                      <a:pt x="1371" y="522"/>
                    </a:lnTo>
                    <a:lnTo>
                      <a:pt x="1366" y="516"/>
                    </a:lnTo>
                    <a:lnTo>
                      <a:pt x="1360" y="516"/>
                    </a:lnTo>
                    <a:lnTo>
                      <a:pt x="1360" y="522"/>
                    </a:lnTo>
                    <a:lnTo>
                      <a:pt x="1354" y="522"/>
                    </a:lnTo>
                    <a:lnTo>
                      <a:pt x="1354" y="516"/>
                    </a:lnTo>
                    <a:lnTo>
                      <a:pt x="1349" y="516"/>
                    </a:lnTo>
                    <a:lnTo>
                      <a:pt x="1343" y="516"/>
                    </a:lnTo>
                    <a:lnTo>
                      <a:pt x="1343" y="510"/>
                    </a:lnTo>
                    <a:lnTo>
                      <a:pt x="1337" y="510"/>
                    </a:lnTo>
                    <a:lnTo>
                      <a:pt x="1332" y="510"/>
                    </a:lnTo>
                    <a:lnTo>
                      <a:pt x="1332" y="516"/>
                    </a:lnTo>
                    <a:lnTo>
                      <a:pt x="1326" y="516"/>
                    </a:lnTo>
                    <a:lnTo>
                      <a:pt x="1326" y="522"/>
                    </a:lnTo>
                    <a:lnTo>
                      <a:pt x="1320" y="522"/>
                    </a:lnTo>
                    <a:lnTo>
                      <a:pt x="1315" y="522"/>
                    </a:lnTo>
                    <a:lnTo>
                      <a:pt x="1309" y="522"/>
                    </a:lnTo>
                    <a:lnTo>
                      <a:pt x="1309" y="527"/>
                    </a:lnTo>
                    <a:lnTo>
                      <a:pt x="1303" y="527"/>
                    </a:lnTo>
                    <a:lnTo>
                      <a:pt x="1298" y="527"/>
                    </a:lnTo>
                    <a:lnTo>
                      <a:pt x="1292" y="527"/>
                    </a:lnTo>
                    <a:lnTo>
                      <a:pt x="1292" y="533"/>
                    </a:lnTo>
                    <a:lnTo>
                      <a:pt x="1286" y="533"/>
                    </a:lnTo>
                    <a:lnTo>
                      <a:pt x="1343" y="539"/>
                    </a:lnTo>
                    <a:lnTo>
                      <a:pt x="1343" y="550"/>
                    </a:lnTo>
                    <a:lnTo>
                      <a:pt x="1332" y="556"/>
                    </a:lnTo>
                    <a:lnTo>
                      <a:pt x="1332" y="573"/>
                    </a:lnTo>
                    <a:lnTo>
                      <a:pt x="1332" y="584"/>
                    </a:lnTo>
                    <a:lnTo>
                      <a:pt x="1320" y="601"/>
                    </a:lnTo>
                    <a:lnTo>
                      <a:pt x="1315" y="612"/>
                    </a:lnTo>
                    <a:lnTo>
                      <a:pt x="1315" y="618"/>
                    </a:lnTo>
                    <a:lnTo>
                      <a:pt x="1309" y="635"/>
                    </a:lnTo>
                    <a:lnTo>
                      <a:pt x="1337" y="635"/>
                    </a:lnTo>
                    <a:lnTo>
                      <a:pt x="1332" y="641"/>
                    </a:lnTo>
                    <a:lnTo>
                      <a:pt x="1332" y="646"/>
                    </a:lnTo>
                    <a:lnTo>
                      <a:pt x="1332" y="652"/>
                    </a:lnTo>
                    <a:lnTo>
                      <a:pt x="1337" y="658"/>
                    </a:lnTo>
                    <a:lnTo>
                      <a:pt x="1360" y="669"/>
                    </a:lnTo>
                    <a:lnTo>
                      <a:pt x="1371" y="675"/>
                    </a:lnTo>
                    <a:lnTo>
                      <a:pt x="1371" y="680"/>
                    </a:lnTo>
                    <a:lnTo>
                      <a:pt x="1366" y="680"/>
                    </a:lnTo>
                    <a:lnTo>
                      <a:pt x="1366" y="686"/>
                    </a:lnTo>
                    <a:lnTo>
                      <a:pt x="1360" y="686"/>
                    </a:lnTo>
                    <a:lnTo>
                      <a:pt x="1354" y="686"/>
                    </a:lnTo>
                    <a:lnTo>
                      <a:pt x="1349" y="686"/>
                    </a:lnTo>
                    <a:lnTo>
                      <a:pt x="1349" y="692"/>
                    </a:lnTo>
                    <a:lnTo>
                      <a:pt x="1349" y="703"/>
                    </a:lnTo>
                    <a:lnTo>
                      <a:pt x="1326" y="703"/>
                    </a:lnTo>
                    <a:lnTo>
                      <a:pt x="1315" y="703"/>
                    </a:lnTo>
                    <a:lnTo>
                      <a:pt x="1298" y="703"/>
                    </a:lnTo>
                    <a:lnTo>
                      <a:pt x="1298" y="731"/>
                    </a:lnTo>
                    <a:lnTo>
                      <a:pt x="1298" y="737"/>
                    </a:lnTo>
                    <a:lnTo>
                      <a:pt x="1303" y="737"/>
                    </a:lnTo>
                    <a:lnTo>
                      <a:pt x="1309" y="737"/>
                    </a:lnTo>
                    <a:lnTo>
                      <a:pt x="1315" y="737"/>
                    </a:lnTo>
                    <a:lnTo>
                      <a:pt x="1320" y="743"/>
                    </a:lnTo>
                    <a:lnTo>
                      <a:pt x="1332" y="743"/>
                    </a:lnTo>
                    <a:lnTo>
                      <a:pt x="1332" y="754"/>
                    </a:lnTo>
                    <a:lnTo>
                      <a:pt x="1332" y="760"/>
                    </a:lnTo>
                    <a:lnTo>
                      <a:pt x="1320" y="760"/>
                    </a:lnTo>
                    <a:lnTo>
                      <a:pt x="1320" y="771"/>
                    </a:lnTo>
                    <a:lnTo>
                      <a:pt x="1315" y="771"/>
                    </a:lnTo>
                    <a:lnTo>
                      <a:pt x="1309" y="771"/>
                    </a:lnTo>
                    <a:lnTo>
                      <a:pt x="1303" y="771"/>
                    </a:lnTo>
                    <a:lnTo>
                      <a:pt x="1298" y="771"/>
                    </a:lnTo>
                    <a:lnTo>
                      <a:pt x="1292" y="771"/>
                    </a:lnTo>
                    <a:lnTo>
                      <a:pt x="1286" y="771"/>
                    </a:lnTo>
                    <a:lnTo>
                      <a:pt x="1281" y="771"/>
                    </a:lnTo>
                    <a:lnTo>
                      <a:pt x="1275" y="771"/>
                    </a:lnTo>
                    <a:lnTo>
                      <a:pt x="1275" y="777"/>
                    </a:lnTo>
                    <a:lnTo>
                      <a:pt x="1269" y="782"/>
                    </a:lnTo>
                    <a:lnTo>
                      <a:pt x="1264" y="782"/>
                    </a:lnTo>
                    <a:lnTo>
                      <a:pt x="1258" y="782"/>
                    </a:lnTo>
                    <a:lnTo>
                      <a:pt x="1252" y="782"/>
                    </a:lnTo>
                    <a:lnTo>
                      <a:pt x="1247" y="782"/>
                    </a:lnTo>
                    <a:lnTo>
                      <a:pt x="1241" y="782"/>
                    </a:lnTo>
                    <a:lnTo>
                      <a:pt x="1235" y="782"/>
                    </a:lnTo>
                    <a:lnTo>
                      <a:pt x="1235" y="777"/>
                    </a:lnTo>
                    <a:lnTo>
                      <a:pt x="1235" y="771"/>
                    </a:lnTo>
                    <a:lnTo>
                      <a:pt x="1235" y="765"/>
                    </a:lnTo>
                    <a:lnTo>
                      <a:pt x="1235" y="760"/>
                    </a:lnTo>
                    <a:lnTo>
                      <a:pt x="1235" y="754"/>
                    </a:lnTo>
                    <a:lnTo>
                      <a:pt x="1230" y="743"/>
                    </a:lnTo>
                    <a:lnTo>
                      <a:pt x="1207" y="743"/>
                    </a:lnTo>
                    <a:lnTo>
                      <a:pt x="1201" y="743"/>
                    </a:lnTo>
                    <a:lnTo>
                      <a:pt x="1196" y="743"/>
                    </a:lnTo>
                    <a:lnTo>
                      <a:pt x="1196" y="737"/>
                    </a:lnTo>
                    <a:lnTo>
                      <a:pt x="1196" y="731"/>
                    </a:lnTo>
                    <a:lnTo>
                      <a:pt x="1190" y="726"/>
                    </a:lnTo>
                    <a:lnTo>
                      <a:pt x="1190" y="720"/>
                    </a:lnTo>
                    <a:lnTo>
                      <a:pt x="1184" y="709"/>
                    </a:lnTo>
                    <a:lnTo>
                      <a:pt x="1196" y="697"/>
                    </a:lnTo>
                    <a:lnTo>
                      <a:pt x="1196" y="686"/>
                    </a:lnTo>
                    <a:lnTo>
                      <a:pt x="1196" y="680"/>
                    </a:lnTo>
                    <a:lnTo>
                      <a:pt x="1179" y="675"/>
                    </a:lnTo>
                    <a:lnTo>
                      <a:pt x="1179" y="669"/>
                    </a:lnTo>
                    <a:lnTo>
                      <a:pt x="1173" y="663"/>
                    </a:lnTo>
                    <a:lnTo>
                      <a:pt x="1179" y="658"/>
                    </a:lnTo>
                    <a:lnTo>
                      <a:pt x="1184" y="658"/>
                    </a:lnTo>
                    <a:lnTo>
                      <a:pt x="1184" y="652"/>
                    </a:lnTo>
                    <a:lnTo>
                      <a:pt x="1179" y="646"/>
                    </a:lnTo>
                    <a:lnTo>
                      <a:pt x="1167" y="635"/>
                    </a:lnTo>
                    <a:lnTo>
                      <a:pt x="1150" y="618"/>
                    </a:lnTo>
                    <a:lnTo>
                      <a:pt x="1145" y="629"/>
                    </a:lnTo>
                    <a:lnTo>
                      <a:pt x="1139" y="635"/>
                    </a:lnTo>
                    <a:lnTo>
                      <a:pt x="1139" y="646"/>
                    </a:lnTo>
                    <a:lnTo>
                      <a:pt x="1122" y="652"/>
                    </a:lnTo>
                    <a:lnTo>
                      <a:pt x="1116" y="646"/>
                    </a:lnTo>
                    <a:lnTo>
                      <a:pt x="1111" y="646"/>
                    </a:lnTo>
                    <a:lnTo>
                      <a:pt x="1111" y="658"/>
                    </a:lnTo>
                    <a:lnTo>
                      <a:pt x="1111" y="663"/>
                    </a:lnTo>
                    <a:lnTo>
                      <a:pt x="1105" y="663"/>
                    </a:lnTo>
                    <a:lnTo>
                      <a:pt x="1105" y="669"/>
                    </a:lnTo>
                    <a:lnTo>
                      <a:pt x="1094" y="680"/>
                    </a:lnTo>
                    <a:lnTo>
                      <a:pt x="1077" y="692"/>
                    </a:lnTo>
                    <a:lnTo>
                      <a:pt x="1077" y="686"/>
                    </a:lnTo>
                    <a:lnTo>
                      <a:pt x="1077" y="680"/>
                    </a:lnTo>
                    <a:lnTo>
                      <a:pt x="1071" y="680"/>
                    </a:lnTo>
                    <a:lnTo>
                      <a:pt x="1065" y="680"/>
                    </a:lnTo>
                    <a:lnTo>
                      <a:pt x="1060" y="680"/>
                    </a:lnTo>
                    <a:lnTo>
                      <a:pt x="1054" y="680"/>
                    </a:lnTo>
                    <a:lnTo>
                      <a:pt x="1054" y="675"/>
                    </a:lnTo>
                    <a:lnTo>
                      <a:pt x="1048" y="675"/>
                    </a:lnTo>
                    <a:lnTo>
                      <a:pt x="1048" y="680"/>
                    </a:lnTo>
                    <a:lnTo>
                      <a:pt x="1043" y="680"/>
                    </a:lnTo>
                    <a:lnTo>
                      <a:pt x="1037" y="680"/>
                    </a:lnTo>
                    <a:lnTo>
                      <a:pt x="1031" y="680"/>
                    </a:lnTo>
                    <a:lnTo>
                      <a:pt x="1031" y="686"/>
                    </a:lnTo>
                    <a:lnTo>
                      <a:pt x="1031" y="692"/>
                    </a:lnTo>
                    <a:lnTo>
                      <a:pt x="1026" y="692"/>
                    </a:lnTo>
                    <a:lnTo>
                      <a:pt x="1020" y="692"/>
                    </a:lnTo>
                    <a:lnTo>
                      <a:pt x="986" y="697"/>
                    </a:lnTo>
                    <a:lnTo>
                      <a:pt x="986" y="703"/>
                    </a:lnTo>
                    <a:lnTo>
                      <a:pt x="980" y="714"/>
                    </a:lnTo>
                    <a:lnTo>
                      <a:pt x="980" y="720"/>
                    </a:lnTo>
                    <a:lnTo>
                      <a:pt x="963" y="726"/>
                    </a:lnTo>
                    <a:lnTo>
                      <a:pt x="929" y="754"/>
                    </a:lnTo>
                    <a:lnTo>
                      <a:pt x="912" y="765"/>
                    </a:lnTo>
                    <a:lnTo>
                      <a:pt x="895" y="777"/>
                    </a:lnTo>
                    <a:lnTo>
                      <a:pt x="895" y="782"/>
                    </a:lnTo>
                    <a:lnTo>
                      <a:pt x="878" y="782"/>
                    </a:lnTo>
                    <a:lnTo>
                      <a:pt x="878" y="794"/>
                    </a:lnTo>
                    <a:lnTo>
                      <a:pt x="884" y="794"/>
                    </a:lnTo>
                    <a:lnTo>
                      <a:pt x="890" y="794"/>
                    </a:lnTo>
                    <a:lnTo>
                      <a:pt x="895" y="805"/>
                    </a:lnTo>
                    <a:lnTo>
                      <a:pt x="895" y="811"/>
                    </a:lnTo>
                    <a:lnTo>
                      <a:pt x="884" y="816"/>
                    </a:lnTo>
                    <a:lnTo>
                      <a:pt x="884" y="822"/>
                    </a:lnTo>
                    <a:lnTo>
                      <a:pt x="873" y="833"/>
                    </a:lnTo>
                    <a:lnTo>
                      <a:pt x="867" y="828"/>
                    </a:lnTo>
                    <a:lnTo>
                      <a:pt x="844" y="828"/>
                    </a:lnTo>
                    <a:lnTo>
                      <a:pt x="827" y="822"/>
                    </a:lnTo>
                    <a:lnTo>
                      <a:pt x="827" y="816"/>
                    </a:lnTo>
                    <a:lnTo>
                      <a:pt x="816" y="805"/>
                    </a:lnTo>
                    <a:lnTo>
                      <a:pt x="810" y="799"/>
                    </a:lnTo>
                    <a:lnTo>
                      <a:pt x="810" y="805"/>
                    </a:lnTo>
                    <a:lnTo>
                      <a:pt x="804" y="799"/>
                    </a:lnTo>
                    <a:lnTo>
                      <a:pt x="799" y="794"/>
                    </a:lnTo>
                    <a:lnTo>
                      <a:pt x="799" y="788"/>
                    </a:lnTo>
                    <a:lnTo>
                      <a:pt x="793" y="782"/>
                    </a:lnTo>
                    <a:lnTo>
                      <a:pt x="787" y="777"/>
                    </a:lnTo>
                    <a:lnTo>
                      <a:pt x="787" y="771"/>
                    </a:lnTo>
                    <a:lnTo>
                      <a:pt x="782" y="771"/>
                    </a:lnTo>
                    <a:lnTo>
                      <a:pt x="776" y="777"/>
                    </a:lnTo>
                    <a:lnTo>
                      <a:pt x="770" y="777"/>
                    </a:lnTo>
                    <a:lnTo>
                      <a:pt x="770" y="771"/>
                    </a:lnTo>
                    <a:lnTo>
                      <a:pt x="776" y="771"/>
                    </a:lnTo>
                    <a:lnTo>
                      <a:pt x="782" y="765"/>
                    </a:lnTo>
                    <a:lnTo>
                      <a:pt x="782" y="760"/>
                    </a:lnTo>
                    <a:lnTo>
                      <a:pt x="782" y="754"/>
                    </a:lnTo>
                    <a:lnTo>
                      <a:pt x="776" y="748"/>
                    </a:lnTo>
                    <a:lnTo>
                      <a:pt x="776" y="743"/>
                    </a:lnTo>
                    <a:lnTo>
                      <a:pt x="770" y="737"/>
                    </a:lnTo>
                    <a:lnTo>
                      <a:pt x="776" y="731"/>
                    </a:lnTo>
                    <a:lnTo>
                      <a:pt x="759" y="731"/>
                    </a:lnTo>
                    <a:lnTo>
                      <a:pt x="748" y="726"/>
                    </a:lnTo>
                    <a:lnTo>
                      <a:pt x="731" y="731"/>
                    </a:lnTo>
                    <a:lnTo>
                      <a:pt x="731" y="737"/>
                    </a:lnTo>
                    <a:lnTo>
                      <a:pt x="731" y="743"/>
                    </a:lnTo>
                    <a:lnTo>
                      <a:pt x="731" y="748"/>
                    </a:lnTo>
                    <a:lnTo>
                      <a:pt x="725" y="748"/>
                    </a:lnTo>
                    <a:lnTo>
                      <a:pt x="725" y="760"/>
                    </a:lnTo>
                    <a:lnTo>
                      <a:pt x="697" y="771"/>
                    </a:lnTo>
                    <a:lnTo>
                      <a:pt x="691" y="748"/>
                    </a:lnTo>
                    <a:lnTo>
                      <a:pt x="685" y="748"/>
                    </a:lnTo>
                    <a:lnTo>
                      <a:pt x="685" y="743"/>
                    </a:lnTo>
                    <a:lnTo>
                      <a:pt x="663" y="737"/>
                    </a:lnTo>
                    <a:lnTo>
                      <a:pt x="663" y="760"/>
                    </a:lnTo>
                    <a:lnTo>
                      <a:pt x="657" y="754"/>
                    </a:lnTo>
                    <a:lnTo>
                      <a:pt x="651" y="760"/>
                    </a:lnTo>
                    <a:lnTo>
                      <a:pt x="640" y="760"/>
                    </a:lnTo>
                    <a:lnTo>
                      <a:pt x="629" y="754"/>
                    </a:lnTo>
                    <a:lnTo>
                      <a:pt x="612" y="760"/>
                    </a:lnTo>
                    <a:lnTo>
                      <a:pt x="600" y="765"/>
                    </a:lnTo>
                    <a:lnTo>
                      <a:pt x="595" y="765"/>
                    </a:lnTo>
                    <a:lnTo>
                      <a:pt x="589" y="771"/>
                    </a:lnTo>
                    <a:lnTo>
                      <a:pt x="583" y="771"/>
                    </a:lnTo>
                    <a:lnTo>
                      <a:pt x="572" y="777"/>
                    </a:lnTo>
                    <a:lnTo>
                      <a:pt x="572" y="782"/>
                    </a:lnTo>
                    <a:lnTo>
                      <a:pt x="572" y="794"/>
                    </a:lnTo>
                    <a:lnTo>
                      <a:pt x="566" y="799"/>
                    </a:lnTo>
                    <a:lnTo>
                      <a:pt x="549" y="799"/>
                    </a:lnTo>
                    <a:lnTo>
                      <a:pt x="538" y="805"/>
                    </a:lnTo>
                    <a:lnTo>
                      <a:pt x="532" y="805"/>
                    </a:lnTo>
                    <a:lnTo>
                      <a:pt x="532" y="811"/>
                    </a:lnTo>
                    <a:lnTo>
                      <a:pt x="527" y="816"/>
                    </a:lnTo>
                    <a:lnTo>
                      <a:pt x="515" y="816"/>
                    </a:lnTo>
                    <a:lnTo>
                      <a:pt x="510" y="822"/>
                    </a:lnTo>
                    <a:lnTo>
                      <a:pt x="504" y="822"/>
                    </a:lnTo>
                    <a:lnTo>
                      <a:pt x="510" y="828"/>
                    </a:lnTo>
                    <a:lnTo>
                      <a:pt x="510" y="839"/>
                    </a:lnTo>
                    <a:lnTo>
                      <a:pt x="527" y="833"/>
                    </a:lnTo>
                    <a:lnTo>
                      <a:pt x="538" y="833"/>
                    </a:lnTo>
                    <a:lnTo>
                      <a:pt x="544" y="828"/>
                    </a:lnTo>
                    <a:lnTo>
                      <a:pt x="572" y="816"/>
                    </a:lnTo>
                    <a:lnTo>
                      <a:pt x="578" y="822"/>
                    </a:lnTo>
                    <a:lnTo>
                      <a:pt x="583" y="833"/>
                    </a:lnTo>
                    <a:lnTo>
                      <a:pt x="589" y="833"/>
                    </a:lnTo>
                    <a:lnTo>
                      <a:pt x="583" y="845"/>
                    </a:lnTo>
                    <a:lnTo>
                      <a:pt x="572" y="850"/>
                    </a:lnTo>
                    <a:lnTo>
                      <a:pt x="572" y="845"/>
                    </a:lnTo>
                    <a:lnTo>
                      <a:pt x="544" y="845"/>
                    </a:lnTo>
                    <a:lnTo>
                      <a:pt x="544" y="856"/>
                    </a:lnTo>
                    <a:lnTo>
                      <a:pt x="527" y="862"/>
                    </a:lnTo>
                    <a:lnTo>
                      <a:pt x="510" y="862"/>
                    </a:lnTo>
                    <a:lnTo>
                      <a:pt x="510" y="856"/>
                    </a:lnTo>
                    <a:lnTo>
                      <a:pt x="487" y="862"/>
                    </a:lnTo>
                    <a:lnTo>
                      <a:pt x="487" y="850"/>
                    </a:lnTo>
                    <a:lnTo>
                      <a:pt x="481" y="850"/>
                    </a:lnTo>
                    <a:lnTo>
                      <a:pt x="481" y="845"/>
                    </a:lnTo>
                    <a:lnTo>
                      <a:pt x="476" y="839"/>
                    </a:lnTo>
                    <a:lnTo>
                      <a:pt x="470" y="833"/>
                    </a:lnTo>
                    <a:lnTo>
                      <a:pt x="470" y="828"/>
                    </a:lnTo>
                    <a:lnTo>
                      <a:pt x="453" y="833"/>
                    </a:lnTo>
                    <a:lnTo>
                      <a:pt x="447" y="833"/>
                    </a:lnTo>
                    <a:lnTo>
                      <a:pt x="447" y="822"/>
                    </a:lnTo>
                    <a:lnTo>
                      <a:pt x="442" y="816"/>
                    </a:lnTo>
                    <a:lnTo>
                      <a:pt x="430" y="816"/>
                    </a:lnTo>
                    <a:lnTo>
                      <a:pt x="430" y="811"/>
                    </a:lnTo>
                    <a:lnTo>
                      <a:pt x="436" y="805"/>
                    </a:lnTo>
                    <a:lnTo>
                      <a:pt x="447" y="805"/>
                    </a:lnTo>
                    <a:lnTo>
                      <a:pt x="453" y="805"/>
                    </a:lnTo>
                    <a:lnTo>
                      <a:pt x="459" y="811"/>
                    </a:lnTo>
                    <a:lnTo>
                      <a:pt x="470" y="811"/>
                    </a:lnTo>
                    <a:lnTo>
                      <a:pt x="470" y="805"/>
                    </a:lnTo>
                    <a:lnTo>
                      <a:pt x="476" y="794"/>
                    </a:lnTo>
                    <a:lnTo>
                      <a:pt x="470" y="788"/>
                    </a:lnTo>
                    <a:lnTo>
                      <a:pt x="464" y="788"/>
                    </a:lnTo>
                    <a:lnTo>
                      <a:pt x="447" y="782"/>
                    </a:lnTo>
                    <a:lnTo>
                      <a:pt x="442" y="777"/>
                    </a:lnTo>
                    <a:lnTo>
                      <a:pt x="436" y="777"/>
                    </a:lnTo>
                    <a:lnTo>
                      <a:pt x="413" y="777"/>
                    </a:lnTo>
                    <a:lnTo>
                      <a:pt x="413" y="771"/>
                    </a:lnTo>
                    <a:lnTo>
                      <a:pt x="408" y="771"/>
                    </a:lnTo>
                    <a:lnTo>
                      <a:pt x="396" y="771"/>
                    </a:lnTo>
                    <a:lnTo>
                      <a:pt x="396" y="777"/>
                    </a:lnTo>
                    <a:lnTo>
                      <a:pt x="391" y="777"/>
                    </a:lnTo>
                    <a:lnTo>
                      <a:pt x="362" y="771"/>
                    </a:lnTo>
                    <a:lnTo>
                      <a:pt x="357" y="771"/>
                    </a:lnTo>
                    <a:lnTo>
                      <a:pt x="351" y="771"/>
                    </a:lnTo>
                    <a:lnTo>
                      <a:pt x="345" y="771"/>
                    </a:lnTo>
                    <a:lnTo>
                      <a:pt x="340" y="777"/>
                    </a:lnTo>
                    <a:lnTo>
                      <a:pt x="328" y="765"/>
                    </a:lnTo>
                    <a:lnTo>
                      <a:pt x="323" y="771"/>
                    </a:lnTo>
                    <a:lnTo>
                      <a:pt x="317" y="765"/>
                    </a:lnTo>
                    <a:lnTo>
                      <a:pt x="306" y="771"/>
                    </a:lnTo>
                    <a:lnTo>
                      <a:pt x="306" y="777"/>
                    </a:lnTo>
                    <a:lnTo>
                      <a:pt x="306" y="782"/>
                    </a:lnTo>
                    <a:lnTo>
                      <a:pt x="306" y="788"/>
                    </a:lnTo>
                    <a:lnTo>
                      <a:pt x="306" y="794"/>
                    </a:lnTo>
                    <a:lnTo>
                      <a:pt x="300" y="794"/>
                    </a:lnTo>
                    <a:lnTo>
                      <a:pt x="294" y="805"/>
                    </a:lnTo>
                    <a:lnTo>
                      <a:pt x="289" y="805"/>
                    </a:lnTo>
                    <a:lnTo>
                      <a:pt x="283" y="799"/>
                    </a:lnTo>
                    <a:lnTo>
                      <a:pt x="283" y="794"/>
                    </a:lnTo>
                    <a:lnTo>
                      <a:pt x="277" y="788"/>
                    </a:lnTo>
                    <a:lnTo>
                      <a:pt x="266" y="794"/>
                    </a:lnTo>
                    <a:lnTo>
                      <a:pt x="260" y="794"/>
                    </a:lnTo>
                    <a:lnTo>
                      <a:pt x="249" y="794"/>
                    </a:lnTo>
                    <a:lnTo>
                      <a:pt x="243" y="794"/>
                    </a:lnTo>
                    <a:lnTo>
                      <a:pt x="243" y="788"/>
                    </a:lnTo>
                    <a:lnTo>
                      <a:pt x="232" y="777"/>
                    </a:lnTo>
                    <a:lnTo>
                      <a:pt x="192" y="771"/>
                    </a:lnTo>
                    <a:lnTo>
                      <a:pt x="198" y="765"/>
                    </a:lnTo>
                    <a:lnTo>
                      <a:pt x="192" y="765"/>
                    </a:lnTo>
                    <a:lnTo>
                      <a:pt x="192" y="760"/>
                    </a:lnTo>
                    <a:lnTo>
                      <a:pt x="187" y="754"/>
                    </a:lnTo>
                    <a:lnTo>
                      <a:pt x="175" y="748"/>
                    </a:lnTo>
                    <a:lnTo>
                      <a:pt x="170" y="748"/>
                    </a:lnTo>
                    <a:lnTo>
                      <a:pt x="170" y="737"/>
                    </a:lnTo>
                    <a:lnTo>
                      <a:pt x="170" y="731"/>
                    </a:lnTo>
                    <a:lnTo>
                      <a:pt x="164" y="726"/>
                    </a:lnTo>
                    <a:lnTo>
                      <a:pt x="164" y="714"/>
                    </a:lnTo>
                    <a:lnTo>
                      <a:pt x="164" y="703"/>
                    </a:lnTo>
                    <a:lnTo>
                      <a:pt x="158" y="703"/>
                    </a:lnTo>
                    <a:lnTo>
                      <a:pt x="153" y="703"/>
                    </a:lnTo>
                    <a:lnTo>
                      <a:pt x="153" y="714"/>
                    </a:lnTo>
                    <a:lnTo>
                      <a:pt x="141" y="714"/>
                    </a:lnTo>
                    <a:lnTo>
                      <a:pt x="141" y="720"/>
                    </a:lnTo>
                    <a:lnTo>
                      <a:pt x="124" y="726"/>
                    </a:lnTo>
                    <a:lnTo>
                      <a:pt x="96" y="731"/>
                    </a:lnTo>
                    <a:lnTo>
                      <a:pt x="96" y="737"/>
                    </a:lnTo>
                    <a:lnTo>
                      <a:pt x="90" y="743"/>
                    </a:lnTo>
                    <a:lnTo>
                      <a:pt x="79" y="737"/>
                    </a:lnTo>
                    <a:lnTo>
                      <a:pt x="68" y="737"/>
                    </a:lnTo>
                    <a:lnTo>
                      <a:pt x="56" y="726"/>
                    </a:lnTo>
                    <a:lnTo>
                      <a:pt x="45" y="731"/>
                    </a:lnTo>
                    <a:lnTo>
                      <a:pt x="39" y="726"/>
                    </a:lnTo>
                    <a:lnTo>
                      <a:pt x="17" y="726"/>
                    </a:lnTo>
                    <a:lnTo>
                      <a:pt x="11" y="726"/>
                    </a:lnTo>
                    <a:lnTo>
                      <a:pt x="11" y="720"/>
                    </a:lnTo>
                    <a:lnTo>
                      <a:pt x="11" y="714"/>
                    </a:lnTo>
                    <a:lnTo>
                      <a:pt x="5" y="714"/>
                    </a:lnTo>
                    <a:lnTo>
                      <a:pt x="5" y="703"/>
                    </a:lnTo>
                    <a:lnTo>
                      <a:pt x="0" y="703"/>
                    </a:lnTo>
                    <a:lnTo>
                      <a:pt x="0" y="697"/>
                    </a:lnTo>
                    <a:lnTo>
                      <a:pt x="5" y="692"/>
                    </a:lnTo>
                    <a:lnTo>
                      <a:pt x="5" y="686"/>
                    </a:lnTo>
                    <a:lnTo>
                      <a:pt x="5" y="680"/>
                    </a:lnTo>
                    <a:lnTo>
                      <a:pt x="0" y="680"/>
                    </a:lnTo>
                    <a:lnTo>
                      <a:pt x="0" y="675"/>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1100"/>
              </a:p>
            </p:txBody>
          </p:sp>
          <p:sp>
            <p:nvSpPr>
              <p:cNvPr id="18" name="Freeform 13"/>
              <p:cNvSpPr>
                <a:spLocks/>
              </p:cNvSpPr>
              <p:nvPr>
                <p:custDataLst>
                  <p:tags r:id="rId8"/>
                </p:custDataLst>
              </p:nvPr>
            </p:nvSpPr>
            <p:spPr bwMode="gray">
              <a:xfrm>
                <a:off x="2394" y="1649"/>
                <a:ext cx="832" cy="520"/>
              </a:xfrm>
              <a:custGeom>
                <a:avLst/>
                <a:gdLst>
                  <a:gd name="T0" fmla="*/ 14222 w 1497"/>
                  <a:gd name="T1" fmla="*/ 172324 h 935"/>
                  <a:gd name="T2" fmla="*/ 16674 w 1497"/>
                  <a:gd name="T3" fmla="*/ 155632 h 935"/>
                  <a:gd name="T4" fmla="*/ 27953 w 1497"/>
                  <a:gd name="T5" fmla="*/ 130593 h 935"/>
                  <a:gd name="T6" fmla="*/ 39233 w 1497"/>
                  <a:gd name="T7" fmla="*/ 113901 h 935"/>
                  <a:gd name="T8" fmla="*/ 52965 w 1497"/>
                  <a:gd name="T9" fmla="*/ 88862 h 935"/>
                  <a:gd name="T10" fmla="*/ 77976 w 1497"/>
                  <a:gd name="T11" fmla="*/ 85917 h 935"/>
                  <a:gd name="T12" fmla="*/ 111324 w 1497"/>
                  <a:gd name="T13" fmla="*/ 85917 h 935"/>
                  <a:gd name="T14" fmla="*/ 130941 w 1497"/>
                  <a:gd name="T15" fmla="*/ 100154 h 935"/>
                  <a:gd name="T16" fmla="*/ 147615 w 1497"/>
                  <a:gd name="T17" fmla="*/ 110955 h 935"/>
                  <a:gd name="T18" fmla="*/ 167231 w 1497"/>
                  <a:gd name="T19" fmla="*/ 127647 h 935"/>
                  <a:gd name="T20" fmla="*/ 186357 w 1497"/>
                  <a:gd name="T21" fmla="*/ 135994 h 935"/>
                  <a:gd name="T22" fmla="*/ 208916 w 1497"/>
                  <a:gd name="T23" fmla="*/ 135994 h 935"/>
                  <a:gd name="T24" fmla="*/ 230985 w 1497"/>
                  <a:gd name="T25" fmla="*/ 147286 h 935"/>
                  <a:gd name="T26" fmla="*/ 269728 w 1497"/>
                  <a:gd name="T27" fmla="*/ 155632 h 935"/>
                  <a:gd name="T28" fmla="*/ 297681 w 1497"/>
                  <a:gd name="T29" fmla="*/ 152686 h 935"/>
                  <a:gd name="T30" fmla="*/ 331030 w 1497"/>
                  <a:gd name="T31" fmla="*/ 150231 h 935"/>
                  <a:gd name="T32" fmla="*/ 375658 w 1497"/>
                  <a:gd name="T33" fmla="*/ 135994 h 935"/>
                  <a:gd name="T34" fmla="*/ 406063 w 1497"/>
                  <a:gd name="T35" fmla="*/ 80516 h 935"/>
                  <a:gd name="T36" fmla="*/ 425680 w 1497"/>
                  <a:gd name="T37" fmla="*/ 30439 h 935"/>
                  <a:gd name="T38" fmla="*/ 442354 w 1497"/>
                  <a:gd name="T39" fmla="*/ 10801 h 935"/>
                  <a:gd name="T40" fmla="*/ 495319 w 1497"/>
                  <a:gd name="T41" fmla="*/ 2455 h 935"/>
                  <a:gd name="T42" fmla="*/ 517387 w 1497"/>
                  <a:gd name="T43" fmla="*/ 27493 h 935"/>
                  <a:gd name="T44" fmla="*/ 575747 w 1497"/>
                  <a:gd name="T45" fmla="*/ 13747 h 935"/>
                  <a:gd name="T46" fmla="*/ 614490 w 1497"/>
                  <a:gd name="T47" fmla="*/ 55478 h 935"/>
                  <a:gd name="T48" fmla="*/ 645386 w 1497"/>
                  <a:gd name="T49" fmla="*/ 52532 h 935"/>
                  <a:gd name="T50" fmla="*/ 689523 w 1497"/>
                  <a:gd name="T51" fmla="*/ 47131 h 935"/>
                  <a:gd name="T52" fmla="*/ 717477 w 1497"/>
                  <a:gd name="T53" fmla="*/ 63824 h 935"/>
                  <a:gd name="T54" fmla="*/ 731209 w 1497"/>
                  <a:gd name="T55" fmla="*/ 85917 h 935"/>
                  <a:gd name="T56" fmla="*/ 714534 w 1497"/>
                  <a:gd name="T57" fmla="*/ 100154 h 935"/>
                  <a:gd name="T58" fmla="*/ 697860 w 1497"/>
                  <a:gd name="T59" fmla="*/ 130593 h 935"/>
                  <a:gd name="T60" fmla="*/ 681186 w 1497"/>
                  <a:gd name="T61" fmla="*/ 161032 h 935"/>
                  <a:gd name="T62" fmla="*/ 609095 w 1497"/>
                  <a:gd name="T63" fmla="*/ 200308 h 935"/>
                  <a:gd name="T64" fmla="*/ 625769 w 1497"/>
                  <a:gd name="T65" fmla="*/ 239093 h 935"/>
                  <a:gd name="T66" fmla="*/ 628712 w 1497"/>
                  <a:gd name="T67" fmla="*/ 286716 h 935"/>
                  <a:gd name="T68" fmla="*/ 606152 w 1497"/>
                  <a:gd name="T69" fmla="*/ 292117 h 935"/>
                  <a:gd name="T70" fmla="*/ 584084 w 1497"/>
                  <a:gd name="T71" fmla="*/ 303408 h 935"/>
                  <a:gd name="T72" fmla="*/ 556130 w 1497"/>
                  <a:gd name="T73" fmla="*/ 295062 h 935"/>
                  <a:gd name="T74" fmla="*/ 537004 w 1497"/>
                  <a:gd name="T75" fmla="*/ 303408 h 935"/>
                  <a:gd name="T76" fmla="*/ 509051 w 1497"/>
                  <a:gd name="T77" fmla="*/ 320100 h 935"/>
                  <a:gd name="T78" fmla="*/ 489434 w 1497"/>
                  <a:gd name="T79" fmla="*/ 333847 h 935"/>
                  <a:gd name="T80" fmla="*/ 492376 w 1497"/>
                  <a:gd name="T81" fmla="*/ 355940 h 935"/>
                  <a:gd name="T82" fmla="*/ 484039 w 1497"/>
                  <a:gd name="T83" fmla="*/ 367232 h 935"/>
                  <a:gd name="T84" fmla="*/ 459028 w 1497"/>
                  <a:gd name="T85" fmla="*/ 378524 h 935"/>
                  <a:gd name="T86" fmla="*/ 439412 w 1497"/>
                  <a:gd name="T87" fmla="*/ 406017 h 935"/>
                  <a:gd name="T88" fmla="*/ 406063 w 1497"/>
                  <a:gd name="T89" fmla="*/ 389325 h 935"/>
                  <a:gd name="T90" fmla="*/ 364378 w 1497"/>
                  <a:gd name="T91" fmla="*/ 406017 h 935"/>
                  <a:gd name="T92" fmla="*/ 336424 w 1497"/>
                  <a:gd name="T93" fmla="*/ 420255 h 935"/>
                  <a:gd name="T94" fmla="*/ 311413 w 1497"/>
                  <a:gd name="T95" fmla="*/ 442348 h 935"/>
                  <a:gd name="T96" fmla="*/ 283950 w 1497"/>
                  <a:gd name="T97" fmla="*/ 425655 h 935"/>
                  <a:gd name="T98" fmla="*/ 289345 w 1497"/>
                  <a:gd name="T99" fmla="*/ 403562 h 935"/>
                  <a:gd name="T100" fmla="*/ 258939 w 1497"/>
                  <a:gd name="T101" fmla="*/ 403562 h 935"/>
                  <a:gd name="T102" fmla="*/ 253054 w 1497"/>
                  <a:gd name="T103" fmla="*/ 428601 h 935"/>
                  <a:gd name="T104" fmla="*/ 242265 w 1497"/>
                  <a:gd name="T105" fmla="*/ 453640 h 935"/>
                  <a:gd name="T106" fmla="*/ 219706 w 1497"/>
                  <a:gd name="T107" fmla="*/ 436947 h 935"/>
                  <a:gd name="T108" fmla="*/ 225591 w 1497"/>
                  <a:gd name="T109" fmla="*/ 406017 h 935"/>
                  <a:gd name="T110" fmla="*/ 169684 w 1497"/>
                  <a:gd name="T111" fmla="*/ 361832 h 935"/>
                  <a:gd name="T112" fmla="*/ 144672 w 1497"/>
                  <a:gd name="T113" fmla="*/ 378524 h 935"/>
                  <a:gd name="T114" fmla="*/ 94650 w 1497"/>
                  <a:gd name="T115" fmla="*/ 367232 h 935"/>
                  <a:gd name="T116" fmla="*/ 52965 w 1497"/>
                  <a:gd name="T117" fmla="*/ 342193 h 935"/>
                  <a:gd name="T118" fmla="*/ 52965 w 1497"/>
                  <a:gd name="T119" fmla="*/ 311754 h 935"/>
                  <a:gd name="T120" fmla="*/ 52965 w 1497"/>
                  <a:gd name="T121" fmla="*/ 272478 h 935"/>
                  <a:gd name="T122" fmla="*/ 27953 w 1497"/>
                  <a:gd name="T123" fmla="*/ 258731 h 935"/>
                  <a:gd name="T124" fmla="*/ 8337 w 1497"/>
                  <a:gd name="T125" fmla="*/ 197363 h 93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497" h="935">
                    <a:moveTo>
                      <a:pt x="0" y="396"/>
                    </a:moveTo>
                    <a:lnTo>
                      <a:pt x="6" y="396"/>
                    </a:lnTo>
                    <a:lnTo>
                      <a:pt x="6" y="391"/>
                    </a:lnTo>
                    <a:lnTo>
                      <a:pt x="12" y="391"/>
                    </a:lnTo>
                    <a:lnTo>
                      <a:pt x="12" y="385"/>
                    </a:lnTo>
                    <a:lnTo>
                      <a:pt x="12" y="379"/>
                    </a:lnTo>
                    <a:lnTo>
                      <a:pt x="12" y="374"/>
                    </a:lnTo>
                    <a:lnTo>
                      <a:pt x="17" y="374"/>
                    </a:lnTo>
                    <a:lnTo>
                      <a:pt x="29" y="374"/>
                    </a:lnTo>
                    <a:lnTo>
                      <a:pt x="29" y="368"/>
                    </a:lnTo>
                    <a:lnTo>
                      <a:pt x="29" y="362"/>
                    </a:lnTo>
                    <a:lnTo>
                      <a:pt x="29" y="357"/>
                    </a:lnTo>
                    <a:lnTo>
                      <a:pt x="29" y="351"/>
                    </a:lnTo>
                    <a:lnTo>
                      <a:pt x="34" y="351"/>
                    </a:lnTo>
                    <a:lnTo>
                      <a:pt x="34" y="345"/>
                    </a:lnTo>
                    <a:lnTo>
                      <a:pt x="29" y="345"/>
                    </a:lnTo>
                    <a:lnTo>
                      <a:pt x="29" y="340"/>
                    </a:lnTo>
                    <a:lnTo>
                      <a:pt x="34" y="340"/>
                    </a:lnTo>
                    <a:lnTo>
                      <a:pt x="34" y="334"/>
                    </a:lnTo>
                    <a:lnTo>
                      <a:pt x="34" y="328"/>
                    </a:lnTo>
                    <a:lnTo>
                      <a:pt x="40" y="328"/>
                    </a:lnTo>
                    <a:lnTo>
                      <a:pt x="40" y="323"/>
                    </a:lnTo>
                    <a:lnTo>
                      <a:pt x="46" y="323"/>
                    </a:lnTo>
                    <a:lnTo>
                      <a:pt x="46" y="317"/>
                    </a:lnTo>
                    <a:lnTo>
                      <a:pt x="40" y="317"/>
                    </a:lnTo>
                    <a:lnTo>
                      <a:pt x="34" y="317"/>
                    </a:lnTo>
                    <a:lnTo>
                      <a:pt x="34" y="311"/>
                    </a:lnTo>
                    <a:lnTo>
                      <a:pt x="40" y="311"/>
                    </a:lnTo>
                    <a:lnTo>
                      <a:pt x="40" y="306"/>
                    </a:lnTo>
                    <a:lnTo>
                      <a:pt x="40" y="300"/>
                    </a:lnTo>
                    <a:lnTo>
                      <a:pt x="46" y="294"/>
                    </a:lnTo>
                    <a:lnTo>
                      <a:pt x="51" y="294"/>
                    </a:lnTo>
                    <a:lnTo>
                      <a:pt x="51" y="289"/>
                    </a:lnTo>
                    <a:lnTo>
                      <a:pt x="57" y="289"/>
                    </a:lnTo>
                    <a:lnTo>
                      <a:pt x="57" y="283"/>
                    </a:lnTo>
                    <a:lnTo>
                      <a:pt x="57" y="277"/>
                    </a:lnTo>
                    <a:lnTo>
                      <a:pt x="51" y="277"/>
                    </a:lnTo>
                    <a:lnTo>
                      <a:pt x="51" y="272"/>
                    </a:lnTo>
                    <a:lnTo>
                      <a:pt x="57" y="266"/>
                    </a:lnTo>
                    <a:lnTo>
                      <a:pt x="63" y="266"/>
                    </a:lnTo>
                    <a:lnTo>
                      <a:pt x="63" y="260"/>
                    </a:lnTo>
                    <a:lnTo>
                      <a:pt x="57" y="255"/>
                    </a:lnTo>
                    <a:lnTo>
                      <a:pt x="57" y="249"/>
                    </a:lnTo>
                    <a:lnTo>
                      <a:pt x="63" y="249"/>
                    </a:lnTo>
                    <a:lnTo>
                      <a:pt x="63" y="243"/>
                    </a:lnTo>
                    <a:lnTo>
                      <a:pt x="63" y="238"/>
                    </a:lnTo>
                    <a:lnTo>
                      <a:pt x="68" y="238"/>
                    </a:lnTo>
                    <a:lnTo>
                      <a:pt x="68" y="232"/>
                    </a:lnTo>
                    <a:lnTo>
                      <a:pt x="63" y="232"/>
                    </a:lnTo>
                    <a:lnTo>
                      <a:pt x="68" y="226"/>
                    </a:lnTo>
                    <a:lnTo>
                      <a:pt x="74" y="232"/>
                    </a:lnTo>
                    <a:lnTo>
                      <a:pt x="80" y="232"/>
                    </a:lnTo>
                    <a:lnTo>
                      <a:pt x="80" y="226"/>
                    </a:lnTo>
                    <a:lnTo>
                      <a:pt x="74" y="226"/>
                    </a:lnTo>
                    <a:lnTo>
                      <a:pt x="80" y="221"/>
                    </a:lnTo>
                    <a:lnTo>
                      <a:pt x="80" y="215"/>
                    </a:lnTo>
                    <a:lnTo>
                      <a:pt x="86" y="209"/>
                    </a:lnTo>
                    <a:lnTo>
                      <a:pt x="91" y="204"/>
                    </a:lnTo>
                    <a:lnTo>
                      <a:pt x="97" y="204"/>
                    </a:lnTo>
                    <a:lnTo>
                      <a:pt x="97" y="198"/>
                    </a:lnTo>
                    <a:lnTo>
                      <a:pt x="97" y="192"/>
                    </a:lnTo>
                    <a:lnTo>
                      <a:pt x="103" y="192"/>
                    </a:lnTo>
                    <a:lnTo>
                      <a:pt x="108" y="192"/>
                    </a:lnTo>
                    <a:lnTo>
                      <a:pt x="108" y="187"/>
                    </a:lnTo>
                    <a:lnTo>
                      <a:pt x="108" y="181"/>
                    </a:lnTo>
                    <a:lnTo>
                      <a:pt x="114" y="181"/>
                    </a:lnTo>
                    <a:lnTo>
                      <a:pt x="120" y="181"/>
                    </a:lnTo>
                    <a:lnTo>
                      <a:pt x="120" y="175"/>
                    </a:lnTo>
                    <a:lnTo>
                      <a:pt x="120" y="181"/>
                    </a:lnTo>
                    <a:lnTo>
                      <a:pt x="120" y="187"/>
                    </a:lnTo>
                    <a:lnTo>
                      <a:pt x="125" y="187"/>
                    </a:lnTo>
                    <a:lnTo>
                      <a:pt x="125" y="181"/>
                    </a:lnTo>
                    <a:lnTo>
                      <a:pt x="131" y="181"/>
                    </a:lnTo>
                    <a:lnTo>
                      <a:pt x="137" y="181"/>
                    </a:lnTo>
                    <a:lnTo>
                      <a:pt x="142" y="181"/>
                    </a:lnTo>
                    <a:lnTo>
                      <a:pt x="148" y="181"/>
                    </a:lnTo>
                    <a:lnTo>
                      <a:pt x="154" y="175"/>
                    </a:lnTo>
                    <a:lnTo>
                      <a:pt x="159" y="175"/>
                    </a:lnTo>
                    <a:lnTo>
                      <a:pt x="165" y="175"/>
                    </a:lnTo>
                    <a:lnTo>
                      <a:pt x="171" y="175"/>
                    </a:lnTo>
                    <a:lnTo>
                      <a:pt x="176" y="175"/>
                    </a:lnTo>
                    <a:lnTo>
                      <a:pt x="176" y="170"/>
                    </a:lnTo>
                    <a:lnTo>
                      <a:pt x="182" y="175"/>
                    </a:lnTo>
                    <a:lnTo>
                      <a:pt x="188" y="175"/>
                    </a:lnTo>
                    <a:lnTo>
                      <a:pt x="199" y="175"/>
                    </a:lnTo>
                    <a:lnTo>
                      <a:pt x="199" y="181"/>
                    </a:lnTo>
                    <a:lnTo>
                      <a:pt x="205" y="181"/>
                    </a:lnTo>
                    <a:lnTo>
                      <a:pt x="210" y="181"/>
                    </a:lnTo>
                    <a:lnTo>
                      <a:pt x="216" y="181"/>
                    </a:lnTo>
                    <a:lnTo>
                      <a:pt x="222" y="175"/>
                    </a:lnTo>
                    <a:lnTo>
                      <a:pt x="227" y="175"/>
                    </a:lnTo>
                    <a:lnTo>
                      <a:pt x="227" y="181"/>
                    </a:lnTo>
                    <a:lnTo>
                      <a:pt x="233" y="181"/>
                    </a:lnTo>
                    <a:lnTo>
                      <a:pt x="233" y="187"/>
                    </a:lnTo>
                    <a:lnTo>
                      <a:pt x="239" y="187"/>
                    </a:lnTo>
                    <a:lnTo>
                      <a:pt x="233" y="192"/>
                    </a:lnTo>
                    <a:lnTo>
                      <a:pt x="239" y="192"/>
                    </a:lnTo>
                    <a:lnTo>
                      <a:pt x="244" y="192"/>
                    </a:lnTo>
                    <a:lnTo>
                      <a:pt x="250" y="192"/>
                    </a:lnTo>
                    <a:lnTo>
                      <a:pt x="250" y="198"/>
                    </a:lnTo>
                    <a:lnTo>
                      <a:pt x="256" y="198"/>
                    </a:lnTo>
                    <a:lnTo>
                      <a:pt x="256" y="204"/>
                    </a:lnTo>
                    <a:lnTo>
                      <a:pt x="261" y="204"/>
                    </a:lnTo>
                    <a:lnTo>
                      <a:pt x="267" y="204"/>
                    </a:lnTo>
                    <a:lnTo>
                      <a:pt x="267" y="209"/>
                    </a:lnTo>
                    <a:lnTo>
                      <a:pt x="273" y="209"/>
                    </a:lnTo>
                    <a:lnTo>
                      <a:pt x="273" y="215"/>
                    </a:lnTo>
                    <a:lnTo>
                      <a:pt x="278" y="215"/>
                    </a:lnTo>
                    <a:lnTo>
                      <a:pt x="278" y="209"/>
                    </a:lnTo>
                    <a:lnTo>
                      <a:pt x="278" y="215"/>
                    </a:lnTo>
                    <a:lnTo>
                      <a:pt x="284" y="215"/>
                    </a:lnTo>
                    <a:lnTo>
                      <a:pt x="278" y="215"/>
                    </a:lnTo>
                    <a:lnTo>
                      <a:pt x="278" y="221"/>
                    </a:lnTo>
                    <a:lnTo>
                      <a:pt x="284" y="221"/>
                    </a:lnTo>
                    <a:lnTo>
                      <a:pt x="290" y="221"/>
                    </a:lnTo>
                    <a:lnTo>
                      <a:pt x="295" y="221"/>
                    </a:lnTo>
                    <a:lnTo>
                      <a:pt x="301" y="226"/>
                    </a:lnTo>
                    <a:lnTo>
                      <a:pt x="301" y="232"/>
                    </a:lnTo>
                    <a:lnTo>
                      <a:pt x="307" y="232"/>
                    </a:lnTo>
                    <a:lnTo>
                      <a:pt x="307" y="238"/>
                    </a:lnTo>
                    <a:lnTo>
                      <a:pt x="312" y="238"/>
                    </a:lnTo>
                    <a:lnTo>
                      <a:pt x="318" y="238"/>
                    </a:lnTo>
                    <a:lnTo>
                      <a:pt x="318" y="243"/>
                    </a:lnTo>
                    <a:lnTo>
                      <a:pt x="318" y="249"/>
                    </a:lnTo>
                    <a:lnTo>
                      <a:pt x="324" y="249"/>
                    </a:lnTo>
                    <a:lnTo>
                      <a:pt x="324" y="255"/>
                    </a:lnTo>
                    <a:lnTo>
                      <a:pt x="329" y="255"/>
                    </a:lnTo>
                    <a:lnTo>
                      <a:pt x="335" y="255"/>
                    </a:lnTo>
                    <a:lnTo>
                      <a:pt x="335" y="260"/>
                    </a:lnTo>
                    <a:lnTo>
                      <a:pt x="341" y="260"/>
                    </a:lnTo>
                    <a:lnTo>
                      <a:pt x="341" y="266"/>
                    </a:lnTo>
                    <a:lnTo>
                      <a:pt x="346" y="272"/>
                    </a:lnTo>
                    <a:lnTo>
                      <a:pt x="352" y="272"/>
                    </a:lnTo>
                    <a:lnTo>
                      <a:pt x="352" y="266"/>
                    </a:lnTo>
                    <a:lnTo>
                      <a:pt x="358" y="266"/>
                    </a:lnTo>
                    <a:lnTo>
                      <a:pt x="363" y="266"/>
                    </a:lnTo>
                    <a:lnTo>
                      <a:pt x="369" y="266"/>
                    </a:lnTo>
                    <a:lnTo>
                      <a:pt x="369" y="272"/>
                    </a:lnTo>
                    <a:lnTo>
                      <a:pt x="369" y="277"/>
                    </a:lnTo>
                    <a:lnTo>
                      <a:pt x="369" y="272"/>
                    </a:lnTo>
                    <a:lnTo>
                      <a:pt x="369" y="277"/>
                    </a:lnTo>
                    <a:lnTo>
                      <a:pt x="375" y="272"/>
                    </a:lnTo>
                    <a:lnTo>
                      <a:pt x="380" y="277"/>
                    </a:lnTo>
                    <a:lnTo>
                      <a:pt x="380" y="272"/>
                    </a:lnTo>
                    <a:lnTo>
                      <a:pt x="386" y="272"/>
                    </a:lnTo>
                    <a:lnTo>
                      <a:pt x="392" y="272"/>
                    </a:lnTo>
                    <a:lnTo>
                      <a:pt x="397" y="272"/>
                    </a:lnTo>
                    <a:lnTo>
                      <a:pt x="403" y="272"/>
                    </a:lnTo>
                    <a:lnTo>
                      <a:pt x="403" y="266"/>
                    </a:lnTo>
                    <a:lnTo>
                      <a:pt x="409" y="266"/>
                    </a:lnTo>
                    <a:lnTo>
                      <a:pt x="409" y="272"/>
                    </a:lnTo>
                    <a:lnTo>
                      <a:pt x="414" y="272"/>
                    </a:lnTo>
                    <a:lnTo>
                      <a:pt x="414" y="266"/>
                    </a:lnTo>
                    <a:lnTo>
                      <a:pt x="420" y="272"/>
                    </a:lnTo>
                    <a:lnTo>
                      <a:pt x="426" y="272"/>
                    </a:lnTo>
                    <a:lnTo>
                      <a:pt x="426" y="277"/>
                    </a:lnTo>
                    <a:lnTo>
                      <a:pt x="431" y="283"/>
                    </a:lnTo>
                    <a:lnTo>
                      <a:pt x="431" y="289"/>
                    </a:lnTo>
                    <a:lnTo>
                      <a:pt x="437" y="289"/>
                    </a:lnTo>
                    <a:lnTo>
                      <a:pt x="443" y="289"/>
                    </a:lnTo>
                    <a:lnTo>
                      <a:pt x="443" y="294"/>
                    </a:lnTo>
                    <a:lnTo>
                      <a:pt x="437" y="294"/>
                    </a:lnTo>
                    <a:lnTo>
                      <a:pt x="443" y="294"/>
                    </a:lnTo>
                    <a:lnTo>
                      <a:pt x="448" y="294"/>
                    </a:lnTo>
                    <a:lnTo>
                      <a:pt x="448" y="300"/>
                    </a:lnTo>
                    <a:lnTo>
                      <a:pt x="460" y="306"/>
                    </a:lnTo>
                    <a:lnTo>
                      <a:pt x="465" y="306"/>
                    </a:lnTo>
                    <a:lnTo>
                      <a:pt x="471" y="306"/>
                    </a:lnTo>
                    <a:lnTo>
                      <a:pt x="471" y="300"/>
                    </a:lnTo>
                    <a:lnTo>
                      <a:pt x="477" y="300"/>
                    </a:lnTo>
                    <a:lnTo>
                      <a:pt x="482" y="300"/>
                    </a:lnTo>
                    <a:lnTo>
                      <a:pt x="488" y="300"/>
                    </a:lnTo>
                    <a:lnTo>
                      <a:pt x="494" y="300"/>
                    </a:lnTo>
                    <a:lnTo>
                      <a:pt x="511" y="306"/>
                    </a:lnTo>
                    <a:lnTo>
                      <a:pt x="511" y="311"/>
                    </a:lnTo>
                    <a:lnTo>
                      <a:pt x="516" y="311"/>
                    </a:lnTo>
                    <a:lnTo>
                      <a:pt x="522" y="317"/>
                    </a:lnTo>
                    <a:lnTo>
                      <a:pt x="528" y="317"/>
                    </a:lnTo>
                    <a:lnTo>
                      <a:pt x="533" y="317"/>
                    </a:lnTo>
                    <a:lnTo>
                      <a:pt x="539" y="323"/>
                    </a:lnTo>
                    <a:lnTo>
                      <a:pt x="545" y="323"/>
                    </a:lnTo>
                    <a:lnTo>
                      <a:pt x="550" y="317"/>
                    </a:lnTo>
                    <a:lnTo>
                      <a:pt x="556" y="317"/>
                    </a:lnTo>
                    <a:lnTo>
                      <a:pt x="562" y="317"/>
                    </a:lnTo>
                    <a:lnTo>
                      <a:pt x="562" y="323"/>
                    </a:lnTo>
                    <a:lnTo>
                      <a:pt x="567" y="323"/>
                    </a:lnTo>
                    <a:lnTo>
                      <a:pt x="573" y="323"/>
                    </a:lnTo>
                    <a:lnTo>
                      <a:pt x="579" y="323"/>
                    </a:lnTo>
                    <a:lnTo>
                      <a:pt x="584" y="317"/>
                    </a:lnTo>
                    <a:lnTo>
                      <a:pt x="584" y="323"/>
                    </a:lnTo>
                    <a:lnTo>
                      <a:pt x="590" y="317"/>
                    </a:lnTo>
                    <a:lnTo>
                      <a:pt x="596" y="317"/>
                    </a:lnTo>
                    <a:lnTo>
                      <a:pt x="601" y="317"/>
                    </a:lnTo>
                    <a:lnTo>
                      <a:pt x="607" y="317"/>
                    </a:lnTo>
                    <a:lnTo>
                      <a:pt x="607" y="311"/>
                    </a:lnTo>
                    <a:lnTo>
                      <a:pt x="618" y="306"/>
                    </a:lnTo>
                    <a:lnTo>
                      <a:pt x="624" y="306"/>
                    </a:lnTo>
                    <a:lnTo>
                      <a:pt x="630" y="300"/>
                    </a:lnTo>
                    <a:lnTo>
                      <a:pt x="630" y="294"/>
                    </a:lnTo>
                    <a:lnTo>
                      <a:pt x="635" y="294"/>
                    </a:lnTo>
                    <a:lnTo>
                      <a:pt x="641" y="294"/>
                    </a:lnTo>
                    <a:lnTo>
                      <a:pt x="647" y="294"/>
                    </a:lnTo>
                    <a:lnTo>
                      <a:pt x="652" y="294"/>
                    </a:lnTo>
                    <a:lnTo>
                      <a:pt x="652" y="300"/>
                    </a:lnTo>
                    <a:lnTo>
                      <a:pt x="658" y="300"/>
                    </a:lnTo>
                    <a:lnTo>
                      <a:pt x="664" y="306"/>
                    </a:lnTo>
                    <a:lnTo>
                      <a:pt x="669" y="306"/>
                    </a:lnTo>
                    <a:lnTo>
                      <a:pt x="675" y="306"/>
                    </a:lnTo>
                    <a:lnTo>
                      <a:pt x="681" y="306"/>
                    </a:lnTo>
                    <a:lnTo>
                      <a:pt x="686" y="306"/>
                    </a:lnTo>
                    <a:lnTo>
                      <a:pt x="692" y="306"/>
                    </a:lnTo>
                    <a:lnTo>
                      <a:pt x="703" y="306"/>
                    </a:lnTo>
                    <a:lnTo>
                      <a:pt x="709" y="306"/>
                    </a:lnTo>
                    <a:lnTo>
                      <a:pt x="715" y="306"/>
                    </a:lnTo>
                    <a:lnTo>
                      <a:pt x="720" y="306"/>
                    </a:lnTo>
                    <a:lnTo>
                      <a:pt x="732" y="300"/>
                    </a:lnTo>
                    <a:lnTo>
                      <a:pt x="737" y="300"/>
                    </a:lnTo>
                    <a:lnTo>
                      <a:pt x="743" y="294"/>
                    </a:lnTo>
                    <a:lnTo>
                      <a:pt x="749" y="294"/>
                    </a:lnTo>
                    <a:lnTo>
                      <a:pt x="749" y="289"/>
                    </a:lnTo>
                    <a:lnTo>
                      <a:pt x="766" y="277"/>
                    </a:lnTo>
                    <a:lnTo>
                      <a:pt x="777" y="272"/>
                    </a:lnTo>
                    <a:lnTo>
                      <a:pt x="783" y="272"/>
                    </a:lnTo>
                    <a:lnTo>
                      <a:pt x="783" y="266"/>
                    </a:lnTo>
                    <a:lnTo>
                      <a:pt x="800" y="238"/>
                    </a:lnTo>
                    <a:lnTo>
                      <a:pt x="800" y="226"/>
                    </a:lnTo>
                    <a:lnTo>
                      <a:pt x="805" y="221"/>
                    </a:lnTo>
                    <a:lnTo>
                      <a:pt x="811" y="215"/>
                    </a:lnTo>
                    <a:lnTo>
                      <a:pt x="811" y="209"/>
                    </a:lnTo>
                    <a:lnTo>
                      <a:pt x="811" y="204"/>
                    </a:lnTo>
                    <a:lnTo>
                      <a:pt x="817" y="198"/>
                    </a:lnTo>
                    <a:lnTo>
                      <a:pt x="817" y="175"/>
                    </a:lnTo>
                    <a:lnTo>
                      <a:pt x="822" y="170"/>
                    </a:lnTo>
                    <a:lnTo>
                      <a:pt x="828" y="164"/>
                    </a:lnTo>
                    <a:lnTo>
                      <a:pt x="828" y="158"/>
                    </a:lnTo>
                    <a:lnTo>
                      <a:pt x="834" y="147"/>
                    </a:lnTo>
                    <a:lnTo>
                      <a:pt x="839" y="141"/>
                    </a:lnTo>
                    <a:lnTo>
                      <a:pt x="845" y="130"/>
                    </a:lnTo>
                    <a:lnTo>
                      <a:pt x="845" y="124"/>
                    </a:lnTo>
                    <a:lnTo>
                      <a:pt x="851" y="113"/>
                    </a:lnTo>
                    <a:lnTo>
                      <a:pt x="856" y="102"/>
                    </a:lnTo>
                    <a:lnTo>
                      <a:pt x="862" y="90"/>
                    </a:lnTo>
                    <a:lnTo>
                      <a:pt x="862" y="85"/>
                    </a:lnTo>
                    <a:lnTo>
                      <a:pt x="862" y="79"/>
                    </a:lnTo>
                    <a:lnTo>
                      <a:pt x="868" y="79"/>
                    </a:lnTo>
                    <a:lnTo>
                      <a:pt x="868" y="68"/>
                    </a:lnTo>
                    <a:lnTo>
                      <a:pt x="868" y="62"/>
                    </a:lnTo>
                    <a:lnTo>
                      <a:pt x="868" y="56"/>
                    </a:lnTo>
                    <a:lnTo>
                      <a:pt x="868" y="51"/>
                    </a:lnTo>
                    <a:lnTo>
                      <a:pt x="862" y="51"/>
                    </a:lnTo>
                    <a:lnTo>
                      <a:pt x="862" y="45"/>
                    </a:lnTo>
                    <a:lnTo>
                      <a:pt x="862" y="39"/>
                    </a:lnTo>
                    <a:lnTo>
                      <a:pt x="862" y="34"/>
                    </a:lnTo>
                    <a:lnTo>
                      <a:pt x="868" y="34"/>
                    </a:lnTo>
                    <a:lnTo>
                      <a:pt x="873" y="34"/>
                    </a:lnTo>
                    <a:lnTo>
                      <a:pt x="879" y="34"/>
                    </a:lnTo>
                    <a:lnTo>
                      <a:pt x="879" y="28"/>
                    </a:lnTo>
                    <a:lnTo>
                      <a:pt x="885" y="22"/>
                    </a:lnTo>
                    <a:lnTo>
                      <a:pt x="896" y="22"/>
                    </a:lnTo>
                    <a:lnTo>
                      <a:pt x="902" y="22"/>
                    </a:lnTo>
                    <a:lnTo>
                      <a:pt x="907" y="22"/>
                    </a:lnTo>
                    <a:lnTo>
                      <a:pt x="913" y="22"/>
                    </a:lnTo>
                    <a:lnTo>
                      <a:pt x="930" y="17"/>
                    </a:lnTo>
                    <a:lnTo>
                      <a:pt x="936" y="17"/>
                    </a:lnTo>
                    <a:lnTo>
                      <a:pt x="947" y="17"/>
                    </a:lnTo>
                    <a:lnTo>
                      <a:pt x="964" y="11"/>
                    </a:lnTo>
                    <a:lnTo>
                      <a:pt x="970" y="11"/>
                    </a:lnTo>
                    <a:lnTo>
                      <a:pt x="993" y="5"/>
                    </a:lnTo>
                    <a:lnTo>
                      <a:pt x="998" y="5"/>
                    </a:lnTo>
                    <a:lnTo>
                      <a:pt x="1004" y="5"/>
                    </a:lnTo>
                    <a:lnTo>
                      <a:pt x="1004" y="0"/>
                    </a:lnTo>
                    <a:lnTo>
                      <a:pt x="1010" y="0"/>
                    </a:lnTo>
                    <a:lnTo>
                      <a:pt x="1010" y="5"/>
                    </a:lnTo>
                    <a:lnTo>
                      <a:pt x="1015" y="5"/>
                    </a:lnTo>
                    <a:lnTo>
                      <a:pt x="1015" y="11"/>
                    </a:lnTo>
                    <a:lnTo>
                      <a:pt x="1015" y="17"/>
                    </a:lnTo>
                    <a:lnTo>
                      <a:pt x="1010" y="22"/>
                    </a:lnTo>
                    <a:lnTo>
                      <a:pt x="1010" y="28"/>
                    </a:lnTo>
                    <a:lnTo>
                      <a:pt x="1015" y="28"/>
                    </a:lnTo>
                    <a:lnTo>
                      <a:pt x="1015" y="39"/>
                    </a:lnTo>
                    <a:lnTo>
                      <a:pt x="1021" y="39"/>
                    </a:lnTo>
                    <a:lnTo>
                      <a:pt x="1021" y="45"/>
                    </a:lnTo>
                    <a:lnTo>
                      <a:pt x="1021" y="51"/>
                    </a:lnTo>
                    <a:lnTo>
                      <a:pt x="1027" y="51"/>
                    </a:lnTo>
                    <a:lnTo>
                      <a:pt x="1049" y="51"/>
                    </a:lnTo>
                    <a:lnTo>
                      <a:pt x="1055" y="56"/>
                    </a:lnTo>
                    <a:lnTo>
                      <a:pt x="1066" y="51"/>
                    </a:lnTo>
                    <a:lnTo>
                      <a:pt x="1078" y="62"/>
                    </a:lnTo>
                    <a:lnTo>
                      <a:pt x="1089" y="62"/>
                    </a:lnTo>
                    <a:lnTo>
                      <a:pt x="1100" y="68"/>
                    </a:lnTo>
                    <a:lnTo>
                      <a:pt x="1106" y="62"/>
                    </a:lnTo>
                    <a:lnTo>
                      <a:pt x="1106" y="56"/>
                    </a:lnTo>
                    <a:lnTo>
                      <a:pt x="1134" y="51"/>
                    </a:lnTo>
                    <a:lnTo>
                      <a:pt x="1151" y="45"/>
                    </a:lnTo>
                    <a:lnTo>
                      <a:pt x="1151" y="39"/>
                    </a:lnTo>
                    <a:lnTo>
                      <a:pt x="1163" y="39"/>
                    </a:lnTo>
                    <a:lnTo>
                      <a:pt x="1163" y="28"/>
                    </a:lnTo>
                    <a:lnTo>
                      <a:pt x="1168" y="28"/>
                    </a:lnTo>
                    <a:lnTo>
                      <a:pt x="1174" y="28"/>
                    </a:lnTo>
                    <a:lnTo>
                      <a:pt x="1174" y="39"/>
                    </a:lnTo>
                    <a:lnTo>
                      <a:pt x="1174" y="51"/>
                    </a:lnTo>
                    <a:lnTo>
                      <a:pt x="1180" y="56"/>
                    </a:lnTo>
                    <a:lnTo>
                      <a:pt x="1180" y="62"/>
                    </a:lnTo>
                    <a:lnTo>
                      <a:pt x="1180" y="73"/>
                    </a:lnTo>
                    <a:lnTo>
                      <a:pt x="1185" y="73"/>
                    </a:lnTo>
                    <a:lnTo>
                      <a:pt x="1197" y="79"/>
                    </a:lnTo>
                    <a:lnTo>
                      <a:pt x="1202" y="85"/>
                    </a:lnTo>
                    <a:lnTo>
                      <a:pt x="1202" y="90"/>
                    </a:lnTo>
                    <a:lnTo>
                      <a:pt x="1208" y="90"/>
                    </a:lnTo>
                    <a:lnTo>
                      <a:pt x="1202" y="96"/>
                    </a:lnTo>
                    <a:lnTo>
                      <a:pt x="1242" y="102"/>
                    </a:lnTo>
                    <a:lnTo>
                      <a:pt x="1253" y="113"/>
                    </a:lnTo>
                    <a:lnTo>
                      <a:pt x="1253" y="119"/>
                    </a:lnTo>
                    <a:lnTo>
                      <a:pt x="1259" y="119"/>
                    </a:lnTo>
                    <a:lnTo>
                      <a:pt x="1270" y="119"/>
                    </a:lnTo>
                    <a:lnTo>
                      <a:pt x="1276" y="119"/>
                    </a:lnTo>
                    <a:lnTo>
                      <a:pt x="1287" y="113"/>
                    </a:lnTo>
                    <a:lnTo>
                      <a:pt x="1293" y="119"/>
                    </a:lnTo>
                    <a:lnTo>
                      <a:pt x="1293" y="124"/>
                    </a:lnTo>
                    <a:lnTo>
                      <a:pt x="1299" y="130"/>
                    </a:lnTo>
                    <a:lnTo>
                      <a:pt x="1304" y="130"/>
                    </a:lnTo>
                    <a:lnTo>
                      <a:pt x="1310" y="119"/>
                    </a:lnTo>
                    <a:lnTo>
                      <a:pt x="1316" y="119"/>
                    </a:lnTo>
                    <a:lnTo>
                      <a:pt x="1316" y="113"/>
                    </a:lnTo>
                    <a:lnTo>
                      <a:pt x="1316" y="107"/>
                    </a:lnTo>
                    <a:lnTo>
                      <a:pt x="1316" y="102"/>
                    </a:lnTo>
                    <a:lnTo>
                      <a:pt x="1316" y="96"/>
                    </a:lnTo>
                    <a:lnTo>
                      <a:pt x="1327" y="90"/>
                    </a:lnTo>
                    <a:lnTo>
                      <a:pt x="1333" y="96"/>
                    </a:lnTo>
                    <a:lnTo>
                      <a:pt x="1338" y="90"/>
                    </a:lnTo>
                    <a:lnTo>
                      <a:pt x="1350" y="102"/>
                    </a:lnTo>
                    <a:lnTo>
                      <a:pt x="1355" y="96"/>
                    </a:lnTo>
                    <a:lnTo>
                      <a:pt x="1361" y="96"/>
                    </a:lnTo>
                    <a:lnTo>
                      <a:pt x="1367" y="96"/>
                    </a:lnTo>
                    <a:lnTo>
                      <a:pt x="1372" y="96"/>
                    </a:lnTo>
                    <a:lnTo>
                      <a:pt x="1401" y="102"/>
                    </a:lnTo>
                    <a:lnTo>
                      <a:pt x="1406" y="102"/>
                    </a:lnTo>
                    <a:lnTo>
                      <a:pt x="1406" y="96"/>
                    </a:lnTo>
                    <a:lnTo>
                      <a:pt x="1418" y="96"/>
                    </a:lnTo>
                    <a:lnTo>
                      <a:pt x="1423" y="96"/>
                    </a:lnTo>
                    <a:lnTo>
                      <a:pt x="1423" y="102"/>
                    </a:lnTo>
                    <a:lnTo>
                      <a:pt x="1446" y="102"/>
                    </a:lnTo>
                    <a:lnTo>
                      <a:pt x="1452" y="102"/>
                    </a:lnTo>
                    <a:lnTo>
                      <a:pt x="1457" y="107"/>
                    </a:lnTo>
                    <a:lnTo>
                      <a:pt x="1474" y="113"/>
                    </a:lnTo>
                    <a:lnTo>
                      <a:pt x="1480" y="113"/>
                    </a:lnTo>
                    <a:lnTo>
                      <a:pt x="1486" y="119"/>
                    </a:lnTo>
                    <a:lnTo>
                      <a:pt x="1480" y="130"/>
                    </a:lnTo>
                    <a:lnTo>
                      <a:pt x="1480" y="136"/>
                    </a:lnTo>
                    <a:lnTo>
                      <a:pt x="1469" y="136"/>
                    </a:lnTo>
                    <a:lnTo>
                      <a:pt x="1463" y="130"/>
                    </a:lnTo>
                    <a:lnTo>
                      <a:pt x="1457" y="130"/>
                    </a:lnTo>
                    <a:lnTo>
                      <a:pt x="1446" y="130"/>
                    </a:lnTo>
                    <a:lnTo>
                      <a:pt x="1440" y="136"/>
                    </a:lnTo>
                    <a:lnTo>
                      <a:pt x="1440" y="141"/>
                    </a:lnTo>
                    <a:lnTo>
                      <a:pt x="1452" y="141"/>
                    </a:lnTo>
                    <a:lnTo>
                      <a:pt x="1457" y="147"/>
                    </a:lnTo>
                    <a:lnTo>
                      <a:pt x="1457" y="158"/>
                    </a:lnTo>
                    <a:lnTo>
                      <a:pt x="1463" y="158"/>
                    </a:lnTo>
                    <a:lnTo>
                      <a:pt x="1480" y="153"/>
                    </a:lnTo>
                    <a:lnTo>
                      <a:pt x="1480" y="158"/>
                    </a:lnTo>
                    <a:lnTo>
                      <a:pt x="1486" y="164"/>
                    </a:lnTo>
                    <a:lnTo>
                      <a:pt x="1491" y="170"/>
                    </a:lnTo>
                    <a:lnTo>
                      <a:pt x="1491" y="175"/>
                    </a:lnTo>
                    <a:lnTo>
                      <a:pt x="1497" y="175"/>
                    </a:lnTo>
                    <a:lnTo>
                      <a:pt x="1497" y="187"/>
                    </a:lnTo>
                    <a:lnTo>
                      <a:pt x="1497" y="209"/>
                    </a:lnTo>
                    <a:lnTo>
                      <a:pt x="1486" y="215"/>
                    </a:lnTo>
                    <a:lnTo>
                      <a:pt x="1480" y="215"/>
                    </a:lnTo>
                    <a:lnTo>
                      <a:pt x="1474" y="215"/>
                    </a:lnTo>
                    <a:lnTo>
                      <a:pt x="1469" y="215"/>
                    </a:lnTo>
                    <a:lnTo>
                      <a:pt x="1463" y="215"/>
                    </a:lnTo>
                    <a:lnTo>
                      <a:pt x="1457" y="221"/>
                    </a:lnTo>
                    <a:lnTo>
                      <a:pt x="1452" y="221"/>
                    </a:lnTo>
                    <a:lnTo>
                      <a:pt x="1452" y="215"/>
                    </a:lnTo>
                    <a:lnTo>
                      <a:pt x="1457" y="209"/>
                    </a:lnTo>
                    <a:lnTo>
                      <a:pt x="1457" y="204"/>
                    </a:lnTo>
                    <a:lnTo>
                      <a:pt x="1446" y="204"/>
                    </a:lnTo>
                    <a:lnTo>
                      <a:pt x="1435" y="209"/>
                    </a:lnTo>
                    <a:lnTo>
                      <a:pt x="1435" y="215"/>
                    </a:lnTo>
                    <a:lnTo>
                      <a:pt x="1440" y="221"/>
                    </a:lnTo>
                    <a:lnTo>
                      <a:pt x="1440" y="226"/>
                    </a:lnTo>
                    <a:lnTo>
                      <a:pt x="1440" y="238"/>
                    </a:lnTo>
                    <a:lnTo>
                      <a:pt x="1446" y="238"/>
                    </a:lnTo>
                    <a:lnTo>
                      <a:pt x="1446" y="249"/>
                    </a:lnTo>
                    <a:lnTo>
                      <a:pt x="1440" y="249"/>
                    </a:lnTo>
                    <a:lnTo>
                      <a:pt x="1435" y="255"/>
                    </a:lnTo>
                    <a:lnTo>
                      <a:pt x="1429" y="260"/>
                    </a:lnTo>
                    <a:lnTo>
                      <a:pt x="1429" y="266"/>
                    </a:lnTo>
                    <a:lnTo>
                      <a:pt x="1423" y="266"/>
                    </a:lnTo>
                    <a:lnTo>
                      <a:pt x="1423" y="272"/>
                    </a:lnTo>
                    <a:lnTo>
                      <a:pt x="1418" y="272"/>
                    </a:lnTo>
                    <a:lnTo>
                      <a:pt x="1412" y="272"/>
                    </a:lnTo>
                    <a:lnTo>
                      <a:pt x="1401" y="272"/>
                    </a:lnTo>
                    <a:lnTo>
                      <a:pt x="1401" y="277"/>
                    </a:lnTo>
                    <a:lnTo>
                      <a:pt x="1406" y="289"/>
                    </a:lnTo>
                    <a:lnTo>
                      <a:pt x="1412" y="300"/>
                    </a:lnTo>
                    <a:lnTo>
                      <a:pt x="1401" y="300"/>
                    </a:lnTo>
                    <a:lnTo>
                      <a:pt x="1406" y="317"/>
                    </a:lnTo>
                    <a:lnTo>
                      <a:pt x="1401" y="323"/>
                    </a:lnTo>
                    <a:lnTo>
                      <a:pt x="1401" y="328"/>
                    </a:lnTo>
                    <a:lnTo>
                      <a:pt x="1389" y="323"/>
                    </a:lnTo>
                    <a:lnTo>
                      <a:pt x="1389" y="328"/>
                    </a:lnTo>
                    <a:lnTo>
                      <a:pt x="1367" y="334"/>
                    </a:lnTo>
                    <a:lnTo>
                      <a:pt x="1344" y="340"/>
                    </a:lnTo>
                    <a:lnTo>
                      <a:pt x="1344" y="328"/>
                    </a:lnTo>
                    <a:lnTo>
                      <a:pt x="1327" y="334"/>
                    </a:lnTo>
                    <a:lnTo>
                      <a:pt x="1321" y="323"/>
                    </a:lnTo>
                    <a:lnTo>
                      <a:pt x="1316" y="311"/>
                    </a:lnTo>
                    <a:lnTo>
                      <a:pt x="1293" y="328"/>
                    </a:lnTo>
                    <a:lnTo>
                      <a:pt x="1270" y="334"/>
                    </a:lnTo>
                    <a:lnTo>
                      <a:pt x="1270" y="357"/>
                    </a:lnTo>
                    <a:lnTo>
                      <a:pt x="1265" y="368"/>
                    </a:lnTo>
                    <a:lnTo>
                      <a:pt x="1259" y="396"/>
                    </a:lnTo>
                    <a:lnTo>
                      <a:pt x="1259" y="402"/>
                    </a:lnTo>
                    <a:lnTo>
                      <a:pt x="1242" y="408"/>
                    </a:lnTo>
                    <a:lnTo>
                      <a:pt x="1242" y="413"/>
                    </a:lnTo>
                    <a:lnTo>
                      <a:pt x="1225" y="413"/>
                    </a:lnTo>
                    <a:lnTo>
                      <a:pt x="1231" y="453"/>
                    </a:lnTo>
                    <a:lnTo>
                      <a:pt x="1208" y="464"/>
                    </a:lnTo>
                    <a:lnTo>
                      <a:pt x="1191" y="476"/>
                    </a:lnTo>
                    <a:lnTo>
                      <a:pt x="1202" y="487"/>
                    </a:lnTo>
                    <a:lnTo>
                      <a:pt x="1202" y="498"/>
                    </a:lnTo>
                    <a:lnTo>
                      <a:pt x="1208" y="498"/>
                    </a:lnTo>
                    <a:lnTo>
                      <a:pt x="1202" y="510"/>
                    </a:lnTo>
                    <a:lnTo>
                      <a:pt x="1236" y="498"/>
                    </a:lnTo>
                    <a:lnTo>
                      <a:pt x="1236" y="487"/>
                    </a:lnTo>
                    <a:lnTo>
                      <a:pt x="1276" y="481"/>
                    </a:lnTo>
                    <a:lnTo>
                      <a:pt x="1276" y="487"/>
                    </a:lnTo>
                    <a:lnTo>
                      <a:pt x="1282" y="487"/>
                    </a:lnTo>
                    <a:lnTo>
                      <a:pt x="1282" y="493"/>
                    </a:lnTo>
                    <a:lnTo>
                      <a:pt x="1304" y="493"/>
                    </a:lnTo>
                    <a:lnTo>
                      <a:pt x="1304" y="504"/>
                    </a:lnTo>
                    <a:lnTo>
                      <a:pt x="1299" y="504"/>
                    </a:lnTo>
                    <a:lnTo>
                      <a:pt x="1299" y="510"/>
                    </a:lnTo>
                    <a:lnTo>
                      <a:pt x="1299" y="515"/>
                    </a:lnTo>
                    <a:lnTo>
                      <a:pt x="1293" y="527"/>
                    </a:lnTo>
                    <a:lnTo>
                      <a:pt x="1287" y="527"/>
                    </a:lnTo>
                    <a:lnTo>
                      <a:pt x="1299" y="538"/>
                    </a:lnTo>
                    <a:lnTo>
                      <a:pt x="1287" y="578"/>
                    </a:lnTo>
                    <a:lnTo>
                      <a:pt x="1282" y="578"/>
                    </a:lnTo>
                    <a:lnTo>
                      <a:pt x="1282" y="584"/>
                    </a:lnTo>
                    <a:lnTo>
                      <a:pt x="1282" y="589"/>
                    </a:lnTo>
                    <a:lnTo>
                      <a:pt x="1282" y="595"/>
                    </a:lnTo>
                    <a:lnTo>
                      <a:pt x="1276" y="595"/>
                    </a:lnTo>
                    <a:lnTo>
                      <a:pt x="1276" y="601"/>
                    </a:lnTo>
                    <a:lnTo>
                      <a:pt x="1276" y="606"/>
                    </a:lnTo>
                    <a:lnTo>
                      <a:pt x="1270" y="606"/>
                    </a:lnTo>
                    <a:lnTo>
                      <a:pt x="1265" y="606"/>
                    </a:lnTo>
                    <a:lnTo>
                      <a:pt x="1265" y="612"/>
                    </a:lnTo>
                    <a:lnTo>
                      <a:pt x="1259" y="618"/>
                    </a:lnTo>
                    <a:lnTo>
                      <a:pt x="1253" y="618"/>
                    </a:lnTo>
                    <a:lnTo>
                      <a:pt x="1248" y="612"/>
                    </a:lnTo>
                    <a:lnTo>
                      <a:pt x="1236" y="601"/>
                    </a:lnTo>
                    <a:lnTo>
                      <a:pt x="1236" y="595"/>
                    </a:lnTo>
                    <a:lnTo>
                      <a:pt x="1231" y="595"/>
                    </a:lnTo>
                    <a:lnTo>
                      <a:pt x="1225" y="601"/>
                    </a:lnTo>
                    <a:lnTo>
                      <a:pt x="1219" y="606"/>
                    </a:lnTo>
                    <a:lnTo>
                      <a:pt x="1214" y="612"/>
                    </a:lnTo>
                    <a:lnTo>
                      <a:pt x="1208" y="618"/>
                    </a:lnTo>
                    <a:lnTo>
                      <a:pt x="1202" y="623"/>
                    </a:lnTo>
                    <a:lnTo>
                      <a:pt x="1202" y="629"/>
                    </a:lnTo>
                    <a:lnTo>
                      <a:pt x="1197" y="629"/>
                    </a:lnTo>
                    <a:lnTo>
                      <a:pt x="1191" y="629"/>
                    </a:lnTo>
                    <a:lnTo>
                      <a:pt x="1191" y="623"/>
                    </a:lnTo>
                    <a:lnTo>
                      <a:pt x="1197" y="623"/>
                    </a:lnTo>
                    <a:lnTo>
                      <a:pt x="1197" y="618"/>
                    </a:lnTo>
                    <a:lnTo>
                      <a:pt x="1191" y="618"/>
                    </a:lnTo>
                    <a:lnTo>
                      <a:pt x="1185" y="618"/>
                    </a:lnTo>
                    <a:lnTo>
                      <a:pt x="1185" y="623"/>
                    </a:lnTo>
                    <a:lnTo>
                      <a:pt x="1180" y="623"/>
                    </a:lnTo>
                    <a:lnTo>
                      <a:pt x="1174" y="618"/>
                    </a:lnTo>
                    <a:lnTo>
                      <a:pt x="1168" y="618"/>
                    </a:lnTo>
                    <a:lnTo>
                      <a:pt x="1163" y="618"/>
                    </a:lnTo>
                    <a:lnTo>
                      <a:pt x="1157" y="623"/>
                    </a:lnTo>
                    <a:lnTo>
                      <a:pt x="1151" y="623"/>
                    </a:lnTo>
                    <a:lnTo>
                      <a:pt x="1151" y="618"/>
                    </a:lnTo>
                    <a:lnTo>
                      <a:pt x="1146" y="618"/>
                    </a:lnTo>
                    <a:lnTo>
                      <a:pt x="1134" y="612"/>
                    </a:lnTo>
                    <a:lnTo>
                      <a:pt x="1134" y="606"/>
                    </a:lnTo>
                    <a:lnTo>
                      <a:pt x="1134" y="601"/>
                    </a:lnTo>
                    <a:lnTo>
                      <a:pt x="1129" y="601"/>
                    </a:lnTo>
                    <a:lnTo>
                      <a:pt x="1129" y="606"/>
                    </a:lnTo>
                    <a:lnTo>
                      <a:pt x="1123" y="612"/>
                    </a:lnTo>
                    <a:lnTo>
                      <a:pt x="1129" y="629"/>
                    </a:lnTo>
                    <a:lnTo>
                      <a:pt x="1123" y="629"/>
                    </a:lnTo>
                    <a:lnTo>
                      <a:pt x="1123" y="623"/>
                    </a:lnTo>
                    <a:lnTo>
                      <a:pt x="1123" y="618"/>
                    </a:lnTo>
                    <a:lnTo>
                      <a:pt x="1117" y="618"/>
                    </a:lnTo>
                    <a:lnTo>
                      <a:pt x="1112" y="618"/>
                    </a:lnTo>
                    <a:lnTo>
                      <a:pt x="1106" y="618"/>
                    </a:lnTo>
                    <a:lnTo>
                      <a:pt x="1100" y="623"/>
                    </a:lnTo>
                    <a:lnTo>
                      <a:pt x="1095" y="623"/>
                    </a:lnTo>
                    <a:lnTo>
                      <a:pt x="1095" y="618"/>
                    </a:lnTo>
                    <a:lnTo>
                      <a:pt x="1089" y="623"/>
                    </a:lnTo>
                    <a:lnTo>
                      <a:pt x="1078" y="629"/>
                    </a:lnTo>
                    <a:lnTo>
                      <a:pt x="1072" y="629"/>
                    </a:lnTo>
                    <a:lnTo>
                      <a:pt x="1066" y="635"/>
                    </a:lnTo>
                    <a:lnTo>
                      <a:pt x="1066" y="640"/>
                    </a:lnTo>
                    <a:lnTo>
                      <a:pt x="1061" y="640"/>
                    </a:lnTo>
                    <a:lnTo>
                      <a:pt x="1055" y="640"/>
                    </a:lnTo>
                    <a:lnTo>
                      <a:pt x="1055" y="635"/>
                    </a:lnTo>
                    <a:lnTo>
                      <a:pt x="1049" y="635"/>
                    </a:lnTo>
                    <a:lnTo>
                      <a:pt x="1044" y="640"/>
                    </a:lnTo>
                    <a:lnTo>
                      <a:pt x="1044" y="646"/>
                    </a:lnTo>
                    <a:lnTo>
                      <a:pt x="1038" y="646"/>
                    </a:lnTo>
                    <a:lnTo>
                      <a:pt x="1038" y="652"/>
                    </a:lnTo>
                    <a:lnTo>
                      <a:pt x="1032" y="652"/>
                    </a:lnTo>
                    <a:lnTo>
                      <a:pt x="1038" y="652"/>
                    </a:lnTo>
                    <a:lnTo>
                      <a:pt x="1038" y="657"/>
                    </a:lnTo>
                    <a:lnTo>
                      <a:pt x="1038" y="663"/>
                    </a:lnTo>
                    <a:lnTo>
                      <a:pt x="1032" y="663"/>
                    </a:lnTo>
                    <a:lnTo>
                      <a:pt x="1027" y="663"/>
                    </a:lnTo>
                    <a:lnTo>
                      <a:pt x="1021" y="663"/>
                    </a:lnTo>
                    <a:lnTo>
                      <a:pt x="1015" y="669"/>
                    </a:lnTo>
                    <a:lnTo>
                      <a:pt x="1010" y="669"/>
                    </a:lnTo>
                    <a:lnTo>
                      <a:pt x="1010" y="674"/>
                    </a:lnTo>
                    <a:lnTo>
                      <a:pt x="1004" y="674"/>
                    </a:lnTo>
                    <a:lnTo>
                      <a:pt x="1004" y="680"/>
                    </a:lnTo>
                    <a:lnTo>
                      <a:pt x="998" y="680"/>
                    </a:lnTo>
                    <a:lnTo>
                      <a:pt x="998" y="674"/>
                    </a:lnTo>
                    <a:lnTo>
                      <a:pt x="993" y="674"/>
                    </a:lnTo>
                    <a:lnTo>
                      <a:pt x="993" y="680"/>
                    </a:lnTo>
                    <a:lnTo>
                      <a:pt x="993" y="686"/>
                    </a:lnTo>
                    <a:lnTo>
                      <a:pt x="998" y="691"/>
                    </a:lnTo>
                    <a:lnTo>
                      <a:pt x="998" y="697"/>
                    </a:lnTo>
                    <a:lnTo>
                      <a:pt x="1004" y="697"/>
                    </a:lnTo>
                    <a:lnTo>
                      <a:pt x="1010" y="703"/>
                    </a:lnTo>
                    <a:lnTo>
                      <a:pt x="1010" y="708"/>
                    </a:lnTo>
                    <a:lnTo>
                      <a:pt x="1010" y="714"/>
                    </a:lnTo>
                    <a:lnTo>
                      <a:pt x="1010" y="720"/>
                    </a:lnTo>
                    <a:lnTo>
                      <a:pt x="1010" y="725"/>
                    </a:lnTo>
                    <a:lnTo>
                      <a:pt x="1004" y="725"/>
                    </a:lnTo>
                    <a:lnTo>
                      <a:pt x="1004" y="720"/>
                    </a:lnTo>
                    <a:lnTo>
                      <a:pt x="1004" y="725"/>
                    </a:lnTo>
                    <a:lnTo>
                      <a:pt x="998" y="731"/>
                    </a:lnTo>
                    <a:lnTo>
                      <a:pt x="1004" y="737"/>
                    </a:lnTo>
                    <a:lnTo>
                      <a:pt x="1010" y="737"/>
                    </a:lnTo>
                    <a:lnTo>
                      <a:pt x="1015" y="737"/>
                    </a:lnTo>
                    <a:lnTo>
                      <a:pt x="1015" y="742"/>
                    </a:lnTo>
                    <a:lnTo>
                      <a:pt x="1010" y="742"/>
                    </a:lnTo>
                    <a:lnTo>
                      <a:pt x="1004" y="742"/>
                    </a:lnTo>
                    <a:lnTo>
                      <a:pt x="998" y="742"/>
                    </a:lnTo>
                    <a:lnTo>
                      <a:pt x="993" y="742"/>
                    </a:lnTo>
                    <a:lnTo>
                      <a:pt x="993" y="748"/>
                    </a:lnTo>
                    <a:lnTo>
                      <a:pt x="987" y="748"/>
                    </a:lnTo>
                    <a:lnTo>
                      <a:pt x="981" y="742"/>
                    </a:lnTo>
                    <a:lnTo>
                      <a:pt x="970" y="742"/>
                    </a:lnTo>
                    <a:lnTo>
                      <a:pt x="964" y="748"/>
                    </a:lnTo>
                    <a:lnTo>
                      <a:pt x="964" y="754"/>
                    </a:lnTo>
                    <a:lnTo>
                      <a:pt x="958" y="754"/>
                    </a:lnTo>
                    <a:lnTo>
                      <a:pt x="958" y="748"/>
                    </a:lnTo>
                    <a:lnTo>
                      <a:pt x="953" y="748"/>
                    </a:lnTo>
                    <a:lnTo>
                      <a:pt x="947" y="748"/>
                    </a:lnTo>
                    <a:lnTo>
                      <a:pt x="947" y="754"/>
                    </a:lnTo>
                    <a:lnTo>
                      <a:pt x="941" y="754"/>
                    </a:lnTo>
                    <a:lnTo>
                      <a:pt x="936" y="759"/>
                    </a:lnTo>
                    <a:lnTo>
                      <a:pt x="936" y="765"/>
                    </a:lnTo>
                    <a:lnTo>
                      <a:pt x="936" y="771"/>
                    </a:lnTo>
                    <a:lnTo>
                      <a:pt x="936" y="776"/>
                    </a:lnTo>
                    <a:lnTo>
                      <a:pt x="930" y="776"/>
                    </a:lnTo>
                    <a:lnTo>
                      <a:pt x="924" y="776"/>
                    </a:lnTo>
                    <a:lnTo>
                      <a:pt x="924" y="782"/>
                    </a:lnTo>
                    <a:lnTo>
                      <a:pt x="919" y="782"/>
                    </a:lnTo>
                    <a:lnTo>
                      <a:pt x="913" y="788"/>
                    </a:lnTo>
                    <a:lnTo>
                      <a:pt x="907" y="793"/>
                    </a:lnTo>
                    <a:lnTo>
                      <a:pt x="902" y="793"/>
                    </a:lnTo>
                    <a:lnTo>
                      <a:pt x="902" y="799"/>
                    </a:lnTo>
                    <a:lnTo>
                      <a:pt x="896" y="799"/>
                    </a:lnTo>
                    <a:lnTo>
                      <a:pt x="890" y="816"/>
                    </a:lnTo>
                    <a:lnTo>
                      <a:pt x="890" y="827"/>
                    </a:lnTo>
                    <a:lnTo>
                      <a:pt x="896" y="827"/>
                    </a:lnTo>
                    <a:lnTo>
                      <a:pt x="890" y="827"/>
                    </a:lnTo>
                    <a:lnTo>
                      <a:pt x="890" y="833"/>
                    </a:lnTo>
                    <a:lnTo>
                      <a:pt x="885" y="833"/>
                    </a:lnTo>
                    <a:lnTo>
                      <a:pt x="879" y="833"/>
                    </a:lnTo>
                    <a:lnTo>
                      <a:pt x="879" y="827"/>
                    </a:lnTo>
                    <a:lnTo>
                      <a:pt x="873" y="810"/>
                    </a:lnTo>
                    <a:lnTo>
                      <a:pt x="862" y="805"/>
                    </a:lnTo>
                    <a:lnTo>
                      <a:pt x="856" y="805"/>
                    </a:lnTo>
                    <a:lnTo>
                      <a:pt x="845" y="805"/>
                    </a:lnTo>
                    <a:lnTo>
                      <a:pt x="839" y="805"/>
                    </a:lnTo>
                    <a:lnTo>
                      <a:pt x="834" y="805"/>
                    </a:lnTo>
                    <a:lnTo>
                      <a:pt x="834" y="793"/>
                    </a:lnTo>
                    <a:lnTo>
                      <a:pt x="828" y="793"/>
                    </a:lnTo>
                    <a:lnTo>
                      <a:pt x="822" y="793"/>
                    </a:lnTo>
                    <a:lnTo>
                      <a:pt x="805" y="805"/>
                    </a:lnTo>
                    <a:lnTo>
                      <a:pt x="794" y="810"/>
                    </a:lnTo>
                    <a:lnTo>
                      <a:pt x="788" y="816"/>
                    </a:lnTo>
                    <a:lnTo>
                      <a:pt x="783" y="822"/>
                    </a:lnTo>
                    <a:lnTo>
                      <a:pt x="777" y="822"/>
                    </a:lnTo>
                    <a:lnTo>
                      <a:pt x="771" y="816"/>
                    </a:lnTo>
                    <a:lnTo>
                      <a:pt x="760" y="816"/>
                    </a:lnTo>
                    <a:lnTo>
                      <a:pt x="760" y="822"/>
                    </a:lnTo>
                    <a:lnTo>
                      <a:pt x="754" y="822"/>
                    </a:lnTo>
                    <a:lnTo>
                      <a:pt x="754" y="827"/>
                    </a:lnTo>
                    <a:lnTo>
                      <a:pt x="749" y="827"/>
                    </a:lnTo>
                    <a:lnTo>
                      <a:pt x="743" y="827"/>
                    </a:lnTo>
                    <a:lnTo>
                      <a:pt x="737" y="827"/>
                    </a:lnTo>
                    <a:lnTo>
                      <a:pt x="732" y="827"/>
                    </a:lnTo>
                    <a:lnTo>
                      <a:pt x="726" y="833"/>
                    </a:lnTo>
                    <a:lnTo>
                      <a:pt x="720" y="833"/>
                    </a:lnTo>
                    <a:lnTo>
                      <a:pt x="715" y="839"/>
                    </a:lnTo>
                    <a:lnTo>
                      <a:pt x="709" y="839"/>
                    </a:lnTo>
                    <a:lnTo>
                      <a:pt x="709" y="844"/>
                    </a:lnTo>
                    <a:lnTo>
                      <a:pt x="703" y="844"/>
                    </a:lnTo>
                    <a:lnTo>
                      <a:pt x="703" y="850"/>
                    </a:lnTo>
                    <a:lnTo>
                      <a:pt x="698" y="850"/>
                    </a:lnTo>
                    <a:lnTo>
                      <a:pt x="698" y="856"/>
                    </a:lnTo>
                    <a:lnTo>
                      <a:pt x="692" y="856"/>
                    </a:lnTo>
                    <a:lnTo>
                      <a:pt x="686" y="856"/>
                    </a:lnTo>
                    <a:lnTo>
                      <a:pt x="681" y="861"/>
                    </a:lnTo>
                    <a:lnTo>
                      <a:pt x="675" y="867"/>
                    </a:lnTo>
                    <a:lnTo>
                      <a:pt x="681" y="867"/>
                    </a:lnTo>
                    <a:lnTo>
                      <a:pt x="681" y="873"/>
                    </a:lnTo>
                    <a:lnTo>
                      <a:pt x="675" y="873"/>
                    </a:lnTo>
                    <a:lnTo>
                      <a:pt x="669" y="878"/>
                    </a:lnTo>
                    <a:lnTo>
                      <a:pt x="664" y="878"/>
                    </a:lnTo>
                    <a:lnTo>
                      <a:pt x="664" y="884"/>
                    </a:lnTo>
                    <a:lnTo>
                      <a:pt x="658" y="884"/>
                    </a:lnTo>
                    <a:lnTo>
                      <a:pt x="652" y="890"/>
                    </a:lnTo>
                    <a:lnTo>
                      <a:pt x="647" y="890"/>
                    </a:lnTo>
                    <a:lnTo>
                      <a:pt x="647" y="895"/>
                    </a:lnTo>
                    <a:lnTo>
                      <a:pt x="635" y="901"/>
                    </a:lnTo>
                    <a:lnTo>
                      <a:pt x="635" y="912"/>
                    </a:lnTo>
                    <a:lnTo>
                      <a:pt x="630" y="924"/>
                    </a:lnTo>
                    <a:lnTo>
                      <a:pt x="624" y="924"/>
                    </a:lnTo>
                    <a:lnTo>
                      <a:pt x="618" y="924"/>
                    </a:lnTo>
                    <a:lnTo>
                      <a:pt x="607" y="929"/>
                    </a:lnTo>
                    <a:lnTo>
                      <a:pt x="601" y="929"/>
                    </a:lnTo>
                    <a:lnTo>
                      <a:pt x="596" y="935"/>
                    </a:lnTo>
                    <a:lnTo>
                      <a:pt x="590" y="935"/>
                    </a:lnTo>
                    <a:lnTo>
                      <a:pt x="567" y="884"/>
                    </a:lnTo>
                    <a:lnTo>
                      <a:pt x="567" y="878"/>
                    </a:lnTo>
                    <a:lnTo>
                      <a:pt x="573" y="878"/>
                    </a:lnTo>
                    <a:lnTo>
                      <a:pt x="579" y="873"/>
                    </a:lnTo>
                    <a:lnTo>
                      <a:pt x="579" y="867"/>
                    </a:lnTo>
                    <a:lnTo>
                      <a:pt x="584" y="867"/>
                    </a:lnTo>
                    <a:lnTo>
                      <a:pt x="590" y="861"/>
                    </a:lnTo>
                    <a:lnTo>
                      <a:pt x="590" y="856"/>
                    </a:lnTo>
                    <a:lnTo>
                      <a:pt x="596" y="856"/>
                    </a:lnTo>
                    <a:lnTo>
                      <a:pt x="596" y="850"/>
                    </a:lnTo>
                    <a:lnTo>
                      <a:pt x="601" y="844"/>
                    </a:lnTo>
                    <a:lnTo>
                      <a:pt x="607" y="844"/>
                    </a:lnTo>
                    <a:lnTo>
                      <a:pt x="607" y="839"/>
                    </a:lnTo>
                    <a:lnTo>
                      <a:pt x="613" y="839"/>
                    </a:lnTo>
                    <a:lnTo>
                      <a:pt x="618" y="833"/>
                    </a:lnTo>
                    <a:lnTo>
                      <a:pt x="618" y="827"/>
                    </a:lnTo>
                    <a:lnTo>
                      <a:pt x="613" y="822"/>
                    </a:lnTo>
                    <a:lnTo>
                      <a:pt x="590" y="822"/>
                    </a:lnTo>
                    <a:lnTo>
                      <a:pt x="573" y="827"/>
                    </a:lnTo>
                    <a:lnTo>
                      <a:pt x="562" y="827"/>
                    </a:lnTo>
                    <a:lnTo>
                      <a:pt x="556" y="827"/>
                    </a:lnTo>
                    <a:lnTo>
                      <a:pt x="556" y="822"/>
                    </a:lnTo>
                    <a:lnTo>
                      <a:pt x="556" y="816"/>
                    </a:lnTo>
                    <a:lnTo>
                      <a:pt x="550" y="810"/>
                    </a:lnTo>
                    <a:lnTo>
                      <a:pt x="550" y="805"/>
                    </a:lnTo>
                    <a:lnTo>
                      <a:pt x="545" y="805"/>
                    </a:lnTo>
                    <a:lnTo>
                      <a:pt x="545" y="810"/>
                    </a:lnTo>
                    <a:lnTo>
                      <a:pt x="533" y="810"/>
                    </a:lnTo>
                    <a:lnTo>
                      <a:pt x="528" y="810"/>
                    </a:lnTo>
                    <a:lnTo>
                      <a:pt x="528" y="816"/>
                    </a:lnTo>
                    <a:lnTo>
                      <a:pt x="528" y="822"/>
                    </a:lnTo>
                    <a:lnTo>
                      <a:pt x="528" y="827"/>
                    </a:lnTo>
                    <a:lnTo>
                      <a:pt x="528" y="833"/>
                    </a:lnTo>
                    <a:lnTo>
                      <a:pt x="533" y="833"/>
                    </a:lnTo>
                    <a:lnTo>
                      <a:pt x="533" y="839"/>
                    </a:lnTo>
                    <a:lnTo>
                      <a:pt x="533" y="844"/>
                    </a:lnTo>
                    <a:lnTo>
                      <a:pt x="528" y="850"/>
                    </a:lnTo>
                    <a:lnTo>
                      <a:pt x="528" y="856"/>
                    </a:lnTo>
                    <a:lnTo>
                      <a:pt x="533" y="856"/>
                    </a:lnTo>
                    <a:lnTo>
                      <a:pt x="533" y="861"/>
                    </a:lnTo>
                    <a:lnTo>
                      <a:pt x="528" y="861"/>
                    </a:lnTo>
                    <a:lnTo>
                      <a:pt x="528" y="867"/>
                    </a:lnTo>
                    <a:lnTo>
                      <a:pt x="522" y="867"/>
                    </a:lnTo>
                    <a:lnTo>
                      <a:pt x="516" y="873"/>
                    </a:lnTo>
                    <a:lnTo>
                      <a:pt x="516" y="878"/>
                    </a:lnTo>
                    <a:lnTo>
                      <a:pt x="511" y="878"/>
                    </a:lnTo>
                    <a:lnTo>
                      <a:pt x="511" y="884"/>
                    </a:lnTo>
                    <a:lnTo>
                      <a:pt x="511" y="890"/>
                    </a:lnTo>
                    <a:lnTo>
                      <a:pt x="511" y="895"/>
                    </a:lnTo>
                    <a:lnTo>
                      <a:pt x="511" y="901"/>
                    </a:lnTo>
                    <a:lnTo>
                      <a:pt x="511" y="907"/>
                    </a:lnTo>
                    <a:lnTo>
                      <a:pt x="505" y="907"/>
                    </a:lnTo>
                    <a:lnTo>
                      <a:pt x="505" y="912"/>
                    </a:lnTo>
                    <a:lnTo>
                      <a:pt x="499" y="912"/>
                    </a:lnTo>
                    <a:lnTo>
                      <a:pt x="499" y="918"/>
                    </a:lnTo>
                    <a:lnTo>
                      <a:pt x="494" y="918"/>
                    </a:lnTo>
                    <a:lnTo>
                      <a:pt x="494" y="924"/>
                    </a:lnTo>
                    <a:lnTo>
                      <a:pt x="488" y="929"/>
                    </a:lnTo>
                    <a:lnTo>
                      <a:pt x="482" y="929"/>
                    </a:lnTo>
                    <a:lnTo>
                      <a:pt x="482" y="935"/>
                    </a:lnTo>
                    <a:lnTo>
                      <a:pt x="477" y="929"/>
                    </a:lnTo>
                    <a:lnTo>
                      <a:pt x="465" y="918"/>
                    </a:lnTo>
                    <a:lnTo>
                      <a:pt x="460" y="918"/>
                    </a:lnTo>
                    <a:lnTo>
                      <a:pt x="460" y="912"/>
                    </a:lnTo>
                    <a:lnTo>
                      <a:pt x="465" y="907"/>
                    </a:lnTo>
                    <a:lnTo>
                      <a:pt x="465" y="901"/>
                    </a:lnTo>
                    <a:lnTo>
                      <a:pt x="460" y="895"/>
                    </a:lnTo>
                    <a:lnTo>
                      <a:pt x="460" y="890"/>
                    </a:lnTo>
                    <a:lnTo>
                      <a:pt x="454" y="890"/>
                    </a:lnTo>
                    <a:lnTo>
                      <a:pt x="448" y="890"/>
                    </a:lnTo>
                    <a:lnTo>
                      <a:pt x="443" y="890"/>
                    </a:lnTo>
                    <a:lnTo>
                      <a:pt x="437" y="878"/>
                    </a:lnTo>
                    <a:lnTo>
                      <a:pt x="448" y="873"/>
                    </a:lnTo>
                    <a:lnTo>
                      <a:pt x="448" y="867"/>
                    </a:lnTo>
                    <a:lnTo>
                      <a:pt x="454" y="867"/>
                    </a:lnTo>
                    <a:lnTo>
                      <a:pt x="460" y="861"/>
                    </a:lnTo>
                    <a:lnTo>
                      <a:pt x="460" y="856"/>
                    </a:lnTo>
                    <a:lnTo>
                      <a:pt x="465" y="850"/>
                    </a:lnTo>
                    <a:lnTo>
                      <a:pt x="460" y="850"/>
                    </a:lnTo>
                    <a:lnTo>
                      <a:pt x="460" y="839"/>
                    </a:lnTo>
                    <a:lnTo>
                      <a:pt x="460" y="833"/>
                    </a:lnTo>
                    <a:lnTo>
                      <a:pt x="465" y="833"/>
                    </a:lnTo>
                    <a:lnTo>
                      <a:pt x="460" y="827"/>
                    </a:lnTo>
                    <a:lnTo>
                      <a:pt x="454" y="827"/>
                    </a:lnTo>
                    <a:lnTo>
                      <a:pt x="460" y="822"/>
                    </a:lnTo>
                    <a:lnTo>
                      <a:pt x="414" y="833"/>
                    </a:lnTo>
                    <a:lnTo>
                      <a:pt x="375" y="839"/>
                    </a:lnTo>
                    <a:lnTo>
                      <a:pt x="369" y="833"/>
                    </a:lnTo>
                    <a:lnTo>
                      <a:pt x="375" y="805"/>
                    </a:lnTo>
                    <a:lnTo>
                      <a:pt x="358" y="799"/>
                    </a:lnTo>
                    <a:lnTo>
                      <a:pt x="363" y="754"/>
                    </a:lnTo>
                    <a:lnTo>
                      <a:pt x="369" y="737"/>
                    </a:lnTo>
                    <a:lnTo>
                      <a:pt x="352" y="720"/>
                    </a:lnTo>
                    <a:lnTo>
                      <a:pt x="352" y="725"/>
                    </a:lnTo>
                    <a:lnTo>
                      <a:pt x="346" y="731"/>
                    </a:lnTo>
                    <a:lnTo>
                      <a:pt x="346" y="737"/>
                    </a:lnTo>
                    <a:lnTo>
                      <a:pt x="346" y="742"/>
                    </a:lnTo>
                    <a:lnTo>
                      <a:pt x="346" y="748"/>
                    </a:lnTo>
                    <a:lnTo>
                      <a:pt x="346" y="754"/>
                    </a:lnTo>
                    <a:lnTo>
                      <a:pt x="341" y="754"/>
                    </a:lnTo>
                    <a:lnTo>
                      <a:pt x="324" y="748"/>
                    </a:lnTo>
                    <a:lnTo>
                      <a:pt x="318" y="754"/>
                    </a:lnTo>
                    <a:lnTo>
                      <a:pt x="318" y="759"/>
                    </a:lnTo>
                    <a:lnTo>
                      <a:pt x="324" y="759"/>
                    </a:lnTo>
                    <a:lnTo>
                      <a:pt x="329" y="765"/>
                    </a:lnTo>
                    <a:lnTo>
                      <a:pt x="324" y="771"/>
                    </a:lnTo>
                    <a:lnTo>
                      <a:pt x="318" y="771"/>
                    </a:lnTo>
                    <a:lnTo>
                      <a:pt x="301" y="771"/>
                    </a:lnTo>
                    <a:lnTo>
                      <a:pt x="295" y="771"/>
                    </a:lnTo>
                    <a:lnTo>
                      <a:pt x="284" y="788"/>
                    </a:lnTo>
                    <a:lnTo>
                      <a:pt x="267" y="776"/>
                    </a:lnTo>
                    <a:lnTo>
                      <a:pt x="256" y="776"/>
                    </a:lnTo>
                    <a:lnTo>
                      <a:pt x="244" y="765"/>
                    </a:lnTo>
                    <a:lnTo>
                      <a:pt x="239" y="765"/>
                    </a:lnTo>
                    <a:lnTo>
                      <a:pt x="227" y="765"/>
                    </a:lnTo>
                    <a:lnTo>
                      <a:pt x="210" y="765"/>
                    </a:lnTo>
                    <a:lnTo>
                      <a:pt x="216" y="759"/>
                    </a:lnTo>
                    <a:lnTo>
                      <a:pt x="216" y="754"/>
                    </a:lnTo>
                    <a:lnTo>
                      <a:pt x="210" y="754"/>
                    </a:lnTo>
                    <a:lnTo>
                      <a:pt x="205" y="748"/>
                    </a:lnTo>
                    <a:lnTo>
                      <a:pt x="199" y="748"/>
                    </a:lnTo>
                    <a:lnTo>
                      <a:pt x="193" y="748"/>
                    </a:lnTo>
                    <a:lnTo>
                      <a:pt x="182" y="737"/>
                    </a:lnTo>
                    <a:lnTo>
                      <a:pt x="176" y="737"/>
                    </a:lnTo>
                    <a:lnTo>
                      <a:pt x="171" y="731"/>
                    </a:lnTo>
                    <a:lnTo>
                      <a:pt x="159" y="731"/>
                    </a:lnTo>
                    <a:lnTo>
                      <a:pt x="148" y="731"/>
                    </a:lnTo>
                    <a:lnTo>
                      <a:pt x="142" y="720"/>
                    </a:lnTo>
                    <a:lnTo>
                      <a:pt x="131" y="714"/>
                    </a:lnTo>
                    <a:lnTo>
                      <a:pt x="125" y="708"/>
                    </a:lnTo>
                    <a:lnTo>
                      <a:pt x="125" y="703"/>
                    </a:lnTo>
                    <a:lnTo>
                      <a:pt x="120" y="703"/>
                    </a:lnTo>
                    <a:lnTo>
                      <a:pt x="114" y="691"/>
                    </a:lnTo>
                    <a:lnTo>
                      <a:pt x="108" y="691"/>
                    </a:lnTo>
                    <a:lnTo>
                      <a:pt x="108" y="697"/>
                    </a:lnTo>
                    <a:lnTo>
                      <a:pt x="97" y="697"/>
                    </a:lnTo>
                    <a:lnTo>
                      <a:pt x="97" y="691"/>
                    </a:lnTo>
                    <a:lnTo>
                      <a:pt x="91" y="686"/>
                    </a:lnTo>
                    <a:lnTo>
                      <a:pt x="91" y="680"/>
                    </a:lnTo>
                    <a:lnTo>
                      <a:pt x="86" y="669"/>
                    </a:lnTo>
                    <a:lnTo>
                      <a:pt x="91" y="657"/>
                    </a:lnTo>
                    <a:lnTo>
                      <a:pt x="91" y="652"/>
                    </a:lnTo>
                    <a:lnTo>
                      <a:pt x="91" y="646"/>
                    </a:lnTo>
                    <a:lnTo>
                      <a:pt x="103" y="646"/>
                    </a:lnTo>
                    <a:lnTo>
                      <a:pt x="108" y="640"/>
                    </a:lnTo>
                    <a:lnTo>
                      <a:pt x="114" y="640"/>
                    </a:lnTo>
                    <a:lnTo>
                      <a:pt x="114" y="635"/>
                    </a:lnTo>
                    <a:lnTo>
                      <a:pt x="108" y="635"/>
                    </a:lnTo>
                    <a:lnTo>
                      <a:pt x="103" y="629"/>
                    </a:lnTo>
                    <a:lnTo>
                      <a:pt x="103" y="623"/>
                    </a:lnTo>
                    <a:lnTo>
                      <a:pt x="103" y="612"/>
                    </a:lnTo>
                    <a:lnTo>
                      <a:pt x="97" y="612"/>
                    </a:lnTo>
                    <a:lnTo>
                      <a:pt x="97" y="606"/>
                    </a:lnTo>
                    <a:lnTo>
                      <a:pt x="91" y="601"/>
                    </a:lnTo>
                    <a:lnTo>
                      <a:pt x="97" y="589"/>
                    </a:lnTo>
                    <a:lnTo>
                      <a:pt x="103" y="584"/>
                    </a:lnTo>
                    <a:lnTo>
                      <a:pt x="103" y="578"/>
                    </a:lnTo>
                    <a:lnTo>
                      <a:pt x="97" y="572"/>
                    </a:lnTo>
                    <a:lnTo>
                      <a:pt x="97" y="566"/>
                    </a:lnTo>
                    <a:lnTo>
                      <a:pt x="103" y="561"/>
                    </a:lnTo>
                    <a:lnTo>
                      <a:pt x="108" y="555"/>
                    </a:lnTo>
                    <a:lnTo>
                      <a:pt x="108" y="549"/>
                    </a:lnTo>
                    <a:lnTo>
                      <a:pt x="103" y="549"/>
                    </a:lnTo>
                    <a:lnTo>
                      <a:pt x="97" y="549"/>
                    </a:lnTo>
                    <a:lnTo>
                      <a:pt x="91" y="544"/>
                    </a:lnTo>
                    <a:lnTo>
                      <a:pt x="86" y="538"/>
                    </a:lnTo>
                    <a:lnTo>
                      <a:pt x="80" y="538"/>
                    </a:lnTo>
                    <a:lnTo>
                      <a:pt x="80" y="544"/>
                    </a:lnTo>
                    <a:lnTo>
                      <a:pt x="80" y="538"/>
                    </a:lnTo>
                    <a:lnTo>
                      <a:pt x="74" y="532"/>
                    </a:lnTo>
                    <a:lnTo>
                      <a:pt x="68" y="527"/>
                    </a:lnTo>
                    <a:lnTo>
                      <a:pt x="63" y="532"/>
                    </a:lnTo>
                    <a:lnTo>
                      <a:pt x="57" y="532"/>
                    </a:lnTo>
                    <a:lnTo>
                      <a:pt x="57" y="527"/>
                    </a:lnTo>
                    <a:lnTo>
                      <a:pt x="51" y="521"/>
                    </a:lnTo>
                    <a:lnTo>
                      <a:pt x="46" y="527"/>
                    </a:lnTo>
                    <a:lnTo>
                      <a:pt x="40" y="521"/>
                    </a:lnTo>
                    <a:lnTo>
                      <a:pt x="34" y="521"/>
                    </a:lnTo>
                    <a:lnTo>
                      <a:pt x="29" y="521"/>
                    </a:lnTo>
                    <a:lnTo>
                      <a:pt x="23" y="521"/>
                    </a:lnTo>
                    <a:lnTo>
                      <a:pt x="17" y="521"/>
                    </a:lnTo>
                    <a:lnTo>
                      <a:pt x="17" y="515"/>
                    </a:lnTo>
                    <a:lnTo>
                      <a:pt x="17" y="504"/>
                    </a:lnTo>
                    <a:lnTo>
                      <a:pt x="12" y="498"/>
                    </a:lnTo>
                    <a:lnTo>
                      <a:pt x="12" y="487"/>
                    </a:lnTo>
                    <a:lnTo>
                      <a:pt x="17" y="481"/>
                    </a:lnTo>
                    <a:lnTo>
                      <a:pt x="17" y="402"/>
                    </a:lnTo>
                    <a:lnTo>
                      <a:pt x="0" y="396"/>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1100"/>
              </a:p>
            </p:txBody>
          </p:sp>
          <p:sp>
            <p:nvSpPr>
              <p:cNvPr id="19" name="Freeform 14"/>
              <p:cNvSpPr>
                <a:spLocks/>
              </p:cNvSpPr>
              <p:nvPr>
                <p:custDataLst>
                  <p:tags r:id="rId9"/>
                </p:custDataLst>
              </p:nvPr>
            </p:nvSpPr>
            <p:spPr bwMode="gray">
              <a:xfrm>
                <a:off x="3056" y="1728"/>
                <a:ext cx="280" cy="262"/>
              </a:xfrm>
              <a:custGeom>
                <a:avLst/>
                <a:gdLst>
                  <a:gd name="T0" fmla="*/ 50002 w 504"/>
                  <a:gd name="T1" fmla="*/ 189546 h 471"/>
                  <a:gd name="T2" fmla="*/ 55394 w 504"/>
                  <a:gd name="T3" fmla="*/ 178252 h 471"/>
                  <a:gd name="T4" fmla="*/ 41668 w 504"/>
                  <a:gd name="T5" fmla="*/ 169904 h 471"/>
                  <a:gd name="T6" fmla="*/ 5392 w 504"/>
                  <a:gd name="T7" fmla="*/ 181198 h 471"/>
                  <a:gd name="T8" fmla="*/ 0 w 504"/>
                  <a:gd name="T9" fmla="*/ 164502 h 471"/>
                  <a:gd name="T10" fmla="*/ 25001 w 504"/>
                  <a:gd name="T11" fmla="*/ 133566 h 471"/>
                  <a:gd name="T12" fmla="*/ 36276 w 504"/>
                  <a:gd name="T13" fmla="*/ 111468 h 471"/>
                  <a:gd name="T14" fmla="*/ 61277 w 504"/>
                  <a:gd name="T15" fmla="*/ 83479 h 471"/>
                  <a:gd name="T16" fmla="*/ 75003 w 504"/>
                  <a:gd name="T17" fmla="*/ 97719 h 471"/>
                  <a:gd name="T18" fmla="*/ 102946 w 504"/>
                  <a:gd name="T19" fmla="*/ 91827 h 471"/>
                  <a:gd name="T20" fmla="*/ 108338 w 504"/>
                  <a:gd name="T21" fmla="*/ 78077 h 471"/>
                  <a:gd name="T22" fmla="*/ 108338 w 504"/>
                  <a:gd name="T23" fmla="*/ 64328 h 471"/>
                  <a:gd name="T24" fmla="*/ 116672 w 504"/>
                  <a:gd name="T25" fmla="*/ 61381 h 471"/>
                  <a:gd name="T26" fmla="*/ 125006 w 504"/>
                  <a:gd name="T27" fmla="*/ 53034 h 471"/>
                  <a:gd name="T28" fmla="*/ 122064 w 504"/>
                  <a:gd name="T29" fmla="*/ 39284 h 471"/>
                  <a:gd name="T30" fmla="*/ 130398 w 504"/>
                  <a:gd name="T31" fmla="*/ 30936 h 471"/>
                  <a:gd name="T32" fmla="*/ 130398 w 504"/>
                  <a:gd name="T33" fmla="*/ 39284 h 471"/>
                  <a:gd name="T34" fmla="*/ 141673 w 504"/>
                  <a:gd name="T35" fmla="*/ 36338 h 471"/>
                  <a:gd name="T36" fmla="*/ 161282 w 504"/>
                  <a:gd name="T37" fmla="*/ 19642 h 471"/>
                  <a:gd name="T38" fmla="*/ 177949 w 504"/>
                  <a:gd name="T39" fmla="*/ 14240 h 471"/>
                  <a:gd name="T40" fmla="*/ 200009 w 504"/>
                  <a:gd name="T41" fmla="*/ 8348 h 471"/>
                  <a:gd name="T42" fmla="*/ 194617 w 504"/>
                  <a:gd name="T43" fmla="*/ 0 h 471"/>
                  <a:gd name="T44" fmla="*/ 211284 w 504"/>
                  <a:gd name="T45" fmla="*/ 0 h 471"/>
                  <a:gd name="T46" fmla="*/ 205402 w 504"/>
                  <a:gd name="T47" fmla="*/ 14240 h 471"/>
                  <a:gd name="T48" fmla="*/ 197068 w 504"/>
                  <a:gd name="T49" fmla="*/ 22588 h 471"/>
                  <a:gd name="T50" fmla="*/ 194617 w 504"/>
                  <a:gd name="T51" fmla="*/ 36338 h 471"/>
                  <a:gd name="T52" fmla="*/ 194617 w 504"/>
                  <a:gd name="T53" fmla="*/ 44686 h 471"/>
                  <a:gd name="T54" fmla="*/ 194617 w 504"/>
                  <a:gd name="T55" fmla="*/ 55980 h 471"/>
                  <a:gd name="T56" fmla="*/ 216677 w 504"/>
                  <a:gd name="T57" fmla="*/ 72676 h 471"/>
                  <a:gd name="T58" fmla="*/ 225010 w 504"/>
                  <a:gd name="T59" fmla="*/ 66783 h 471"/>
                  <a:gd name="T60" fmla="*/ 244619 w 504"/>
                  <a:gd name="T61" fmla="*/ 53034 h 471"/>
                  <a:gd name="T62" fmla="*/ 233344 w 504"/>
                  <a:gd name="T63" fmla="*/ 72676 h 471"/>
                  <a:gd name="T64" fmla="*/ 230403 w 504"/>
                  <a:gd name="T65" fmla="*/ 94773 h 471"/>
                  <a:gd name="T66" fmla="*/ 205402 w 504"/>
                  <a:gd name="T67" fmla="*/ 111468 h 471"/>
                  <a:gd name="T68" fmla="*/ 177949 w 504"/>
                  <a:gd name="T69" fmla="*/ 122763 h 471"/>
                  <a:gd name="T70" fmla="*/ 172067 w 504"/>
                  <a:gd name="T71" fmla="*/ 131111 h 471"/>
                  <a:gd name="T72" fmla="*/ 175008 w 504"/>
                  <a:gd name="T73" fmla="*/ 141914 h 471"/>
                  <a:gd name="T74" fmla="*/ 186283 w 504"/>
                  <a:gd name="T75" fmla="*/ 153208 h 471"/>
                  <a:gd name="T76" fmla="*/ 197068 w 504"/>
                  <a:gd name="T77" fmla="*/ 161556 h 471"/>
                  <a:gd name="T78" fmla="*/ 213735 w 504"/>
                  <a:gd name="T79" fmla="*/ 156154 h 471"/>
                  <a:gd name="T80" fmla="*/ 188734 w 504"/>
                  <a:gd name="T81" fmla="*/ 183653 h 471"/>
                  <a:gd name="T82" fmla="*/ 172067 w 504"/>
                  <a:gd name="T83" fmla="*/ 189546 h 471"/>
                  <a:gd name="T84" fmla="*/ 161282 w 504"/>
                  <a:gd name="T85" fmla="*/ 200349 h 471"/>
                  <a:gd name="T86" fmla="*/ 155399 w 504"/>
                  <a:gd name="T87" fmla="*/ 214590 h 471"/>
                  <a:gd name="T88" fmla="*/ 144614 w 504"/>
                  <a:gd name="T89" fmla="*/ 225884 h 471"/>
                  <a:gd name="T90" fmla="*/ 138732 w 504"/>
                  <a:gd name="T91" fmla="*/ 228339 h 471"/>
                  <a:gd name="T92" fmla="*/ 130398 w 504"/>
                  <a:gd name="T93" fmla="*/ 231285 h 471"/>
                  <a:gd name="T94" fmla="*/ 122064 w 504"/>
                  <a:gd name="T95" fmla="*/ 225884 h 471"/>
                  <a:gd name="T96" fmla="*/ 113731 w 504"/>
                  <a:gd name="T97" fmla="*/ 219991 h 471"/>
                  <a:gd name="T98" fmla="*/ 108338 w 504"/>
                  <a:gd name="T99" fmla="*/ 214590 h 471"/>
                  <a:gd name="T100" fmla="*/ 108338 w 504"/>
                  <a:gd name="T101" fmla="*/ 203295 h 471"/>
                  <a:gd name="T102" fmla="*/ 100004 w 504"/>
                  <a:gd name="T103" fmla="*/ 200349 h 471"/>
                  <a:gd name="T104" fmla="*/ 94612 w 504"/>
                  <a:gd name="T105" fmla="*/ 208697 h 471"/>
                  <a:gd name="T106" fmla="*/ 88729 w 504"/>
                  <a:gd name="T107" fmla="*/ 211643 h 471"/>
                  <a:gd name="T108" fmla="*/ 77944 w 504"/>
                  <a:gd name="T109" fmla="*/ 214590 h 471"/>
                  <a:gd name="T110" fmla="*/ 69611 w 504"/>
                  <a:gd name="T111" fmla="*/ 211643 h 471"/>
                  <a:gd name="T112" fmla="*/ 61277 w 504"/>
                  <a:gd name="T113" fmla="*/ 211643 h 471"/>
                  <a:gd name="T114" fmla="*/ 52943 w 504"/>
                  <a:gd name="T115" fmla="*/ 208697 h 471"/>
                  <a:gd name="T116" fmla="*/ 47061 w 504"/>
                  <a:gd name="T117" fmla="*/ 214590 h 4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04" h="471">
                    <a:moveTo>
                      <a:pt x="96" y="437"/>
                    </a:moveTo>
                    <a:lnTo>
                      <a:pt x="108" y="397"/>
                    </a:lnTo>
                    <a:lnTo>
                      <a:pt x="96" y="386"/>
                    </a:lnTo>
                    <a:lnTo>
                      <a:pt x="102" y="386"/>
                    </a:lnTo>
                    <a:lnTo>
                      <a:pt x="108" y="374"/>
                    </a:lnTo>
                    <a:lnTo>
                      <a:pt x="108" y="369"/>
                    </a:lnTo>
                    <a:lnTo>
                      <a:pt x="108" y="363"/>
                    </a:lnTo>
                    <a:lnTo>
                      <a:pt x="113" y="363"/>
                    </a:lnTo>
                    <a:lnTo>
                      <a:pt x="113" y="352"/>
                    </a:lnTo>
                    <a:lnTo>
                      <a:pt x="91" y="352"/>
                    </a:lnTo>
                    <a:lnTo>
                      <a:pt x="91" y="346"/>
                    </a:lnTo>
                    <a:lnTo>
                      <a:pt x="85" y="346"/>
                    </a:lnTo>
                    <a:lnTo>
                      <a:pt x="85" y="340"/>
                    </a:lnTo>
                    <a:lnTo>
                      <a:pt x="45" y="346"/>
                    </a:lnTo>
                    <a:lnTo>
                      <a:pt x="45" y="357"/>
                    </a:lnTo>
                    <a:lnTo>
                      <a:pt x="11" y="369"/>
                    </a:lnTo>
                    <a:lnTo>
                      <a:pt x="17" y="357"/>
                    </a:lnTo>
                    <a:lnTo>
                      <a:pt x="11" y="357"/>
                    </a:lnTo>
                    <a:lnTo>
                      <a:pt x="11" y="346"/>
                    </a:lnTo>
                    <a:lnTo>
                      <a:pt x="0" y="335"/>
                    </a:lnTo>
                    <a:lnTo>
                      <a:pt x="17" y="323"/>
                    </a:lnTo>
                    <a:lnTo>
                      <a:pt x="40" y="312"/>
                    </a:lnTo>
                    <a:lnTo>
                      <a:pt x="34" y="272"/>
                    </a:lnTo>
                    <a:lnTo>
                      <a:pt x="51" y="272"/>
                    </a:lnTo>
                    <a:lnTo>
                      <a:pt x="51" y="267"/>
                    </a:lnTo>
                    <a:lnTo>
                      <a:pt x="68" y="261"/>
                    </a:lnTo>
                    <a:lnTo>
                      <a:pt x="68" y="255"/>
                    </a:lnTo>
                    <a:lnTo>
                      <a:pt x="74" y="227"/>
                    </a:lnTo>
                    <a:lnTo>
                      <a:pt x="79" y="216"/>
                    </a:lnTo>
                    <a:lnTo>
                      <a:pt x="79" y="193"/>
                    </a:lnTo>
                    <a:lnTo>
                      <a:pt x="102" y="187"/>
                    </a:lnTo>
                    <a:lnTo>
                      <a:pt x="125" y="170"/>
                    </a:lnTo>
                    <a:lnTo>
                      <a:pt x="130" y="182"/>
                    </a:lnTo>
                    <a:lnTo>
                      <a:pt x="136" y="193"/>
                    </a:lnTo>
                    <a:lnTo>
                      <a:pt x="153" y="187"/>
                    </a:lnTo>
                    <a:lnTo>
                      <a:pt x="153" y="199"/>
                    </a:lnTo>
                    <a:lnTo>
                      <a:pt x="176" y="193"/>
                    </a:lnTo>
                    <a:lnTo>
                      <a:pt x="198" y="187"/>
                    </a:lnTo>
                    <a:lnTo>
                      <a:pt x="198" y="182"/>
                    </a:lnTo>
                    <a:lnTo>
                      <a:pt x="210" y="187"/>
                    </a:lnTo>
                    <a:lnTo>
                      <a:pt x="210" y="182"/>
                    </a:lnTo>
                    <a:lnTo>
                      <a:pt x="215" y="176"/>
                    </a:lnTo>
                    <a:lnTo>
                      <a:pt x="210" y="159"/>
                    </a:lnTo>
                    <a:lnTo>
                      <a:pt x="221" y="159"/>
                    </a:lnTo>
                    <a:lnTo>
                      <a:pt x="215" y="148"/>
                    </a:lnTo>
                    <a:lnTo>
                      <a:pt x="210" y="136"/>
                    </a:lnTo>
                    <a:lnTo>
                      <a:pt x="210" y="131"/>
                    </a:lnTo>
                    <a:lnTo>
                      <a:pt x="221" y="131"/>
                    </a:lnTo>
                    <a:lnTo>
                      <a:pt x="227" y="131"/>
                    </a:lnTo>
                    <a:lnTo>
                      <a:pt x="232" y="131"/>
                    </a:lnTo>
                    <a:lnTo>
                      <a:pt x="232" y="125"/>
                    </a:lnTo>
                    <a:lnTo>
                      <a:pt x="238" y="125"/>
                    </a:lnTo>
                    <a:lnTo>
                      <a:pt x="238" y="119"/>
                    </a:lnTo>
                    <a:lnTo>
                      <a:pt x="244" y="114"/>
                    </a:lnTo>
                    <a:lnTo>
                      <a:pt x="249" y="108"/>
                    </a:lnTo>
                    <a:lnTo>
                      <a:pt x="255" y="108"/>
                    </a:lnTo>
                    <a:lnTo>
                      <a:pt x="255" y="97"/>
                    </a:lnTo>
                    <a:lnTo>
                      <a:pt x="249" y="97"/>
                    </a:lnTo>
                    <a:lnTo>
                      <a:pt x="249" y="85"/>
                    </a:lnTo>
                    <a:lnTo>
                      <a:pt x="249" y="80"/>
                    </a:lnTo>
                    <a:lnTo>
                      <a:pt x="244" y="74"/>
                    </a:lnTo>
                    <a:lnTo>
                      <a:pt x="244" y="68"/>
                    </a:lnTo>
                    <a:lnTo>
                      <a:pt x="255" y="63"/>
                    </a:lnTo>
                    <a:lnTo>
                      <a:pt x="266" y="63"/>
                    </a:lnTo>
                    <a:lnTo>
                      <a:pt x="266" y="68"/>
                    </a:lnTo>
                    <a:lnTo>
                      <a:pt x="261" y="74"/>
                    </a:lnTo>
                    <a:lnTo>
                      <a:pt x="261" y="80"/>
                    </a:lnTo>
                    <a:lnTo>
                      <a:pt x="266" y="80"/>
                    </a:lnTo>
                    <a:lnTo>
                      <a:pt x="272" y="74"/>
                    </a:lnTo>
                    <a:lnTo>
                      <a:pt x="278" y="74"/>
                    </a:lnTo>
                    <a:lnTo>
                      <a:pt x="283" y="74"/>
                    </a:lnTo>
                    <a:lnTo>
                      <a:pt x="289" y="74"/>
                    </a:lnTo>
                    <a:lnTo>
                      <a:pt x="295" y="74"/>
                    </a:lnTo>
                    <a:lnTo>
                      <a:pt x="306" y="68"/>
                    </a:lnTo>
                    <a:lnTo>
                      <a:pt x="306" y="46"/>
                    </a:lnTo>
                    <a:lnTo>
                      <a:pt x="329" y="40"/>
                    </a:lnTo>
                    <a:lnTo>
                      <a:pt x="329" y="46"/>
                    </a:lnTo>
                    <a:lnTo>
                      <a:pt x="346" y="46"/>
                    </a:lnTo>
                    <a:lnTo>
                      <a:pt x="363" y="40"/>
                    </a:lnTo>
                    <a:lnTo>
                      <a:pt x="363" y="29"/>
                    </a:lnTo>
                    <a:lnTo>
                      <a:pt x="391" y="29"/>
                    </a:lnTo>
                    <a:lnTo>
                      <a:pt x="391" y="34"/>
                    </a:lnTo>
                    <a:lnTo>
                      <a:pt x="402" y="29"/>
                    </a:lnTo>
                    <a:lnTo>
                      <a:pt x="408" y="17"/>
                    </a:lnTo>
                    <a:lnTo>
                      <a:pt x="402" y="17"/>
                    </a:lnTo>
                    <a:lnTo>
                      <a:pt x="397" y="6"/>
                    </a:lnTo>
                    <a:lnTo>
                      <a:pt x="391" y="0"/>
                    </a:lnTo>
                    <a:lnTo>
                      <a:pt x="397" y="0"/>
                    </a:lnTo>
                    <a:lnTo>
                      <a:pt x="402" y="0"/>
                    </a:lnTo>
                    <a:lnTo>
                      <a:pt x="408" y="0"/>
                    </a:lnTo>
                    <a:lnTo>
                      <a:pt x="425" y="0"/>
                    </a:lnTo>
                    <a:lnTo>
                      <a:pt x="431" y="0"/>
                    </a:lnTo>
                    <a:lnTo>
                      <a:pt x="436" y="6"/>
                    </a:lnTo>
                    <a:lnTo>
                      <a:pt x="436" y="17"/>
                    </a:lnTo>
                    <a:lnTo>
                      <a:pt x="431" y="23"/>
                    </a:lnTo>
                    <a:lnTo>
                      <a:pt x="419" y="29"/>
                    </a:lnTo>
                    <a:lnTo>
                      <a:pt x="402" y="29"/>
                    </a:lnTo>
                    <a:lnTo>
                      <a:pt x="402" y="34"/>
                    </a:lnTo>
                    <a:lnTo>
                      <a:pt x="402" y="40"/>
                    </a:lnTo>
                    <a:lnTo>
                      <a:pt x="402" y="46"/>
                    </a:lnTo>
                    <a:lnTo>
                      <a:pt x="402" y="57"/>
                    </a:lnTo>
                    <a:lnTo>
                      <a:pt x="397" y="57"/>
                    </a:lnTo>
                    <a:lnTo>
                      <a:pt x="397" y="68"/>
                    </a:lnTo>
                    <a:lnTo>
                      <a:pt x="397" y="74"/>
                    </a:lnTo>
                    <a:lnTo>
                      <a:pt x="397" y="80"/>
                    </a:lnTo>
                    <a:lnTo>
                      <a:pt x="391" y="80"/>
                    </a:lnTo>
                    <a:lnTo>
                      <a:pt x="397" y="85"/>
                    </a:lnTo>
                    <a:lnTo>
                      <a:pt x="397" y="91"/>
                    </a:lnTo>
                    <a:lnTo>
                      <a:pt x="391" y="97"/>
                    </a:lnTo>
                    <a:lnTo>
                      <a:pt x="391" y="102"/>
                    </a:lnTo>
                    <a:lnTo>
                      <a:pt x="391" y="108"/>
                    </a:lnTo>
                    <a:lnTo>
                      <a:pt x="397" y="114"/>
                    </a:lnTo>
                    <a:lnTo>
                      <a:pt x="397" y="119"/>
                    </a:lnTo>
                    <a:lnTo>
                      <a:pt x="402" y="131"/>
                    </a:lnTo>
                    <a:lnTo>
                      <a:pt x="402" y="142"/>
                    </a:lnTo>
                    <a:lnTo>
                      <a:pt x="442" y="148"/>
                    </a:lnTo>
                    <a:lnTo>
                      <a:pt x="448" y="148"/>
                    </a:lnTo>
                    <a:lnTo>
                      <a:pt x="453" y="142"/>
                    </a:lnTo>
                    <a:lnTo>
                      <a:pt x="453" y="136"/>
                    </a:lnTo>
                    <a:lnTo>
                      <a:pt x="459" y="136"/>
                    </a:lnTo>
                    <a:lnTo>
                      <a:pt x="470" y="119"/>
                    </a:lnTo>
                    <a:lnTo>
                      <a:pt x="476" y="114"/>
                    </a:lnTo>
                    <a:lnTo>
                      <a:pt x="493" y="114"/>
                    </a:lnTo>
                    <a:lnTo>
                      <a:pt x="499" y="108"/>
                    </a:lnTo>
                    <a:lnTo>
                      <a:pt x="504" y="119"/>
                    </a:lnTo>
                    <a:lnTo>
                      <a:pt x="504" y="131"/>
                    </a:lnTo>
                    <a:lnTo>
                      <a:pt x="482" y="136"/>
                    </a:lnTo>
                    <a:lnTo>
                      <a:pt x="476" y="148"/>
                    </a:lnTo>
                    <a:lnTo>
                      <a:pt x="487" y="153"/>
                    </a:lnTo>
                    <a:lnTo>
                      <a:pt x="470" y="176"/>
                    </a:lnTo>
                    <a:lnTo>
                      <a:pt x="476" y="182"/>
                    </a:lnTo>
                    <a:lnTo>
                      <a:pt x="470" y="193"/>
                    </a:lnTo>
                    <a:lnTo>
                      <a:pt x="453" y="187"/>
                    </a:lnTo>
                    <a:lnTo>
                      <a:pt x="448" y="233"/>
                    </a:lnTo>
                    <a:lnTo>
                      <a:pt x="425" y="238"/>
                    </a:lnTo>
                    <a:lnTo>
                      <a:pt x="419" y="227"/>
                    </a:lnTo>
                    <a:lnTo>
                      <a:pt x="385" y="227"/>
                    </a:lnTo>
                    <a:lnTo>
                      <a:pt x="374" y="238"/>
                    </a:lnTo>
                    <a:lnTo>
                      <a:pt x="368" y="250"/>
                    </a:lnTo>
                    <a:lnTo>
                      <a:pt x="363" y="250"/>
                    </a:lnTo>
                    <a:lnTo>
                      <a:pt x="357" y="250"/>
                    </a:lnTo>
                    <a:lnTo>
                      <a:pt x="351" y="250"/>
                    </a:lnTo>
                    <a:lnTo>
                      <a:pt x="340" y="255"/>
                    </a:lnTo>
                    <a:lnTo>
                      <a:pt x="351" y="267"/>
                    </a:lnTo>
                    <a:lnTo>
                      <a:pt x="351" y="272"/>
                    </a:lnTo>
                    <a:lnTo>
                      <a:pt x="357" y="272"/>
                    </a:lnTo>
                    <a:lnTo>
                      <a:pt x="357" y="278"/>
                    </a:lnTo>
                    <a:lnTo>
                      <a:pt x="357" y="289"/>
                    </a:lnTo>
                    <a:lnTo>
                      <a:pt x="363" y="295"/>
                    </a:lnTo>
                    <a:lnTo>
                      <a:pt x="368" y="301"/>
                    </a:lnTo>
                    <a:lnTo>
                      <a:pt x="374" y="301"/>
                    </a:lnTo>
                    <a:lnTo>
                      <a:pt x="380" y="312"/>
                    </a:lnTo>
                    <a:lnTo>
                      <a:pt x="380" y="318"/>
                    </a:lnTo>
                    <a:lnTo>
                      <a:pt x="391" y="318"/>
                    </a:lnTo>
                    <a:lnTo>
                      <a:pt x="391" y="323"/>
                    </a:lnTo>
                    <a:lnTo>
                      <a:pt x="402" y="329"/>
                    </a:lnTo>
                    <a:lnTo>
                      <a:pt x="419" y="318"/>
                    </a:lnTo>
                    <a:lnTo>
                      <a:pt x="425" y="318"/>
                    </a:lnTo>
                    <a:lnTo>
                      <a:pt x="431" y="318"/>
                    </a:lnTo>
                    <a:lnTo>
                      <a:pt x="436" y="318"/>
                    </a:lnTo>
                    <a:lnTo>
                      <a:pt x="448" y="340"/>
                    </a:lnTo>
                    <a:lnTo>
                      <a:pt x="419" y="352"/>
                    </a:lnTo>
                    <a:lnTo>
                      <a:pt x="419" y="369"/>
                    </a:lnTo>
                    <a:lnTo>
                      <a:pt x="385" y="374"/>
                    </a:lnTo>
                    <a:lnTo>
                      <a:pt x="380" y="380"/>
                    </a:lnTo>
                    <a:lnTo>
                      <a:pt x="374" y="380"/>
                    </a:lnTo>
                    <a:lnTo>
                      <a:pt x="363" y="380"/>
                    </a:lnTo>
                    <a:lnTo>
                      <a:pt x="351" y="386"/>
                    </a:lnTo>
                    <a:lnTo>
                      <a:pt x="351" y="391"/>
                    </a:lnTo>
                    <a:lnTo>
                      <a:pt x="340" y="397"/>
                    </a:lnTo>
                    <a:lnTo>
                      <a:pt x="340" y="403"/>
                    </a:lnTo>
                    <a:lnTo>
                      <a:pt x="329" y="408"/>
                    </a:lnTo>
                    <a:lnTo>
                      <a:pt x="317" y="414"/>
                    </a:lnTo>
                    <a:lnTo>
                      <a:pt x="312" y="431"/>
                    </a:lnTo>
                    <a:lnTo>
                      <a:pt x="317" y="431"/>
                    </a:lnTo>
                    <a:lnTo>
                      <a:pt x="317" y="437"/>
                    </a:lnTo>
                    <a:lnTo>
                      <a:pt x="300" y="443"/>
                    </a:lnTo>
                    <a:lnTo>
                      <a:pt x="300" y="448"/>
                    </a:lnTo>
                    <a:lnTo>
                      <a:pt x="295" y="448"/>
                    </a:lnTo>
                    <a:lnTo>
                      <a:pt x="295" y="460"/>
                    </a:lnTo>
                    <a:lnTo>
                      <a:pt x="300" y="460"/>
                    </a:lnTo>
                    <a:lnTo>
                      <a:pt x="289" y="471"/>
                    </a:lnTo>
                    <a:lnTo>
                      <a:pt x="283" y="471"/>
                    </a:lnTo>
                    <a:lnTo>
                      <a:pt x="283" y="465"/>
                    </a:lnTo>
                    <a:lnTo>
                      <a:pt x="278" y="465"/>
                    </a:lnTo>
                    <a:lnTo>
                      <a:pt x="278" y="471"/>
                    </a:lnTo>
                    <a:lnTo>
                      <a:pt x="272" y="471"/>
                    </a:lnTo>
                    <a:lnTo>
                      <a:pt x="266" y="471"/>
                    </a:lnTo>
                    <a:lnTo>
                      <a:pt x="261" y="465"/>
                    </a:lnTo>
                    <a:lnTo>
                      <a:pt x="261" y="460"/>
                    </a:lnTo>
                    <a:lnTo>
                      <a:pt x="255" y="465"/>
                    </a:lnTo>
                    <a:lnTo>
                      <a:pt x="249" y="460"/>
                    </a:lnTo>
                    <a:lnTo>
                      <a:pt x="249" y="454"/>
                    </a:lnTo>
                    <a:lnTo>
                      <a:pt x="244" y="454"/>
                    </a:lnTo>
                    <a:lnTo>
                      <a:pt x="238" y="454"/>
                    </a:lnTo>
                    <a:lnTo>
                      <a:pt x="232" y="448"/>
                    </a:lnTo>
                    <a:lnTo>
                      <a:pt x="227" y="443"/>
                    </a:lnTo>
                    <a:lnTo>
                      <a:pt x="221" y="443"/>
                    </a:lnTo>
                    <a:lnTo>
                      <a:pt x="227" y="437"/>
                    </a:lnTo>
                    <a:lnTo>
                      <a:pt x="221" y="437"/>
                    </a:lnTo>
                    <a:lnTo>
                      <a:pt x="221" y="431"/>
                    </a:lnTo>
                    <a:lnTo>
                      <a:pt x="221" y="425"/>
                    </a:lnTo>
                    <a:lnTo>
                      <a:pt x="221" y="420"/>
                    </a:lnTo>
                    <a:lnTo>
                      <a:pt x="221" y="414"/>
                    </a:lnTo>
                    <a:lnTo>
                      <a:pt x="221" y="408"/>
                    </a:lnTo>
                    <a:lnTo>
                      <a:pt x="215" y="408"/>
                    </a:lnTo>
                    <a:lnTo>
                      <a:pt x="210" y="408"/>
                    </a:lnTo>
                    <a:lnTo>
                      <a:pt x="204" y="408"/>
                    </a:lnTo>
                    <a:lnTo>
                      <a:pt x="204" y="414"/>
                    </a:lnTo>
                    <a:lnTo>
                      <a:pt x="198" y="420"/>
                    </a:lnTo>
                    <a:lnTo>
                      <a:pt x="193" y="420"/>
                    </a:lnTo>
                    <a:lnTo>
                      <a:pt x="193" y="425"/>
                    </a:lnTo>
                    <a:lnTo>
                      <a:pt x="187" y="425"/>
                    </a:lnTo>
                    <a:lnTo>
                      <a:pt x="187" y="431"/>
                    </a:lnTo>
                    <a:lnTo>
                      <a:pt x="181" y="425"/>
                    </a:lnTo>
                    <a:lnTo>
                      <a:pt x="181" y="431"/>
                    </a:lnTo>
                    <a:lnTo>
                      <a:pt x="170" y="431"/>
                    </a:lnTo>
                    <a:lnTo>
                      <a:pt x="164" y="431"/>
                    </a:lnTo>
                    <a:lnTo>
                      <a:pt x="159" y="431"/>
                    </a:lnTo>
                    <a:lnTo>
                      <a:pt x="159" y="437"/>
                    </a:lnTo>
                    <a:lnTo>
                      <a:pt x="159" y="443"/>
                    </a:lnTo>
                    <a:lnTo>
                      <a:pt x="153" y="437"/>
                    </a:lnTo>
                    <a:lnTo>
                      <a:pt x="147" y="431"/>
                    </a:lnTo>
                    <a:lnTo>
                      <a:pt x="142" y="431"/>
                    </a:lnTo>
                    <a:lnTo>
                      <a:pt x="136" y="431"/>
                    </a:lnTo>
                    <a:lnTo>
                      <a:pt x="130" y="437"/>
                    </a:lnTo>
                    <a:lnTo>
                      <a:pt x="125" y="437"/>
                    </a:lnTo>
                    <a:lnTo>
                      <a:pt x="125" y="431"/>
                    </a:lnTo>
                    <a:lnTo>
                      <a:pt x="125" y="425"/>
                    </a:lnTo>
                    <a:lnTo>
                      <a:pt x="119" y="425"/>
                    </a:lnTo>
                    <a:lnTo>
                      <a:pt x="113" y="425"/>
                    </a:lnTo>
                    <a:lnTo>
                      <a:pt x="108" y="425"/>
                    </a:lnTo>
                    <a:lnTo>
                      <a:pt x="108" y="431"/>
                    </a:lnTo>
                    <a:lnTo>
                      <a:pt x="108" y="437"/>
                    </a:lnTo>
                    <a:lnTo>
                      <a:pt x="102" y="437"/>
                    </a:lnTo>
                    <a:lnTo>
                      <a:pt x="96" y="437"/>
                    </a:ln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1100"/>
              </a:p>
            </p:txBody>
          </p:sp>
          <p:sp>
            <p:nvSpPr>
              <p:cNvPr id="20" name="Freeform 15"/>
              <p:cNvSpPr>
                <a:spLocks/>
              </p:cNvSpPr>
              <p:nvPr>
                <p:custDataLst>
                  <p:tags r:id="rId10"/>
                </p:custDataLst>
              </p:nvPr>
            </p:nvSpPr>
            <p:spPr bwMode="gray">
              <a:xfrm>
                <a:off x="2374" y="2455"/>
                <a:ext cx="1094" cy="630"/>
              </a:xfrm>
              <a:custGeom>
                <a:avLst/>
                <a:gdLst>
                  <a:gd name="T0" fmla="*/ 32 w 1094"/>
                  <a:gd name="T1" fmla="*/ 446 h 630"/>
                  <a:gd name="T2" fmla="*/ 63 w 1094"/>
                  <a:gd name="T3" fmla="*/ 422 h 630"/>
                  <a:gd name="T4" fmla="*/ 87 w 1094"/>
                  <a:gd name="T5" fmla="*/ 400 h 630"/>
                  <a:gd name="T6" fmla="*/ 77 w 1094"/>
                  <a:gd name="T7" fmla="*/ 364 h 630"/>
                  <a:gd name="T8" fmla="*/ 144 w 1094"/>
                  <a:gd name="T9" fmla="*/ 344 h 630"/>
                  <a:gd name="T10" fmla="*/ 192 w 1094"/>
                  <a:gd name="T11" fmla="*/ 326 h 630"/>
                  <a:gd name="T12" fmla="*/ 210 w 1094"/>
                  <a:gd name="T13" fmla="*/ 283 h 630"/>
                  <a:gd name="T14" fmla="*/ 269 w 1094"/>
                  <a:gd name="T15" fmla="*/ 253 h 630"/>
                  <a:gd name="T16" fmla="*/ 300 w 1094"/>
                  <a:gd name="T17" fmla="*/ 209 h 630"/>
                  <a:gd name="T18" fmla="*/ 369 w 1094"/>
                  <a:gd name="T19" fmla="*/ 178 h 630"/>
                  <a:gd name="T20" fmla="*/ 408 w 1094"/>
                  <a:gd name="T21" fmla="*/ 154 h 630"/>
                  <a:gd name="T22" fmla="*/ 411 w 1094"/>
                  <a:gd name="T23" fmla="*/ 98 h 630"/>
                  <a:gd name="T24" fmla="*/ 465 w 1094"/>
                  <a:gd name="T25" fmla="*/ 94 h 630"/>
                  <a:gd name="T26" fmla="*/ 536 w 1094"/>
                  <a:gd name="T27" fmla="*/ 86 h 630"/>
                  <a:gd name="T28" fmla="*/ 608 w 1094"/>
                  <a:gd name="T29" fmla="*/ 95 h 630"/>
                  <a:gd name="T30" fmla="*/ 665 w 1094"/>
                  <a:gd name="T31" fmla="*/ 71 h 630"/>
                  <a:gd name="T32" fmla="*/ 702 w 1094"/>
                  <a:gd name="T33" fmla="*/ 49 h 630"/>
                  <a:gd name="T34" fmla="*/ 767 w 1094"/>
                  <a:gd name="T35" fmla="*/ 92 h 630"/>
                  <a:gd name="T36" fmla="*/ 804 w 1094"/>
                  <a:gd name="T37" fmla="*/ 67 h 630"/>
                  <a:gd name="T38" fmla="*/ 836 w 1094"/>
                  <a:gd name="T39" fmla="*/ 26 h 630"/>
                  <a:gd name="T40" fmla="*/ 879 w 1094"/>
                  <a:gd name="T41" fmla="*/ 19 h 630"/>
                  <a:gd name="T42" fmla="*/ 944 w 1094"/>
                  <a:gd name="T43" fmla="*/ 13 h 630"/>
                  <a:gd name="T44" fmla="*/ 896 w 1094"/>
                  <a:gd name="T45" fmla="*/ 43 h 630"/>
                  <a:gd name="T46" fmla="*/ 909 w 1094"/>
                  <a:gd name="T47" fmla="*/ 86 h 630"/>
                  <a:gd name="T48" fmla="*/ 954 w 1094"/>
                  <a:gd name="T49" fmla="*/ 91 h 630"/>
                  <a:gd name="T50" fmla="*/ 1011 w 1094"/>
                  <a:gd name="T51" fmla="*/ 100 h 630"/>
                  <a:gd name="T52" fmla="*/ 1064 w 1094"/>
                  <a:gd name="T53" fmla="*/ 113 h 630"/>
                  <a:gd name="T54" fmla="*/ 1085 w 1094"/>
                  <a:gd name="T55" fmla="*/ 148 h 630"/>
                  <a:gd name="T56" fmla="*/ 1064 w 1094"/>
                  <a:gd name="T57" fmla="*/ 196 h 630"/>
                  <a:gd name="T58" fmla="*/ 1001 w 1094"/>
                  <a:gd name="T59" fmla="*/ 239 h 630"/>
                  <a:gd name="T60" fmla="*/ 948 w 1094"/>
                  <a:gd name="T61" fmla="*/ 283 h 630"/>
                  <a:gd name="T62" fmla="*/ 902 w 1094"/>
                  <a:gd name="T63" fmla="*/ 332 h 630"/>
                  <a:gd name="T64" fmla="*/ 849 w 1094"/>
                  <a:gd name="T65" fmla="*/ 382 h 630"/>
                  <a:gd name="T66" fmla="*/ 807 w 1094"/>
                  <a:gd name="T67" fmla="*/ 406 h 630"/>
                  <a:gd name="T68" fmla="*/ 747 w 1094"/>
                  <a:gd name="T69" fmla="*/ 449 h 630"/>
                  <a:gd name="T70" fmla="*/ 699 w 1094"/>
                  <a:gd name="T71" fmla="*/ 479 h 630"/>
                  <a:gd name="T72" fmla="*/ 668 w 1094"/>
                  <a:gd name="T73" fmla="*/ 502 h 630"/>
                  <a:gd name="T74" fmla="*/ 621 w 1094"/>
                  <a:gd name="T75" fmla="*/ 532 h 630"/>
                  <a:gd name="T76" fmla="*/ 552 w 1094"/>
                  <a:gd name="T77" fmla="*/ 560 h 630"/>
                  <a:gd name="T78" fmla="*/ 465 w 1094"/>
                  <a:gd name="T79" fmla="*/ 551 h 630"/>
                  <a:gd name="T80" fmla="*/ 422 w 1094"/>
                  <a:gd name="T81" fmla="*/ 571 h 630"/>
                  <a:gd name="T82" fmla="*/ 395 w 1094"/>
                  <a:gd name="T83" fmla="*/ 601 h 630"/>
                  <a:gd name="T84" fmla="*/ 318 w 1094"/>
                  <a:gd name="T85" fmla="*/ 595 h 630"/>
                  <a:gd name="T86" fmla="*/ 299 w 1094"/>
                  <a:gd name="T87" fmla="*/ 626 h 630"/>
                  <a:gd name="T88" fmla="*/ 228 w 1094"/>
                  <a:gd name="T89" fmla="*/ 611 h 630"/>
                  <a:gd name="T90" fmla="*/ 156 w 1094"/>
                  <a:gd name="T91" fmla="*/ 596 h 630"/>
                  <a:gd name="T92" fmla="*/ 108 w 1094"/>
                  <a:gd name="T93" fmla="*/ 562 h 630"/>
                  <a:gd name="T94" fmla="*/ 131 w 1094"/>
                  <a:gd name="T95" fmla="*/ 541 h 630"/>
                  <a:gd name="T96" fmla="*/ 78 w 1094"/>
                  <a:gd name="T97" fmla="*/ 505 h 630"/>
                  <a:gd name="T98" fmla="*/ 17 w 1094"/>
                  <a:gd name="T99" fmla="*/ 506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4" h="630">
                    <a:moveTo>
                      <a:pt x="2" y="496"/>
                    </a:moveTo>
                    <a:cubicBezTo>
                      <a:pt x="8" y="493"/>
                      <a:pt x="10" y="488"/>
                      <a:pt x="17" y="485"/>
                    </a:cubicBezTo>
                    <a:cubicBezTo>
                      <a:pt x="19" y="472"/>
                      <a:pt x="23" y="470"/>
                      <a:pt x="33" y="463"/>
                    </a:cubicBezTo>
                    <a:cubicBezTo>
                      <a:pt x="36" y="456"/>
                      <a:pt x="31" y="451"/>
                      <a:pt x="32" y="446"/>
                    </a:cubicBezTo>
                    <a:cubicBezTo>
                      <a:pt x="33" y="441"/>
                      <a:pt x="37" y="433"/>
                      <a:pt x="41" y="430"/>
                    </a:cubicBezTo>
                    <a:cubicBezTo>
                      <a:pt x="45" y="427"/>
                      <a:pt x="52" y="430"/>
                      <a:pt x="54" y="427"/>
                    </a:cubicBezTo>
                    <a:cubicBezTo>
                      <a:pt x="58" y="414"/>
                      <a:pt x="44" y="415"/>
                      <a:pt x="54" y="412"/>
                    </a:cubicBezTo>
                    <a:cubicBezTo>
                      <a:pt x="56" y="410"/>
                      <a:pt x="59" y="421"/>
                      <a:pt x="63" y="422"/>
                    </a:cubicBezTo>
                    <a:cubicBezTo>
                      <a:pt x="66" y="422"/>
                      <a:pt x="65" y="414"/>
                      <a:pt x="71" y="413"/>
                    </a:cubicBezTo>
                    <a:cubicBezTo>
                      <a:pt x="82" y="417"/>
                      <a:pt x="86" y="419"/>
                      <a:pt x="99" y="418"/>
                    </a:cubicBezTo>
                    <a:cubicBezTo>
                      <a:pt x="96" y="405"/>
                      <a:pt x="101" y="418"/>
                      <a:pt x="93" y="410"/>
                    </a:cubicBezTo>
                    <a:cubicBezTo>
                      <a:pt x="87" y="404"/>
                      <a:pt x="99" y="407"/>
                      <a:pt x="87" y="400"/>
                    </a:cubicBezTo>
                    <a:cubicBezTo>
                      <a:pt x="86" y="399"/>
                      <a:pt x="77" y="395"/>
                      <a:pt x="78" y="394"/>
                    </a:cubicBezTo>
                    <a:cubicBezTo>
                      <a:pt x="80" y="392"/>
                      <a:pt x="85" y="395"/>
                      <a:pt x="87" y="392"/>
                    </a:cubicBezTo>
                    <a:cubicBezTo>
                      <a:pt x="93" y="382"/>
                      <a:pt x="86" y="380"/>
                      <a:pt x="81" y="377"/>
                    </a:cubicBezTo>
                    <a:cubicBezTo>
                      <a:pt x="79" y="367"/>
                      <a:pt x="65" y="367"/>
                      <a:pt x="77" y="364"/>
                    </a:cubicBezTo>
                    <a:cubicBezTo>
                      <a:pt x="79" y="350"/>
                      <a:pt x="89" y="353"/>
                      <a:pt x="99" y="353"/>
                    </a:cubicBezTo>
                    <a:cubicBezTo>
                      <a:pt x="103" y="350"/>
                      <a:pt x="105" y="345"/>
                      <a:pt x="110" y="344"/>
                    </a:cubicBezTo>
                    <a:cubicBezTo>
                      <a:pt x="115" y="343"/>
                      <a:pt x="125" y="347"/>
                      <a:pt x="131" y="347"/>
                    </a:cubicBezTo>
                    <a:cubicBezTo>
                      <a:pt x="135" y="346"/>
                      <a:pt x="142" y="347"/>
                      <a:pt x="144" y="344"/>
                    </a:cubicBezTo>
                    <a:cubicBezTo>
                      <a:pt x="146" y="341"/>
                      <a:pt x="141" y="334"/>
                      <a:pt x="143" y="331"/>
                    </a:cubicBezTo>
                    <a:cubicBezTo>
                      <a:pt x="148" y="328"/>
                      <a:pt x="153" y="325"/>
                      <a:pt x="158" y="325"/>
                    </a:cubicBezTo>
                    <a:cubicBezTo>
                      <a:pt x="163" y="325"/>
                      <a:pt x="170" y="334"/>
                      <a:pt x="176" y="334"/>
                    </a:cubicBezTo>
                    <a:cubicBezTo>
                      <a:pt x="178" y="334"/>
                      <a:pt x="191" y="328"/>
                      <a:pt x="192" y="326"/>
                    </a:cubicBezTo>
                    <a:cubicBezTo>
                      <a:pt x="195" y="320"/>
                      <a:pt x="200" y="320"/>
                      <a:pt x="206" y="319"/>
                    </a:cubicBezTo>
                    <a:cubicBezTo>
                      <a:pt x="207" y="313"/>
                      <a:pt x="206" y="307"/>
                      <a:pt x="209" y="302"/>
                    </a:cubicBezTo>
                    <a:cubicBezTo>
                      <a:pt x="210" y="300"/>
                      <a:pt x="222" y="293"/>
                      <a:pt x="225" y="287"/>
                    </a:cubicBezTo>
                    <a:cubicBezTo>
                      <a:pt x="220" y="286"/>
                      <a:pt x="215" y="284"/>
                      <a:pt x="210" y="283"/>
                    </a:cubicBezTo>
                    <a:cubicBezTo>
                      <a:pt x="203" y="280"/>
                      <a:pt x="209" y="277"/>
                      <a:pt x="212" y="272"/>
                    </a:cubicBezTo>
                    <a:cubicBezTo>
                      <a:pt x="213" y="253"/>
                      <a:pt x="211" y="261"/>
                      <a:pt x="224" y="263"/>
                    </a:cubicBezTo>
                    <a:cubicBezTo>
                      <a:pt x="250" y="260"/>
                      <a:pt x="224" y="266"/>
                      <a:pt x="237" y="257"/>
                    </a:cubicBezTo>
                    <a:cubicBezTo>
                      <a:pt x="244" y="252"/>
                      <a:pt x="260" y="254"/>
                      <a:pt x="269" y="253"/>
                    </a:cubicBezTo>
                    <a:cubicBezTo>
                      <a:pt x="265" y="245"/>
                      <a:pt x="263" y="236"/>
                      <a:pt x="269" y="232"/>
                    </a:cubicBezTo>
                    <a:cubicBezTo>
                      <a:pt x="269" y="227"/>
                      <a:pt x="267" y="216"/>
                      <a:pt x="278" y="214"/>
                    </a:cubicBezTo>
                    <a:cubicBezTo>
                      <a:pt x="281" y="210"/>
                      <a:pt x="279" y="207"/>
                      <a:pt x="285" y="206"/>
                    </a:cubicBezTo>
                    <a:cubicBezTo>
                      <a:pt x="289" y="205"/>
                      <a:pt x="295" y="210"/>
                      <a:pt x="300" y="209"/>
                    </a:cubicBezTo>
                    <a:cubicBezTo>
                      <a:pt x="305" y="206"/>
                      <a:pt x="315" y="204"/>
                      <a:pt x="318" y="199"/>
                    </a:cubicBezTo>
                    <a:cubicBezTo>
                      <a:pt x="324" y="196"/>
                      <a:pt x="326" y="193"/>
                      <a:pt x="333" y="191"/>
                    </a:cubicBezTo>
                    <a:cubicBezTo>
                      <a:pt x="339" y="190"/>
                      <a:pt x="347" y="193"/>
                      <a:pt x="353" y="191"/>
                    </a:cubicBezTo>
                    <a:cubicBezTo>
                      <a:pt x="360" y="189"/>
                      <a:pt x="362" y="180"/>
                      <a:pt x="369" y="178"/>
                    </a:cubicBezTo>
                    <a:cubicBezTo>
                      <a:pt x="375" y="176"/>
                      <a:pt x="385" y="181"/>
                      <a:pt x="390" y="181"/>
                    </a:cubicBezTo>
                    <a:cubicBezTo>
                      <a:pt x="395" y="180"/>
                      <a:pt x="395" y="177"/>
                      <a:pt x="398" y="175"/>
                    </a:cubicBezTo>
                    <a:cubicBezTo>
                      <a:pt x="401" y="172"/>
                      <a:pt x="405" y="167"/>
                      <a:pt x="407" y="164"/>
                    </a:cubicBezTo>
                    <a:cubicBezTo>
                      <a:pt x="412" y="156"/>
                      <a:pt x="410" y="164"/>
                      <a:pt x="408" y="154"/>
                    </a:cubicBezTo>
                    <a:cubicBezTo>
                      <a:pt x="413" y="147"/>
                      <a:pt x="418" y="144"/>
                      <a:pt x="420" y="134"/>
                    </a:cubicBezTo>
                    <a:cubicBezTo>
                      <a:pt x="417" y="129"/>
                      <a:pt x="419" y="128"/>
                      <a:pt x="414" y="125"/>
                    </a:cubicBezTo>
                    <a:cubicBezTo>
                      <a:pt x="424" y="124"/>
                      <a:pt x="422" y="118"/>
                      <a:pt x="413" y="113"/>
                    </a:cubicBezTo>
                    <a:cubicBezTo>
                      <a:pt x="412" y="109"/>
                      <a:pt x="410" y="102"/>
                      <a:pt x="411" y="98"/>
                    </a:cubicBezTo>
                    <a:cubicBezTo>
                      <a:pt x="412" y="94"/>
                      <a:pt x="413" y="91"/>
                      <a:pt x="416" y="89"/>
                    </a:cubicBezTo>
                    <a:cubicBezTo>
                      <a:pt x="419" y="88"/>
                      <a:pt x="428" y="87"/>
                      <a:pt x="432" y="88"/>
                    </a:cubicBezTo>
                    <a:cubicBezTo>
                      <a:pt x="437" y="90"/>
                      <a:pt x="439" y="99"/>
                      <a:pt x="444" y="100"/>
                    </a:cubicBezTo>
                    <a:cubicBezTo>
                      <a:pt x="451" y="105"/>
                      <a:pt x="465" y="94"/>
                      <a:pt x="465" y="94"/>
                    </a:cubicBezTo>
                    <a:cubicBezTo>
                      <a:pt x="471" y="93"/>
                      <a:pt x="470" y="85"/>
                      <a:pt x="474" y="83"/>
                    </a:cubicBezTo>
                    <a:cubicBezTo>
                      <a:pt x="478" y="81"/>
                      <a:pt x="483" y="83"/>
                      <a:pt x="489" y="82"/>
                    </a:cubicBezTo>
                    <a:cubicBezTo>
                      <a:pt x="498" y="80"/>
                      <a:pt x="503" y="75"/>
                      <a:pt x="512" y="75"/>
                    </a:cubicBezTo>
                    <a:cubicBezTo>
                      <a:pt x="522" y="77"/>
                      <a:pt x="527" y="81"/>
                      <a:pt x="536" y="86"/>
                    </a:cubicBezTo>
                    <a:cubicBezTo>
                      <a:pt x="548" y="85"/>
                      <a:pt x="544" y="83"/>
                      <a:pt x="555" y="85"/>
                    </a:cubicBezTo>
                    <a:cubicBezTo>
                      <a:pt x="559" y="88"/>
                      <a:pt x="571" y="95"/>
                      <a:pt x="576" y="97"/>
                    </a:cubicBezTo>
                    <a:cubicBezTo>
                      <a:pt x="582" y="98"/>
                      <a:pt x="586" y="97"/>
                      <a:pt x="591" y="97"/>
                    </a:cubicBezTo>
                    <a:cubicBezTo>
                      <a:pt x="596" y="97"/>
                      <a:pt x="603" y="95"/>
                      <a:pt x="608" y="95"/>
                    </a:cubicBezTo>
                    <a:cubicBezTo>
                      <a:pt x="617" y="102"/>
                      <a:pt x="615" y="99"/>
                      <a:pt x="624" y="95"/>
                    </a:cubicBezTo>
                    <a:cubicBezTo>
                      <a:pt x="628" y="88"/>
                      <a:pt x="627" y="85"/>
                      <a:pt x="635" y="83"/>
                    </a:cubicBezTo>
                    <a:cubicBezTo>
                      <a:pt x="633" y="72"/>
                      <a:pt x="644" y="83"/>
                      <a:pt x="653" y="80"/>
                    </a:cubicBezTo>
                    <a:cubicBezTo>
                      <a:pt x="657" y="79"/>
                      <a:pt x="659" y="72"/>
                      <a:pt x="665" y="71"/>
                    </a:cubicBezTo>
                    <a:cubicBezTo>
                      <a:pt x="670" y="70"/>
                      <a:pt x="678" y="75"/>
                      <a:pt x="681" y="73"/>
                    </a:cubicBezTo>
                    <a:cubicBezTo>
                      <a:pt x="685" y="71"/>
                      <a:pt x="685" y="63"/>
                      <a:pt x="686" y="59"/>
                    </a:cubicBezTo>
                    <a:cubicBezTo>
                      <a:pt x="687" y="55"/>
                      <a:pt x="688" y="49"/>
                      <a:pt x="690" y="47"/>
                    </a:cubicBezTo>
                    <a:cubicBezTo>
                      <a:pt x="693" y="46"/>
                      <a:pt x="698" y="47"/>
                      <a:pt x="702" y="49"/>
                    </a:cubicBezTo>
                    <a:cubicBezTo>
                      <a:pt x="706" y="51"/>
                      <a:pt x="712" y="54"/>
                      <a:pt x="717" y="58"/>
                    </a:cubicBezTo>
                    <a:cubicBezTo>
                      <a:pt x="721" y="74"/>
                      <a:pt x="718" y="65"/>
                      <a:pt x="732" y="71"/>
                    </a:cubicBezTo>
                    <a:cubicBezTo>
                      <a:pt x="739" y="74"/>
                      <a:pt x="739" y="88"/>
                      <a:pt x="749" y="89"/>
                    </a:cubicBezTo>
                    <a:cubicBezTo>
                      <a:pt x="756" y="90"/>
                      <a:pt x="760" y="92"/>
                      <a:pt x="767" y="92"/>
                    </a:cubicBezTo>
                    <a:cubicBezTo>
                      <a:pt x="776" y="97"/>
                      <a:pt x="785" y="95"/>
                      <a:pt x="795" y="94"/>
                    </a:cubicBezTo>
                    <a:cubicBezTo>
                      <a:pt x="796" y="92"/>
                      <a:pt x="796" y="90"/>
                      <a:pt x="797" y="89"/>
                    </a:cubicBezTo>
                    <a:cubicBezTo>
                      <a:pt x="798" y="88"/>
                      <a:pt x="800" y="87"/>
                      <a:pt x="801" y="86"/>
                    </a:cubicBezTo>
                    <a:cubicBezTo>
                      <a:pt x="802" y="83"/>
                      <a:pt x="802" y="71"/>
                      <a:pt x="804" y="67"/>
                    </a:cubicBezTo>
                    <a:cubicBezTo>
                      <a:pt x="806" y="63"/>
                      <a:pt x="813" y="65"/>
                      <a:pt x="815" y="61"/>
                    </a:cubicBezTo>
                    <a:cubicBezTo>
                      <a:pt x="822" y="58"/>
                      <a:pt x="819" y="45"/>
                      <a:pt x="815" y="40"/>
                    </a:cubicBezTo>
                    <a:cubicBezTo>
                      <a:pt x="817" y="20"/>
                      <a:pt x="812" y="44"/>
                      <a:pt x="831" y="37"/>
                    </a:cubicBezTo>
                    <a:cubicBezTo>
                      <a:pt x="835" y="36"/>
                      <a:pt x="833" y="28"/>
                      <a:pt x="836" y="26"/>
                    </a:cubicBezTo>
                    <a:cubicBezTo>
                      <a:pt x="839" y="23"/>
                      <a:pt x="845" y="21"/>
                      <a:pt x="848" y="20"/>
                    </a:cubicBezTo>
                    <a:cubicBezTo>
                      <a:pt x="851" y="19"/>
                      <a:pt x="852" y="17"/>
                      <a:pt x="855" y="17"/>
                    </a:cubicBezTo>
                    <a:cubicBezTo>
                      <a:pt x="860" y="15"/>
                      <a:pt x="863" y="17"/>
                      <a:pt x="867" y="17"/>
                    </a:cubicBezTo>
                    <a:cubicBezTo>
                      <a:pt x="871" y="17"/>
                      <a:pt x="874" y="20"/>
                      <a:pt x="879" y="19"/>
                    </a:cubicBezTo>
                    <a:cubicBezTo>
                      <a:pt x="886" y="15"/>
                      <a:pt x="891" y="15"/>
                      <a:pt x="899" y="13"/>
                    </a:cubicBezTo>
                    <a:cubicBezTo>
                      <a:pt x="909" y="8"/>
                      <a:pt x="907" y="15"/>
                      <a:pt x="915" y="5"/>
                    </a:cubicBezTo>
                    <a:cubicBezTo>
                      <a:pt x="921" y="3"/>
                      <a:pt x="928" y="0"/>
                      <a:pt x="933" y="1"/>
                    </a:cubicBezTo>
                    <a:cubicBezTo>
                      <a:pt x="938" y="2"/>
                      <a:pt x="945" y="9"/>
                      <a:pt x="944" y="13"/>
                    </a:cubicBezTo>
                    <a:cubicBezTo>
                      <a:pt x="940" y="21"/>
                      <a:pt x="936" y="20"/>
                      <a:pt x="927" y="22"/>
                    </a:cubicBezTo>
                    <a:cubicBezTo>
                      <a:pt x="926" y="30"/>
                      <a:pt x="922" y="30"/>
                      <a:pt x="917" y="35"/>
                    </a:cubicBezTo>
                    <a:cubicBezTo>
                      <a:pt x="914" y="38"/>
                      <a:pt x="909" y="42"/>
                      <a:pt x="906" y="43"/>
                    </a:cubicBezTo>
                    <a:cubicBezTo>
                      <a:pt x="903" y="44"/>
                      <a:pt x="898" y="40"/>
                      <a:pt x="896" y="43"/>
                    </a:cubicBezTo>
                    <a:cubicBezTo>
                      <a:pt x="894" y="45"/>
                      <a:pt x="894" y="55"/>
                      <a:pt x="893" y="59"/>
                    </a:cubicBezTo>
                    <a:cubicBezTo>
                      <a:pt x="892" y="63"/>
                      <a:pt x="888" y="68"/>
                      <a:pt x="890" y="70"/>
                    </a:cubicBezTo>
                    <a:cubicBezTo>
                      <a:pt x="891" y="73"/>
                      <a:pt x="899" y="71"/>
                      <a:pt x="903" y="74"/>
                    </a:cubicBezTo>
                    <a:cubicBezTo>
                      <a:pt x="906" y="77"/>
                      <a:pt x="906" y="85"/>
                      <a:pt x="909" y="86"/>
                    </a:cubicBezTo>
                    <a:cubicBezTo>
                      <a:pt x="912" y="87"/>
                      <a:pt x="918" y="85"/>
                      <a:pt x="921" y="83"/>
                    </a:cubicBezTo>
                    <a:cubicBezTo>
                      <a:pt x="925" y="84"/>
                      <a:pt x="925" y="75"/>
                      <a:pt x="928" y="76"/>
                    </a:cubicBezTo>
                    <a:cubicBezTo>
                      <a:pt x="931" y="77"/>
                      <a:pt x="937" y="85"/>
                      <a:pt x="941" y="88"/>
                    </a:cubicBezTo>
                    <a:cubicBezTo>
                      <a:pt x="946" y="91"/>
                      <a:pt x="949" y="90"/>
                      <a:pt x="954" y="91"/>
                    </a:cubicBezTo>
                    <a:cubicBezTo>
                      <a:pt x="959" y="92"/>
                      <a:pt x="966" y="97"/>
                      <a:pt x="972" y="97"/>
                    </a:cubicBezTo>
                    <a:cubicBezTo>
                      <a:pt x="978" y="97"/>
                      <a:pt x="985" y="92"/>
                      <a:pt x="990" y="92"/>
                    </a:cubicBezTo>
                    <a:cubicBezTo>
                      <a:pt x="994" y="92"/>
                      <a:pt x="1000" y="94"/>
                      <a:pt x="1003" y="95"/>
                    </a:cubicBezTo>
                    <a:cubicBezTo>
                      <a:pt x="1006" y="96"/>
                      <a:pt x="1007" y="99"/>
                      <a:pt x="1011" y="100"/>
                    </a:cubicBezTo>
                    <a:cubicBezTo>
                      <a:pt x="1017" y="102"/>
                      <a:pt x="1021" y="103"/>
                      <a:pt x="1026" y="103"/>
                    </a:cubicBezTo>
                    <a:cubicBezTo>
                      <a:pt x="1031" y="103"/>
                      <a:pt x="1035" y="102"/>
                      <a:pt x="1039" y="103"/>
                    </a:cubicBezTo>
                    <a:cubicBezTo>
                      <a:pt x="1043" y="104"/>
                      <a:pt x="1045" y="108"/>
                      <a:pt x="1049" y="110"/>
                    </a:cubicBezTo>
                    <a:cubicBezTo>
                      <a:pt x="1054" y="114"/>
                      <a:pt x="1058" y="112"/>
                      <a:pt x="1064" y="113"/>
                    </a:cubicBezTo>
                    <a:cubicBezTo>
                      <a:pt x="1065" y="120"/>
                      <a:pt x="1065" y="118"/>
                      <a:pt x="1071" y="122"/>
                    </a:cubicBezTo>
                    <a:cubicBezTo>
                      <a:pt x="1074" y="136"/>
                      <a:pt x="1073" y="116"/>
                      <a:pt x="1081" y="128"/>
                    </a:cubicBezTo>
                    <a:cubicBezTo>
                      <a:pt x="1083" y="130"/>
                      <a:pt x="1087" y="137"/>
                      <a:pt x="1088" y="140"/>
                    </a:cubicBezTo>
                    <a:cubicBezTo>
                      <a:pt x="1089" y="143"/>
                      <a:pt x="1084" y="145"/>
                      <a:pt x="1085" y="148"/>
                    </a:cubicBezTo>
                    <a:cubicBezTo>
                      <a:pt x="1086" y="151"/>
                      <a:pt x="1091" y="154"/>
                      <a:pt x="1092" y="158"/>
                    </a:cubicBezTo>
                    <a:cubicBezTo>
                      <a:pt x="1092" y="162"/>
                      <a:pt x="1094" y="169"/>
                      <a:pt x="1091" y="172"/>
                    </a:cubicBezTo>
                    <a:cubicBezTo>
                      <a:pt x="1089" y="175"/>
                      <a:pt x="1084" y="174"/>
                      <a:pt x="1079" y="178"/>
                    </a:cubicBezTo>
                    <a:cubicBezTo>
                      <a:pt x="1073" y="186"/>
                      <a:pt x="1074" y="194"/>
                      <a:pt x="1064" y="196"/>
                    </a:cubicBezTo>
                    <a:cubicBezTo>
                      <a:pt x="1060" y="202"/>
                      <a:pt x="1053" y="208"/>
                      <a:pt x="1046" y="209"/>
                    </a:cubicBezTo>
                    <a:cubicBezTo>
                      <a:pt x="1038" y="213"/>
                      <a:pt x="1034" y="213"/>
                      <a:pt x="1025" y="214"/>
                    </a:cubicBezTo>
                    <a:cubicBezTo>
                      <a:pt x="1023" y="218"/>
                      <a:pt x="1023" y="224"/>
                      <a:pt x="1019" y="227"/>
                    </a:cubicBezTo>
                    <a:cubicBezTo>
                      <a:pt x="1012" y="232"/>
                      <a:pt x="1005" y="230"/>
                      <a:pt x="1001" y="239"/>
                    </a:cubicBezTo>
                    <a:cubicBezTo>
                      <a:pt x="996" y="243"/>
                      <a:pt x="994" y="245"/>
                      <a:pt x="990" y="247"/>
                    </a:cubicBezTo>
                    <a:cubicBezTo>
                      <a:pt x="986" y="249"/>
                      <a:pt x="983" y="247"/>
                      <a:pt x="978" y="251"/>
                    </a:cubicBezTo>
                    <a:cubicBezTo>
                      <a:pt x="976" y="260"/>
                      <a:pt x="970" y="264"/>
                      <a:pt x="962" y="268"/>
                    </a:cubicBezTo>
                    <a:cubicBezTo>
                      <a:pt x="958" y="273"/>
                      <a:pt x="952" y="278"/>
                      <a:pt x="948" y="283"/>
                    </a:cubicBezTo>
                    <a:cubicBezTo>
                      <a:pt x="944" y="288"/>
                      <a:pt x="941" y="294"/>
                      <a:pt x="936" y="299"/>
                    </a:cubicBezTo>
                    <a:cubicBezTo>
                      <a:pt x="930" y="302"/>
                      <a:pt x="925" y="307"/>
                      <a:pt x="920" y="311"/>
                    </a:cubicBezTo>
                    <a:cubicBezTo>
                      <a:pt x="918" y="316"/>
                      <a:pt x="915" y="320"/>
                      <a:pt x="912" y="325"/>
                    </a:cubicBezTo>
                    <a:cubicBezTo>
                      <a:pt x="909" y="329"/>
                      <a:pt x="906" y="328"/>
                      <a:pt x="902" y="332"/>
                    </a:cubicBezTo>
                    <a:cubicBezTo>
                      <a:pt x="898" y="336"/>
                      <a:pt x="892" y="343"/>
                      <a:pt x="888" y="347"/>
                    </a:cubicBezTo>
                    <a:cubicBezTo>
                      <a:pt x="880" y="353"/>
                      <a:pt x="885" y="353"/>
                      <a:pt x="875" y="355"/>
                    </a:cubicBezTo>
                    <a:cubicBezTo>
                      <a:pt x="872" y="357"/>
                      <a:pt x="860" y="365"/>
                      <a:pt x="858" y="368"/>
                    </a:cubicBezTo>
                    <a:cubicBezTo>
                      <a:pt x="854" y="374"/>
                      <a:pt x="857" y="377"/>
                      <a:pt x="849" y="382"/>
                    </a:cubicBezTo>
                    <a:cubicBezTo>
                      <a:pt x="842" y="380"/>
                      <a:pt x="841" y="380"/>
                      <a:pt x="836" y="386"/>
                    </a:cubicBezTo>
                    <a:cubicBezTo>
                      <a:pt x="833" y="395"/>
                      <a:pt x="836" y="397"/>
                      <a:pt x="825" y="398"/>
                    </a:cubicBezTo>
                    <a:cubicBezTo>
                      <a:pt x="820" y="400"/>
                      <a:pt x="815" y="399"/>
                      <a:pt x="810" y="401"/>
                    </a:cubicBezTo>
                    <a:cubicBezTo>
                      <a:pt x="808" y="402"/>
                      <a:pt x="809" y="405"/>
                      <a:pt x="807" y="406"/>
                    </a:cubicBezTo>
                    <a:cubicBezTo>
                      <a:pt x="805" y="407"/>
                      <a:pt x="803" y="407"/>
                      <a:pt x="801" y="407"/>
                    </a:cubicBezTo>
                    <a:cubicBezTo>
                      <a:pt x="795" y="410"/>
                      <a:pt x="786" y="417"/>
                      <a:pt x="780" y="421"/>
                    </a:cubicBezTo>
                    <a:cubicBezTo>
                      <a:pt x="768" y="437"/>
                      <a:pt x="784" y="436"/>
                      <a:pt x="759" y="439"/>
                    </a:cubicBezTo>
                    <a:cubicBezTo>
                      <a:pt x="754" y="442"/>
                      <a:pt x="752" y="446"/>
                      <a:pt x="747" y="449"/>
                    </a:cubicBezTo>
                    <a:cubicBezTo>
                      <a:pt x="747" y="451"/>
                      <a:pt x="747" y="453"/>
                      <a:pt x="746" y="454"/>
                    </a:cubicBezTo>
                    <a:cubicBezTo>
                      <a:pt x="744" y="456"/>
                      <a:pt x="729" y="459"/>
                      <a:pt x="726" y="461"/>
                    </a:cubicBezTo>
                    <a:cubicBezTo>
                      <a:pt x="718" y="465"/>
                      <a:pt x="722" y="469"/>
                      <a:pt x="714" y="472"/>
                    </a:cubicBezTo>
                    <a:cubicBezTo>
                      <a:pt x="709" y="477"/>
                      <a:pt x="706" y="478"/>
                      <a:pt x="699" y="479"/>
                    </a:cubicBezTo>
                    <a:cubicBezTo>
                      <a:pt x="695" y="481"/>
                      <a:pt x="691" y="487"/>
                      <a:pt x="687" y="488"/>
                    </a:cubicBezTo>
                    <a:cubicBezTo>
                      <a:pt x="683" y="489"/>
                      <a:pt x="678" y="484"/>
                      <a:pt x="677" y="485"/>
                    </a:cubicBezTo>
                    <a:cubicBezTo>
                      <a:pt x="676" y="486"/>
                      <a:pt x="682" y="491"/>
                      <a:pt x="681" y="494"/>
                    </a:cubicBezTo>
                    <a:cubicBezTo>
                      <a:pt x="680" y="497"/>
                      <a:pt x="674" y="499"/>
                      <a:pt x="668" y="502"/>
                    </a:cubicBezTo>
                    <a:cubicBezTo>
                      <a:pt x="655" y="508"/>
                      <a:pt x="661" y="508"/>
                      <a:pt x="647" y="511"/>
                    </a:cubicBezTo>
                    <a:cubicBezTo>
                      <a:pt x="645" y="518"/>
                      <a:pt x="647" y="522"/>
                      <a:pt x="639" y="524"/>
                    </a:cubicBezTo>
                    <a:cubicBezTo>
                      <a:pt x="628" y="529"/>
                      <a:pt x="654" y="515"/>
                      <a:pt x="630" y="520"/>
                    </a:cubicBezTo>
                    <a:cubicBezTo>
                      <a:pt x="626" y="520"/>
                      <a:pt x="625" y="530"/>
                      <a:pt x="621" y="532"/>
                    </a:cubicBezTo>
                    <a:cubicBezTo>
                      <a:pt x="617" y="534"/>
                      <a:pt x="612" y="531"/>
                      <a:pt x="606" y="533"/>
                    </a:cubicBezTo>
                    <a:cubicBezTo>
                      <a:pt x="599" y="536"/>
                      <a:pt x="589" y="542"/>
                      <a:pt x="582" y="544"/>
                    </a:cubicBezTo>
                    <a:cubicBezTo>
                      <a:pt x="576" y="546"/>
                      <a:pt x="564" y="547"/>
                      <a:pt x="564" y="547"/>
                    </a:cubicBezTo>
                    <a:cubicBezTo>
                      <a:pt x="557" y="553"/>
                      <a:pt x="559" y="555"/>
                      <a:pt x="552" y="560"/>
                    </a:cubicBezTo>
                    <a:cubicBezTo>
                      <a:pt x="544" y="562"/>
                      <a:pt x="530" y="563"/>
                      <a:pt x="521" y="563"/>
                    </a:cubicBezTo>
                    <a:cubicBezTo>
                      <a:pt x="512" y="563"/>
                      <a:pt x="501" y="561"/>
                      <a:pt x="495" y="559"/>
                    </a:cubicBezTo>
                    <a:cubicBezTo>
                      <a:pt x="485" y="551"/>
                      <a:pt x="501" y="555"/>
                      <a:pt x="486" y="553"/>
                    </a:cubicBezTo>
                    <a:cubicBezTo>
                      <a:pt x="478" y="549"/>
                      <a:pt x="474" y="550"/>
                      <a:pt x="465" y="551"/>
                    </a:cubicBezTo>
                    <a:cubicBezTo>
                      <a:pt x="459" y="552"/>
                      <a:pt x="456" y="553"/>
                      <a:pt x="450" y="554"/>
                    </a:cubicBezTo>
                    <a:cubicBezTo>
                      <a:pt x="444" y="556"/>
                      <a:pt x="436" y="561"/>
                      <a:pt x="431" y="562"/>
                    </a:cubicBezTo>
                    <a:cubicBezTo>
                      <a:pt x="426" y="563"/>
                      <a:pt x="420" y="558"/>
                      <a:pt x="419" y="559"/>
                    </a:cubicBezTo>
                    <a:cubicBezTo>
                      <a:pt x="415" y="566"/>
                      <a:pt x="430" y="570"/>
                      <a:pt x="422" y="571"/>
                    </a:cubicBezTo>
                    <a:cubicBezTo>
                      <a:pt x="423" y="575"/>
                      <a:pt x="410" y="567"/>
                      <a:pt x="410" y="571"/>
                    </a:cubicBezTo>
                    <a:cubicBezTo>
                      <a:pt x="411" y="575"/>
                      <a:pt x="412" y="586"/>
                      <a:pt x="413" y="590"/>
                    </a:cubicBezTo>
                    <a:cubicBezTo>
                      <a:pt x="414" y="593"/>
                      <a:pt x="428" y="601"/>
                      <a:pt x="425" y="601"/>
                    </a:cubicBezTo>
                    <a:cubicBezTo>
                      <a:pt x="421" y="603"/>
                      <a:pt x="406" y="601"/>
                      <a:pt x="395" y="601"/>
                    </a:cubicBezTo>
                    <a:cubicBezTo>
                      <a:pt x="387" y="601"/>
                      <a:pt x="380" y="600"/>
                      <a:pt x="375" y="599"/>
                    </a:cubicBezTo>
                    <a:cubicBezTo>
                      <a:pt x="370" y="598"/>
                      <a:pt x="368" y="595"/>
                      <a:pt x="362" y="593"/>
                    </a:cubicBezTo>
                    <a:cubicBezTo>
                      <a:pt x="353" y="589"/>
                      <a:pt x="348" y="590"/>
                      <a:pt x="338" y="587"/>
                    </a:cubicBezTo>
                    <a:cubicBezTo>
                      <a:pt x="330" y="590"/>
                      <a:pt x="327" y="593"/>
                      <a:pt x="318" y="595"/>
                    </a:cubicBezTo>
                    <a:cubicBezTo>
                      <a:pt x="311" y="601"/>
                      <a:pt x="323" y="605"/>
                      <a:pt x="315" y="607"/>
                    </a:cubicBezTo>
                    <a:cubicBezTo>
                      <a:pt x="313" y="609"/>
                      <a:pt x="307" y="612"/>
                      <a:pt x="303" y="613"/>
                    </a:cubicBezTo>
                    <a:cubicBezTo>
                      <a:pt x="299" y="614"/>
                      <a:pt x="294" y="609"/>
                      <a:pt x="293" y="611"/>
                    </a:cubicBezTo>
                    <a:cubicBezTo>
                      <a:pt x="294" y="615"/>
                      <a:pt x="299" y="622"/>
                      <a:pt x="299" y="626"/>
                    </a:cubicBezTo>
                    <a:cubicBezTo>
                      <a:pt x="299" y="630"/>
                      <a:pt x="292" y="623"/>
                      <a:pt x="288" y="623"/>
                    </a:cubicBezTo>
                    <a:cubicBezTo>
                      <a:pt x="283" y="622"/>
                      <a:pt x="275" y="623"/>
                      <a:pt x="267" y="623"/>
                    </a:cubicBezTo>
                    <a:cubicBezTo>
                      <a:pt x="260" y="623"/>
                      <a:pt x="254" y="622"/>
                      <a:pt x="248" y="620"/>
                    </a:cubicBezTo>
                    <a:cubicBezTo>
                      <a:pt x="242" y="618"/>
                      <a:pt x="234" y="613"/>
                      <a:pt x="228" y="611"/>
                    </a:cubicBezTo>
                    <a:cubicBezTo>
                      <a:pt x="222" y="609"/>
                      <a:pt x="216" y="608"/>
                      <a:pt x="210" y="607"/>
                    </a:cubicBezTo>
                    <a:cubicBezTo>
                      <a:pt x="201" y="604"/>
                      <a:pt x="197" y="605"/>
                      <a:pt x="191" y="604"/>
                    </a:cubicBezTo>
                    <a:cubicBezTo>
                      <a:pt x="185" y="603"/>
                      <a:pt x="180" y="600"/>
                      <a:pt x="174" y="599"/>
                    </a:cubicBezTo>
                    <a:cubicBezTo>
                      <a:pt x="165" y="597"/>
                      <a:pt x="163" y="597"/>
                      <a:pt x="156" y="596"/>
                    </a:cubicBezTo>
                    <a:cubicBezTo>
                      <a:pt x="149" y="595"/>
                      <a:pt x="137" y="597"/>
                      <a:pt x="134" y="593"/>
                    </a:cubicBezTo>
                    <a:cubicBezTo>
                      <a:pt x="125" y="591"/>
                      <a:pt x="134" y="579"/>
                      <a:pt x="140" y="575"/>
                    </a:cubicBezTo>
                    <a:cubicBezTo>
                      <a:pt x="137" y="566"/>
                      <a:pt x="129" y="573"/>
                      <a:pt x="120" y="571"/>
                    </a:cubicBezTo>
                    <a:cubicBezTo>
                      <a:pt x="115" y="567"/>
                      <a:pt x="115" y="563"/>
                      <a:pt x="108" y="562"/>
                    </a:cubicBezTo>
                    <a:cubicBezTo>
                      <a:pt x="106" y="562"/>
                      <a:pt x="88" y="566"/>
                      <a:pt x="99" y="560"/>
                    </a:cubicBezTo>
                    <a:cubicBezTo>
                      <a:pt x="102" y="554"/>
                      <a:pt x="101" y="552"/>
                      <a:pt x="107" y="548"/>
                    </a:cubicBezTo>
                    <a:cubicBezTo>
                      <a:pt x="117" y="553"/>
                      <a:pt x="114" y="545"/>
                      <a:pt x="119" y="542"/>
                    </a:cubicBezTo>
                    <a:cubicBezTo>
                      <a:pt x="123" y="540"/>
                      <a:pt x="127" y="541"/>
                      <a:pt x="131" y="541"/>
                    </a:cubicBezTo>
                    <a:cubicBezTo>
                      <a:pt x="136" y="533"/>
                      <a:pt x="131" y="537"/>
                      <a:pt x="125" y="532"/>
                    </a:cubicBezTo>
                    <a:cubicBezTo>
                      <a:pt x="124" y="529"/>
                      <a:pt x="126" y="526"/>
                      <a:pt x="125" y="523"/>
                    </a:cubicBezTo>
                    <a:cubicBezTo>
                      <a:pt x="123" y="518"/>
                      <a:pt x="106" y="512"/>
                      <a:pt x="101" y="511"/>
                    </a:cubicBezTo>
                    <a:cubicBezTo>
                      <a:pt x="76" y="513"/>
                      <a:pt x="91" y="508"/>
                      <a:pt x="78" y="505"/>
                    </a:cubicBezTo>
                    <a:cubicBezTo>
                      <a:pt x="71" y="504"/>
                      <a:pt x="65" y="505"/>
                      <a:pt x="59" y="505"/>
                    </a:cubicBezTo>
                    <a:cubicBezTo>
                      <a:pt x="53" y="505"/>
                      <a:pt x="46" y="504"/>
                      <a:pt x="41" y="505"/>
                    </a:cubicBezTo>
                    <a:cubicBezTo>
                      <a:pt x="33" y="506"/>
                      <a:pt x="34" y="509"/>
                      <a:pt x="30" y="509"/>
                    </a:cubicBezTo>
                    <a:cubicBezTo>
                      <a:pt x="26" y="509"/>
                      <a:pt x="22" y="507"/>
                      <a:pt x="17" y="506"/>
                    </a:cubicBezTo>
                    <a:cubicBezTo>
                      <a:pt x="9" y="503"/>
                      <a:pt x="7" y="509"/>
                      <a:pt x="0" y="505"/>
                    </a:cubicBezTo>
                    <a:cubicBezTo>
                      <a:pt x="1" y="501"/>
                      <a:pt x="9" y="489"/>
                      <a:pt x="2" y="496"/>
                    </a:cubicBez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1100"/>
              </a:p>
            </p:txBody>
          </p:sp>
          <p:sp>
            <p:nvSpPr>
              <p:cNvPr id="21" name="Freeform 16"/>
              <p:cNvSpPr>
                <a:spLocks/>
              </p:cNvSpPr>
              <p:nvPr>
                <p:custDataLst>
                  <p:tags r:id="rId11"/>
                </p:custDataLst>
              </p:nvPr>
            </p:nvSpPr>
            <p:spPr bwMode="gray">
              <a:xfrm>
                <a:off x="3264" y="1970"/>
                <a:ext cx="633" cy="648"/>
              </a:xfrm>
              <a:custGeom>
                <a:avLst/>
                <a:gdLst>
                  <a:gd name="T0" fmla="*/ 183 w 633"/>
                  <a:gd name="T1" fmla="*/ 613 h 648"/>
                  <a:gd name="T2" fmla="*/ 137 w 633"/>
                  <a:gd name="T3" fmla="*/ 585 h 648"/>
                  <a:gd name="T4" fmla="*/ 77 w 633"/>
                  <a:gd name="T5" fmla="*/ 584 h 648"/>
                  <a:gd name="T6" fmla="*/ 32 w 633"/>
                  <a:gd name="T7" fmla="*/ 567 h 648"/>
                  <a:gd name="T8" fmla="*/ 0 w 633"/>
                  <a:gd name="T9" fmla="*/ 536 h 648"/>
                  <a:gd name="T10" fmla="*/ 32 w 633"/>
                  <a:gd name="T11" fmla="*/ 516 h 648"/>
                  <a:gd name="T12" fmla="*/ 56 w 633"/>
                  <a:gd name="T13" fmla="*/ 495 h 648"/>
                  <a:gd name="T14" fmla="*/ 63 w 633"/>
                  <a:gd name="T15" fmla="*/ 471 h 648"/>
                  <a:gd name="T16" fmla="*/ 65 w 633"/>
                  <a:gd name="T17" fmla="*/ 437 h 648"/>
                  <a:gd name="T18" fmla="*/ 89 w 633"/>
                  <a:gd name="T19" fmla="*/ 405 h 648"/>
                  <a:gd name="T20" fmla="*/ 111 w 633"/>
                  <a:gd name="T21" fmla="*/ 386 h 648"/>
                  <a:gd name="T22" fmla="*/ 81 w 633"/>
                  <a:gd name="T23" fmla="*/ 344 h 648"/>
                  <a:gd name="T24" fmla="*/ 53 w 633"/>
                  <a:gd name="T25" fmla="*/ 326 h 648"/>
                  <a:gd name="T26" fmla="*/ 35 w 633"/>
                  <a:gd name="T27" fmla="*/ 287 h 648"/>
                  <a:gd name="T28" fmla="*/ 68 w 633"/>
                  <a:gd name="T29" fmla="*/ 261 h 648"/>
                  <a:gd name="T30" fmla="*/ 105 w 633"/>
                  <a:gd name="T31" fmla="*/ 239 h 648"/>
                  <a:gd name="T32" fmla="*/ 147 w 633"/>
                  <a:gd name="T33" fmla="*/ 213 h 648"/>
                  <a:gd name="T34" fmla="*/ 150 w 633"/>
                  <a:gd name="T35" fmla="*/ 180 h 648"/>
                  <a:gd name="T36" fmla="*/ 159 w 633"/>
                  <a:gd name="T37" fmla="*/ 143 h 648"/>
                  <a:gd name="T38" fmla="*/ 159 w 633"/>
                  <a:gd name="T39" fmla="*/ 113 h 648"/>
                  <a:gd name="T40" fmla="*/ 212 w 633"/>
                  <a:gd name="T41" fmla="*/ 92 h 648"/>
                  <a:gd name="T42" fmla="*/ 263 w 633"/>
                  <a:gd name="T43" fmla="*/ 74 h 648"/>
                  <a:gd name="T44" fmla="*/ 290 w 633"/>
                  <a:gd name="T45" fmla="*/ 74 h 648"/>
                  <a:gd name="T46" fmla="*/ 333 w 633"/>
                  <a:gd name="T47" fmla="*/ 75 h 648"/>
                  <a:gd name="T48" fmla="*/ 374 w 633"/>
                  <a:gd name="T49" fmla="*/ 62 h 648"/>
                  <a:gd name="T50" fmla="*/ 485 w 633"/>
                  <a:gd name="T51" fmla="*/ 83 h 648"/>
                  <a:gd name="T52" fmla="*/ 497 w 633"/>
                  <a:gd name="T53" fmla="*/ 6 h 648"/>
                  <a:gd name="T54" fmla="*/ 531 w 633"/>
                  <a:gd name="T55" fmla="*/ 11 h 648"/>
                  <a:gd name="T56" fmla="*/ 629 w 633"/>
                  <a:gd name="T57" fmla="*/ 12 h 648"/>
                  <a:gd name="T58" fmla="*/ 602 w 633"/>
                  <a:gd name="T59" fmla="*/ 92 h 648"/>
                  <a:gd name="T60" fmla="*/ 576 w 633"/>
                  <a:gd name="T61" fmla="*/ 164 h 648"/>
                  <a:gd name="T62" fmla="*/ 570 w 633"/>
                  <a:gd name="T63" fmla="*/ 207 h 648"/>
                  <a:gd name="T64" fmla="*/ 549 w 633"/>
                  <a:gd name="T65" fmla="*/ 245 h 648"/>
                  <a:gd name="T66" fmla="*/ 524 w 633"/>
                  <a:gd name="T67" fmla="*/ 285 h 648"/>
                  <a:gd name="T68" fmla="*/ 473 w 633"/>
                  <a:gd name="T69" fmla="*/ 318 h 648"/>
                  <a:gd name="T70" fmla="*/ 447 w 633"/>
                  <a:gd name="T71" fmla="*/ 329 h 648"/>
                  <a:gd name="T72" fmla="*/ 413 w 633"/>
                  <a:gd name="T73" fmla="*/ 362 h 648"/>
                  <a:gd name="T74" fmla="*/ 381 w 633"/>
                  <a:gd name="T75" fmla="*/ 389 h 648"/>
                  <a:gd name="T76" fmla="*/ 348 w 633"/>
                  <a:gd name="T77" fmla="*/ 434 h 648"/>
                  <a:gd name="T78" fmla="*/ 336 w 633"/>
                  <a:gd name="T79" fmla="*/ 455 h 648"/>
                  <a:gd name="T80" fmla="*/ 330 w 633"/>
                  <a:gd name="T81" fmla="*/ 474 h 648"/>
                  <a:gd name="T82" fmla="*/ 293 w 633"/>
                  <a:gd name="T83" fmla="*/ 527 h 648"/>
                  <a:gd name="T84" fmla="*/ 258 w 633"/>
                  <a:gd name="T85" fmla="*/ 578 h 648"/>
                  <a:gd name="T86" fmla="*/ 207 w 633"/>
                  <a:gd name="T87" fmla="*/ 641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3" h="648">
                    <a:moveTo>
                      <a:pt x="204" y="647"/>
                    </a:moveTo>
                    <a:cubicBezTo>
                      <a:pt x="203" y="639"/>
                      <a:pt x="200" y="641"/>
                      <a:pt x="195" y="635"/>
                    </a:cubicBezTo>
                    <a:cubicBezTo>
                      <a:pt x="200" y="622"/>
                      <a:pt x="197" y="615"/>
                      <a:pt x="183" y="613"/>
                    </a:cubicBezTo>
                    <a:cubicBezTo>
                      <a:pt x="174" y="610"/>
                      <a:pt x="177" y="597"/>
                      <a:pt x="167" y="594"/>
                    </a:cubicBezTo>
                    <a:cubicBezTo>
                      <a:pt x="163" y="593"/>
                      <a:pt x="160" y="593"/>
                      <a:pt x="156" y="593"/>
                    </a:cubicBezTo>
                    <a:cubicBezTo>
                      <a:pt x="150" y="592"/>
                      <a:pt x="144" y="586"/>
                      <a:pt x="137" y="585"/>
                    </a:cubicBezTo>
                    <a:cubicBezTo>
                      <a:pt x="130" y="584"/>
                      <a:pt x="122" y="586"/>
                      <a:pt x="116" y="585"/>
                    </a:cubicBezTo>
                    <a:cubicBezTo>
                      <a:pt x="109" y="584"/>
                      <a:pt x="107" y="581"/>
                      <a:pt x="101" y="578"/>
                    </a:cubicBezTo>
                    <a:cubicBezTo>
                      <a:pt x="78" y="581"/>
                      <a:pt x="89" y="578"/>
                      <a:pt x="77" y="584"/>
                    </a:cubicBezTo>
                    <a:cubicBezTo>
                      <a:pt x="66" y="577"/>
                      <a:pt x="68" y="575"/>
                      <a:pt x="51" y="573"/>
                    </a:cubicBezTo>
                    <a:cubicBezTo>
                      <a:pt x="43" y="567"/>
                      <a:pt x="48" y="562"/>
                      <a:pt x="36" y="560"/>
                    </a:cubicBezTo>
                    <a:cubicBezTo>
                      <a:pt x="32" y="558"/>
                      <a:pt x="36" y="566"/>
                      <a:pt x="32" y="567"/>
                    </a:cubicBezTo>
                    <a:cubicBezTo>
                      <a:pt x="28" y="568"/>
                      <a:pt x="18" y="570"/>
                      <a:pt x="14" y="569"/>
                    </a:cubicBezTo>
                    <a:cubicBezTo>
                      <a:pt x="12" y="563"/>
                      <a:pt x="10" y="561"/>
                      <a:pt x="5" y="558"/>
                    </a:cubicBezTo>
                    <a:cubicBezTo>
                      <a:pt x="7" y="532"/>
                      <a:pt x="7" y="549"/>
                      <a:pt x="0" y="536"/>
                    </a:cubicBezTo>
                    <a:cubicBezTo>
                      <a:pt x="3" y="526"/>
                      <a:pt x="4" y="526"/>
                      <a:pt x="14" y="528"/>
                    </a:cubicBezTo>
                    <a:cubicBezTo>
                      <a:pt x="24" y="533"/>
                      <a:pt x="21" y="523"/>
                      <a:pt x="29" y="521"/>
                    </a:cubicBezTo>
                    <a:cubicBezTo>
                      <a:pt x="30" y="519"/>
                      <a:pt x="30" y="517"/>
                      <a:pt x="32" y="516"/>
                    </a:cubicBezTo>
                    <a:cubicBezTo>
                      <a:pt x="34" y="515"/>
                      <a:pt x="36" y="516"/>
                      <a:pt x="38" y="515"/>
                    </a:cubicBezTo>
                    <a:cubicBezTo>
                      <a:pt x="40" y="513"/>
                      <a:pt x="48" y="510"/>
                      <a:pt x="51" y="507"/>
                    </a:cubicBezTo>
                    <a:cubicBezTo>
                      <a:pt x="54" y="504"/>
                      <a:pt x="57" y="499"/>
                      <a:pt x="56" y="495"/>
                    </a:cubicBezTo>
                    <a:cubicBezTo>
                      <a:pt x="57" y="488"/>
                      <a:pt x="52" y="489"/>
                      <a:pt x="45" y="485"/>
                    </a:cubicBezTo>
                    <a:cubicBezTo>
                      <a:pt x="40" y="478"/>
                      <a:pt x="49" y="483"/>
                      <a:pt x="56" y="482"/>
                    </a:cubicBezTo>
                    <a:cubicBezTo>
                      <a:pt x="58" y="473"/>
                      <a:pt x="61" y="480"/>
                      <a:pt x="63" y="471"/>
                    </a:cubicBezTo>
                    <a:cubicBezTo>
                      <a:pt x="64" y="467"/>
                      <a:pt x="59" y="463"/>
                      <a:pt x="59" y="459"/>
                    </a:cubicBezTo>
                    <a:cubicBezTo>
                      <a:pt x="59" y="455"/>
                      <a:pt x="61" y="453"/>
                      <a:pt x="62" y="449"/>
                    </a:cubicBezTo>
                    <a:cubicBezTo>
                      <a:pt x="63" y="445"/>
                      <a:pt x="62" y="440"/>
                      <a:pt x="65" y="437"/>
                    </a:cubicBezTo>
                    <a:cubicBezTo>
                      <a:pt x="76" y="432"/>
                      <a:pt x="62" y="432"/>
                      <a:pt x="78" y="428"/>
                    </a:cubicBezTo>
                    <a:cubicBezTo>
                      <a:pt x="81" y="424"/>
                      <a:pt x="87" y="424"/>
                      <a:pt x="89" y="420"/>
                    </a:cubicBezTo>
                    <a:cubicBezTo>
                      <a:pt x="91" y="416"/>
                      <a:pt x="87" y="407"/>
                      <a:pt x="89" y="405"/>
                    </a:cubicBezTo>
                    <a:cubicBezTo>
                      <a:pt x="91" y="403"/>
                      <a:pt x="96" y="407"/>
                      <a:pt x="99" y="405"/>
                    </a:cubicBezTo>
                    <a:cubicBezTo>
                      <a:pt x="102" y="399"/>
                      <a:pt x="101" y="397"/>
                      <a:pt x="107" y="393"/>
                    </a:cubicBezTo>
                    <a:cubicBezTo>
                      <a:pt x="108" y="389"/>
                      <a:pt x="111" y="389"/>
                      <a:pt x="111" y="386"/>
                    </a:cubicBezTo>
                    <a:cubicBezTo>
                      <a:pt x="111" y="383"/>
                      <a:pt x="111" y="380"/>
                      <a:pt x="108" y="375"/>
                    </a:cubicBezTo>
                    <a:cubicBezTo>
                      <a:pt x="105" y="370"/>
                      <a:pt x="99" y="361"/>
                      <a:pt x="95" y="356"/>
                    </a:cubicBezTo>
                    <a:cubicBezTo>
                      <a:pt x="91" y="335"/>
                      <a:pt x="98" y="352"/>
                      <a:pt x="81" y="344"/>
                    </a:cubicBezTo>
                    <a:cubicBezTo>
                      <a:pt x="79" y="343"/>
                      <a:pt x="81" y="340"/>
                      <a:pt x="80" y="339"/>
                    </a:cubicBezTo>
                    <a:cubicBezTo>
                      <a:pt x="79" y="338"/>
                      <a:pt x="77" y="338"/>
                      <a:pt x="75" y="338"/>
                    </a:cubicBezTo>
                    <a:cubicBezTo>
                      <a:pt x="67" y="334"/>
                      <a:pt x="60" y="331"/>
                      <a:pt x="53" y="326"/>
                    </a:cubicBezTo>
                    <a:cubicBezTo>
                      <a:pt x="49" y="320"/>
                      <a:pt x="46" y="318"/>
                      <a:pt x="39" y="315"/>
                    </a:cubicBezTo>
                    <a:cubicBezTo>
                      <a:pt x="38" y="307"/>
                      <a:pt x="36" y="301"/>
                      <a:pt x="27" y="299"/>
                    </a:cubicBezTo>
                    <a:cubicBezTo>
                      <a:pt x="29" y="294"/>
                      <a:pt x="32" y="292"/>
                      <a:pt x="35" y="287"/>
                    </a:cubicBezTo>
                    <a:cubicBezTo>
                      <a:pt x="38" y="283"/>
                      <a:pt x="38" y="272"/>
                      <a:pt x="42" y="269"/>
                    </a:cubicBezTo>
                    <a:cubicBezTo>
                      <a:pt x="45" y="265"/>
                      <a:pt x="52" y="265"/>
                      <a:pt x="56" y="264"/>
                    </a:cubicBezTo>
                    <a:cubicBezTo>
                      <a:pt x="61" y="263"/>
                      <a:pt x="64" y="261"/>
                      <a:pt x="68" y="261"/>
                    </a:cubicBezTo>
                    <a:cubicBezTo>
                      <a:pt x="72" y="260"/>
                      <a:pt x="74" y="263"/>
                      <a:pt x="78" y="260"/>
                    </a:cubicBezTo>
                    <a:cubicBezTo>
                      <a:pt x="80" y="249"/>
                      <a:pt x="83" y="248"/>
                      <a:pt x="93" y="246"/>
                    </a:cubicBezTo>
                    <a:cubicBezTo>
                      <a:pt x="98" y="244"/>
                      <a:pt x="100" y="242"/>
                      <a:pt x="105" y="239"/>
                    </a:cubicBezTo>
                    <a:cubicBezTo>
                      <a:pt x="110" y="236"/>
                      <a:pt x="120" y="224"/>
                      <a:pt x="125" y="222"/>
                    </a:cubicBezTo>
                    <a:cubicBezTo>
                      <a:pt x="130" y="220"/>
                      <a:pt x="133" y="226"/>
                      <a:pt x="137" y="224"/>
                    </a:cubicBezTo>
                    <a:cubicBezTo>
                      <a:pt x="138" y="213"/>
                      <a:pt x="139" y="217"/>
                      <a:pt x="147" y="213"/>
                    </a:cubicBezTo>
                    <a:cubicBezTo>
                      <a:pt x="151" y="208"/>
                      <a:pt x="150" y="206"/>
                      <a:pt x="147" y="200"/>
                    </a:cubicBezTo>
                    <a:cubicBezTo>
                      <a:pt x="146" y="195"/>
                      <a:pt x="142" y="193"/>
                      <a:pt x="141" y="188"/>
                    </a:cubicBezTo>
                    <a:cubicBezTo>
                      <a:pt x="141" y="184"/>
                      <a:pt x="149" y="183"/>
                      <a:pt x="150" y="180"/>
                    </a:cubicBezTo>
                    <a:cubicBezTo>
                      <a:pt x="151" y="177"/>
                      <a:pt x="149" y="174"/>
                      <a:pt x="150" y="171"/>
                    </a:cubicBezTo>
                    <a:cubicBezTo>
                      <a:pt x="151" y="168"/>
                      <a:pt x="155" y="164"/>
                      <a:pt x="156" y="159"/>
                    </a:cubicBezTo>
                    <a:cubicBezTo>
                      <a:pt x="158" y="152"/>
                      <a:pt x="159" y="148"/>
                      <a:pt x="159" y="143"/>
                    </a:cubicBezTo>
                    <a:cubicBezTo>
                      <a:pt x="159" y="138"/>
                      <a:pt x="153" y="134"/>
                      <a:pt x="155" y="131"/>
                    </a:cubicBezTo>
                    <a:cubicBezTo>
                      <a:pt x="157" y="128"/>
                      <a:pt x="169" y="126"/>
                      <a:pt x="170" y="123"/>
                    </a:cubicBezTo>
                    <a:cubicBezTo>
                      <a:pt x="166" y="118"/>
                      <a:pt x="166" y="114"/>
                      <a:pt x="159" y="113"/>
                    </a:cubicBezTo>
                    <a:cubicBezTo>
                      <a:pt x="162" y="103"/>
                      <a:pt x="165" y="100"/>
                      <a:pt x="176" y="99"/>
                    </a:cubicBezTo>
                    <a:cubicBezTo>
                      <a:pt x="182" y="96"/>
                      <a:pt x="182" y="90"/>
                      <a:pt x="189" y="89"/>
                    </a:cubicBezTo>
                    <a:cubicBezTo>
                      <a:pt x="197" y="87"/>
                      <a:pt x="212" y="92"/>
                      <a:pt x="212" y="92"/>
                    </a:cubicBezTo>
                    <a:cubicBezTo>
                      <a:pt x="219" y="88"/>
                      <a:pt x="219" y="94"/>
                      <a:pt x="227" y="90"/>
                    </a:cubicBezTo>
                    <a:cubicBezTo>
                      <a:pt x="233" y="82"/>
                      <a:pt x="236" y="79"/>
                      <a:pt x="246" y="77"/>
                    </a:cubicBezTo>
                    <a:cubicBezTo>
                      <a:pt x="251" y="75"/>
                      <a:pt x="257" y="73"/>
                      <a:pt x="263" y="74"/>
                    </a:cubicBezTo>
                    <a:cubicBezTo>
                      <a:pt x="267" y="74"/>
                      <a:pt x="266" y="79"/>
                      <a:pt x="269" y="80"/>
                    </a:cubicBezTo>
                    <a:cubicBezTo>
                      <a:pt x="272" y="81"/>
                      <a:pt x="280" y="84"/>
                      <a:pt x="284" y="83"/>
                    </a:cubicBezTo>
                    <a:cubicBezTo>
                      <a:pt x="290" y="84"/>
                      <a:pt x="285" y="75"/>
                      <a:pt x="290" y="74"/>
                    </a:cubicBezTo>
                    <a:cubicBezTo>
                      <a:pt x="295" y="73"/>
                      <a:pt x="309" y="76"/>
                      <a:pt x="315" y="78"/>
                    </a:cubicBezTo>
                    <a:cubicBezTo>
                      <a:pt x="318" y="86"/>
                      <a:pt x="319" y="80"/>
                      <a:pt x="326" y="84"/>
                    </a:cubicBezTo>
                    <a:cubicBezTo>
                      <a:pt x="329" y="85"/>
                      <a:pt x="331" y="75"/>
                      <a:pt x="333" y="75"/>
                    </a:cubicBezTo>
                    <a:cubicBezTo>
                      <a:pt x="336" y="75"/>
                      <a:pt x="339" y="86"/>
                      <a:pt x="344" y="86"/>
                    </a:cubicBezTo>
                    <a:cubicBezTo>
                      <a:pt x="355" y="84"/>
                      <a:pt x="355" y="79"/>
                      <a:pt x="365" y="77"/>
                    </a:cubicBezTo>
                    <a:cubicBezTo>
                      <a:pt x="367" y="69"/>
                      <a:pt x="366" y="64"/>
                      <a:pt x="374" y="62"/>
                    </a:cubicBezTo>
                    <a:cubicBezTo>
                      <a:pt x="387" y="63"/>
                      <a:pt x="388" y="67"/>
                      <a:pt x="398" y="69"/>
                    </a:cubicBezTo>
                    <a:cubicBezTo>
                      <a:pt x="404" y="72"/>
                      <a:pt x="412" y="76"/>
                      <a:pt x="419" y="77"/>
                    </a:cubicBezTo>
                    <a:cubicBezTo>
                      <a:pt x="440" y="88"/>
                      <a:pt x="463" y="74"/>
                      <a:pt x="485" y="83"/>
                    </a:cubicBezTo>
                    <a:cubicBezTo>
                      <a:pt x="498" y="81"/>
                      <a:pt x="489" y="68"/>
                      <a:pt x="491" y="62"/>
                    </a:cubicBezTo>
                    <a:cubicBezTo>
                      <a:pt x="493" y="56"/>
                      <a:pt x="494" y="54"/>
                      <a:pt x="495" y="45"/>
                    </a:cubicBezTo>
                    <a:cubicBezTo>
                      <a:pt x="497" y="37"/>
                      <a:pt x="494" y="12"/>
                      <a:pt x="497" y="6"/>
                    </a:cubicBezTo>
                    <a:cubicBezTo>
                      <a:pt x="499" y="0"/>
                      <a:pt x="504" y="8"/>
                      <a:pt x="507" y="8"/>
                    </a:cubicBezTo>
                    <a:cubicBezTo>
                      <a:pt x="510" y="8"/>
                      <a:pt x="512" y="4"/>
                      <a:pt x="516" y="5"/>
                    </a:cubicBezTo>
                    <a:cubicBezTo>
                      <a:pt x="522" y="11"/>
                      <a:pt x="524" y="10"/>
                      <a:pt x="531" y="11"/>
                    </a:cubicBezTo>
                    <a:cubicBezTo>
                      <a:pt x="538" y="12"/>
                      <a:pt x="550" y="12"/>
                      <a:pt x="561" y="12"/>
                    </a:cubicBezTo>
                    <a:cubicBezTo>
                      <a:pt x="572" y="12"/>
                      <a:pt x="588" y="9"/>
                      <a:pt x="599" y="9"/>
                    </a:cubicBezTo>
                    <a:cubicBezTo>
                      <a:pt x="609" y="10"/>
                      <a:pt x="625" y="7"/>
                      <a:pt x="629" y="12"/>
                    </a:cubicBezTo>
                    <a:cubicBezTo>
                      <a:pt x="633" y="17"/>
                      <a:pt x="624" y="31"/>
                      <a:pt x="621" y="39"/>
                    </a:cubicBezTo>
                    <a:cubicBezTo>
                      <a:pt x="620" y="56"/>
                      <a:pt x="624" y="54"/>
                      <a:pt x="612" y="63"/>
                    </a:cubicBezTo>
                    <a:cubicBezTo>
                      <a:pt x="609" y="72"/>
                      <a:pt x="607" y="84"/>
                      <a:pt x="602" y="92"/>
                    </a:cubicBezTo>
                    <a:cubicBezTo>
                      <a:pt x="599" y="101"/>
                      <a:pt x="599" y="106"/>
                      <a:pt x="591" y="111"/>
                    </a:cubicBezTo>
                    <a:cubicBezTo>
                      <a:pt x="588" y="125"/>
                      <a:pt x="595" y="112"/>
                      <a:pt x="587" y="125"/>
                    </a:cubicBezTo>
                    <a:cubicBezTo>
                      <a:pt x="582" y="134"/>
                      <a:pt x="581" y="150"/>
                      <a:pt x="576" y="164"/>
                    </a:cubicBezTo>
                    <a:cubicBezTo>
                      <a:pt x="574" y="173"/>
                      <a:pt x="576" y="166"/>
                      <a:pt x="575" y="173"/>
                    </a:cubicBezTo>
                    <a:cubicBezTo>
                      <a:pt x="575" y="178"/>
                      <a:pt x="576" y="186"/>
                      <a:pt x="575" y="192"/>
                    </a:cubicBezTo>
                    <a:cubicBezTo>
                      <a:pt x="574" y="198"/>
                      <a:pt x="572" y="203"/>
                      <a:pt x="570" y="207"/>
                    </a:cubicBezTo>
                    <a:cubicBezTo>
                      <a:pt x="569" y="210"/>
                      <a:pt x="566" y="213"/>
                      <a:pt x="563" y="215"/>
                    </a:cubicBezTo>
                    <a:cubicBezTo>
                      <a:pt x="561" y="219"/>
                      <a:pt x="557" y="228"/>
                      <a:pt x="555" y="233"/>
                    </a:cubicBezTo>
                    <a:cubicBezTo>
                      <a:pt x="553" y="238"/>
                      <a:pt x="551" y="239"/>
                      <a:pt x="549" y="245"/>
                    </a:cubicBezTo>
                    <a:cubicBezTo>
                      <a:pt x="548" y="254"/>
                      <a:pt x="544" y="259"/>
                      <a:pt x="540" y="267"/>
                    </a:cubicBezTo>
                    <a:cubicBezTo>
                      <a:pt x="538" y="275"/>
                      <a:pt x="534" y="272"/>
                      <a:pt x="528" y="276"/>
                    </a:cubicBezTo>
                    <a:cubicBezTo>
                      <a:pt x="527" y="279"/>
                      <a:pt x="527" y="284"/>
                      <a:pt x="524" y="285"/>
                    </a:cubicBezTo>
                    <a:cubicBezTo>
                      <a:pt x="520" y="287"/>
                      <a:pt x="510" y="288"/>
                      <a:pt x="510" y="288"/>
                    </a:cubicBezTo>
                    <a:cubicBezTo>
                      <a:pt x="508" y="300"/>
                      <a:pt x="502" y="303"/>
                      <a:pt x="492" y="309"/>
                    </a:cubicBezTo>
                    <a:cubicBezTo>
                      <a:pt x="490" y="317"/>
                      <a:pt x="481" y="317"/>
                      <a:pt x="473" y="318"/>
                    </a:cubicBezTo>
                    <a:cubicBezTo>
                      <a:pt x="467" y="320"/>
                      <a:pt x="463" y="324"/>
                      <a:pt x="459" y="324"/>
                    </a:cubicBezTo>
                    <a:cubicBezTo>
                      <a:pt x="455" y="324"/>
                      <a:pt x="449" y="320"/>
                      <a:pt x="447" y="321"/>
                    </a:cubicBezTo>
                    <a:cubicBezTo>
                      <a:pt x="443" y="323"/>
                      <a:pt x="448" y="326"/>
                      <a:pt x="447" y="329"/>
                    </a:cubicBezTo>
                    <a:cubicBezTo>
                      <a:pt x="446" y="332"/>
                      <a:pt x="442" y="335"/>
                      <a:pt x="438" y="339"/>
                    </a:cubicBezTo>
                    <a:cubicBezTo>
                      <a:pt x="433" y="347"/>
                      <a:pt x="432" y="350"/>
                      <a:pt x="423" y="351"/>
                    </a:cubicBezTo>
                    <a:cubicBezTo>
                      <a:pt x="420" y="358"/>
                      <a:pt x="421" y="360"/>
                      <a:pt x="413" y="362"/>
                    </a:cubicBezTo>
                    <a:cubicBezTo>
                      <a:pt x="405" y="366"/>
                      <a:pt x="406" y="354"/>
                      <a:pt x="398" y="362"/>
                    </a:cubicBezTo>
                    <a:cubicBezTo>
                      <a:pt x="395" y="364"/>
                      <a:pt x="404" y="370"/>
                      <a:pt x="401" y="374"/>
                    </a:cubicBezTo>
                    <a:cubicBezTo>
                      <a:pt x="398" y="378"/>
                      <a:pt x="386" y="384"/>
                      <a:pt x="381" y="389"/>
                    </a:cubicBezTo>
                    <a:cubicBezTo>
                      <a:pt x="379" y="398"/>
                      <a:pt x="377" y="404"/>
                      <a:pt x="369" y="407"/>
                    </a:cubicBezTo>
                    <a:cubicBezTo>
                      <a:pt x="368" y="414"/>
                      <a:pt x="367" y="422"/>
                      <a:pt x="360" y="423"/>
                    </a:cubicBezTo>
                    <a:cubicBezTo>
                      <a:pt x="355" y="427"/>
                      <a:pt x="353" y="431"/>
                      <a:pt x="348" y="434"/>
                    </a:cubicBezTo>
                    <a:cubicBezTo>
                      <a:pt x="345" y="441"/>
                      <a:pt x="343" y="439"/>
                      <a:pt x="341" y="447"/>
                    </a:cubicBezTo>
                    <a:cubicBezTo>
                      <a:pt x="338" y="450"/>
                      <a:pt x="327" y="449"/>
                      <a:pt x="327" y="452"/>
                    </a:cubicBezTo>
                    <a:cubicBezTo>
                      <a:pt x="326" y="453"/>
                      <a:pt x="334" y="453"/>
                      <a:pt x="336" y="455"/>
                    </a:cubicBezTo>
                    <a:cubicBezTo>
                      <a:pt x="338" y="457"/>
                      <a:pt x="340" y="460"/>
                      <a:pt x="339" y="462"/>
                    </a:cubicBezTo>
                    <a:cubicBezTo>
                      <a:pt x="335" y="468"/>
                      <a:pt x="335" y="468"/>
                      <a:pt x="329" y="465"/>
                    </a:cubicBezTo>
                    <a:cubicBezTo>
                      <a:pt x="327" y="467"/>
                      <a:pt x="332" y="471"/>
                      <a:pt x="330" y="474"/>
                    </a:cubicBezTo>
                    <a:cubicBezTo>
                      <a:pt x="328" y="477"/>
                      <a:pt x="321" y="480"/>
                      <a:pt x="317" y="485"/>
                    </a:cubicBezTo>
                    <a:cubicBezTo>
                      <a:pt x="314" y="493"/>
                      <a:pt x="312" y="499"/>
                      <a:pt x="305" y="504"/>
                    </a:cubicBezTo>
                    <a:cubicBezTo>
                      <a:pt x="300" y="512"/>
                      <a:pt x="302" y="522"/>
                      <a:pt x="293" y="527"/>
                    </a:cubicBezTo>
                    <a:cubicBezTo>
                      <a:pt x="289" y="534"/>
                      <a:pt x="283" y="538"/>
                      <a:pt x="279" y="543"/>
                    </a:cubicBezTo>
                    <a:cubicBezTo>
                      <a:pt x="275" y="548"/>
                      <a:pt x="273" y="554"/>
                      <a:pt x="270" y="560"/>
                    </a:cubicBezTo>
                    <a:cubicBezTo>
                      <a:pt x="268" y="571"/>
                      <a:pt x="270" y="576"/>
                      <a:pt x="258" y="578"/>
                    </a:cubicBezTo>
                    <a:cubicBezTo>
                      <a:pt x="251" y="582"/>
                      <a:pt x="249" y="589"/>
                      <a:pt x="246" y="596"/>
                    </a:cubicBezTo>
                    <a:cubicBezTo>
                      <a:pt x="244" y="605"/>
                      <a:pt x="236" y="612"/>
                      <a:pt x="228" y="617"/>
                    </a:cubicBezTo>
                    <a:cubicBezTo>
                      <a:pt x="226" y="629"/>
                      <a:pt x="217" y="635"/>
                      <a:pt x="207" y="641"/>
                    </a:cubicBezTo>
                    <a:cubicBezTo>
                      <a:pt x="206" y="648"/>
                      <a:pt x="208" y="647"/>
                      <a:pt x="204" y="647"/>
                    </a:cubicBezTo>
                    <a:close/>
                  </a:path>
                </a:pathLst>
              </a:custGeom>
              <a:grp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p>
                <a:endParaRPr lang="en-CA" sz="1100"/>
              </a:p>
            </p:txBody>
          </p:sp>
        </p:grpSp>
        <p:sp>
          <p:nvSpPr>
            <p:cNvPr id="3" name="TextBox 2"/>
            <p:cNvSpPr txBox="1"/>
            <p:nvPr/>
          </p:nvSpPr>
          <p:spPr>
            <a:xfrm>
              <a:off x="1140061" y="3693268"/>
              <a:ext cx="756617"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900" dirty="0" smtClean="0">
                  <a:solidFill>
                    <a:schemeClr val="bg1"/>
                  </a:solidFill>
                </a:rPr>
                <a:t>Northern Cape</a:t>
              </a:r>
              <a:endParaRPr lang="en-US" sz="900" dirty="0">
                <a:solidFill>
                  <a:schemeClr val="bg1"/>
                </a:solidFill>
              </a:endParaRPr>
            </a:p>
          </p:txBody>
        </p:sp>
        <p:sp>
          <p:nvSpPr>
            <p:cNvPr id="22" name="TextBox 21"/>
            <p:cNvSpPr txBox="1"/>
            <p:nvPr/>
          </p:nvSpPr>
          <p:spPr>
            <a:xfrm>
              <a:off x="934073" y="4413538"/>
              <a:ext cx="737381"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900" dirty="0" smtClean="0">
                  <a:solidFill>
                    <a:schemeClr val="bg1"/>
                  </a:solidFill>
                </a:rPr>
                <a:t>Western Cape</a:t>
              </a:r>
              <a:endParaRPr lang="en-US" sz="900" dirty="0">
                <a:solidFill>
                  <a:schemeClr val="bg1"/>
                </a:solidFill>
              </a:endParaRPr>
            </a:p>
          </p:txBody>
        </p:sp>
        <p:sp>
          <p:nvSpPr>
            <p:cNvPr id="23" name="TextBox 22"/>
            <p:cNvSpPr txBox="1"/>
            <p:nvPr/>
          </p:nvSpPr>
          <p:spPr>
            <a:xfrm>
              <a:off x="2329472" y="4033043"/>
              <a:ext cx="705321"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900" dirty="0" smtClean="0">
                  <a:solidFill>
                    <a:schemeClr val="bg1"/>
                  </a:solidFill>
                </a:rPr>
                <a:t>Eastern Cape</a:t>
              </a:r>
              <a:endParaRPr lang="en-US" sz="900" dirty="0">
                <a:solidFill>
                  <a:schemeClr val="bg1"/>
                </a:solidFill>
              </a:endParaRPr>
            </a:p>
          </p:txBody>
        </p:sp>
        <p:sp>
          <p:nvSpPr>
            <p:cNvPr id="5" name="Freeform 4"/>
            <p:cNvSpPr/>
            <p:nvPr/>
          </p:nvSpPr>
          <p:spPr>
            <a:xfrm>
              <a:off x="376239" y="2914649"/>
              <a:ext cx="3762723" cy="1871663"/>
            </a:xfrm>
            <a:custGeom>
              <a:avLst/>
              <a:gdLst>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33650 w 3762723"/>
                <a:gd name="connsiteY108" fmla="*/ 1457325 h 1871663"/>
                <a:gd name="connsiteX109" fmla="*/ 2633662 w 3762723"/>
                <a:gd name="connsiteY109" fmla="*/ 1419225 h 1871663"/>
                <a:gd name="connsiteX110" fmla="*/ 2647950 w 3762723"/>
                <a:gd name="connsiteY110" fmla="*/ 1409700 h 1871663"/>
                <a:gd name="connsiteX111" fmla="*/ 2728912 w 3762723"/>
                <a:gd name="connsiteY111" fmla="*/ 1385888 h 1871663"/>
                <a:gd name="connsiteX112" fmla="*/ 2762250 w 3762723"/>
                <a:gd name="connsiteY112" fmla="*/ 1362075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47950 w 3762723"/>
                <a:gd name="connsiteY110" fmla="*/ 1409700 h 1871663"/>
                <a:gd name="connsiteX111" fmla="*/ 2728912 w 3762723"/>
                <a:gd name="connsiteY111" fmla="*/ 1385888 h 1871663"/>
                <a:gd name="connsiteX112" fmla="*/ 2762250 w 3762723"/>
                <a:gd name="connsiteY112" fmla="*/ 1362075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47950 w 3762723"/>
                <a:gd name="connsiteY110" fmla="*/ 1409700 h 1871663"/>
                <a:gd name="connsiteX111" fmla="*/ 2700337 w 3762723"/>
                <a:gd name="connsiteY111" fmla="*/ 1338263 h 1871663"/>
                <a:gd name="connsiteX112" fmla="*/ 2762250 w 3762723"/>
                <a:gd name="connsiteY112" fmla="*/ 1362075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62250 w 3762723"/>
                <a:gd name="connsiteY112" fmla="*/ 1362075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00350 w 3762723"/>
                <a:gd name="connsiteY113" fmla="*/ 1328738 h 1871663"/>
                <a:gd name="connsiteX114" fmla="*/ 2857500 w 3762723"/>
                <a:gd name="connsiteY114" fmla="*/ 1281113 h 1871663"/>
                <a:gd name="connsiteX115" fmla="*/ 2881312 w 3762723"/>
                <a:gd name="connsiteY115" fmla="*/ 1257300 h 1871663"/>
                <a:gd name="connsiteX116" fmla="*/ 2895600 w 3762723"/>
                <a:gd name="connsiteY116" fmla="*/ 1247775 h 1871663"/>
                <a:gd name="connsiteX117" fmla="*/ 2928937 w 3762723"/>
                <a:gd name="connsiteY117" fmla="*/ 1214438 h 1871663"/>
                <a:gd name="connsiteX118" fmla="*/ 2952750 w 3762723"/>
                <a:gd name="connsiteY118" fmla="*/ 1195388 h 1871663"/>
                <a:gd name="connsiteX119" fmla="*/ 3000375 w 3762723"/>
                <a:gd name="connsiteY119" fmla="*/ 1133475 h 1871663"/>
                <a:gd name="connsiteX120" fmla="*/ 3024187 w 3762723"/>
                <a:gd name="connsiteY120" fmla="*/ 1081088 h 1871663"/>
                <a:gd name="connsiteX121" fmla="*/ 3071812 w 3762723"/>
                <a:gd name="connsiteY121" fmla="*/ 1033463 h 1871663"/>
                <a:gd name="connsiteX122" fmla="*/ 3086100 w 3762723"/>
                <a:gd name="connsiteY122" fmla="*/ 1023938 h 1871663"/>
                <a:gd name="connsiteX123" fmla="*/ 3105150 w 3762723"/>
                <a:gd name="connsiteY123" fmla="*/ 1019175 h 1871663"/>
                <a:gd name="connsiteX124" fmla="*/ 3119437 w 3762723"/>
                <a:gd name="connsiteY124" fmla="*/ 1000125 h 1871663"/>
                <a:gd name="connsiteX125" fmla="*/ 3133725 w 3762723"/>
                <a:gd name="connsiteY125" fmla="*/ 985838 h 1871663"/>
                <a:gd name="connsiteX126" fmla="*/ 3143250 w 3762723"/>
                <a:gd name="connsiteY126" fmla="*/ 966788 h 1871663"/>
                <a:gd name="connsiteX127" fmla="*/ 3148012 w 3762723"/>
                <a:gd name="connsiteY127" fmla="*/ 928688 h 1871663"/>
                <a:gd name="connsiteX128" fmla="*/ 3171825 w 3762723"/>
                <a:gd name="connsiteY128" fmla="*/ 904875 h 1871663"/>
                <a:gd name="connsiteX129" fmla="*/ 3195637 w 3762723"/>
                <a:gd name="connsiteY129" fmla="*/ 885825 h 1871663"/>
                <a:gd name="connsiteX130" fmla="*/ 3214687 w 3762723"/>
                <a:gd name="connsiteY130" fmla="*/ 866775 h 1871663"/>
                <a:gd name="connsiteX131" fmla="*/ 3243262 w 3762723"/>
                <a:gd name="connsiteY131" fmla="*/ 842963 h 1871663"/>
                <a:gd name="connsiteX132" fmla="*/ 3286125 w 3762723"/>
                <a:gd name="connsiteY132" fmla="*/ 785813 h 1871663"/>
                <a:gd name="connsiteX133" fmla="*/ 3309937 w 3762723"/>
                <a:gd name="connsiteY133" fmla="*/ 752475 h 1871663"/>
                <a:gd name="connsiteX134" fmla="*/ 3348037 w 3762723"/>
                <a:gd name="connsiteY134" fmla="*/ 681038 h 1871663"/>
                <a:gd name="connsiteX135" fmla="*/ 3352800 w 3762723"/>
                <a:gd name="connsiteY135" fmla="*/ 666750 h 1871663"/>
                <a:gd name="connsiteX136" fmla="*/ 3376612 w 3762723"/>
                <a:gd name="connsiteY136" fmla="*/ 652463 h 1871663"/>
                <a:gd name="connsiteX137" fmla="*/ 3424237 w 3762723"/>
                <a:gd name="connsiteY137" fmla="*/ 614363 h 1871663"/>
                <a:gd name="connsiteX138" fmla="*/ 3448050 w 3762723"/>
                <a:gd name="connsiteY138" fmla="*/ 581025 h 1871663"/>
                <a:gd name="connsiteX139" fmla="*/ 3457575 w 3762723"/>
                <a:gd name="connsiteY139" fmla="*/ 566738 h 1871663"/>
                <a:gd name="connsiteX140" fmla="*/ 3481387 w 3762723"/>
                <a:gd name="connsiteY140" fmla="*/ 528638 h 1871663"/>
                <a:gd name="connsiteX141" fmla="*/ 3519487 w 3762723"/>
                <a:gd name="connsiteY141" fmla="*/ 504825 h 1871663"/>
                <a:gd name="connsiteX142" fmla="*/ 3533775 w 3762723"/>
                <a:gd name="connsiteY142" fmla="*/ 495300 h 1871663"/>
                <a:gd name="connsiteX143" fmla="*/ 3548062 w 3762723"/>
                <a:gd name="connsiteY143" fmla="*/ 481013 h 1871663"/>
                <a:gd name="connsiteX144" fmla="*/ 3562350 w 3762723"/>
                <a:gd name="connsiteY144" fmla="*/ 476250 h 1871663"/>
                <a:gd name="connsiteX145" fmla="*/ 3600450 w 3762723"/>
                <a:gd name="connsiteY145" fmla="*/ 447675 h 1871663"/>
                <a:gd name="connsiteX146" fmla="*/ 3629025 w 3762723"/>
                <a:gd name="connsiteY146" fmla="*/ 400050 h 1871663"/>
                <a:gd name="connsiteX147" fmla="*/ 3638550 w 3762723"/>
                <a:gd name="connsiteY147" fmla="*/ 385763 h 1871663"/>
                <a:gd name="connsiteX148" fmla="*/ 3643312 w 3762723"/>
                <a:gd name="connsiteY148" fmla="*/ 366713 h 1871663"/>
                <a:gd name="connsiteX149" fmla="*/ 3648075 w 3762723"/>
                <a:gd name="connsiteY149" fmla="*/ 285750 h 1871663"/>
                <a:gd name="connsiteX150" fmla="*/ 3662362 w 3762723"/>
                <a:gd name="connsiteY150" fmla="*/ 257175 h 1871663"/>
                <a:gd name="connsiteX151" fmla="*/ 3671887 w 3762723"/>
                <a:gd name="connsiteY151" fmla="*/ 242888 h 1871663"/>
                <a:gd name="connsiteX152" fmla="*/ 3690937 w 3762723"/>
                <a:gd name="connsiteY152" fmla="*/ 209550 h 1871663"/>
                <a:gd name="connsiteX153" fmla="*/ 3700462 w 3762723"/>
                <a:gd name="connsiteY153" fmla="*/ 142875 h 1871663"/>
                <a:gd name="connsiteX154" fmla="*/ 3705225 w 3762723"/>
                <a:gd name="connsiteY154" fmla="*/ 100013 h 1871663"/>
                <a:gd name="connsiteX155" fmla="*/ 3719512 w 3762723"/>
                <a:gd name="connsiteY155" fmla="*/ 76200 h 1871663"/>
                <a:gd name="connsiteX156" fmla="*/ 3748087 w 3762723"/>
                <a:gd name="connsiteY156" fmla="*/ 42863 h 1871663"/>
                <a:gd name="connsiteX157" fmla="*/ 3762375 w 3762723"/>
                <a:gd name="connsiteY157" fmla="*/ 14288 h 1871663"/>
                <a:gd name="connsiteX158" fmla="*/ 3762375 w 3762723"/>
                <a:gd name="connsiteY158"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00350 w 3762723"/>
                <a:gd name="connsiteY113" fmla="*/ 1328738 h 1871663"/>
                <a:gd name="connsiteX114" fmla="*/ 2881312 w 3762723"/>
                <a:gd name="connsiteY114" fmla="*/ 1257300 h 1871663"/>
                <a:gd name="connsiteX115" fmla="*/ 2895600 w 3762723"/>
                <a:gd name="connsiteY115" fmla="*/ 1247775 h 1871663"/>
                <a:gd name="connsiteX116" fmla="*/ 2928937 w 3762723"/>
                <a:gd name="connsiteY116" fmla="*/ 1214438 h 1871663"/>
                <a:gd name="connsiteX117" fmla="*/ 2952750 w 3762723"/>
                <a:gd name="connsiteY117" fmla="*/ 1195388 h 1871663"/>
                <a:gd name="connsiteX118" fmla="*/ 3000375 w 3762723"/>
                <a:gd name="connsiteY118" fmla="*/ 1133475 h 1871663"/>
                <a:gd name="connsiteX119" fmla="*/ 3024187 w 3762723"/>
                <a:gd name="connsiteY119" fmla="*/ 1081088 h 1871663"/>
                <a:gd name="connsiteX120" fmla="*/ 3071812 w 3762723"/>
                <a:gd name="connsiteY120" fmla="*/ 1033463 h 1871663"/>
                <a:gd name="connsiteX121" fmla="*/ 3086100 w 3762723"/>
                <a:gd name="connsiteY121" fmla="*/ 1023938 h 1871663"/>
                <a:gd name="connsiteX122" fmla="*/ 3105150 w 3762723"/>
                <a:gd name="connsiteY122" fmla="*/ 1019175 h 1871663"/>
                <a:gd name="connsiteX123" fmla="*/ 3119437 w 3762723"/>
                <a:gd name="connsiteY123" fmla="*/ 1000125 h 1871663"/>
                <a:gd name="connsiteX124" fmla="*/ 3133725 w 3762723"/>
                <a:gd name="connsiteY124" fmla="*/ 985838 h 1871663"/>
                <a:gd name="connsiteX125" fmla="*/ 3143250 w 3762723"/>
                <a:gd name="connsiteY125" fmla="*/ 966788 h 1871663"/>
                <a:gd name="connsiteX126" fmla="*/ 3148012 w 3762723"/>
                <a:gd name="connsiteY126" fmla="*/ 928688 h 1871663"/>
                <a:gd name="connsiteX127" fmla="*/ 3171825 w 3762723"/>
                <a:gd name="connsiteY127" fmla="*/ 904875 h 1871663"/>
                <a:gd name="connsiteX128" fmla="*/ 3195637 w 3762723"/>
                <a:gd name="connsiteY128" fmla="*/ 885825 h 1871663"/>
                <a:gd name="connsiteX129" fmla="*/ 3214687 w 3762723"/>
                <a:gd name="connsiteY129" fmla="*/ 866775 h 1871663"/>
                <a:gd name="connsiteX130" fmla="*/ 3243262 w 3762723"/>
                <a:gd name="connsiteY130" fmla="*/ 842963 h 1871663"/>
                <a:gd name="connsiteX131" fmla="*/ 3286125 w 3762723"/>
                <a:gd name="connsiteY131" fmla="*/ 785813 h 1871663"/>
                <a:gd name="connsiteX132" fmla="*/ 3309937 w 3762723"/>
                <a:gd name="connsiteY132" fmla="*/ 752475 h 1871663"/>
                <a:gd name="connsiteX133" fmla="*/ 3348037 w 3762723"/>
                <a:gd name="connsiteY133" fmla="*/ 681038 h 1871663"/>
                <a:gd name="connsiteX134" fmla="*/ 3352800 w 3762723"/>
                <a:gd name="connsiteY134" fmla="*/ 666750 h 1871663"/>
                <a:gd name="connsiteX135" fmla="*/ 3376612 w 3762723"/>
                <a:gd name="connsiteY135" fmla="*/ 652463 h 1871663"/>
                <a:gd name="connsiteX136" fmla="*/ 3424237 w 3762723"/>
                <a:gd name="connsiteY136" fmla="*/ 614363 h 1871663"/>
                <a:gd name="connsiteX137" fmla="*/ 3448050 w 3762723"/>
                <a:gd name="connsiteY137" fmla="*/ 581025 h 1871663"/>
                <a:gd name="connsiteX138" fmla="*/ 3457575 w 3762723"/>
                <a:gd name="connsiteY138" fmla="*/ 566738 h 1871663"/>
                <a:gd name="connsiteX139" fmla="*/ 3481387 w 3762723"/>
                <a:gd name="connsiteY139" fmla="*/ 528638 h 1871663"/>
                <a:gd name="connsiteX140" fmla="*/ 3519487 w 3762723"/>
                <a:gd name="connsiteY140" fmla="*/ 504825 h 1871663"/>
                <a:gd name="connsiteX141" fmla="*/ 3533775 w 3762723"/>
                <a:gd name="connsiteY141" fmla="*/ 495300 h 1871663"/>
                <a:gd name="connsiteX142" fmla="*/ 3548062 w 3762723"/>
                <a:gd name="connsiteY142" fmla="*/ 481013 h 1871663"/>
                <a:gd name="connsiteX143" fmla="*/ 3562350 w 3762723"/>
                <a:gd name="connsiteY143" fmla="*/ 476250 h 1871663"/>
                <a:gd name="connsiteX144" fmla="*/ 3600450 w 3762723"/>
                <a:gd name="connsiteY144" fmla="*/ 447675 h 1871663"/>
                <a:gd name="connsiteX145" fmla="*/ 3629025 w 3762723"/>
                <a:gd name="connsiteY145" fmla="*/ 400050 h 1871663"/>
                <a:gd name="connsiteX146" fmla="*/ 3638550 w 3762723"/>
                <a:gd name="connsiteY146" fmla="*/ 385763 h 1871663"/>
                <a:gd name="connsiteX147" fmla="*/ 3643312 w 3762723"/>
                <a:gd name="connsiteY147" fmla="*/ 366713 h 1871663"/>
                <a:gd name="connsiteX148" fmla="*/ 3648075 w 3762723"/>
                <a:gd name="connsiteY148" fmla="*/ 285750 h 1871663"/>
                <a:gd name="connsiteX149" fmla="*/ 3662362 w 3762723"/>
                <a:gd name="connsiteY149" fmla="*/ 257175 h 1871663"/>
                <a:gd name="connsiteX150" fmla="*/ 3671887 w 3762723"/>
                <a:gd name="connsiteY150" fmla="*/ 242888 h 1871663"/>
                <a:gd name="connsiteX151" fmla="*/ 3690937 w 3762723"/>
                <a:gd name="connsiteY151" fmla="*/ 209550 h 1871663"/>
                <a:gd name="connsiteX152" fmla="*/ 3700462 w 3762723"/>
                <a:gd name="connsiteY152" fmla="*/ 142875 h 1871663"/>
                <a:gd name="connsiteX153" fmla="*/ 3705225 w 3762723"/>
                <a:gd name="connsiteY153" fmla="*/ 100013 h 1871663"/>
                <a:gd name="connsiteX154" fmla="*/ 3719512 w 3762723"/>
                <a:gd name="connsiteY154" fmla="*/ 76200 h 1871663"/>
                <a:gd name="connsiteX155" fmla="*/ 3748087 w 3762723"/>
                <a:gd name="connsiteY155" fmla="*/ 42863 h 1871663"/>
                <a:gd name="connsiteX156" fmla="*/ 3762375 w 3762723"/>
                <a:gd name="connsiteY156" fmla="*/ 14288 h 1871663"/>
                <a:gd name="connsiteX157" fmla="*/ 3762375 w 3762723"/>
                <a:gd name="connsiteY157"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00350 w 3762723"/>
                <a:gd name="connsiteY113" fmla="*/ 1328738 h 1871663"/>
                <a:gd name="connsiteX114" fmla="*/ 2881312 w 3762723"/>
                <a:gd name="connsiteY114" fmla="*/ 1257300 h 1871663"/>
                <a:gd name="connsiteX115" fmla="*/ 2928937 w 3762723"/>
                <a:gd name="connsiteY115" fmla="*/ 1214438 h 1871663"/>
                <a:gd name="connsiteX116" fmla="*/ 2952750 w 3762723"/>
                <a:gd name="connsiteY116" fmla="*/ 1195388 h 1871663"/>
                <a:gd name="connsiteX117" fmla="*/ 3000375 w 3762723"/>
                <a:gd name="connsiteY117" fmla="*/ 1133475 h 1871663"/>
                <a:gd name="connsiteX118" fmla="*/ 3024187 w 3762723"/>
                <a:gd name="connsiteY118" fmla="*/ 1081088 h 1871663"/>
                <a:gd name="connsiteX119" fmla="*/ 3071812 w 3762723"/>
                <a:gd name="connsiteY119" fmla="*/ 1033463 h 1871663"/>
                <a:gd name="connsiteX120" fmla="*/ 3086100 w 3762723"/>
                <a:gd name="connsiteY120" fmla="*/ 1023938 h 1871663"/>
                <a:gd name="connsiteX121" fmla="*/ 3105150 w 3762723"/>
                <a:gd name="connsiteY121" fmla="*/ 1019175 h 1871663"/>
                <a:gd name="connsiteX122" fmla="*/ 3119437 w 3762723"/>
                <a:gd name="connsiteY122" fmla="*/ 1000125 h 1871663"/>
                <a:gd name="connsiteX123" fmla="*/ 3133725 w 3762723"/>
                <a:gd name="connsiteY123" fmla="*/ 985838 h 1871663"/>
                <a:gd name="connsiteX124" fmla="*/ 3143250 w 3762723"/>
                <a:gd name="connsiteY124" fmla="*/ 966788 h 1871663"/>
                <a:gd name="connsiteX125" fmla="*/ 3148012 w 3762723"/>
                <a:gd name="connsiteY125" fmla="*/ 928688 h 1871663"/>
                <a:gd name="connsiteX126" fmla="*/ 3171825 w 3762723"/>
                <a:gd name="connsiteY126" fmla="*/ 904875 h 1871663"/>
                <a:gd name="connsiteX127" fmla="*/ 3195637 w 3762723"/>
                <a:gd name="connsiteY127" fmla="*/ 885825 h 1871663"/>
                <a:gd name="connsiteX128" fmla="*/ 3214687 w 3762723"/>
                <a:gd name="connsiteY128" fmla="*/ 866775 h 1871663"/>
                <a:gd name="connsiteX129" fmla="*/ 3243262 w 3762723"/>
                <a:gd name="connsiteY129" fmla="*/ 842963 h 1871663"/>
                <a:gd name="connsiteX130" fmla="*/ 3286125 w 3762723"/>
                <a:gd name="connsiteY130" fmla="*/ 785813 h 1871663"/>
                <a:gd name="connsiteX131" fmla="*/ 3309937 w 3762723"/>
                <a:gd name="connsiteY131" fmla="*/ 752475 h 1871663"/>
                <a:gd name="connsiteX132" fmla="*/ 3348037 w 3762723"/>
                <a:gd name="connsiteY132" fmla="*/ 681038 h 1871663"/>
                <a:gd name="connsiteX133" fmla="*/ 3352800 w 3762723"/>
                <a:gd name="connsiteY133" fmla="*/ 666750 h 1871663"/>
                <a:gd name="connsiteX134" fmla="*/ 3376612 w 3762723"/>
                <a:gd name="connsiteY134" fmla="*/ 652463 h 1871663"/>
                <a:gd name="connsiteX135" fmla="*/ 3424237 w 3762723"/>
                <a:gd name="connsiteY135" fmla="*/ 614363 h 1871663"/>
                <a:gd name="connsiteX136" fmla="*/ 3448050 w 3762723"/>
                <a:gd name="connsiteY136" fmla="*/ 581025 h 1871663"/>
                <a:gd name="connsiteX137" fmla="*/ 3457575 w 3762723"/>
                <a:gd name="connsiteY137" fmla="*/ 566738 h 1871663"/>
                <a:gd name="connsiteX138" fmla="*/ 3481387 w 3762723"/>
                <a:gd name="connsiteY138" fmla="*/ 528638 h 1871663"/>
                <a:gd name="connsiteX139" fmla="*/ 3519487 w 3762723"/>
                <a:gd name="connsiteY139" fmla="*/ 504825 h 1871663"/>
                <a:gd name="connsiteX140" fmla="*/ 3533775 w 3762723"/>
                <a:gd name="connsiteY140" fmla="*/ 495300 h 1871663"/>
                <a:gd name="connsiteX141" fmla="*/ 3548062 w 3762723"/>
                <a:gd name="connsiteY141" fmla="*/ 481013 h 1871663"/>
                <a:gd name="connsiteX142" fmla="*/ 3562350 w 3762723"/>
                <a:gd name="connsiteY142" fmla="*/ 476250 h 1871663"/>
                <a:gd name="connsiteX143" fmla="*/ 3600450 w 3762723"/>
                <a:gd name="connsiteY143" fmla="*/ 447675 h 1871663"/>
                <a:gd name="connsiteX144" fmla="*/ 3629025 w 3762723"/>
                <a:gd name="connsiteY144" fmla="*/ 400050 h 1871663"/>
                <a:gd name="connsiteX145" fmla="*/ 3638550 w 3762723"/>
                <a:gd name="connsiteY145" fmla="*/ 385763 h 1871663"/>
                <a:gd name="connsiteX146" fmla="*/ 3643312 w 3762723"/>
                <a:gd name="connsiteY146" fmla="*/ 366713 h 1871663"/>
                <a:gd name="connsiteX147" fmla="*/ 3648075 w 3762723"/>
                <a:gd name="connsiteY147" fmla="*/ 285750 h 1871663"/>
                <a:gd name="connsiteX148" fmla="*/ 3662362 w 3762723"/>
                <a:gd name="connsiteY148" fmla="*/ 257175 h 1871663"/>
                <a:gd name="connsiteX149" fmla="*/ 3671887 w 3762723"/>
                <a:gd name="connsiteY149" fmla="*/ 242888 h 1871663"/>
                <a:gd name="connsiteX150" fmla="*/ 3690937 w 3762723"/>
                <a:gd name="connsiteY150" fmla="*/ 209550 h 1871663"/>
                <a:gd name="connsiteX151" fmla="*/ 3700462 w 3762723"/>
                <a:gd name="connsiteY151" fmla="*/ 142875 h 1871663"/>
                <a:gd name="connsiteX152" fmla="*/ 3705225 w 3762723"/>
                <a:gd name="connsiteY152" fmla="*/ 100013 h 1871663"/>
                <a:gd name="connsiteX153" fmla="*/ 3719512 w 3762723"/>
                <a:gd name="connsiteY153" fmla="*/ 76200 h 1871663"/>
                <a:gd name="connsiteX154" fmla="*/ 3748087 w 3762723"/>
                <a:gd name="connsiteY154" fmla="*/ 42863 h 1871663"/>
                <a:gd name="connsiteX155" fmla="*/ 3762375 w 3762723"/>
                <a:gd name="connsiteY155" fmla="*/ 14288 h 1871663"/>
                <a:gd name="connsiteX156" fmla="*/ 3762375 w 3762723"/>
                <a:gd name="connsiteY15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81312 w 3762723"/>
                <a:gd name="connsiteY113" fmla="*/ 1257300 h 1871663"/>
                <a:gd name="connsiteX114" fmla="*/ 2928937 w 3762723"/>
                <a:gd name="connsiteY114" fmla="*/ 1214438 h 1871663"/>
                <a:gd name="connsiteX115" fmla="*/ 2952750 w 3762723"/>
                <a:gd name="connsiteY115" fmla="*/ 1195388 h 1871663"/>
                <a:gd name="connsiteX116" fmla="*/ 3000375 w 3762723"/>
                <a:gd name="connsiteY116" fmla="*/ 1133475 h 1871663"/>
                <a:gd name="connsiteX117" fmla="*/ 3024187 w 3762723"/>
                <a:gd name="connsiteY117" fmla="*/ 1081088 h 1871663"/>
                <a:gd name="connsiteX118" fmla="*/ 3071812 w 3762723"/>
                <a:gd name="connsiteY118" fmla="*/ 1033463 h 1871663"/>
                <a:gd name="connsiteX119" fmla="*/ 3086100 w 3762723"/>
                <a:gd name="connsiteY119" fmla="*/ 1023938 h 1871663"/>
                <a:gd name="connsiteX120" fmla="*/ 3105150 w 3762723"/>
                <a:gd name="connsiteY120" fmla="*/ 1019175 h 1871663"/>
                <a:gd name="connsiteX121" fmla="*/ 3119437 w 3762723"/>
                <a:gd name="connsiteY121" fmla="*/ 1000125 h 1871663"/>
                <a:gd name="connsiteX122" fmla="*/ 3133725 w 3762723"/>
                <a:gd name="connsiteY122" fmla="*/ 985838 h 1871663"/>
                <a:gd name="connsiteX123" fmla="*/ 3143250 w 3762723"/>
                <a:gd name="connsiteY123" fmla="*/ 966788 h 1871663"/>
                <a:gd name="connsiteX124" fmla="*/ 3148012 w 3762723"/>
                <a:gd name="connsiteY124" fmla="*/ 928688 h 1871663"/>
                <a:gd name="connsiteX125" fmla="*/ 3171825 w 3762723"/>
                <a:gd name="connsiteY125" fmla="*/ 904875 h 1871663"/>
                <a:gd name="connsiteX126" fmla="*/ 3195637 w 3762723"/>
                <a:gd name="connsiteY126" fmla="*/ 885825 h 1871663"/>
                <a:gd name="connsiteX127" fmla="*/ 3214687 w 3762723"/>
                <a:gd name="connsiteY127" fmla="*/ 866775 h 1871663"/>
                <a:gd name="connsiteX128" fmla="*/ 3243262 w 3762723"/>
                <a:gd name="connsiteY128" fmla="*/ 842963 h 1871663"/>
                <a:gd name="connsiteX129" fmla="*/ 3286125 w 3762723"/>
                <a:gd name="connsiteY129" fmla="*/ 785813 h 1871663"/>
                <a:gd name="connsiteX130" fmla="*/ 3309937 w 3762723"/>
                <a:gd name="connsiteY130" fmla="*/ 752475 h 1871663"/>
                <a:gd name="connsiteX131" fmla="*/ 3348037 w 3762723"/>
                <a:gd name="connsiteY131" fmla="*/ 681038 h 1871663"/>
                <a:gd name="connsiteX132" fmla="*/ 3352800 w 3762723"/>
                <a:gd name="connsiteY132" fmla="*/ 666750 h 1871663"/>
                <a:gd name="connsiteX133" fmla="*/ 3376612 w 3762723"/>
                <a:gd name="connsiteY133" fmla="*/ 652463 h 1871663"/>
                <a:gd name="connsiteX134" fmla="*/ 3424237 w 3762723"/>
                <a:gd name="connsiteY134" fmla="*/ 614363 h 1871663"/>
                <a:gd name="connsiteX135" fmla="*/ 3448050 w 3762723"/>
                <a:gd name="connsiteY135" fmla="*/ 581025 h 1871663"/>
                <a:gd name="connsiteX136" fmla="*/ 3457575 w 3762723"/>
                <a:gd name="connsiteY136" fmla="*/ 566738 h 1871663"/>
                <a:gd name="connsiteX137" fmla="*/ 3481387 w 3762723"/>
                <a:gd name="connsiteY137" fmla="*/ 528638 h 1871663"/>
                <a:gd name="connsiteX138" fmla="*/ 3519487 w 3762723"/>
                <a:gd name="connsiteY138" fmla="*/ 504825 h 1871663"/>
                <a:gd name="connsiteX139" fmla="*/ 3533775 w 3762723"/>
                <a:gd name="connsiteY139" fmla="*/ 495300 h 1871663"/>
                <a:gd name="connsiteX140" fmla="*/ 3548062 w 3762723"/>
                <a:gd name="connsiteY140" fmla="*/ 481013 h 1871663"/>
                <a:gd name="connsiteX141" fmla="*/ 3562350 w 3762723"/>
                <a:gd name="connsiteY141" fmla="*/ 476250 h 1871663"/>
                <a:gd name="connsiteX142" fmla="*/ 3600450 w 3762723"/>
                <a:gd name="connsiteY142" fmla="*/ 447675 h 1871663"/>
                <a:gd name="connsiteX143" fmla="*/ 3629025 w 3762723"/>
                <a:gd name="connsiteY143" fmla="*/ 400050 h 1871663"/>
                <a:gd name="connsiteX144" fmla="*/ 3638550 w 3762723"/>
                <a:gd name="connsiteY144" fmla="*/ 385763 h 1871663"/>
                <a:gd name="connsiteX145" fmla="*/ 3643312 w 3762723"/>
                <a:gd name="connsiteY145" fmla="*/ 366713 h 1871663"/>
                <a:gd name="connsiteX146" fmla="*/ 3648075 w 3762723"/>
                <a:gd name="connsiteY146" fmla="*/ 285750 h 1871663"/>
                <a:gd name="connsiteX147" fmla="*/ 3662362 w 3762723"/>
                <a:gd name="connsiteY147" fmla="*/ 257175 h 1871663"/>
                <a:gd name="connsiteX148" fmla="*/ 3671887 w 3762723"/>
                <a:gd name="connsiteY148" fmla="*/ 242888 h 1871663"/>
                <a:gd name="connsiteX149" fmla="*/ 3690937 w 3762723"/>
                <a:gd name="connsiteY149" fmla="*/ 209550 h 1871663"/>
                <a:gd name="connsiteX150" fmla="*/ 3700462 w 3762723"/>
                <a:gd name="connsiteY150" fmla="*/ 142875 h 1871663"/>
                <a:gd name="connsiteX151" fmla="*/ 3705225 w 3762723"/>
                <a:gd name="connsiteY151" fmla="*/ 100013 h 1871663"/>
                <a:gd name="connsiteX152" fmla="*/ 3719512 w 3762723"/>
                <a:gd name="connsiteY152" fmla="*/ 76200 h 1871663"/>
                <a:gd name="connsiteX153" fmla="*/ 3748087 w 3762723"/>
                <a:gd name="connsiteY153" fmla="*/ 42863 h 1871663"/>
                <a:gd name="connsiteX154" fmla="*/ 3762375 w 3762723"/>
                <a:gd name="connsiteY154" fmla="*/ 14288 h 1871663"/>
                <a:gd name="connsiteX155" fmla="*/ 3762375 w 3762723"/>
                <a:gd name="connsiteY155"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81312 w 3762723"/>
                <a:gd name="connsiteY112" fmla="*/ 1257300 h 1871663"/>
                <a:gd name="connsiteX113" fmla="*/ 2928937 w 3762723"/>
                <a:gd name="connsiteY113" fmla="*/ 1214438 h 1871663"/>
                <a:gd name="connsiteX114" fmla="*/ 2952750 w 3762723"/>
                <a:gd name="connsiteY114" fmla="*/ 1195388 h 1871663"/>
                <a:gd name="connsiteX115" fmla="*/ 3000375 w 3762723"/>
                <a:gd name="connsiteY115" fmla="*/ 1133475 h 1871663"/>
                <a:gd name="connsiteX116" fmla="*/ 3024187 w 3762723"/>
                <a:gd name="connsiteY116" fmla="*/ 1081088 h 1871663"/>
                <a:gd name="connsiteX117" fmla="*/ 3071812 w 3762723"/>
                <a:gd name="connsiteY117" fmla="*/ 1033463 h 1871663"/>
                <a:gd name="connsiteX118" fmla="*/ 3086100 w 3762723"/>
                <a:gd name="connsiteY118" fmla="*/ 1023938 h 1871663"/>
                <a:gd name="connsiteX119" fmla="*/ 3105150 w 3762723"/>
                <a:gd name="connsiteY119" fmla="*/ 1019175 h 1871663"/>
                <a:gd name="connsiteX120" fmla="*/ 3119437 w 3762723"/>
                <a:gd name="connsiteY120" fmla="*/ 1000125 h 1871663"/>
                <a:gd name="connsiteX121" fmla="*/ 3133725 w 3762723"/>
                <a:gd name="connsiteY121" fmla="*/ 985838 h 1871663"/>
                <a:gd name="connsiteX122" fmla="*/ 3143250 w 3762723"/>
                <a:gd name="connsiteY122" fmla="*/ 966788 h 1871663"/>
                <a:gd name="connsiteX123" fmla="*/ 3148012 w 3762723"/>
                <a:gd name="connsiteY123" fmla="*/ 928688 h 1871663"/>
                <a:gd name="connsiteX124" fmla="*/ 3171825 w 3762723"/>
                <a:gd name="connsiteY124" fmla="*/ 904875 h 1871663"/>
                <a:gd name="connsiteX125" fmla="*/ 3195637 w 3762723"/>
                <a:gd name="connsiteY125" fmla="*/ 885825 h 1871663"/>
                <a:gd name="connsiteX126" fmla="*/ 3214687 w 3762723"/>
                <a:gd name="connsiteY126" fmla="*/ 866775 h 1871663"/>
                <a:gd name="connsiteX127" fmla="*/ 3243262 w 3762723"/>
                <a:gd name="connsiteY127" fmla="*/ 842963 h 1871663"/>
                <a:gd name="connsiteX128" fmla="*/ 3286125 w 3762723"/>
                <a:gd name="connsiteY128" fmla="*/ 785813 h 1871663"/>
                <a:gd name="connsiteX129" fmla="*/ 3309937 w 3762723"/>
                <a:gd name="connsiteY129" fmla="*/ 752475 h 1871663"/>
                <a:gd name="connsiteX130" fmla="*/ 3348037 w 3762723"/>
                <a:gd name="connsiteY130" fmla="*/ 681038 h 1871663"/>
                <a:gd name="connsiteX131" fmla="*/ 3352800 w 3762723"/>
                <a:gd name="connsiteY131" fmla="*/ 666750 h 1871663"/>
                <a:gd name="connsiteX132" fmla="*/ 3376612 w 3762723"/>
                <a:gd name="connsiteY132" fmla="*/ 652463 h 1871663"/>
                <a:gd name="connsiteX133" fmla="*/ 3424237 w 3762723"/>
                <a:gd name="connsiteY133" fmla="*/ 614363 h 1871663"/>
                <a:gd name="connsiteX134" fmla="*/ 3448050 w 3762723"/>
                <a:gd name="connsiteY134" fmla="*/ 581025 h 1871663"/>
                <a:gd name="connsiteX135" fmla="*/ 3457575 w 3762723"/>
                <a:gd name="connsiteY135" fmla="*/ 566738 h 1871663"/>
                <a:gd name="connsiteX136" fmla="*/ 3481387 w 3762723"/>
                <a:gd name="connsiteY136" fmla="*/ 528638 h 1871663"/>
                <a:gd name="connsiteX137" fmla="*/ 3519487 w 3762723"/>
                <a:gd name="connsiteY137" fmla="*/ 504825 h 1871663"/>
                <a:gd name="connsiteX138" fmla="*/ 3533775 w 3762723"/>
                <a:gd name="connsiteY138" fmla="*/ 495300 h 1871663"/>
                <a:gd name="connsiteX139" fmla="*/ 3548062 w 3762723"/>
                <a:gd name="connsiteY139" fmla="*/ 481013 h 1871663"/>
                <a:gd name="connsiteX140" fmla="*/ 3562350 w 3762723"/>
                <a:gd name="connsiteY140" fmla="*/ 476250 h 1871663"/>
                <a:gd name="connsiteX141" fmla="*/ 3600450 w 3762723"/>
                <a:gd name="connsiteY141" fmla="*/ 447675 h 1871663"/>
                <a:gd name="connsiteX142" fmla="*/ 3629025 w 3762723"/>
                <a:gd name="connsiteY142" fmla="*/ 400050 h 1871663"/>
                <a:gd name="connsiteX143" fmla="*/ 3638550 w 3762723"/>
                <a:gd name="connsiteY143" fmla="*/ 385763 h 1871663"/>
                <a:gd name="connsiteX144" fmla="*/ 3643312 w 3762723"/>
                <a:gd name="connsiteY144" fmla="*/ 366713 h 1871663"/>
                <a:gd name="connsiteX145" fmla="*/ 3648075 w 3762723"/>
                <a:gd name="connsiteY145" fmla="*/ 285750 h 1871663"/>
                <a:gd name="connsiteX146" fmla="*/ 3662362 w 3762723"/>
                <a:gd name="connsiteY146" fmla="*/ 257175 h 1871663"/>
                <a:gd name="connsiteX147" fmla="*/ 3671887 w 3762723"/>
                <a:gd name="connsiteY147" fmla="*/ 242888 h 1871663"/>
                <a:gd name="connsiteX148" fmla="*/ 3690937 w 3762723"/>
                <a:gd name="connsiteY148" fmla="*/ 209550 h 1871663"/>
                <a:gd name="connsiteX149" fmla="*/ 3700462 w 3762723"/>
                <a:gd name="connsiteY149" fmla="*/ 142875 h 1871663"/>
                <a:gd name="connsiteX150" fmla="*/ 3705225 w 3762723"/>
                <a:gd name="connsiteY150" fmla="*/ 100013 h 1871663"/>
                <a:gd name="connsiteX151" fmla="*/ 3719512 w 3762723"/>
                <a:gd name="connsiteY151" fmla="*/ 76200 h 1871663"/>
                <a:gd name="connsiteX152" fmla="*/ 3748087 w 3762723"/>
                <a:gd name="connsiteY152" fmla="*/ 42863 h 1871663"/>
                <a:gd name="connsiteX153" fmla="*/ 3762375 w 3762723"/>
                <a:gd name="connsiteY153" fmla="*/ 14288 h 1871663"/>
                <a:gd name="connsiteX154" fmla="*/ 3762375 w 3762723"/>
                <a:gd name="connsiteY154"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2928937 w 3762723"/>
                <a:gd name="connsiteY113" fmla="*/ 1214438 h 1871663"/>
                <a:gd name="connsiteX114" fmla="*/ 2952750 w 3762723"/>
                <a:gd name="connsiteY114" fmla="*/ 1195388 h 1871663"/>
                <a:gd name="connsiteX115" fmla="*/ 3000375 w 3762723"/>
                <a:gd name="connsiteY115" fmla="*/ 1133475 h 1871663"/>
                <a:gd name="connsiteX116" fmla="*/ 3024187 w 3762723"/>
                <a:gd name="connsiteY116" fmla="*/ 1081088 h 1871663"/>
                <a:gd name="connsiteX117" fmla="*/ 3071812 w 3762723"/>
                <a:gd name="connsiteY117" fmla="*/ 1033463 h 1871663"/>
                <a:gd name="connsiteX118" fmla="*/ 3086100 w 3762723"/>
                <a:gd name="connsiteY118" fmla="*/ 1023938 h 1871663"/>
                <a:gd name="connsiteX119" fmla="*/ 3105150 w 3762723"/>
                <a:gd name="connsiteY119" fmla="*/ 1019175 h 1871663"/>
                <a:gd name="connsiteX120" fmla="*/ 3119437 w 3762723"/>
                <a:gd name="connsiteY120" fmla="*/ 1000125 h 1871663"/>
                <a:gd name="connsiteX121" fmla="*/ 3133725 w 3762723"/>
                <a:gd name="connsiteY121" fmla="*/ 985838 h 1871663"/>
                <a:gd name="connsiteX122" fmla="*/ 3143250 w 3762723"/>
                <a:gd name="connsiteY122" fmla="*/ 966788 h 1871663"/>
                <a:gd name="connsiteX123" fmla="*/ 3148012 w 3762723"/>
                <a:gd name="connsiteY123" fmla="*/ 928688 h 1871663"/>
                <a:gd name="connsiteX124" fmla="*/ 3171825 w 3762723"/>
                <a:gd name="connsiteY124" fmla="*/ 904875 h 1871663"/>
                <a:gd name="connsiteX125" fmla="*/ 3195637 w 3762723"/>
                <a:gd name="connsiteY125" fmla="*/ 885825 h 1871663"/>
                <a:gd name="connsiteX126" fmla="*/ 3214687 w 3762723"/>
                <a:gd name="connsiteY126" fmla="*/ 866775 h 1871663"/>
                <a:gd name="connsiteX127" fmla="*/ 3243262 w 3762723"/>
                <a:gd name="connsiteY127" fmla="*/ 842963 h 1871663"/>
                <a:gd name="connsiteX128" fmla="*/ 3286125 w 3762723"/>
                <a:gd name="connsiteY128" fmla="*/ 785813 h 1871663"/>
                <a:gd name="connsiteX129" fmla="*/ 3309937 w 3762723"/>
                <a:gd name="connsiteY129" fmla="*/ 752475 h 1871663"/>
                <a:gd name="connsiteX130" fmla="*/ 3348037 w 3762723"/>
                <a:gd name="connsiteY130" fmla="*/ 681038 h 1871663"/>
                <a:gd name="connsiteX131" fmla="*/ 3352800 w 3762723"/>
                <a:gd name="connsiteY131" fmla="*/ 666750 h 1871663"/>
                <a:gd name="connsiteX132" fmla="*/ 3376612 w 3762723"/>
                <a:gd name="connsiteY132" fmla="*/ 652463 h 1871663"/>
                <a:gd name="connsiteX133" fmla="*/ 3424237 w 3762723"/>
                <a:gd name="connsiteY133" fmla="*/ 614363 h 1871663"/>
                <a:gd name="connsiteX134" fmla="*/ 3448050 w 3762723"/>
                <a:gd name="connsiteY134" fmla="*/ 581025 h 1871663"/>
                <a:gd name="connsiteX135" fmla="*/ 3457575 w 3762723"/>
                <a:gd name="connsiteY135" fmla="*/ 566738 h 1871663"/>
                <a:gd name="connsiteX136" fmla="*/ 3481387 w 3762723"/>
                <a:gd name="connsiteY136" fmla="*/ 528638 h 1871663"/>
                <a:gd name="connsiteX137" fmla="*/ 3519487 w 3762723"/>
                <a:gd name="connsiteY137" fmla="*/ 504825 h 1871663"/>
                <a:gd name="connsiteX138" fmla="*/ 3533775 w 3762723"/>
                <a:gd name="connsiteY138" fmla="*/ 495300 h 1871663"/>
                <a:gd name="connsiteX139" fmla="*/ 3548062 w 3762723"/>
                <a:gd name="connsiteY139" fmla="*/ 481013 h 1871663"/>
                <a:gd name="connsiteX140" fmla="*/ 3562350 w 3762723"/>
                <a:gd name="connsiteY140" fmla="*/ 476250 h 1871663"/>
                <a:gd name="connsiteX141" fmla="*/ 3600450 w 3762723"/>
                <a:gd name="connsiteY141" fmla="*/ 447675 h 1871663"/>
                <a:gd name="connsiteX142" fmla="*/ 3629025 w 3762723"/>
                <a:gd name="connsiteY142" fmla="*/ 400050 h 1871663"/>
                <a:gd name="connsiteX143" fmla="*/ 3638550 w 3762723"/>
                <a:gd name="connsiteY143" fmla="*/ 385763 h 1871663"/>
                <a:gd name="connsiteX144" fmla="*/ 3643312 w 3762723"/>
                <a:gd name="connsiteY144" fmla="*/ 366713 h 1871663"/>
                <a:gd name="connsiteX145" fmla="*/ 3648075 w 3762723"/>
                <a:gd name="connsiteY145" fmla="*/ 285750 h 1871663"/>
                <a:gd name="connsiteX146" fmla="*/ 3662362 w 3762723"/>
                <a:gd name="connsiteY146" fmla="*/ 257175 h 1871663"/>
                <a:gd name="connsiteX147" fmla="*/ 3671887 w 3762723"/>
                <a:gd name="connsiteY147" fmla="*/ 242888 h 1871663"/>
                <a:gd name="connsiteX148" fmla="*/ 3690937 w 3762723"/>
                <a:gd name="connsiteY148" fmla="*/ 209550 h 1871663"/>
                <a:gd name="connsiteX149" fmla="*/ 3700462 w 3762723"/>
                <a:gd name="connsiteY149" fmla="*/ 142875 h 1871663"/>
                <a:gd name="connsiteX150" fmla="*/ 3705225 w 3762723"/>
                <a:gd name="connsiteY150" fmla="*/ 100013 h 1871663"/>
                <a:gd name="connsiteX151" fmla="*/ 3719512 w 3762723"/>
                <a:gd name="connsiteY151" fmla="*/ 76200 h 1871663"/>
                <a:gd name="connsiteX152" fmla="*/ 3748087 w 3762723"/>
                <a:gd name="connsiteY152" fmla="*/ 42863 h 1871663"/>
                <a:gd name="connsiteX153" fmla="*/ 3762375 w 3762723"/>
                <a:gd name="connsiteY153" fmla="*/ 14288 h 1871663"/>
                <a:gd name="connsiteX154" fmla="*/ 3762375 w 3762723"/>
                <a:gd name="connsiteY154"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2928937 w 3762723"/>
                <a:gd name="connsiteY113" fmla="*/ 1214438 h 1871663"/>
                <a:gd name="connsiteX114" fmla="*/ 2976562 w 3762723"/>
                <a:gd name="connsiteY114" fmla="*/ 1162050 h 1871663"/>
                <a:gd name="connsiteX115" fmla="*/ 3000375 w 3762723"/>
                <a:gd name="connsiteY115" fmla="*/ 1133475 h 1871663"/>
                <a:gd name="connsiteX116" fmla="*/ 3024187 w 3762723"/>
                <a:gd name="connsiteY116" fmla="*/ 1081088 h 1871663"/>
                <a:gd name="connsiteX117" fmla="*/ 3071812 w 3762723"/>
                <a:gd name="connsiteY117" fmla="*/ 1033463 h 1871663"/>
                <a:gd name="connsiteX118" fmla="*/ 3086100 w 3762723"/>
                <a:gd name="connsiteY118" fmla="*/ 1023938 h 1871663"/>
                <a:gd name="connsiteX119" fmla="*/ 3105150 w 3762723"/>
                <a:gd name="connsiteY119" fmla="*/ 1019175 h 1871663"/>
                <a:gd name="connsiteX120" fmla="*/ 3119437 w 3762723"/>
                <a:gd name="connsiteY120" fmla="*/ 1000125 h 1871663"/>
                <a:gd name="connsiteX121" fmla="*/ 3133725 w 3762723"/>
                <a:gd name="connsiteY121" fmla="*/ 985838 h 1871663"/>
                <a:gd name="connsiteX122" fmla="*/ 3143250 w 3762723"/>
                <a:gd name="connsiteY122" fmla="*/ 966788 h 1871663"/>
                <a:gd name="connsiteX123" fmla="*/ 3148012 w 3762723"/>
                <a:gd name="connsiteY123" fmla="*/ 928688 h 1871663"/>
                <a:gd name="connsiteX124" fmla="*/ 3171825 w 3762723"/>
                <a:gd name="connsiteY124" fmla="*/ 904875 h 1871663"/>
                <a:gd name="connsiteX125" fmla="*/ 3195637 w 3762723"/>
                <a:gd name="connsiteY125" fmla="*/ 885825 h 1871663"/>
                <a:gd name="connsiteX126" fmla="*/ 3214687 w 3762723"/>
                <a:gd name="connsiteY126" fmla="*/ 866775 h 1871663"/>
                <a:gd name="connsiteX127" fmla="*/ 3243262 w 3762723"/>
                <a:gd name="connsiteY127" fmla="*/ 842963 h 1871663"/>
                <a:gd name="connsiteX128" fmla="*/ 3286125 w 3762723"/>
                <a:gd name="connsiteY128" fmla="*/ 785813 h 1871663"/>
                <a:gd name="connsiteX129" fmla="*/ 3309937 w 3762723"/>
                <a:gd name="connsiteY129" fmla="*/ 752475 h 1871663"/>
                <a:gd name="connsiteX130" fmla="*/ 3348037 w 3762723"/>
                <a:gd name="connsiteY130" fmla="*/ 681038 h 1871663"/>
                <a:gd name="connsiteX131" fmla="*/ 3352800 w 3762723"/>
                <a:gd name="connsiteY131" fmla="*/ 666750 h 1871663"/>
                <a:gd name="connsiteX132" fmla="*/ 3376612 w 3762723"/>
                <a:gd name="connsiteY132" fmla="*/ 652463 h 1871663"/>
                <a:gd name="connsiteX133" fmla="*/ 3424237 w 3762723"/>
                <a:gd name="connsiteY133" fmla="*/ 614363 h 1871663"/>
                <a:gd name="connsiteX134" fmla="*/ 3448050 w 3762723"/>
                <a:gd name="connsiteY134" fmla="*/ 581025 h 1871663"/>
                <a:gd name="connsiteX135" fmla="*/ 3457575 w 3762723"/>
                <a:gd name="connsiteY135" fmla="*/ 566738 h 1871663"/>
                <a:gd name="connsiteX136" fmla="*/ 3481387 w 3762723"/>
                <a:gd name="connsiteY136" fmla="*/ 528638 h 1871663"/>
                <a:gd name="connsiteX137" fmla="*/ 3519487 w 3762723"/>
                <a:gd name="connsiteY137" fmla="*/ 504825 h 1871663"/>
                <a:gd name="connsiteX138" fmla="*/ 3533775 w 3762723"/>
                <a:gd name="connsiteY138" fmla="*/ 495300 h 1871663"/>
                <a:gd name="connsiteX139" fmla="*/ 3548062 w 3762723"/>
                <a:gd name="connsiteY139" fmla="*/ 481013 h 1871663"/>
                <a:gd name="connsiteX140" fmla="*/ 3562350 w 3762723"/>
                <a:gd name="connsiteY140" fmla="*/ 476250 h 1871663"/>
                <a:gd name="connsiteX141" fmla="*/ 3600450 w 3762723"/>
                <a:gd name="connsiteY141" fmla="*/ 447675 h 1871663"/>
                <a:gd name="connsiteX142" fmla="*/ 3629025 w 3762723"/>
                <a:gd name="connsiteY142" fmla="*/ 400050 h 1871663"/>
                <a:gd name="connsiteX143" fmla="*/ 3638550 w 3762723"/>
                <a:gd name="connsiteY143" fmla="*/ 385763 h 1871663"/>
                <a:gd name="connsiteX144" fmla="*/ 3643312 w 3762723"/>
                <a:gd name="connsiteY144" fmla="*/ 366713 h 1871663"/>
                <a:gd name="connsiteX145" fmla="*/ 3648075 w 3762723"/>
                <a:gd name="connsiteY145" fmla="*/ 285750 h 1871663"/>
                <a:gd name="connsiteX146" fmla="*/ 3662362 w 3762723"/>
                <a:gd name="connsiteY146" fmla="*/ 257175 h 1871663"/>
                <a:gd name="connsiteX147" fmla="*/ 3671887 w 3762723"/>
                <a:gd name="connsiteY147" fmla="*/ 242888 h 1871663"/>
                <a:gd name="connsiteX148" fmla="*/ 3690937 w 3762723"/>
                <a:gd name="connsiteY148" fmla="*/ 209550 h 1871663"/>
                <a:gd name="connsiteX149" fmla="*/ 3700462 w 3762723"/>
                <a:gd name="connsiteY149" fmla="*/ 142875 h 1871663"/>
                <a:gd name="connsiteX150" fmla="*/ 3705225 w 3762723"/>
                <a:gd name="connsiteY150" fmla="*/ 100013 h 1871663"/>
                <a:gd name="connsiteX151" fmla="*/ 3719512 w 3762723"/>
                <a:gd name="connsiteY151" fmla="*/ 76200 h 1871663"/>
                <a:gd name="connsiteX152" fmla="*/ 3748087 w 3762723"/>
                <a:gd name="connsiteY152" fmla="*/ 42863 h 1871663"/>
                <a:gd name="connsiteX153" fmla="*/ 3762375 w 3762723"/>
                <a:gd name="connsiteY153" fmla="*/ 14288 h 1871663"/>
                <a:gd name="connsiteX154" fmla="*/ 3762375 w 3762723"/>
                <a:gd name="connsiteY154"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2976562 w 3762723"/>
                <a:gd name="connsiteY113" fmla="*/ 1162050 h 1871663"/>
                <a:gd name="connsiteX114" fmla="*/ 3000375 w 3762723"/>
                <a:gd name="connsiteY114" fmla="*/ 1133475 h 1871663"/>
                <a:gd name="connsiteX115" fmla="*/ 3024187 w 3762723"/>
                <a:gd name="connsiteY115" fmla="*/ 1081088 h 1871663"/>
                <a:gd name="connsiteX116" fmla="*/ 3071812 w 3762723"/>
                <a:gd name="connsiteY116" fmla="*/ 1033463 h 1871663"/>
                <a:gd name="connsiteX117" fmla="*/ 3086100 w 3762723"/>
                <a:gd name="connsiteY117" fmla="*/ 1023938 h 1871663"/>
                <a:gd name="connsiteX118" fmla="*/ 3105150 w 3762723"/>
                <a:gd name="connsiteY118" fmla="*/ 1019175 h 1871663"/>
                <a:gd name="connsiteX119" fmla="*/ 3119437 w 3762723"/>
                <a:gd name="connsiteY119" fmla="*/ 1000125 h 1871663"/>
                <a:gd name="connsiteX120" fmla="*/ 3133725 w 3762723"/>
                <a:gd name="connsiteY120" fmla="*/ 985838 h 1871663"/>
                <a:gd name="connsiteX121" fmla="*/ 3143250 w 3762723"/>
                <a:gd name="connsiteY121" fmla="*/ 966788 h 1871663"/>
                <a:gd name="connsiteX122" fmla="*/ 3148012 w 3762723"/>
                <a:gd name="connsiteY122" fmla="*/ 928688 h 1871663"/>
                <a:gd name="connsiteX123" fmla="*/ 3171825 w 3762723"/>
                <a:gd name="connsiteY123" fmla="*/ 904875 h 1871663"/>
                <a:gd name="connsiteX124" fmla="*/ 3195637 w 3762723"/>
                <a:gd name="connsiteY124" fmla="*/ 885825 h 1871663"/>
                <a:gd name="connsiteX125" fmla="*/ 3214687 w 3762723"/>
                <a:gd name="connsiteY125" fmla="*/ 866775 h 1871663"/>
                <a:gd name="connsiteX126" fmla="*/ 3243262 w 3762723"/>
                <a:gd name="connsiteY126" fmla="*/ 842963 h 1871663"/>
                <a:gd name="connsiteX127" fmla="*/ 3286125 w 3762723"/>
                <a:gd name="connsiteY127" fmla="*/ 785813 h 1871663"/>
                <a:gd name="connsiteX128" fmla="*/ 3309937 w 3762723"/>
                <a:gd name="connsiteY128" fmla="*/ 752475 h 1871663"/>
                <a:gd name="connsiteX129" fmla="*/ 3348037 w 3762723"/>
                <a:gd name="connsiteY129" fmla="*/ 681038 h 1871663"/>
                <a:gd name="connsiteX130" fmla="*/ 3352800 w 3762723"/>
                <a:gd name="connsiteY130" fmla="*/ 666750 h 1871663"/>
                <a:gd name="connsiteX131" fmla="*/ 3376612 w 3762723"/>
                <a:gd name="connsiteY131" fmla="*/ 652463 h 1871663"/>
                <a:gd name="connsiteX132" fmla="*/ 3424237 w 3762723"/>
                <a:gd name="connsiteY132" fmla="*/ 614363 h 1871663"/>
                <a:gd name="connsiteX133" fmla="*/ 3448050 w 3762723"/>
                <a:gd name="connsiteY133" fmla="*/ 581025 h 1871663"/>
                <a:gd name="connsiteX134" fmla="*/ 3457575 w 3762723"/>
                <a:gd name="connsiteY134" fmla="*/ 566738 h 1871663"/>
                <a:gd name="connsiteX135" fmla="*/ 3481387 w 3762723"/>
                <a:gd name="connsiteY135" fmla="*/ 528638 h 1871663"/>
                <a:gd name="connsiteX136" fmla="*/ 3519487 w 3762723"/>
                <a:gd name="connsiteY136" fmla="*/ 504825 h 1871663"/>
                <a:gd name="connsiteX137" fmla="*/ 3533775 w 3762723"/>
                <a:gd name="connsiteY137" fmla="*/ 495300 h 1871663"/>
                <a:gd name="connsiteX138" fmla="*/ 3548062 w 3762723"/>
                <a:gd name="connsiteY138" fmla="*/ 481013 h 1871663"/>
                <a:gd name="connsiteX139" fmla="*/ 3562350 w 3762723"/>
                <a:gd name="connsiteY139" fmla="*/ 476250 h 1871663"/>
                <a:gd name="connsiteX140" fmla="*/ 3600450 w 3762723"/>
                <a:gd name="connsiteY140" fmla="*/ 447675 h 1871663"/>
                <a:gd name="connsiteX141" fmla="*/ 3629025 w 3762723"/>
                <a:gd name="connsiteY141" fmla="*/ 400050 h 1871663"/>
                <a:gd name="connsiteX142" fmla="*/ 3638550 w 3762723"/>
                <a:gd name="connsiteY142" fmla="*/ 385763 h 1871663"/>
                <a:gd name="connsiteX143" fmla="*/ 3643312 w 3762723"/>
                <a:gd name="connsiteY143" fmla="*/ 366713 h 1871663"/>
                <a:gd name="connsiteX144" fmla="*/ 3648075 w 3762723"/>
                <a:gd name="connsiteY144" fmla="*/ 285750 h 1871663"/>
                <a:gd name="connsiteX145" fmla="*/ 3662362 w 3762723"/>
                <a:gd name="connsiteY145" fmla="*/ 257175 h 1871663"/>
                <a:gd name="connsiteX146" fmla="*/ 3671887 w 3762723"/>
                <a:gd name="connsiteY146" fmla="*/ 242888 h 1871663"/>
                <a:gd name="connsiteX147" fmla="*/ 3690937 w 3762723"/>
                <a:gd name="connsiteY147" fmla="*/ 209550 h 1871663"/>
                <a:gd name="connsiteX148" fmla="*/ 3700462 w 3762723"/>
                <a:gd name="connsiteY148" fmla="*/ 142875 h 1871663"/>
                <a:gd name="connsiteX149" fmla="*/ 3705225 w 3762723"/>
                <a:gd name="connsiteY149" fmla="*/ 100013 h 1871663"/>
                <a:gd name="connsiteX150" fmla="*/ 3719512 w 3762723"/>
                <a:gd name="connsiteY150" fmla="*/ 76200 h 1871663"/>
                <a:gd name="connsiteX151" fmla="*/ 3748087 w 3762723"/>
                <a:gd name="connsiteY151" fmla="*/ 42863 h 1871663"/>
                <a:gd name="connsiteX152" fmla="*/ 3762375 w 3762723"/>
                <a:gd name="connsiteY152" fmla="*/ 14288 h 1871663"/>
                <a:gd name="connsiteX153" fmla="*/ 3762375 w 3762723"/>
                <a:gd name="connsiteY153"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300037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86125 w 3762723"/>
                <a:gd name="connsiteY126" fmla="*/ 785813 h 1871663"/>
                <a:gd name="connsiteX127" fmla="*/ 3309937 w 3762723"/>
                <a:gd name="connsiteY127" fmla="*/ 752475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86125 w 3762723"/>
                <a:gd name="connsiteY126" fmla="*/ 785813 h 1871663"/>
                <a:gd name="connsiteX127" fmla="*/ 3309937 w 3762723"/>
                <a:gd name="connsiteY127" fmla="*/ 752475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86125 w 3762723"/>
                <a:gd name="connsiteY126" fmla="*/ 785813 h 1871663"/>
                <a:gd name="connsiteX127" fmla="*/ 3309937 w 3762723"/>
                <a:gd name="connsiteY127" fmla="*/ 752475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86125 w 3762723"/>
                <a:gd name="connsiteY126" fmla="*/ 785813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62313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62313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62313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38500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00399 w 3762723"/>
                <a:gd name="connsiteY124" fmla="*/ 866775 h 1871663"/>
                <a:gd name="connsiteX125" fmla="*/ 3243262 w 3762723"/>
                <a:gd name="connsiteY125" fmla="*/ 842963 h 1871663"/>
                <a:gd name="connsiteX126" fmla="*/ 3238500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00399 w 3762723"/>
                <a:gd name="connsiteY124" fmla="*/ 866775 h 1871663"/>
                <a:gd name="connsiteX125" fmla="*/ 3243262 w 3762723"/>
                <a:gd name="connsiteY125" fmla="*/ 842963 h 1871663"/>
                <a:gd name="connsiteX126" fmla="*/ 3238500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090862 w 3762723"/>
                <a:gd name="connsiteY118" fmla="*/ 976313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00399 w 3762723"/>
                <a:gd name="connsiteY124" fmla="*/ 866775 h 1871663"/>
                <a:gd name="connsiteX125" fmla="*/ 3243262 w 3762723"/>
                <a:gd name="connsiteY125" fmla="*/ 842963 h 1871663"/>
                <a:gd name="connsiteX126" fmla="*/ 3238500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43250 w 3762723"/>
                <a:gd name="connsiteY119" fmla="*/ 966788 h 1871663"/>
                <a:gd name="connsiteX120" fmla="*/ 3148012 w 3762723"/>
                <a:gd name="connsiteY120" fmla="*/ 928688 h 1871663"/>
                <a:gd name="connsiteX121" fmla="*/ 3171825 w 3762723"/>
                <a:gd name="connsiteY121" fmla="*/ 904875 h 1871663"/>
                <a:gd name="connsiteX122" fmla="*/ 3195637 w 3762723"/>
                <a:gd name="connsiteY122" fmla="*/ 885825 h 1871663"/>
                <a:gd name="connsiteX123" fmla="*/ 3200399 w 3762723"/>
                <a:gd name="connsiteY123" fmla="*/ 866775 h 1871663"/>
                <a:gd name="connsiteX124" fmla="*/ 3243262 w 3762723"/>
                <a:gd name="connsiteY124" fmla="*/ 842963 h 1871663"/>
                <a:gd name="connsiteX125" fmla="*/ 3238500 w 3762723"/>
                <a:gd name="connsiteY125" fmla="*/ 809626 h 1871663"/>
                <a:gd name="connsiteX126" fmla="*/ 3281362 w 3762723"/>
                <a:gd name="connsiteY126" fmla="*/ 723900 h 1871663"/>
                <a:gd name="connsiteX127" fmla="*/ 3348037 w 3762723"/>
                <a:gd name="connsiteY127" fmla="*/ 681038 h 1871663"/>
                <a:gd name="connsiteX128" fmla="*/ 3352800 w 3762723"/>
                <a:gd name="connsiteY128" fmla="*/ 666750 h 1871663"/>
                <a:gd name="connsiteX129" fmla="*/ 3362325 w 3762723"/>
                <a:gd name="connsiteY129" fmla="*/ 633413 h 1871663"/>
                <a:gd name="connsiteX130" fmla="*/ 3424237 w 3762723"/>
                <a:gd name="connsiteY130" fmla="*/ 614363 h 1871663"/>
                <a:gd name="connsiteX131" fmla="*/ 3448050 w 3762723"/>
                <a:gd name="connsiteY131" fmla="*/ 581025 h 1871663"/>
                <a:gd name="connsiteX132" fmla="*/ 3419475 w 3762723"/>
                <a:gd name="connsiteY132" fmla="*/ 557213 h 1871663"/>
                <a:gd name="connsiteX133" fmla="*/ 3481387 w 3762723"/>
                <a:gd name="connsiteY133" fmla="*/ 528638 h 1871663"/>
                <a:gd name="connsiteX134" fmla="*/ 3519487 w 3762723"/>
                <a:gd name="connsiteY134" fmla="*/ 504825 h 1871663"/>
                <a:gd name="connsiteX135" fmla="*/ 3533775 w 3762723"/>
                <a:gd name="connsiteY135" fmla="*/ 495300 h 1871663"/>
                <a:gd name="connsiteX136" fmla="*/ 3548062 w 3762723"/>
                <a:gd name="connsiteY136" fmla="*/ 481013 h 1871663"/>
                <a:gd name="connsiteX137" fmla="*/ 3562350 w 3762723"/>
                <a:gd name="connsiteY137" fmla="*/ 476250 h 1871663"/>
                <a:gd name="connsiteX138" fmla="*/ 3600450 w 3762723"/>
                <a:gd name="connsiteY138" fmla="*/ 447675 h 1871663"/>
                <a:gd name="connsiteX139" fmla="*/ 3629025 w 3762723"/>
                <a:gd name="connsiteY139" fmla="*/ 400050 h 1871663"/>
                <a:gd name="connsiteX140" fmla="*/ 3638550 w 3762723"/>
                <a:gd name="connsiteY140" fmla="*/ 385763 h 1871663"/>
                <a:gd name="connsiteX141" fmla="*/ 3643312 w 3762723"/>
                <a:gd name="connsiteY141" fmla="*/ 366713 h 1871663"/>
                <a:gd name="connsiteX142" fmla="*/ 3648075 w 3762723"/>
                <a:gd name="connsiteY142" fmla="*/ 285750 h 1871663"/>
                <a:gd name="connsiteX143" fmla="*/ 3662362 w 3762723"/>
                <a:gd name="connsiteY143" fmla="*/ 257175 h 1871663"/>
                <a:gd name="connsiteX144" fmla="*/ 3671887 w 3762723"/>
                <a:gd name="connsiteY144" fmla="*/ 242888 h 1871663"/>
                <a:gd name="connsiteX145" fmla="*/ 3690937 w 3762723"/>
                <a:gd name="connsiteY145" fmla="*/ 209550 h 1871663"/>
                <a:gd name="connsiteX146" fmla="*/ 3700462 w 3762723"/>
                <a:gd name="connsiteY146" fmla="*/ 142875 h 1871663"/>
                <a:gd name="connsiteX147" fmla="*/ 3705225 w 3762723"/>
                <a:gd name="connsiteY147" fmla="*/ 100013 h 1871663"/>
                <a:gd name="connsiteX148" fmla="*/ 3719512 w 3762723"/>
                <a:gd name="connsiteY148" fmla="*/ 76200 h 1871663"/>
                <a:gd name="connsiteX149" fmla="*/ 3748087 w 3762723"/>
                <a:gd name="connsiteY149" fmla="*/ 42863 h 1871663"/>
                <a:gd name="connsiteX150" fmla="*/ 3762375 w 3762723"/>
                <a:gd name="connsiteY150" fmla="*/ 14288 h 1871663"/>
                <a:gd name="connsiteX151" fmla="*/ 3762375 w 3762723"/>
                <a:gd name="connsiteY151"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43250 w 3762723"/>
                <a:gd name="connsiteY119" fmla="*/ 966788 h 1871663"/>
                <a:gd name="connsiteX120" fmla="*/ 3148012 w 3762723"/>
                <a:gd name="connsiteY120" fmla="*/ 928688 h 1871663"/>
                <a:gd name="connsiteX121" fmla="*/ 3171825 w 3762723"/>
                <a:gd name="connsiteY121" fmla="*/ 904875 h 1871663"/>
                <a:gd name="connsiteX122" fmla="*/ 3195637 w 3762723"/>
                <a:gd name="connsiteY122" fmla="*/ 885825 h 1871663"/>
                <a:gd name="connsiteX123" fmla="*/ 3200399 w 3762723"/>
                <a:gd name="connsiteY123" fmla="*/ 866775 h 1871663"/>
                <a:gd name="connsiteX124" fmla="*/ 3238500 w 3762723"/>
                <a:gd name="connsiteY124" fmla="*/ 809626 h 1871663"/>
                <a:gd name="connsiteX125" fmla="*/ 3281362 w 3762723"/>
                <a:gd name="connsiteY125" fmla="*/ 723900 h 1871663"/>
                <a:gd name="connsiteX126" fmla="*/ 3348037 w 3762723"/>
                <a:gd name="connsiteY126" fmla="*/ 681038 h 1871663"/>
                <a:gd name="connsiteX127" fmla="*/ 3352800 w 3762723"/>
                <a:gd name="connsiteY127" fmla="*/ 666750 h 1871663"/>
                <a:gd name="connsiteX128" fmla="*/ 3362325 w 3762723"/>
                <a:gd name="connsiteY128" fmla="*/ 633413 h 1871663"/>
                <a:gd name="connsiteX129" fmla="*/ 3424237 w 3762723"/>
                <a:gd name="connsiteY129" fmla="*/ 614363 h 1871663"/>
                <a:gd name="connsiteX130" fmla="*/ 3448050 w 3762723"/>
                <a:gd name="connsiteY130" fmla="*/ 581025 h 1871663"/>
                <a:gd name="connsiteX131" fmla="*/ 3419475 w 3762723"/>
                <a:gd name="connsiteY131" fmla="*/ 557213 h 1871663"/>
                <a:gd name="connsiteX132" fmla="*/ 3481387 w 3762723"/>
                <a:gd name="connsiteY132" fmla="*/ 528638 h 1871663"/>
                <a:gd name="connsiteX133" fmla="*/ 3519487 w 3762723"/>
                <a:gd name="connsiteY133" fmla="*/ 504825 h 1871663"/>
                <a:gd name="connsiteX134" fmla="*/ 3533775 w 3762723"/>
                <a:gd name="connsiteY134" fmla="*/ 495300 h 1871663"/>
                <a:gd name="connsiteX135" fmla="*/ 3548062 w 3762723"/>
                <a:gd name="connsiteY135" fmla="*/ 481013 h 1871663"/>
                <a:gd name="connsiteX136" fmla="*/ 3562350 w 3762723"/>
                <a:gd name="connsiteY136" fmla="*/ 476250 h 1871663"/>
                <a:gd name="connsiteX137" fmla="*/ 3600450 w 3762723"/>
                <a:gd name="connsiteY137" fmla="*/ 447675 h 1871663"/>
                <a:gd name="connsiteX138" fmla="*/ 3629025 w 3762723"/>
                <a:gd name="connsiteY138" fmla="*/ 400050 h 1871663"/>
                <a:gd name="connsiteX139" fmla="*/ 3638550 w 3762723"/>
                <a:gd name="connsiteY139" fmla="*/ 385763 h 1871663"/>
                <a:gd name="connsiteX140" fmla="*/ 3643312 w 3762723"/>
                <a:gd name="connsiteY140" fmla="*/ 366713 h 1871663"/>
                <a:gd name="connsiteX141" fmla="*/ 3648075 w 3762723"/>
                <a:gd name="connsiteY141" fmla="*/ 285750 h 1871663"/>
                <a:gd name="connsiteX142" fmla="*/ 3662362 w 3762723"/>
                <a:gd name="connsiteY142" fmla="*/ 257175 h 1871663"/>
                <a:gd name="connsiteX143" fmla="*/ 3671887 w 3762723"/>
                <a:gd name="connsiteY143" fmla="*/ 242888 h 1871663"/>
                <a:gd name="connsiteX144" fmla="*/ 3690937 w 3762723"/>
                <a:gd name="connsiteY144" fmla="*/ 209550 h 1871663"/>
                <a:gd name="connsiteX145" fmla="*/ 3700462 w 3762723"/>
                <a:gd name="connsiteY145" fmla="*/ 142875 h 1871663"/>
                <a:gd name="connsiteX146" fmla="*/ 3705225 w 3762723"/>
                <a:gd name="connsiteY146" fmla="*/ 100013 h 1871663"/>
                <a:gd name="connsiteX147" fmla="*/ 3719512 w 3762723"/>
                <a:gd name="connsiteY147" fmla="*/ 76200 h 1871663"/>
                <a:gd name="connsiteX148" fmla="*/ 3748087 w 3762723"/>
                <a:gd name="connsiteY148" fmla="*/ 42863 h 1871663"/>
                <a:gd name="connsiteX149" fmla="*/ 3762375 w 3762723"/>
                <a:gd name="connsiteY149" fmla="*/ 14288 h 1871663"/>
                <a:gd name="connsiteX150" fmla="*/ 3762375 w 3762723"/>
                <a:gd name="connsiteY150"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43250 w 3762723"/>
                <a:gd name="connsiteY119" fmla="*/ 966788 h 1871663"/>
                <a:gd name="connsiteX120" fmla="*/ 3148012 w 3762723"/>
                <a:gd name="connsiteY120" fmla="*/ 928688 h 1871663"/>
                <a:gd name="connsiteX121" fmla="*/ 3171825 w 3762723"/>
                <a:gd name="connsiteY121" fmla="*/ 904875 h 1871663"/>
                <a:gd name="connsiteX122" fmla="*/ 3195637 w 3762723"/>
                <a:gd name="connsiteY122" fmla="*/ 885825 h 1871663"/>
                <a:gd name="connsiteX123" fmla="*/ 3238500 w 3762723"/>
                <a:gd name="connsiteY123" fmla="*/ 809626 h 1871663"/>
                <a:gd name="connsiteX124" fmla="*/ 3281362 w 3762723"/>
                <a:gd name="connsiteY124" fmla="*/ 723900 h 1871663"/>
                <a:gd name="connsiteX125" fmla="*/ 3348037 w 3762723"/>
                <a:gd name="connsiteY125" fmla="*/ 681038 h 1871663"/>
                <a:gd name="connsiteX126" fmla="*/ 3352800 w 3762723"/>
                <a:gd name="connsiteY126" fmla="*/ 666750 h 1871663"/>
                <a:gd name="connsiteX127" fmla="*/ 3362325 w 3762723"/>
                <a:gd name="connsiteY127" fmla="*/ 633413 h 1871663"/>
                <a:gd name="connsiteX128" fmla="*/ 3424237 w 3762723"/>
                <a:gd name="connsiteY128" fmla="*/ 614363 h 1871663"/>
                <a:gd name="connsiteX129" fmla="*/ 3448050 w 3762723"/>
                <a:gd name="connsiteY129" fmla="*/ 581025 h 1871663"/>
                <a:gd name="connsiteX130" fmla="*/ 3419475 w 3762723"/>
                <a:gd name="connsiteY130" fmla="*/ 557213 h 1871663"/>
                <a:gd name="connsiteX131" fmla="*/ 3481387 w 3762723"/>
                <a:gd name="connsiteY131" fmla="*/ 528638 h 1871663"/>
                <a:gd name="connsiteX132" fmla="*/ 3519487 w 3762723"/>
                <a:gd name="connsiteY132" fmla="*/ 504825 h 1871663"/>
                <a:gd name="connsiteX133" fmla="*/ 3533775 w 3762723"/>
                <a:gd name="connsiteY133" fmla="*/ 495300 h 1871663"/>
                <a:gd name="connsiteX134" fmla="*/ 3548062 w 3762723"/>
                <a:gd name="connsiteY134" fmla="*/ 481013 h 1871663"/>
                <a:gd name="connsiteX135" fmla="*/ 3562350 w 3762723"/>
                <a:gd name="connsiteY135" fmla="*/ 476250 h 1871663"/>
                <a:gd name="connsiteX136" fmla="*/ 3600450 w 3762723"/>
                <a:gd name="connsiteY136" fmla="*/ 447675 h 1871663"/>
                <a:gd name="connsiteX137" fmla="*/ 3629025 w 3762723"/>
                <a:gd name="connsiteY137" fmla="*/ 400050 h 1871663"/>
                <a:gd name="connsiteX138" fmla="*/ 3638550 w 3762723"/>
                <a:gd name="connsiteY138" fmla="*/ 385763 h 1871663"/>
                <a:gd name="connsiteX139" fmla="*/ 3643312 w 3762723"/>
                <a:gd name="connsiteY139" fmla="*/ 366713 h 1871663"/>
                <a:gd name="connsiteX140" fmla="*/ 3648075 w 3762723"/>
                <a:gd name="connsiteY140" fmla="*/ 285750 h 1871663"/>
                <a:gd name="connsiteX141" fmla="*/ 3662362 w 3762723"/>
                <a:gd name="connsiteY141" fmla="*/ 257175 h 1871663"/>
                <a:gd name="connsiteX142" fmla="*/ 3671887 w 3762723"/>
                <a:gd name="connsiteY142" fmla="*/ 242888 h 1871663"/>
                <a:gd name="connsiteX143" fmla="*/ 3690937 w 3762723"/>
                <a:gd name="connsiteY143" fmla="*/ 209550 h 1871663"/>
                <a:gd name="connsiteX144" fmla="*/ 3700462 w 3762723"/>
                <a:gd name="connsiteY144" fmla="*/ 142875 h 1871663"/>
                <a:gd name="connsiteX145" fmla="*/ 3705225 w 3762723"/>
                <a:gd name="connsiteY145" fmla="*/ 100013 h 1871663"/>
                <a:gd name="connsiteX146" fmla="*/ 3719512 w 3762723"/>
                <a:gd name="connsiteY146" fmla="*/ 76200 h 1871663"/>
                <a:gd name="connsiteX147" fmla="*/ 3748087 w 3762723"/>
                <a:gd name="connsiteY147" fmla="*/ 42863 h 1871663"/>
                <a:gd name="connsiteX148" fmla="*/ 3762375 w 3762723"/>
                <a:gd name="connsiteY148" fmla="*/ 14288 h 1871663"/>
                <a:gd name="connsiteX149" fmla="*/ 3762375 w 3762723"/>
                <a:gd name="connsiteY14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43250 w 3762723"/>
                <a:gd name="connsiteY119" fmla="*/ 966788 h 1871663"/>
                <a:gd name="connsiteX120" fmla="*/ 3171825 w 3762723"/>
                <a:gd name="connsiteY120" fmla="*/ 904875 h 1871663"/>
                <a:gd name="connsiteX121" fmla="*/ 3195637 w 3762723"/>
                <a:gd name="connsiteY121" fmla="*/ 885825 h 1871663"/>
                <a:gd name="connsiteX122" fmla="*/ 3238500 w 3762723"/>
                <a:gd name="connsiteY122" fmla="*/ 809626 h 1871663"/>
                <a:gd name="connsiteX123" fmla="*/ 3281362 w 3762723"/>
                <a:gd name="connsiteY123" fmla="*/ 723900 h 1871663"/>
                <a:gd name="connsiteX124" fmla="*/ 3348037 w 3762723"/>
                <a:gd name="connsiteY124" fmla="*/ 681038 h 1871663"/>
                <a:gd name="connsiteX125" fmla="*/ 3352800 w 3762723"/>
                <a:gd name="connsiteY125" fmla="*/ 666750 h 1871663"/>
                <a:gd name="connsiteX126" fmla="*/ 3362325 w 3762723"/>
                <a:gd name="connsiteY126" fmla="*/ 633413 h 1871663"/>
                <a:gd name="connsiteX127" fmla="*/ 3424237 w 3762723"/>
                <a:gd name="connsiteY127" fmla="*/ 614363 h 1871663"/>
                <a:gd name="connsiteX128" fmla="*/ 3448050 w 3762723"/>
                <a:gd name="connsiteY128" fmla="*/ 581025 h 1871663"/>
                <a:gd name="connsiteX129" fmla="*/ 3419475 w 3762723"/>
                <a:gd name="connsiteY129" fmla="*/ 557213 h 1871663"/>
                <a:gd name="connsiteX130" fmla="*/ 3481387 w 3762723"/>
                <a:gd name="connsiteY130" fmla="*/ 528638 h 1871663"/>
                <a:gd name="connsiteX131" fmla="*/ 3519487 w 3762723"/>
                <a:gd name="connsiteY131" fmla="*/ 504825 h 1871663"/>
                <a:gd name="connsiteX132" fmla="*/ 3533775 w 3762723"/>
                <a:gd name="connsiteY132" fmla="*/ 495300 h 1871663"/>
                <a:gd name="connsiteX133" fmla="*/ 3548062 w 3762723"/>
                <a:gd name="connsiteY133" fmla="*/ 481013 h 1871663"/>
                <a:gd name="connsiteX134" fmla="*/ 3562350 w 3762723"/>
                <a:gd name="connsiteY134" fmla="*/ 476250 h 1871663"/>
                <a:gd name="connsiteX135" fmla="*/ 3600450 w 3762723"/>
                <a:gd name="connsiteY135" fmla="*/ 447675 h 1871663"/>
                <a:gd name="connsiteX136" fmla="*/ 3629025 w 3762723"/>
                <a:gd name="connsiteY136" fmla="*/ 400050 h 1871663"/>
                <a:gd name="connsiteX137" fmla="*/ 3638550 w 3762723"/>
                <a:gd name="connsiteY137" fmla="*/ 385763 h 1871663"/>
                <a:gd name="connsiteX138" fmla="*/ 3643312 w 3762723"/>
                <a:gd name="connsiteY138" fmla="*/ 366713 h 1871663"/>
                <a:gd name="connsiteX139" fmla="*/ 3648075 w 3762723"/>
                <a:gd name="connsiteY139" fmla="*/ 285750 h 1871663"/>
                <a:gd name="connsiteX140" fmla="*/ 3662362 w 3762723"/>
                <a:gd name="connsiteY140" fmla="*/ 257175 h 1871663"/>
                <a:gd name="connsiteX141" fmla="*/ 3671887 w 3762723"/>
                <a:gd name="connsiteY141" fmla="*/ 242888 h 1871663"/>
                <a:gd name="connsiteX142" fmla="*/ 3690937 w 3762723"/>
                <a:gd name="connsiteY142" fmla="*/ 209550 h 1871663"/>
                <a:gd name="connsiteX143" fmla="*/ 3700462 w 3762723"/>
                <a:gd name="connsiteY143" fmla="*/ 142875 h 1871663"/>
                <a:gd name="connsiteX144" fmla="*/ 3705225 w 3762723"/>
                <a:gd name="connsiteY144" fmla="*/ 100013 h 1871663"/>
                <a:gd name="connsiteX145" fmla="*/ 3719512 w 3762723"/>
                <a:gd name="connsiteY145" fmla="*/ 76200 h 1871663"/>
                <a:gd name="connsiteX146" fmla="*/ 3748087 w 3762723"/>
                <a:gd name="connsiteY146" fmla="*/ 42863 h 1871663"/>
                <a:gd name="connsiteX147" fmla="*/ 3762375 w 3762723"/>
                <a:gd name="connsiteY147" fmla="*/ 14288 h 1871663"/>
                <a:gd name="connsiteX148" fmla="*/ 3762375 w 3762723"/>
                <a:gd name="connsiteY148"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71825 w 3762723"/>
                <a:gd name="connsiteY119" fmla="*/ 904875 h 1871663"/>
                <a:gd name="connsiteX120" fmla="*/ 3195637 w 3762723"/>
                <a:gd name="connsiteY120" fmla="*/ 885825 h 1871663"/>
                <a:gd name="connsiteX121" fmla="*/ 3238500 w 3762723"/>
                <a:gd name="connsiteY121" fmla="*/ 809626 h 1871663"/>
                <a:gd name="connsiteX122" fmla="*/ 3281362 w 3762723"/>
                <a:gd name="connsiteY122" fmla="*/ 723900 h 1871663"/>
                <a:gd name="connsiteX123" fmla="*/ 3348037 w 3762723"/>
                <a:gd name="connsiteY123" fmla="*/ 681038 h 1871663"/>
                <a:gd name="connsiteX124" fmla="*/ 3352800 w 3762723"/>
                <a:gd name="connsiteY124" fmla="*/ 666750 h 1871663"/>
                <a:gd name="connsiteX125" fmla="*/ 3362325 w 3762723"/>
                <a:gd name="connsiteY125" fmla="*/ 633413 h 1871663"/>
                <a:gd name="connsiteX126" fmla="*/ 3424237 w 3762723"/>
                <a:gd name="connsiteY126" fmla="*/ 614363 h 1871663"/>
                <a:gd name="connsiteX127" fmla="*/ 3448050 w 3762723"/>
                <a:gd name="connsiteY127" fmla="*/ 581025 h 1871663"/>
                <a:gd name="connsiteX128" fmla="*/ 3419475 w 3762723"/>
                <a:gd name="connsiteY128" fmla="*/ 557213 h 1871663"/>
                <a:gd name="connsiteX129" fmla="*/ 3481387 w 3762723"/>
                <a:gd name="connsiteY129" fmla="*/ 528638 h 1871663"/>
                <a:gd name="connsiteX130" fmla="*/ 3519487 w 3762723"/>
                <a:gd name="connsiteY130" fmla="*/ 504825 h 1871663"/>
                <a:gd name="connsiteX131" fmla="*/ 3533775 w 3762723"/>
                <a:gd name="connsiteY131" fmla="*/ 495300 h 1871663"/>
                <a:gd name="connsiteX132" fmla="*/ 3548062 w 3762723"/>
                <a:gd name="connsiteY132" fmla="*/ 481013 h 1871663"/>
                <a:gd name="connsiteX133" fmla="*/ 3562350 w 3762723"/>
                <a:gd name="connsiteY133" fmla="*/ 476250 h 1871663"/>
                <a:gd name="connsiteX134" fmla="*/ 3600450 w 3762723"/>
                <a:gd name="connsiteY134" fmla="*/ 447675 h 1871663"/>
                <a:gd name="connsiteX135" fmla="*/ 3629025 w 3762723"/>
                <a:gd name="connsiteY135" fmla="*/ 400050 h 1871663"/>
                <a:gd name="connsiteX136" fmla="*/ 3638550 w 3762723"/>
                <a:gd name="connsiteY136" fmla="*/ 385763 h 1871663"/>
                <a:gd name="connsiteX137" fmla="*/ 3643312 w 3762723"/>
                <a:gd name="connsiteY137" fmla="*/ 366713 h 1871663"/>
                <a:gd name="connsiteX138" fmla="*/ 3648075 w 3762723"/>
                <a:gd name="connsiteY138" fmla="*/ 285750 h 1871663"/>
                <a:gd name="connsiteX139" fmla="*/ 3662362 w 3762723"/>
                <a:gd name="connsiteY139" fmla="*/ 257175 h 1871663"/>
                <a:gd name="connsiteX140" fmla="*/ 3671887 w 3762723"/>
                <a:gd name="connsiteY140" fmla="*/ 242888 h 1871663"/>
                <a:gd name="connsiteX141" fmla="*/ 3690937 w 3762723"/>
                <a:gd name="connsiteY141" fmla="*/ 209550 h 1871663"/>
                <a:gd name="connsiteX142" fmla="*/ 3700462 w 3762723"/>
                <a:gd name="connsiteY142" fmla="*/ 142875 h 1871663"/>
                <a:gd name="connsiteX143" fmla="*/ 3705225 w 3762723"/>
                <a:gd name="connsiteY143" fmla="*/ 100013 h 1871663"/>
                <a:gd name="connsiteX144" fmla="*/ 3719512 w 3762723"/>
                <a:gd name="connsiteY144" fmla="*/ 76200 h 1871663"/>
                <a:gd name="connsiteX145" fmla="*/ 3748087 w 3762723"/>
                <a:gd name="connsiteY145" fmla="*/ 42863 h 1871663"/>
                <a:gd name="connsiteX146" fmla="*/ 3762375 w 3762723"/>
                <a:gd name="connsiteY146" fmla="*/ 14288 h 1871663"/>
                <a:gd name="connsiteX147" fmla="*/ 3762375 w 3762723"/>
                <a:gd name="connsiteY147"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71825 w 3762723"/>
                <a:gd name="connsiteY118" fmla="*/ 904875 h 1871663"/>
                <a:gd name="connsiteX119" fmla="*/ 3195637 w 3762723"/>
                <a:gd name="connsiteY119" fmla="*/ 885825 h 1871663"/>
                <a:gd name="connsiteX120" fmla="*/ 3238500 w 3762723"/>
                <a:gd name="connsiteY120" fmla="*/ 809626 h 1871663"/>
                <a:gd name="connsiteX121" fmla="*/ 3281362 w 3762723"/>
                <a:gd name="connsiteY121" fmla="*/ 723900 h 1871663"/>
                <a:gd name="connsiteX122" fmla="*/ 3348037 w 3762723"/>
                <a:gd name="connsiteY122" fmla="*/ 681038 h 1871663"/>
                <a:gd name="connsiteX123" fmla="*/ 3352800 w 3762723"/>
                <a:gd name="connsiteY123" fmla="*/ 666750 h 1871663"/>
                <a:gd name="connsiteX124" fmla="*/ 3362325 w 3762723"/>
                <a:gd name="connsiteY124" fmla="*/ 633413 h 1871663"/>
                <a:gd name="connsiteX125" fmla="*/ 3424237 w 3762723"/>
                <a:gd name="connsiteY125" fmla="*/ 614363 h 1871663"/>
                <a:gd name="connsiteX126" fmla="*/ 3448050 w 3762723"/>
                <a:gd name="connsiteY126" fmla="*/ 581025 h 1871663"/>
                <a:gd name="connsiteX127" fmla="*/ 3419475 w 3762723"/>
                <a:gd name="connsiteY127" fmla="*/ 557213 h 1871663"/>
                <a:gd name="connsiteX128" fmla="*/ 3481387 w 3762723"/>
                <a:gd name="connsiteY128" fmla="*/ 528638 h 1871663"/>
                <a:gd name="connsiteX129" fmla="*/ 3519487 w 3762723"/>
                <a:gd name="connsiteY129" fmla="*/ 504825 h 1871663"/>
                <a:gd name="connsiteX130" fmla="*/ 3533775 w 3762723"/>
                <a:gd name="connsiteY130" fmla="*/ 495300 h 1871663"/>
                <a:gd name="connsiteX131" fmla="*/ 3548062 w 3762723"/>
                <a:gd name="connsiteY131" fmla="*/ 481013 h 1871663"/>
                <a:gd name="connsiteX132" fmla="*/ 3562350 w 3762723"/>
                <a:gd name="connsiteY132" fmla="*/ 476250 h 1871663"/>
                <a:gd name="connsiteX133" fmla="*/ 3600450 w 3762723"/>
                <a:gd name="connsiteY133" fmla="*/ 447675 h 1871663"/>
                <a:gd name="connsiteX134" fmla="*/ 3629025 w 3762723"/>
                <a:gd name="connsiteY134" fmla="*/ 400050 h 1871663"/>
                <a:gd name="connsiteX135" fmla="*/ 3638550 w 3762723"/>
                <a:gd name="connsiteY135" fmla="*/ 385763 h 1871663"/>
                <a:gd name="connsiteX136" fmla="*/ 3643312 w 3762723"/>
                <a:gd name="connsiteY136" fmla="*/ 366713 h 1871663"/>
                <a:gd name="connsiteX137" fmla="*/ 3648075 w 3762723"/>
                <a:gd name="connsiteY137" fmla="*/ 285750 h 1871663"/>
                <a:gd name="connsiteX138" fmla="*/ 3662362 w 3762723"/>
                <a:gd name="connsiteY138" fmla="*/ 257175 h 1871663"/>
                <a:gd name="connsiteX139" fmla="*/ 3671887 w 3762723"/>
                <a:gd name="connsiteY139" fmla="*/ 242888 h 1871663"/>
                <a:gd name="connsiteX140" fmla="*/ 3690937 w 3762723"/>
                <a:gd name="connsiteY140" fmla="*/ 209550 h 1871663"/>
                <a:gd name="connsiteX141" fmla="*/ 3700462 w 3762723"/>
                <a:gd name="connsiteY141" fmla="*/ 142875 h 1871663"/>
                <a:gd name="connsiteX142" fmla="*/ 3705225 w 3762723"/>
                <a:gd name="connsiteY142" fmla="*/ 100013 h 1871663"/>
                <a:gd name="connsiteX143" fmla="*/ 3719512 w 3762723"/>
                <a:gd name="connsiteY143" fmla="*/ 76200 h 1871663"/>
                <a:gd name="connsiteX144" fmla="*/ 3748087 w 3762723"/>
                <a:gd name="connsiteY144" fmla="*/ 42863 h 1871663"/>
                <a:gd name="connsiteX145" fmla="*/ 3762375 w 3762723"/>
                <a:gd name="connsiteY145" fmla="*/ 14288 h 1871663"/>
                <a:gd name="connsiteX146" fmla="*/ 3762375 w 3762723"/>
                <a:gd name="connsiteY14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71825 w 3762723"/>
                <a:gd name="connsiteY118" fmla="*/ 904875 h 1871663"/>
                <a:gd name="connsiteX119" fmla="*/ 3238500 w 3762723"/>
                <a:gd name="connsiteY119" fmla="*/ 809626 h 1871663"/>
                <a:gd name="connsiteX120" fmla="*/ 3281362 w 3762723"/>
                <a:gd name="connsiteY120" fmla="*/ 723900 h 1871663"/>
                <a:gd name="connsiteX121" fmla="*/ 3348037 w 3762723"/>
                <a:gd name="connsiteY121" fmla="*/ 681038 h 1871663"/>
                <a:gd name="connsiteX122" fmla="*/ 3352800 w 3762723"/>
                <a:gd name="connsiteY122" fmla="*/ 666750 h 1871663"/>
                <a:gd name="connsiteX123" fmla="*/ 3362325 w 3762723"/>
                <a:gd name="connsiteY123" fmla="*/ 633413 h 1871663"/>
                <a:gd name="connsiteX124" fmla="*/ 3424237 w 3762723"/>
                <a:gd name="connsiteY124" fmla="*/ 614363 h 1871663"/>
                <a:gd name="connsiteX125" fmla="*/ 3448050 w 3762723"/>
                <a:gd name="connsiteY125" fmla="*/ 581025 h 1871663"/>
                <a:gd name="connsiteX126" fmla="*/ 3419475 w 3762723"/>
                <a:gd name="connsiteY126" fmla="*/ 557213 h 1871663"/>
                <a:gd name="connsiteX127" fmla="*/ 3481387 w 3762723"/>
                <a:gd name="connsiteY127" fmla="*/ 528638 h 1871663"/>
                <a:gd name="connsiteX128" fmla="*/ 3519487 w 3762723"/>
                <a:gd name="connsiteY128" fmla="*/ 504825 h 1871663"/>
                <a:gd name="connsiteX129" fmla="*/ 3533775 w 3762723"/>
                <a:gd name="connsiteY129" fmla="*/ 495300 h 1871663"/>
                <a:gd name="connsiteX130" fmla="*/ 3548062 w 3762723"/>
                <a:gd name="connsiteY130" fmla="*/ 481013 h 1871663"/>
                <a:gd name="connsiteX131" fmla="*/ 3562350 w 3762723"/>
                <a:gd name="connsiteY131" fmla="*/ 476250 h 1871663"/>
                <a:gd name="connsiteX132" fmla="*/ 3600450 w 3762723"/>
                <a:gd name="connsiteY132" fmla="*/ 447675 h 1871663"/>
                <a:gd name="connsiteX133" fmla="*/ 3629025 w 3762723"/>
                <a:gd name="connsiteY133" fmla="*/ 400050 h 1871663"/>
                <a:gd name="connsiteX134" fmla="*/ 3638550 w 3762723"/>
                <a:gd name="connsiteY134" fmla="*/ 385763 h 1871663"/>
                <a:gd name="connsiteX135" fmla="*/ 3643312 w 3762723"/>
                <a:gd name="connsiteY135" fmla="*/ 366713 h 1871663"/>
                <a:gd name="connsiteX136" fmla="*/ 3648075 w 3762723"/>
                <a:gd name="connsiteY136" fmla="*/ 285750 h 1871663"/>
                <a:gd name="connsiteX137" fmla="*/ 3662362 w 3762723"/>
                <a:gd name="connsiteY137" fmla="*/ 257175 h 1871663"/>
                <a:gd name="connsiteX138" fmla="*/ 3671887 w 3762723"/>
                <a:gd name="connsiteY138" fmla="*/ 242888 h 1871663"/>
                <a:gd name="connsiteX139" fmla="*/ 3690937 w 3762723"/>
                <a:gd name="connsiteY139" fmla="*/ 209550 h 1871663"/>
                <a:gd name="connsiteX140" fmla="*/ 3700462 w 3762723"/>
                <a:gd name="connsiteY140" fmla="*/ 142875 h 1871663"/>
                <a:gd name="connsiteX141" fmla="*/ 3705225 w 3762723"/>
                <a:gd name="connsiteY141" fmla="*/ 100013 h 1871663"/>
                <a:gd name="connsiteX142" fmla="*/ 3719512 w 3762723"/>
                <a:gd name="connsiteY142" fmla="*/ 76200 h 1871663"/>
                <a:gd name="connsiteX143" fmla="*/ 3748087 w 3762723"/>
                <a:gd name="connsiteY143" fmla="*/ 42863 h 1871663"/>
                <a:gd name="connsiteX144" fmla="*/ 3762375 w 3762723"/>
                <a:gd name="connsiteY144" fmla="*/ 14288 h 1871663"/>
                <a:gd name="connsiteX145" fmla="*/ 3762375 w 3762723"/>
                <a:gd name="connsiteY145"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71825 w 3762723"/>
                <a:gd name="connsiteY117" fmla="*/ 904875 h 1871663"/>
                <a:gd name="connsiteX118" fmla="*/ 3238500 w 3762723"/>
                <a:gd name="connsiteY118" fmla="*/ 809626 h 1871663"/>
                <a:gd name="connsiteX119" fmla="*/ 3281362 w 3762723"/>
                <a:gd name="connsiteY119" fmla="*/ 723900 h 1871663"/>
                <a:gd name="connsiteX120" fmla="*/ 3348037 w 3762723"/>
                <a:gd name="connsiteY120" fmla="*/ 681038 h 1871663"/>
                <a:gd name="connsiteX121" fmla="*/ 3352800 w 3762723"/>
                <a:gd name="connsiteY121" fmla="*/ 666750 h 1871663"/>
                <a:gd name="connsiteX122" fmla="*/ 3362325 w 3762723"/>
                <a:gd name="connsiteY122" fmla="*/ 633413 h 1871663"/>
                <a:gd name="connsiteX123" fmla="*/ 3424237 w 3762723"/>
                <a:gd name="connsiteY123" fmla="*/ 614363 h 1871663"/>
                <a:gd name="connsiteX124" fmla="*/ 3448050 w 3762723"/>
                <a:gd name="connsiteY124" fmla="*/ 581025 h 1871663"/>
                <a:gd name="connsiteX125" fmla="*/ 3419475 w 3762723"/>
                <a:gd name="connsiteY125" fmla="*/ 557213 h 1871663"/>
                <a:gd name="connsiteX126" fmla="*/ 3481387 w 3762723"/>
                <a:gd name="connsiteY126" fmla="*/ 528638 h 1871663"/>
                <a:gd name="connsiteX127" fmla="*/ 3519487 w 3762723"/>
                <a:gd name="connsiteY127" fmla="*/ 504825 h 1871663"/>
                <a:gd name="connsiteX128" fmla="*/ 3533775 w 3762723"/>
                <a:gd name="connsiteY128" fmla="*/ 495300 h 1871663"/>
                <a:gd name="connsiteX129" fmla="*/ 3548062 w 3762723"/>
                <a:gd name="connsiteY129" fmla="*/ 481013 h 1871663"/>
                <a:gd name="connsiteX130" fmla="*/ 3562350 w 3762723"/>
                <a:gd name="connsiteY130" fmla="*/ 476250 h 1871663"/>
                <a:gd name="connsiteX131" fmla="*/ 3600450 w 3762723"/>
                <a:gd name="connsiteY131" fmla="*/ 447675 h 1871663"/>
                <a:gd name="connsiteX132" fmla="*/ 3629025 w 3762723"/>
                <a:gd name="connsiteY132" fmla="*/ 400050 h 1871663"/>
                <a:gd name="connsiteX133" fmla="*/ 3638550 w 3762723"/>
                <a:gd name="connsiteY133" fmla="*/ 385763 h 1871663"/>
                <a:gd name="connsiteX134" fmla="*/ 3643312 w 3762723"/>
                <a:gd name="connsiteY134" fmla="*/ 366713 h 1871663"/>
                <a:gd name="connsiteX135" fmla="*/ 3648075 w 3762723"/>
                <a:gd name="connsiteY135" fmla="*/ 285750 h 1871663"/>
                <a:gd name="connsiteX136" fmla="*/ 3662362 w 3762723"/>
                <a:gd name="connsiteY136" fmla="*/ 257175 h 1871663"/>
                <a:gd name="connsiteX137" fmla="*/ 3671887 w 3762723"/>
                <a:gd name="connsiteY137" fmla="*/ 242888 h 1871663"/>
                <a:gd name="connsiteX138" fmla="*/ 3690937 w 3762723"/>
                <a:gd name="connsiteY138" fmla="*/ 209550 h 1871663"/>
                <a:gd name="connsiteX139" fmla="*/ 3700462 w 3762723"/>
                <a:gd name="connsiteY139" fmla="*/ 142875 h 1871663"/>
                <a:gd name="connsiteX140" fmla="*/ 3705225 w 3762723"/>
                <a:gd name="connsiteY140" fmla="*/ 100013 h 1871663"/>
                <a:gd name="connsiteX141" fmla="*/ 3719512 w 3762723"/>
                <a:gd name="connsiteY141" fmla="*/ 76200 h 1871663"/>
                <a:gd name="connsiteX142" fmla="*/ 3748087 w 3762723"/>
                <a:gd name="connsiteY142" fmla="*/ 42863 h 1871663"/>
                <a:gd name="connsiteX143" fmla="*/ 3762375 w 3762723"/>
                <a:gd name="connsiteY143" fmla="*/ 14288 h 1871663"/>
                <a:gd name="connsiteX144" fmla="*/ 3762375 w 3762723"/>
                <a:gd name="connsiteY144"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171825 w 3762723"/>
                <a:gd name="connsiteY116" fmla="*/ 904875 h 1871663"/>
                <a:gd name="connsiteX117" fmla="*/ 3238500 w 3762723"/>
                <a:gd name="connsiteY117" fmla="*/ 809626 h 1871663"/>
                <a:gd name="connsiteX118" fmla="*/ 3281362 w 3762723"/>
                <a:gd name="connsiteY118" fmla="*/ 723900 h 1871663"/>
                <a:gd name="connsiteX119" fmla="*/ 3348037 w 3762723"/>
                <a:gd name="connsiteY119" fmla="*/ 681038 h 1871663"/>
                <a:gd name="connsiteX120" fmla="*/ 3352800 w 3762723"/>
                <a:gd name="connsiteY120" fmla="*/ 666750 h 1871663"/>
                <a:gd name="connsiteX121" fmla="*/ 3362325 w 3762723"/>
                <a:gd name="connsiteY121" fmla="*/ 633413 h 1871663"/>
                <a:gd name="connsiteX122" fmla="*/ 3424237 w 3762723"/>
                <a:gd name="connsiteY122" fmla="*/ 614363 h 1871663"/>
                <a:gd name="connsiteX123" fmla="*/ 3448050 w 3762723"/>
                <a:gd name="connsiteY123" fmla="*/ 581025 h 1871663"/>
                <a:gd name="connsiteX124" fmla="*/ 3419475 w 3762723"/>
                <a:gd name="connsiteY124" fmla="*/ 557213 h 1871663"/>
                <a:gd name="connsiteX125" fmla="*/ 3481387 w 3762723"/>
                <a:gd name="connsiteY125" fmla="*/ 528638 h 1871663"/>
                <a:gd name="connsiteX126" fmla="*/ 3519487 w 3762723"/>
                <a:gd name="connsiteY126" fmla="*/ 504825 h 1871663"/>
                <a:gd name="connsiteX127" fmla="*/ 3533775 w 3762723"/>
                <a:gd name="connsiteY127" fmla="*/ 495300 h 1871663"/>
                <a:gd name="connsiteX128" fmla="*/ 3548062 w 3762723"/>
                <a:gd name="connsiteY128" fmla="*/ 481013 h 1871663"/>
                <a:gd name="connsiteX129" fmla="*/ 3562350 w 3762723"/>
                <a:gd name="connsiteY129" fmla="*/ 476250 h 1871663"/>
                <a:gd name="connsiteX130" fmla="*/ 3600450 w 3762723"/>
                <a:gd name="connsiteY130" fmla="*/ 447675 h 1871663"/>
                <a:gd name="connsiteX131" fmla="*/ 3629025 w 3762723"/>
                <a:gd name="connsiteY131" fmla="*/ 400050 h 1871663"/>
                <a:gd name="connsiteX132" fmla="*/ 3638550 w 3762723"/>
                <a:gd name="connsiteY132" fmla="*/ 385763 h 1871663"/>
                <a:gd name="connsiteX133" fmla="*/ 3643312 w 3762723"/>
                <a:gd name="connsiteY133" fmla="*/ 366713 h 1871663"/>
                <a:gd name="connsiteX134" fmla="*/ 3648075 w 3762723"/>
                <a:gd name="connsiteY134" fmla="*/ 285750 h 1871663"/>
                <a:gd name="connsiteX135" fmla="*/ 3662362 w 3762723"/>
                <a:gd name="connsiteY135" fmla="*/ 257175 h 1871663"/>
                <a:gd name="connsiteX136" fmla="*/ 3671887 w 3762723"/>
                <a:gd name="connsiteY136" fmla="*/ 242888 h 1871663"/>
                <a:gd name="connsiteX137" fmla="*/ 3690937 w 3762723"/>
                <a:gd name="connsiteY137" fmla="*/ 209550 h 1871663"/>
                <a:gd name="connsiteX138" fmla="*/ 3700462 w 3762723"/>
                <a:gd name="connsiteY138" fmla="*/ 142875 h 1871663"/>
                <a:gd name="connsiteX139" fmla="*/ 3705225 w 3762723"/>
                <a:gd name="connsiteY139" fmla="*/ 100013 h 1871663"/>
                <a:gd name="connsiteX140" fmla="*/ 3719512 w 3762723"/>
                <a:gd name="connsiteY140" fmla="*/ 76200 h 1871663"/>
                <a:gd name="connsiteX141" fmla="*/ 3748087 w 3762723"/>
                <a:gd name="connsiteY141" fmla="*/ 42863 h 1871663"/>
                <a:gd name="connsiteX142" fmla="*/ 3762375 w 3762723"/>
                <a:gd name="connsiteY142" fmla="*/ 14288 h 1871663"/>
                <a:gd name="connsiteX143" fmla="*/ 3762375 w 3762723"/>
                <a:gd name="connsiteY143"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481387 w 3762723"/>
                <a:gd name="connsiteY124" fmla="*/ 528638 h 1871663"/>
                <a:gd name="connsiteX125" fmla="*/ 3519487 w 3762723"/>
                <a:gd name="connsiteY125" fmla="*/ 504825 h 1871663"/>
                <a:gd name="connsiteX126" fmla="*/ 3533775 w 3762723"/>
                <a:gd name="connsiteY126" fmla="*/ 495300 h 1871663"/>
                <a:gd name="connsiteX127" fmla="*/ 3548062 w 3762723"/>
                <a:gd name="connsiteY127" fmla="*/ 481013 h 1871663"/>
                <a:gd name="connsiteX128" fmla="*/ 3562350 w 3762723"/>
                <a:gd name="connsiteY128" fmla="*/ 476250 h 1871663"/>
                <a:gd name="connsiteX129" fmla="*/ 3600450 w 3762723"/>
                <a:gd name="connsiteY129" fmla="*/ 447675 h 1871663"/>
                <a:gd name="connsiteX130" fmla="*/ 3629025 w 3762723"/>
                <a:gd name="connsiteY130" fmla="*/ 400050 h 1871663"/>
                <a:gd name="connsiteX131" fmla="*/ 3638550 w 3762723"/>
                <a:gd name="connsiteY131" fmla="*/ 385763 h 1871663"/>
                <a:gd name="connsiteX132" fmla="*/ 3643312 w 3762723"/>
                <a:gd name="connsiteY132" fmla="*/ 366713 h 1871663"/>
                <a:gd name="connsiteX133" fmla="*/ 3648075 w 3762723"/>
                <a:gd name="connsiteY133" fmla="*/ 285750 h 1871663"/>
                <a:gd name="connsiteX134" fmla="*/ 3662362 w 3762723"/>
                <a:gd name="connsiteY134" fmla="*/ 257175 h 1871663"/>
                <a:gd name="connsiteX135" fmla="*/ 3671887 w 3762723"/>
                <a:gd name="connsiteY135" fmla="*/ 242888 h 1871663"/>
                <a:gd name="connsiteX136" fmla="*/ 3690937 w 3762723"/>
                <a:gd name="connsiteY136" fmla="*/ 209550 h 1871663"/>
                <a:gd name="connsiteX137" fmla="*/ 3700462 w 3762723"/>
                <a:gd name="connsiteY137" fmla="*/ 142875 h 1871663"/>
                <a:gd name="connsiteX138" fmla="*/ 3705225 w 3762723"/>
                <a:gd name="connsiteY138" fmla="*/ 100013 h 1871663"/>
                <a:gd name="connsiteX139" fmla="*/ 3719512 w 3762723"/>
                <a:gd name="connsiteY139" fmla="*/ 76200 h 1871663"/>
                <a:gd name="connsiteX140" fmla="*/ 3748087 w 3762723"/>
                <a:gd name="connsiteY140" fmla="*/ 42863 h 1871663"/>
                <a:gd name="connsiteX141" fmla="*/ 3762375 w 3762723"/>
                <a:gd name="connsiteY141" fmla="*/ 14288 h 1871663"/>
                <a:gd name="connsiteX142" fmla="*/ 3762375 w 3762723"/>
                <a:gd name="connsiteY14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481387 w 3762723"/>
                <a:gd name="connsiteY124" fmla="*/ 528638 h 1871663"/>
                <a:gd name="connsiteX125" fmla="*/ 3519487 w 3762723"/>
                <a:gd name="connsiteY125" fmla="*/ 504825 h 1871663"/>
                <a:gd name="connsiteX126" fmla="*/ 3533775 w 3762723"/>
                <a:gd name="connsiteY126" fmla="*/ 495300 h 1871663"/>
                <a:gd name="connsiteX127" fmla="*/ 3548062 w 3762723"/>
                <a:gd name="connsiteY127" fmla="*/ 481013 h 1871663"/>
                <a:gd name="connsiteX128" fmla="*/ 3600450 w 3762723"/>
                <a:gd name="connsiteY128" fmla="*/ 447675 h 1871663"/>
                <a:gd name="connsiteX129" fmla="*/ 3629025 w 3762723"/>
                <a:gd name="connsiteY129" fmla="*/ 400050 h 1871663"/>
                <a:gd name="connsiteX130" fmla="*/ 3638550 w 3762723"/>
                <a:gd name="connsiteY130" fmla="*/ 385763 h 1871663"/>
                <a:gd name="connsiteX131" fmla="*/ 3643312 w 3762723"/>
                <a:gd name="connsiteY131" fmla="*/ 366713 h 1871663"/>
                <a:gd name="connsiteX132" fmla="*/ 3648075 w 3762723"/>
                <a:gd name="connsiteY132" fmla="*/ 285750 h 1871663"/>
                <a:gd name="connsiteX133" fmla="*/ 3662362 w 3762723"/>
                <a:gd name="connsiteY133" fmla="*/ 257175 h 1871663"/>
                <a:gd name="connsiteX134" fmla="*/ 3671887 w 3762723"/>
                <a:gd name="connsiteY134" fmla="*/ 242888 h 1871663"/>
                <a:gd name="connsiteX135" fmla="*/ 3690937 w 3762723"/>
                <a:gd name="connsiteY135" fmla="*/ 209550 h 1871663"/>
                <a:gd name="connsiteX136" fmla="*/ 3700462 w 3762723"/>
                <a:gd name="connsiteY136" fmla="*/ 142875 h 1871663"/>
                <a:gd name="connsiteX137" fmla="*/ 3705225 w 3762723"/>
                <a:gd name="connsiteY137" fmla="*/ 100013 h 1871663"/>
                <a:gd name="connsiteX138" fmla="*/ 3719512 w 3762723"/>
                <a:gd name="connsiteY138" fmla="*/ 76200 h 1871663"/>
                <a:gd name="connsiteX139" fmla="*/ 3748087 w 3762723"/>
                <a:gd name="connsiteY139" fmla="*/ 42863 h 1871663"/>
                <a:gd name="connsiteX140" fmla="*/ 3762375 w 3762723"/>
                <a:gd name="connsiteY140" fmla="*/ 14288 h 1871663"/>
                <a:gd name="connsiteX141" fmla="*/ 3762375 w 3762723"/>
                <a:gd name="connsiteY141"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481387 w 3762723"/>
                <a:gd name="connsiteY124" fmla="*/ 528638 h 1871663"/>
                <a:gd name="connsiteX125" fmla="*/ 3519487 w 3762723"/>
                <a:gd name="connsiteY125" fmla="*/ 504825 h 1871663"/>
                <a:gd name="connsiteX126" fmla="*/ 3533775 w 3762723"/>
                <a:gd name="connsiteY126" fmla="*/ 495300 h 1871663"/>
                <a:gd name="connsiteX127" fmla="*/ 3600450 w 3762723"/>
                <a:gd name="connsiteY127" fmla="*/ 447675 h 1871663"/>
                <a:gd name="connsiteX128" fmla="*/ 3629025 w 3762723"/>
                <a:gd name="connsiteY128" fmla="*/ 400050 h 1871663"/>
                <a:gd name="connsiteX129" fmla="*/ 3638550 w 3762723"/>
                <a:gd name="connsiteY129" fmla="*/ 385763 h 1871663"/>
                <a:gd name="connsiteX130" fmla="*/ 3643312 w 3762723"/>
                <a:gd name="connsiteY130" fmla="*/ 366713 h 1871663"/>
                <a:gd name="connsiteX131" fmla="*/ 3648075 w 3762723"/>
                <a:gd name="connsiteY131" fmla="*/ 285750 h 1871663"/>
                <a:gd name="connsiteX132" fmla="*/ 3662362 w 3762723"/>
                <a:gd name="connsiteY132" fmla="*/ 257175 h 1871663"/>
                <a:gd name="connsiteX133" fmla="*/ 3671887 w 3762723"/>
                <a:gd name="connsiteY133" fmla="*/ 242888 h 1871663"/>
                <a:gd name="connsiteX134" fmla="*/ 3690937 w 3762723"/>
                <a:gd name="connsiteY134" fmla="*/ 209550 h 1871663"/>
                <a:gd name="connsiteX135" fmla="*/ 3700462 w 3762723"/>
                <a:gd name="connsiteY135" fmla="*/ 142875 h 1871663"/>
                <a:gd name="connsiteX136" fmla="*/ 3705225 w 3762723"/>
                <a:gd name="connsiteY136" fmla="*/ 100013 h 1871663"/>
                <a:gd name="connsiteX137" fmla="*/ 3719512 w 3762723"/>
                <a:gd name="connsiteY137" fmla="*/ 76200 h 1871663"/>
                <a:gd name="connsiteX138" fmla="*/ 3748087 w 3762723"/>
                <a:gd name="connsiteY138" fmla="*/ 42863 h 1871663"/>
                <a:gd name="connsiteX139" fmla="*/ 3762375 w 3762723"/>
                <a:gd name="connsiteY139" fmla="*/ 14288 h 1871663"/>
                <a:gd name="connsiteX140" fmla="*/ 3762375 w 3762723"/>
                <a:gd name="connsiteY140"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519487 w 3762723"/>
                <a:gd name="connsiteY124" fmla="*/ 504825 h 1871663"/>
                <a:gd name="connsiteX125" fmla="*/ 3533775 w 3762723"/>
                <a:gd name="connsiteY125" fmla="*/ 495300 h 1871663"/>
                <a:gd name="connsiteX126" fmla="*/ 3600450 w 3762723"/>
                <a:gd name="connsiteY126" fmla="*/ 447675 h 1871663"/>
                <a:gd name="connsiteX127" fmla="*/ 3629025 w 3762723"/>
                <a:gd name="connsiteY127" fmla="*/ 400050 h 1871663"/>
                <a:gd name="connsiteX128" fmla="*/ 3638550 w 3762723"/>
                <a:gd name="connsiteY128" fmla="*/ 385763 h 1871663"/>
                <a:gd name="connsiteX129" fmla="*/ 3643312 w 3762723"/>
                <a:gd name="connsiteY129" fmla="*/ 366713 h 1871663"/>
                <a:gd name="connsiteX130" fmla="*/ 3648075 w 3762723"/>
                <a:gd name="connsiteY130" fmla="*/ 285750 h 1871663"/>
                <a:gd name="connsiteX131" fmla="*/ 3662362 w 3762723"/>
                <a:gd name="connsiteY131" fmla="*/ 257175 h 1871663"/>
                <a:gd name="connsiteX132" fmla="*/ 3671887 w 3762723"/>
                <a:gd name="connsiteY132" fmla="*/ 242888 h 1871663"/>
                <a:gd name="connsiteX133" fmla="*/ 3690937 w 3762723"/>
                <a:gd name="connsiteY133" fmla="*/ 209550 h 1871663"/>
                <a:gd name="connsiteX134" fmla="*/ 3700462 w 3762723"/>
                <a:gd name="connsiteY134" fmla="*/ 142875 h 1871663"/>
                <a:gd name="connsiteX135" fmla="*/ 3705225 w 3762723"/>
                <a:gd name="connsiteY135" fmla="*/ 100013 h 1871663"/>
                <a:gd name="connsiteX136" fmla="*/ 3719512 w 3762723"/>
                <a:gd name="connsiteY136" fmla="*/ 76200 h 1871663"/>
                <a:gd name="connsiteX137" fmla="*/ 3748087 w 3762723"/>
                <a:gd name="connsiteY137" fmla="*/ 42863 h 1871663"/>
                <a:gd name="connsiteX138" fmla="*/ 3762375 w 3762723"/>
                <a:gd name="connsiteY138" fmla="*/ 14288 h 1871663"/>
                <a:gd name="connsiteX139" fmla="*/ 3762375 w 3762723"/>
                <a:gd name="connsiteY13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519487 w 3762723"/>
                <a:gd name="connsiteY124" fmla="*/ 504825 h 1871663"/>
                <a:gd name="connsiteX125" fmla="*/ 3600450 w 3762723"/>
                <a:gd name="connsiteY125" fmla="*/ 447675 h 1871663"/>
                <a:gd name="connsiteX126" fmla="*/ 3629025 w 3762723"/>
                <a:gd name="connsiteY126" fmla="*/ 400050 h 1871663"/>
                <a:gd name="connsiteX127" fmla="*/ 3638550 w 3762723"/>
                <a:gd name="connsiteY127" fmla="*/ 385763 h 1871663"/>
                <a:gd name="connsiteX128" fmla="*/ 3643312 w 3762723"/>
                <a:gd name="connsiteY128" fmla="*/ 366713 h 1871663"/>
                <a:gd name="connsiteX129" fmla="*/ 3648075 w 3762723"/>
                <a:gd name="connsiteY129" fmla="*/ 285750 h 1871663"/>
                <a:gd name="connsiteX130" fmla="*/ 3662362 w 3762723"/>
                <a:gd name="connsiteY130" fmla="*/ 257175 h 1871663"/>
                <a:gd name="connsiteX131" fmla="*/ 3671887 w 3762723"/>
                <a:gd name="connsiteY131" fmla="*/ 242888 h 1871663"/>
                <a:gd name="connsiteX132" fmla="*/ 3690937 w 3762723"/>
                <a:gd name="connsiteY132" fmla="*/ 209550 h 1871663"/>
                <a:gd name="connsiteX133" fmla="*/ 3700462 w 3762723"/>
                <a:gd name="connsiteY133" fmla="*/ 142875 h 1871663"/>
                <a:gd name="connsiteX134" fmla="*/ 3705225 w 3762723"/>
                <a:gd name="connsiteY134" fmla="*/ 100013 h 1871663"/>
                <a:gd name="connsiteX135" fmla="*/ 3719512 w 3762723"/>
                <a:gd name="connsiteY135" fmla="*/ 76200 h 1871663"/>
                <a:gd name="connsiteX136" fmla="*/ 3748087 w 3762723"/>
                <a:gd name="connsiteY136" fmla="*/ 42863 h 1871663"/>
                <a:gd name="connsiteX137" fmla="*/ 3762375 w 3762723"/>
                <a:gd name="connsiteY137" fmla="*/ 14288 h 1871663"/>
                <a:gd name="connsiteX138" fmla="*/ 3762375 w 3762723"/>
                <a:gd name="connsiteY138"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519487 w 3762723"/>
                <a:gd name="connsiteY123" fmla="*/ 504825 h 1871663"/>
                <a:gd name="connsiteX124" fmla="*/ 3600450 w 3762723"/>
                <a:gd name="connsiteY124" fmla="*/ 447675 h 1871663"/>
                <a:gd name="connsiteX125" fmla="*/ 3629025 w 3762723"/>
                <a:gd name="connsiteY125" fmla="*/ 400050 h 1871663"/>
                <a:gd name="connsiteX126" fmla="*/ 3638550 w 3762723"/>
                <a:gd name="connsiteY126" fmla="*/ 385763 h 1871663"/>
                <a:gd name="connsiteX127" fmla="*/ 3643312 w 3762723"/>
                <a:gd name="connsiteY127" fmla="*/ 366713 h 1871663"/>
                <a:gd name="connsiteX128" fmla="*/ 3648075 w 3762723"/>
                <a:gd name="connsiteY128" fmla="*/ 285750 h 1871663"/>
                <a:gd name="connsiteX129" fmla="*/ 3662362 w 3762723"/>
                <a:gd name="connsiteY129" fmla="*/ 257175 h 1871663"/>
                <a:gd name="connsiteX130" fmla="*/ 3671887 w 3762723"/>
                <a:gd name="connsiteY130" fmla="*/ 242888 h 1871663"/>
                <a:gd name="connsiteX131" fmla="*/ 3690937 w 3762723"/>
                <a:gd name="connsiteY131" fmla="*/ 209550 h 1871663"/>
                <a:gd name="connsiteX132" fmla="*/ 3700462 w 3762723"/>
                <a:gd name="connsiteY132" fmla="*/ 142875 h 1871663"/>
                <a:gd name="connsiteX133" fmla="*/ 3705225 w 3762723"/>
                <a:gd name="connsiteY133" fmla="*/ 100013 h 1871663"/>
                <a:gd name="connsiteX134" fmla="*/ 3719512 w 3762723"/>
                <a:gd name="connsiteY134" fmla="*/ 76200 h 1871663"/>
                <a:gd name="connsiteX135" fmla="*/ 3748087 w 3762723"/>
                <a:gd name="connsiteY135" fmla="*/ 42863 h 1871663"/>
                <a:gd name="connsiteX136" fmla="*/ 3762375 w 3762723"/>
                <a:gd name="connsiteY136" fmla="*/ 14288 h 1871663"/>
                <a:gd name="connsiteX137" fmla="*/ 3762375 w 3762723"/>
                <a:gd name="connsiteY137"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48050 w 3762723"/>
                <a:gd name="connsiteY121" fmla="*/ 581025 h 1871663"/>
                <a:gd name="connsiteX122" fmla="*/ 3519487 w 3762723"/>
                <a:gd name="connsiteY122" fmla="*/ 504825 h 1871663"/>
                <a:gd name="connsiteX123" fmla="*/ 3600450 w 3762723"/>
                <a:gd name="connsiteY123" fmla="*/ 447675 h 1871663"/>
                <a:gd name="connsiteX124" fmla="*/ 3629025 w 3762723"/>
                <a:gd name="connsiteY124" fmla="*/ 400050 h 1871663"/>
                <a:gd name="connsiteX125" fmla="*/ 3638550 w 3762723"/>
                <a:gd name="connsiteY125" fmla="*/ 385763 h 1871663"/>
                <a:gd name="connsiteX126" fmla="*/ 3643312 w 3762723"/>
                <a:gd name="connsiteY126" fmla="*/ 366713 h 1871663"/>
                <a:gd name="connsiteX127" fmla="*/ 3648075 w 3762723"/>
                <a:gd name="connsiteY127" fmla="*/ 285750 h 1871663"/>
                <a:gd name="connsiteX128" fmla="*/ 3662362 w 3762723"/>
                <a:gd name="connsiteY128" fmla="*/ 257175 h 1871663"/>
                <a:gd name="connsiteX129" fmla="*/ 3671887 w 3762723"/>
                <a:gd name="connsiteY129" fmla="*/ 242888 h 1871663"/>
                <a:gd name="connsiteX130" fmla="*/ 3690937 w 3762723"/>
                <a:gd name="connsiteY130" fmla="*/ 209550 h 1871663"/>
                <a:gd name="connsiteX131" fmla="*/ 3700462 w 3762723"/>
                <a:gd name="connsiteY131" fmla="*/ 142875 h 1871663"/>
                <a:gd name="connsiteX132" fmla="*/ 3705225 w 3762723"/>
                <a:gd name="connsiteY132" fmla="*/ 100013 h 1871663"/>
                <a:gd name="connsiteX133" fmla="*/ 3719512 w 3762723"/>
                <a:gd name="connsiteY133" fmla="*/ 76200 h 1871663"/>
                <a:gd name="connsiteX134" fmla="*/ 3748087 w 3762723"/>
                <a:gd name="connsiteY134" fmla="*/ 42863 h 1871663"/>
                <a:gd name="connsiteX135" fmla="*/ 3762375 w 3762723"/>
                <a:gd name="connsiteY135" fmla="*/ 14288 h 1871663"/>
                <a:gd name="connsiteX136" fmla="*/ 3762375 w 3762723"/>
                <a:gd name="connsiteY13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38525 w 3762723"/>
                <a:gd name="connsiteY121" fmla="*/ 547688 h 1871663"/>
                <a:gd name="connsiteX122" fmla="*/ 3519487 w 3762723"/>
                <a:gd name="connsiteY122" fmla="*/ 504825 h 1871663"/>
                <a:gd name="connsiteX123" fmla="*/ 3600450 w 3762723"/>
                <a:gd name="connsiteY123" fmla="*/ 447675 h 1871663"/>
                <a:gd name="connsiteX124" fmla="*/ 3629025 w 3762723"/>
                <a:gd name="connsiteY124" fmla="*/ 400050 h 1871663"/>
                <a:gd name="connsiteX125" fmla="*/ 3638550 w 3762723"/>
                <a:gd name="connsiteY125" fmla="*/ 385763 h 1871663"/>
                <a:gd name="connsiteX126" fmla="*/ 3643312 w 3762723"/>
                <a:gd name="connsiteY126" fmla="*/ 366713 h 1871663"/>
                <a:gd name="connsiteX127" fmla="*/ 3648075 w 3762723"/>
                <a:gd name="connsiteY127" fmla="*/ 285750 h 1871663"/>
                <a:gd name="connsiteX128" fmla="*/ 3662362 w 3762723"/>
                <a:gd name="connsiteY128" fmla="*/ 257175 h 1871663"/>
                <a:gd name="connsiteX129" fmla="*/ 3671887 w 3762723"/>
                <a:gd name="connsiteY129" fmla="*/ 242888 h 1871663"/>
                <a:gd name="connsiteX130" fmla="*/ 3690937 w 3762723"/>
                <a:gd name="connsiteY130" fmla="*/ 209550 h 1871663"/>
                <a:gd name="connsiteX131" fmla="*/ 3700462 w 3762723"/>
                <a:gd name="connsiteY131" fmla="*/ 142875 h 1871663"/>
                <a:gd name="connsiteX132" fmla="*/ 3705225 w 3762723"/>
                <a:gd name="connsiteY132" fmla="*/ 100013 h 1871663"/>
                <a:gd name="connsiteX133" fmla="*/ 3719512 w 3762723"/>
                <a:gd name="connsiteY133" fmla="*/ 76200 h 1871663"/>
                <a:gd name="connsiteX134" fmla="*/ 3748087 w 3762723"/>
                <a:gd name="connsiteY134" fmla="*/ 42863 h 1871663"/>
                <a:gd name="connsiteX135" fmla="*/ 3762375 w 3762723"/>
                <a:gd name="connsiteY135" fmla="*/ 14288 h 1871663"/>
                <a:gd name="connsiteX136" fmla="*/ 3762375 w 3762723"/>
                <a:gd name="connsiteY13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38525 w 3762723"/>
                <a:gd name="connsiteY121" fmla="*/ 547688 h 1871663"/>
                <a:gd name="connsiteX122" fmla="*/ 3519487 w 3762723"/>
                <a:gd name="connsiteY122" fmla="*/ 504825 h 1871663"/>
                <a:gd name="connsiteX123" fmla="*/ 3581400 w 3762723"/>
                <a:gd name="connsiteY123" fmla="*/ 447675 h 1871663"/>
                <a:gd name="connsiteX124" fmla="*/ 3629025 w 3762723"/>
                <a:gd name="connsiteY124" fmla="*/ 400050 h 1871663"/>
                <a:gd name="connsiteX125" fmla="*/ 3638550 w 3762723"/>
                <a:gd name="connsiteY125" fmla="*/ 385763 h 1871663"/>
                <a:gd name="connsiteX126" fmla="*/ 3643312 w 3762723"/>
                <a:gd name="connsiteY126" fmla="*/ 366713 h 1871663"/>
                <a:gd name="connsiteX127" fmla="*/ 3648075 w 3762723"/>
                <a:gd name="connsiteY127" fmla="*/ 285750 h 1871663"/>
                <a:gd name="connsiteX128" fmla="*/ 3662362 w 3762723"/>
                <a:gd name="connsiteY128" fmla="*/ 257175 h 1871663"/>
                <a:gd name="connsiteX129" fmla="*/ 3671887 w 3762723"/>
                <a:gd name="connsiteY129" fmla="*/ 242888 h 1871663"/>
                <a:gd name="connsiteX130" fmla="*/ 3690937 w 3762723"/>
                <a:gd name="connsiteY130" fmla="*/ 209550 h 1871663"/>
                <a:gd name="connsiteX131" fmla="*/ 3700462 w 3762723"/>
                <a:gd name="connsiteY131" fmla="*/ 142875 h 1871663"/>
                <a:gd name="connsiteX132" fmla="*/ 3705225 w 3762723"/>
                <a:gd name="connsiteY132" fmla="*/ 100013 h 1871663"/>
                <a:gd name="connsiteX133" fmla="*/ 3719512 w 3762723"/>
                <a:gd name="connsiteY133" fmla="*/ 76200 h 1871663"/>
                <a:gd name="connsiteX134" fmla="*/ 3748087 w 3762723"/>
                <a:gd name="connsiteY134" fmla="*/ 42863 h 1871663"/>
                <a:gd name="connsiteX135" fmla="*/ 3762375 w 3762723"/>
                <a:gd name="connsiteY135" fmla="*/ 14288 h 1871663"/>
                <a:gd name="connsiteX136" fmla="*/ 3762375 w 3762723"/>
                <a:gd name="connsiteY13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38525 w 3762723"/>
                <a:gd name="connsiteY121" fmla="*/ 547688 h 1871663"/>
                <a:gd name="connsiteX122" fmla="*/ 3519487 w 3762723"/>
                <a:gd name="connsiteY122" fmla="*/ 504825 h 1871663"/>
                <a:gd name="connsiteX123" fmla="*/ 3581400 w 3762723"/>
                <a:gd name="connsiteY123" fmla="*/ 447675 h 1871663"/>
                <a:gd name="connsiteX124" fmla="*/ 3629025 w 3762723"/>
                <a:gd name="connsiteY124" fmla="*/ 400050 h 1871663"/>
                <a:gd name="connsiteX125" fmla="*/ 3638550 w 3762723"/>
                <a:gd name="connsiteY125" fmla="*/ 385763 h 1871663"/>
                <a:gd name="connsiteX126" fmla="*/ 3643312 w 3762723"/>
                <a:gd name="connsiteY126" fmla="*/ 366713 h 1871663"/>
                <a:gd name="connsiteX127" fmla="*/ 3648075 w 3762723"/>
                <a:gd name="connsiteY127" fmla="*/ 285750 h 1871663"/>
                <a:gd name="connsiteX128" fmla="*/ 3662362 w 3762723"/>
                <a:gd name="connsiteY128" fmla="*/ 257175 h 1871663"/>
                <a:gd name="connsiteX129" fmla="*/ 3671887 w 3762723"/>
                <a:gd name="connsiteY129" fmla="*/ 242888 h 1871663"/>
                <a:gd name="connsiteX130" fmla="*/ 3690937 w 3762723"/>
                <a:gd name="connsiteY130" fmla="*/ 209550 h 1871663"/>
                <a:gd name="connsiteX131" fmla="*/ 3700462 w 3762723"/>
                <a:gd name="connsiteY131" fmla="*/ 142875 h 1871663"/>
                <a:gd name="connsiteX132" fmla="*/ 3705225 w 3762723"/>
                <a:gd name="connsiteY132" fmla="*/ 100013 h 1871663"/>
                <a:gd name="connsiteX133" fmla="*/ 3719512 w 3762723"/>
                <a:gd name="connsiteY133" fmla="*/ 76200 h 1871663"/>
                <a:gd name="connsiteX134" fmla="*/ 3748087 w 3762723"/>
                <a:gd name="connsiteY134" fmla="*/ 42863 h 1871663"/>
                <a:gd name="connsiteX135" fmla="*/ 3762375 w 3762723"/>
                <a:gd name="connsiteY135" fmla="*/ 14288 h 1871663"/>
                <a:gd name="connsiteX136" fmla="*/ 3762375 w 3762723"/>
                <a:gd name="connsiteY13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62325 w 3762723"/>
                <a:gd name="connsiteY119" fmla="*/ 633413 h 1871663"/>
                <a:gd name="connsiteX120" fmla="*/ 3438525 w 3762723"/>
                <a:gd name="connsiteY120" fmla="*/ 547688 h 1871663"/>
                <a:gd name="connsiteX121" fmla="*/ 3519487 w 3762723"/>
                <a:gd name="connsiteY121" fmla="*/ 504825 h 1871663"/>
                <a:gd name="connsiteX122" fmla="*/ 3581400 w 3762723"/>
                <a:gd name="connsiteY122" fmla="*/ 447675 h 1871663"/>
                <a:gd name="connsiteX123" fmla="*/ 3629025 w 3762723"/>
                <a:gd name="connsiteY123" fmla="*/ 400050 h 1871663"/>
                <a:gd name="connsiteX124" fmla="*/ 3638550 w 3762723"/>
                <a:gd name="connsiteY124" fmla="*/ 385763 h 1871663"/>
                <a:gd name="connsiteX125" fmla="*/ 3643312 w 3762723"/>
                <a:gd name="connsiteY125" fmla="*/ 366713 h 1871663"/>
                <a:gd name="connsiteX126" fmla="*/ 3648075 w 3762723"/>
                <a:gd name="connsiteY126" fmla="*/ 285750 h 1871663"/>
                <a:gd name="connsiteX127" fmla="*/ 3662362 w 3762723"/>
                <a:gd name="connsiteY127" fmla="*/ 257175 h 1871663"/>
                <a:gd name="connsiteX128" fmla="*/ 3671887 w 3762723"/>
                <a:gd name="connsiteY128" fmla="*/ 242888 h 1871663"/>
                <a:gd name="connsiteX129" fmla="*/ 3690937 w 3762723"/>
                <a:gd name="connsiteY129" fmla="*/ 209550 h 1871663"/>
                <a:gd name="connsiteX130" fmla="*/ 3700462 w 3762723"/>
                <a:gd name="connsiteY130" fmla="*/ 142875 h 1871663"/>
                <a:gd name="connsiteX131" fmla="*/ 3705225 w 3762723"/>
                <a:gd name="connsiteY131" fmla="*/ 100013 h 1871663"/>
                <a:gd name="connsiteX132" fmla="*/ 3719512 w 3762723"/>
                <a:gd name="connsiteY132" fmla="*/ 76200 h 1871663"/>
                <a:gd name="connsiteX133" fmla="*/ 3748087 w 3762723"/>
                <a:gd name="connsiteY133" fmla="*/ 42863 h 1871663"/>
                <a:gd name="connsiteX134" fmla="*/ 3762375 w 3762723"/>
                <a:gd name="connsiteY134" fmla="*/ 14288 h 1871663"/>
                <a:gd name="connsiteX135" fmla="*/ 3762375 w 3762723"/>
                <a:gd name="connsiteY135"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33749 w 3762723"/>
                <a:gd name="connsiteY118" fmla="*/ 671513 h 1871663"/>
                <a:gd name="connsiteX119" fmla="*/ 3362325 w 3762723"/>
                <a:gd name="connsiteY119" fmla="*/ 633413 h 1871663"/>
                <a:gd name="connsiteX120" fmla="*/ 3438525 w 3762723"/>
                <a:gd name="connsiteY120" fmla="*/ 547688 h 1871663"/>
                <a:gd name="connsiteX121" fmla="*/ 3519487 w 3762723"/>
                <a:gd name="connsiteY121" fmla="*/ 504825 h 1871663"/>
                <a:gd name="connsiteX122" fmla="*/ 3581400 w 3762723"/>
                <a:gd name="connsiteY122" fmla="*/ 447675 h 1871663"/>
                <a:gd name="connsiteX123" fmla="*/ 3629025 w 3762723"/>
                <a:gd name="connsiteY123" fmla="*/ 400050 h 1871663"/>
                <a:gd name="connsiteX124" fmla="*/ 3638550 w 3762723"/>
                <a:gd name="connsiteY124" fmla="*/ 385763 h 1871663"/>
                <a:gd name="connsiteX125" fmla="*/ 3643312 w 3762723"/>
                <a:gd name="connsiteY125" fmla="*/ 366713 h 1871663"/>
                <a:gd name="connsiteX126" fmla="*/ 3648075 w 3762723"/>
                <a:gd name="connsiteY126" fmla="*/ 285750 h 1871663"/>
                <a:gd name="connsiteX127" fmla="*/ 3662362 w 3762723"/>
                <a:gd name="connsiteY127" fmla="*/ 257175 h 1871663"/>
                <a:gd name="connsiteX128" fmla="*/ 3671887 w 3762723"/>
                <a:gd name="connsiteY128" fmla="*/ 242888 h 1871663"/>
                <a:gd name="connsiteX129" fmla="*/ 3690937 w 3762723"/>
                <a:gd name="connsiteY129" fmla="*/ 209550 h 1871663"/>
                <a:gd name="connsiteX130" fmla="*/ 3700462 w 3762723"/>
                <a:gd name="connsiteY130" fmla="*/ 142875 h 1871663"/>
                <a:gd name="connsiteX131" fmla="*/ 3705225 w 3762723"/>
                <a:gd name="connsiteY131" fmla="*/ 100013 h 1871663"/>
                <a:gd name="connsiteX132" fmla="*/ 3719512 w 3762723"/>
                <a:gd name="connsiteY132" fmla="*/ 76200 h 1871663"/>
                <a:gd name="connsiteX133" fmla="*/ 3748087 w 3762723"/>
                <a:gd name="connsiteY133" fmla="*/ 42863 h 1871663"/>
                <a:gd name="connsiteX134" fmla="*/ 3762375 w 3762723"/>
                <a:gd name="connsiteY134" fmla="*/ 14288 h 1871663"/>
                <a:gd name="connsiteX135" fmla="*/ 3762375 w 3762723"/>
                <a:gd name="connsiteY135" fmla="*/ 0 h 1871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762723" h="1871663">
                  <a:moveTo>
                    <a:pt x="0" y="404813"/>
                  </a:moveTo>
                  <a:cubicBezTo>
                    <a:pt x="3175" y="412750"/>
                    <a:pt x="5702" y="420979"/>
                    <a:pt x="9525" y="428625"/>
                  </a:cubicBezTo>
                  <a:cubicBezTo>
                    <a:pt x="12085" y="433745"/>
                    <a:pt x="16490" y="437793"/>
                    <a:pt x="19050" y="442913"/>
                  </a:cubicBezTo>
                  <a:cubicBezTo>
                    <a:pt x="21295" y="447403"/>
                    <a:pt x="22433" y="452373"/>
                    <a:pt x="23812" y="457200"/>
                  </a:cubicBezTo>
                  <a:cubicBezTo>
                    <a:pt x="25610" y="463494"/>
                    <a:pt x="24944" y="470804"/>
                    <a:pt x="28575" y="476250"/>
                  </a:cubicBezTo>
                  <a:cubicBezTo>
                    <a:pt x="31750" y="481012"/>
                    <a:pt x="38100" y="482600"/>
                    <a:pt x="42862" y="485775"/>
                  </a:cubicBezTo>
                  <a:cubicBezTo>
                    <a:pt x="44450" y="492125"/>
                    <a:pt x="45047" y="498809"/>
                    <a:pt x="47625" y="504825"/>
                  </a:cubicBezTo>
                  <a:cubicBezTo>
                    <a:pt x="54588" y="521072"/>
                    <a:pt x="60513" y="519354"/>
                    <a:pt x="71437" y="533400"/>
                  </a:cubicBezTo>
                  <a:cubicBezTo>
                    <a:pt x="91031" y="558592"/>
                    <a:pt x="89371" y="559185"/>
                    <a:pt x="100012" y="585788"/>
                  </a:cubicBezTo>
                  <a:cubicBezTo>
                    <a:pt x="101600" y="625475"/>
                    <a:pt x="101945" y="665232"/>
                    <a:pt x="104775" y="704850"/>
                  </a:cubicBezTo>
                  <a:cubicBezTo>
                    <a:pt x="105873" y="720218"/>
                    <a:pt x="123362" y="737262"/>
                    <a:pt x="128587" y="747713"/>
                  </a:cubicBezTo>
                  <a:cubicBezTo>
                    <a:pt x="136103" y="762744"/>
                    <a:pt x="145669" y="783846"/>
                    <a:pt x="157162" y="795338"/>
                  </a:cubicBezTo>
                  <a:lnTo>
                    <a:pt x="171450" y="809625"/>
                  </a:lnTo>
                  <a:lnTo>
                    <a:pt x="185737" y="852488"/>
                  </a:lnTo>
                  <a:cubicBezTo>
                    <a:pt x="187324" y="857250"/>
                    <a:pt x="187715" y="862598"/>
                    <a:pt x="190500" y="866775"/>
                  </a:cubicBezTo>
                  <a:lnTo>
                    <a:pt x="200025" y="881063"/>
                  </a:lnTo>
                  <a:cubicBezTo>
                    <a:pt x="205459" y="897364"/>
                    <a:pt x="212773" y="927661"/>
                    <a:pt x="228600" y="938213"/>
                  </a:cubicBezTo>
                  <a:lnTo>
                    <a:pt x="242887" y="947738"/>
                  </a:lnTo>
                  <a:cubicBezTo>
                    <a:pt x="254861" y="983655"/>
                    <a:pt x="238707" y="939377"/>
                    <a:pt x="257175" y="976313"/>
                  </a:cubicBezTo>
                  <a:cubicBezTo>
                    <a:pt x="276892" y="1015749"/>
                    <a:pt x="244164" y="963939"/>
                    <a:pt x="271462" y="1004888"/>
                  </a:cubicBezTo>
                  <a:cubicBezTo>
                    <a:pt x="273050" y="1011238"/>
                    <a:pt x="273647" y="1017922"/>
                    <a:pt x="276225" y="1023938"/>
                  </a:cubicBezTo>
                  <a:cubicBezTo>
                    <a:pt x="282484" y="1038542"/>
                    <a:pt x="289942" y="1040399"/>
                    <a:pt x="300037" y="1052513"/>
                  </a:cubicBezTo>
                  <a:cubicBezTo>
                    <a:pt x="303701" y="1056910"/>
                    <a:pt x="306722" y="1061830"/>
                    <a:pt x="309562" y="1066800"/>
                  </a:cubicBezTo>
                  <a:cubicBezTo>
                    <a:pt x="313084" y="1072964"/>
                    <a:pt x="314542" y="1080396"/>
                    <a:pt x="319087" y="1085850"/>
                  </a:cubicBezTo>
                  <a:cubicBezTo>
                    <a:pt x="322751" y="1090247"/>
                    <a:pt x="328612" y="1092200"/>
                    <a:pt x="333375" y="1095375"/>
                  </a:cubicBezTo>
                  <a:cubicBezTo>
                    <a:pt x="338137" y="1108075"/>
                    <a:pt x="343027" y="1120728"/>
                    <a:pt x="347662" y="1133475"/>
                  </a:cubicBezTo>
                  <a:cubicBezTo>
                    <a:pt x="349378" y="1138193"/>
                    <a:pt x="349987" y="1143374"/>
                    <a:pt x="352425" y="1147763"/>
                  </a:cubicBezTo>
                  <a:cubicBezTo>
                    <a:pt x="357984" y="1157770"/>
                    <a:pt x="365125" y="1166813"/>
                    <a:pt x="371475" y="1176338"/>
                  </a:cubicBezTo>
                  <a:lnTo>
                    <a:pt x="381000" y="1190625"/>
                  </a:lnTo>
                  <a:cubicBezTo>
                    <a:pt x="382661" y="1197271"/>
                    <a:pt x="390741" y="1228309"/>
                    <a:pt x="390525" y="1233488"/>
                  </a:cubicBezTo>
                  <a:cubicBezTo>
                    <a:pt x="389263" y="1263791"/>
                    <a:pt x="385792" y="1294027"/>
                    <a:pt x="381000" y="1323975"/>
                  </a:cubicBezTo>
                  <a:cubicBezTo>
                    <a:pt x="379414" y="1333889"/>
                    <a:pt x="373444" y="1342705"/>
                    <a:pt x="371475" y="1352550"/>
                  </a:cubicBezTo>
                  <a:cubicBezTo>
                    <a:pt x="369887" y="1360488"/>
                    <a:pt x="370728" y="1369335"/>
                    <a:pt x="366712" y="1376363"/>
                  </a:cubicBezTo>
                  <a:cubicBezTo>
                    <a:pt x="362367" y="1383967"/>
                    <a:pt x="345471" y="1388206"/>
                    <a:pt x="338137" y="1390650"/>
                  </a:cubicBezTo>
                  <a:cubicBezTo>
                    <a:pt x="328612" y="1389063"/>
                    <a:pt x="318723" y="1382834"/>
                    <a:pt x="309562" y="1385888"/>
                  </a:cubicBezTo>
                  <a:cubicBezTo>
                    <a:pt x="298751" y="1389492"/>
                    <a:pt x="293682" y="1409717"/>
                    <a:pt x="290512" y="1419225"/>
                  </a:cubicBezTo>
                  <a:cubicBezTo>
                    <a:pt x="290560" y="1419513"/>
                    <a:pt x="295102" y="1455919"/>
                    <a:pt x="300037" y="1462088"/>
                  </a:cubicBezTo>
                  <a:cubicBezTo>
                    <a:pt x="303613" y="1466558"/>
                    <a:pt x="310047" y="1467810"/>
                    <a:pt x="314325" y="1471613"/>
                  </a:cubicBezTo>
                  <a:cubicBezTo>
                    <a:pt x="324393" y="1480562"/>
                    <a:pt x="342900" y="1500188"/>
                    <a:pt x="342900" y="1500188"/>
                  </a:cubicBezTo>
                  <a:cubicBezTo>
                    <a:pt x="344487" y="1508125"/>
                    <a:pt x="346331" y="1516016"/>
                    <a:pt x="347662" y="1524000"/>
                  </a:cubicBezTo>
                  <a:cubicBezTo>
                    <a:pt x="350632" y="1541819"/>
                    <a:pt x="350542" y="1565179"/>
                    <a:pt x="361950" y="1581150"/>
                  </a:cubicBezTo>
                  <a:cubicBezTo>
                    <a:pt x="367720" y="1589228"/>
                    <a:pt x="381941" y="1592577"/>
                    <a:pt x="390525" y="1595438"/>
                  </a:cubicBezTo>
                  <a:cubicBezTo>
                    <a:pt x="412360" y="1628190"/>
                    <a:pt x="405955" y="1613153"/>
                    <a:pt x="414337" y="1638300"/>
                  </a:cubicBezTo>
                  <a:cubicBezTo>
                    <a:pt x="411162" y="1649413"/>
                    <a:pt x="410425" y="1661535"/>
                    <a:pt x="404812" y="1671638"/>
                  </a:cubicBezTo>
                  <a:cubicBezTo>
                    <a:pt x="402032" y="1676641"/>
                    <a:pt x="394572" y="1677116"/>
                    <a:pt x="390525" y="1681163"/>
                  </a:cubicBezTo>
                  <a:cubicBezTo>
                    <a:pt x="386478" y="1685210"/>
                    <a:pt x="384175" y="1690688"/>
                    <a:pt x="381000" y="1695450"/>
                  </a:cubicBezTo>
                  <a:cubicBezTo>
                    <a:pt x="382587" y="1709738"/>
                    <a:pt x="380849" y="1724803"/>
                    <a:pt x="385762" y="1738313"/>
                  </a:cubicBezTo>
                  <a:cubicBezTo>
                    <a:pt x="387718" y="1743692"/>
                    <a:pt x="395653" y="1744174"/>
                    <a:pt x="400050" y="1747838"/>
                  </a:cubicBezTo>
                  <a:cubicBezTo>
                    <a:pt x="405224" y="1752150"/>
                    <a:pt x="409575" y="1757363"/>
                    <a:pt x="414337" y="1762125"/>
                  </a:cubicBezTo>
                  <a:cubicBezTo>
                    <a:pt x="415925" y="1766888"/>
                    <a:pt x="414080" y="1776413"/>
                    <a:pt x="419100" y="1776413"/>
                  </a:cubicBezTo>
                  <a:cubicBezTo>
                    <a:pt x="424824" y="1776413"/>
                    <a:pt x="426815" y="1767555"/>
                    <a:pt x="428625" y="1762125"/>
                  </a:cubicBezTo>
                  <a:cubicBezTo>
                    <a:pt x="431678" y="1752964"/>
                    <a:pt x="429801" y="1742516"/>
                    <a:pt x="433387" y="1733550"/>
                  </a:cubicBezTo>
                  <a:cubicBezTo>
                    <a:pt x="442820" y="1709967"/>
                    <a:pt x="449795" y="1714076"/>
                    <a:pt x="471487" y="1709738"/>
                  </a:cubicBezTo>
                  <a:cubicBezTo>
                    <a:pt x="485775" y="1711325"/>
                    <a:pt x="501263" y="1708551"/>
                    <a:pt x="514350" y="1714500"/>
                  </a:cubicBezTo>
                  <a:cubicBezTo>
                    <a:pt x="520813" y="1717438"/>
                    <a:pt x="523875" y="1726450"/>
                    <a:pt x="523875" y="1733550"/>
                  </a:cubicBezTo>
                  <a:cubicBezTo>
                    <a:pt x="523875" y="1743590"/>
                    <a:pt x="514350" y="1762125"/>
                    <a:pt x="514350" y="1762125"/>
                  </a:cubicBezTo>
                  <a:cubicBezTo>
                    <a:pt x="524276" y="1791908"/>
                    <a:pt x="512350" y="1771650"/>
                    <a:pt x="561975" y="1771650"/>
                  </a:cubicBezTo>
                  <a:cubicBezTo>
                    <a:pt x="571631" y="1771650"/>
                    <a:pt x="581025" y="1774825"/>
                    <a:pt x="590550" y="1776413"/>
                  </a:cubicBezTo>
                  <a:cubicBezTo>
                    <a:pt x="601885" y="1810418"/>
                    <a:pt x="591721" y="1799419"/>
                    <a:pt x="614362" y="1814513"/>
                  </a:cubicBezTo>
                  <a:cubicBezTo>
                    <a:pt x="615950" y="1820863"/>
                    <a:pt x="615494" y="1828117"/>
                    <a:pt x="619125" y="1833563"/>
                  </a:cubicBezTo>
                  <a:cubicBezTo>
                    <a:pt x="628949" y="1848299"/>
                    <a:pt x="661525" y="1846602"/>
                    <a:pt x="671512" y="1847850"/>
                  </a:cubicBezTo>
                  <a:cubicBezTo>
                    <a:pt x="691868" y="1854635"/>
                    <a:pt x="717255" y="1863910"/>
                    <a:pt x="738187" y="1866900"/>
                  </a:cubicBezTo>
                  <a:lnTo>
                    <a:pt x="771525" y="1871663"/>
                  </a:lnTo>
                  <a:cubicBezTo>
                    <a:pt x="787400" y="1870075"/>
                    <a:pt x="803901" y="1871592"/>
                    <a:pt x="819150" y="1866900"/>
                  </a:cubicBezTo>
                  <a:cubicBezTo>
                    <a:pt x="825587" y="1864919"/>
                    <a:pt x="829302" y="1857929"/>
                    <a:pt x="833437" y="1852613"/>
                  </a:cubicBezTo>
                  <a:cubicBezTo>
                    <a:pt x="853753" y="1826492"/>
                    <a:pt x="845504" y="1824626"/>
                    <a:pt x="871537" y="1809750"/>
                  </a:cubicBezTo>
                  <a:cubicBezTo>
                    <a:pt x="875896" y="1807259"/>
                    <a:pt x="880955" y="1806206"/>
                    <a:pt x="885825" y="1804988"/>
                  </a:cubicBezTo>
                  <a:cubicBezTo>
                    <a:pt x="915622" y="1797539"/>
                    <a:pt x="931704" y="1798386"/>
                    <a:pt x="966787" y="1795463"/>
                  </a:cubicBezTo>
                  <a:cubicBezTo>
                    <a:pt x="981791" y="1785461"/>
                    <a:pt x="978680" y="1785725"/>
                    <a:pt x="995362" y="1781175"/>
                  </a:cubicBezTo>
                  <a:cubicBezTo>
                    <a:pt x="1007992" y="1777730"/>
                    <a:pt x="1033462" y="1771650"/>
                    <a:pt x="1033462" y="1771650"/>
                  </a:cubicBezTo>
                  <a:cubicBezTo>
                    <a:pt x="1046162" y="1773238"/>
                    <a:pt x="1058970" y="1774123"/>
                    <a:pt x="1071562" y="1776413"/>
                  </a:cubicBezTo>
                  <a:cubicBezTo>
                    <a:pt x="1076501" y="1777311"/>
                    <a:pt x="1081149" y="1779412"/>
                    <a:pt x="1085850" y="1781175"/>
                  </a:cubicBezTo>
                  <a:cubicBezTo>
                    <a:pt x="1112478" y="1791160"/>
                    <a:pt x="1104222" y="1787073"/>
                    <a:pt x="1123950" y="1800225"/>
                  </a:cubicBezTo>
                  <a:cubicBezTo>
                    <a:pt x="1127413" y="1799648"/>
                    <a:pt x="1158993" y="1795912"/>
                    <a:pt x="1166812" y="1790700"/>
                  </a:cubicBezTo>
                  <a:cubicBezTo>
                    <a:pt x="1210117" y="1761830"/>
                    <a:pt x="1148129" y="1791026"/>
                    <a:pt x="1200150" y="1762125"/>
                  </a:cubicBezTo>
                  <a:cubicBezTo>
                    <a:pt x="1207623" y="1757973"/>
                    <a:pt x="1216316" y="1756423"/>
                    <a:pt x="1223962" y="1752600"/>
                  </a:cubicBezTo>
                  <a:cubicBezTo>
                    <a:pt x="1229082" y="1750040"/>
                    <a:pt x="1233130" y="1745635"/>
                    <a:pt x="1238250" y="1743075"/>
                  </a:cubicBezTo>
                  <a:cubicBezTo>
                    <a:pt x="1272918" y="1725742"/>
                    <a:pt x="1226843" y="1758680"/>
                    <a:pt x="1276350" y="1724025"/>
                  </a:cubicBezTo>
                  <a:cubicBezTo>
                    <a:pt x="1285117" y="1717888"/>
                    <a:pt x="1302693" y="1701328"/>
                    <a:pt x="1314450" y="1695450"/>
                  </a:cubicBezTo>
                  <a:cubicBezTo>
                    <a:pt x="1318940" y="1693205"/>
                    <a:pt x="1323975" y="1692275"/>
                    <a:pt x="1328737" y="1690688"/>
                  </a:cubicBezTo>
                  <a:cubicBezTo>
                    <a:pt x="1339850" y="1692275"/>
                    <a:pt x="1351068" y="1693249"/>
                    <a:pt x="1362075" y="1695450"/>
                  </a:cubicBezTo>
                  <a:cubicBezTo>
                    <a:pt x="1366998" y="1696435"/>
                    <a:pt x="1371644" y="1698497"/>
                    <a:pt x="1376362" y="1700213"/>
                  </a:cubicBezTo>
                  <a:cubicBezTo>
                    <a:pt x="1389109" y="1704848"/>
                    <a:pt x="1401516" y="1710454"/>
                    <a:pt x="1414462" y="1714500"/>
                  </a:cubicBezTo>
                  <a:cubicBezTo>
                    <a:pt x="1426957" y="1718405"/>
                    <a:pt x="1440143" y="1719885"/>
                    <a:pt x="1452562" y="1724025"/>
                  </a:cubicBezTo>
                  <a:lnTo>
                    <a:pt x="1466850" y="1728788"/>
                  </a:lnTo>
                  <a:cubicBezTo>
                    <a:pt x="1479459" y="1727527"/>
                    <a:pt x="1522983" y="1727618"/>
                    <a:pt x="1538287" y="1714500"/>
                  </a:cubicBezTo>
                  <a:cubicBezTo>
                    <a:pt x="1543677" y="1709880"/>
                    <a:pt x="1543685" y="1701227"/>
                    <a:pt x="1547812" y="1695450"/>
                  </a:cubicBezTo>
                  <a:cubicBezTo>
                    <a:pt x="1551727" y="1689969"/>
                    <a:pt x="1556389" y="1684733"/>
                    <a:pt x="1562100" y="1681163"/>
                  </a:cubicBezTo>
                  <a:cubicBezTo>
                    <a:pt x="1568608" y="1677096"/>
                    <a:pt x="1590701" y="1670041"/>
                    <a:pt x="1600200" y="1666875"/>
                  </a:cubicBezTo>
                  <a:cubicBezTo>
                    <a:pt x="1606550" y="1670050"/>
                    <a:pt x="1613343" y="1672462"/>
                    <a:pt x="1619250" y="1676400"/>
                  </a:cubicBezTo>
                  <a:cubicBezTo>
                    <a:pt x="1627708" y="1682038"/>
                    <a:pt x="1633970" y="1690904"/>
                    <a:pt x="1643062" y="1695450"/>
                  </a:cubicBezTo>
                  <a:cubicBezTo>
                    <a:pt x="1665924" y="1706881"/>
                    <a:pt x="1693860" y="1712383"/>
                    <a:pt x="1719262" y="1714500"/>
                  </a:cubicBezTo>
                  <a:cubicBezTo>
                    <a:pt x="1765250" y="1718332"/>
                    <a:pt x="1857375" y="1724025"/>
                    <a:pt x="1857375" y="1724025"/>
                  </a:cubicBezTo>
                  <a:cubicBezTo>
                    <a:pt x="1878716" y="1729361"/>
                    <a:pt x="1895516" y="1735911"/>
                    <a:pt x="1919287" y="1724025"/>
                  </a:cubicBezTo>
                  <a:cubicBezTo>
                    <a:pt x="1925141" y="1721098"/>
                    <a:pt x="1922630" y="1711365"/>
                    <a:pt x="1924050" y="1704975"/>
                  </a:cubicBezTo>
                  <a:cubicBezTo>
                    <a:pt x="1925806" y="1697073"/>
                    <a:pt x="1924322" y="1687898"/>
                    <a:pt x="1928812" y="1681163"/>
                  </a:cubicBezTo>
                  <a:cubicBezTo>
                    <a:pt x="1931597" y="1676986"/>
                    <a:pt x="1938337" y="1677988"/>
                    <a:pt x="1943100" y="1676400"/>
                  </a:cubicBezTo>
                  <a:cubicBezTo>
                    <a:pt x="1971790" y="1690745"/>
                    <a:pt x="1974461" y="1695524"/>
                    <a:pt x="2000250" y="1700213"/>
                  </a:cubicBezTo>
                  <a:cubicBezTo>
                    <a:pt x="2011294" y="1702221"/>
                    <a:pt x="2022475" y="1703388"/>
                    <a:pt x="2033587" y="1704975"/>
                  </a:cubicBezTo>
                  <a:cubicBezTo>
                    <a:pt x="2038350" y="1703388"/>
                    <a:pt x="2044957" y="1704298"/>
                    <a:pt x="2047875" y="1700213"/>
                  </a:cubicBezTo>
                  <a:cubicBezTo>
                    <a:pt x="2063174" y="1678796"/>
                    <a:pt x="2056435" y="1665847"/>
                    <a:pt x="2052637" y="1643063"/>
                  </a:cubicBezTo>
                  <a:cubicBezTo>
                    <a:pt x="2054225" y="1638300"/>
                    <a:pt x="2052382" y="1628918"/>
                    <a:pt x="2057400" y="1628775"/>
                  </a:cubicBezTo>
                  <a:cubicBezTo>
                    <a:pt x="2398403" y="1619031"/>
                    <a:pt x="2096820" y="1654634"/>
                    <a:pt x="2290762" y="1628775"/>
                  </a:cubicBezTo>
                  <a:cubicBezTo>
                    <a:pt x="2297112" y="1624013"/>
                    <a:pt x="2303135" y="1618780"/>
                    <a:pt x="2309812" y="1614488"/>
                  </a:cubicBezTo>
                  <a:cubicBezTo>
                    <a:pt x="2325385" y="1604477"/>
                    <a:pt x="2343381" y="1597961"/>
                    <a:pt x="2357437" y="1585913"/>
                  </a:cubicBezTo>
                  <a:cubicBezTo>
                    <a:pt x="2379662" y="1566863"/>
                    <a:pt x="2397930" y="1541854"/>
                    <a:pt x="2424112" y="1528763"/>
                  </a:cubicBezTo>
                  <a:cubicBezTo>
                    <a:pt x="2478970" y="1501334"/>
                    <a:pt x="2401180" y="1540838"/>
                    <a:pt x="2466975" y="1504950"/>
                  </a:cubicBezTo>
                  <a:cubicBezTo>
                    <a:pt x="2476324" y="1499851"/>
                    <a:pt x="2486025" y="1495425"/>
                    <a:pt x="2495550" y="1490663"/>
                  </a:cubicBezTo>
                  <a:cubicBezTo>
                    <a:pt x="2508867" y="1464029"/>
                    <a:pt x="2481131" y="1457589"/>
                    <a:pt x="2514600" y="1443037"/>
                  </a:cubicBezTo>
                  <a:cubicBezTo>
                    <a:pt x="2590771" y="1409919"/>
                    <a:pt x="2588730" y="1430459"/>
                    <a:pt x="2633662" y="1419225"/>
                  </a:cubicBezTo>
                  <a:cubicBezTo>
                    <a:pt x="2638425" y="1416050"/>
                    <a:pt x="2641600" y="1404144"/>
                    <a:pt x="2652712" y="1390650"/>
                  </a:cubicBezTo>
                  <a:cubicBezTo>
                    <a:pt x="2663825" y="1377156"/>
                    <a:pt x="2668587" y="1365250"/>
                    <a:pt x="2700337" y="1338263"/>
                  </a:cubicBezTo>
                  <a:cubicBezTo>
                    <a:pt x="2732087" y="1311276"/>
                    <a:pt x="2802731" y="1262856"/>
                    <a:pt x="2843212" y="1228725"/>
                  </a:cubicBezTo>
                  <a:cubicBezTo>
                    <a:pt x="2883693" y="1194594"/>
                    <a:pt x="2913063" y="1158081"/>
                    <a:pt x="2943225" y="1133475"/>
                  </a:cubicBezTo>
                  <a:cubicBezTo>
                    <a:pt x="2973388" y="1108869"/>
                    <a:pt x="2986087" y="1119188"/>
                    <a:pt x="3024187" y="1081088"/>
                  </a:cubicBezTo>
                  <a:cubicBezTo>
                    <a:pt x="3062287" y="1042988"/>
                    <a:pt x="3136106" y="950119"/>
                    <a:pt x="3171825" y="904875"/>
                  </a:cubicBezTo>
                  <a:cubicBezTo>
                    <a:pt x="3207544" y="859631"/>
                    <a:pt x="3220244" y="839788"/>
                    <a:pt x="3238500" y="809626"/>
                  </a:cubicBezTo>
                  <a:cubicBezTo>
                    <a:pt x="3256756" y="779464"/>
                    <a:pt x="3265487" y="746919"/>
                    <a:pt x="3281362" y="723900"/>
                  </a:cubicBezTo>
                  <a:cubicBezTo>
                    <a:pt x="3297237" y="700881"/>
                    <a:pt x="3320255" y="686594"/>
                    <a:pt x="3333749" y="671513"/>
                  </a:cubicBezTo>
                  <a:cubicBezTo>
                    <a:pt x="3347243" y="656432"/>
                    <a:pt x="3344862" y="654051"/>
                    <a:pt x="3362325" y="633413"/>
                  </a:cubicBezTo>
                  <a:cubicBezTo>
                    <a:pt x="3379788" y="612776"/>
                    <a:pt x="3412331" y="569119"/>
                    <a:pt x="3438525" y="547688"/>
                  </a:cubicBezTo>
                  <a:cubicBezTo>
                    <a:pt x="3464719" y="526257"/>
                    <a:pt x="3495675" y="521494"/>
                    <a:pt x="3519487" y="504825"/>
                  </a:cubicBezTo>
                  <a:cubicBezTo>
                    <a:pt x="3543300" y="488156"/>
                    <a:pt x="3563144" y="465137"/>
                    <a:pt x="3581400" y="447675"/>
                  </a:cubicBezTo>
                  <a:cubicBezTo>
                    <a:pt x="3599656" y="430213"/>
                    <a:pt x="3619500" y="410369"/>
                    <a:pt x="3629025" y="400050"/>
                  </a:cubicBezTo>
                  <a:cubicBezTo>
                    <a:pt x="3638550" y="389731"/>
                    <a:pt x="3635375" y="390525"/>
                    <a:pt x="3638550" y="385763"/>
                  </a:cubicBezTo>
                  <a:cubicBezTo>
                    <a:pt x="3640137" y="379413"/>
                    <a:pt x="3642691" y="373229"/>
                    <a:pt x="3643312" y="366713"/>
                  </a:cubicBezTo>
                  <a:cubicBezTo>
                    <a:pt x="3645875" y="339800"/>
                    <a:pt x="3644900" y="304006"/>
                    <a:pt x="3648075" y="285750"/>
                  </a:cubicBezTo>
                  <a:cubicBezTo>
                    <a:pt x="3651250" y="267494"/>
                    <a:pt x="3657190" y="266484"/>
                    <a:pt x="3662362" y="257175"/>
                  </a:cubicBezTo>
                  <a:cubicBezTo>
                    <a:pt x="3665142" y="252172"/>
                    <a:pt x="3668942" y="247796"/>
                    <a:pt x="3671887" y="242888"/>
                  </a:cubicBezTo>
                  <a:cubicBezTo>
                    <a:pt x="3678472" y="231913"/>
                    <a:pt x="3684587" y="220663"/>
                    <a:pt x="3690937" y="209550"/>
                  </a:cubicBezTo>
                  <a:cubicBezTo>
                    <a:pt x="3696907" y="173735"/>
                    <a:pt x="3695692" y="183420"/>
                    <a:pt x="3700462" y="142875"/>
                  </a:cubicBezTo>
                  <a:cubicBezTo>
                    <a:pt x="3702142" y="128598"/>
                    <a:pt x="3701276" y="113835"/>
                    <a:pt x="3705225" y="100013"/>
                  </a:cubicBezTo>
                  <a:cubicBezTo>
                    <a:pt x="3707768" y="91112"/>
                    <a:pt x="3715017" y="84292"/>
                    <a:pt x="3719512" y="76200"/>
                  </a:cubicBezTo>
                  <a:cubicBezTo>
                    <a:pt x="3735076" y="48184"/>
                    <a:pt x="3720574" y="63497"/>
                    <a:pt x="3748087" y="42863"/>
                  </a:cubicBezTo>
                  <a:cubicBezTo>
                    <a:pt x="3755399" y="31894"/>
                    <a:pt x="3760184" y="27431"/>
                    <a:pt x="3762375" y="14288"/>
                  </a:cubicBezTo>
                  <a:cubicBezTo>
                    <a:pt x="3763158" y="9590"/>
                    <a:pt x="3762375" y="4763"/>
                    <a:pt x="3762375" y="0"/>
                  </a:cubicBezTo>
                </a:path>
              </a:pathLst>
            </a:custGeom>
            <a:noFill/>
            <a:ln w="190500">
              <a:solidFill>
                <a:schemeClr val="accent4">
                  <a:alpha val="66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reeform 25"/>
            <p:cNvSpPr/>
            <p:nvPr/>
          </p:nvSpPr>
          <p:spPr>
            <a:xfrm>
              <a:off x="376239" y="2910372"/>
              <a:ext cx="3762723" cy="1871663"/>
            </a:xfrm>
            <a:custGeom>
              <a:avLst/>
              <a:gdLst>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33650 w 3762723"/>
                <a:gd name="connsiteY108" fmla="*/ 1457325 h 1871663"/>
                <a:gd name="connsiteX109" fmla="*/ 2633662 w 3762723"/>
                <a:gd name="connsiteY109" fmla="*/ 1419225 h 1871663"/>
                <a:gd name="connsiteX110" fmla="*/ 2647950 w 3762723"/>
                <a:gd name="connsiteY110" fmla="*/ 1409700 h 1871663"/>
                <a:gd name="connsiteX111" fmla="*/ 2728912 w 3762723"/>
                <a:gd name="connsiteY111" fmla="*/ 1385888 h 1871663"/>
                <a:gd name="connsiteX112" fmla="*/ 2762250 w 3762723"/>
                <a:gd name="connsiteY112" fmla="*/ 1362075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47950 w 3762723"/>
                <a:gd name="connsiteY110" fmla="*/ 1409700 h 1871663"/>
                <a:gd name="connsiteX111" fmla="*/ 2728912 w 3762723"/>
                <a:gd name="connsiteY111" fmla="*/ 1385888 h 1871663"/>
                <a:gd name="connsiteX112" fmla="*/ 2762250 w 3762723"/>
                <a:gd name="connsiteY112" fmla="*/ 1362075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47950 w 3762723"/>
                <a:gd name="connsiteY110" fmla="*/ 1409700 h 1871663"/>
                <a:gd name="connsiteX111" fmla="*/ 2700337 w 3762723"/>
                <a:gd name="connsiteY111" fmla="*/ 1338263 h 1871663"/>
                <a:gd name="connsiteX112" fmla="*/ 2762250 w 3762723"/>
                <a:gd name="connsiteY112" fmla="*/ 1362075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62250 w 3762723"/>
                <a:gd name="connsiteY112" fmla="*/ 1362075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00350 w 3762723"/>
                <a:gd name="connsiteY113" fmla="*/ 1328738 h 1871663"/>
                <a:gd name="connsiteX114" fmla="*/ 2857500 w 3762723"/>
                <a:gd name="connsiteY114" fmla="*/ 1281113 h 1871663"/>
                <a:gd name="connsiteX115" fmla="*/ 2881312 w 3762723"/>
                <a:gd name="connsiteY115" fmla="*/ 1257300 h 1871663"/>
                <a:gd name="connsiteX116" fmla="*/ 2895600 w 3762723"/>
                <a:gd name="connsiteY116" fmla="*/ 1247775 h 1871663"/>
                <a:gd name="connsiteX117" fmla="*/ 2928937 w 3762723"/>
                <a:gd name="connsiteY117" fmla="*/ 1214438 h 1871663"/>
                <a:gd name="connsiteX118" fmla="*/ 2952750 w 3762723"/>
                <a:gd name="connsiteY118" fmla="*/ 1195388 h 1871663"/>
                <a:gd name="connsiteX119" fmla="*/ 3000375 w 3762723"/>
                <a:gd name="connsiteY119" fmla="*/ 1133475 h 1871663"/>
                <a:gd name="connsiteX120" fmla="*/ 3024187 w 3762723"/>
                <a:gd name="connsiteY120" fmla="*/ 1081088 h 1871663"/>
                <a:gd name="connsiteX121" fmla="*/ 3071812 w 3762723"/>
                <a:gd name="connsiteY121" fmla="*/ 1033463 h 1871663"/>
                <a:gd name="connsiteX122" fmla="*/ 3086100 w 3762723"/>
                <a:gd name="connsiteY122" fmla="*/ 1023938 h 1871663"/>
                <a:gd name="connsiteX123" fmla="*/ 3105150 w 3762723"/>
                <a:gd name="connsiteY123" fmla="*/ 1019175 h 1871663"/>
                <a:gd name="connsiteX124" fmla="*/ 3119437 w 3762723"/>
                <a:gd name="connsiteY124" fmla="*/ 1000125 h 1871663"/>
                <a:gd name="connsiteX125" fmla="*/ 3133725 w 3762723"/>
                <a:gd name="connsiteY125" fmla="*/ 985838 h 1871663"/>
                <a:gd name="connsiteX126" fmla="*/ 3143250 w 3762723"/>
                <a:gd name="connsiteY126" fmla="*/ 966788 h 1871663"/>
                <a:gd name="connsiteX127" fmla="*/ 3148012 w 3762723"/>
                <a:gd name="connsiteY127" fmla="*/ 928688 h 1871663"/>
                <a:gd name="connsiteX128" fmla="*/ 3171825 w 3762723"/>
                <a:gd name="connsiteY128" fmla="*/ 904875 h 1871663"/>
                <a:gd name="connsiteX129" fmla="*/ 3195637 w 3762723"/>
                <a:gd name="connsiteY129" fmla="*/ 885825 h 1871663"/>
                <a:gd name="connsiteX130" fmla="*/ 3214687 w 3762723"/>
                <a:gd name="connsiteY130" fmla="*/ 866775 h 1871663"/>
                <a:gd name="connsiteX131" fmla="*/ 3243262 w 3762723"/>
                <a:gd name="connsiteY131" fmla="*/ 842963 h 1871663"/>
                <a:gd name="connsiteX132" fmla="*/ 3286125 w 3762723"/>
                <a:gd name="connsiteY132" fmla="*/ 785813 h 1871663"/>
                <a:gd name="connsiteX133" fmla="*/ 3309937 w 3762723"/>
                <a:gd name="connsiteY133" fmla="*/ 752475 h 1871663"/>
                <a:gd name="connsiteX134" fmla="*/ 3348037 w 3762723"/>
                <a:gd name="connsiteY134" fmla="*/ 681038 h 1871663"/>
                <a:gd name="connsiteX135" fmla="*/ 3352800 w 3762723"/>
                <a:gd name="connsiteY135" fmla="*/ 666750 h 1871663"/>
                <a:gd name="connsiteX136" fmla="*/ 3376612 w 3762723"/>
                <a:gd name="connsiteY136" fmla="*/ 652463 h 1871663"/>
                <a:gd name="connsiteX137" fmla="*/ 3424237 w 3762723"/>
                <a:gd name="connsiteY137" fmla="*/ 614363 h 1871663"/>
                <a:gd name="connsiteX138" fmla="*/ 3448050 w 3762723"/>
                <a:gd name="connsiteY138" fmla="*/ 581025 h 1871663"/>
                <a:gd name="connsiteX139" fmla="*/ 3457575 w 3762723"/>
                <a:gd name="connsiteY139" fmla="*/ 566738 h 1871663"/>
                <a:gd name="connsiteX140" fmla="*/ 3481387 w 3762723"/>
                <a:gd name="connsiteY140" fmla="*/ 528638 h 1871663"/>
                <a:gd name="connsiteX141" fmla="*/ 3519487 w 3762723"/>
                <a:gd name="connsiteY141" fmla="*/ 504825 h 1871663"/>
                <a:gd name="connsiteX142" fmla="*/ 3533775 w 3762723"/>
                <a:gd name="connsiteY142" fmla="*/ 495300 h 1871663"/>
                <a:gd name="connsiteX143" fmla="*/ 3548062 w 3762723"/>
                <a:gd name="connsiteY143" fmla="*/ 481013 h 1871663"/>
                <a:gd name="connsiteX144" fmla="*/ 3562350 w 3762723"/>
                <a:gd name="connsiteY144" fmla="*/ 476250 h 1871663"/>
                <a:gd name="connsiteX145" fmla="*/ 3600450 w 3762723"/>
                <a:gd name="connsiteY145" fmla="*/ 447675 h 1871663"/>
                <a:gd name="connsiteX146" fmla="*/ 3629025 w 3762723"/>
                <a:gd name="connsiteY146" fmla="*/ 400050 h 1871663"/>
                <a:gd name="connsiteX147" fmla="*/ 3638550 w 3762723"/>
                <a:gd name="connsiteY147" fmla="*/ 385763 h 1871663"/>
                <a:gd name="connsiteX148" fmla="*/ 3643312 w 3762723"/>
                <a:gd name="connsiteY148" fmla="*/ 366713 h 1871663"/>
                <a:gd name="connsiteX149" fmla="*/ 3648075 w 3762723"/>
                <a:gd name="connsiteY149" fmla="*/ 285750 h 1871663"/>
                <a:gd name="connsiteX150" fmla="*/ 3662362 w 3762723"/>
                <a:gd name="connsiteY150" fmla="*/ 257175 h 1871663"/>
                <a:gd name="connsiteX151" fmla="*/ 3671887 w 3762723"/>
                <a:gd name="connsiteY151" fmla="*/ 242888 h 1871663"/>
                <a:gd name="connsiteX152" fmla="*/ 3690937 w 3762723"/>
                <a:gd name="connsiteY152" fmla="*/ 209550 h 1871663"/>
                <a:gd name="connsiteX153" fmla="*/ 3700462 w 3762723"/>
                <a:gd name="connsiteY153" fmla="*/ 142875 h 1871663"/>
                <a:gd name="connsiteX154" fmla="*/ 3705225 w 3762723"/>
                <a:gd name="connsiteY154" fmla="*/ 100013 h 1871663"/>
                <a:gd name="connsiteX155" fmla="*/ 3719512 w 3762723"/>
                <a:gd name="connsiteY155" fmla="*/ 76200 h 1871663"/>
                <a:gd name="connsiteX156" fmla="*/ 3748087 w 3762723"/>
                <a:gd name="connsiteY156" fmla="*/ 42863 h 1871663"/>
                <a:gd name="connsiteX157" fmla="*/ 3762375 w 3762723"/>
                <a:gd name="connsiteY157" fmla="*/ 14288 h 1871663"/>
                <a:gd name="connsiteX158" fmla="*/ 3762375 w 3762723"/>
                <a:gd name="connsiteY158"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00350 w 3762723"/>
                <a:gd name="connsiteY113" fmla="*/ 1328738 h 1871663"/>
                <a:gd name="connsiteX114" fmla="*/ 2881312 w 3762723"/>
                <a:gd name="connsiteY114" fmla="*/ 1257300 h 1871663"/>
                <a:gd name="connsiteX115" fmla="*/ 2895600 w 3762723"/>
                <a:gd name="connsiteY115" fmla="*/ 1247775 h 1871663"/>
                <a:gd name="connsiteX116" fmla="*/ 2928937 w 3762723"/>
                <a:gd name="connsiteY116" fmla="*/ 1214438 h 1871663"/>
                <a:gd name="connsiteX117" fmla="*/ 2952750 w 3762723"/>
                <a:gd name="connsiteY117" fmla="*/ 1195388 h 1871663"/>
                <a:gd name="connsiteX118" fmla="*/ 3000375 w 3762723"/>
                <a:gd name="connsiteY118" fmla="*/ 1133475 h 1871663"/>
                <a:gd name="connsiteX119" fmla="*/ 3024187 w 3762723"/>
                <a:gd name="connsiteY119" fmla="*/ 1081088 h 1871663"/>
                <a:gd name="connsiteX120" fmla="*/ 3071812 w 3762723"/>
                <a:gd name="connsiteY120" fmla="*/ 1033463 h 1871663"/>
                <a:gd name="connsiteX121" fmla="*/ 3086100 w 3762723"/>
                <a:gd name="connsiteY121" fmla="*/ 1023938 h 1871663"/>
                <a:gd name="connsiteX122" fmla="*/ 3105150 w 3762723"/>
                <a:gd name="connsiteY122" fmla="*/ 1019175 h 1871663"/>
                <a:gd name="connsiteX123" fmla="*/ 3119437 w 3762723"/>
                <a:gd name="connsiteY123" fmla="*/ 1000125 h 1871663"/>
                <a:gd name="connsiteX124" fmla="*/ 3133725 w 3762723"/>
                <a:gd name="connsiteY124" fmla="*/ 985838 h 1871663"/>
                <a:gd name="connsiteX125" fmla="*/ 3143250 w 3762723"/>
                <a:gd name="connsiteY125" fmla="*/ 966788 h 1871663"/>
                <a:gd name="connsiteX126" fmla="*/ 3148012 w 3762723"/>
                <a:gd name="connsiteY126" fmla="*/ 928688 h 1871663"/>
                <a:gd name="connsiteX127" fmla="*/ 3171825 w 3762723"/>
                <a:gd name="connsiteY127" fmla="*/ 904875 h 1871663"/>
                <a:gd name="connsiteX128" fmla="*/ 3195637 w 3762723"/>
                <a:gd name="connsiteY128" fmla="*/ 885825 h 1871663"/>
                <a:gd name="connsiteX129" fmla="*/ 3214687 w 3762723"/>
                <a:gd name="connsiteY129" fmla="*/ 866775 h 1871663"/>
                <a:gd name="connsiteX130" fmla="*/ 3243262 w 3762723"/>
                <a:gd name="connsiteY130" fmla="*/ 842963 h 1871663"/>
                <a:gd name="connsiteX131" fmla="*/ 3286125 w 3762723"/>
                <a:gd name="connsiteY131" fmla="*/ 785813 h 1871663"/>
                <a:gd name="connsiteX132" fmla="*/ 3309937 w 3762723"/>
                <a:gd name="connsiteY132" fmla="*/ 752475 h 1871663"/>
                <a:gd name="connsiteX133" fmla="*/ 3348037 w 3762723"/>
                <a:gd name="connsiteY133" fmla="*/ 681038 h 1871663"/>
                <a:gd name="connsiteX134" fmla="*/ 3352800 w 3762723"/>
                <a:gd name="connsiteY134" fmla="*/ 666750 h 1871663"/>
                <a:gd name="connsiteX135" fmla="*/ 3376612 w 3762723"/>
                <a:gd name="connsiteY135" fmla="*/ 652463 h 1871663"/>
                <a:gd name="connsiteX136" fmla="*/ 3424237 w 3762723"/>
                <a:gd name="connsiteY136" fmla="*/ 614363 h 1871663"/>
                <a:gd name="connsiteX137" fmla="*/ 3448050 w 3762723"/>
                <a:gd name="connsiteY137" fmla="*/ 581025 h 1871663"/>
                <a:gd name="connsiteX138" fmla="*/ 3457575 w 3762723"/>
                <a:gd name="connsiteY138" fmla="*/ 566738 h 1871663"/>
                <a:gd name="connsiteX139" fmla="*/ 3481387 w 3762723"/>
                <a:gd name="connsiteY139" fmla="*/ 528638 h 1871663"/>
                <a:gd name="connsiteX140" fmla="*/ 3519487 w 3762723"/>
                <a:gd name="connsiteY140" fmla="*/ 504825 h 1871663"/>
                <a:gd name="connsiteX141" fmla="*/ 3533775 w 3762723"/>
                <a:gd name="connsiteY141" fmla="*/ 495300 h 1871663"/>
                <a:gd name="connsiteX142" fmla="*/ 3548062 w 3762723"/>
                <a:gd name="connsiteY142" fmla="*/ 481013 h 1871663"/>
                <a:gd name="connsiteX143" fmla="*/ 3562350 w 3762723"/>
                <a:gd name="connsiteY143" fmla="*/ 476250 h 1871663"/>
                <a:gd name="connsiteX144" fmla="*/ 3600450 w 3762723"/>
                <a:gd name="connsiteY144" fmla="*/ 447675 h 1871663"/>
                <a:gd name="connsiteX145" fmla="*/ 3629025 w 3762723"/>
                <a:gd name="connsiteY145" fmla="*/ 400050 h 1871663"/>
                <a:gd name="connsiteX146" fmla="*/ 3638550 w 3762723"/>
                <a:gd name="connsiteY146" fmla="*/ 385763 h 1871663"/>
                <a:gd name="connsiteX147" fmla="*/ 3643312 w 3762723"/>
                <a:gd name="connsiteY147" fmla="*/ 366713 h 1871663"/>
                <a:gd name="connsiteX148" fmla="*/ 3648075 w 3762723"/>
                <a:gd name="connsiteY148" fmla="*/ 285750 h 1871663"/>
                <a:gd name="connsiteX149" fmla="*/ 3662362 w 3762723"/>
                <a:gd name="connsiteY149" fmla="*/ 257175 h 1871663"/>
                <a:gd name="connsiteX150" fmla="*/ 3671887 w 3762723"/>
                <a:gd name="connsiteY150" fmla="*/ 242888 h 1871663"/>
                <a:gd name="connsiteX151" fmla="*/ 3690937 w 3762723"/>
                <a:gd name="connsiteY151" fmla="*/ 209550 h 1871663"/>
                <a:gd name="connsiteX152" fmla="*/ 3700462 w 3762723"/>
                <a:gd name="connsiteY152" fmla="*/ 142875 h 1871663"/>
                <a:gd name="connsiteX153" fmla="*/ 3705225 w 3762723"/>
                <a:gd name="connsiteY153" fmla="*/ 100013 h 1871663"/>
                <a:gd name="connsiteX154" fmla="*/ 3719512 w 3762723"/>
                <a:gd name="connsiteY154" fmla="*/ 76200 h 1871663"/>
                <a:gd name="connsiteX155" fmla="*/ 3748087 w 3762723"/>
                <a:gd name="connsiteY155" fmla="*/ 42863 h 1871663"/>
                <a:gd name="connsiteX156" fmla="*/ 3762375 w 3762723"/>
                <a:gd name="connsiteY156" fmla="*/ 14288 h 1871663"/>
                <a:gd name="connsiteX157" fmla="*/ 3762375 w 3762723"/>
                <a:gd name="connsiteY157"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00350 w 3762723"/>
                <a:gd name="connsiteY113" fmla="*/ 1328738 h 1871663"/>
                <a:gd name="connsiteX114" fmla="*/ 2881312 w 3762723"/>
                <a:gd name="connsiteY114" fmla="*/ 1257300 h 1871663"/>
                <a:gd name="connsiteX115" fmla="*/ 2928937 w 3762723"/>
                <a:gd name="connsiteY115" fmla="*/ 1214438 h 1871663"/>
                <a:gd name="connsiteX116" fmla="*/ 2952750 w 3762723"/>
                <a:gd name="connsiteY116" fmla="*/ 1195388 h 1871663"/>
                <a:gd name="connsiteX117" fmla="*/ 3000375 w 3762723"/>
                <a:gd name="connsiteY117" fmla="*/ 1133475 h 1871663"/>
                <a:gd name="connsiteX118" fmla="*/ 3024187 w 3762723"/>
                <a:gd name="connsiteY118" fmla="*/ 1081088 h 1871663"/>
                <a:gd name="connsiteX119" fmla="*/ 3071812 w 3762723"/>
                <a:gd name="connsiteY119" fmla="*/ 1033463 h 1871663"/>
                <a:gd name="connsiteX120" fmla="*/ 3086100 w 3762723"/>
                <a:gd name="connsiteY120" fmla="*/ 1023938 h 1871663"/>
                <a:gd name="connsiteX121" fmla="*/ 3105150 w 3762723"/>
                <a:gd name="connsiteY121" fmla="*/ 1019175 h 1871663"/>
                <a:gd name="connsiteX122" fmla="*/ 3119437 w 3762723"/>
                <a:gd name="connsiteY122" fmla="*/ 1000125 h 1871663"/>
                <a:gd name="connsiteX123" fmla="*/ 3133725 w 3762723"/>
                <a:gd name="connsiteY123" fmla="*/ 985838 h 1871663"/>
                <a:gd name="connsiteX124" fmla="*/ 3143250 w 3762723"/>
                <a:gd name="connsiteY124" fmla="*/ 966788 h 1871663"/>
                <a:gd name="connsiteX125" fmla="*/ 3148012 w 3762723"/>
                <a:gd name="connsiteY125" fmla="*/ 928688 h 1871663"/>
                <a:gd name="connsiteX126" fmla="*/ 3171825 w 3762723"/>
                <a:gd name="connsiteY126" fmla="*/ 904875 h 1871663"/>
                <a:gd name="connsiteX127" fmla="*/ 3195637 w 3762723"/>
                <a:gd name="connsiteY127" fmla="*/ 885825 h 1871663"/>
                <a:gd name="connsiteX128" fmla="*/ 3214687 w 3762723"/>
                <a:gd name="connsiteY128" fmla="*/ 866775 h 1871663"/>
                <a:gd name="connsiteX129" fmla="*/ 3243262 w 3762723"/>
                <a:gd name="connsiteY129" fmla="*/ 842963 h 1871663"/>
                <a:gd name="connsiteX130" fmla="*/ 3286125 w 3762723"/>
                <a:gd name="connsiteY130" fmla="*/ 785813 h 1871663"/>
                <a:gd name="connsiteX131" fmla="*/ 3309937 w 3762723"/>
                <a:gd name="connsiteY131" fmla="*/ 752475 h 1871663"/>
                <a:gd name="connsiteX132" fmla="*/ 3348037 w 3762723"/>
                <a:gd name="connsiteY132" fmla="*/ 681038 h 1871663"/>
                <a:gd name="connsiteX133" fmla="*/ 3352800 w 3762723"/>
                <a:gd name="connsiteY133" fmla="*/ 666750 h 1871663"/>
                <a:gd name="connsiteX134" fmla="*/ 3376612 w 3762723"/>
                <a:gd name="connsiteY134" fmla="*/ 652463 h 1871663"/>
                <a:gd name="connsiteX135" fmla="*/ 3424237 w 3762723"/>
                <a:gd name="connsiteY135" fmla="*/ 614363 h 1871663"/>
                <a:gd name="connsiteX136" fmla="*/ 3448050 w 3762723"/>
                <a:gd name="connsiteY136" fmla="*/ 581025 h 1871663"/>
                <a:gd name="connsiteX137" fmla="*/ 3457575 w 3762723"/>
                <a:gd name="connsiteY137" fmla="*/ 566738 h 1871663"/>
                <a:gd name="connsiteX138" fmla="*/ 3481387 w 3762723"/>
                <a:gd name="connsiteY138" fmla="*/ 528638 h 1871663"/>
                <a:gd name="connsiteX139" fmla="*/ 3519487 w 3762723"/>
                <a:gd name="connsiteY139" fmla="*/ 504825 h 1871663"/>
                <a:gd name="connsiteX140" fmla="*/ 3533775 w 3762723"/>
                <a:gd name="connsiteY140" fmla="*/ 495300 h 1871663"/>
                <a:gd name="connsiteX141" fmla="*/ 3548062 w 3762723"/>
                <a:gd name="connsiteY141" fmla="*/ 481013 h 1871663"/>
                <a:gd name="connsiteX142" fmla="*/ 3562350 w 3762723"/>
                <a:gd name="connsiteY142" fmla="*/ 476250 h 1871663"/>
                <a:gd name="connsiteX143" fmla="*/ 3600450 w 3762723"/>
                <a:gd name="connsiteY143" fmla="*/ 447675 h 1871663"/>
                <a:gd name="connsiteX144" fmla="*/ 3629025 w 3762723"/>
                <a:gd name="connsiteY144" fmla="*/ 400050 h 1871663"/>
                <a:gd name="connsiteX145" fmla="*/ 3638550 w 3762723"/>
                <a:gd name="connsiteY145" fmla="*/ 385763 h 1871663"/>
                <a:gd name="connsiteX146" fmla="*/ 3643312 w 3762723"/>
                <a:gd name="connsiteY146" fmla="*/ 366713 h 1871663"/>
                <a:gd name="connsiteX147" fmla="*/ 3648075 w 3762723"/>
                <a:gd name="connsiteY147" fmla="*/ 285750 h 1871663"/>
                <a:gd name="connsiteX148" fmla="*/ 3662362 w 3762723"/>
                <a:gd name="connsiteY148" fmla="*/ 257175 h 1871663"/>
                <a:gd name="connsiteX149" fmla="*/ 3671887 w 3762723"/>
                <a:gd name="connsiteY149" fmla="*/ 242888 h 1871663"/>
                <a:gd name="connsiteX150" fmla="*/ 3690937 w 3762723"/>
                <a:gd name="connsiteY150" fmla="*/ 209550 h 1871663"/>
                <a:gd name="connsiteX151" fmla="*/ 3700462 w 3762723"/>
                <a:gd name="connsiteY151" fmla="*/ 142875 h 1871663"/>
                <a:gd name="connsiteX152" fmla="*/ 3705225 w 3762723"/>
                <a:gd name="connsiteY152" fmla="*/ 100013 h 1871663"/>
                <a:gd name="connsiteX153" fmla="*/ 3719512 w 3762723"/>
                <a:gd name="connsiteY153" fmla="*/ 76200 h 1871663"/>
                <a:gd name="connsiteX154" fmla="*/ 3748087 w 3762723"/>
                <a:gd name="connsiteY154" fmla="*/ 42863 h 1871663"/>
                <a:gd name="connsiteX155" fmla="*/ 3762375 w 3762723"/>
                <a:gd name="connsiteY155" fmla="*/ 14288 h 1871663"/>
                <a:gd name="connsiteX156" fmla="*/ 3762375 w 3762723"/>
                <a:gd name="connsiteY15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81312 w 3762723"/>
                <a:gd name="connsiteY113" fmla="*/ 1257300 h 1871663"/>
                <a:gd name="connsiteX114" fmla="*/ 2928937 w 3762723"/>
                <a:gd name="connsiteY114" fmla="*/ 1214438 h 1871663"/>
                <a:gd name="connsiteX115" fmla="*/ 2952750 w 3762723"/>
                <a:gd name="connsiteY115" fmla="*/ 1195388 h 1871663"/>
                <a:gd name="connsiteX116" fmla="*/ 3000375 w 3762723"/>
                <a:gd name="connsiteY116" fmla="*/ 1133475 h 1871663"/>
                <a:gd name="connsiteX117" fmla="*/ 3024187 w 3762723"/>
                <a:gd name="connsiteY117" fmla="*/ 1081088 h 1871663"/>
                <a:gd name="connsiteX118" fmla="*/ 3071812 w 3762723"/>
                <a:gd name="connsiteY118" fmla="*/ 1033463 h 1871663"/>
                <a:gd name="connsiteX119" fmla="*/ 3086100 w 3762723"/>
                <a:gd name="connsiteY119" fmla="*/ 1023938 h 1871663"/>
                <a:gd name="connsiteX120" fmla="*/ 3105150 w 3762723"/>
                <a:gd name="connsiteY120" fmla="*/ 1019175 h 1871663"/>
                <a:gd name="connsiteX121" fmla="*/ 3119437 w 3762723"/>
                <a:gd name="connsiteY121" fmla="*/ 1000125 h 1871663"/>
                <a:gd name="connsiteX122" fmla="*/ 3133725 w 3762723"/>
                <a:gd name="connsiteY122" fmla="*/ 985838 h 1871663"/>
                <a:gd name="connsiteX123" fmla="*/ 3143250 w 3762723"/>
                <a:gd name="connsiteY123" fmla="*/ 966788 h 1871663"/>
                <a:gd name="connsiteX124" fmla="*/ 3148012 w 3762723"/>
                <a:gd name="connsiteY124" fmla="*/ 928688 h 1871663"/>
                <a:gd name="connsiteX125" fmla="*/ 3171825 w 3762723"/>
                <a:gd name="connsiteY125" fmla="*/ 904875 h 1871663"/>
                <a:gd name="connsiteX126" fmla="*/ 3195637 w 3762723"/>
                <a:gd name="connsiteY126" fmla="*/ 885825 h 1871663"/>
                <a:gd name="connsiteX127" fmla="*/ 3214687 w 3762723"/>
                <a:gd name="connsiteY127" fmla="*/ 866775 h 1871663"/>
                <a:gd name="connsiteX128" fmla="*/ 3243262 w 3762723"/>
                <a:gd name="connsiteY128" fmla="*/ 842963 h 1871663"/>
                <a:gd name="connsiteX129" fmla="*/ 3286125 w 3762723"/>
                <a:gd name="connsiteY129" fmla="*/ 785813 h 1871663"/>
                <a:gd name="connsiteX130" fmla="*/ 3309937 w 3762723"/>
                <a:gd name="connsiteY130" fmla="*/ 752475 h 1871663"/>
                <a:gd name="connsiteX131" fmla="*/ 3348037 w 3762723"/>
                <a:gd name="connsiteY131" fmla="*/ 681038 h 1871663"/>
                <a:gd name="connsiteX132" fmla="*/ 3352800 w 3762723"/>
                <a:gd name="connsiteY132" fmla="*/ 666750 h 1871663"/>
                <a:gd name="connsiteX133" fmla="*/ 3376612 w 3762723"/>
                <a:gd name="connsiteY133" fmla="*/ 652463 h 1871663"/>
                <a:gd name="connsiteX134" fmla="*/ 3424237 w 3762723"/>
                <a:gd name="connsiteY134" fmla="*/ 614363 h 1871663"/>
                <a:gd name="connsiteX135" fmla="*/ 3448050 w 3762723"/>
                <a:gd name="connsiteY135" fmla="*/ 581025 h 1871663"/>
                <a:gd name="connsiteX136" fmla="*/ 3457575 w 3762723"/>
                <a:gd name="connsiteY136" fmla="*/ 566738 h 1871663"/>
                <a:gd name="connsiteX137" fmla="*/ 3481387 w 3762723"/>
                <a:gd name="connsiteY137" fmla="*/ 528638 h 1871663"/>
                <a:gd name="connsiteX138" fmla="*/ 3519487 w 3762723"/>
                <a:gd name="connsiteY138" fmla="*/ 504825 h 1871663"/>
                <a:gd name="connsiteX139" fmla="*/ 3533775 w 3762723"/>
                <a:gd name="connsiteY139" fmla="*/ 495300 h 1871663"/>
                <a:gd name="connsiteX140" fmla="*/ 3548062 w 3762723"/>
                <a:gd name="connsiteY140" fmla="*/ 481013 h 1871663"/>
                <a:gd name="connsiteX141" fmla="*/ 3562350 w 3762723"/>
                <a:gd name="connsiteY141" fmla="*/ 476250 h 1871663"/>
                <a:gd name="connsiteX142" fmla="*/ 3600450 w 3762723"/>
                <a:gd name="connsiteY142" fmla="*/ 447675 h 1871663"/>
                <a:gd name="connsiteX143" fmla="*/ 3629025 w 3762723"/>
                <a:gd name="connsiteY143" fmla="*/ 400050 h 1871663"/>
                <a:gd name="connsiteX144" fmla="*/ 3638550 w 3762723"/>
                <a:gd name="connsiteY144" fmla="*/ 385763 h 1871663"/>
                <a:gd name="connsiteX145" fmla="*/ 3643312 w 3762723"/>
                <a:gd name="connsiteY145" fmla="*/ 366713 h 1871663"/>
                <a:gd name="connsiteX146" fmla="*/ 3648075 w 3762723"/>
                <a:gd name="connsiteY146" fmla="*/ 285750 h 1871663"/>
                <a:gd name="connsiteX147" fmla="*/ 3662362 w 3762723"/>
                <a:gd name="connsiteY147" fmla="*/ 257175 h 1871663"/>
                <a:gd name="connsiteX148" fmla="*/ 3671887 w 3762723"/>
                <a:gd name="connsiteY148" fmla="*/ 242888 h 1871663"/>
                <a:gd name="connsiteX149" fmla="*/ 3690937 w 3762723"/>
                <a:gd name="connsiteY149" fmla="*/ 209550 h 1871663"/>
                <a:gd name="connsiteX150" fmla="*/ 3700462 w 3762723"/>
                <a:gd name="connsiteY150" fmla="*/ 142875 h 1871663"/>
                <a:gd name="connsiteX151" fmla="*/ 3705225 w 3762723"/>
                <a:gd name="connsiteY151" fmla="*/ 100013 h 1871663"/>
                <a:gd name="connsiteX152" fmla="*/ 3719512 w 3762723"/>
                <a:gd name="connsiteY152" fmla="*/ 76200 h 1871663"/>
                <a:gd name="connsiteX153" fmla="*/ 3748087 w 3762723"/>
                <a:gd name="connsiteY153" fmla="*/ 42863 h 1871663"/>
                <a:gd name="connsiteX154" fmla="*/ 3762375 w 3762723"/>
                <a:gd name="connsiteY154" fmla="*/ 14288 h 1871663"/>
                <a:gd name="connsiteX155" fmla="*/ 3762375 w 3762723"/>
                <a:gd name="connsiteY155"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81312 w 3762723"/>
                <a:gd name="connsiteY112" fmla="*/ 1257300 h 1871663"/>
                <a:gd name="connsiteX113" fmla="*/ 2928937 w 3762723"/>
                <a:gd name="connsiteY113" fmla="*/ 1214438 h 1871663"/>
                <a:gd name="connsiteX114" fmla="*/ 2952750 w 3762723"/>
                <a:gd name="connsiteY114" fmla="*/ 1195388 h 1871663"/>
                <a:gd name="connsiteX115" fmla="*/ 3000375 w 3762723"/>
                <a:gd name="connsiteY115" fmla="*/ 1133475 h 1871663"/>
                <a:gd name="connsiteX116" fmla="*/ 3024187 w 3762723"/>
                <a:gd name="connsiteY116" fmla="*/ 1081088 h 1871663"/>
                <a:gd name="connsiteX117" fmla="*/ 3071812 w 3762723"/>
                <a:gd name="connsiteY117" fmla="*/ 1033463 h 1871663"/>
                <a:gd name="connsiteX118" fmla="*/ 3086100 w 3762723"/>
                <a:gd name="connsiteY118" fmla="*/ 1023938 h 1871663"/>
                <a:gd name="connsiteX119" fmla="*/ 3105150 w 3762723"/>
                <a:gd name="connsiteY119" fmla="*/ 1019175 h 1871663"/>
                <a:gd name="connsiteX120" fmla="*/ 3119437 w 3762723"/>
                <a:gd name="connsiteY120" fmla="*/ 1000125 h 1871663"/>
                <a:gd name="connsiteX121" fmla="*/ 3133725 w 3762723"/>
                <a:gd name="connsiteY121" fmla="*/ 985838 h 1871663"/>
                <a:gd name="connsiteX122" fmla="*/ 3143250 w 3762723"/>
                <a:gd name="connsiteY122" fmla="*/ 966788 h 1871663"/>
                <a:gd name="connsiteX123" fmla="*/ 3148012 w 3762723"/>
                <a:gd name="connsiteY123" fmla="*/ 928688 h 1871663"/>
                <a:gd name="connsiteX124" fmla="*/ 3171825 w 3762723"/>
                <a:gd name="connsiteY124" fmla="*/ 904875 h 1871663"/>
                <a:gd name="connsiteX125" fmla="*/ 3195637 w 3762723"/>
                <a:gd name="connsiteY125" fmla="*/ 885825 h 1871663"/>
                <a:gd name="connsiteX126" fmla="*/ 3214687 w 3762723"/>
                <a:gd name="connsiteY126" fmla="*/ 866775 h 1871663"/>
                <a:gd name="connsiteX127" fmla="*/ 3243262 w 3762723"/>
                <a:gd name="connsiteY127" fmla="*/ 842963 h 1871663"/>
                <a:gd name="connsiteX128" fmla="*/ 3286125 w 3762723"/>
                <a:gd name="connsiteY128" fmla="*/ 785813 h 1871663"/>
                <a:gd name="connsiteX129" fmla="*/ 3309937 w 3762723"/>
                <a:gd name="connsiteY129" fmla="*/ 752475 h 1871663"/>
                <a:gd name="connsiteX130" fmla="*/ 3348037 w 3762723"/>
                <a:gd name="connsiteY130" fmla="*/ 681038 h 1871663"/>
                <a:gd name="connsiteX131" fmla="*/ 3352800 w 3762723"/>
                <a:gd name="connsiteY131" fmla="*/ 666750 h 1871663"/>
                <a:gd name="connsiteX132" fmla="*/ 3376612 w 3762723"/>
                <a:gd name="connsiteY132" fmla="*/ 652463 h 1871663"/>
                <a:gd name="connsiteX133" fmla="*/ 3424237 w 3762723"/>
                <a:gd name="connsiteY133" fmla="*/ 614363 h 1871663"/>
                <a:gd name="connsiteX134" fmla="*/ 3448050 w 3762723"/>
                <a:gd name="connsiteY134" fmla="*/ 581025 h 1871663"/>
                <a:gd name="connsiteX135" fmla="*/ 3457575 w 3762723"/>
                <a:gd name="connsiteY135" fmla="*/ 566738 h 1871663"/>
                <a:gd name="connsiteX136" fmla="*/ 3481387 w 3762723"/>
                <a:gd name="connsiteY136" fmla="*/ 528638 h 1871663"/>
                <a:gd name="connsiteX137" fmla="*/ 3519487 w 3762723"/>
                <a:gd name="connsiteY137" fmla="*/ 504825 h 1871663"/>
                <a:gd name="connsiteX138" fmla="*/ 3533775 w 3762723"/>
                <a:gd name="connsiteY138" fmla="*/ 495300 h 1871663"/>
                <a:gd name="connsiteX139" fmla="*/ 3548062 w 3762723"/>
                <a:gd name="connsiteY139" fmla="*/ 481013 h 1871663"/>
                <a:gd name="connsiteX140" fmla="*/ 3562350 w 3762723"/>
                <a:gd name="connsiteY140" fmla="*/ 476250 h 1871663"/>
                <a:gd name="connsiteX141" fmla="*/ 3600450 w 3762723"/>
                <a:gd name="connsiteY141" fmla="*/ 447675 h 1871663"/>
                <a:gd name="connsiteX142" fmla="*/ 3629025 w 3762723"/>
                <a:gd name="connsiteY142" fmla="*/ 400050 h 1871663"/>
                <a:gd name="connsiteX143" fmla="*/ 3638550 w 3762723"/>
                <a:gd name="connsiteY143" fmla="*/ 385763 h 1871663"/>
                <a:gd name="connsiteX144" fmla="*/ 3643312 w 3762723"/>
                <a:gd name="connsiteY144" fmla="*/ 366713 h 1871663"/>
                <a:gd name="connsiteX145" fmla="*/ 3648075 w 3762723"/>
                <a:gd name="connsiteY145" fmla="*/ 285750 h 1871663"/>
                <a:gd name="connsiteX146" fmla="*/ 3662362 w 3762723"/>
                <a:gd name="connsiteY146" fmla="*/ 257175 h 1871663"/>
                <a:gd name="connsiteX147" fmla="*/ 3671887 w 3762723"/>
                <a:gd name="connsiteY147" fmla="*/ 242888 h 1871663"/>
                <a:gd name="connsiteX148" fmla="*/ 3690937 w 3762723"/>
                <a:gd name="connsiteY148" fmla="*/ 209550 h 1871663"/>
                <a:gd name="connsiteX149" fmla="*/ 3700462 w 3762723"/>
                <a:gd name="connsiteY149" fmla="*/ 142875 h 1871663"/>
                <a:gd name="connsiteX150" fmla="*/ 3705225 w 3762723"/>
                <a:gd name="connsiteY150" fmla="*/ 100013 h 1871663"/>
                <a:gd name="connsiteX151" fmla="*/ 3719512 w 3762723"/>
                <a:gd name="connsiteY151" fmla="*/ 76200 h 1871663"/>
                <a:gd name="connsiteX152" fmla="*/ 3748087 w 3762723"/>
                <a:gd name="connsiteY152" fmla="*/ 42863 h 1871663"/>
                <a:gd name="connsiteX153" fmla="*/ 3762375 w 3762723"/>
                <a:gd name="connsiteY153" fmla="*/ 14288 h 1871663"/>
                <a:gd name="connsiteX154" fmla="*/ 3762375 w 3762723"/>
                <a:gd name="connsiteY154"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2928937 w 3762723"/>
                <a:gd name="connsiteY113" fmla="*/ 1214438 h 1871663"/>
                <a:gd name="connsiteX114" fmla="*/ 2952750 w 3762723"/>
                <a:gd name="connsiteY114" fmla="*/ 1195388 h 1871663"/>
                <a:gd name="connsiteX115" fmla="*/ 3000375 w 3762723"/>
                <a:gd name="connsiteY115" fmla="*/ 1133475 h 1871663"/>
                <a:gd name="connsiteX116" fmla="*/ 3024187 w 3762723"/>
                <a:gd name="connsiteY116" fmla="*/ 1081088 h 1871663"/>
                <a:gd name="connsiteX117" fmla="*/ 3071812 w 3762723"/>
                <a:gd name="connsiteY117" fmla="*/ 1033463 h 1871663"/>
                <a:gd name="connsiteX118" fmla="*/ 3086100 w 3762723"/>
                <a:gd name="connsiteY118" fmla="*/ 1023938 h 1871663"/>
                <a:gd name="connsiteX119" fmla="*/ 3105150 w 3762723"/>
                <a:gd name="connsiteY119" fmla="*/ 1019175 h 1871663"/>
                <a:gd name="connsiteX120" fmla="*/ 3119437 w 3762723"/>
                <a:gd name="connsiteY120" fmla="*/ 1000125 h 1871663"/>
                <a:gd name="connsiteX121" fmla="*/ 3133725 w 3762723"/>
                <a:gd name="connsiteY121" fmla="*/ 985838 h 1871663"/>
                <a:gd name="connsiteX122" fmla="*/ 3143250 w 3762723"/>
                <a:gd name="connsiteY122" fmla="*/ 966788 h 1871663"/>
                <a:gd name="connsiteX123" fmla="*/ 3148012 w 3762723"/>
                <a:gd name="connsiteY123" fmla="*/ 928688 h 1871663"/>
                <a:gd name="connsiteX124" fmla="*/ 3171825 w 3762723"/>
                <a:gd name="connsiteY124" fmla="*/ 904875 h 1871663"/>
                <a:gd name="connsiteX125" fmla="*/ 3195637 w 3762723"/>
                <a:gd name="connsiteY125" fmla="*/ 885825 h 1871663"/>
                <a:gd name="connsiteX126" fmla="*/ 3214687 w 3762723"/>
                <a:gd name="connsiteY126" fmla="*/ 866775 h 1871663"/>
                <a:gd name="connsiteX127" fmla="*/ 3243262 w 3762723"/>
                <a:gd name="connsiteY127" fmla="*/ 842963 h 1871663"/>
                <a:gd name="connsiteX128" fmla="*/ 3286125 w 3762723"/>
                <a:gd name="connsiteY128" fmla="*/ 785813 h 1871663"/>
                <a:gd name="connsiteX129" fmla="*/ 3309937 w 3762723"/>
                <a:gd name="connsiteY129" fmla="*/ 752475 h 1871663"/>
                <a:gd name="connsiteX130" fmla="*/ 3348037 w 3762723"/>
                <a:gd name="connsiteY130" fmla="*/ 681038 h 1871663"/>
                <a:gd name="connsiteX131" fmla="*/ 3352800 w 3762723"/>
                <a:gd name="connsiteY131" fmla="*/ 666750 h 1871663"/>
                <a:gd name="connsiteX132" fmla="*/ 3376612 w 3762723"/>
                <a:gd name="connsiteY132" fmla="*/ 652463 h 1871663"/>
                <a:gd name="connsiteX133" fmla="*/ 3424237 w 3762723"/>
                <a:gd name="connsiteY133" fmla="*/ 614363 h 1871663"/>
                <a:gd name="connsiteX134" fmla="*/ 3448050 w 3762723"/>
                <a:gd name="connsiteY134" fmla="*/ 581025 h 1871663"/>
                <a:gd name="connsiteX135" fmla="*/ 3457575 w 3762723"/>
                <a:gd name="connsiteY135" fmla="*/ 566738 h 1871663"/>
                <a:gd name="connsiteX136" fmla="*/ 3481387 w 3762723"/>
                <a:gd name="connsiteY136" fmla="*/ 528638 h 1871663"/>
                <a:gd name="connsiteX137" fmla="*/ 3519487 w 3762723"/>
                <a:gd name="connsiteY137" fmla="*/ 504825 h 1871663"/>
                <a:gd name="connsiteX138" fmla="*/ 3533775 w 3762723"/>
                <a:gd name="connsiteY138" fmla="*/ 495300 h 1871663"/>
                <a:gd name="connsiteX139" fmla="*/ 3548062 w 3762723"/>
                <a:gd name="connsiteY139" fmla="*/ 481013 h 1871663"/>
                <a:gd name="connsiteX140" fmla="*/ 3562350 w 3762723"/>
                <a:gd name="connsiteY140" fmla="*/ 476250 h 1871663"/>
                <a:gd name="connsiteX141" fmla="*/ 3600450 w 3762723"/>
                <a:gd name="connsiteY141" fmla="*/ 447675 h 1871663"/>
                <a:gd name="connsiteX142" fmla="*/ 3629025 w 3762723"/>
                <a:gd name="connsiteY142" fmla="*/ 400050 h 1871663"/>
                <a:gd name="connsiteX143" fmla="*/ 3638550 w 3762723"/>
                <a:gd name="connsiteY143" fmla="*/ 385763 h 1871663"/>
                <a:gd name="connsiteX144" fmla="*/ 3643312 w 3762723"/>
                <a:gd name="connsiteY144" fmla="*/ 366713 h 1871663"/>
                <a:gd name="connsiteX145" fmla="*/ 3648075 w 3762723"/>
                <a:gd name="connsiteY145" fmla="*/ 285750 h 1871663"/>
                <a:gd name="connsiteX146" fmla="*/ 3662362 w 3762723"/>
                <a:gd name="connsiteY146" fmla="*/ 257175 h 1871663"/>
                <a:gd name="connsiteX147" fmla="*/ 3671887 w 3762723"/>
                <a:gd name="connsiteY147" fmla="*/ 242888 h 1871663"/>
                <a:gd name="connsiteX148" fmla="*/ 3690937 w 3762723"/>
                <a:gd name="connsiteY148" fmla="*/ 209550 h 1871663"/>
                <a:gd name="connsiteX149" fmla="*/ 3700462 w 3762723"/>
                <a:gd name="connsiteY149" fmla="*/ 142875 h 1871663"/>
                <a:gd name="connsiteX150" fmla="*/ 3705225 w 3762723"/>
                <a:gd name="connsiteY150" fmla="*/ 100013 h 1871663"/>
                <a:gd name="connsiteX151" fmla="*/ 3719512 w 3762723"/>
                <a:gd name="connsiteY151" fmla="*/ 76200 h 1871663"/>
                <a:gd name="connsiteX152" fmla="*/ 3748087 w 3762723"/>
                <a:gd name="connsiteY152" fmla="*/ 42863 h 1871663"/>
                <a:gd name="connsiteX153" fmla="*/ 3762375 w 3762723"/>
                <a:gd name="connsiteY153" fmla="*/ 14288 h 1871663"/>
                <a:gd name="connsiteX154" fmla="*/ 3762375 w 3762723"/>
                <a:gd name="connsiteY154"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2928937 w 3762723"/>
                <a:gd name="connsiteY113" fmla="*/ 1214438 h 1871663"/>
                <a:gd name="connsiteX114" fmla="*/ 2976562 w 3762723"/>
                <a:gd name="connsiteY114" fmla="*/ 1162050 h 1871663"/>
                <a:gd name="connsiteX115" fmla="*/ 3000375 w 3762723"/>
                <a:gd name="connsiteY115" fmla="*/ 1133475 h 1871663"/>
                <a:gd name="connsiteX116" fmla="*/ 3024187 w 3762723"/>
                <a:gd name="connsiteY116" fmla="*/ 1081088 h 1871663"/>
                <a:gd name="connsiteX117" fmla="*/ 3071812 w 3762723"/>
                <a:gd name="connsiteY117" fmla="*/ 1033463 h 1871663"/>
                <a:gd name="connsiteX118" fmla="*/ 3086100 w 3762723"/>
                <a:gd name="connsiteY118" fmla="*/ 1023938 h 1871663"/>
                <a:gd name="connsiteX119" fmla="*/ 3105150 w 3762723"/>
                <a:gd name="connsiteY119" fmla="*/ 1019175 h 1871663"/>
                <a:gd name="connsiteX120" fmla="*/ 3119437 w 3762723"/>
                <a:gd name="connsiteY120" fmla="*/ 1000125 h 1871663"/>
                <a:gd name="connsiteX121" fmla="*/ 3133725 w 3762723"/>
                <a:gd name="connsiteY121" fmla="*/ 985838 h 1871663"/>
                <a:gd name="connsiteX122" fmla="*/ 3143250 w 3762723"/>
                <a:gd name="connsiteY122" fmla="*/ 966788 h 1871663"/>
                <a:gd name="connsiteX123" fmla="*/ 3148012 w 3762723"/>
                <a:gd name="connsiteY123" fmla="*/ 928688 h 1871663"/>
                <a:gd name="connsiteX124" fmla="*/ 3171825 w 3762723"/>
                <a:gd name="connsiteY124" fmla="*/ 904875 h 1871663"/>
                <a:gd name="connsiteX125" fmla="*/ 3195637 w 3762723"/>
                <a:gd name="connsiteY125" fmla="*/ 885825 h 1871663"/>
                <a:gd name="connsiteX126" fmla="*/ 3214687 w 3762723"/>
                <a:gd name="connsiteY126" fmla="*/ 866775 h 1871663"/>
                <a:gd name="connsiteX127" fmla="*/ 3243262 w 3762723"/>
                <a:gd name="connsiteY127" fmla="*/ 842963 h 1871663"/>
                <a:gd name="connsiteX128" fmla="*/ 3286125 w 3762723"/>
                <a:gd name="connsiteY128" fmla="*/ 785813 h 1871663"/>
                <a:gd name="connsiteX129" fmla="*/ 3309937 w 3762723"/>
                <a:gd name="connsiteY129" fmla="*/ 752475 h 1871663"/>
                <a:gd name="connsiteX130" fmla="*/ 3348037 w 3762723"/>
                <a:gd name="connsiteY130" fmla="*/ 681038 h 1871663"/>
                <a:gd name="connsiteX131" fmla="*/ 3352800 w 3762723"/>
                <a:gd name="connsiteY131" fmla="*/ 666750 h 1871663"/>
                <a:gd name="connsiteX132" fmla="*/ 3376612 w 3762723"/>
                <a:gd name="connsiteY132" fmla="*/ 652463 h 1871663"/>
                <a:gd name="connsiteX133" fmla="*/ 3424237 w 3762723"/>
                <a:gd name="connsiteY133" fmla="*/ 614363 h 1871663"/>
                <a:gd name="connsiteX134" fmla="*/ 3448050 w 3762723"/>
                <a:gd name="connsiteY134" fmla="*/ 581025 h 1871663"/>
                <a:gd name="connsiteX135" fmla="*/ 3457575 w 3762723"/>
                <a:gd name="connsiteY135" fmla="*/ 566738 h 1871663"/>
                <a:gd name="connsiteX136" fmla="*/ 3481387 w 3762723"/>
                <a:gd name="connsiteY136" fmla="*/ 528638 h 1871663"/>
                <a:gd name="connsiteX137" fmla="*/ 3519487 w 3762723"/>
                <a:gd name="connsiteY137" fmla="*/ 504825 h 1871663"/>
                <a:gd name="connsiteX138" fmla="*/ 3533775 w 3762723"/>
                <a:gd name="connsiteY138" fmla="*/ 495300 h 1871663"/>
                <a:gd name="connsiteX139" fmla="*/ 3548062 w 3762723"/>
                <a:gd name="connsiteY139" fmla="*/ 481013 h 1871663"/>
                <a:gd name="connsiteX140" fmla="*/ 3562350 w 3762723"/>
                <a:gd name="connsiteY140" fmla="*/ 476250 h 1871663"/>
                <a:gd name="connsiteX141" fmla="*/ 3600450 w 3762723"/>
                <a:gd name="connsiteY141" fmla="*/ 447675 h 1871663"/>
                <a:gd name="connsiteX142" fmla="*/ 3629025 w 3762723"/>
                <a:gd name="connsiteY142" fmla="*/ 400050 h 1871663"/>
                <a:gd name="connsiteX143" fmla="*/ 3638550 w 3762723"/>
                <a:gd name="connsiteY143" fmla="*/ 385763 h 1871663"/>
                <a:gd name="connsiteX144" fmla="*/ 3643312 w 3762723"/>
                <a:gd name="connsiteY144" fmla="*/ 366713 h 1871663"/>
                <a:gd name="connsiteX145" fmla="*/ 3648075 w 3762723"/>
                <a:gd name="connsiteY145" fmla="*/ 285750 h 1871663"/>
                <a:gd name="connsiteX146" fmla="*/ 3662362 w 3762723"/>
                <a:gd name="connsiteY146" fmla="*/ 257175 h 1871663"/>
                <a:gd name="connsiteX147" fmla="*/ 3671887 w 3762723"/>
                <a:gd name="connsiteY147" fmla="*/ 242888 h 1871663"/>
                <a:gd name="connsiteX148" fmla="*/ 3690937 w 3762723"/>
                <a:gd name="connsiteY148" fmla="*/ 209550 h 1871663"/>
                <a:gd name="connsiteX149" fmla="*/ 3700462 w 3762723"/>
                <a:gd name="connsiteY149" fmla="*/ 142875 h 1871663"/>
                <a:gd name="connsiteX150" fmla="*/ 3705225 w 3762723"/>
                <a:gd name="connsiteY150" fmla="*/ 100013 h 1871663"/>
                <a:gd name="connsiteX151" fmla="*/ 3719512 w 3762723"/>
                <a:gd name="connsiteY151" fmla="*/ 76200 h 1871663"/>
                <a:gd name="connsiteX152" fmla="*/ 3748087 w 3762723"/>
                <a:gd name="connsiteY152" fmla="*/ 42863 h 1871663"/>
                <a:gd name="connsiteX153" fmla="*/ 3762375 w 3762723"/>
                <a:gd name="connsiteY153" fmla="*/ 14288 h 1871663"/>
                <a:gd name="connsiteX154" fmla="*/ 3762375 w 3762723"/>
                <a:gd name="connsiteY154"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2976562 w 3762723"/>
                <a:gd name="connsiteY113" fmla="*/ 1162050 h 1871663"/>
                <a:gd name="connsiteX114" fmla="*/ 3000375 w 3762723"/>
                <a:gd name="connsiteY114" fmla="*/ 1133475 h 1871663"/>
                <a:gd name="connsiteX115" fmla="*/ 3024187 w 3762723"/>
                <a:gd name="connsiteY115" fmla="*/ 1081088 h 1871663"/>
                <a:gd name="connsiteX116" fmla="*/ 3071812 w 3762723"/>
                <a:gd name="connsiteY116" fmla="*/ 1033463 h 1871663"/>
                <a:gd name="connsiteX117" fmla="*/ 3086100 w 3762723"/>
                <a:gd name="connsiteY117" fmla="*/ 1023938 h 1871663"/>
                <a:gd name="connsiteX118" fmla="*/ 3105150 w 3762723"/>
                <a:gd name="connsiteY118" fmla="*/ 1019175 h 1871663"/>
                <a:gd name="connsiteX119" fmla="*/ 3119437 w 3762723"/>
                <a:gd name="connsiteY119" fmla="*/ 1000125 h 1871663"/>
                <a:gd name="connsiteX120" fmla="*/ 3133725 w 3762723"/>
                <a:gd name="connsiteY120" fmla="*/ 985838 h 1871663"/>
                <a:gd name="connsiteX121" fmla="*/ 3143250 w 3762723"/>
                <a:gd name="connsiteY121" fmla="*/ 966788 h 1871663"/>
                <a:gd name="connsiteX122" fmla="*/ 3148012 w 3762723"/>
                <a:gd name="connsiteY122" fmla="*/ 928688 h 1871663"/>
                <a:gd name="connsiteX123" fmla="*/ 3171825 w 3762723"/>
                <a:gd name="connsiteY123" fmla="*/ 904875 h 1871663"/>
                <a:gd name="connsiteX124" fmla="*/ 3195637 w 3762723"/>
                <a:gd name="connsiteY124" fmla="*/ 885825 h 1871663"/>
                <a:gd name="connsiteX125" fmla="*/ 3214687 w 3762723"/>
                <a:gd name="connsiteY125" fmla="*/ 866775 h 1871663"/>
                <a:gd name="connsiteX126" fmla="*/ 3243262 w 3762723"/>
                <a:gd name="connsiteY126" fmla="*/ 842963 h 1871663"/>
                <a:gd name="connsiteX127" fmla="*/ 3286125 w 3762723"/>
                <a:gd name="connsiteY127" fmla="*/ 785813 h 1871663"/>
                <a:gd name="connsiteX128" fmla="*/ 3309937 w 3762723"/>
                <a:gd name="connsiteY128" fmla="*/ 752475 h 1871663"/>
                <a:gd name="connsiteX129" fmla="*/ 3348037 w 3762723"/>
                <a:gd name="connsiteY129" fmla="*/ 681038 h 1871663"/>
                <a:gd name="connsiteX130" fmla="*/ 3352800 w 3762723"/>
                <a:gd name="connsiteY130" fmla="*/ 666750 h 1871663"/>
                <a:gd name="connsiteX131" fmla="*/ 3376612 w 3762723"/>
                <a:gd name="connsiteY131" fmla="*/ 652463 h 1871663"/>
                <a:gd name="connsiteX132" fmla="*/ 3424237 w 3762723"/>
                <a:gd name="connsiteY132" fmla="*/ 614363 h 1871663"/>
                <a:gd name="connsiteX133" fmla="*/ 3448050 w 3762723"/>
                <a:gd name="connsiteY133" fmla="*/ 581025 h 1871663"/>
                <a:gd name="connsiteX134" fmla="*/ 3457575 w 3762723"/>
                <a:gd name="connsiteY134" fmla="*/ 566738 h 1871663"/>
                <a:gd name="connsiteX135" fmla="*/ 3481387 w 3762723"/>
                <a:gd name="connsiteY135" fmla="*/ 528638 h 1871663"/>
                <a:gd name="connsiteX136" fmla="*/ 3519487 w 3762723"/>
                <a:gd name="connsiteY136" fmla="*/ 504825 h 1871663"/>
                <a:gd name="connsiteX137" fmla="*/ 3533775 w 3762723"/>
                <a:gd name="connsiteY137" fmla="*/ 495300 h 1871663"/>
                <a:gd name="connsiteX138" fmla="*/ 3548062 w 3762723"/>
                <a:gd name="connsiteY138" fmla="*/ 481013 h 1871663"/>
                <a:gd name="connsiteX139" fmla="*/ 3562350 w 3762723"/>
                <a:gd name="connsiteY139" fmla="*/ 476250 h 1871663"/>
                <a:gd name="connsiteX140" fmla="*/ 3600450 w 3762723"/>
                <a:gd name="connsiteY140" fmla="*/ 447675 h 1871663"/>
                <a:gd name="connsiteX141" fmla="*/ 3629025 w 3762723"/>
                <a:gd name="connsiteY141" fmla="*/ 400050 h 1871663"/>
                <a:gd name="connsiteX142" fmla="*/ 3638550 w 3762723"/>
                <a:gd name="connsiteY142" fmla="*/ 385763 h 1871663"/>
                <a:gd name="connsiteX143" fmla="*/ 3643312 w 3762723"/>
                <a:gd name="connsiteY143" fmla="*/ 366713 h 1871663"/>
                <a:gd name="connsiteX144" fmla="*/ 3648075 w 3762723"/>
                <a:gd name="connsiteY144" fmla="*/ 285750 h 1871663"/>
                <a:gd name="connsiteX145" fmla="*/ 3662362 w 3762723"/>
                <a:gd name="connsiteY145" fmla="*/ 257175 h 1871663"/>
                <a:gd name="connsiteX146" fmla="*/ 3671887 w 3762723"/>
                <a:gd name="connsiteY146" fmla="*/ 242888 h 1871663"/>
                <a:gd name="connsiteX147" fmla="*/ 3690937 w 3762723"/>
                <a:gd name="connsiteY147" fmla="*/ 209550 h 1871663"/>
                <a:gd name="connsiteX148" fmla="*/ 3700462 w 3762723"/>
                <a:gd name="connsiteY148" fmla="*/ 142875 h 1871663"/>
                <a:gd name="connsiteX149" fmla="*/ 3705225 w 3762723"/>
                <a:gd name="connsiteY149" fmla="*/ 100013 h 1871663"/>
                <a:gd name="connsiteX150" fmla="*/ 3719512 w 3762723"/>
                <a:gd name="connsiteY150" fmla="*/ 76200 h 1871663"/>
                <a:gd name="connsiteX151" fmla="*/ 3748087 w 3762723"/>
                <a:gd name="connsiteY151" fmla="*/ 42863 h 1871663"/>
                <a:gd name="connsiteX152" fmla="*/ 3762375 w 3762723"/>
                <a:gd name="connsiteY152" fmla="*/ 14288 h 1871663"/>
                <a:gd name="connsiteX153" fmla="*/ 3762375 w 3762723"/>
                <a:gd name="connsiteY153"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300037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86125 w 3762723"/>
                <a:gd name="connsiteY126" fmla="*/ 785813 h 1871663"/>
                <a:gd name="connsiteX127" fmla="*/ 3309937 w 3762723"/>
                <a:gd name="connsiteY127" fmla="*/ 752475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86125 w 3762723"/>
                <a:gd name="connsiteY126" fmla="*/ 785813 h 1871663"/>
                <a:gd name="connsiteX127" fmla="*/ 3309937 w 3762723"/>
                <a:gd name="connsiteY127" fmla="*/ 752475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86125 w 3762723"/>
                <a:gd name="connsiteY126" fmla="*/ 785813 h 1871663"/>
                <a:gd name="connsiteX127" fmla="*/ 3309937 w 3762723"/>
                <a:gd name="connsiteY127" fmla="*/ 752475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86125 w 3762723"/>
                <a:gd name="connsiteY126" fmla="*/ 785813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62313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62313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62313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38500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00399 w 3762723"/>
                <a:gd name="connsiteY124" fmla="*/ 866775 h 1871663"/>
                <a:gd name="connsiteX125" fmla="*/ 3243262 w 3762723"/>
                <a:gd name="connsiteY125" fmla="*/ 842963 h 1871663"/>
                <a:gd name="connsiteX126" fmla="*/ 3238500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00399 w 3762723"/>
                <a:gd name="connsiteY124" fmla="*/ 866775 h 1871663"/>
                <a:gd name="connsiteX125" fmla="*/ 3243262 w 3762723"/>
                <a:gd name="connsiteY125" fmla="*/ 842963 h 1871663"/>
                <a:gd name="connsiteX126" fmla="*/ 3238500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090862 w 3762723"/>
                <a:gd name="connsiteY118" fmla="*/ 976313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00399 w 3762723"/>
                <a:gd name="connsiteY124" fmla="*/ 866775 h 1871663"/>
                <a:gd name="connsiteX125" fmla="*/ 3243262 w 3762723"/>
                <a:gd name="connsiteY125" fmla="*/ 842963 h 1871663"/>
                <a:gd name="connsiteX126" fmla="*/ 3238500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43250 w 3762723"/>
                <a:gd name="connsiteY119" fmla="*/ 966788 h 1871663"/>
                <a:gd name="connsiteX120" fmla="*/ 3148012 w 3762723"/>
                <a:gd name="connsiteY120" fmla="*/ 928688 h 1871663"/>
                <a:gd name="connsiteX121" fmla="*/ 3171825 w 3762723"/>
                <a:gd name="connsiteY121" fmla="*/ 904875 h 1871663"/>
                <a:gd name="connsiteX122" fmla="*/ 3195637 w 3762723"/>
                <a:gd name="connsiteY122" fmla="*/ 885825 h 1871663"/>
                <a:gd name="connsiteX123" fmla="*/ 3200399 w 3762723"/>
                <a:gd name="connsiteY123" fmla="*/ 866775 h 1871663"/>
                <a:gd name="connsiteX124" fmla="*/ 3243262 w 3762723"/>
                <a:gd name="connsiteY124" fmla="*/ 842963 h 1871663"/>
                <a:gd name="connsiteX125" fmla="*/ 3238500 w 3762723"/>
                <a:gd name="connsiteY125" fmla="*/ 809626 h 1871663"/>
                <a:gd name="connsiteX126" fmla="*/ 3281362 w 3762723"/>
                <a:gd name="connsiteY126" fmla="*/ 723900 h 1871663"/>
                <a:gd name="connsiteX127" fmla="*/ 3348037 w 3762723"/>
                <a:gd name="connsiteY127" fmla="*/ 681038 h 1871663"/>
                <a:gd name="connsiteX128" fmla="*/ 3352800 w 3762723"/>
                <a:gd name="connsiteY128" fmla="*/ 666750 h 1871663"/>
                <a:gd name="connsiteX129" fmla="*/ 3362325 w 3762723"/>
                <a:gd name="connsiteY129" fmla="*/ 633413 h 1871663"/>
                <a:gd name="connsiteX130" fmla="*/ 3424237 w 3762723"/>
                <a:gd name="connsiteY130" fmla="*/ 614363 h 1871663"/>
                <a:gd name="connsiteX131" fmla="*/ 3448050 w 3762723"/>
                <a:gd name="connsiteY131" fmla="*/ 581025 h 1871663"/>
                <a:gd name="connsiteX132" fmla="*/ 3419475 w 3762723"/>
                <a:gd name="connsiteY132" fmla="*/ 557213 h 1871663"/>
                <a:gd name="connsiteX133" fmla="*/ 3481387 w 3762723"/>
                <a:gd name="connsiteY133" fmla="*/ 528638 h 1871663"/>
                <a:gd name="connsiteX134" fmla="*/ 3519487 w 3762723"/>
                <a:gd name="connsiteY134" fmla="*/ 504825 h 1871663"/>
                <a:gd name="connsiteX135" fmla="*/ 3533775 w 3762723"/>
                <a:gd name="connsiteY135" fmla="*/ 495300 h 1871663"/>
                <a:gd name="connsiteX136" fmla="*/ 3548062 w 3762723"/>
                <a:gd name="connsiteY136" fmla="*/ 481013 h 1871663"/>
                <a:gd name="connsiteX137" fmla="*/ 3562350 w 3762723"/>
                <a:gd name="connsiteY137" fmla="*/ 476250 h 1871663"/>
                <a:gd name="connsiteX138" fmla="*/ 3600450 w 3762723"/>
                <a:gd name="connsiteY138" fmla="*/ 447675 h 1871663"/>
                <a:gd name="connsiteX139" fmla="*/ 3629025 w 3762723"/>
                <a:gd name="connsiteY139" fmla="*/ 400050 h 1871663"/>
                <a:gd name="connsiteX140" fmla="*/ 3638550 w 3762723"/>
                <a:gd name="connsiteY140" fmla="*/ 385763 h 1871663"/>
                <a:gd name="connsiteX141" fmla="*/ 3643312 w 3762723"/>
                <a:gd name="connsiteY141" fmla="*/ 366713 h 1871663"/>
                <a:gd name="connsiteX142" fmla="*/ 3648075 w 3762723"/>
                <a:gd name="connsiteY142" fmla="*/ 285750 h 1871663"/>
                <a:gd name="connsiteX143" fmla="*/ 3662362 w 3762723"/>
                <a:gd name="connsiteY143" fmla="*/ 257175 h 1871663"/>
                <a:gd name="connsiteX144" fmla="*/ 3671887 w 3762723"/>
                <a:gd name="connsiteY144" fmla="*/ 242888 h 1871663"/>
                <a:gd name="connsiteX145" fmla="*/ 3690937 w 3762723"/>
                <a:gd name="connsiteY145" fmla="*/ 209550 h 1871663"/>
                <a:gd name="connsiteX146" fmla="*/ 3700462 w 3762723"/>
                <a:gd name="connsiteY146" fmla="*/ 142875 h 1871663"/>
                <a:gd name="connsiteX147" fmla="*/ 3705225 w 3762723"/>
                <a:gd name="connsiteY147" fmla="*/ 100013 h 1871663"/>
                <a:gd name="connsiteX148" fmla="*/ 3719512 w 3762723"/>
                <a:gd name="connsiteY148" fmla="*/ 76200 h 1871663"/>
                <a:gd name="connsiteX149" fmla="*/ 3748087 w 3762723"/>
                <a:gd name="connsiteY149" fmla="*/ 42863 h 1871663"/>
                <a:gd name="connsiteX150" fmla="*/ 3762375 w 3762723"/>
                <a:gd name="connsiteY150" fmla="*/ 14288 h 1871663"/>
                <a:gd name="connsiteX151" fmla="*/ 3762375 w 3762723"/>
                <a:gd name="connsiteY151"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43250 w 3762723"/>
                <a:gd name="connsiteY119" fmla="*/ 966788 h 1871663"/>
                <a:gd name="connsiteX120" fmla="*/ 3148012 w 3762723"/>
                <a:gd name="connsiteY120" fmla="*/ 928688 h 1871663"/>
                <a:gd name="connsiteX121" fmla="*/ 3171825 w 3762723"/>
                <a:gd name="connsiteY121" fmla="*/ 904875 h 1871663"/>
                <a:gd name="connsiteX122" fmla="*/ 3195637 w 3762723"/>
                <a:gd name="connsiteY122" fmla="*/ 885825 h 1871663"/>
                <a:gd name="connsiteX123" fmla="*/ 3200399 w 3762723"/>
                <a:gd name="connsiteY123" fmla="*/ 866775 h 1871663"/>
                <a:gd name="connsiteX124" fmla="*/ 3238500 w 3762723"/>
                <a:gd name="connsiteY124" fmla="*/ 809626 h 1871663"/>
                <a:gd name="connsiteX125" fmla="*/ 3281362 w 3762723"/>
                <a:gd name="connsiteY125" fmla="*/ 723900 h 1871663"/>
                <a:gd name="connsiteX126" fmla="*/ 3348037 w 3762723"/>
                <a:gd name="connsiteY126" fmla="*/ 681038 h 1871663"/>
                <a:gd name="connsiteX127" fmla="*/ 3352800 w 3762723"/>
                <a:gd name="connsiteY127" fmla="*/ 666750 h 1871663"/>
                <a:gd name="connsiteX128" fmla="*/ 3362325 w 3762723"/>
                <a:gd name="connsiteY128" fmla="*/ 633413 h 1871663"/>
                <a:gd name="connsiteX129" fmla="*/ 3424237 w 3762723"/>
                <a:gd name="connsiteY129" fmla="*/ 614363 h 1871663"/>
                <a:gd name="connsiteX130" fmla="*/ 3448050 w 3762723"/>
                <a:gd name="connsiteY130" fmla="*/ 581025 h 1871663"/>
                <a:gd name="connsiteX131" fmla="*/ 3419475 w 3762723"/>
                <a:gd name="connsiteY131" fmla="*/ 557213 h 1871663"/>
                <a:gd name="connsiteX132" fmla="*/ 3481387 w 3762723"/>
                <a:gd name="connsiteY132" fmla="*/ 528638 h 1871663"/>
                <a:gd name="connsiteX133" fmla="*/ 3519487 w 3762723"/>
                <a:gd name="connsiteY133" fmla="*/ 504825 h 1871663"/>
                <a:gd name="connsiteX134" fmla="*/ 3533775 w 3762723"/>
                <a:gd name="connsiteY134" fmla="*/ 495300 h 1871663"/>
                <a:gd name="connsiteX135" fmla="*/ 3548062 w 3762723"/>
                <a:gd name="connsiteY135" fmla="*/ 481013 h 1871663"/>
                <a:gd name="connsiteX136" fmla="*/ 3562350 w 3762723"/>
                <a:gd name="connsiteY136" fmla="*/ 476250 h 1871663"/>
                <a:gd name="connsiteX137" fmla="*/ 3600450 w 3762723"/>
                <a:gd name="connsiteY137" fmla="*/ 447675 h 1871663"/>
                <a:gd name="connsiteX138" fmla="*/ 3629025 w 3762723"/>
                <a:gd name="connsiteY138" fmla="*/ 400050 h 1871663"/>
                <a:gd name="connsiteX139" fmla="*/ 3638550 w 3762723"/>
                <a:gd name="connsiteY139" fmla="*/ 385763 h 1871663"/>
                <a:gd name="connsiteX140" fmla="*/ 3643312 w 3762723"/>
                <a:gd name="connsiteY140" fmla="*/ 366713 h 1871663"/>
                <a:gd name="connsiteX141" fmla="*/ 3648075 w 3762723"/>
                <a:gd name="connsiteY141" fmla="*/ 285750 h 1871663"/>
                <a:gd name="connsiteX142" fmla="*/ 3662362 w 3762723"/>
                <a:gd name="connsiteY142" fmla="*/ 257175 h 1871663"/>
                <a:gd name="connsiteX143" fmla="*/ 3671887 w 3762723"/>
                <a:gd name="connsiteY143" fmla="*/ 242888 h 1871663"/>
                <a:gd name="connsiteX144" fmla="*/ 3690937 w 3762723"/>
                <a:gd name="connsiteY144" fmla="*/ 209550 h 1871663"/>
                <a:gd name="connsiteX145" fmla="*/ 3700462 w 3762723"/>
                <a:gd name="connsiteY145" fmla="*/ 142875 h 1871663"/>
                <a:gd name="connsiteX146" fmla="*/ 3705225 w 3762723"/>
                <a:gd name="connsiteY146" fmla="*/ 100013 h 1871663"/>
                <a:gd name="connsiteX147" fmla="*/ 3719512 w 3762723"/>
                <a:gd name="connsiteY147" fmla="*/ 76200 h 1871663"/>
                <a:gd name="connsiteX148" fmla="*/ 3748087 w 3762723"/>
                <a:gd name="connsiteY148" fmla="*/ 42863 h 1871663"/>
                <a:gd name="connsiteX149" fmla="*/ 3762375 w 3762723"/>
                <a:gd name="connsiteY149" fmla="*/ 14288 h 1871663"/>
                <a:gd name="connsiteX150" fmla="*/ 3762375 w 3762723"/>
                <a:gd name="connsiteY150"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43250 w 3762723"/>
                <a:gd name="connsiteY119" fmla="*/ 966788 h 1871663"/>
                <a:gd name="connsiteX120" fmla="*/ 3148012 w 3762723"/>
                <a:gd name="connsiteY120" fmla="*/ 928688 h 1871663"/>
                <a:gd name="connsiteX121" fmla="*/ 3171825 w 3762723"/>
                <a:gd name="connsiteY121" fmla="*/ 904875 h 1871663"/>
                <a:gd name="connsiteX122" fmla="*/ 3195637 w 3762723"/>
                <a:gd name="connsiteY122" fmla="*/ 885825 h 1871663"/>
                <a:gd name="connsiteX123" fmla="*/ 3238500 w 3762723"/>
                <a:gd name="connsiteY123" fmla="*/ 809626 h 1871663"/>
                <a:gd name="connsiteX124" fmla="*/ 3281362 w 3762723"/>
                <a:gd name="connsiteY124" fmla="*/ 723900 h 1871663"/>
                <a:gd name="connsiteX125" fmla="*/ 3348037 w 3762723"/>
                <a:gd name="connsiteY125" fmla="*/ 681038 h 1871663"/>
                <a:gd name="connsiteX126" fmla="*/ 3352800 w 3762723"/>
                <a:gd name="connsiteY126" fmla="*/ 666750 h 1871663"/>
                <a:gd name="connsiteX127" fmla="*/ 3362325 w 3762723"/>
                <a:gd name="connsiteY127" fmla="*/ 633413 h 1871663"/>
                <a:gd name="connsiteX128" fmla="*/ 3424237 w 3762723"/>
                <a:gd name="connsiteY128" fmla="*/ 614363 h 1871663"/>
                <a:gd name="connsiteX129" fmla="*/ 3448050 w 3762723"/>
                <a:gd name="connsiteY129" fmla="*/ 581025 h 1871663"/>
                <a:gd name="connsiteX130" fmla="*/ 3419475 w 3762723"/>
                <a:gd name="connsiteY130" fmla="*/ 557213 h 1871663"/>
                <a:gd name="connsiteX131" fmla="*/ 3481387 w 3762723"/>
                <a:gd name="connsiteY131" fmla="*/ 528638 h 1871663"/>
                <a:gd name="connsiteX132" fmla="*/ 3519487 w 3762723"/>
                <a:gd name="connsiteY132" fmla="*/ 504825 h 1871663"/>
                <a:gd name="connsiteX133" fmla="*/ 3533775 w 3762723"/>
                <a:gd name="connsiteY133" fmla="*/ 495300 h 1871663"/>
                <a:gd name="connsiteX134" fmla="*/ 3548062 w 3762723"/>
                <a:gd name="connsiteY134" fmla="*/ 481013 h 1871663"/>
                <a:gd name="connsiteX135" fmla="*/ 3562350 w 3762723"/>
                <a:gd name="connsiteY135" fmla="*/ 476250 h 1871663"/>
                <a:gd name="connsiteX136" fmla="*/ 3600450 w 3762723"/>
                <a:gd name="connsiteY136" fmla="*/ 447675 h 1871663"/>
                <a:gd name="connsiteX137" fmla="*/ 3629025 w 3762723"/>
                <a:gd name="connsiteY137" fmla="*/ 400050 h 1871663"/>
                <a:gd name="connsiteX138" fmla="*/ 3638550 w 3762723"/>
                <a:gd name="connsiteY138" fmla="*/ 385763 h 1871663"/>
                <a:gd name="connsiteX139" fmla="*/ 3643312 w 3762723"/>
                <a:gd name="connsiteY139" fmla="*/ 366713 h 1871663"/>
                <a:gd name="connsiteX140" fmla="*/ 3648075 w 3762723"/>
                <a:gd name="connsiteY140" fmla="*/ 285750 h 1871663"/>
                <a:gd name="connsiteX141" fmla="*/ 3662362 w 3762723"/>
                <a:gd name="connsiteY141" fmla="*/ 257175 h 1871663"/>
                <a:gd name="connsiteX142" fmla="*/ 3671887 w 3762723"/>
                <a:gd name="connsiteY142" fmla="*/ 242888 h 1871663"/>
                <a:gd name="connsiteX143" fmla="*/ 3690937 w 3762723"/>
                <a:gd name="connsiteY143" fmla="*/ 209550 h 1871663"/>
                <a:gd name="connsiteX144" fmla="*/ 3700462 w 3762723"/>
                <a:gd name="connsiteY144" fmla="*/ 142875 h 1871663"/>
                <a:gd name="connsiteX145" fmla="*/ 3705225 w 3762723"/>
                <a:gd name="connsiteY145" fmla="*/ 100013 h 1871663"/>
                <a:gd name="connsiteX146" fmla="*/ 3719512 w 3762723"/>
                <a:gd name="connsiteY146" fmla="*/ 76200 h 1871663"/>
                <a:gd name="connsiteX147" fmla="*/ 3748087 w 3762723"/>
                <a:gd name="connsiteY147" fmla="*/ 42863 h 1871663"/>
                <a:gd name="connsiteX148" fmla="*/ 3762375 w 3762723"/>
                <a:gd name="connsiteY148" fmla="*/ 14288 h 1871663"/>
                <a:gd name="connsiteX149" fmla="*/ 3762375 w 3762723"/>
                <a:gd name="connsiteY14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43250 w 3762723"/>
                <a:gd name="connsiteY119" fmla="*/ 966788 h 1871663"/>
                <a:gd name="connsiteX120" fmla="*/ 3171825 w 3762723"/>
                <a:gd name="connsiteY120" fmla="*/ 904875 h 1871663"/>
                <a:gd name="connsiteX121" fmla="*/ 3195637 w 3762723"/>
                <a:gd name="connsiteY121" fmla="*/ 885825 h 1871663"/>
                <a:gd name="connsiteX122" fmla="*/ 3238500 w 3762723"/>
                <a:gd name="connsiteY122" fmla="*/ 809626 h 1871663"/>
                <a:gd name="connsiteX123" fmla="*/ 3281362 w 3762723"/>
                <a:gd name="connsiteY123" fmla="*/ 723900 h 1871663"/>
                <a:gd name="connsiteX124" fmla="*/ 3348037 w 3762723"/>
                <a:gd name="connsiteY124" fmla="*/ 681038 h 1871663"/>
                <a:gd name="connsiteX125" fmla="*/ 3352800 w 3762723"/>
                <a:gd name="connsiteY125" fmla="*/ 666750 h 1871663"/>
                <a:gd name="connsiteX126" fmla="*/ 3362325 w 3762723"/>
                <a:gd name="connsiteY126" fmla="*/ 633413 h 1871663"/>
                <a:gd name="connsiteX127" fmla="*/ 3424237 w 3762723"/>
                <a:gd name="connsiteY127" fmla="*/ 614363 h 1871663"/>
                <a:gd name="connsiteX128" fmla="*/ 3448050 w 3762723"/>
                <a:gd name="connsiteY128" fmla="*/ 581025 h 1871663"/>
                <a:gd name="connsiteX129" fmla="*/ 3419475 w 3762723"/>
                <a:gd name="connsiteY129" fmla="*/ 557213 h 1871663"/>
                <a:gd name="connsiteX130" fmla="*/ 3481387 w 3762723"/>
                <a:gd name="connsiteY130" fmla="*/ 528638 h 1871663"/>
                <a:gd name="connsiteX131" fmla="*/ 3519487 w 3762723"/>
                <a:gd name="connsiteY131" fmla="*/ 504825 h 1871663"/>
                <a:gd name="connsiteX132" fmla="*/ 3533775 w 3762723"/>
                <a:gd name="connsiteY132" fmla="*/ 495300 h 1871663"/>
                <a:gd name="connsiteX133" fmla="*/ 3548062 w 3762723"/>
                <a:gd name="connsiteY133" fmla="*/ 481013 h 1871663"/>
                <a:gd name="connsiteX134" fmla="*/ 3562350 w 3762723"/>
                <a:gd name="connsiteY134" fmla="*/ 476250 h 1871663"/>
                <a:gd name="connsiteX135" fmla="*/ 3600450 w 3762723"/>
                <a:gd name="connsiteY135" fmla="*/ 447675 h 1871663"/>
                <a:gd name="connsiteX136" fmla="*/ 3629025 w 3762723"/>
                <a:gd name="connsiteY136" fmla="*/ 400050 h 1871663"/>
                <a:gd name="connsiteX137" fmla="*/ 3638550 w 3762723"/>
                <a:gd name="connsiteY137" fmla="*/ 385763 h 1871663"/>
                <a:gd name="connsiteX138" fmla="*/ 3643312 w 3762723"/>
                <a:gd name="connsiteY138" fmla="*/ 366713 h 1871663"/>
                <a:gd name="connsiteX139" fmla="*/ 3648075 w 3762723"/>
                <a:gd name="connsiteY139" fmla="*/ 285750 h 1871663"/>
                <a:gd name="connsiteX140" fmla="*/ 3662362 w 3762723"/>
                <a:gd name="connsiteY140" fmla="*/ 257175 h 1871663"/>
                <a:gd name="connsiteX141" fmla="*/ 3671887 w 3762723"/>
                <a:gd name="connsiteY141" fmla="*/ 242888 h 1871663"/>
                <a:gd name="connsiteX142" fmla="*/ 3690937 w 3762723"/>
                <a:gd name="connsiteY142" fmla="*/ 209550 h 1871663"/>
                <a:gd name="connsiteX143" fmla="*/ 3700462 w 3762723"/>
                <a:gd name="connsiteY143" fmla="*/ 142875 h 1871663"/>
                <a:gd name="connsiteX144" fmla="*/ 3705225 w 3762723"/>
                <a:gd name="connsiteY144" fmla="*/ 100013 h 1871663"/>
                <a:gd name="connsiteX145" fmla="*/ 3719512 w 3762723"/>
                <a:gd name="connsiteY145" fmla="*/ 76200 h 1871663"/>
                <a:gd name="connsiteX146" fmla="*/ 3748087 w 3762723"/>
                <a:gd name="connsiteY146" fmla="*/ 42863 h 1871663"/>
                <a:gd name="connsiteX147" fmla="*/ 3762375 w 3762723"/>
                <a:gd name="connsiteY147" fmla="*/ 14288 h 1871663"/>
                <a:gd name="connsiteX148" fmla="*/ 3762375 w 3762723"/>
                <a:gd name="connsiteY148"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71825 w 3762723"/>
                <a:gd name="connsiteY119" fmla="*/ 904875 h 1871663"/>
                <a:gd name="connsiteX120" fmla="*/ 3195637 w 3762723"/>
                <a:gd name="connsiteY120" fmla="*/ 885825 h 1871663"/>
                <a:gd name="connsiteX121" fmla="*/ 3238500 w 3762723"/>
                <a:gd name="connsiteY121" fmla="*/ 809626 h 1871663"/>
                <a:gd name="connsiteX122" fmla="*/ 3281362 w 3762723"/>
                <a:gd name="connsiteY122" fmla="*/ 723900 h 1871663"/>
                <a:gd name="connsiteX123" fmla="*/ 3348037 w 3762723"/>
                <a:gd name="connsiteY123" fmla="*/ 681038 h 1871663"/>
                <a:gd name="connsiteX124" fmla="*/ 3352800 w 3762723"/>
                <a:gd name="connsiteY124" fmla="*/ 666750 h 1871663"/>
                <a:gd name="connsiteX125" fmla="*/ 3362325 w 3762723"/>
                <a:gd name="connsiteY125" fmla="*/ 633413 h 1871663"/>
                <a:gd name="connsiteX126" fmla="*/ 3424237 w 3762723"/>
                <a:gd name="connsiteY126" fmla="*/ 614363 h 1871663"/>
                <a:gd name="connsiteX127" fmla="*/ 3448050 w 3762723"/>
                <a:gd name="connsiteY127" fmla="*/ 581025 h 1871663"/>
                <a:gd name="connsiteX128" fmla="*/ 3419475 w 3762723"/>
                <a:gd name="connsiteY128" fmla="*/ 557213 h 1871663"/>
                <a:gd name="connsiteX129" fmla="*/ 3481387 w 3762723"/>
                <a:gd name="connsiteY129" fmla="*/ 528638 h 1871663"/>
                <a:gd name="connsiteX130" fmla="*/ 3519487 w 3762723"/>
                <a:gd name="connsiteY130" fmla="*/ 504825 h 1871663"/>
                <a:gd name="connsiteX131" fmla="*/ 3533775 w 3762723"/>
                <a:gd name="connsiteY131" fmla="*/ 495300 h 1871663"/>
                <a:gd name="connsiteX132" fmla="*/ 3548062 w 3762723"/>
                <a:gd name="connsiteY132" fmla="*/ 481013 h 1871663"/>
                <a:gd name="connsiteX133" fmla="*/ 3562350 w 3762723"/>
                <a:gd name="connsiteY133" fmla="*/ 476250 h 1871663"/>
                <a:gd name="connsiteX134" fmla="*/ 3600450 w 3762723"/>
                <a:gd name="connsiteY134" fmla="*/ 447675 h 1871663"/>
                <a:gd name="connsiteX135" fmla="*/ 3629025 w 3762723"/>
                <a:gd name="connsiteY135" fmla="*/ 400050 h 1871663"/>
                <a:gd name="connsiteX136" fmla="*/ 3638550 w 3762723"/>
                <a:gd name="connsiteY136" fmla="*/ 385763 h 1871663"/>
                <a:gd name="connsiteX137" fmla="*/ 3643312 w 3762723"/>
                <a:gd name="connsiteY137" fmla="*/ 366713 h 1871663"/>
                <a:gd name="connsiteX138" fmla="*/ 3648075 w 3762723"/>
                <a:gd name="connsiteY138" fmla="*/ 285750 h 1871663"/>
                <a:gd name="connsiteX139" fmla="*/ 3662362 w 3762723"/>
                <a:gd name="connsiteY139" fmla="*/ 257175 h 1871663"/>
                <a:gd name="connsiteX140" fmla="*/ 3671887 w 3762723"/>
                <a:gd name="connsiteY140" fmla="*/ 242888 h 1871663"/>
                <a:gd name="connsiteX141" fmla="*/ 3690937 w 3762723"/>
                <a:gd name="connsiteY141" fmla="*/ 209550 h 1871663"/>
                <a:gd name="connsiteX142" fmla="*/ 3700462 w 3762723"/>
                <a:gd name="connsiteY142" fmla="*/ 142875 h 1871663"/>
                <a:gd name="connsiteX143" fmla="*/ 3705225 w 3762723"/>
                <a:gd name="connsiteY143" fmla="*/ 100013 h 1871663"/>
                <a:gd name="connsiteX144" fmla="*/ 3719512 w 3762723"/>
                <a:gd name="connsiteY144" fmla="*/ 76200 h 1871663"/>
                <a:gd name="connsiteX145" fmla="*/ 3748087 w 3762723"/>
                <a:gd name="connsiteY145" fmla="*/ 42863 h 1871663"/>
                <a:gd name="connsiteX146" fmla="*/ 3762375 w 3762723"/>
                <a:gd name="connsiteY146" fmla="*/ 14288 h 1871663"/>
                <a:gd name="connsiteX147" fmla="*/ 3762375 w 3762723"/>
                <a:gd name="connsiteY147"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71825 w 3762723"/>
                <a:gd name="connsiteY118" fmla="*/ 904875 h 1871663"/>
                <a:gd name="connsiteX119" fmla="*/ 3195637 w 3762723"/>
                <a:gd name="connsiteY119" fmla="*/ 885825 h 1871663"/>
                <a:gd name="connsiteX120" fmla="*/ 3238500 w 3762723"/>
                <a:gd name="connsiteY120" fmla="*/ 809626 h 1871663"/>
                <a:gd name="connsiteX121" fmla="*/ 3281362 w 3762723"/>
                <a:gd name="connsiteY121" fmla="*/ 723900 h 1871663"/>
                <a:gd name="connsiteX122" fmla="*/ 3348037 w 3762723"/>
                <a:gd name="connsiteY122" fmla="*/ 681038 h 1871663"/>
                <a:gd name="connsiteX123" fmla="*/ 3352800 w 3762723"/>
                <a:gd name="connsiteY123" fmla="*/ 666750 h 1871663"/>
                <a:gd name="connsiteX124" fmla="*/ 3362325 w 3762723"/>
                <a:gd name="connsiteY124" fmla="*/ 633413 h 1871663"/>
                <a:gd name="connsiteX125" fmla="*/ 3424237 w 3762723"/>
                <a:gd name="connsiteY125" fmla="*/ 614363 h 1871663"/>
                <a:gd name="connsiteX126" fmla="*/ 3448050 w 3762723"/>
                <a:gd name="connsiteY126" fmla="*/ 581025 h 1871663"/>
                <a:gd name="connsiteX127" fmla="*/ 3419475 w 3762723"/>
                <a:gd name="connsiteY127" fmla="*/ 557213 h 1871663"/>
                <a:gd name="connsiteX128" fmla="*/ 3481387 w 3762723"/>
                <a:gd name="connsiteY128" fmla="*/ 528638 h 1871663"/>
                <a:gd name="connsiteX129" fmla="*/ 3519487 w 3762723"/>
                <a:gd name="connsiteY129" fmla="*/ 504825 h 1871663"/>
                <a:gd name="connsiteX130" fmla="*/ 3533775 w 3762723"/>
                <a:gd name="connsiteY130" fmla="*/ 495300 h 1871663"/>
                <a:gd name="connsiteX131" fmla="*/ 3548062 w 3762723"/>
                <a:gd name="connsiteY131" fmla="*/ 481013 h 1871663"/>
                <a:gd name="connsiteX132" fmla="*/ 3562350 w 3762723"/>
                <a:gd name="connsiteY132" fmla="*/ 476250 h 1871663"/>
                <a:gd name="connsiteX133" fmla="*/ 3600450 w 3762723"/>
                <a:gd name="connsiteY133" fmla="*/ 447675 h 1871663"/>
                <a:gd name="connsiteX134" fmla="*/ 3629025 w 3762723"/>
                <a:gd name="connsiteY134" fmla="*/ 400050 h 1871663"/>
                <a:gd name="connsiteX135" fmla="*/ 3638550 w 3762723"/>
                <a:gd name="connsiteY135" fmla="*/ 385763 h 1871663"/>
                <a:gd name="connsiteX136" fmla="*/ 3643312 w 3762723"/>
                <a:gd name="connsiteY136" fmla="*/ 366713 h 1871663"/>
                <a:gd name="connsiteX137" fmla="*/ 3648075 w 3762723"/>
                <a:gd name="connsiteY137" fmla="*/ 285750 h 1871663"/>
                <a:gd name="connsiteX138" fmla="*/ 3662362 w 3762723"/>
                <a:gd name="connsiteY138" fmla="*/ 257175 h 1871663"/>
                <a:gd name="connsiteX139" fmla="*/ 3671887 w 3762723"/>
                <a:gd name="connsiteY139" fmla="*/ 242888 h 1871663"/>
                <a:gd name="connsiteX140" fmla="*/ 3690937 w 3762723"/>
                <a:gd name="connsiteY140" fmla="*/ 209550 h 1871663"/>
                <a:gd name="connsiteX141" fmla="*/ 3700462 w 3762723"/>
                <a:gd name="connsiteY141" fmla="*/ 142875 h 1871663"/>
                <a:gd name="connsiteX142" fmla="*/ 3705225 w 3762723"/>
                <a:gd name="connsiteY142" fmla="*/ 100013 h 1871663"/>
                <a:gd name="connsiteX143" fmla="*/ 3719512 w 3762723"/>
                <a:gd name="connsiteY143" fmla="*/ 76200 h 1871663"/>
                <a:gd name="connsiteX144" fmla="*/ 3748087 w 3762723"/>
                <a:gd name="connsiteY144" fmla="*/ 42863 h 1871663"/>
                <a:gd name="connsiteX145" fmla="*/ 3762375 w 3762723"/>
                <a:gd name="connsiteY145" fmla="*/ 14288 h 1871663"/>
                <a:gd name="connsiteX146" fmla="*/ 3762375 w 3762723"/>
                <a:gd name="connsiteY14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71825 w 3762723"/>
                <a:gd name="connsiteY118" fmla="*/ 904875 h 1871663"/>
                <a:gd name="connsiteX119" fmla="*/ 3238500 w 3762723"/>
                <a:gd name="connsiteY119" fmla="*/ 809626 h 1871663"/>
                <a:gd name="connsiteX120" fmla="*/ 3281362 w 3762723"/>
                <a:gd name="connsiteY120" fmla="*/ 723900 h 1871663"/>
                <a:gd name="connsiteX121" fmla="*/ 3348037 w 3762723"/>
                <a:gd name="connsiteY121" fmla="*/ 681038 h 1871663"/>
                <a:gd name="connsiteX122" fmla="*/ 3352800 w 3762723"/>
                <a:gd name="connsiteY122" fmla="*/ 666750 h 1871663"/>
                <a:gd name="connsiteX123" fmla="*/ 3362325 w 3762723"/>
                <a:gd name="connsiteY123" fmla="*/ 633413 h 1871663"/>
                <a:gd name="connsiteX124" fmla="*/ 3424237 w 3762723"/>
                <a:gd name="connsiteY124" fmla="*/ 614363 h 1871663"/>
                <a:gd name="connsiteX125" fmla="*/ 3448050 w 3762723"/>
                <a:gd name="connsiteY125" fmla="*/ 581025 h 1871663"/>
                <a:gd name="connsiteX126" fmla="*/ 3419475 w 3762723"/>
                <a:gd name="connsiteY126" fmla="*/ 557213 h 1871663"/>
                <a:gd name="connsiteX127" fmla="*/ 3481387 w 3762723"/>
                <a:gd name="connsiteY127" fmla="*/ 528638 h 1871663"/>
                <a:gd name="connsiteX128" fmla="*/ 3519487 w 3762723"/>
                <a:gd name="connsiteY128" fmla="*/ 504825 h 1871663"/>
                <a:gd name="connsiteX129" fmla="*/ 3533775 w 3762723"/>
                <a:gd name="connsiteY129" fmla="*/ 495300 h 1871663"/>
                <a:gd name="connsiteX130" fmla="*/ 3548062 w 3762723"/>
                <a:gd name="connsiteY130" fmla="*/ 481013 h 1871663"/>
                <a:gd name="connsiteX131" fmla="*/ 3562350 w 3762723"/>
                <a:gd name="connsiteY131" fmla="*/ 476250 h 1871663"/>
                <a:gd name="connsiteX132" fmla="*/ 3600450 w 3762723"/>
                <a:gd name="connsiteY132" fmla="*/ 447675 h 1871663"/>
                <a:gd name="connsiteX133" fmla="*/ 3629025 w 3762723"/>
                <a:gd name="connsiteY133" fmla="*/ 400050 h 1871663"/>
                <a:gd name="connsiteX134" fmla="*/ 3638550 w 3762723"/>
                <a:gd name="connsiteY134" fmla="*/ 385763 h 1871663"/>
                <a:gd name="connsiteX135" fmla="*/ 3643312 w 3762723"/>
                <a:gd name="connsiteY135" fmla="*/ 366713 h 1871663"/>
                <a:gd name="connsiteX136" fmla="*/ 3648075 w 3762723"/>
                <a:gd name="connsiteY136" fmla="*/ 285750 h 1871663"/>
                <a:gd name="connsiteX137" fmla="*/ 3662362 w 3762723"/>
                <a:gd name="connsiteY137" fmla="*/ 257175 h 1871663"/>
                <a:gd name="connsiteX138" fmla="*/ 3671887 w 3762723"/>
                <a:gd name="connsiteY138" fmla="*/ 242888 h 1871663"/>
                <a:gd name="connsiteX139" fmla="*/ 3690937 w 3762723"/>
                <a:gd name="connsiteY139" fmla="*/ 209550 h 1871663"/>
                <a:gd name="connsiteX140" fmla="*/ 3700462 w 3762723"/>
                <a:gd name="connsiteY140" fmla="*/ 142875 h 1871663"/>
                <a:gd name="connsiteX141" fmla="*/ 3705225 w 3762723"/>
                <a:gd name="connsiteY141" fmla="*/ 100013 h 1871663"/>
                <a:gd name="connsiteX142" fmla="*/ 3719512 w 3762723"/>
                <a:gd name="connsiteY142" fmla="*/ 76200 h 1871663"/>
                <a:gd name="connsiteX143" fmla="*/ 3748087 w 3762723"/>
                <a:gd name="connsiteY143" fmla="*/ 42863 h 1871663"/>
                <a:gd name="connsiteX144" fmla="*/ 3762375 w 3762723"/>
                <a:gd name="connsiteY144" fmla="*/ 14288 h 1871663"/>
                <a:gd name="connsiteX145" fmla="*/ 3762375 w 3762723"/>
                <a:gd name="connsiteY145"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71825 w 3762723"/>
                <a:gd name="connsiteY117" fmla="*/ 904875 h 1871663"/>
                <a:gd name="connsiteX118" fmla="*/ 3238500 w 3762723"/>
                <a:gd name="connsiteY118" fmla="*/ 809626 h 1871663"/>
                <a:gd name="connsiteX119" fmla="*/ 3281362 w 3762723"/>
                <a:gd name="connsiteY119" fmla="*/ 723900 h 1871663"/>
                <a:gd name="connsiteX120" fmla="*/ 3348037 w 3762723"/>
                <a:gd name="connsiteY120" fmla="*/ 681038 h 1871663"/>
                <a:gd name="connsiteX121" fmla="*/ 3352800 w 3762723"/>
                <a:gd name="connsiteY121" fmla="*/ 666750 h 1871663"/>
                <a:gd name="connsiteX122" fmla="*/ 3362325 w 3762723"/>
                <a:gd name="connsiteY122" fmla="*/ 633413 h 1871663"/>
                <a:gd name="connsiteX123" fmla="*/ 3424237 w 3762723"/>
                <a:gd name="connsiteY123" fmla="*/ 614363 h 1871663"/>
                <a:gd name="connsiteX124" fmla="*/ 3448050 w 3762723"/>
                <a:gd name="connsiteY124" fmla="*/ 581025 h 1871663"/>
                <a:gd name="connsiteX125" fmla="*/ 3419475 w 3762723"/>
                <a:gd name="connsiteY125" fmla="*/ 557213 h 1871663"/>
                <a:gd name="connsiteX126" fmla="*/ 3481387 w 3762723"/>
                <a:gd name="connsiteY126" fmla="*/ 528638 h 1871663"/>
                <a:gd name="connsiteX127" fmla="*/ 3519487 w 3762723"/>
                <a:gd name="connsiteY127" fmla="*/ 504825 h 1871663"/>
                <a:gd name="connsiteX128" fmla="*/ 3533775 w 3762723"/>
                <a:gd name="connsiteY128" fmla="*/ 495300 h 1871663"/>
                <a:gd name="connsiteX129" fmla="*/ 3548062 w 3762723"/>
                <a:gd name="connsiteY129" fmla="*/ 481013 h 1871663"/>
                <a:gd name="connsiteX130" fmla="*/ 3562350 w 3762723"/>
                <a:gd name="connsiteY130" fmla="*/ 476250 h 1871663"/>
                <a:gd name="connsiteX131" fmla="*/ 3600450 w 3762723"/>
                <a:gd name="connsiteY131" fmla="*/ 447675 h 1871663"/>
                <a:gd name="connsiteX132" fmla="*/ 3629025 w 3762723"/>
                <a:gd name="connsiteY132" fmla="*/ 400050 h 1871663"/>
                <a:gd name="connsiteX133" fmla="*/ 3638550 w 3762723"/>
                <a:gd name="connsiteY133" fmla="*/ 385763 h 1871663"/>
                <a:gd name="connsiteX134" fmla="*/ 3643312 w 3762723"/>
                <a:gd name="connsiteY134" fmla="*/ 366713 h 1871663"/>
                <a:gd name="connsiteX135" fmla="*/ 3648075 w 3762723"/>
                <a:gd name="connsiteY135" fmla="*/ 285750 h 1871663"/>
                <a:gd name="connsiteX136" fmla="*/ 3662362 w 3762723"/>
                <a:gd name="connsiteY136" fmla="*/ 257175 h 1871663"/>
                <a:gd name="connsiteX137" fmla="*/ 3671887 w 3762723"/>
                <a:gd name="connsiteY137" fmla="*/ 242888 h 1871663"/>
                <a:gd name="connsiteX138" fmla="*/ 3690937 w 3762723"/>
                <a:gd name="connsiteY138" fmla="*/ 209550 h 1871663"/>
                <a:gd name="connsiteX139" fmla="*/ 3700462 w 3762723"/>
                <a:gd name="connsiteY139" fmla="*/ 142875 h 1871663"/>
                <a:gd name="connsiteX140" fmla="*/ 3705225 w 3762723"/>
                <a:gd name="connsiteY140" fmla="*/ 100013 h 1871663"/>
                <a:gd name="connsiteX141" fmla="*/ 3719512 w 3762723"/>
                <a:gd name="connsiteY141" fmla="*/ 76200 h 1871663"/>
                <a:gd name="connsiteX142" fmla="*/ 3748087 w 3762723"/>
                <a:gd name="connsiteY142" fmla="*/ 42863 h 1871663"/>
                <a:gd name="connsiteX143" fmla="*/ 3762375 w 3762723"/>
                <a:gd name="connsiteY143" fmla="*/ 14288 h 1871663"/>
                <a:gd name="connsiteX144" fmla="*/ 3762375 w 3762723"/>
                <a:gd name="connsiteY144"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171825 w 3762723"/>
                <a:gd name="connsiteY116" fmla="*/ 904875 h 1871663"/>
                <a:gd name="connsiteX117" fmla="*/ 3238500 w 3762723"/>
                <a:gd name="connsiteY117" fmla="*/ 809626 h 1871663"/>
                <a:gd name="connsiteX118" fmla="*/ 3281362 w 3762723"/>
                <a:gd name="connsiteY118" fmla="*/ 723900 h 1871663"/>
                <a:gd name="connsiteX119" fmla="*/ 3348037 w 3762723"/>
                <a:gd name="connsiteY119" fmla="*/ 681038 h 1871663"/>
                <a:gd name="connsiteX120" fmla="*/ 3352800 w 3762723"/>
                <a:gd name="connsiteY120" fmla="*/ 666750 h 1871663"/>
                <a:gd name="connsiteX121" fmla="*/ 3362325 w 3762723"/>
                <a:gd name="connsiteY121" fmla="*/ 633413 h 1871663"/>
                <a:gd name="connsiteX122" fmla="*/ 3424237 w 3762723"/>
                <a:gd name="connsiteY122" fmla="*/ 614363 h 1871663"/>
                <a:gd name="connsiteX123" fmla="*/ 3448050 w 3762723"/>
                <a:gd name="connsiteY123" fmla="*/ 581025 h 1871663"/>
                <a:gd name="connsiteX124" fmla="*/ 3419475 w 3762723"/>
                <a:gd name="connsiteY124" fmla="*/ 557213 h 1871663"/>
                <a:gd name="connsiteX125" fmla="*/ 3481387 w 3762723"/>
                <a:gd name="connsiteY125" fmla="*/ 528638 h 1871663"/>
                <a:gd name="connsiteX126" fmla="*/ 3519487 w 3762723"/>
                <a:gd name="connsiteY126" fmla="*/ 504825 h 1871663"/>
                <a:gd name="connsiteX127" fmla="*/ 3533775 w 3762723"/>
                <a:gd name="connsiteY127" fmla="*/ 495300 h 1871663"/>
                <a:gd name="connsiteX128" fmla="*/ 3548062 w 3762723"/>
                <a:gd name="connsiteY128" fmla="*/ 481013 h 1871663"/>
                <a:gd name="connsiteX129" fmla="*/ 3562350 w 3762723"/>
                <a:gd name="connsiteY129" fmla="*/ 476250 h 1871663"/>
                <a:gd name="connsiteX130" fmla="*/ 3600450 w 3762723"/>
                <a:gd name="connsiteY130" fmla="*/ 447675 h 1871663"/>
                <a:gd name="connsiteX131" fmla="*/ 3629025 w 3762723"/>
                <a:gd name="connsiteY131" fmla="*/ 400050 h 1871663"/>
                <a:gd name="connsiteX132" fmla="*/ 3638550 w 3762723"/>
                <a:gd name="connsiteY132" fmla="*/ 385763 h 1871663"/>
                <a:gd name="connsiteX133" fmla="*/ 3643312 w 3762723"/>
                <a:gd name="connsiteY133" fmla="*/ 366713 h 1871663"/>
                <a:gd name="connsiteX134" fmla="*/ 3648075 w 3762723"/>
                <a:gd name="connsiteY134" fmla="*/ 285750 h 1871663"/>
                <a:gd name="connsiteX135" fmla="*/ 3662362 w 3762723"/>
                <a:gd name="connsiteY135" fmla="*/ 257175 h 1871663"/>
                <a:gd name="connsiteX136" fmla="*/ 3671887 w 3762723"/>
                <a:gd name="connsiteY136" fmla="*/ 242888 h 1871663"/>
                <a:gd name="connsiteX137" fmla="*/ 3690937 w 3762723"/>
                <a:gd name="connsiteY137" fmla="*/ 209550 h 1871663"/>
                <a:gd name="connsiteX138" fmla="*/ 3700462 w 3762723"/>
                <a:gd name="connsiteY138" fmla="*/ 142875 h 1871663"/>
                <a:gd name="connsiteX139" fmla="*/ 3705225 w 3762723"/>
                <a:gd name="connsiteY139" fmla="*/ 100013 h 1871663"/>
                <a:gd name="connsiteX140" fmla="*/ 3719512 w 3762723"/>
                <a:gd name="connsiteY140" fmla="*/ 76200 h 1871663"/>
                <a:gd name="connsiteX141" fmla="*/ 3748087 w 3762723"/>
                <a:gd name="connsiteY141" fmla="*/ 42863 h 1871663"/>
                <a:gd name="connsiteX142" fmla="*/ 3762375 w 3762723"/>
                <a:gd name="connsiteY142" fmla="*/ 14288 h 1871663"/>
                <a:gd name="connsiteX143" fmla="*/ 3762375 w 3762723"/>
                <a:gd name="connsiteY143"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481387 w 3762723"/>
                <a:gd name="connsiteY124" fmla="*/ 528638 h 1871663"/>
                <a:gd name="connsiteX125" fmla="*/ 3519487 w 3762723"/>
                <a:gd name="connsiteY125" fmla="*/ 504825 h 1871663"/>
                <a:gd name="connsiteX126" fmla="*/ 3533775 w 3762723"/>
                <a:gd name="connsiteY126" fmla="*/ 495300 h 1871663"/>
                <a:gd name="connsiteX127" fmla="*/ 3548062 w 3762723"/>
                <a:gd name="connsiteY127" fmla="*/ 481013 h 1871663"/>
                <a:gd name="connsiteX128" fmla="*/ 3562350 w 3762723"/>
                <a:gd name="connsiteY128" fmla="*/ 476250 h 1871663"/>
                <a:gd name="connsiteX129" fmla="*/ 3600450 w 3762723"/>
                <a:gd name="connsiteY129" fmla="*/ 447675 h 1871663"/>
                <a:gd name="connsiteX130" fmla="*/ 3629025 w 3762723"/>
                <a:gd name="connsiteY130" fmla="*/ 400050 h 1871663"/>
                <a:gd name="connsiteX131" fmla="*/ 3638550 w 3762723"/>
                <a:gd name="connsiteY131" fmla="*/ 385763 h 1871663"/>
                <a:gd name="connsiteX132" fmla="*/ 3643312 w 3762723"/>
                <a:gd name="connsiteY132" fmla="*/ 366713 h 1871663"/>
                <a:gd name="connsiteX133" fmla="*/ 3648075 w 3762723"/>
                <a:gd name="connsiteY133" fmla="*/ 285750 h 1871663"/>
                <a:gd name="connsiteX134" fmla="*/ 3662362 w 3762723"/>
                <a:gd name="connsiteY134" fmla="*/ 257175 h 1871663"/>
                <a:gd name="connsiteX135" fmla="*/ 3671887 w 3762723"/>
                <a:gd name="connsiteY135" fmla="*/ 242888 h 1871663"/>
                <a:gd name="connsiteX136" fmla="*/ 3690937 w 3762723"/>
                <a:gd name="connsiteY136" fmla="*/ 209550 h 1871663"/>
                <a:gd name="connsiteX137" fmla="*/ 3700462 w 3762723"/>
                <a:gd name="connsiteY137" fmla="*/ 142875 h 1871663"/>
                <a:gd name="connsiteX138" fmla="*/ 3705225 w 3762723"/>
                <a:gd name="connsiteY138" fmla="*/ 100013 h 1871663"/>
                <a:gd name="connsiteX139" fmla="*/ 3719512 w 3762723"/>
                <a:gd name="connsiteY139" fmla="*/ 76200 h 1871663"/>
                <a:gd name="connsiteX140" fmla="*/ 3748087 w 3762723"/>
                <a:gd name="connsiteY140" fmla="*/ 42863 h 1871663"/>
                <a:gd name="connsiteX141" fmla="*/ 3762375 w 3762723"/>
                <a:gd name="connsiteY141" fmla="*/ 14288 h 1871663"/>
                <a:gd name="connsiteX142" fmla="*/ 3762375 w 3762723"/>
                <a:gd name="connsiteY14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481387 w 3762723"/>
                <a:gd name="connsiteY124" fmla="*/ 528638 h 1871663"/>
                <a:gd name="connsiteX125" fmla="*/ 3519487 w 3762723"/>
                <a:gd name="connsiteY125" fmla="*/ 504825 h 1871663"/>
                <a:gd name="connsiteX126" fmla="*/ 3533775 w 3762723"/>
                <a:gd name="connsiteY126" fmla="*/ 495300 h 1871663"/>
                <a:gd name="connsiteX127" fmla="*/ 3548062 w 3762723"/>
                <a:gd name="connsiteY127" fmla="*/ 481013 h 1871663"/>
                <a:gd name="connsiteX128" fmla="*/ 3600450 w 3762723"/>
                <a:gd name="connsiteY128" fmla="*/ 447675 h 1871663"/>
                <a:gd name="connsiteX129" fmla="*/ 3629025 w 3762723"/>
                <a:gd name="connsiteY129" fmla="*/ 400050 h 1871663"/>
                <a:gd name="connsiteX130" fmla="*/ 3638550 w 3762723"/>
                <a:gd name="connsiteY130" fmla="*/ 385763 h 1871663"/>
                <a:gd name="connsiteX131" fmla="*/ 3643312 w 3762723"/>
                <a:gd name="connsiteY131" fmla="*/ 366713 h 1871663"/>
                <a:gd name="connsiteX132" fmla="*/ 3648075 w 3762723"/>
                <a:gd name="connsiteY132" fmla="*/ 285750 h 1871663"/>
                <a:gd name="connsiteX133" fmla="*/ 3662362 w 3762723"/>
                <a:gd name="connsiteY133" fmla="*/ 257175 h 1871663"/>
                <a:gd name="connsiteX134" fmla="*/ 3671887 w 3762723"/>
                <a:gd name="connsiteY134" fmla="*/ 242888 h 1871663"/>
                <a:gd name="connsiteX135" fmla="*/ 3690937 w 3762723"/>
                <a:gd name="connsiteY135" fmla="*/ 209550 h 1871663"/>
                <a:gd name="connsiteX136" fmla="*/ 3700462 w 3762723"/>
                <a:gd name="connsiteY136" fmla="*/ 142875 h 1871663"/>
                <a:gd name="connsiteX137" fmla="*/ 3705225 w 3762723"/>
                <a:gd name="connsiteY137" fmla="*/ 100013 h 1871663"/>
                <a:gd name="connsiteX138" fmla="*/ 3719512 w 3762723"/>
                <a:gd name="connsiteY138" fmla="*/ 76200 h 1871663"/>
                <a:gd name="connsiteX139" fmla="*/ 3748087 w 3762723"/>
                <a:gd name="connsiteY139" fmla="*/ 42863 h 1871663"/>
                <a:gd name="connsiteX140" fmla="*/ 3762375 w 3762723"/>
                <a:gd name="connsiteY140" fmla="*/ 14288 h 1871663"/>
                <a:gd name="connsiteX141" fmla="*/ 3762375 w 3762723"/>
                <a:gd name="connsiteY141"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481387 w 3762723"/>
                <a:gd name="connsiteY124" fmla="*/ 528638 h 1871663"/>
                <a:gd name="connsiteX125" fmla="*/ 3519487 w 3762723"/>
                <a:gd name="connsiteY125" fmla="*/ 504825 h 1871663"/>
                <a:gd name="connsiteX126" fmla="*/ 3533775 w 3762723"/>
                <a:gd name="connsiteY126" fmla="*/ 495300 h 1871663"/>
                <a:gd name="connsiteX127" fmla="*/ 3600450 w 3762723"/>
                <a:gd name="connsiteY127" fmla="*/ 447675 h 1871663"/>
                <a:gd name="connsiteX128" fmla="*/ 3629025 w 3762723"/>
                <a:gd name="connsiteY128" fmla="*/ 400050 h 1871663"/>
                <a:gd name="connsiteX129" fmla="*/ 3638550 w 3762723"/>
                <a:gd name="connsiteY129" fmla="*/ 385763 h 1871663"/>
                <a:gd name="connsiteX130" fmla="*/ 3643312 w 3762723"/>
                <a:gd name="connsiteY130" fmla="*/ 366713 h 1871663"/>
                <a:gd name="connsiteX131" fmla="*/ 3648075 w 3762723"/>
                <a:gd name="connsiteY131" fmla="*/ 285750 h 1871663"/>
                <a:gd name="connsiteX132" fmla="*/ 3662362 w 3762723"/>
                <a:gd name="connsiteY132" fmla="*/ 257175 h 1871663"/>
                <a:gd name="connsiteX133" fmla="*/ 3671887 w 3762723"/>
                <a:gd name="connsiteY133" fmla="*/ 242888 h 1871663"/>
                <a:gd name="connsiteX134" fmla="*/ 3690937 w 3762723"/>
                <a:gd name="connsiteY134" fmla="*/ 209550 h 1871663"/>
                <a:gd name="connsiteX135" fmla="*/ 3700462 w 3762723"/>
                <a:gd name="connsiteY135" fmla="*/ 142875 h 1871663"/>
                <a:gd name="connsiteX136" fmla="*/ 3705225 w 3762723"/>
                <a:gd name="connsiteY136" fmla="*/ 100013 h 1871663"/>
                <a:gd name="connsiteX137" fmla="*/ 3719512 w 3762723"/>
                <a:gd name="connsiteY137" fmla="*/ 76200 h 1871663"/>
                <a:gd name="connsiteX138" fmla="*/ 3748087 w 3762723"/>
                <a:gd name="connsiteY138" fmla="*/ 42863 h 1871663"/>
                <a:gd name="connsiteX139" fmla="*/ 3762375 w 3762723"/>
                <a:gd name="connsiteY139" fmla="*/ 14288 h 1871663"/>
                <a:gd name="connsiteX140" fmla="*/ 3762375 w 3762723"/>
                <a:gd name="connsiteY140"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519487 w 3762723"/>
                <a:gd name="connsiteY124" fmla="*/ 504825 h 1871663"/>
                <a:gd name="connsiteX125" fmla="*/ 3533775 w 3762723"/>
                <a:gd name="connsiteY125" fmla="*/ 495300 h 1871663"/>
                <a:gd name="connsiteX126" fmla="*/ 3600450 w 3762723"/>
                <a:gd name="connsiteY126" fmla="*/ 447675 h 1871663"/>
                <a:gd name="connsiteX127" fmla="*/ 3629025 w 3762723"/>
                <a:gd name="connsiteY127" fmla="*/ 400050 h 1871663"/>
                <a:gd name="connsiteX128" fmla="*/ 3638550 w 3762723"/>
                <a:gd name="connsiteY128" fmla="*/ 385763 h 1871663"/>
                <a:gd name="connsiteX129" fmla="*/ 3643312 w 3762723"/>
                <a:gd name="connsiteY129" fmla="*/ 366713 h 1871663"/>
                <a:gd name="connsiteX130" fmla="*/ 3648075 w 3762723"/>
                <a:gd name="connsiteY130" fmla="*/ 285750 h 1871663"/>
                <a:gd name="connsiteX131" fmla="*/ 3662362 w 3762723"/>
                <a:gd name="connsiteY131" fmla="*/ 257175 h 1871663"/>
                <a:gd name="connsiteX132" fmla="*/ 3671887 w 3762723"/>
                <a:gd name="connsiteY132" fmla="*/ 242888 h 1871663"/>
                <a:gd name="connsiteX133" fmla="*/ 3690937 w 3762723"/>
                <a:gd name="connsiteY133" fmla="*/ 209550 h 1871663"/>
                <a:gd name="connsiteX134" fmla="*/ 3700462 w 3762723"/>
                <a:gd name="connsiteY134" fmla="*/ 142875 h 1871663"/>
                <a:gd name="connsiteX135" fmla="*/ 3705225 w 3762723"/>
                <a:gd name="connsiteY135" fmla="*/ 100013 h 1871663"/>
                <a:gd name="connsiteX136" fmla="*/ 3719512 w 3762723"/>
                <a:gd name="connsiteY136" fmla="*/ 76200 h 1871663"/>
                <a:gd name="connsiteX137" fmla="*/ 3748087 w 3762723"/>
                <a:gd name="connsiteY137" fmla="*/ 42863 h 1871663"/>
                <a:gd name="connsiteX138" fmla="*/ 3762375 w 3762723"/>
                <a:gd name="connsiteY138" fmla="*/ 14288 h 1871663"/>
                <a:gd name="connsiteX139" fmla="*/ 3762375 w 3762723"/>
                <a:gd name="connsiteY13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519487 w 3762723"/>
                <a:gd name="connsiteY124" fmla="*/ 504825 h 1871663"/>
                <a:gd name="connsiteX125" fmla="*/ 3600450 w 3762723"/>
                <a:gd name="connsiteY125" fmla="*/ 447675 h 1871663"/>
                <a:gd name="connsiteX126" fmla="*/ 3629025 w 3762723"/>
                <a:gd name="connsiteY126" fmla="*/ 400050 h 1871663"/>
                <a:gd name="connsiteX127" fmla="*/ 3638550 w 3762723"/>
                <a:gd name="connsiteY127" fmla="*/ 385763 h 1871663"/>
                <a:gd name="connsiteX128" fmla="*/ 3643312 w 3762723"/>
                <a:gd name="connsiteY128" fmla="*/ 366713 h 1871663"/>
                <a:gd name="connsiteX129" fmla="*/ 3648075 w 3762723"/>
                <a:gd name="connsiteY129" fmla="*/ 285750 h 1871663"/>
                <a:gd name="connsiteX130" fmla="*/ 3662362 w 3762723"/>
                <a:gd name="connsiteY130" fmla="*/ 257175 h 1871663"/>
                <a:gd name="connsiteX131" fmla="*/ 3671887 w 3762723"/>
                <a:gd name="connsiteY131" fmla="*/ 242888 h 1871663"/>
                <a:gd name="connsiteX132" fmla="*/ 3690937 w 3762723"/>
                <a:gd name="connsiteY132" fmla="*/ 209550 h 1871663"/>
                <a:gd name="connsiteX133" fmla="*/ 3700462 w 3762723"/>
                <a:gd name="connsiteY133" fmla="*/ 142875 h 1871663"/>
                <a:gd name="connsiteX134" fmla="*/ 3705225 w 3762723"/>
                <a:gd name="connsiteY134" fmla="*/ 100013 h 1871663"/>
                <a:gd name="connsiteX135" fmla="*/ 3719512 w 3762723"/>
                <a:gd name="connsiteY135" fmla="*/ 76200 h 1871663"/>
                <a:gd name="connsiteX136" fmla="*/ 3748087 w 3762723"/>
                <a:gd name="connsiteY136" fmla="*/ 42863 h 1871663"/>
                <a:gd name="connsiteX137" fmla="*/ 3762375 w 3762723"/>
                <a:gd name="connsiteY137" fmla="*/ 14288 h 1871663"/>
                <a:gd name="connsiteX138" fmla="*/ 3762375 w 3762723"/>
                <a:gd name="connsiteY138"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519487 w 3762723"/>
                <a:gd name="connsiteY123" fmla="*/ 504825 h 1871663"/>
                <a:gd name="connsiteX124" fmla="*/ 3600450 w 3762723"/>
                <a:gd name="connsiteY124" fmla="*/ 447675 h 1871663"/>
                <a:gd name="connsiteX125" fmla="*/ 3629025 w 3762723"/>
                <a:gd name="connsiteY125" fmla="*/ 400050 h 1871663"/>
                <a:gd name="connsiteX126" fmla="*/ 3638550 w 3762723"/>
                <a:gd name="connsiteY126" fmla="*/ 385763 h 1871663"/>
                <a:gd name="connsiteX127" fmla="*/ 3643312 w 3762723"/>
                <a:gd name="connsiteY127" fmla="*/ 366713 h 1871663"/>
                <a:gd name="connsiteX128" fmla="*/ 3648075 w 3762723"/>
                <a:gd name="connsiteY128" fmla="*/ 285750 h 1871663"/>
                <a:gd name="connsiteX129" fmla="*/ 3662362 w 3762723"/>
                <a:gd name="connsiteY129" fmla="*/ 257175 h 1871663"/>
                <a:gd name="connsiteX130" fmla="*/ 3671887 w 3762723"/>
                <a:gd name="connsiteY130" fmla="*/ 242888 h 1871663"/>
                <a:gd name="connsiteX131" fmla="*/ 3690937 w 3762723"/>
                <a:gd name="connsiteY131" fmla="*/ 209550 h 1871663"/>
                <a:gd name="connsiteX132" fmla="*/ 3700462 w 3762723"/>
                <a:gd name="connsiteY132" fmla="*/ 142875 h 1871663"/>
                <a:gd name="connsiteX133" fmla="*/ 3705225 w 3762723"/>
                <a:gd name="connsiteY133" fmla="*/ 100013 h 1871663"/>
                <a:gd name="connsiteX134" fmla="*/ 3719512 w 3762723"/>
                <a:gd name="connsiteY134" fmla="*/ 76200 h 1871663"/>
                <a:gd name="connsiteX135" fmla="*/ 3748087 w 3762723"/>
                <a:gd name="connsiteY135" fmla="*/ 42863 h 1871663"/>
                <a:gd name="connsiteX136" fmla="*/ 3762375 w 3762723"/>
                <a:gd name="connsiteY136" fmla="*/ 14288 h 1871663"/>
                <a:gd name="connsiteX137" fmla="*/ 3762375 w 3762723"/>
                <a:gd name="connsiteY137"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48050 w 3762723"/>
                <a:gd name="connsiteY121" fmla="*/ 581025 h 1871663"/>
                <a:gd name="connsiteX122" fmla="*/ 3519487 w 3762723"/>
                <a:gd name="connsiteY122" fmla="*/ 504825 h 1871663"/>
                <a:gd name="connsiteX123" fmla="*/ 3600450 w 3762723"/>
                <a:gd name="connsiteY123" fmla="*/ 447675 h 1871663"/>
                <a:gd name="connsiteX124" fmla="*/ 3629025 w 3762723"/>
                <a:gd name="connsiteY124" fmla="*/ 400050 h 1871663"/>
                <a:gd name="connsiteX125" fmla="*/ 3638550 w 3762723"/>
                <a:gd name="connsiteY125" fmla="*/ 385763 h 1871663"/>
                <a:gd name="connsiteX126" fmla="*/ 3643312 w 3762723"/>
                <a:gd name="connsiteY126" fmla="*/ 366713 h 1871663"/>
                <a:gd name="connsiteX127" fmla="*/ 3648075 w 3762723"/>
                <a:gd name="connsiteY127" fmla="*/ 285750 h 1871663"/>
                <a:gd name="connsiteX128" fmla="*/ 3662362 w 3762723"/>
                <a:gd name="connsiteY128" fmla="*/ 257175 h 1871663"/>
                <a:gd name="connsiteX129" fmla="*/ 3671887 w 3762723"/>
                <a:gd name="connsiteY129" fmla="*/ 242888 h 1871663"/>
                <a:gd name="connsiteX130" fmla="*/ 3690937 w 3762723"/>
                <a:gd name="connsiteY130" fmla="*/ 209550 h 1871663"/>
                <a:gd name="connsiteX131" fmla="*/ 3700462 w 3762723"/>
                <a:gd name="connsiteY131" fmla="*/ 142875 h 1871663"/>
                <a:gd name="connsiteX132" fmla="*/ 3705225 w 3762723"/>
                <a:gd name="connsiteY132" fmla="*/ 100013 h 1871663"/>
                <a:gd name="connsiteX133" fmla="*/ 3719512 w 3762723"/>
                <a:gd name="connsiteY133" fmla="*/ 76200 h 1871663"/>
                <a:gd name="connsiteX134" fmla="*/ 3748087 w 3762723"/>
                <a:gd name="connsiteY134" fmla="*/ 42863 h 1871663"/>
                <a:gd name="connsiteX135" fmla="*/ 3762375 w 3762723"/>
                <a:gd name="connsiteY135" fmla="*/ 14288 h 1871663"/>
                <a:gd name="connsiteX136" fmla="*/ 3762375 w 3762723"/>
                <a:gd name="connsiteY13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38525 w 3762723"/>
                <a:gd name="connsiteY121" fmla="*/ 547688 h 1871663"/>
                <a:gd name="connsiteX122" fmla="*/ 3519487 w 3762723"/>
                <a:gd name="connsiteY122" fmla="*/ 504825 h 1871663"/>
                <a:gd name="connsiteX123" fmla="*/ 3600450 w 3762723"/>
                <a:gd name="connsiteY123" fmla="*/ 447675 h 1871663"/>
                <a:gd name="connsiteX124" fmla="*/ 3629025 w 3762723"/>
                <a:gd name="connsiteY124" fmla="*/ 400050 h 1871663"/>
                <a:gd name="connsiteX125" fmla="*/ 3638550 w 3762723"/>
                <a:gd name="connsiteY125" fmla="*/ 385763 h 1871663"/>
                <a:gd name="connsiteX126" fmla="*/ 3643312 w 3762723"/>
                <a:gd name="connsiteY126" fmla="*/ 366713 h 1871663"/>
                <a:gd name="connsiteX127" fmla="*/ 3648075 w 3762723"/>
                <a:gd name="connsiteY127" fmla="*/ 285750 h 1871663"/>
                <a:gd name="connsiteX128" fmla="*/ 3662362 w 3762723"/>
                <a:gd name="connsiteY128" fmla="*/ 257175 h 1871663"/>
                <a:gd name="connsiteX129" fmla="*/ 3671887 w 3762723"/>
                <a:gd name="connsiteY129" fmla="*/ 242888 h 1871663"/>
                <a:gd name="connsiteX130" fmla="*/ 3690937 w 3762723"/>
                <a:gd name="connsiteY130" fmla="*/ 209550 h 1871663"/>
                <a:gd name="connsiteX131" fmla="*/ 3700462 w 3762723"/>
                <a:gd name="connsiteY131" fmla="*/ 142875 h 1871663"/>
                <a:gd name="connsiteX132" fmla="*/ 3705225 w 3762723"/>
                <a:gd name="connsiteY132" fmla="*/ 100013 h 1871663"/>
                <a:gd name="connsiteX133" fmla="*/ 3719512 w 3762723"/>
                <a:gd name="connsiteY133" fmla="*/ 76200 h 1871663"/>
                <a:gd name="connsiteX134" fmla="*/ 3748087 w 3762723"/>
                <a:gd name="connsiteY134" fmla="*/ 42863 h 1871663"/>
                <a:gd name="connsiteX135" fmla="*/ 3762375 w 3762723"/>
                <a:gd name="connsiteY135" fmla="*/ 14288 h 1871663"/>
                <a:gd name="connsiteX136" fmla="*/ 3762375 w 3762723"/>
                <a:gd name="connsiteY13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38525 w 3762723"/>
                <a:gd name="connsiteY121" fmla="*/ 547688 h 1871663"/>
                <a:gd name="connsiteX122" fmla="*/ 3519487 w 3762723"/>
                <a:gd name="connsiteY122" fmla="*/ 504825 h 1871663"/>
                <a:gd name="connsiteX123" fmla="*/ 3581400 w 3762723"/>
                <a:gd name="connsiteY123" fmla="*/ 447675 h 1871663"/>
                <a:gd name="connsiteX124" fmla="*/ 3629025 w 3762723"/>
                <a:gd name="connsiteY124" fmla="*/ 400050 h 1871663"/>
                <a:gd name="connsiteX125" fmla="*/ 3638550 w 3762723"/>
                <a:gd name="connsiteY125" fmla="*/ 385763 h 1871663"/>
                <a:gd name="connsiteX126" fmla="*/ 3643312 w 3762723"/>
                <a:gd name="connsiteY126" fmla="*/ 366713 h 1871663"/>
                <a:gd name="connsiteX127" fmla="*/ 3648075 w 3762723"/>
                <a:gd name="connsiteY127" fmla="*/ 285750 h 1871663"/>
                <a:gd name="connsiteX128" fmla="*/ 3662362 w 3762723"/>
                <a:gd name="connsiteY128" fmla="*/ 257175 h 1871663"/>
                <a:gd name="connsiteX129" fmla="*/ 3671887 w 3762723"/>
                <a:gd name="connsiteY129" fmla="*/ 242888 h 1871663"/>
                <a:gd name="connsiteX130" fmla="*/ 3690937 w 3762723"/>
                <a:gd name="connsiteY130" fmla="*/ 209550 h 1871663"/>
                <a:gd name="connsiteX131" fmla="*/ 3700462 w 3762723"/>
                <a:gd name="connsiteY131" fmla="*/ 142875 h 1871663"/>
                <a:gd name="connsiteX132" fmla="*/ 3705225 w 3762723"/>
                <a:gd name="connsiteY132" fmla="*/ 100013 h 1871663"/>
                <a:gd name="connsiteX133" fmla="*/ 3719512 w 3762723"/>
                <a:gd name="connsiteY133" fmla="*/ 76200 h 1871663"/>
                <a:gd name="connsiteX134" fmla="*/ 3748087 w 3762723"/>
                <a:gd name="connsiteY134" fmla="*/ 42863 h 1871663"/>
                <a:gd name="connsiteX135" fmla="*/ 3762375 w 3762723"/>
                <a:gd name="connsiteY135" fmla="*/ 14288 h 1871663"/>
                <a:gd name="connsiteX136" fmla="*/ 3762375 w 3762723"/>
                <a:gd name="connsiteY13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38525 w 3762723"/>
                <a:gd name="connsiteY121" fmla="*/ 547688 h 1871663"/>
                <a:gd name="connsiteX122" fmla="*/ 3519487 w 3762723"/>
                <a:gd name="connsiteY122" fmla="*/ 504825 h 1871663"/>
                <a:gd name="connsiteX123" fmla="*/ 3581400 w 3762723"/>
                <a:gd name="connsiteY123" fmla="*/ 447675 h 1871663"/>
                <a:gd name="connsiteX124" fmla="*/ 3629025 w 3762723"/>
                <a:gd name="connsiteY124" fmla="*/ 400050 h 1871663"/>
                <a:gd name="connsiteX125" fmla="*/ 3638550 w 3762723"/>
                <a:gd name="connsiteY125" fmla="*/ 385763 h 1871663"/>
                <a:gd name="connsiteX126" fmla="*/ 3643312 w 3762723"/>
                <a:gd name="connsiteY126" fmla="*/ 366713 h 1871663"/>
                <a:gd name="connsiteX127" fmla="*/ 3648075 w 3762723"/>
                <a:gd name="connsiteY127" fmla="*/ 285750 h 1871663"/>
                <a:gd name="connsiteX128" fmla="*/ 3662362 w 3762723"/>
                <a:gd name="connsiteY128" fmla="*/ 257175 h 1871663"/>
                <a:gd name="connsiteX129" fmla="*/ 3671887 w 3762723"/>
                <a:gd name="connsiteY129" fmla="*/ 242888 h 1871663"/>
                <a:gd name="connsiteX130" fmla="*/ 3690937 w 3762723"/>
                <a:gd name="connsiteY130" fmla="*/ 209550 h 1871663"/>
                <a:gd name="connsiteX131" fmla="*/ 3700462 w 3762723"/>
                <a:gd name="connsiteY131" fmla="*/ 142875 h 1871663"/>
                <a:gd name="connsiteX132" fmla="*/ 3705225 w 3762723"/>
                <a:gd name="connsiteY132" fmla="*/ 100013 h 1871663"/>
                <a:gd name="connsiteX133" fmla="*/ 3719512 w 3762723"/>
                <a:gd name="connsiteY133" fmla="*/ 76200 h 1871663"/>
                <a:gd name="connsiteX134" fmla="*/ 3748087 w 3762723"/>
                <a:gd name="connsiteY134" fmla="*/ 42863 h 1871663"/>
                <a:gd name="connsiteX135" fmla="*/ 3762375 w 3762723"/>
                <a:gd name="connsiteY135" fmla="*/ 14288 h 1871663"/>
                <a:gd name="connsiteX136" fmla="*/ 3762375 w 3762723"/>
                <a:gd name="connsiteY13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62325 w 3762723"/>
                <a:gd name="connsiteY119" fmla="*/ 633413 h 1871663"/>
                <a:gd name="connsiteX120" fmla="*/ 3438525 w 3762723"/>
                <a:gd name="connsiteY120" fmla="*/ 547688 h 1871663"/>
                <a:gd name="connsiteX121" fmla="*/ 3519487 w 3762723"/>
                <a:gd name="connsiteY121" fmla="*/ 504825 h 1871663"/>
                <a:gd name="connsiteX122" fmla="*/ 3581400 w 3762723"/>
                <a:gd name="connsiteY122" fmla="*/ 447675 h 1871663"/>
                <a:gd name="connsiteX123" fmla="*/ 3629025 w 3762723"/>
                <a:gd name="connsiteY123" fmla="*/ 400050 h 1871663"/>
                <a:gd name="connsiteX124" fmla="*/ 3638550 w 3762723"/>
                <a:gd name="connsiteY124" fmla="*/ 385763 h 1871663"/>
                <a:gd name="connsiteX125" fmla="*/ 3643312 w 3762723"/>
                <a:gd name="connsiteY125" fmla="*/ 366713 h 1871663"/>
                <a:gd name="connsiteX126" fmla="*/ 3648075 w 3762723"/>
                <a:gd name="connsiteY126" fmla="*/ 285750 h 1871663"/>
                <a:gd name="connsiteX127" fmla="*/ 3662362 w 3762723"/>
                <a:gd name="connsiteY127" fmla="*/ 257175 h 1871663"/>
                <a:gd name="connsiteX128" fmla="*/ 3671887 w 3762723"/>
                <a:gd name="connsiteY128" fmla="*/ 242888 h 1871663"/>
                <a:gd name="connsiteX129" fmla="*/ 3690937 w 3762723"/>
                <a:gd name="connsiteY129" fmla="*/ 209550 h 1871663"/>
                <a:gd name="connsiteX130" fmla="*/ 3700462 w 3762723"/>
                <a:gd name="connsiteY130" fmla="*/ 142875 h 1871663"/>
                <a:gd name="connsiteX131" fmla="*/ 3705225 w 3762723"/>
                <a:gd name="connsiteY131" fmla="*/ 100013 h 1871663"/>
                <a:gd name="connsiteX132" fmla="*/ 3719512 w 3762723"/>
                <a:gd name="connsiteY132" fmla="*/ 76200 h 1871663"/>
                <a:gd name="connsiteX133" fmla="*/ 3748087 w 3762723"/>
                <a:gd name="connsiteY133" fmla="*/ 42863 h 1871663"/>
                <a:gd name="connsiteX134" fmla="*/ 3762375 w 3762723"/>
                <a:gd name="connsiteY134" fmla="*/ 14288 h 1871663"/>
                <a:gd name="connsiteX135" fmla="*/ 3762375 w 3762723"/>
                <a:gd name="connsiteY135"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33749 w 3762723"/>
                <a:gd name="connsiteY118" fmla="*/ 671513 h 1871663"/>
                <a:gd name="connsiteX119" fmla="*/ 3362325 w 3762723"/>
                <a:gd name="connsiteY119" fmla="*/ 633413 h 1871663"/>
                <a:gd name="connsiteX120" fmla="*/ 3438525 w 3762723"/>
                <a:gd name="connsiteY120" fmla="*/ 547688 h 1871663"/>
                <a:gd name="connsiteX121" fmla="*/ 3519487 w 3762723"/>
                <a:gd name="connsiteY121" fmla="*/ 504825 h 1871663"/>
                <a:gd name="connsiteX122" fmla="*/ 3581400 w 3762723"/>
                <a:gd name="connsiteY122" fmla="*/ 447675 h 1871663"/>
                <a:gd name="connsiteX123" fmla="*/ 3629025 w 3762723"/>
                <a:gd name="connsiteY123" fmla="*/ 400050 h 1871663"/>
                <a:gd name="connsiteX124" fmla="*/ 3638550 w 3762723"/>
                <a:gd name="connsiteY124" fmla="*/ 385763 h 1871663"/>
                <a:gd name="connsiteX125" fmla="*/ 3643312 w 3762723"/>
                <a:gd name="connsiteY125" fmla="*/ 366713 h 1871663"/>
                <a:gd name="connsiteX126" fmla="*/ 3648075 w 3762723"/>
                <a:gd name="connsiteY126" fmla="*/ 285750 h 1871663"/>
                <a:gd name="connsiteX127" fmla="*/ 3662362 w 3762723"/>
                <a:gd name="connsiteY127" fmla="*/ 257175 h 1871663"/>
                <a:gd name="connsiteX128" fmla="*/ 3671887 w 3762723"/>
                <a:gd name="connsiteY128" fmla="*/ 242888 h 1871663"/>
                <a:gd name="connsiteX129" fmla="*/ 3690937 w 3762723"/>
                <a:gd name="connsiteY129" fmla="*/ 209550 h 1871663"/>
                <a:gd name="connsiteX130" fmla="*/ 3700462 w 3762723"/>
                <a:gd name="connsiteY130" fmla="*/ 142875 h 1871663"/>
                <a:gd name="connsiteX131" fmla="*/ 3705225 w 3762723"/>
                <a:gd name="connsiteY131" fmla="*/ 100013 h 1871663"/>
                <a:gd name="connsiteX132" fmla="*/ 3719512 w 3762723"/>
                <a:gd name="connsiteY132" fmla="*/ 76200 h 1871663"/>
                <a:gd name="connsiteX133" fmla="*/ 3748087 w 3762723"/>
                <a:gd name="connsiteY133" fmla="*/ 42863 h 1871663"/>
                <a:gd name="connsiteX134" fmla="*/ 3762375 w 3762723"/>
                <a:gd name="connsiteY134" fmla="*/ 14288 h 1871663"/>
                <a:gd name="connsiteX135" fmla="*/ 3762375 w 3762723"/>
                <a:gd name="connsiteY135" fmla="*/ 0 h 1871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762723" h="1871663">
                  <a:moveTo>
                    <a:pt x="0" y="404813"/>
                  </a:moveTo>
                  <a:cubicBezTo>
                    <a:pt x="3175" y="412750"/>
                    <a:pt x="5702" y="420979"/>
                    <a:pt x="9525" y="428625"/>
                  </a:cubicBezTo>
                  <a:cubicBezTo>
                    <a:pt x="12085" y="433745"/>
                    <a:pt x="16490" y="437793"/>
                    <a:pt x="19050" y="442913"/>
                  </a:cubicBezTo>
                  <a:cubicBezTo>
                    <a:pt x="21295" y="447403"/>
                    <a:pt x="22433" y="452373"/>
                    <a:pt x="23812" y="457200"/>
                  </a:cubicBezTo>
                  <a:cubicBezTo>
                    <a:pt x="25610" y="463494"/>
                    <a:pt x="24944" y="470804"/>
                    <a:pt x="28575" y="476250"/>
                  </a:cubicBezTo>
                  <a:cubicBezTo>
                    <a:pt x="31750" y="481012"/>
                    <a:pt x="38100" y="482600"/>
                    <a:pt x="42862" y="485775"/>
                  </a:cubicBezTo>
                  <a:cubicBezTo>
                    <a:pt x="44450" y="492125"/>
                    <a:pt x="45047" y="498809"/>
                    <a:pt x="47625" y="504825"/>
                  </a:cubicBezTo>
                  <a:cubicBezTo>
                    <a:pt x="54588" y="521072"/>
                    <a:pt x="60513" y="519354"/>
                    <a:pt x="71437" y="533400"/>
                  </a:cubicBezTo>
                  <a:cubicBezTo>
                    <a:pt x="91031" y="558592"/>
                    <a:pt x="89371" y="559185"/>
                    <a:pt x="100012" y="585788"/>
                  </a:cubicBezTo>
                  <a:cubicBezTo>
                    <a:pt x="101600" y="625475"/>
                    <a:pt x="101945" y="665232"/>
                    <a:pt x="104775" y="704850"/>
                  </a:cubicBezTo>
                  <a:cubicBezTo>
                    <a:pt x="105873" y="720218"/>
                    <a:pt x="123362" y="737262"/>
                    <a:pt x="128587" y="747713"/>
                  </a:cubicBezTo>
                  <a:cubicBezTo>
                    <a:pt x="136103" y="762744"/>
                    <a:pt x="145669" y="783846"/>
                    <a:pt x="157162" y="795338"/>
                  </a:cubicBezTo>
                  <a:lnTo>
                    <a:pt x="171450" y="809625"/>
                  </a:lnTo>
                  <a:lnTo>
                    <a:pt x="185737" y="852488"/>
                  </a:lnTo>
                  <a:cubicBezTo>
                    <a:pt x="187324" y="857250"/>
                    <a:pt x="187715" y="862598"/>
                    <a:pt x="190500" y="866775"/>
                  </a:cubicBezTo>
                  <a:lnTo>
                    <a:pt x="200025" y="881063"/>
                  </a:lnTo>
                  <a:cubicBezTo>
                    <a:pt x="205459" y="897364"/>
                    <a:pt x="212773" y="927661"/>
                    <a:pt x="228600" y="938213"/>
                  </a:cubicBezTo>
                  <a:lnTo>
                    <a:pt x="242887" y="947738"/>
                  </a:lnTo>
                  <a:cubicBezTo>
                    <a:pt x="254861" y="983655"/>
                    <a:pt x="238707" y="939377"/>
                    <a:pt x="257175" y="976313"/>
                  </a:cubicBezTo>
                  <a:cubicBezTo>
                    <a:pt x="276892" y="1015749"/>
                    <a:pt x="244164" y="963939"/>
                    <a:pt x="271462" y="1004888"/>
                  </a:cubicBezTo>
                  <a:cubicBezTo>
                    <a:pt x="273050" y="1011238"/>
                    <a:pt x="273647" y="1017922"/>
                    <a:pt x="276225" y="1023938"/>
                  </a:cubicBezTo>
                  <a:cubicBezTo>
                    <a:pt x="282484" y="1038542"/>
                    <a:pt x="289942" y="1040399"/>
                    <a:pt x="300037" y="1052513"/>
                  </a:cubicBezTo>
                  <a:cubicBezTo>
                    <a:pt x="303701" y="1056910"/>
                    <a:pt x="306722" y="1061830"/>
                    <a:pt x="309562" y="1066800"/>
                  </a:cubicBezTo>
                  <a:cubicBezTo>
                    <a:pt x="313084" y="1072964"/>
                    <a:pt x="314542" y="1080396"/>
                    <a:pt x="319087" y="1085850"/>
                  </a:cubicBezTo>
                  <a:cubicBezTo>
                    <a:pt x="322751" y="1090247"/>
                    <a:pt x="328612" y="1092200"/>
                    <a:pt x="333375" y="1095375"/>
                  </a:cubicBezTo>
                  <a:cubicBezTo>
                    <a:pt x="338137" y="1108075"/>
                    <a:pt x="343027" y="1120728"/>
                    <a:pt x="347662" y="1133475"/>
                  </a:cubicBezTo>
                  <a:cubicBezTo>
                    <a:pt x="349378" y="1138193"/>
                    <a:pt x="349987" y="1143374"/>
                    <a:pt x="352425" y="1147763"/>
                  </a:cubicBezTo>
                  <a:cubicBezTo>
                    <a:pt x="357984" y="1157770"/>
                    <a:pt x="365125" y="1166813"/>
                    <a:pt x="371475" y="1176338"/>
                  </a:cubicBezTo>
                  <a:lnTo>
                    <a:pt x="381000" y="1190625"/>
                  </a:lnTo>
                  <a:cubicBezTo>
                    <a:pt x="382661" y="1197271"/>
                    <a:pt x="390741" y="1228309"/>
                    <a:pt x="390525" y="1233488"/>
                  </a:cubicBezTo>
                  <a:cubicBezTo>
                    <a:pt x="389263" y="1263791"/>
                    <a:pt x="385792" y="1294027"/>
                    <a:pt x="381000" y="1323975"/>
                  </a:cubicBezTo>
                  <a:cubicBezTo>
                    <a:pt x="379414" y="1333889"/>
                    <a:pt x="373444" y="1342705"/>
                    <a:pt x="371475" y="1352550"/>
                  </a:cubicBezTo>
                  <a:cubicBezTo>
                    <a:pt x="369887" y="1360488"/>
                    <a:pt x="370728" y="1369335"/>
                    <a:pt x="366712" y="1376363"/>
                  </a:cubicBezTo>
                  <a:cubicBezTo>
                    <a:pt x="362367" y="1383967"/>
                    <a:pt x="345471" y="1388206"/>
                    <a:pt x="338137" y="1390650"/>
                  </a:cubicBezTo>
                  <a:cubicBezTo>
                    <a:pt x="328612" y="1389063"/>
                    <a:pt x="318723" y="1382834"/>
                    <a:pt x="309562" y="1385888"/>
                  </a:cubicBezTo>
                  <a:cubicBezTo>
                    <a:pt x="298751" y="1389492"/>
                    <a:pt x="293682" y="1409717"/>
                    <a:pt x="290512" y="1419225"/>
                  </a:cubicBezTo>
                  <a:cubicBezTo>
                    <a:pt x="290560" y="1419513"/>
                    <a:pt x="295102" y="1455919"/>
                    <a:pt x="300037" y="1462088"/>
                  </a:cubicBezTo>
                  <a:cubicBezTo>
                    <a:pt x="303613" y="1466558"/>
                    <a:pt x="310047" y="1467810"/>
                    <a:pt x="314325" y="1471613"/>
                  </a:cubicBezTo>
                  <a:cubicBezTo>
                    <a:pt x="324393" y="1480562"/>
                    <a:pt x="342900" y="1500188"/>
                    <a:pt x="342900" y="1500188"/>
                  </a:cubicBezTo>
                  <a:cubicBezTo>
                    <a:pt x="344487" y="1508125"/>
                    <a:pt x="346331" y="1516016"/>
                    <a:pt x="347662" y="1524000"/>
                  </a:cubicBezTo>
                  <a:cubicBezTo>
                    <a:pt x="350632" y="1541819"/>
                    <a:pt x="350542" y="1565179"/>
                    <a:pt x="361950" y="1581150"/>
                  </a:cubicBezTo>
                  <a:cubicBezTo>
                    <a:pt x="367720" y="1589228"/>
                    <a:pt x="381941" y="1592577"/>
                    <a:pt x="390525" y="1595438"/>
                  </a:cubicBezTo>
                  <a:cubicBezTo>
                    <a:pt x="412360" y="1628190"/>
                    <a:pt x="405955" y="1613153"/>
                    <a:pt x="414337" y="1638300"/>
                  </a:cubicBezTo>
                  <a:cubicBezTo>
                    <a:pt x="411162" y="1649413"/>
                    <a:pt x="410425" y="1661535"/>
                    <a:pt x="404812" y="1671638"/>
                  </a:cubicBezTo>
                  <a:cubicBezTo>
                    <a:pt x="402032" y="1676641"/>
                    <a:pt x="394572" y="1677116"/>
                    <a:pt x="390525" y="1681163"/>
                  </a:cubicBezTo>
                  <a:cubicBezTo>
                    <a:pt x="386478" y="1685210"/>
                    <a:pt x="384175" y="1690688"/>
                    <a:pt x="381000" y="1695450"/>
                  </a:cubicBezTo>
                  <a:cubicBezTo>
                    <a:pt x="382587" y="1709738"/>
                    <a:pt x="380849" y="1724803"/>
                    <a:pt x="385762" y="1738313"/>
                  </a:cubicBezTo>
                  <a:cubicBezTo>
                    <a:pt x="387718" y="1743692"/>
                    <a:pt x="395653" y="1744174"/>
                    <a:pt x="400050" y="1747838"/>
                  </a:cubicBezTo>
                  <a:cubicBezTo>
                    <a:pt x="405224" y="1752150"/>
                    <a:pt x="409575" y="1757363"/>
                    <a:pt x="414337" y="1762125"/>
                  </a:cubicBezTo>
                  <a:cubicBezTo>
                    <a:pt x="415925" y="1766888"/>
                    <a:pt x="414080" y="1776413"/>
                    <a:pt x="419100" y="1776413"/>
                  </a:cubicBezTo>
                  <a:cubicBezTo>
                    <a:pt x="424824" y="1776413"/>
                    <a:pt x="426815" y="1767555"/>
                    <a:pt x="428625" y="1762125"/>
                  </a:cubicBezTo>
                  <a:cubicBezTo>
                    <a:pt x="431678" y="1752964"/>
                    <a:pt x="429801" y="1742516"/>
                    <a:pt x="433387" y="1733550"/>
                  </a:cubicBezTo>
                  <a:cubicBezTo>
                    <a:pt x="442820" y="1709967"/>
                    <a:pt x="449795" y="1714076"/>
                    <a:pt x="471487" y="1709738"/>
                  </a:cubicBezTo>
                  <a:cubicBezTo>
                    <a:pt x="485775" y="1711325"/>
                    <a:pt x="501263" y="1708551"/>
                    <a:pt x="514350" y="1714500"/>
                  </a:cubicBezTo>
                  <a:cubicBezTo>
                    <a:pt x="520813" y="1717438"/>
                    <a:pt x="523875" y="1726450"/>
                    <a:pt x="523875" y="1733550"/>
                  </a:cubicBezTo>
                  <a:cubicBezTo>
                    <a:pt x="523875" y="1743590"/>
                    <a:pt x="514350" y="1762125"/>
                    <a:pt x="514350" y="1762125"/>
                  </a:cubicBezTo>
                  <a:cubicBezTo>
                    <a:pt x="524276" y="1791908"/>
                    <a:pt x="512350" y="1771650"/>
                    <a:pt x="561975" y="1771650"/>
                  </a:cubicBezTo>
                  <a:cubicBezTo>
                    <a:pt x="571631" y="1771650"/>
                    <a:pt x="581025" y="1774825"/>
                    <a:pt x="590550" y="1776413"/>
                  </a:cubicBezTo>
                  <a:cubicBezTo>
                    <a:pt x="601885" y="1810418"/>
                    <a:pt x="591721" y="1799419"/>
                    <a:pt x="614362" y="1814513"/>
                  </a:cubicBezTo>
                  <a:cubicBezTo>
                    <a:pt x="615950" y="1820863"/>
                    <a:pt x="615494" y="1828117"/>
                    <a:pt x="619125" y="1833563"/>
                  </a:cubicBezTo>
                  <a:cubicBezTo>
                    <a:pt x="628949" y="1848299"/>
                    <a:pt x="661525" y="1846602"/>
                    <a:pt x="671512" y="1847850"/>
                  </a:cubicBezTo>
                  <a:cubicBezTo>
                    <a:pt x="691868" y="1854635"/>
                    <a:pt x="717255" y="1863910"/>
                    <a:pt x="738187" y="1866900"/>
                  </a:cubicBezTo>
                  <a:lnTo>
                    <a:pt x="771525" y="1871663"/>
                  </a:lnTo>
                  <a:cubicBezTo>
                    <a:pt x="787400" y="1870075"/>
                    <a:pt x="803901" y="1871592"/>
                    <a:pt x="819150" y="1866900"/>
                  </a:cubicBezTo>
                  <a:cubicBezTo>
                    <a:pt x="825587" y="1864919"/>
                    <a:pt x="829302" y="1857929"/>
                    <a:pt x="833437" y="1852613"/>
                  </a:cubicBezTo>
                  <a:cubicBezTo>
                    <a:pt x="853753" y="1826492"/>
                    <a:pt x="845504" y="1824626"/>
                    <a:pt x="871537" y="1809750"/>
                  </a:cubicBezTo>
                  <a:cubicBezTo>
                    <a:pt x="875896" y="1807259"/>
                    <a:pt x="880955" y="1806206"/>
                    <a:pt x="885825" y="1804988"/>
                  </a:cubicBezTo>
                  <a:cubicBezTo>
                    <a:pt x="915622" y="1797539"/>
                    <a:pt x="931704" y="1798386"/>
                    <a:pt x="966787" y="1795463"/>
                  </a:cubicBezTo>
                  <a:cubicBezTo>
                    <a:pt x="981791" y="1785461"/>
                    <a:pt x="978680" y="1785725"/>
                    <a:pt x="995362" y="1781175"/>
                  </a:cubicBezTo>
                  <a:cubicBezTo>
                    <a:pt x="1007992" y="1777730"/>
                    <a:pt x="1033462" y="1771650"/>
                    <a:pt x="1033462" y="1771650"/>
                  </a:cubicBezTo>
                  <a:cubicBezTo>
                    <a:pt x="1046162" y="1773238"/>
                    <a:pt x="1058970" y="1774123"/>
                    <a:pt x="1071562" y="1776413"/>
                  </a:cubicBezTo>
                  <a:cubicBezTo>
                    <a:pt x="1076501" y="1777311"/>
                    <a:pt x="1081149" y="1779412"/>
                    <a:pt x="1085850" y="1781175"/>
                  </a:cubicBezTo>
                  <a:cubicBezTo>
                    <a:pt x="1112478" y="1791160"/>
                    <a:pt x="1104222" y="1787073"/>
                    <a:pt x="1123950" y="1800225"/>
                  </a:cubicBezTo>
                  <a:cubicBezTo>
                    <a:pt x="1127413" y="1799648"/>
                    <a:pt x="1158993" y="1795912"/>
                    <a:pt x="1166812" y="1790700"/>
                  </a:cubicBezTo>
                  <a:cubicBezTo>
                    <a:pt x="1210117" y="1761830"/>
                    <a:pt x="1148129" y="1791026"/>
                    <a:pt x="1200150" y="1762125"/>
                  </a:cubicBezTo>
                  <a:cubicBezTo>
                    <a:pt x="1207623" y="1757973"/>
                    <a:pt x="1216316" y="1756423"/>
                    <a:pt x="1223962" y="1752600"/>
                  </a:cubicBezTo>
                  <a:cubicBezTo>
                    <a:pt x="1229082" y="1750040"/>
                    <a:pt x="1233130" y="1745635"/>
                    <a:pt x="1238250" y="1743075"/>
                  </a:cubicBezTo>
                  <a:cubicBezTo>
                    <a:pt x="1272918" y="1725742"/>
                    <a:pt x="1226843" y="1758680"/>
                    <a:pt x="1276350" y="1724025"/>
                  </a:cubicBezTo>
                  <a:cubicBezTo>
                    <a:pt x="1285117" y="1717888"/>
                    <a:pt x="1302693" y="1701328"/>
                    <a:pt x="1314450" y="1695450"/>
                  </a:cubicBezTo>
                  <a:cubicBezTo>
                    <a:pt x="1318940" y="1693205"/>
                    <a:pt x="1323975" y="1692275"/>
                    <a:pt x="1328737" y="1690688"/>
                  </a:cubicBezTo>
                  <a:cubicBezTo>
                    <a:pt x="1339850" y="1692275"/>
                    <a:pt x="1351068" y="1693249"/>
                    <a:pt x="1362075" y="1695450"/>
                  </a:cubicBezTo>
                  <a:cubicBezTo>
                    <a:pt x="1366998" y="1696435"/>
                    <a:pt x="1371644" y="1698497"/>
                    <a:pt x="1376362" y="1700213"/>
                  </a:cubicBezTo>
                  <a:cubicBezTo>
                    <a:pt x="1389109" y="1704848"/>
                    <a:pt x="1401516" y="1710454"/>
                    <a:pt x="1414462" y="1714500"/>
                  </a:cubicBezTo>
                  <a:cubicBezTo>
                    <a:pt x="1426957" y="1718405"/>
                    <a:pt x="1440143" y="1719885"/>
                    <a:pt x="1452562" y="1724025"/>
                  </a:cubicBezTo>
                  <a:lnTo>
                    <a:pt x="1466850" y="1728788"/>
                  </a:lnTo>
                  <a:cubicBezTo>
                    <a:pt x="1479459" y="1727527"/>
                    <a:pt x="1522983" y="1727618"/>
                    <a:pt x="1538287" y="1714500"/>
                  </a:cubicBezTo>
                  <a:cubicBezTo>
                    <a:pt x="1543677" y="1709880"/>
                    <a:pt x="1543685" y="1701227"/>
                    <a:pt x="1547812" y="1695450"/>
                  </a:cubicBezTo>
                  <a:cubicBezTo>
                    <a:pt x="1551727" y="1689969"/>
                    <a:pt x="1556389" y="1684733"/>
                    <a:pt x="1562100" y="1681163"/>
                  </a:cubicBezTo>
                  <a:cubicBezTo>
                    <a:pt x="1568608" y="1677096"/>
                    <a:pt x="1590701" y="1670041"/>
                    <a:pt x="1600200" y="1666875"/>
                  </a:cubicBezTo>
                  <a:cubicBezTo>
                    <a:pt x="1606550" y="1670050"/>
                    <a:pt x="1613343" y="1672462"/>
                    <a:pt x="1619250" y="1676400"/>
                  </a:cubicBezTo>
                  <a:cubicBezTo>
                    <a:pt x="1627708" y="1682038"/>
                    <a:pt x="1633970" y="1690904"/>
                    <a:pt x="1643062" y="1695450"/>
                  </a:cubicBezTo>
                  <a:cubicBezTo>
                    <a:pt x="1665924" y="1706881"/>
                    <a:pt x="1693860" y="1712383"/>
                    <a:pt x="1719262" y="1714500"/>
                  </a:cubicBezTo>
                  <a:cubicBezTo>
                    <a:pt x="1765250" y="1718332"/>
                    <a:pt x="1857375" y="1724025"/>
                    <a:pt x="1857375" y="1724025"/>
                  </a:cubicBezTo>
                  <a:cubicBezTo>
                    <a:pt x="1878716" y="1729361"/>
                    <a:pt x="1895516" y="1735911"/>
                    <a:pt x="1919287" y="1724025"/>
                  </a:cubicBezTo>
                  <a:cubicBezTo>
                    <a:pt x="1925141" y="1721098"/>
                    <a:pt x="1922630" y="1711365"/>
                    <a:pt x="1924050" y="1704975"/>
                  </a:cubicBezTo>
                  <a:cubicBezTo>
                    <a:pt x="1925806" y="1697073"/>
                    <a:pt x="1924322" y="1687898"/>
                    <a:pt x="1928812" y="1681163"/>
                  </a:cubicBezTo>
                  <a:cubicBezTo>
                    <a:pt x="1931597" y="1676986"/>
                    <a:pt x="1938337" y="1677988"/>
                    <a:pt x="1943100" y="1676400"/>
                  </a:cubicBezTo>
                  <a:cubicBezTo>
                    <a:pt x="1971790" y="1690745"/>
                    <a:pt x="1974461" y="1695524"/>
                    <a:pt x="2000250" y="1700213"/>
                  </a:cubicBezTo>
                  <a:cubicBezTo>
                    <a:pt x="2011294" y="1702221"/>
                    <a:pt x="2022475" y="1703388"/>
                    <a:pt x="2033587" y="1704975"/>
                  </a:cubicBezTo>
                  <a:cubicBezTo>
                    <a:pt x="2038350" y="1703388"/>
                    <a:pt x="2044957" y="1704298"/>
                    <a:pt x="2047875" y="1700213"/>
                  </a:cubicBezTo>
                  <a:cubicBezTo>
                    <a:pt x="2063174" y="1678796"/>
                    <a:pt x="2056435" y="1665847"/>
                    <a:pt x="2052637" y="1643063"/>
                  </a:cubicBezTo>
                  <a:cubicBezTo>
                    <a:pt x="2054225" y="1638300"/>
                    <a:pt x="2052382" y="1628918"/>
                    <a:pt x="2057400" y="1628775"/>
                  </a:cubicBezTo>
                  <a:cubicBezTo>
                    <a:pt x="2398403" y="1619031"/>
                    <a:pt x="2096820" y="1654634"/>
                    <a:pt x="2290762" y="1628775"/>
                  </a:cubicBezTo>
                  <a:cubicBezTo>
                    <a:pt x="2297112" y="1624013"/>
                    <a:pt x="2303135" y="1618780"/>
                    <a:pt x="2309812" y="1614488"/>
                  </a:cubicBezTo>
                  <a:cubicBezTo>
                    <a:pt x="2325385" y="1604477"/>
                    <a:pt x="2343381" y="1597961"/>
                    <a:pt x="2357437" y="1585913"/>
                  </a:cubicBezTo>
                  <a:cubicBezTo>
                    <a:pt x="2379662" y="1566863"/>
                    <a:pt x="2397930" y="1541854"/>
                    <a:pt x="2424112" y="1528763"/>
                  </a:cubicBezTo>
                  <a:cubicBezTo>
                    <a:pt x="2478970" y="1501334"/>
                    <a:pt x="2401180" y="1540838"/>
                    <a:pt x="2466975" y="1504950"/>
                  </a:cubicBezTo>
                  <a:cubicBezTo>
                    <a:pt x="2476324" y="1499851"/>
                    <a:pt x="2486025" y="1495425"/>
                    <a:pt x="2495550" y="1490663"/>
                  </a:cubicBezTo>
                  <a:cubicBezTo>
                    <a:pt x="2508867" y="1464029"/>
                    <a:pt x="2481131" y="1457589"/>
                    <a:pt x="2514600" y="1443037"/>
                  </a:cubicBezTo>
                  <a:cubicBezTo>
                    <a:pt x="2590771" y="1409919"/>
                    <a:pt x="2588730" y="1430459"/>
                    <a:pt x="2633662" y="1419225"/>
                  </a:cubicBezTo>
                  <a:cubicBezTo>
                    <a:pt x="2638425" y="1416050"/>
                    <a:pt x="2641600" y="1404144"/>
                    <a:pt x="2652712" y="1390650"/>
                  </a:cubicBezTo>
                  <a:cubicBezTo>
                    <a:pt x="2663825" y="1377156"/>
                    <a:pt x="2668587" y="1365250"/>
                    <a:pt x="2700337" y="1338263"/>
                  </a:cubicBezTo>
                  <a:cubicBezTo>
                    <a:pt x="2732087" y="1311276"/>
                    <a:pt x="2802731" y="1262856"/>
                    <a:pt x="2843212" y="1228725"/>
                  </a:cubicBezTo>
                  <a:cubicBezTo>
                    <a:pt x="2883693" y="1194594"/>
                    <a:pt x="2913063" y="1158081"/>
                    <a:pt x="2943225" y="1133475"/>
                  </a:cubicBezTo>
                  <a:cubicBezTo>
                    <a:pt x="2973388" y="1108869"/>
                    <a:pt x="2986087" y="1119188"/>
                    <a:pt x="3024187" y="1081088"/>
                  </a:cubicBezTo>
                  <a:cubicBezTo>
                    <a:pt x="3062287" y="1042988"/>
                    <a:pt x="3136106" y="950119"/>
                    <a:pt x="3171825" y="904875"/>
                  </a:cubicBezTo>
                  <a:cubicBezTo>
                    <a:pt x="3207544" y="859631"/>
                    <a:pt x="3220244" y="839788"/>
                    <a:pt x="3238500" y="809626"/>
                  </a:cubicBezTo>
                  <a:cubicBezTo>
                    <a:pt x="3256756" y="779464"/>
                    <a:pt x="3265487" y="746919"/>
                    <a:pt x="3281362" y="723900"/>
                  </a:cubicBezTo>
                  <a:cubicBezTo>
                    <a:pt x="3297237" y="700881"/>
                    <a:pt x="3320255" y="686594"/>
                    <a:pt x="3333749" y="671513"/>
                  </a:cubicBezTo>
                  <a:cubicBezTo>
                    <a:pt x="3347243" y="656432"/>
                    <a:pt x="3344862" y="654051"/>
                    <a:pt x="3362325" y="633413"/>
                  </a:cubicBezTo>
                  <a:cubicBezTo>
                    <a:pt x="3379788" y="612776"/>
                    <a:pt x="3412331" y="569119"/>
                    <a:pt x="3438525" y="547688"/>
                  </a:cubicBezTo>
                  <a:cubicBezTo>
                    <a:pt x="3464719" y="526257"/>
                    <a:pt x="3495675" y="521494"/>
                    <a:pt x="3519487" y="504825"/>
                  </a:cubicBezTo>
                  <a:cubicBezTo>
                    <a:pt x="3543300" y="488156"/>
                    <a:pt x="3563144" y="465137"/>
                    <a:pt x="3581400" y="447675"/>
                  </a:cubicBezTo>
                  <a:cubicBezTo>
                    <a:pt x="3599656" y="430213"/>
                    <a:pt x="3619500" y="410369"/>
                    <a:pt x="3629025" y="400050"/>
                  </a:cubicBezTo>
                  <a:cubicBezTo>
                    <a:pt x="3638550" y="389731"/>
                    <a:pt x="3635375" y="390525"/>
                    <a:pt x="3638550" y="385763"/>
                  </a:cubicBezTo>
                  <a:cubicBezTo>
                    <a:pt x="3640137" y="379413"/>
                    <a:pt x="3642691" y="373229"/>
                    <a:pt x="3643312" y="366713"/>
                  </a:cubicBezTo>
                  <a:cubicBezTo>
                    <a:pt x="3645875" y="339800"/>
                    <a:pt x="3644900" y="304006"/>
                    <a:pt x="3648075" y="285750"/>
                  </a:cubicBezTo>
                  <a:cubicBezTo>
                    <a:pt x="3651250" y="267494"/>
                    <a:pt x="3657190" y="266484"/>
                    <a:pt x="3662362" y="257175"/>
                  </a:cubicBezTo>
                  <a:cubicBezTo>
                    <a:pt x="3665142" y="252172"/>
                    <a:pt x="3668942" y="247796"/>
                    <a:pt x="3671887" y="242888"/>
                  </a:cubicBezTo>
                  <a:cubicBezTo>
                    <a:pt x="3678472" y="231913"/>
                    <a:pt x="3684587" y="220663"/>
                    <a:pt x="3690937" y="209550"/>
                  </a:cubicBezTo>
                  <a:cubicBezTo>
                    <a:pt x="3696907" y="173735"/>
                    <a:pt x="3695692" y="183420"/>
                    <a:pt x="3700462" y="142875"/>
                  </a:cubicBezTo>
                  <a:cubicBezTo>
                    <a:pt x="3702142" y="128598"/>
                    <a:pt x="3701276" y="113835"/>
                    <a:pt x="3705225" y="100013"/>
                  </a:cubicBezTo>
                  <a:cubicBezTo>
                    <a:pt x="3707768" y="91112"/>
                    <a:pt x="3715017" y="84292"/>
                    <a:pt x="3719512" y="76200"/>
                  </a:cubicBezTo>
                  <a:cubicBezTo>
                    <a:pt x="3735076" y="48184"/>
                    <a:pt x="3720574" y="63497"/>
                    <a:pt x="3748087" y="42863"/>
                  </a:cubicBezTo>
                  <a:cubicBezTo>
                    <a:pt x="3755399" y="31894"/>
                    <a:pt x="3760184" y="27431"/>
                    <a:pt x="3762375" y="14288"/>
                  </a:cubicBezTo>
                  <a:cubicBezTo>
                    <a:pt x="3763158" y="9590"/>
                    <a:pt x="3762375" y="4763"/>
                    <a:pt x="3762375" y="0"/>
                  </a:cubicBezTo>
                </a:path>
              </a:pathLst>
            </a:custGeom>
            <a:noFill/>
            <a:ln w="76200">
              <a:solidFill>
                <a:schemeClr val="accent5">
                  <a:alpha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26"/>
            <p:cNvSpPr/>
            <p:nvPr/>
          </p:nvSpPr>
          <p:spPr>
            <a:xfrm>
              <a:off x="376239" y="2904038"/>
              <a:ext cx="3762723" cy="1871663"/>
            </a:xfrm>
            <a:custGeom>
              <a:avLst/>
              <a:gdLst>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33650 w 3762723"/>
                <a:gd name="connsiteY108" fmla="*/ 1457325 h 1871663"/>
                <a:gd name="connsiteX109" fmla="*/ 2633662 w 3762723"/>
                <a:gd name="connsiteY109" fmla="*/ 1419225 h 1871663"/>
                <a:gd name="connsiteX110" fmla="*/ 2647950 w 3762723"/>
                <a:gd name="connsiteY110" fmla="*/ 1409700 h 1871663"/>
                <a:gd name="connsiteX111" fmla="*/ 2728912 w 3762723"/>
                <a:gd name="connsiteY111" fmla="*/ 1385888 h 1871663"/>
                <a:gd name="connsiteX112" fmla="*/ 2762250 w 3762723"/>
                <a:gd name="connsiteY112" fmla="*/ 1362075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47950 w 3762723"/>
                <a:gd name="connsiteY110" fmla="*/ 1409700 h 1871663"/>
                <a:gd name="connsiteX111" fmla="*/ 2728912 w 3762723"/>
                <a:gd name="connsiteY111" fmla="*/ 1385888 h 1871663"/>
                <a:gd name="connsiteX112" fmla="*/ 2762250 w 3762723"/>
                <a:gd name="connsiteY112" fmla="*/ 1362075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47950 w 3762723"/>
                <a:gd name="connsiteY110" fmla="*/ 1409700 h 1871663"/>
                <a:gd name="connsiteX111" fmla="*/ 2700337 w 3762723"/>
                <a:gd name="connsiteY111" fmla="*/ 1338263 h 1871663"/>
                <a:gd name="connsiteX112" fmla="*/ 2762250 w 3762723"/>
                <a:gd name="connsiteY112" fmla="*/ 1362075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62250 w 3762723"/>
                <a:gd name="connsiteY112" fmla="*/ 1362075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00350 w 3762723"/>
                <a:gd name="connsiteY113" fmla="*/ 1328738 h 1871663"/>
                <a:gd name="connsiteX114" fmla="*/ 2809875 w 3762723"/>
                <a:gd name="connsiteY114" fmla="*/ 1314450 h 1871663"/>
                <a:gd name="connsiteX115" fmla="*/ 2857500 w 3762723"/>
                <a:gd name="connsiteY115" fmla="*/ 1281113 h 1871663"/>
                <a:gd name="connsiteX116" fmla="*/ 2881312 w 3762723"/>
                <a:gd name="connsiteY116" fmla="*/ 1257300 h 1871663"/>
                <a:gd name="connsiteX117" fmla="*/ 2895600 w 3762723"/>
                <a:gd name="connsiteY117" fmla="*/ 1247775 h 1871663"/>
                <a:gd name="connsiteX118" fmla="*/ 2928937 w 3762723"/>
                <a:gd name="connsiteY118" fmla="*/ 1214438 h 1871663"/>
                <a:gd name="connsiteX119" fmla="*/ 2952750 w 3762723"/>
                <a:gd name="connsiteY119" fmla="*/ 1195388 h 1871663"/>
                <a:gd name="connsiteX120" fmla="*/ 3000375 w 3762723"/>
                <a:gd name="connsiteY120" fmla="*/ 1133475 h 1871663"/>
                <a:gd name="connsiteX121" fmla="*/ 3024187 w 3762723"/>
                <a:gd name="connsiteY121" fmla="*/ 1081088 h 1871663"/>
                <a:gd name="connsiteX122" fmla="*/ 3071812 w 3762723"/>
                <a:gd name="connsiteY122" fmla="*/ 1033463 h 1871663"/>
                <a:gd name="connsiteX123" fmla="*/ 3086100 w 3762723"/>
                <a:gd name="connsiteY123" fmla="*/ 1023938 h 1871663"/>
                <a:gd name="connsiteX124" fmla="*/ 3105150 w 3762723"/>
                <a:gd name="connsiteY124" fmla="*/ 1019175 h 1871663"/>
                <a:gd name="connsiteX125" fmla="*/ 3119437 w 3762723"/>
                <a:gd name="connsiteY125" fmla="*/ 1000125 h 1871663"/>
                <a:gd name="connsiteX126" fmla="*/ 3133725 w 3762723"/>
                <a:gd name="connsiteY126" fmla="*/ 985838 h 1871663"/>
                <a:gd name="connsiteX127" fmla="*/ 3143250 w 3762723"/>
                <a:gd name="connsiteY127" fmla="*/ 966788 h 1871663"/>
                <a:gd name="connsiteX128" fmla="*/ 3148012 w 3762723"/>
                <a:gd name="connsiteY128" fmla="*/ 928688 h 1871663"/>
                <a:gd name="connsiteX129" fmla="*/ 3171825 w 3762723"/>
                <a:gd name="connsiteY129" fmla="*/ 904875 h 1871663"/>
                <a:gd name="connsiteX130" fmla="*/ 3195637 w 3762723"/>
                <a:gd name="connsiteY130" fmla="*/ 885825 h 1871663"/>
                <a:gd name="connsiteX131" fmla="*/ 3214687 w 3762723"/>
                <a:gd name="connsiteY131" fmla="*/ 866775 h 1871663"/>
                <a:gd name="connsiteX132" fmla="*/ 3243262 w 3762723"/>
                <a:gd name="connsiteY132" fmla="*/ 842963 h 1871663"/>
                <a:gd name="connsiteX133" fmla="*/ 3286125 w 3762723"/>
                <a:gd name="connsiteY133" fmla="*/ 785813 h 1871663"/>
                <a:gd name="connsiteX134" fmla="*/ 3309937 w 3762723"/>
                <a:gd name="connsiteY134" fmla="*/ 752475 h 1871663"/>
                <a:gd name="connsiteX135" fmla="*/ 3348037 w 3762723"/>
                <a:gd name="connsiteY135" fmla="*/ 681038 h 1871663"/>
                <a:gd name="connsiteX136" fmla="*/ 3352800 w 3762723"/>
                <a:gd name="connsiteY136" fmla="*/ 666750 h 1871663"/>
                <a:gd name="connsiteX137" fmla="*/ 3376612 w 3762723"/>
                <a:gd name="connsiteY137" fmla="*/ 652463 h 1871663"/>
                <a:gd name="connsiteX138" fmla="*/ 3424237 w 3762723"/>
                <a:gd name="connsiteY138" fmla="*/ 614363 h 1871663"/>
                <a:gd name="connsiteX139" fmla="*/ 3448050 w 3762723"/>
                <a:gd name="connsiteY139" fmla="*/ 581025 h 1871663"/>
                <a:gd name="connsiteX140" fmla="*/ 3457575 w 3762723"/>
                <a:gd name="connsiteY140" fmla="*/ 566738 h 1871663"/>
                <a:gd name="connsiteX141" fmla="*/ 3481387 w 3762723"/>
                <a:gd name="connsiteY141" fmla="*/ 528638 h 1871663"/>
                <a:gd name="connsiteX142" fmla="*/ 3519487 w 3762723"/>
                <a:gd name="connsiteY142" fmla="*/ 504825 h 1871663"/>
                <a:gd name="connsiteX143" fmla="*/ 3533775 w 3762723"/>
                <a:gd name="connsiteY143" fmla="*/ 495300 h 1871663"/>
                <a:gd name="connsiteX144" fmla="*/ 3548062 w 3762723"/>
                <a:gd name="connsiteY144" fmla="*/ 481013 h 1871663"/>
                <a:gd name="connsiteX145" fmla="*/ 3562350 w 3762723"/>
                <a:gd name="connsiteY145" fmla="*/ 476250 h 1871663"/>
                <a:gd name="connsiteX146" fmla="*/ 3600450 w 3762723"/>
                <a:gd name="connsiteY146" fmla="*/ 447675 h 1871663"/>
                <a:gd name="connsiteX147" fmla="*/ 3629025 w 3762723"/>
                <a:gd name="connsiteY147" fmla="*/ 400050 h 1871663"/>
                <a:gd name="connsiteX148" fmla="*/ 3638550 w 3762723"/>
                <a:gd name="connsiteY148" fmla="*/ 385763 h 1871663"/>
                <a:gd name="connsiteX149" fmla="*/ 3643312 w 3762723"/>
                <a:gd name="connsiteY149" fmla="*/ 366713 h 1871663"/>
                <a:gd name="connsiteX150" fmla="*/ 3648075 w 3762723"/>
                <a:gd name="connsiteY150" fmla="*/ 285750 h 1871663"/>
                <a:gd name="connsiteX151" fmla="*/ 3662362 w 3762723"/>
                <a:gd name="connsiteY151" fmla="*/ 257175 h 1871663"/>
                <a:gd name="connsiteX152" fmla="*/ 3671887 w 3762723"/>
                <a:gd name="connsiteY152" fmla="*/ 242888 h 1871663"/>
                <a:gd name="connsiteX153" fmla="*/ 3690937 w 3762723"/>
                <a:gd name="connsiteY153" fmla="*/ 209550 h 1871663"/>
                <a:gd name="connsiteX154" fmla="*/ 3700462 w 3762723"/>
                <a:gd name="connsiteY154" fmla="*/ 142875 h 1871663"/>
                <a:gd name="connsiteX155" fmla="*/ 3705225 w 3762723"/>
                <a:gd name="connsiteY155" fmla="*/ 100013 h 1871663"/>
                <a:gd name="connsiteX156" fmla="*/ 3719512 w 3762723"/>
                <a:gd name="connsiteY156" fmla="*/ 76200 h 1871663"/>
                <a:gd name="connsiteX157" fmla="*/ 3748087 w 3762723"/>
                <a:gd name="connsiteY157" fmla="*/ 42863 h 1871663"/>
                <a:gd name="connsiteX158" fmla="*/ 3762375 w 3762723"/>
                <a:gd name="connsiteY158" fmla="*/ 14288 h 1871663"/>
                <a:gd name="connsiteX159" fmla="*/ 3762375 w 3762723"/>
                <a:gd name="connsiteY15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00350 w 3762723"/>
                <a:gd name="connsiteY113" fmla="*/ 1328738 h 1871663"/>
                <a:gd name="connsiteX114" fmla="*/ 2857500 w 3762723"/>
                <a:gd name="connsiteY114" fmla="*/ 1281113 h 1871663"/>
                <a:gd name="connsiteX115" fmla="*/ 2881312 w 3762723"/>
                <a:gd name="connsiteY115" fmla="*/ 1257300 h 1871663"/>
                <a:gd name="connsiteX116" fmla="*/ 2895600 w 3762723"/>
                <a:gd name="connsiteY116" fmla="*/ 1247775 h 1871663"/>
                <a:gd name="connsiteX117" fmla="*/ 2928937 w 3762723"/>
                <a:gd name="connsiteY117" fmla="*/ 1214438 h 1871663"/>
                <a:gd name="connsiteX118" fmla="*/ 2952750 w 3762723"/>
                <a:gd name="connsiteY118" fmla="*/ 1195388 h 1871663"/>
                <a:gd name="connsiteX119" fmla="*/ 3000375 w 3762723"/>
                <a:gd name="connsiteY119" fmla="*/ 1133475 h 1871663"/>
                <a:gd name="connsiteX120" fmla="*/ 3024187 w 3762723"/>
                <a:gd name="connsiteY120" fmla="*/ 1081088 h 1871663"/>
                <a:gd name="connsiteX121" fmla="*/ 3071812 w 3762723"/>
                <a:gd name="connsiteY121" fmla="*/ 1033463 h 1871663"/>
                <a:gd name="connsiteX122" fmla="*/ 3086100 w 3762723"/>
                <a:gd name="connsiteY122" fmla="*/ 1023938 h 1871663"/>
                <a:gd name="connsiteX123" fmla="*/ 3105150 w 3762723"/>
                <a:gd name="connsiteY123" fmla="*/ 1019175 h 1871663"/>
                <a:gd name="connsiteX124" fmla="*/ 3119437 w 3762723"/>
                <a:gd name="connsiteY124" fmla="*/ 1000125 h 1871663"/>
                <a:gd name="connsiteX125" fmla="*/ 3133725 w 3762723"/>
                <a:gd name="connsiteY125" fmla="*/ 985838 h 1871663"/>
                <a:gd name="connsiteX126" fmla="*/ 3143250 w 3762723"/>
                <a:gd name="connsiteY126" fmla="*/ 966788 h 1871663"/>
                <a:gd name="connsiteX127" fmla="*/ 3148012 w 3762723"/>
                <a:gd name="connsiteY127" fmla="*/ 928688 h 1871663"/>
                <a:gd name="connsiteX128" fmla="*/ 3171825 w 3762723"/>
                <a:gd name="connsiteY128" fmla="*/ 904875 h 1871663"/>
                <a:gd name="connsiteX129" fmla="*/ 3195637 w 3762723"/>
                <a:gd name="connsiteY129" fmla="*/ 885825 h 1871663"/>
                <a:gd name="connsiteX130" fmla="*/ 3214687 w 3762723"/>
                <a:gd name="connsiteY130" fmla="*/ 866775 h 1871663"/>
                <a:gd name="connsiteX131" fmla="*/ 3243262 w 3762723"/>
                <a:gd name="connsiteY131" fmla="*/ 842963 h 1871663"/>
                <a:gd name="connsiteX132" fmla="*/ 3286125 w 3762723"/>
                <a:gd name="connsiteY132" fmla="*/ 785813 h 1871663"/>
                <a:gd name="connsiteX133" fmla="*/ 3309937 w 3762723"/>
                <a:gd name="connsiteY133" fmla="*/ 752475 h 1871663"/>
                <a:gd name="connsiteX134" fmla="*/ 3348037 w 3762723"/>
                <a:gd name="connsiteY134" fmla="*/ 681038 h 1871663"/>
                <a:gd name="connsiteX135" fmla="*/ 3352800 w 3762723"/>
                <a:gd name="connsiteY135" fmla="*/ 666750 h 1871663"/>
                <a:gd name="connsiteX136" fmla="*/ 3376612 w 3762723"/>
                <a:gd name="connsiteY136" fmla="*/ 652463 h 1871663"/>
                <a:gd name="connsiteX137" fmla="*/ 3424237 w 3762723"/>
                <a:gd name="connsiteY137" fmla="*/ 614363 h 1871663"/>
                <a:gd name="connsiteX138" fmla="*/ 3448050 w 3762723"/>
                <a:gd name="connsiteY138" fmla="*/ 581025 h 1871663"/>
                <a:gd name="connsiteX139" fmla="*/ 3457575 w 3762723"/>
                <a:gd name="connsiteY139" fmla="*/ 566738 h 1871663"/>
                <a:gd name="connsiteX140" fmla="*/ 3481387 w 3762723"/>
                <a:gd name="connsiteY140" fmla="*/ 528638 h 1871663"/>
                <a:gd name="connsiteX141" fmla="*/ 3519487 w 3762723"/>
                <a:gd name="connsiteY141" fmla="*/ 504825 h 1871663"/>
                <a:gd name="connsiteX142" fmla="*/ 3533775 w 3762723"/>
                <a:gd name="connsiteY142" fmla="*/ 495300 h 1871663"/>
                <a:gd name="connsiteX143" fmla="*/ 3548062 w 3762723"/>
                <a:gd name="connsiteY143" fmla="*/ 481013 h 1871663"/>
                <a:gd name="connsiteX144" fmla="*/ 3562350 w 3762723"/>
                <a:gd name="connsiteY144" fmla="*/ 476250 h 1871663"/>
                <a:gd name="connsiteX145" fmla="*/ 3600450 w 3762723"/>
                <a:gd name="connsiteY145" fmla="*/ 447675 h 1871663"/>
                <a:gd name="connsiteX146" fmla="*/ 3629025 w 3762723"/>
                <a:gd name="connsiteY146" fmla="*/ 400050 h 1871663"/>
                <a:gd name="connsiteX147" fmla="*/ 3638550 w 3762723"/>
                <a:gd name="connsiteY147" fmla="*/ 385763 h 1871663"/>
                <a:gd name="connsiteX148" fmla="*/ 3643312 w 3762723"/>
                <a:gd name="connsiteY148" fmla="*/ 366713 h 1871663"/>
                <a:gd name="connsiteX149" fmla="*/ 3648075 w 3762723"/>
                <a:gd name="connsiteY149" fmla="*/ 285750 h 1871663"/>
                <a:gd name="connsiteX150" fmla="*/ 3662362 w 3762723"/>
                <a:gd name="connsiteY150" fmla="*/ 257175 h 1871663"/>
                <a:gd name="connsiteX151" fmla="*/ 3671887 w 3762723"/>
                <a:gd name="connsiteY151" fmla="*/ 242888 h 1871663"/>
                <a:gd name="connsiteX152" fmla="*/ 3690937 w 3762723"/>
                <a:gd name="connsiteY152" fmla="*/ 209550 h 1871663"/>
                <a:gd name="connsiteX153" fmla="*/ 3700462 w 3762723"/>
                <a:gd name="connsiteY153" fmla="*/ 142875 h 1871663"/>
                <a:gd name="connsiteX154" fmla="*/ 3705225 w 3762723"/>
                <a:gd name="connsiteY154" fmla="*/ 100013 h 1871663"/>
                <a:gd name="connsiteX155" fmla="*/ 3719512 w 3762723"/>
                <a:gd name="connsiteY155" fmla="*/ 76200 h 1871663"/>
                <a:gd name="connsiteX156" fmla="*/ 3748087 w 3762723"/>
                <a:gd name="connsiteY156" fmla="*/ 42863 h 1871663"/>
                <a:gd name="connsiteX157" fmla="*/ 3762375 w 3762723"/>
                <a:gd name="connsiteY157" fmla="*/ 14288 h 1871663"/>
                <a:gd name="connsiteX158" fmla="*/ 3762375 w 3762723"/>
                <a:gd name="connsiteY158"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00350 w 3762723"/>
                <a:gd name="connsiteY113" fmla="*/ 1328738 h 1871663"/>
                <a:gd name="connsiteX114" fmla="*/ 2881312 w 3762723"/>
                <a:gd name="connsiteY114" fmla="*/ 1257300 h 1871663"/>
                <a:gd name="connsiteX115" fmla="*/ 2895600 w 3762723"/>
                <a:gd name="connsiteY115" fmla="*/ 1247775 h 1871663"/>
                <a:gd name="connsiteX116" fmla="*/ 2928937 w 3762723"/>
                <a:gd name="connsiteY116" fmla="*/ 1214438 h 1871663"/>
                <a:gd name="connsiteX117" fmla="*/ 2952750 w 3762723"/>
                <a:gd name="connsiteY117" fmla="*/ 1195388 h 1871663"/>
                <a:gd name="connsiteX118" fmla="*/ 3000375 w 3762723"/>
                <a:gd name="connsiteY118" fmla="*/ 1133475 h 1871663"/>
                <a:gd name="connsiteX119" fmla="*/ 3024187 w 3762723"/>
                <a:gd name="connsiteY119" fmla="*/ 1081088 h 1871663"/>
                <a:gd name="connsiteX120" fmla="*/ 3071812 w 3762723"/>
                <a:gd name="connsiteY120" fmla="*/ 1033463 h 1871663"/>
                <a:gd name="connsiteX121" fmla="*/ 3086100 w 3762723"/>
                <a:gd name="connsiteY121" fmla="*/ 1023938 h 1871663"/>
                <a:gd name="connsiteX122" fmla="*/ 3105150 w 3762723"/>
                <a:gd name="connsiteY122" fmla="*/ 1019175 h 1871663"/>
                <a:gd name="connsiteX123" fmla="*/ 3119437 w 3762723"/>
                <a:gd name="connsiteY123" fmla="*/ 1000125 h 1871663"/>
                <a:gd name="connsiteX124" fmla="*/ 3133725 w 3762723"/>
                <a:gd name="connsiteY124" fmla="*/ 985838 h 1871663"/>
                <a:gd name="connsiteX125" fmla="*/ 3143250 w 3762723"/>
                <a:gd name="connsiteY125" fmla="*/ 966788 h 1871663"/>
                <a:gd name="connsiteX126" fmla="*/ 3148012 w 3762723"/>
                <a:gd name="connsiteY126" fmla="*/ 928688 h 1871663"/>
                <a:gd name="connsiteX127" fmla="*/ 3171825 w 3762723"/>
                <a:gd name="connsiteY127" fmla="*/ 904875 h 1871663"/>
                <a:gd name="connsiteX128" fmla="*/ 3195637 w 3762723"/>
                <a:gd name="connsiteY128" fmla="*/ 885825 h 1871663"/>
                <a:gd name="connsiteX129" fmla="*/ 3214687 w 3762723"/>
                <a:gd name="connsiteY129" fmla="*/ 866775 h 1871663"/>
                <a:gd name="connsiteX130" fmla="*/ 3243262 w 3762723"/>
                <a:gd name="connsiteY130" fmla="*/ 842963 h 1871663"/>
                <a:gd name="connsiteX131" fmla="*/ 3286125 w 3762723"/>
                <a:gd name="connsiteY131" fmla="*/ 785813 h 1871663"/>
                <a:gd name="connsiteX132" fmla="*/ 3309937 w 3762723"/>
                <a:gd name="connsiteY132" fmla="*/ 752475 h 1871663"/>
                <a:gd name="connsiteX133" fmla="*/ 3348037 w 3762723"/>
                <a:gd name="connsiteY133" fmla="*/ 681038 h 1871663"/>
                <a:gd name="connsiteX134" fmla="*/ 3352800 w 3762723"/>
                <a:gd name="connsiteY134" fmla="*/ 666750 h 1871663"/>
                <a:gd name="connsiteX135" fmla="*/ 3376612 w 3762723"/>
                <a:gd name="connsiteY135" fmla="*/ 652463 h 1871663"/>
                <a:gd name="connsiteX136" fmla="*/ 3424237 w 3762723"/>
                <a:gd name="connsiteY136" fmla="*/ 614363 h 1871663"/>
                <a:gd name="connsiteX137" fmla="*/ 3448050 w 3762723"/>
                <a:gd name="connsiteY137" fmla="*/ 581025 h 1871663"/>
                <a:gd name="connsiteX138" fmla="*/ 3457575 w 3762723"/>
                <a:gd name="connsiteY138" fmla="*/ 566738 h 1871663"/>
                <a:gd name="connsiteX139" fmla="*/ 3481387 w 3762723"/>
                <a:gd name="connsiteY139" fmla="*/ 528638 h 1871663"/>
                <a:gd name="connsiteX140" fmla="*/ 3519487 w 3762723"/>
                <a:gd name="connsiteY140" fmla="*/ 504825 h 1871663"/>
                <a:gd name="connsiteX141" fmla="*/ 3533775 w 3762723"/>
                <a:gd name="connsiteY141" fmla="*/ 495300 h 1871663"/>
                <a:gd name="connsiteX142" fmla="*/ 3548062 w 3762723"/>
                <a:gd name="connsiteY142" fmla="*/ 481013 h 1871663"/>
                <a:gd name="connsiteX143" fmla="*/ 3562350 w 3762723"/>
                <a:gd name="connsiteY143" fmla="*/ 476250 h 1871663"/>
                <a:gd name="connsiteX144" fmla="*/ 3600450 w 3762723"/>
                <a:gd name="connsiteY144" fmla="*/ 447675 h 1871663"/>
                <a:gd name="connsiteX145" fmla="*/ 3629025 w 3762723"/>
                <a:gd name="connsiteY145" fmla="*/ 400050 h 1871663"/>
                <a:gd name="connsiteX146" fmla="*/ 3638550 w 3762723"/>
                <a:gd name="connsiteY146" fmla="*/ 385763 h 1871663"/>
                <a:gd name="connsiteX147" fmla="*/ 3643312 w 3762723"/>
                <a:gd name="connsiteY147" fmla="*/ 366713 h 1871663"/>
                <a:gd name="connsiteX148" fmla="*/ 3648075 w 3762723"/>
                <a:gd name="connsiteY148" fmla="*/ 285750 h 1871663"/>
                <a:gd name="connsiteX149" fmla="*/ 3662362 w 3762723"/>
                <a:gd name="connsiteY149" fmla="*/ 257175 h 1871663"/>
                <a:gd name="connsiteX150" fmla="*/ 3671887 w 3762723"/>
                <a:gd name="connsiteY150" fmla="*/ 242888 h 1871663"/>
                <a:gd name="connsiteX151" fmla="*/ 3690937 w 3762723"/>
                <a:gd name="connsiteY151" fmla="*/ 209550 h 1871663"/>
                <a:gd name="connsiteX152" fmla="*/ 3700462 w 3762723"/>
                <a:gd name="connsiteY152" fmla="*/ 142875 h 1871663"/>
                <a:gd name="connsiteX153" fmla="*/ 3705225 w 3762723"/>
                <a:gd name="connsiteY153" fmla="*/ 100013 h 1871663"/>
                <a:gd name="connsiteX154" fmla="*/ 3719512 w 3762723"/>
                <a:gd name="connsiteY154" fmla="*/ 76200 h 1871663"/>
                <a:gd name="connsiteX155" fmla="*/ 3748087 w 3762723"/>
                <a:gd name="connsiteY155" fmla="*/ 42863 h 1871663"/>
                <a:gd name="connsiteX156" fmla="*/ 3762375 w 3762723"/>
                <a:gd name="connsiteY156" fmla="*/ 14288 h 1871663"/>
                <a:gd name="connsiteX157" fmla="*/ 3762375 w 3762723"/>
                <a:gd name="connsiteY157"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00350 w 3762723"/>
                <a:gd name="connsiteY113" fmla="*/ 1328738 h 1871663"/>
                <a:gd name="connsiteX114" fmla="*/ 2881312 w 3762723"/>
                <a:gd name="connsiteY114" fmla="*/ 1257300 h 1871663"/>
                <a:gd name="connsiteX115" fmla="*/ 2928937 w 3762723"/>
                <a:gd name="connsiteY115" fmla="*/ 1214438 h 1871663"/>
                <a:gd name="connsiteX116" fmla="*/ 2952750 w 3762723"/>
                <a:gd name="connsiteY116" fmla="*/ 1195388 h 1871663"/>
                <a:gd name="connsiteX117" fmla="*/ 3000375 w 3762723"/>
                <a:gd name="connsiteY117" fmla="*/ 1133475 h 1871663"/>
                <a:gd name="connsiteX118" fmla="*/ 3024187 w 3762723"/>
                <a:gd name="connsiteY118" fmla="*/ 1081088 h 1871663"/>
                <a:gd name="connsiteX119" fmla="*/ 3071812 w 3762723"/>
                <a:gd name="connsiteY119" fmla="*/ 1033463 h 1871663"/>
                <a:gd name="connsiteX120" fmla="*/ 3086100 w 3762723"/>
                <a:gd name="connsiteY120" fmla="*/ 1023938 h 1871663"/>
                <a:gd name="connsiteX121" fmla="*/ 3105150 w 3762723"/>
                <a:gd name="connsiteY121" fmla="*/ 1019175 h 1871663"/>
                <a:gd name="connsiteX122" fmla="*/ 3119437 w 3762723"/>
                <a:gd name="connsiteY122" fmla="*/ 1000125 h 1871663"/>
                <a:gd name="connsiteX123" fmla="*/ 3133725 w 3762723"/>
                <a:gd name="connsiteY123" fmla="*/ 985838 h 1871663"/>
                <a:gd name="connsiteX124" fmla="*/ 3143250 w 3762723"/>
                <a:gd name="connsiteY124" fmla="*/ 966788 h 1871663"/>
                <a:gd name="connsiteX125" fmla="*/ 3148012 w 3762723"/>
                <a:gd name="connsiteY125" fmla="*/ 928688 h 1871663"/>
                <a:gd name="connsiteX126" fmla="*/ 3171825 w 3762723"/>
                <a:gd name="connsiteY126" fmla="*/ 904875 h 1871663"/>
                <a:gd name="connsiteX127" fmla="*/ 3195637 w 3762723"/>
                <a:gd name="connsiteY127" fmla="*/ 885825 h 1871663"/>
                <a:gd name="connsiteX128" fmla="*/ 3214687 w 3762723"/>
                <a:gd name="connsiteY128" fmla="*/ 866775 h 1871663"/>
                <a:gd name="connsiteX129" fmla="*/ 3243262 w 3762723"/>
                <a:gd name="connsiteY129" fmla="*/ 842963 h 1871663"/>
                <a:gd name="connsiteX130" fmla="*/ 3286125 w 3762723"/>
                <a:gd name="connsiteY130" fmla="*/ 785813 h 1871663"/>
                <a:gd name="connsiteX131" fmla="*/ 3309937 w 3762723"/>
                <a:gd name="connsiteY131" fmla="*/ 752475 h 1871663"/>
                <a:gd name="connsiteX132" fmla="*/ 3348037 w 3762723"/>
                <a:gd name="connsiteY132" fmla="*/ 681038 h 1871663"/>
                <a:gd name="connsiteX133" fmla="*/ 3352800 w 3762723"/>
                <a:gd name="connsiteY133" fmla="*/ 666750 h 1871663"/>
                <a:gd name="connsiteX134" fmla="*/ 3376612 w 3762723"/>
                <a:gd name="connsiteY134" fmla="*/ 652463 h 1871663"/>
                <a:gd name="connsiteX135" fmla="*/ 3424237 w 3762723"/>
                <a:gd name="connsiteY135" fmla="*/ 614363 h 1871663"/>
                <a:gd name="connsiteX136" fmla="*/ 3448050 w 3762723"/>
                <a:gd name="connsiteY136" fmla="*/ 581025 h 1871663"/>
                <a:gd name="connsiteX137" fmla="*/ 3457575 w 3762723"/>
                <a:gd name="connsiteY137" fmla="*/ 566738 h 1871663"/>
                <a:gd name="connsiteX138" fmla="*/ 3481387 w 3762723"/>
                <a:gd name="connsiteY138" fmla="*/ 528638 h 1871663"/>
                <a:gd name="connsiteX139" fmla="*/ 3519487 w 3762723"/>
                <a:gd name="connsiteY139" fmla="*/ 504825 h 1871663"/>
                <a:gd name="connsiteX140" fmla="*/ 3533775 w 3762723"/>
                <a:gd name="connsiteY140" fmla="*/ 495300 h 1871663"/>
                <a:gd name="connsiteX141" fmla="*/ 3548062 w 3762723"/>
                <a:gd name="connsiteY141" fmla="*/ 481013 h 1871663"/>
                <a:gd name="connsiteX142" fmla="*/ 3562350 w 3762723"/>
                <a:gd name="connsiteY142" fmla="*/ 476250 h 1871663"/>
                <a:gd name="connsiteX143" fmla="*/ 3600450 w 3762723"/>
                <a:gd name="connsiteY143" fmla="*/ 447675 h 1871663"/>
                <a:gd name="connsiteX144" fmla="*/ 3629025 w 3762723"/>
                <a:gd name="connsiteY144" fmla="*/ 400050 h 1871663"/>
                <a:gd name="connsiteX145" fmla="*/ 3638550 w 3762723"/>
                <a:gd name="connsiteY145" fmla="*/ 385763 h 1871663"/>
                <a:gd name="connsiteX146" fmla="*/ 3643312 w 3762723"/>
                <a:gd name="connsiteY146" fmla="*/ 366713 h 1871663"/>
                <a:gd name="connsiteX147" fmla="*/ 3648075 w 3762723"/>
                <a:gd name="connsiteY147" fmla="*/ 285750 h 1871663"/>
                <a:gd name="connsiteX148" fmla="*/ 3662362 w 3762723"/>
                <a:gd name="connsiteY148" fmla="*/ 257175 h 1871663"/>
                <a:gd name="connsiteX149" fmla="*/ 3671887 w 3762723"/>
                <a:gd name="connsiteY149" fmla="*/ 242888 h 1871663"/>
                <a:gd name="connsiteX150" fmla="*/ 3690937 w 3762723"/>
                <a:gd name="connsiteY150" fmla="*/ 209550 h 1871663"/>
                <a:gd name="connsiteX151" fmla="*/ 3700462 w 3762723"/>
                <a:gd name="connsiteY151" fmla="*/ 142875 h 1871663"/>
                <a:gd name="connsiteX152" fmla="*/ 3705225 w 3762723"/>
                <a:gd name="connsiteY152" fmla="*/ 100013 h 1871663"/>
                <a:gd name="connsiteX153" fmla="*/ 3719512 w 3762723"/>
                <a:gd name="connsiteY153" fmla="*/ 76200 h 1871663"/>
                <a:gd name="connsiteX154" fmla="*/ 3748087 w 3762723"/>
                <a:gd name="connsiteY154" fmla="*/ 42863 h 1871663"/>
                <a:gd name="connsiteX155" fmla="*/ 3762375 w 3762723"/>
                <a:gd name="connsiteY155" fmla="*/ 14288 h 1871663"/>
                <a:gd name="connsiteX156" fmla="*/ 3762375 w 3762723"/>
                <a:gd name="connsiteY15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790825 w 3762723"/>
                <a:gd name="connsiteY112" fmla="*/ 1295400 h 1871663"/>
                <a:gd name="connsiteX113" fmla="*/ 2881312 w 3762723"/>
                <a:gd name="connsiteY113" fmla="*/ 1257300 h 1871663"/>
                <a:gd name="connsiteX114" fmla="*/ 2928937 w 3762723"/>
                <a:gd name="connsiteY114" fmla="*/ 1214438 h 1871663"/>
                <a:gd name="connsiteX115" fmla="*/ 2952750 w 3762723"/>
                <a:gd name="connsiteY115" fmla="*/ 1195388 h 1871663"/>
                <a:gd name="connsiteX116" fmla="*/ 3000375 w 3762723"/>
                <a:gd name="connsiteY116" fmla="*/ 1133475 h 1871663"/>
                <a:gd name="connsiteX117" fmla="*/ 3024187 w 3762723"/>
                <a:gd name="connsiteY117" fmla="*/ 1081088 h 1871663"/>
                <a:gd name="connsiteX118" fmla="*/ 3071812 w 3762723"/>
                <a:gd name="connsiteY118" fmla="*/ 1033463 h 1871663"/>
                <a:gd name="connsiteX119" fmla="*/ 3086100 w 3762723"/>
                <a:gd name="connsiteY119" fmla="*/ 1023938 h 1871663"/>
                <a:gd name="connsiteX120" fmla="*/ 3105150 w 3762723"/>
                <a:gd name="connsiteY120" fmla="*/ 1019175 h 1871663"/>
                <a:gd name="connsiteX121" fmla="*/ 3119437 w 3762723"/>
                <a:gd name="connsiteY121" fmla="*/ 1000125 h 1871663"/>
                <a:gd name="connsiteX122" fmla="*/ 3133725 w 3762723"/>
                <a:gd name="connsiteY122" fmla="*/ 985838 h 1871663"/>
                <a:gd name="connsiteX123" fmla="*/ 3143250 w 3762723"/>
                <a:gd name="connsiteY123" fmla="*/ 966788 h 1871663"/>
                <a:gd name="connsiteX124" fmla="*/ 3148012 w 3762723"/>
                <a:gd name="connsiteY124" fmla="*/ 928688 h 1871663"/>
                <a:gd name="connsiteX125" fmla="*/ 3171825 w 3762723"/>
                <a:gd name="connsiteY125" fmla="*/ 904875 h 1871663"/>
                <a:gd name="connsiteX126" fmla="*/ 3195637 w 3762723"/>
                <a:gd name="connsiteY126" fmla="*/ 885825 h 1871663"/>
                <a:gd name="connsiteX127" fmla="*/ 3214687 w 3762723"/>
                <a:gd name="connsiteY127" fmla="*/ 866775 h 1871663"/>
                <a:gd name="connsiteX128" fmla="*/ 3243262 w 3762723"/>
                <a:gd name="connsiteY128" fmla="*/ 842963 h 1871663"/>
                <a:gd name="connsiteX129" fmla="*/ 3286125 w 3762723"/>
                <a:gd name="connsiteY129" fmla="*/ 785813 h 1871663"/>
                <a:gd name="connsiteX130" fmla="*/ 3309937 w 3762723"/>
                <a:gd name="connsiteY130" fmla="*/ 752475 h 1871663"/>
                <a:gd name="connsiteX131" fmla="*/ 3348037 w 3762723"/>
                <a:gd name="connsiteY131" fmla="*/ 681038 h 1871663"/>
                <a:gd name="connsiteX132" fmla="*/ 3352800 w 3762723"/>
                <a:gd name="connsiteY132" fmla="*/ 666750 h 1871663"/>
                <a:gd name="connsiteX133" fmla="*/ 3376612 w 3762723"/>
                <a:gd name="connsiteY133" fmla="*/ 652463 h 1871663"/>
                <a:gd name="connsiteX134" fmla="*/ 3424237 w 3762723"/>
                <a:gd name="connsiteY134" fmla="*/ 614363 h 1871663"/>
                <a:gd name="connsiteX135" fmla="*/ 3448050 w 3762723"/>
                <a:gd name="connsiteY135" fmla="*/ 581025 h 1871663"/>
                <a:gd name="connsiteX136" fmla="*/ 3457575 w 3762723"/>
                <a:gd name="connsiteY136" fmla="*/ 566738 h 1871663"/>
                <a:gd name="connsiteX137" fmla="*/ 3481387 w 3762723"/>
                <a:gd name="connsiteY137" fmla="*/ 528638 h 1871663"/>
                <a:gd name="connsiteX138" fmla="*/ 3519487 w 3762723"/>
                <a:gd name="connsiteY138" fmla="*/ 504825 h 1871663"/>
                <a:gd name="connsiteX139" fmla="*/ 3533775 w 3762723"/>
                <a:gd name="connsiteY139" fmla="*/ 495300 h 1871663"/>
                <a:gd name="connsiteX140" fmla="*/ 3548062 w 3762723"/>
                <a:gd name="connsiteY140" fmla="*/ 481013 h 1871663"/>
                <a:gd name="connsiteX141" fmla="*/ 3562350 w 3762723"/>
                <a:gd name="connsiteY141" fmla="*/ 476250 h 1871663"/>
                <a:gd name="connsiteX142" fmla="*/ 3600450 w 3762723"/>
                <a:gd name="connsiteY142" fmla="*/ 447675 h 1871663"/>
                <a:gd name="connsiteX143" fmla="*/ 3629025 w 3762723"/>
                <a:gd name="connsiteY143" fmla="*/ 400050 h 1871663"/>
                <a:gd name="connsiteX144" fmla="*/ 3638550 w 3762723"/>
                <a:gd name="connsiteY144" fmla="*/ 385763 h 1871663"/>
                <a:gd name="connsiteX145" fmla="*/ 3643312 w 3762723"/>
                <a:gd name="connsiteY145" fmla="*/ 366713 h 1871663"/>
                <a:gd name="connsiteX146" fmla="*/ 3648075 w 3762723"/>
                <a:gd name="connsiteY146" fmla="*/ 285750 h 1871663"/>
                <a:gd name="connsiteX147" fmla="*/ 3662362 w 3762723"/>
                <a:gd name="connsiteY147" fmla="*/ 257175 h 1871663"/>
                <a:gd name="connsiteX148" fmla="*/ 3671887 w 3762723"/>
                <a:gd name="connsiteY148" fmla="*/ 242888 h 1871663"/>
                <a:gd name="connsiteX149" fmla="*/ 3690937 w 3762723"/>
                <a:gd name="connsiteY149" fmla="*/ 209550 h 1871663"/>
                <a:gd name="connsiteX150" fmla="*/ 3700462 w 3762723"/>
                <a:gd name="connsiteY150" fmla="*/ 142875 h 1871663"/>
                <a:gd name="connsiteX151" fmla="*/ 3705225 w 3762723"/>
                <a:gd name="connsiteY151" fmla="*/ 100013 h 1871663"/>
                <a:gd name="connsiteX152" fmla="*/ 3719512 w 3762723"/>
                <a:gd name="connsiteY152" fmla="*/ 76200 h 1871663"/>
                <a:gd name="connsiteX153" fmla="*/ 3748087 w 3762723"/>
                <a:gd name="connsiteY153" fmla="*/ 42863 h 1871663"/>
                <a:gd name="connsiteX154" fmla="*/ 3762375 w 3762723"/>
                <a:gd name="connsiteY154" fmla="*/ 14288 h 1871663"/>
                <a:gd name="connsiteX155" fmla="*/ 3762375 w 3762723"/>
                <a:gd name="connsiteY155"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81312 w 3762723"/>
                <a:gd name="connsiteY112" fmla="*/ 1257300 h 1871663"/>
                <a:gd name="connsiteX113" fmla="*/ 2928937 w 3762723"/>
                <a:gd name="connsiteY113" fmla="*/ 1214438 h 1871663"/>
                <a:gd name="connsiteX114" fmla="*/ 2952750 w 3762723"/>
                <a:gd name="connsiteY114" fmla="*/ 1195388 h 1871663"/>
                <a:gd name="connsiteX115" fmla="*/ 3000375 w 3762723"/>
                <a:gd name="connsiteY115" fmla="*/ 1133475 h 1871663"/>
                <a:gd name="connsiteX116" fmla="*/ 3024187 w 3762723"/>
                <a:gd name="connsiteY116" fmla="*/ 1081088 h 1871663"/>
                <a:gd name="connsiteX117" fmla="*/ 3071812 w 3762723"/>
                <a:gd name="connsiteY117" fmla="*/ 1033463 h 1871663"/>
                <a:gd name="connsiteX118" fmla="*/ 3086100 w 3762723"/>
                <a:gd name="connsiteY118" fmla="*/ 1023938 h 1871663"/>
                <a:gd name="connsiteX119" fmla="*/ 3105150 w 3762723"/>
                <a:gd name="connsiteY119" fmla="*/ 1019175 h 1871663"/>
                <a:gd name="connsiteX120" fmla="*/ 3119437 w 3762723"/>
                <a:gd name="connsiteY120" fmla="*/ 1000125 h 1871663"/>
                <a:gd name="connsiteX121" fmla="*/ 3133725 w 3762723"/>
                <a:gd name="connsiteY121" fmla="*/ 985838 h 1871663"/>
                <a:gd name="connsiteX122" fmla="*/ 3143250 w 3762723"/>
                <a:gd name="connsiteY122" fmla="*/ 966788 h 1871663"/>
                <a:gd name="connsiteX123" fmla="*/ 3148012 w 3762723"/>
                <a:gd name="connsiteY123" fmla="*/ 928688 h 1871663"/>
                <a:gd name="connsiteX124" fmla="*/ 3171825 w 3762723"/>
                <a:gd name="connsiteY124" fmla="*/ 904875 h 1871663"/>
                <a:gd name="connsiteX125" fmla="*/ 3195637 w 3762723"/>
                <a:gd name="connsiteY125" fmla="*/ 885825 h 1871663"/>
                <a:gd name="connsiteX126" fmla="*/ 3214687 w 3762723"/>
                <a:gd name="connsiteY126" fmla="*/ 866775 h 1871663"/>
                <a:gd name="connsiteX127" fmla="*/ 3243262 w 3762723"/>
                <a:gd name="connsiteY127" fmla="*/ 842963 h 1871663"/>
                <a:gd name="connsiteX128" fmla="*/ 3286125 w 3762723"/>
                <a:gd name="connsiteY128" fmla="*/ 785813 h 1871663"/>
                <a:gd name="connsiteX129" fmla="*/ 3309937 w 3762723"/>
                <a:gd name="connsiteY129" fmla="*/ 752475 h 1871663"/>
                <a:gd name="connsiteX130" fmla="*/ 3348037 w 3762723"/>
                <a:gd name="connsiteY130" fmla="*/ 681038 h 1871663"/>
                <a:gd name="connsiteX131" fmla="*/ 3352800 w 3762723"/>
                <a:gd name="connsiteY131" fmla="*/ 666750 h 1871663"/>
                <a:gd name="connsiteX132" fmla="*/ 3376612 w 3762723"/>
                <a:gd name="connsiteY132" fmla="*/ 652463 h 1871663"/>
                <a:gd name="connsiteX133" fmla="*/ 3424237 w 3762723"/>
                <a:gd name="connsiteY133" fmla="*/ 614363 h 1871663"/>
                <a:gd name="connsiteX134" fmla="*/ 3448050 w 3762723"/>
                <a:gd name="connsiteY134" fmla="*/ 581025 h 1871663"/>
                <a:gd name="connsiteX135" fmla="*/ 3457575 w 3762723"/>
                <a:gd name="connsiteY135" fmla="*/ 566738 h 1871663"/>
                <a:gd name="connsiteX136" fmla="*/ 3481387 w 3762723"/>
                <a:gd name="connsiteY136" fmla="*/ 528638 h 1871663"/>
                <a:gd name="connsiteX137" fmla="*/ 3519487 w 3762723"/>
                <a:gd name="connsiteY137" fmla="*/ 504825 h 1871663"/>
                <a:gd name="connsiteX138" fmla="*/ 3533775 w 3762723"/>
                <a:gd name="connsiteY138" fmla="*/ 495300 h 1871663"/>
                <a:gd name="connsiteX139" fmla="*/ 3548062 w 3762723"/>
                <a:gd name="connsiteY139" fmla="*/ 481013 h 1871663"/>
                <a:gd name="connsiteX140" fmla="*/ 3562350 w 3762723"/>
                <a:gd name="connsiteY140" fmla="*/ 476250 h 1871663"/>
                <a:gd name="connsiteX141" fmla="*/ 3600450 w 3762723"/>
                <a:gd name="connsiteY141" fmla="*/ 447675 h 1871663"/>
                <a:gd name="connsiteX142" fmla="*/ 3629025 w 3762723"/>
                <a:gd name="connsiteY142" fmla="*/ 400050 h 1871663"/>
                <a:gd name="connsiteX143" fmla="*/ 3638550 w 3762723"/>
                <a:gd name="connsiteY143" fmla="*/ 385763 h 1871663"/>
                <a:gd name="connsiteX144" fmla="*/ 3643312 w 3762723"/>
                <a:gd name="connsiteY144" fmla="*/ 366713 h 1871663"/>
                <a:gd name="connsiteX145" fmla="*/ 3648075 w 3762723"/>
                <a:gd name="connsiteY145" fmla="*/ 285750 h 1871663"/>
                <a:gd name="connsiteX146" fmla="*/ 3662362 w 3762723"/>
                <a:gd name="connsiteY146" fmla="*/ 257175 h 1871663"/>
                <a:gd name="connsiteX147" fmla="*/ 3671887 w 3762723"/>
                <a:gd name="connsiteY147" fmla="*/ 242888 h 1871663"/>
                <a:gd name="connsiteX148" fmla="*/ 3690937 w 3762723"/>
                <a:gd name="connsiteY148" fmla="*/ 209550 h 1871663"/>
                <a:gd name="connsiteX149" fmla="*/ 3700462 w 3762723"/>
                <a:gd name="connsiteY149" fmla="*/ 142875 h 1871663"/>
                <a:gd name="connsiteX150" fmla="*/ 3705225 w 3762723"/>
                <a:gd name="connsiteY150" fmla="*/ 100013 h 1871663"/>
                <a:gd name="connsiteX151" fmla="*/ 3719512 w 3762723"/>
                <a:gd name="connsiteY151" fmla="*/ 76200 h 1871663"/>
                <a:gd name="connsiteX152" fmla="*/ 3748087 w 3762723"/>
                <a:gd name="connsiteY152" fmla="*/ 42863 h 1871663"/>
                <a:gd name="connsiteX153" fmla="*/ 3762375 w 3762723"/>
                <a:gd name="connsiteY153" fmla="*/ 14288 h 1871663"/>
                <a:gd name="connsiteX154" fmla="*/ 3762375 w 3762723"/>
                <a:gd name="connsiteY154"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2928937 w 3762723"/>
                <a:gd name="connsiteY113" fmla="*/ 1214438 h 1871663"/>
                <a:gd name="connsiteX114" fmla="*/ 2952750 w 3762723"/>
                <a:gd name="connsiteY114" fmla="*/ 1195388 h 1871663"/>
                <a:gd name="connsiteX115" fmla="*/ 3000375 w 3762723"/>
                <a:gd name="connsiteY115" fmla="*/ 1133475 h 1871663"/>
                <a:gd name="connsiteX116" fmla="*/ 3024187 w 3762723"/>
                <a:gd name="connsiteY116" fmla="*/ 1081088 h 1871663"/>
                <a:gd name="connsiteX117" fmla="*/ 3071812 w 3762723"/>
                <a:gd name="connsiteY117" fmla="*/ 1033463 h 1871663"/>
                <a:gd name="connsiteX118" fmla="*/ 3086100 w 3762723"/>
                <a:gd name="connsiteY118" fmla="*/ 1023938 h 1871663"/>
                <a:gd name="connsiteX119" fmla="*/ 3105150 w 3762723"/>
                <a:gd name="connsiteY119" fmla="*/ 1019175 h 1871663"/>
                <a:gd name="connsiteX120" fmla="*/ 3119437 w 3762723"/>
                <a:gd name="connsiteY120" fmla="*/ 1000125 h 1871663"/>
                <a:gd name="connsiteX121" fmla="*/ 3133725 w 3762723"/>
                <a:gd name="connsiteY121" fmla="*/ 985838 h 1871663"/>
                <a:gd name="connsiteX122" fmla="*/ 3143250 w 3762723"/>
                <a:gd name="connsiteY122" fmla="*/ 966788 h 1871663"/>
                <a:gd name="connsiteX123" fmla="*/ 3148012 w 3762723"/>
                <a:gd name="connsiteY123" fmla="*/ 928688 h 1871663"/>
                <a:gd name="connsiteX124" fmla="*/ 3171825 w 3762723"/>
                <a:gd name="connsiteY124" fmla="*/ 904875 h 1871663"/>
                <a:gd name="connsiteX125" fmla="*/ 3195637 w 3762723"/>
                <a:gd name="connsiteY125" fmla="*/ 885825 h 1871663"/>
                <a:gd name="connsiteX126" fmla="*/ 3214687 w 3762723"/>
                <a:gd name="connsiteY126" fmla="*/ 866775 h 1871663"/>
                <a:gd name="connsiteX127" fmla="*/ 3243262 w 3762723"/>
                <a:gd name="connsiteY127" fmla="*/ 842963 h 1871663"/>
                <a:gd name="connsiteX128" fmla="*/ 3286125 w 3762723"/>
                <a:gd name="connsiteY128" fmla="*/ 785813 h 1871663"/>
                <a:gd name="connsiteX129" fmla="*/ 3309937 w 3762723"/>
                <a:gd name="connsiteY129" fmla="*/ 752475 h 1871663"/>
                <a:gd name="connsiteX130" fmla="*/ 3348037 w 3762723"/>
                <a:gd name="connsiteY130" fmla="*/ 681038 h 1871663"/>
                <a:gd name="connsiteX131" fmla="*/ 3352800 w 3762723"/>
                <a:gd name="connsiteY131" fmla="*/ 666750 h 1871663"/>
                <a:gd name="connsiteX132" fmla="*/ 3376612 w 3762723"/>
                <a:gd name="connsiteY132" fmla="*/ 652463 h 1871663"/>
                <a:gd name="connsiteX133" fmla="*/ 3424237 w 3762723"/>
                <a:gd name="connsiteY133" fmla="*/ 614363 h 1871663"/>
                <a:gd name="connsiteX134" fmla="*/ 3448050 w 3762723"/>
                <a:gd name="connsiteY134" fmla="*/ 581025 h 1871663"/>
                <a:gd name="connsiteX135" fmla="*/ 3457575 w 3762723"/>
                <a:gd name="connsiteY135" fmla="*/ 566738 h 1871663"/>
                <a:gd name="connsiteX136" fmla="*/ 3481387 w 3762723"/>
                <a:gd name="connsiteY136" fmla="*/ 528638 h 1871663"/>
                <a:gd name="connsiteX137" fmla="*/ 3519487 w 3762723"/>
                <a:gd name="connsiteY137" fmla="*/ 504825 h 1871663"/>
                <a:gd name="connsiteX138" fmla="*/ 3533775 w 3762723"/>
                <a:gd name="connsiteY138" fmla="*/ 495300 h 1871663"/>
                <a:gd name="connsiteX139" fmla="*/ 3548062 w 3762723"/>
                <a:gd name="connsiteY139" fmla="*/ 481013 h 1871663"/>
                <a:gd name="connsiteX140" fmla="*/ 3562350 w 3762723"/>
                <a:gd name="connsiteY140" fmla="*/ 476250 h 1871663"/>
                <a:gd name="connsiteX141" fmla="*/ 3600450 w 3762723"/>
                <a:gd name="connsiteY141" fmla="*/ 447675 h 1871663"/>
                <a:gd name="connsiteX142" fmla="*/ 3629025 w 3762723"/>
                <a:gd name="connsiteY142" fmla="*/ 400050 h 1871663"/>
                <a:gd name="connsiteX143" fmla="*/ 3638550 w 3762723"/>
                <a:gd name="connsiteY143" fmla="*/ 385763 h 1871663"/>
                <a:gd name="connsiteX144" fmla="*/ 3643312 w 3762723"/>
                <a:gd name="connsiteY144" fmla="*/ 366713 h 1871663"/>
                <a:gd name="connsiteX145" fmla="*/ 3648075 w 3762723"/>
                <a:gd name="connsiteY145" fmla="*/ 285750 h 1871663"/>
                <a:gd name="connsiteX146" fmla="*/ 3662362 w 3762723"/>
                <a:gd name="connsiteY146" fmla="*/ 257175 h 1871663"/>
                <a:gd name="connsiteX147" fmla="*/ 3671887 w 3762723"/>
                <a:gd name="connsiteY147" fmla="*/ 242888 h 1871663"/>
                <a:gd name="connsiteX148" fmla="*/ 3690937 w 3762723"/>
                <a:gd name="connsiteY148" fmla="*/ 209550 h 1871663"/>
                <a:gd name="connsiteX149" fmla="*/ 3700462 w 3762723"/>
                <a:gd name="connsiteY149" fmla="*/ 142875 h 1871663"/>
                <a:gd name="connsiteX150" fmla="*/ 3705225 w 3762723"/>
                <a:gd name="connsiteY150" fmla="*/ 100013 h 1871663"/>
                <a:gd name="connsiteX151" fmla="*/ 3719512 w 3762723"/>
                <a:gd name="connsiteY151" fmla="*/ 76200 h 1871663"/>
                <a:gd name="connsiteX152" fmla="*/ 3748087 w 3762723"/>
                <a:gd name="connsiteY152" fmla="*/ 42863 h 1871663"/>
                <a:gd name="connsiteX153" fmla="*/ 3762375 w 3762723"/>
                <a:gd name="connsiteY153" fmla="*/ 14288 h 1871663"/>
                <a:gd name="connsiteX154" fmla="*/ 3762375 w 3762723"/>
                <a:gd name="connsiteY154"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2928937 w 3762723"/>
                <a:gd name="connsiteY113" fmla="*/ 1214438 h 1871663"/>
                <a:gd name="connsiteX114" fmla="*/ 2976562 w 3762723"/>
                <a:gd name="connsiteY114" fmla="*/ 1162050 h 1871663"/>
                <a:gd name="connsiteX115" fmla="*/ 3000375 w 3762723"/>
                <a:gd name="connsiteY115" fmla="*/ 1133475 h 1871663"/>
                <a:gd name="connsiteX116" fmla="*/ 3024187 w 3762723"/>
                <a:gd name="connsiteY116" fmla="*/ 1081088 h 1871663"/>
                <a:gd name="connsiteX117" fmla="*/ 3071812 w 3762723"/>
                <a:gd name="connsiteY117" fmla="*/ 1033463 h 1871663"/>
                <a:gd name="connsiteX118" fmla="*/ 3086100 w 3762723"/>
                <a:gd name="connsiteY118" fmla="*/ 1023938 h 1871663"/>
                <a:gd name="connsiteX119" fmla="*/ 3105150 w 3762723"/>
                <a:gd name="connsiteY119" fmla="*/ 1019175 h 1871663"/>
                <a:gd name="connsiteX120" fmla="*/ 3119437 w 3762723"/>
                <a:gd name="connsiteY120" fmla="*/ 1000125 h 1871663"/>
                <a:gd name="connsiteX121" fmla="*/ 3133725 w 3762723"/>
                <a:gd name="connsiteY121" fmla="*/ 985838 h 1871663"/>
                <a:gd name="connsiteX122" fmla="*/ 3143250 w 3762723"/>
                <a:gd name="connsiteY122" fmla="*/ 966788 h 1871663"/>
                <a:gd name="connsiteX123" fmla="*/ 3148012 w 3762723"/>
                <a:gd name="connsiteY123" fmla="*/ 928688 h 1871663"/>
                <a:gd name="connsiteX124" fmla="*/ 3171825 w 3762723"/>
                <a:gd name="connsiteY124" fmla="*/ 904875 h 1871663"/>
                <a:gd name="connsiteX125" fmla="*/ 3195637 w 3762723"/>
                <a:gd name="connsiteY125" fmla="*/ 885825 h 1871663"/>
                <a:gd name="connsiteX126" fmla="*/ 3214687 w 3762723"/>
                <a:gd name="connsiteY126" fmla="*/ 866775 h 1871663"/>
                <a:gd name="connsiteX127" fmla="*/ 3243262 w 3762723"/>
                <a:gd name="connsiteY127" fmla="*/ 842963 h 1871663"/>
                <a:gd name="connsiteX128" fmla="*/ 3286125 w 3762723"/>
                <a:gd name="connsiteY128" fmla="*/ 785813 h 1871663"/>
                <a:gd name="connsiteX129" fmla="*/ 3309937 w 3762723"/>
                <a:gd name="connsiteY129" fmla="*/ 752475 h 1871663"/>
                <a:gd name="connsiteX130" fmla="*/ 3348037 w 3762723"/>
                <a:gd name="connsiteY130" fmla="*/ 681038 h 1871663"/>
                <a:gd name="connsiteX131" fmla="*/ 3352800 w 3762723"/>
                <a:gd name="connsiteY131" fmla="*/ 666750 h 1871663"/>
                <a:gd name="connsiteX132" fmla="*/ 3376612 w 3762723"/>
                <a:gd name="connsiteY132" fmla="*/ 652463 h 1871663"/>
                <a:gd name="connsiteX133" fmla="*/ 3424237 w 3762723"/>
                <a:gd name="connsiteY133" fmla="*/ 614363 h 1871663"/>
                <a:gd name="connsiteX134" fmla="*/ 3448050 w 3762723"/>
                <a:gd name="connsiteY134" fmla="*/ 581025 h 1871663"/>
                <a:gd name="connsiteX135" fmla="*/ 3457575 w 3762723"/>
                <a:gd name="connsiteY135" fmla="*/ 566738 h 1871663"/>
                <a:gd name="connsiteX136" fmla="*/ 3481387 w 3762723"/>
                <a:gd name="connsiteY136" fmla="*/ 528638 h 1871663"/>
                <a:gd name="connsiteX137" fmla="*/ 3519487 w 3762723"/>
                <a:gd name="connsiteY137" fmla="*/ 504825 h 1871663"/>
                <a:gd name="connsiteX138" fmla="*/ 3533775 w 3762723"/>
                <a:gd name="connsiteY138" fmla="*/ 495300 h 1871663"/>
                <a:gd name="connsiteX139" fmla="*/ 3548062 w 3762723"/>
                <a:gd name="connsiteY139" fmla="*/ 481013 h 1871663"/>
                <a:gd name="connsiteX140" fmla="*/ 3562350 w 3762723"/>
                <a:gd name="connsiteY140" fmla="*/ 476250 h 1871663"/>
                <a:gd name="connsiteX141" fmla="*/ 3600450 w 3762723"/>
                <a:gd name="connsiteY141" fmla="*/ 447675 h 1871663"/>
                <a:gd name="connsiteX142" fmla="*/ 3629025 w 3762723"/>
                <a:gd name="connsiteY142" fmla="*/ 400050 h 1871663"/>
                <a:gd name="connsiteX143" fmla="*/ 3638550 w 3762723"/>
                <a:gd name="connsiteY143" fmla="*/ 385763 h 1871663"/>
                <a:gd name="connsiteX144" fmla="*/ 3643312 w 3762723"/>
                <a:gd name="connsiteY144" fmla="*/ 366713 h 1871663"/>
                <a:gd name="connsiteX145" fmla="*/ 3648075 w 3762723"/>
                <a:gd name="connsiteY145" fmla="*/ 285750 h 1871663"/>
                <a:gd name="connsiteX146" fmla="*/ 3662362 w 3762723"/>
                <a:gd name="connsiteY146" fmla="*/ 257175 h 1871663"/>
                <a:gd name="connsiteX147" fmla="*/ 3671887 w 3762723"/>
                <a:gd name="connsiteY147" fmla="*/ 242888 h 1871663"/>
                <a:gd name="connsiteX148" fmla="*/ 3690937 w 3762723"/>
                <a:gd name="connsiteY148" fmla="*/ 209550 h 1871663"/>
                <a:gd name="connsiteX149" fmla="*/ 3700462 w 3762723"/>
                <a:gd name="connsiteY149" fmla="*/ 142875 h 1871663"/>
                <a:gd name="connsiteX150" fmla="*/ 3705225 w 3762723"/>
                <a:gd name="connsiteY150" fmla="*/ 100013 h 1871663"/>
                <a:gd name="connsiteX151" fmla="*/ 3719512 w 3762723"/>
                <a:gd name="connsiteY151" fmla="*/ 76200 h 1871663"/>
                <a:gd name="connsiteX152" fmla="*/ 3748087 w 3762723"/>
                <a:gd name="connsiteY152" fmla="*/ 42863 h 1871663"/>
                <a:gd name="connsiteX153" fmla="*/ 3762375 w 3762723"/>
                <a:gd name="connsiteY153" fmla="*/ 14288 h 1871663"/>
                <a:gd name="connsiteX154" fmla="*/ 3762375 w 3762723"/>
                <a:gd name="connsiteY154"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2976562 w 3762723"/>
                <a:gd name="connsiteY113" fmla="*/ 1162050 h 1871663"/>
                <a:gd name="connsiteX114" fmla="*/ 3000375 w 3762723"/>
                <a:gd name="connsiteY114" fmla="*/ 1133475 h 1871663"/>
                <a:gd name="connsiteX115" fmla="*/ 3024187 w 3762723"/>
                <a:gd name="connsiteY115" fmla="*/ 1081088 h 1871663"/>
                <a:gd name="connsiteX116" fmla="*/ 3071812 w 3762723"/>
                <a:gd name="connsiteY116" fmla="*/ 1033463 h 1871663"/>
                <a:gd name="connsiteX117" fmla="*/ 3086100 w 3762723"/>
                <a:gd name="connsiteY117" fmla="*/ 1023938 h 1871663"/>
                <a:gd name="connsiteX118" fmla="*/ 3105150 w 3762723"/>
                <a:gd name="connsiteY118" fmla="*/ 1019175 h 1871663"/>
                <a:gd name="connsiteX119" fmla="*/ 3119437 w 3762723"/>
                <a:gd name="connsiteY119" fmla="*/ 1000125 h 1871663"/>
                <a:gd name="connsiteX120" fmla="*/ 3133725 w 3762723"/>
                <a:gd name="connsiteY120" fmla="*/ 985838 h 1871663"/>
                <a:gd name="connsiteX121" fmla="*/ 3143250 w 3762723"/>
                <a:gd name="connsiteY121" fmla="*/ 966788 h 1871663"/>
                <a:gd name="connsiteX122" fmla="*/ 3148012 w 3762723"/>
                <a:gd name="connsiteY122" fmla="*/ 928688 h 1871663"/>
                <a:gd name="connsiteX123" fmla="*/ 3171825 w 3762723"/>
                <a:gd name="connsiteY123" fmla="*/ 904875 h 1871663"/>
                <a:gd name="connsiteX124" fmla="*/ 3195637 w 3762723"/>
                <a:gd name="connsiteY124" fmla="*/ 885825 h 1871663"/>
                <a:gd name="connsiteX125" fmla="*/ 3214687 w 3762723"/>
                <a:gd name="connsiteY125" fmla="*/ 866775 h 1871663"/>
                <a:gd name="connsiteX126" fmla="*/ 3243262 w 3762723"/>
                <a:gd name="connsiteY126" fmla="*/ 842963 h 1871663"/>
                <a:gd name="connsiteX127" fmla="*/ 3286125 w 3762723"/>
                <a:gd name="connsiteY127" fmla="*/ 785813 h 1871663"/>
                <a:gd name="connsiteX128" fmla="*/ 3309937 w 3762723"/>
                <a:gd name="connsiteY128" fmla="*/ 752475 h 1871663"/>
                <a:gd name="connsiteX129" fmla="*/ 3348037 w 3762723"/>
                <a:gd name="connsiteY129" fmla="*/ 681038 h 1871663"/>
                <a:gd name="connsiteX130" fmla="*/ 3352800 w 3762723"/>
                <a:gd name="connsiteY130" fmla="*/ 666750 h 1871663"/>
                <a:gd name="connsiteX131" fmla="*/ 3376612 w 3762723"/>
                <a:gd name="connsiteY131" fmla="*/ 652463 h 1871663"/>
                <a:gd name="connsiteX132" fmla="*/ 3424237 w 3762723"/>
                <a:gd name="connsiteY132" fmla="*/ 614363 h 1871663"/>
                <a:gd name="connsiteX133" fmla="*/ 3448050 w 3762723"/>
                <a:gd name="connsiteY133" fmla="*/ 581025 h 1871663"/>
                <a:gd name="connsiteX134" fmla="*/ 3457575 w 3762723"/>
                <a:gd name="connsiteY134" fmla="*/ 566738 h 1871663"/>
                <a:gd name="connsiteX135" fmla="*/ 3481387 w 3762723"/>
                <a:gd name="connsiteY135" fmla="*/ 528638 h 1871663"/>
                <a:gd name="connsiteX136" fmla="*/ 3519487 w 3762723"/>
                <a:gd name="connsiteY136" fmla="*/ 504825 h 1871663"/>
                <a:gd name="connsiteX137" fmla="*/ 3533775 w 3762723"/>
                <a:gd name="connsiteY137" fmla="*/ 495300 h 1871663"/>
                <a:gd name="connsiteX138" fmla="*/ 3548062 w 3762723"/>
                <a:gd name="connsiteY138" fmla="*/ 481013 h 1871663"/>
                <a:gd name="connsiteX139" fmla="*/ 3562350 w 3762723"/>
                <a:gd name="connsiteY139" fmla="*/ 476250 h 1871663"/>
                <a:gd name="connsiteX140" fmla="*/ 3600450 w 3762723"/>
                <a:gd name="connsiteY140" fmla="*/ 447675 h 1871663"/>
                <a:gd name="connsiteX141" fmla="*/ 3629025 w 3762723"/>
                <a:gd name="connsiteY141" fmla="*/ 400050 h 1871663"/>
                <a:gd name="connsiteX142" fmla="*/ 3638550 w 3762723"/>
                <a:gd name="connsiteY142" fmla="*/ 385763 h 1871663"/>
                <a:gd name="connsiteX143" fmla="*/ 3643312 w 3762723"/>
                <a:gd name="connsiteY143" fmla="*/ 366713 h 1871663"/>
                <a:gd name="connsiteX144" fmla="*/ 3648075 w 3762723"/>
                <a:gd name="connsiteY144" fmla="*/ 285750 h 1871663"/>
                <a:gd name="connsiteX145" fmla="*/ 3662362 w 3762723"/>
                <a:gd name="connsiteY145" fmla="*/ 257175 h 1871663"/>
                <a:gd name="connsiteX146" fmla="*/ 3671887 w 3762723"/>
                <a:gd name="connsiteY146" fmla="*/ 242888 h 1871663"/>
                <a:gd name="connsiteX147" fmla="*/ 3690937 w 3762723"/>
                <a:gd name="connsiteY147" fmla="*/ 209550 h 1871663"/>
                <a:gd name="connsiteX148" fmla="*/ 3700462 w 3762723"/>
                <a:gd name="connsiteY148" fmla="*/ 142875 h 1871663"/>
                <a:gd name="connsiteX149" fmla="*/ 3705225 w 3762723"/>
                <a:gd name="connsiteY149" fmla="*/ 100013 h 1871663"/>
                <a:gd name="connsiteX150" fmla="*/ 3719512 w 3762723"/>
                <a:gd name="connsiteY150" fmla="*/ 76200 h 1871663"/>
                <a:gd name="connsiteX151" fmla="*/ 3748087 w 3762723"/>
                <a:gd name="connsiteY151" fmla="*/ 42863 h 1871663"/>
                <a:gd name="connsiteX152" fmla="*/ 3762375 w 3762723"/>
                <a:gd name="connsiteY152" fmla="*/ 14288 h 1871663"/>
                <a:gd name="connsiteX153" fmla="*/ 3762375 w 3762723"/>
                <a:gd name="connsiteY153"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300037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86125 w 3762723"/>
                <a:gd name="connsiteY126" fmla="*/ 785813 h 1871663"/>
                <a:gd name="connsiteX127" fmla="*/ 3309937 w 3762723"/>
                <a:gd name="connsiteY127" fmla="*/ 752475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52737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86125 w 3762723"/>
                <a:gd name="connsiteY126" fmla="*/ 785813 h 1871663"/>
                <a:gd name="connsiteX127" fmla="*/ 3309937 w 3762723"/>
                <a:gd name="connsiteY127" fmla="*/ 752475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86125 w 3762723"/>
                <a:gd name="connsiteY126" fmla="*/ 785813 h 1871663"/>
                <a:gd name="connsiteX127" fmla="*/ 3309937 w 3762723"/>
                <a:gd name="connsiteY127" fmla="*/ 752475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86125 w 3762723"/>
                <a:gd name="connsiteY126" fmla="*/ 785813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62313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76612 w 3762723"/>
                <a:gd name="connsiteY130" fmla="*/ 65246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62313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57575 w 3762723"/>
                <a:gd name="connsiteY133" fmla="*/ 566738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62313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14687 w 3762723"/>
                <a:gd name="connsiteY124" fmla="*/ 866775 h 1871663"/>
                <a:gd name="connsiteX125" fmla="*/ 3243262 w 3762723"/>
                <a:gd name="connsiteY125" fmla="*/ 842963 h 1871663"/>
                <a:gd name="connsiteX126" fmla="*/ 3238500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71812 w 3762723"/>
                <a:gd name="connsiteY115" fmla="*/ 1033463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00399 w 3762723"/>
                <a:gd name="connsiteY124" fmla="*/ 866775 h 1871663"/>
                <a:gd name="connsiteX125" fmla="*/ 3243262 w 3762723"/>
                <a:gd name="connsiteY125" fmla="*/ 842963 h 1871663"/>
                <a:gd name="connsiteX126" fmla="*/ 3238500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19437 w 3762723"/>
                <a:gd name="connsiteY118" fmla="*/ 1000125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00399 w 3762723"/>
                <a:gd name="connsiteY124" fmla="*/ 866775 h 1871663"/>
                <a:gd name="connsiteX125" fmla="*/ 3243262 w 3762723"/>
                <a:gd name="connsiteY125" fmla="*/ 842963 h 1871663"/>
                <a:gd name="connsiteX126" fmla="*/ 3238500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090862 w 3762723"/>
                <a:gd name="connsiteY118" fmla="*/ 976313 h 1871663"/>
                <a:gd name="connsiteX119" fmla="*/ 3133725 w 3762723"/>
                <a:gd name="connsiteY119" fmla="*/ 985838 h 1871663"/>
                <a:gd name="connsiteX120" fmla="*/ 3143250 w 3762723"/>
                <a:gd name="connsiteY120" fmla="*/ 966788 h 1871663"/>
                <a:gd name="connsiteX121" fmla="*/ 3148012 w 3762723"/>
                <a:gd name="connsiteY121" fmla="*/ 928688 h 1871663"/>
                <a:gd name="connsiteX122" fmla="*/ 3171825 w 3762723"/>
                <a:gd name="connsiteY122" fmla="*/ 904875 h 1871663"/>
                <a:gd name="connsiteX123" fmla="*/ 3195637 w 3762723"/>
                <a:gd name="connsiteY123" fmla="*/ 885825 h 1871663"/>
                <a:gd name="connsiteX124" fmla="*/ 3200399 w 3762723"/>
                <a:gd name="connsiteY124" fmla="*/ 866775 h 1871663"/>
                <a:gd name="connsiteX125" fmla="*/ 3243262 w 3762723"/>
                <a:gd name="connsiteY125" fmla="*/ 842963 h 1871663"/>
                <a:gd name="connsiteX126" fmla="*/ 3238500 w 3762723"/>
                <a:gd name="connsiteY126" fmla="*/ 809626 h 1871663"/>
                <a:gd name="connsiteX127" fmla="*/ 3281362 w 3762723"/>
                <a:gd name="connsiteY127" fmla="*/ 723900 h 1871663"/>
                <a:gd name="connsiteX128" fmla="*/ 3348037 w 3762723"/>
                <a:gd name="connsiteY128" fmla="*/ 681038 h 1871663"/>
                <a:gd name="connsiteX129" fmla="*/ 3352800 w 3762723"/>
                <a:gd name="connsiteY129" fmla="*/ 666750 h 1871663"/>
                <a:gd name="connsiteX130" fmla="*/ 3362325 w 3762723"/>
                <a:gd name="connsiteY130" fmla="*/ 633413 h 1871663"/>
                <a:gd name="connsiteX131" fmla="*/ 3424237 w 3762723"/>
                <a:gd name="connsiteY131" fmla="*/ 614363 h 1871663"/>
                <a:gd name="connsiteX132" fmla="*/ 3448050 w 3762723"/>
                <a:gd name="connsiteY132" fmla="*/ 581025 h 1871663"/>
                <a:gd name="connsiteX133" fmla="*/ 3419475 w 3762723"/>
                <a:gd name="connsiteY133" fmla="*/ 557213 h 1871663"/>
                <a:gd name="connsiteX134" fmla="*/ 3481387 w 3762723"/>
                <a:gd name="connsiteY134" fmla="*/ 528638 h 1871663"/>
                <a:gd name="connsiteX135" fmla="*/ 3519487 w 3762723"/>
                <a:gd name="connsiteY135" fmla="*/ 504825 h 1871663"/>
                <a:gd name="connsiteX136" fmla="*/ 3533775 w 3762723"/>
                <a:gd name="connsiteY136" fmla="*/ 495300 h 1871663"/>
                <a:gd name="connsiteX137" fmla="*/ 3548062 w 3762723"/>
                <a:gd name="connsiteY137" fmla="*/ 481013 h 1871663"/>
                <a:gd name="connsiteX138" fmla="*/ 3562350 w 3762723"/>
                <a:gd name="connsiteY138" fmla="*/ 476250 h 1871663"/>
                <a:gd name="connsiteX139" fmla="*/ 3600450 w 3762723"/>
                <a:gd name="connsiteY139" fmla="*/ 447675 h 1871663"/>
                <a:gd name="connsiteX140" fmla="*/ 3629025 w 3762723"/>
                <a:gd name="connsiteY140" fmla="*/ 400050 h 1871663"/>
                <a:gd name="connsiteX141" fmla="*/ 3638550 w 3762723"/>
                <a:gd name="connsiteY141" fmla="*/ 385763 h 1871663"/>
                <a:gd name="connsiteX142" fmla="*/ 3643312 w 3762723"/>
                <a:gd name="connsiteY142" fmla="*/ 366713 h 1871663"/>
                <a:gd name="connsiteX143" fmla="*/ 3648075 w 3762723"/>
                <a:gd name="connsiteY143" fmla="*/ 285750 h 1871663"/>
                <a:gd name="connsiteX144" fmla="*/ 3662362 w 3762723"/>
                <a:gd name="connsiteY144" fmla="*/ 257175 h 1871663"/>
                <a:gd name="connsiteX145" fmla="*/ 3671887 w 3762723"/>
                <a:gd name="connsiteY145" fmla="*/ 242888 h 1871663"/>
                <a:gd name="connsiteX146" fmla="*/ 3690937 w 3762723"/>
                <a:gd name="connsiteY146" fmla="*/ 209550 h 1871663"/>
                <a:gd name="connsiteX147" fmla="*/ 3700462 w 3762723"/>
                <a:gd name="connsiteY147" fmla="*/ 142875 h 1871663"/>
                <a:gd name="connsiteX148" fmla="*/ 3705225 w 3762723"/>
                <a:gd name="connsiteY148" fmla="*/ 100013 h 1871663"/>
                <a:gd name="connsiteX149" fmla="*/ 3719512 w 3762723"/>
                <a:gd name="connsiteY149" fmla="*/ 76200 h 1871663"/>
                <a:gd name="connsiteX150" fmla="*/ 3748087 w 3762723"/>
                <a:gd name="connsiteY150" fmla="*/ 42863 h 1871663"/>
                <a:gd name="connsiteX151" fmla="*/ 3762375 w 3762723"/>
                <a:gd name="connsiteY151" fmla="*/ 14288 h 1871663"/>
                <a:gd name="connsiteX152" fmla="*/ 3762375 w 3762723"/>
                <a:gd name="connsiteY15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43250 w 3762723"/>
                <a:gd name="connsiteY119" fmla="*/ 966788 h 1871663"/>
                <a:gd name="connsiteX120" fmla="*/ 3148012 w 3762723"/>
                <a:gd name="connsiteY120" fmla="*/ 928688 h 1871663"/>
                <a:gd name="connsiteX121" fmla="*/ 3171825 w 3762723"/>
                <a:gd name="connsiteY121" fmla="*/ 904875 h 1871663"/>
                <a:gd name="connsiteX122" fmla="*/ 3195637 w 3762723"/>
                <a:gd name="connsiteY122" fmla="*/ 885825 h 1871663"/>
                <a:gd name="connsiteX123" fmla="*/ 3200399 w 3762723"/>
                <a:gd name="connsiteY123" fmla="*/ 866775 h 1871663"/>
                <a:gd name="connsiteX124" fmla="*/ 3243262 w 3762723"/>
                <a:gd name="connsiteY124" fmla="*/ 842963 h 1871663"/>
                <a:gd name="connsiteX125" fmla="*/ 3238500 w 3762723"/>
                <a:gd name="connsiteY125" fmla="*/ 809626 h 1871663"/>
                <a:gd name="connsiteX126" fmla="*/ 3281362 w 3762723"/>
                <a:gd name="connsiteY126" fmla="*/ 723900 h 1871663"/>
                <a:gd name="connsiteX127" fmla="*/ 3348037 w 3762723"/>
                <a:gd name="connsiteY127" fmla="*/ 681038 h 1871663"/>
                <a:gd name="connsiteX128" fmla="*/ 3352800 w 3762723"/>
                <a:gd name="connsiteY128" fmla="*/ 666750 h 1871663"/>
                <a:gd name="connsiteX129" fmla="*/ 3362325 w 3762723"/>
                <a:gd name="connsiteY129" fmla="*/ 633413 h 1871663"/>
                <a:gd name="connsiteX130" fmla="*/ 3424237 w 3762723"/>
                <a:gd name="connsiteY130" fmla="*/ 614363 h 1871663"/>
                <a:gd name="connsiteX131" fmla="*/ 3448050 w 3762723"/>
                <a:gd name="connsiteY131" fmla="*/ 581025 h 1871663"/>
                <a:gd name="connsiteX132" fmla="*/ 3419475 w 3762723"/>
                <a:gd name="connsiteY132" fmla="*/ 557213 h 1871663"/>
                <a:gd name="connsiteX133" fmla="*/ 3481387 w 3762723"/>
                <a:gd name="connsiteY133" fmla="*/ 528638 h 1871663"/>
                <a:gd name="connsiteX134" fmla="*/ 3519487 w 3762723"/>
                <a:gd name="connsiteY134" fmla="*/ 504825 h 1871663"/>
                <a:gd name="connsiteX135" fmla="*/ 3533775 w 3762723"/>
                <a:gd name="connsiteY135" fmla="*/ 495300 h 1871663"/>
                <a:gd name="connsiteX136" fmla="*/ 3548062 w 3762723"/>
                <a:gd name="connsiteY136" fmla="*/ 481013 h 1871663"/>
                <a:gd name="connsiteX137" fmla="*/ 3562350 w 3762723"/>
                <a:gd name="connsiteY137" fmla="*/ 476250 h 1871663"/>
                <a:gd name="connsiteX138" fmla="*/ 3600450 w 3762723"/>
                <a:gd name="connsiteY138" fmla="*/ 447675 h 1871663"/>
                <a:gd name="connsiteX139" fmla="*/ 3629025 w 3762723"/>
                <a:gd name="connsiteY139" fmla="*/ 400050 h 1871663"/>
                <a:gd name="connsiteX140" fmla="*/ 3638550 w 3762723"/>
                <a:gd name="connsiteY140" fmla="*/ 385763 h 1871663"/>
                <a:gd name="connsiteX141" fmla="*/ 3643312 w 3762723"/>
                <a:gd name="connsiteY141" fmla="*/ 366713 h 1871663"/>
                <a:gd name="connsiteX142" fmla="*/ 3648075 w 3762723"/>
                <a:gd name="connsiteY142" fmla="*/ 285750 h 1871663"/>
                <a:gd name="connsiteX143" fmla="*/ 3662362 w 3762723"/>
                <a:gd name="connsiteY143" fmla="*/ 257175 h 1871663"/>
                <a:gd name="connsiteX144" fmla="*/ 3671887 w 3762723"/>
                <a:gd name="connsiteY144" fmla="*/ 242888 h 1871663"/>
                <a:gd name="connsiteX145" fmla="*/ 3690937 w 3762723"/>
                <a:gd name="connsiteY145" fmla="*/ 209550 h 1871663"/>
                <a:gd name="connsiteX146" fmla="*/ 3700462 w 3762723"/>
                <a:gd name="connsiteY146" fmla="*/ 142875 h 1871663"/>
                <a:gd name="connsiteX147" fmla="*/ 3705225 w 3762723"/>
                <a:gd name="connsiteY147" fmla="*/ 100013 h 1871663"/>
                <a:gd name="connsiteX148" fmla="*/ 3719512 w 3762723"/>
                <a:gd name="connsiteY148" fmla="*/ 76200 h 1871663"/>
                <a:gd name="connsiteX149" fmla="*/ 3748087 w 3762723"/>
                <a:gd name="connsiteY149" fmla="*/ 42863 h 1871663"/>
                <a:gd name="connsiteX150" fmla="*/ 3762375 w 3762723"/>
                <a:gd name="connsiteY150" fmla="*/ 14288 h 1871663"/>
                <a:gd name="connsiteX151" fmla="*/ 3762375 w 3762723"/>
                <a:gd name="connsiteY151"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43250 w 3762723"/>
                <a:gd name="connsiteY119" fmla="*/ 966788 h 1871663"/>
                <a:gd name="connsiteX120" fmla="*/ 3148012 w 3762723"/>
                <a:gd name="connsiteY120" fmla="*/ 928688 h 1871663"/>
                <a:gd name="connsiteX121" fmla="*/ 3171825 w 3762723"/>
                <a:gd name="connsiteY121" fmla="*/ 904875 h 1871663"/>
                <a:gd name="connsiteX122" fmla="*/ 3195637 w 3762723"/>
                <a:gd name="connsiteY122" fmla="*/ 885825 h 1871663"/>
                <a:gd name="connsiteX123" fmla="*/ 3200399 w 3762723"/>
                <a:gd name="connsiteY123" fmla="*/ 866775 h 1871663"/>
                <a:gd name="connsiteX124" fmla="*/ 3238500 w 3762723"/>
                <a:gd name="connsiteY124" fmla="*/ 809626 h 1871663"/>
                <a:gd name="connsiteX125" fmla="*/ 3281362 w 3762723"/>
                <a:gd name="connsiteY125" fmla="*/ 723900 h 1871663"/>
                <a:gd name="connsiteX126" fmla="*/ 3348037 w 3762723"/>
                <a:gd name="connsiteY126" fmla="*/ 681038 h 1871663"/>
                <a:gd name="connsiteX127" fmla="*/ 3352800 w 3762723"/>
                <a:gd name="connsiteY127" fmla="*/ 666750 h 1871663"/>
                <a:gd name="connsiteX128" fmla="*/ 3362325 w 3762723"/>
                <a:gd name="connsiteY128" fmla="*/ 633413 h 1871663"/>
                <a:gd name="connsiteX129" fmla="*/ 3424237 w 3762723"/>
                <a:gd name="connsiteY129" fmla="*/ 614363 h 1871663"/>
                <a:gd name="connsiteX130" fmla="*/ 3448050 w 3762723"/>
                <a:gd name="connsiteY130" fmla="*/ 581025 h 1871663"/>
                <a:gd name="connsiteX131" fmla="*/ 3419475 w 3762723"/>
                <a:gd name="connsiteY131" fmla="*/ 557213 h 1871663"/>
                <a:gd name="connsiteX132" fmla="*/ 3481387 w 3762723"/>
                <a:gd name="connsiteY132" fmla="*/ 528638 h 1871663"/>
                <a:gd name="connsiteX133" fmla="*/ 3519487 w 3762723"/>
                <a:gd name="connsiteY133" fmla="*/ 504825 h 1871663"/>
                <a:gd name="connsiteX134" fmla="*/ 3533775 w 3762723"/>
                <a:gd name="connsiteY134" fmla="*/ 495300 h 1871663"/>
                <a:gd name="connsiteX135" fmla="*/ 3548062 w 3762723"/>
                <a:gd name="connsiteY135" fmla="*/ 481013 h 1871663"/>
                <a:gd name="connsiteX136" fmla="*/ 3562350 w 3762723"/>
                <a:gd name="connsiteY136" fmla="*/ 476250 h 1871663"/>
                <a:gd name="connsiteX137" fmla="*/ 3600450 w 3762723"/>
                <a:gd name="connsiteY137" fmla="*/ 447675 h 1871663"/>
                <a:gd name="connsiteX138" fmla="*/ 3629025 w 3762723"/>
                <a:gd name="connsiteY138" fmla="*/ 400050 h 1871663"/>
                <a:gd name="connsiteX139" fmla="*/ 3638550 w 3762723"/>
                <a:gd name="connsiteY139" fmla="*/ 385763 h 1871663"/>
                <a:gd name="connsiteX140" fmla="*/ 3643312 w 3762723"/>
                <a:gd name="connsiteY140" fmla="*/ 366713 h 1871663"/>
                <a:gd name="connsiteX141" fmla="*/ 3648075 w 3762723"/>
                <a:gd name="connsiteY141" fmla="*/ 285750 h 1871663"/>
                <a:gd name="connsiteX142" fmla="*/ 3662362 w 3762723"/>
                <a:gd name="connsiteY142" fmla="*/ 257175 h 1871663"/>
                <a:gd name="connsiteX143" fmla="*/ 3671887 w 3762723"/>
                <a:gd name="connsiteY143" fmla="*/ 242888 h 1871663"/>
                <a:gd name="connsiteX144" fmla="*/ 3690937 w 3762723"/>
                <a:gd name="connsiteY144" fmla="*/ 209550 h 1871663"/>
                <a:gd name="connsiteX145" fmla="*/ 3700462 w 3762723"/>
                <a:gd name="connsiteY145" fmla="*/ 142875 h 1871663"/>
                <a:gd name="connsiteX146" fmla="*/ 3705225 w 3762723"/>
                <a:gd name="connsiteY146" fmla="*/ 100013 h 1871663"/>
                <a:gd name="connsiteX147" fmla="*/ 3719512 w 3762723"/>
                <a:gd name="connsiteY147" fmla="*/ 76200 h 1871663"/>
                <a:gd name="connsiteX148" fmla="*/ 3748087 w 3762723"/>
                <a:gd name="connsiteY148" fmla="*/ 42863 h 1871663"/>
                <a:gd name="connsiteX149" fmla="*/ 3762375 w 3762723"/>
                <a:gd name="connsiteY149" fmla="*/ 14288 h 1871663"/>
                <a:gd name="connsiteX150" fmla="*/ 3762375 w 3762723"/>
                <a:gd name="connsiteY150"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43250 w 3762723"/>
                <a:gd name="connsiteY119" fmla="*/ 966788 h 1871663"/>
                <a:gd name="connsiteX120" fmla="*/ 3148012 w 3762723"/>
                <a:gd name="connsiteY120" fmla="*/ 928688 h 1871663"/>
                <a:gd name="connsiteX121" fmla="*/ 3171825 w 3762723"/>
                <a:gd name="connsiteY121" fmla="*/ 904875 h 1871663"/>
                <a:gd name="connsiteX122" fmla="*/ 3195637 w 3762723"/>
                <a:gd name="connsiteY122" fmla="*/ 885825 h 1871663"/>
                <a:gd name="connsiteX123" fmla="*/ 3238500 w 3762723"/>
                <a:gd name="connsiteY123" fmla="*/ 809626 h 1871663"/>
                <a:gd name="connsiteX124" fmla="*/ 3281362 w 3762723"/>
                <a:gd name="connsiteY124" fmla="*/ 723900 h 1871663"/>
                <a:gd name="connsiteX125" fmla="*/ 3348037 w 3762723"/>
                <a:gd name="connsiteY125" fmla="*/ 681038 h 1871663"/>
                <a:gd name="connsiteX126" fmla="*/ 3352800 w 3762723"/>
                <a:gd name="connsiteY126" fmla="*/ 666750 h 1871663"/>
                <a:gd name="connsiteX127" fmla="*/ 3362325 w 3762723"/>
                <a:gd name="connsiteY127" fmla="*/ 633413 h 1871663"/>
                <a:gd name="connsiteX128" fmla="*/ 3424237 w 3762723"/>
                <a:gd name="connsiteY128" fmla="*/ 614363 h 1871663"/>
                <a:gd name="connsiteX129" fmla="*/ 3448050 w 3762723"/>
                <a:gd name="connsiteY129" fmla="*/ 581025 h 1871663"/>
                <a:gd name="connsiteX130" fmla="*/ 3419475 w 3762723"/>
                <a:gd name="connsiteY130" fmla="*/ 557213 h 1871663"/>
                <a:gd name="connsiteX131" fmla="*/ 3481387 w 3762723"/>
                <a:gd name="connsiteY131" fmla="*/ 528638 h 1871663"/>
                <a:gd name="connsiteX132" fmla="*/ 3519487 w 3762723"/>
                <a:gd name="connsiteY132" fmla="*/ 504825 h 1871663"/>
                <a:gd name="connsiteX133" fmla="*/ 3533775 w 3762723"/>
                <a:gd name="connsiteY133" fmla="*/ 495300 h 1871663"/>
                <a:gd name="connsiteX134" fmla="*/ 3548062 w 3762723"/>
                <a:gd name="connsiteY134" fmla="*/ 481013 h 1871663"/>
                <a:gd name="connsiteX135" fmla="*/ 3562350 w 3762723"/>
                <a:gd name="connsiteY135" fmla="*/ 476250 h 1871663"/>
                <a:gd name="connsiteX136" fmla="*/ 3600450 w 3762723"/>
                <a:gd name="connsiteY136" fmla="*/ 447675 h 1871663"/>
                <a:gd name="connsiteX137" fmla="*/ 3629025 w 3762723"/>
                <a:gd name="connsiteY137" fmla="*/ 400050 h 1871663"/>
                <a:gd name="connsiteX138" fmla="*/ 3638550 w 3762723"/>
                <a:gd name="connsiteY138" fmla="*/ 385763 h 1871663"/>
                <a:gd name="connsiteX139" fmla="*/ 3643312 w 3762723"/>
                <a:gd name="connsiteY139" fmla="*/ 366713 h 1871663"/>
                <a:gd name="connsiteX140" fmla="*/ 3648075 w 3762723"/>
                <a:gd name="connsiteY140" fmla="*/ 285750 h 1871663"/>
                <a:gd name="connsiteX141" fmla="*/ 3662362 w 3762723"/>
                <a:gd name="connsiteY141" fmla="*/ 257175 h 1871663"/>
                <a:gd name="connsiteX142" fmla="*/ 3671887 w 3762723"/>
                <a:gd name="connsiteY142" fmla="*/ 242888 h 1871663"/>
                <a:gd name="connsiteX143" fmla="*/ 3690937 w 3762723"/>
                <a:gd name="connsiteY143" fmla="*/ 209550 h 1871663"/>
                <a:gd name="connsiteX144" fmla="*/ 3700462 w 3762723"/>
                <a:gd name="connsiteY144" fmla="*/ 142875 h 1871663"/>
                <a:gd name="connsiteX145" fmla="*/ 3705225 w 3762723"/>
                <a:gd name="connsiteY145" fmla="*/ 100013 h 1871663"/>
                <a:gd name="connsiteX146" fmla="*/ 3719512 w 3762723"/>
                <a:gd name="connsiteY146" fmla="*/ 76200 h 1871663"/>
                <a:gd name="connsiteX147" fmla="*/ 3748087 w 3762723"/>
                <a:gd name="connsiteY147" fmla="*/ 42863 h 1871663"/>
                <a:gd name="connsiteX148" fmla="*/ 3762375 w 3762723"/>
                <a:gd name="connsiteY148" fmla="*/ 14288 h 1871663"/>
                <a:gd name="connsiteX149" fmla="*/ 3762375 w 3762723"/>
                <a:gd name="connsiteY14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43250 w 3762723"/>
                <a:gd name="connsiteY119" fmla="*/ 966788 h 1871663"/>
                <a:gd name="connsiteX120" fmla="*/ 3171825 w 3762723"/>
                <a:gd name="connsiteY120" fmla="*/ 904875 h 1871663"/>
                <a:gd name="connsiteX121" fmla="*/ 3195637 w 3762723"/>
                <a:gd name="connsiteY121" fmla="*/ 885825 h 1871663"/>
                <a:gd name="connsiteX122" fmla="*/ 3238500 w 3762723"/>
                <a:gd name="connsiteY122" fmla="*/ 809626 h 1871663"/>
                <a:gd name="connsiteX123" fmla="*/ 3281362 w 3762723"/>
                <a:gd name="connsiteY123" fmla="*/ 723900 h 1871663"/>
                <a:gd name="connsiteX124" fmla="*/ 3348037 w 3762723"/>
                <a:gd name="connsiteY124" fmla="*/ 681038 h 1871663"/>
                <a:gd name="connsiteX125" fmla="*/ 3352800 w 3762723"/>
                <a:gd name="connsiteY125" fmla="*/ 666750 h 1871663"/>
                <a:gd name="connsiteX126" fmla="*/ 3362325 w 3762723"/>
                <a:gd name="connsiteY126" fmla="*/ 633413 h 1871663"/>
                <a:gd name="connsiteX127" fmla="*/ 3424237 w 3762723"/>
                <a:gd name="connsiteY127" fmla="*/ 614363 h 1871663"/>
                <a:gd name="connsiteX128" fmla="*/ 3448050 w 3762723"/>
                <a:gd name="connsiteY128" fmla="*/ 581025 h 1871663"/>
                <a:gd name="connsiteX129" fmla="*/ 3419475 w 3762723"/>
                <a:gd name="connsiteY129" fmla="*/ 557213 h 1871663"/>
                <a:gd name="connsiteX130" fmla="*/ 3481387 w 3762723"/>
                <a:gd name="connsiteY130" fmla="*/ 528638 h 1871663"/>
                <a:gd name="connsiteX131" fmla="*/ 3519487 w 3762723"/>
                <a:gd name="connsiteY131" fmla="*/ 504825 h 1871663"/>
                <a:gd name="connsiteX132" fmla="*/ 3533775 w 3762723"/>
                <a:gd name="connsiteY132" fmla="*/ 495300 h 1871663"/>
                <a:gd name="connsiteX133" fmla="*/ 3548062 w 3762723"/>
                <a:gd name="connsiteY133" fmla="*/ 481013 h 1871663"/>
                <a:gd name="connsiteX134" fmla="*/ 3562350 w 3762723"/>
                <a:gd name="connsiteY134" fmla="*/ 476250 h 1871663"/>
                <a:gd name="connsiteX135" fmla="*/ 3600450 w 3762723"/>
                <a:gd name="connsiteY135" fmla="*/ 447675 h 1871663"/>
                <a:gd name="connsiteX136" fmla="*/ 3629025 w 3762723"/>
                <a:gd name="connsiteY136" fmla="*/ 400050 h 1871663"/>
                <a:gd name="connsiteX137" fmla="*/ 3638550 w 3762723"/>
                <a:gd name="connsiteY137" fmla="*/ 385763 h 1871663"/>
                <a:gd name="connsiteX138" fmla="*/ 3643312 w 3762723"/>
                <a:gd name="connsiteY138" fmla="*/ 366713 h 1871663"/>
                <a:gd name="connsiteX139" fmla="*/ 3648075 w 3762723"/>
                <a:gd name="connsiteY139" fmla="*/ 285750 h 1871663"/>
                <a:gd name="connsiteX140" fmla="*/ 3662362 w 3762723"/>
                <a:gd name="connsiteY140" fmla="*/ 257175 h 1871663"/>
                <a:gd name="connsiteX141" fmla="*/ 3671887 w 3762723"/>
                <a:gd name="connsiteY141" fmla="*/ 242888 h 1871663"/>
                <a:gd name="connsiteX142" fmla="*/ 3690937 w 3762723"/>
                <a:gd name="connsiteY142" fmla="*/ 209550 h 1871663"/>
                <a:gd name="connsiteX143" fmla="*/ 3700462 w 3762723"/>
                <a:gd name="connsiteY143" fmla="*/ 142875 h 1871663"/>
                <a:gd name="connsiteX144" fmla="*/ 3705225 w 3762723"/>
                <a:gd name="connsiteY144" fmla="*/ 100013 h 1871663"/>
                <a:gd name="connsiteX145" fmla="*/ 3719512 w 3762723"/>
                <a:gd name="connsiteY145" fmla="*/ 76200 h 1871663"/>
                <a:gd name="connsiteX146" fmla="*/ 3748087 w 3762723"/>
                <a:gd name="connsiteY146" fmla="*/ 42863 h 1871663"/>
                <a:gd name="connsiteX147" fmla="*/ 3762375 w 3762723"/>
                <a:gd name="connsiteY147" fmla="*/ 14288 h 1871663"/>
                <a:gd name="connsiteX148" fmla="*/ 3762375 w 3762723"/>
                <a:gd name="connsiteY148"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33725 w 3762723"/>
                <a:gd name="connsiteY118" fmla="*/ 985838 h 1871663"/>
                <a:gd name="connsiteX119" fmla="*/ 3171825 w 3762723"/>
                <a:gd name="connsiteY119" fmla="*/ 904875 h 1871663"/>
                <a:gd name="connsiteX120" fmla="*/ 3195637 w 3762723"/>
                <a:gd name="connsiteY120" fmla="*/ 885825 h 1871663"/>
                <a:gd name="connsiteX121" fmla="*/ 3238500 w 3762723"/>
                <a:gd name="connsiteY121" fmla="*/ 809626 h 1871663"/>
                <a:gd name="connsiteX122" fmla="*/ 3281362 w 3762723"/>
                <a:gd name="connsiteY122" fmla="*/ 723900 h 1871663"/>
                <a:gd name="connsiteX123" fmla="*/ 3348037 w 3762723"/>
                <a:gd name="connsiteY123" fmla="*/ 681038 h 1871663"/>
                <a:gd name="connsiteX124" fmla="*/ 3352800 w 3762723"/>
                <a:gd name="connsiteY124" fmla="*/ 666750 h 1871663"/>
                <a:gd name="connsiteX125" fmla="*/ 3362325 w 3762723"/>
                <a:gd name="connsiteY125" fmla="*/ 633413 h 1871663"/>
                <a:gd name="connsiteX126" fmla="*/ 3424237 w 3762723"/>
                <a:gd name="connsiteY126" fmla="*/ 614363 h 1871663"/>
                <a:gd name="connsiteX127" fmla="*/ 3448050 w 3762723"/>
                <a:gd name="connsiteY127" fmla="*/ 581025 h 1871663"/>
                <a:gd name="connsiteX128" fmla="*/ 3419475 w 3762723"/>
                <a:gd name="connsiteY128" fmla="*/ 557213 h 1871663"/>
                <a:gd name="connsiteX129" fmla="*/ 3481387 w 3762723"/>
                <a:gd name="connsiteY129" fmla="*/ 528638 h 1871663"/>
                <a:gd name="connsiteX130" fmla="*/ 3519487 w 3762723"/>
                <a:gd name="connsiteY130" fmla="*/ 504825 h 1871663"/>
                <a:gd name="connsiteX131" fmla="*/ 3533775 w 3762723"/>
                <a:gd name="connsiteY131" fmla="*/ 495300 h 1871663"/>
                <a:gd name="connsiteX132" fmla="*/ 3548062 w 3762723"/>
                <a:gd name="connsiteY132" fmla="*/ 481013 h 1871663"/>
                <a:gd name="connsiteX133" fmla="*/ 3562350 w 3762723"/>
                <a:gd name="connsiteY133" fmla="*/ 476250 h 1871663"/>
                <a:gd name="connsiteX134" fmla="*/ 3600450 w 3762723"/>
                <a:gd name="connsiteY134" fmla="*/ 447675 h 1871663"/>
                <a:gd name="connsiteX135" fmla="*/ 3629025 w 3762723"/>
                <a:gd name="connsiteY135" fmla="*/ 400050 h 1871663"/>
                <a:gd name="connsiteX136" fmla="*/ 3638550 w 3762723"/>
                <a:gd name="connsiteY136" fmla="*/ 385763 h 1871663"/>
                <a:gd name="connsiteX137" fmla="*/ 3643312 w 3762723"/>
                <a:gd name="connsiteY137" fmla="*/ 366713 h 1871663"/>
                <a:gd name="connsiteX138" fmla="*/ 3648075 w 3762723"/>
                <a:gd name="connsiteY138" fmla="*/ 285750 h 1871663"/>
                <a:gd name="connsiteX139" fmla="*/ 3662362 w 3762723"/>
                <a:gd name="connsiteY139" fmla="*/ 257175 h 1871663"/>
                <a:gd name="connsiteX140" fmla="*/ 3671887 w 3762723"/>
                <a:gd name="connsiteY140" fmla="*/ 242888 h 1871663"/>
                <a:gd name="connsiteX141" fmla="*/ 3690937 w 3762723"/>
                <a:gd name="connsiteY141" fmla="*/ 209550 h 1871663"/>
                <a:gd name="connsiteX142" fmla="*/ 3700462 w 3762723"/>
                <a:gd name="connsiteY142" fmla="*/ 142875 h 1871663"/>
                <a:gd name="connsiteX143" fmla="*/ 3705225 w 3762723"/>
                <a:gd name="connsiteY143" fmla="*/ 100013 h 1871663"/>
                <a:gd name="connsiteX144" fmla="*/ 3719512 w 3762723"/>
                <a:gd name="connsiteY144" fmla="*/ 76200 h 1871663"/>
                <a:gd name="connsiteX145" fmla="*/ 3748087 w 3762723"/>
                <a:gd name="connsiteY145" fmla="*/ 42863 h 1871663"/>
                <a:gd name="connsiteX146" fmla="*/ 3762375 w 3762723"/>
                <a:gd name="connsiteY146" fmla="*/ 14288 h 1871663"/>
                <a:gd name="connsiteX147" fmla="*/ 3762375 w 3762723"/>
                <a:gd name="connsiteY147"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71825 w 3762723"/>
                <a:gd name="connsiteY118" fmla="*/ 904875 h 1871663"/>
                <a:gd name="connsiteX119" fmla="*/ 3195637 w 3762723"/>
                <a:gd name="connsiteY119" fmla="*/ 885825 h 1871663"/>
                <a:gd name="connsiteX120" fmla="*/ 3238500 w 3762723"/>
                <a:gd name="connsiteY120" fmla="*/ 809626 h 1871663"/>
                <a:gd name="connsiteX121" fmla="*/ 3281362 w 3762723"/>
                <a:gd name="connsiteY121" fmla="*/ 723900 h 1871663"/>
                <a:gd name="connsiteX122" fmla="*/ 3348037 w 3762723"/>
                <a:gd name="connsiteY122" fmla="*/ 681038 h 1871663"/>
                <a:gd name="connsiteX123" fmla="*/ 3352800 w 3762723"/>
                <a:gd name="connsiteY123" fmla="*/ 666750 h 1871663"/>
                <a:gd name="connsiteX124" fmla="*/ 3362325 w 3762723"/>
                <a:gd name="connsiteY124" fmla="*/ 633413 h 1871663"/>
                <a:gd name="connsiteX125" fmla="*/ 3424237 w 3762723"/>
                <a:gd name="connsiteY125" fmla="*/ 614363 h 1871663"/>
                <a:gd name="connsiteX126" fmla="*/ 3448050 w 3762723"/>
                <a:gd name="connsiteY126" fmla="*/ 581025 h 1871663"/>
                <a:gd name="connsiteX127" fmla="*/ 3419475 w 3762723"/>
                <a:gd name="connsiteY127" fmla="*/ 557213 h 1871663"/>
                <a:gd name="connsiteX128" fmla="*/ 3481387 w 3762723"/>
                <a:gd name="connsiteY128" fmla="*/ 528638 h 1871663"/>
                <a:gd name="connsiteX129" fmla="*/ 3519487 w 3762723"/>
                <a:gd name="connsiteY129" fmla="*/ 504825 h 1871663"/>
                <a:gd name="connsiteX130" fmla="*/ 3533775 w 3762723"/>
                <a:gd name="connsiteY130" fmla="*/ 495300 h 1871663"/>
                <a:gd name="connsiteX131" fmla="*/ 3548062 w 3762723"/>
                <a:gd name="connsiteY131" fmla="*/ 481013 h 1871663"/>
                <a:gd name="connsiteX132" fmla="*/ 3562350 w 3762723"/>
                <a:gd name="connsiteY132" fmla="*/ 476250 h 1871663"/>
                <a:gd name="connsiteX133" fmla="*/ 3600450 w 3762723"/>
                <a:gd name="connsiteY133" fmla="*/ 447675 h 1871663"/>
                <a:gd name="connsiteX134" fmla="*/ 3629025 w 3762723"/>
                <a:gd name="connsiteY134" fmla="*/ 400050 h 1871663"/>
                <a:gd name="connsiteX135" fmla="*/ 3638550 w 3762723"/>
                <a:gd name="connsiteY135" fmla="*/ 385763 h 1871663"/>
                <a:gd name="connsiteX136" fmla="*/ 3643312 w 3762723"/>
                <a:gd name="connsiteY136" fmla="*/ 366713 h 1871663"/>
                <a:gd name="connsiteX137" fmla="*/ 3648075 w 3762723"/>
                <a:gd name="connsiteY137" fmla="*/ 285750 h 1871663"/>
                <a:gd name="connsiteX138" fmla="*/ 3662362 w 3762723"/>
                <a:gd name="connsiteY138" fmla="*/ 257175 h 1871663"/>
                <a:gd name="connsiteX139" fmla="*/ 3671887 w 3762723"/>
                <a:gd name="connsiteY139" fmla="*/ 242888 h 1871663"/>
                <a:gd name="connsiteX140" fmla="*/ 3690937 w 3762723"/>
                <a:gd name="connsiteY140" fmla="*/ 209550 h 1871663"/>
                <a:gd name="connsiteX141" fmla="*/ 3700462 w 3762723"/>
                <a:gd name="connsiteY141" fmla="*/ 142875 h 1871663"/>
                <a:gd name="connsiteX142" fmla="*/ 3705225 w 3762723"/>
                <a:gd name="connsiteY142" fmla="*/ 100013 h 1871663"/>
                <a:gd name="connsiteX143" fmla="*/ 3719512 w 3762723"/>
                <a:gd name="connsiteY143" fmla="*/ 76200 h 1871663"/>
                <a:gd name="connsiteX144" fmla="*/ 3748087 w 3762723"/>
                <a:gd name="connsiteY144" fmla="*/ 42863 h 1871663"/>
                <a:gd name="connsiteX145" fmla="*/ 3762375 w 3762723"/>
                <a:gd name="connsiteY145" fmla="*/ 14288 h 1871663"/>
                <a:gd name="connsiteX146" fmla="*/ 3762375 w 3762723"/>
                <a:gd name="connsiteY14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05150 w 3762723"/>
                <a:gd name="connsiteY117" fmla="*/ 1019175 h 1871663"/>
                <a:gd name="connsiteX118" fmla="*/ 3171825 w 3762723"/>
                <a:gd name="connsiteY118" fmla="*/ 904875 h 1871663"/>
                <a:gd name="connsiteX119" fmla="*/ 3238500 w 3762723"/>
                <a:gd name="connsiteY119" fmla="*/ 809626 h 1871663"/>
                <a:gd name="connsiteX120" fmla="*/ 3281362 w 3762723"/>
                <a:gd name="connsiteY120" fmla="*/ 723900 h 1871663"/>
                <a:gd name="connsiteX121" fmla="*/ 3348037 w 3762723"/>
                <a:gd name="connsiteY121" fmla="*/ 681038 h 1871663"/>
                <a:gd name="connsiteX122" fmla="*/ 3352800 w 3762723"/>
                <a:gd name="connsiteY122" fmla="*/ 666750 h 1871663"/>
                <a:gd name="connsiteX123" fmla="*/ 3362325 w 3762723"/>
                <a:gd name="connsiteY123" fmla="*/ 633413 h 1871663"/>
                <a:gd name="connsiteX124" fmla="*/ 3424237 w 3762723"/>
                <a:gd name="connsiteY124" fmla="*/ 614363 h 1871663"/>
                <a:gd name="connsiteX125" fmla="*/ 3448050 w 3762723"/>
                <a:gd name="connsiteY125" fmla="*/ 581025 h 1871663"/>
                <a:gd name="connsiteX126" fmla="*/ 3419475 w 3762723"/>
                <a:gd name="connsiteY126" fmla="*/ 557213 h 1871663"/>
                <a:gd name="connsiteX127" fmla="*/ 3481387 w 3762723"/>
                <a:gd name="connsiteY127" fmla="*/ 528638 h 1871663"/>
                <a:gd name="connsiteX128" fmla="*/ 3519487 w 3762723"/>
                <a:gd name="connsiteY128" fmla="*/ 504825 h 1871663"/>
                <a:gd name="connsiteX129" fmla="*/ 3533775 w 3762723"/>
                <a:gd name="connsiteY129" fmla="*/ 495300 h 1871663"/>
                <a:gd name="connsiteX130" fmla="*/ 3548062 w 3762723"/>
                <a:gd name="connsiteY130" fmla="*/ 481013 h 1871663"/>
                <a:gd name="connsiteX131" fmla="*/ 3562350 w 3762723"/>
                <a:gd name="connsiteY131" fmla="*/ 476250 h 1871663"/>
                <a:gd name="connsiteX132" fmla="*/ 3600450 w 3762723"/>
                <a:gd name="connsiteY132" fmla="*/ 447675 h 1871663"/>
                <a:gd name="connsiteX133" fmla="*/ 3629025 w 3762723"/>
                <a:gd name="connsiteY133" fmla="*/ 400050 h 1871663"/>
                <a:gd name="connsiteX134" fmla="*/ 3638550 w 3762723"/>
                <a:gd name="connsiteY134" fmla="*/ 385763 h 1871663"/>
                <a:gd name="connsiteX135" fmla="*/ 3643312 w 3762723"/>
                <a:gd name="connsiteY135" fmla="*/ 366713 h 1871663"/>
                <a:gd name="connsiteX136" fmla="*/ 3648075 w 3762723"/>
                <a:gd name="connsiteY136" fmla="*/ 285750 h 1871663"/>
                <a:gd name="connsiteX137" fmla="*/ 3662362 w 3762723"/>
                <a:gd name="connsiteY137" fmla="*/ 257175 h 1871663"/>
                <a:gd name="connsiteX138" fmla="*/ 3671887 w 3762723"/>
                <a:gd name="connsiteY138" fmla="*/ 242888 h 1871663"/>
                <a:gd name="connsiteX139" fmla="*/ 3690937 w 3762723"/>
                <a:gd name="connsiteY139" fmla="*/ 209550 h 1871663"/>
                <a:gd name="connsiteX140" fmla="*/ 3700462 w 3762723"/>
                <a:gd name="connsiteY140" fmla="*/ 142875 h 1871663"/>
                <a:gd name="connsiteX141" fmla="*/ 3705225 w 3762723"/>
                <a:gd name="connsiteY141" fmla="*/ 100013 h 1871663"/>
                <a:gd name="connsiteX142" fmla="*/ 3719512 w 3762723"/>
                <a:gd name="connsiteY142" fmla="*/ 76200 h 1871663"/>
                <a:gd name="connsiteX143" fmla="*/ 3748087 w 3762723"/>
                <a:gd name="connsiteY143" fmla="*/ 42863 h 1871663"/>
                <a:gd name="connsiteX144" fmla="*/ 3762375 w 3762723"/>
                <a:gd name="connsiteY144" fmla="*/ 14288 h 1871663"/>
                <a:gd name="connsiteX145" fmla="*/ 3762375 w 3762723"/>
                <a:gd name="connsiteY145"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086100 w 3762723"/>
                <a:gd name="connsiteY116" fmla="*/ 1023938 h 1871663"/>
                <a:gd name="connsiteX117" fmla="*/ 3171825 w 3762723"/>
                <a:gd name="connsiteY117" fmla="*/ 904875 h 1871663"/>
                <a:gd name="connsiteX118" fmla="*/ 3238500 w 3762723"/>
                <a:gd name="connsiteY118" fmla="*/ 809626 h 1871663"/>
                <a:gd name="connsiteX119" fmla="*/ 3281362 w 3762723"/>
                <a:gd name="connsiteY119" fmla="*/ 723900 h 1871663"/>
                <a:gd name="connsiteX120" fmla="*/ 3348037 w 3762723"/>
                <a:gd name="connsiteY120" fmla="*/ 681038 h 1871663"/>
                <a:gd name="connsiteX121" fmla="*/ 3352800 w 3762723"/>
                <a:gd name="connsiteY121" fmla="*/ 666750 h 1871663"/>
                <a:gd name="connsiteX122" fmla="*/ 3362325 w 3762723"/>
                <a:gd name="connsiteY122" fmla="*/ 633413 h 1871663"/>
                <a:gd name="connsiteX123" fmla="*/ 3424237 w 3762723"/>
                <a:gd name="connsiteY123" fmla="*/ 614363 h 1871663"/>
                <a:gd name="connsiteX124" fmla="*/ 3448050 w 3762723"/>
                <a:gd name="connsiteY124" fmla="*/ 581025 h 1871663"/>
                <a:gd name="connsiteX125" fmla="*/ 3419475 w 3762723"/>
                <a:gd name="connsiteY125" fmla="*/ 557213 h 1871663"/>
                <a:gd name="connsiteX126" fmla="*/ 3481387 w 3762723"/>
                <a:gd name="connsiteY126" fmla="*/ 528638 h 1871663"/>
                <a:gd name="connsiteX127" fmla="*/ 3519487 w 3762723"/>
                <a:gd name="connsiteY127" fmla="*/ 504825 h 1871663"/>
                <a:gd name="connsiteX128" fmla="*/ 3533775 w 3762723"/>
                <a:gd name="connsiteY128" fmla="*/ 495300 h 1871663"/>
                <a:gd name="connsiteX129" fmla="*/ 3548062 w 3762723"/>
                <a:gd name="connsiteY129" fmla="*/ 481013 h 1871663"/>
                <a:gd name="connsiteX130" fmla="*/ 3562350 w 3762723"/>
                <a:gd name="connsiteY130" fmla="*/ 476250 h 1871663"/>
                <a:gd name="connsiteX131" fmla="*/ 3600450 w 3762723"/>
                <a:gd name="connsiteY131" fmla="*/ 447675 h 1871663"/>
                <a:gd name="connsiteX132" fmla="*/ 3629025 w 3762723"/>
                <a:gd name="connsiteY132" fmla="*/ 400050 h 1871663"/>
                <a:gd name="connsiteX133" fmla="*/ 3638550 w 3762723"/>
                <a:gd name="connsiteY133" fmla="*/ 385763 h 1871663"/>
                <a:gd name="connsiteX134" fmla="*/ 3643312 w 3762723"/>
                <a:gd name="connsiteY134" fmla="*/ 366713 h 1871663"/>
                <a:gd name="connsiteX135" fmla="*/ 3648075 w 3762723"/>
                <a:gd name="connsiteY135" fmla="*/ 285750 h 1871663"/>
                <a:gd name="connsiteX136" fmla="*/ 3662362 w 3762723"/>
                <a:gd name="connsiteY136" fmla="*/ 257175 h 1871663"/>
                <a:gd name="connsiteX137" fmla="*/ 3671887 w 3762723"/>
                <a:gd name="connsiteY137" fmla="*/ 242888 h 1871663"/>
                <a:gd name="connsiteX138" fmla="*/ 3690937 w 3762723"/>
                <a:gd name="connsiteY138" fmla="*/ 209550 h 1871663"/>
                <a:gd name="connsiteX139" fmla="*/ 3700462 w 3762723"/>
                <a:gd name="connsiteY139" fmla="*/ 142875 h 1871663"/>
                <a:gd name="connsiteX140" fmla="*/ 3705225 w 3762723"/>
                <a:gd name="connsiteY140" fmla="*/ 100013 h 1871663"/>
                <a:gd name="connsiteX141" fmla="*/ 3719512 w 3762723"/>
                <a:gd name="connsiteY141" fmla="*/ 76200 h 1871663"/>
                <a:gd name="connsiteX142" fmla="*/ 3748087 w 3762723"/>
                <a:gd name="connsiteY142" fmla="*/ 42863 h 1871663"/>
                <a:gd name="connsiteX143" fmla="*/ 3762375 w 3762723"/>
                <a:gd name="connsiteY143" fmla="*/ 14288 h 1871663"/>
                <a:gd name="connsiteX144" fmla="*/ 3762375 w 3762723"/>
                <a:gd name="connsiteY144"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052762 w 3762723"/>
                <a:gd name="connsiteY115" fmla="*/ 1038226 h 1871663"/>
                <a:gd name="connsiteX116" fmla="*/ 3171825 w 3762723"/>
                <a:gd name="connsiteY116" fmla="*/ 904875 h 1871663"/>
                <a:gd name="connsiteX117" fmla="*/ 3238500 w 3762723"/>
                <a:gd name="connsiteY117" fmla="*/ 809626 h 1871663"/>
                <a:gd name="connsiteX118" fmla="*/ 3281362 w 3762723"/>
                <a:gd name="connsiteY118" fmla="*/ 723900 h 1871663"/>
                <a:gd name="connsiteX119" fmla="*/ 3348037 w 3762723"/>
                <a:gd name="connsiteY119" fmla="*/ 681038 h 1871663"/>
                <a:gd name="connsiteX120" fmla="*/ 3352800 w 3762723"/>
                <a:gd name="connsiteY120" fmla="*/ 666750 h 1871663"/>
                <a:gd name="connsiteX121" fmla="*/ 3362325 w 3762723"/>
                <a:gd name="connsiteY121" fmla="*/ 633413 h 1871663"/>
                <a:gd name="connsiteX122" fmla="*/ 3424237 w 3762723"/>
                <a:gd name="connsiteY122" fmla="*/ 614363 h 1871663"/>
                <a:gd name="connsiteX123" fmla="*/ 3448050 w 3762723"/>
                <a:gd name="connsiteY123" fmla="*/ 581025 h 1871663"/>
                <a:gd name="connsiteX124" fmla="*/ 3419475 w 3762723"/>
                <a:gd name="connsiteY124" fmla="*/ 557213 h 1871663"/>
                <a:gd name="connsiteX125" fmla="*/ 3481387 w 3762723"/>
                <a:gd name="connsiteY125" fmla="*/ 528638 h 1871663"/>
                <a:gd name="connsiteX126" fmla="*/ 3519487 w 3762723"/>
                <a:gd name="connsiteY126" fmla="*/ 504825 h 1871663"/>
                <a:gd name="connsiteX127" fmla="*/ 3533775 w 3762723"/>
                <a:gd name="connsiteY127" fmla="*/ 495300 h 1871663"/>
                <a:gd name="connsiteX128" fmla="*/ 3548062 w 3762723"/>
                <a:gd name="connsiteY128" fmla="*/ 481013 h 1871663"/>
                <a:gd name="connsiteX129" fmla="*/ 3562350 w 3762723"/>
                <a:gd name="connsiteY129" fmla="*/ 476250 h 1871663"/>
                <a:gd name="connsiteX130" fmla="*/ 3600450 w 3762723"/>
                <a:gd name="connsiteY130" fmla="*/ 447675 h 1871663"/>
                <a:gd name="connsiteX131" fmla="*/ 3629025 w 3762723"/>
                <a:gd name="connsiteY131" fmla="*/ 400050 h 1871663"/>
                <a:gd name="connsiteX132" fmla="*/ 3638550 w 3762723"/>
                <a:gd name="connsiteY132" fmla="*/ 385763 h 1871663"/>
                <a:gd name="connsiteX133" fmla="*/ 3643312 w 3762723"/>
                <a:gd name="connsiteY133" fmla="*/ 366713 h 1871663"/>
                <a:gd name="connsiteX134" fmla="*/ 3648075 w 3762723"/>
                <a:gd name="connsiteY134" fmla="*/ 285750 h 1871663"/>
                <a:gd name="connsiteX135" fmla="*/ 3662362 w 3762723"/>
                <a:gd name="connsiteY135" fmla="*/ 257175 h 1871663"/>
                <a:gd name="connsiteX136" fmla="*/ 3671887 w 3762723"/>
                <a:gd name="connsiteY136" fmla="*/ 242888 h 1871663"/>
                <a:gd name="connsiteX137" fmla="*/ 3690937 w 3762723"/>
                <a:gd name="connsiteY137" fmla="*/ 209550 h 1871663"/>
                <a:gd name="connsiteX138" fmla="*/ 3700462 w 3762723"/>
                <a:gd name="connsiteY138" fmla="*/ 142875 h 1871663"/>
                <a:gd name="connsiteX139" fmla="*/ 3705225 w 3762723"/>
                <a:gd name="connsiteY139" fmla="*/ 100013 h 1871663"/>
                <a:gd name="connsiteX140" fmla="*/ 3719512 w 3762723"/>
                <a:gd name="connsiteY140" fmla="*/ 76200 h 1871663"/>
                <a:gd name="connsiteX141" fmla="*/ 3748087 w 3762723"/>
                <a:gd name="connsiteY141" fmla="*/ 42863 h 1871663"/>
                <a:gd name="connsiteX142" fmla="*/ 3762375 w 3762723"/>
                <a:gd name="connsiteY142" fmla="*/ 14288 h 1871663"/>
                <a:gd name="connsiteX143" fmla="*/ 3762375 w 3762723"/>
                <a:gd name="connsiteY143"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481387 w 3762723"/>
                <a:gd name="connsiteY124" fmla="*/ 528638 h 1871663"/>
                <a:gd name="connsiteX125" fmla="*/ 3519487 w 3762723"/>
                <a:gd name="connsiteY125" fmla="*/ 504825 h 1871663"/>
                <a:gd name="connsiteX126" fmla="*/ 3533775 w 3762723"/>
                <a:gd name="connsiteY126" fmla="*/ 495300 h 1871663"/>
                <a:gd name="connsiteX127" fmla="*/ 3548062 w 3762723"/>
                <a:gd name="connsiteY127" fmla="*/ 481013 h 1871663"/>
                <a:gd name="connsiteX128" fmla="*/ 3562350 w 3762723"/>
                <a:gd name="connsiteY128" fmla="*/ 476250 h 1871663"/>
                <a:gd name="connsiteX129" fmla="*/ 3600450 w 3762723"/>
                <a:gd name="connsiteY129" fmla="*/ 447675 h 1871663"/>
                <a:gd name="connsiteX130" fmla="*/ 3629025 w 3762723"/>
                <a:gd name="connsiteY130" fmla="*/ 400050 h 1871663"/>
                <a:gd name="connsiteX131" fmla="*/ 3638550 w 3762723"/>
                <a:gd name="connsiteY131" fmla="*/ 385763 h 1871663"/>
                <a:gd name="connsiteX132" fmla="*/ 3643312 w 3762723"/>
                <a:gd name="connsiteY132" fmla="*/ 366713 h 1871663"/>
                <a:gd name="connsiteX133" fmla="*/ 3648075 w 3762723"/>
                <a:gd name="connsiteY133" fmla="*/ 285750 h 1871663"/>
                <a:gd name="connsiteX134" fmla="*/ 3662362 w 3762723"/>
                <a:gd name="connsiteY134" fmla="*/ 257175 h 1871663"/>
                <a:gd name="connsiteX135" fmla="*/ 3671887 w 3762723"/>
                <a:gd name="connsiteY135" fmla="*/ 242888 h 1871663"/>
                <a:gd name="connsiteX136" fmla="*/ 3690937 w 3762723"/>
                <a:gd name="connsiteY136" fmla="*/ 209550 h 1871663"/>
                <a:gd name="connsiteX137" fmla="*/ 3700462 w 3762723"/>
                <a:gd name="connsiteY137" fmla="*/ 142875 h 1871663"/>
                <a:gd name="connsiteX138" fmla="*/ 3705225 w 3762723"/>
                <a:gd name="connsiteY138" fmla="*/ 100013 h 1871663"/>
                <a:gd name="connsiteX139" fmla="*/ 3719512 w 3762723"/>
                <a:gd name="connsiteY139" fmla="*/ 76200 h 1871663"/>
                <a:gd name="connsiteX140" fmla="*/ 3748087 w 3762723"/>
                <a:gd name="connsiteY140" fmla="*/ 42863 h 1871663"/>
                <a:gd name="connsiteX141" fmla="*/ 3762375 w 3762723"/>
                <a:gd name="connsiteY141" fmla="*/ 14288 h 1871663"/>
                <a:gd name="connsiteX142" fmla="*/ 3762375 w 3762723"/>
                <a:gd name="connsiteY142"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481387 w 3762723"/>
                <a:gd name="connsiteY124" fmla="*/ 528638 h 1871663"/>
                <a:gd name="connsiteX125" fmla="*/ 3519487 w 3762723"/>
                <a:gd name="connsiteY125" fmla="*/ 504825 h 1871663"/>
                <a:gd name="connsiteX126" fmla="*/ 3533775 w 3762723"/>
                <a:gd name="connsiteY126" fmla="*/ 495300 h 1871663"/>
                <a:gd name="connsiteX127" fmla="*/ 3548062 w 3762723"/>
                <a:gd name="connsiteY127" fmla="*/ 481013 h 1871663"/>
                <a:gd name="connsiteX128" fmla="*/ 3600450 w 3762723"/>
                <a:gd name="connsiteY128" fmla="*/ 447675 h 1871663"/>
                <a:gd name="connsiteX129" fmla="*/ 3629025 w 3762723"/>
                <a:gd name="connsiteY129" fmla="*/ 400050 h 1871663"/>
                <a:gd name="connsiteX130" fmla="*/ 3638550 w 3762723"/>
                <a:gd name="connsiteY130" fmla="*/ 385763 h 1871663"/>
                <a:gd name="connsiteX131" fmla="*/ 3643312 w 3762723"/>
                <a:gd name="connsiteY131" fmla="*/ 366713 h 1871663"/>
                <a:gd name="connsiteX132" fmla="*/ 3648075 w 3762723"/>
                <a:gd name="connsiteY132" fmla="*/ 285750 h 1871663"/>
                <a:gd name="connsiteX133" fmla="*/ 3662362 w 3762723"/>
                <a:gd name="connsiteY133" fmla="*/ 257175 h 1871663"/>
                <a:gd name="connsiteX134" fmla="*/ 3671887 w 3762723"/>
                <a:gd name="connsiteY134" fmla="*/ 242888 h 1871663"/>
                <a:gd name="connsiteX135" fmla="*/ 3690937 w 3762723"/>
                <a:gd name="connsiteY135" fmla="*/ 209550 h 1871663"/>
                <a:gd name="connsiteX136" fmla="*/ 3700462 w 3762723"/>
                <a:gd name="connsiteY136" fmla="*/ 142875 h 1871663"/>
                <a:gd name="connsiteX137" fmla="*/ 3705225 w 3762723"/>
                <a:gd name="connsiteY137" fmla="*/ 100013 h 1871663"/>
                <a:gd name="connsiteX138" fmla="*/ 3719512 w 3762723"/>
                <a:gd name="connsiteY138" fmla="*/ 76200 h 1871663"/>
                <a:gd name="connsiteX139" fmla="*/ 3748087 w 3762723"/>
                <a:gd name="connsiteY139" fmla="*/ 42863 h 1871663"/>
                <a:gd name="connsiteX140" fmla="*/ 3762375 w 3762723"/>
                <a:gd name="connsiteY140" fmla="*/ 14288 h 1871663"/>
                <a:gd name="connsiteX141" fmla="*/ 3762375 w 3762723"/>
                <a:gd name="connsiteY141"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481387 w 3762723"/>
                <a:gd name="connsiteY124" fmla="*/ 528638 h 1871663"/>
                <a:gd name="connsiteX125" fmla="*/ 3519487 w 3762723"/>
                <a:gd name="connsiteY125" fmla="*/ 504825 h 1871663"/>
                <a:gd name="connsiteX126" fmla="*/ 3533775 w 3762723"/>
                <a:gd name="connsiteY126" fmla="*/ 495300 h 1871663"/>
                <a:gd name="connsiteX127" fmla="*/ 3600450 w 3762723"/>
                <a:gd name="connsiteY127" fmla="*/ 447675 h 1871663"/>
                <a:gd name="connsiteX128" fmla="*/ 3629025 w 3762723"/>
                <a:gd name="connsiteY128" fmla="*/ 400050 h 1871663"/>
                <a:gd name="connsiteX129" fmla="*/ 3638550 w 3762723"/>
                <a:gd name="connsiteY129" fmla="*/ 385763 h 1871663"/>
                <a:gd name="connsiteX130" fmla="*/ 3643312 w 3762723"/>
                <a:gd name="connsiteY130" fmla="*/ 366713 h 1871663"/>
                <a:gd name="connsiteX131" fmla="*/ 3648075 w 3762723"/>
                <a:gd name="connsiteY131" fmla="*/ 285750 h 1871663"/>
                <a:gd name="connsiteX132" fmla="*/ 3662362 w 3762723"/>
                <a:gd name="connsiteY132" fmla="*/ 257175 h 1871663"/>
                <a:gd name="connsiteX133" fmla="*/ 3671887 w 3762723"/>
                <a:gd name="connsiteY133" fmla="*/ 242888 h 1871663"/>
                <a:gd name="connsiteX134" fmla="*/ 3690937 w 3762723"/>
                <a:gd name="connsiteY134" fmla="*/ 209550 h 1871663"/>
                <a:gd name="connsiteX135" fmla="*/ 3700462 w 3762723"/>
                <a:gd name="connsiteY135" fmla="*/ 142875 h 1871663"/>
                <a:gd name="connsiteX136" fmla="*/ 3705225 w 3762723"/>
                <a:gd name="connsiteY136" fmla="*/ 100013 h 1871663"/>
                <a:gd name="connsiteX137" fmla="*/ 3719512 w 3762723"/>
                <a:gd name="connsiteY137" fmla="*/ 76200 h 1871663"/>
                <a:gd name="connsiteX138" fmla="*/ 3748087 w 3762723"/>
                <a:gd name="connsiteY138" fmla="*/ 42863 h 1871663"/>
                <a:gd name="connsiteX139" fmla="*/ 3762375 w 3762723"/>
                <a:gd name="connsiteY139" fmla="*/ 14288 h 1871663"/>
                <a:gd name="connsiteX140" fmla="*/ 3762375 w 3762723"/>
                <a:gd name="connsiteY140"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519487 w 3762723"/>
                <a:gd name="connsiteY124" fmla="*/ 504825 h 1871663"/>
                <a:gd name="connsiteX125" fmla="*/ 3533775 w 3762723"/>
                <a:gd name="connsiteY125" fmla="*/ 495300 h 1871663"/>
                <a:gd name="connsiteX126" fmla="*/ 3600450 w 3762723"/>
                <a:gd name="connsiteY126" fmla="*/ 447675 h 1871663"/>
                <a:gd name="connsiteX127" fmla="*/ 3629025 w 3762723"/>
                <a:gd name="connsiteY127" fmla="*/ 400050 h 1871663"/>
                <a:gd name="connsiteX128" fmla="*/ 3638550 w 3762723"/>
                <a:gd name="connsiteY128" fmla="*/ 385763 h 1871663"/>
                <a:gd name="connsiteX129" fmla="*/ 3643312 w 3762723"/>
                <a:gd name="connsiteY129" fmla="*/ 366713 h 1871663"/>
                <a:gd name="connsiteX130" fmla="*/ 3648075 w 3762723"/>
                <a:gd name="connsiteY130" fmla="*/ 285750 h 1871663"/>
                <a:gd name="connsiteX131" fmla="*/ 3662362 w 3762723"/>
                <a:gd name="connsiteY131" fmla="*/ 257175 h 1871663"/>
                <a:gd name="connsiteX132" fmla="*/ 3671887 w 3762723"/>
                <a:gd name="connsiteY132" fmla="*/ 242888 h 1871663"/>
                <a:gd name="connsiteX133" fmla="*/ 3690937 w 3762723"/>
                <a:gd name="connsiteY133" fmla="*/ 209550 h 1871663"/>
                <a:gd name="connsiteX134" fmla="*/ 3700462 w 3762723"/>
                <a:gd name="connsiteY134" fmla="*/ 142875 h 1871663"/>
                <a:gd name="connsiteX135" fmla="*/ 3705225 w 3762723"/>
                <a:gd name="connsiteY135" fmla="*/ 100013 h 1871663"/>
                <a:gd name="connsiteX136" fmla="*/ 3719512 w 3762723"/>
                <a:gd name="connsiteY136" fmla="*/ 76200 h 1871663"/>
                <a:gd name="connsiteX137" fmla="*/ 3748087 w 3762723"/>
                <a:gd name="connsiteY137" fmla="*/ 42863 h 1871663"/>
                <a:gd name="connsiteX138" fmla="*/ 3762375 w 3762723"/>
                <a:gd name="connsiteY138" fmla="*/ 14288 h 1871663"/>
                <a:gd name="connsiteX139" fmla="*/ 3762375 w 3762723"/>
                <a:gd name="connsiteY139"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419475 w 3762723"/>
                <a:gd name="connsiteY123" fmla="*/ 557213 h 1871663"/>
                <a:gd name="connsiteX124" fmla="*/ 3519487 w 3762723"/>
                <a:gd name="connsiteY124" fmla="*/ 504825 h 1871663"/>
                <a:gd name="connsiteX125" fmla="*/ 3600450 w 3762723"/>
                <a:gd name="connsiteY125" fmla="*/ 447675 h 1871663"/>
                <a:gd name="connsiteX126" fmla="*/ 3629025 w 3762723"/>
                <a:gd name="connsiteY126" fmla="*/ 400050 h 1871663"/>
                <a:gd name="connsiteX127" fmla="*/ 3638550 w 3762723"/>
                <a:gd name="connsiteY127" fmla="*/ 385763 h 1871663"/>
                <a:gd name="connsiteX128" fmla="*/ 3643312 w 3762723"/>
                <a:gd name="connsiteY128" fmla="*/ 366713 h 1871663"/>
                <a:gd name="connsiteX129" fmla="*/ 3648075 w 3762723"/>
                <a:gd name="connsiteY129" fmla="*/ 285750 h 1871663"/>
                <a:gd name="connsiteX130" fmla="*/ 3662362 w 3762723"/>
                <a:gd name="connsiteY130" fmla="*/ 257175 h 1871663"/>
                <a:gd name="connsiteX131" fmla="*/ 3671887 w 3762723"/>
                <a:gd name="connsiteY131" fmla="*/ 242888 h 1871663"/>
                <a:gd name="connsiteX132" fmla="*/ 3690937 w 3762723"/>
                <a:gd name="connsiteY132" fmla="*/ 209550 h 1871663"/>
                <a:gd name="connsiteX133" fmla="*/ 3700462 w 3762723"/>
                <a:gd name="connsiteY133" fmla="*/ 142875 h 1871663"/>
                <a:gd name="connsiteX134" fmla="*/ 3705225 w 3762723"/>
                <a:gd name="connsiteY134" fmla="*/ 100013 h 1871663"/>
                <a:gd name="connsiteX135" fmla="*/ 3719512 w 3762723"/>
                <a:gd name="connsiteY135" fmla="*/ 76200 h 1871663"/>
                <a:gd name="connsiteX136" fmla="*/ 3748087 w 3762723"/>
                <a:gd name="connsiteY136" fmla="*/ 42863 h 1871663"/>
                <a:gd name="connsiteX137" fmla="*/ 3762375 w 3762723"/>
                <a:gd name="connsiteY137" fmla="*/ 14288 h 1871663"/>
                <a:gd name="connsiteX138" fmla="*/ 3762375 w 3762723"/>
                <a:gd name="connsiteY138"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24237 w 3762723"/>
                <a:gd name="connsiteY121" fmla="*/ 614363 h 1871663"/>
                <a:gd name="connsiteX122" fmla="*/ 3448050 w 3762723"/>
                <a:gd name="connsiteY122" fmla="*/ 581025 h 1871663"/>
                <a:gd name="connsiteX123" fmla="*/ 3519487 w 3762723"/>
                <a:gd name="connsiteY123" fmla="*/ 504825 h 1871663"/>
                <a:gd name="connsiteX124" fmla="*/ 3600450 w 3762723"/>
                <a:gd name="connsiteY124" fmla="*/ 447675 h 1871663"/>
                <a:gd name="connsiteX125" fmla="*/ 3629025 w 3762723"/>
                <a:gd name="connsiteY125" fmla="*/ 400050 h 1871663"/>
                <a:gd name="connsiteX126" fmla="*/ 3638550 w 3762723"/>
                <a:gd name="connsiteY126" fmla="*/ 385763 h 1871663"/>
                <a:gd name="connsiteX127" fmla="*/ 3643312 w 3762723"/>
                <a:gd name="connsiteY127" fmla="*/ 366713 h 1871663"/>
                <a:gd name="connsiteX128" fmla="*/ 3648075 w 3762723"/>
                <a:gd name="connsiteY128" fmla="*/ 285750 h 1871663"/>
                <a:gd name="connsiteX129" fmla="*/ 3662362 w 3762723"/>
                <a:gd name="connsiteY129" fmla="*/ 257175 h 1871663"/>
                <a:gd name="connsiteX130" fmla="*/ 3671887 w 3762723"/>
                <a:gd name="connsiteY130" fmla="*/ 242888 h 1871663"/>
                <a:gd name="connsiteX131" fmla="*/ 3690937 w 3762723"/>
                <a:gd name="connsiteY131" fmla="*/ 209550 h 1871663"/>
                <a:gd name="connsiteX132" fmla="*/ 3700462 w 3762723"/>
                <a:gd name="connsiteY132" fmla="*/ 142875 h 1871663"/>
                <a:gd name="connsiteX133" fmla="*/ 3705225 w 3762723"/>
                <a:gd name="connsiteY133" fmla="*/ 100013 h 1871663"/>
                <a:gd name="connsiteX134" fmla="*/ 3719512 w 3762723"/>
                <a:gd name="connsiteY134" fmla="*/ 76200 h 1871663"/>
                <a:gd name="connsiteX135" fmla="*/ 3748087 w 3762723"/>
                <a:gd name="connsiteY135" fmla="*/ 42863 h 1871663"/>
                <a:gd name="connsiteX136" fmla="*/ 3762375 w 3762723"/>
                <a:gd name="connsiteY136" fmla="*/ 14288 h 1871663"/>
                <a:gd name="connsiteX137" fmla="*/ 3762375 w 3762723"/>
                <a:gd name="connsiteY137"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48050 w 3762723"/>
                <a:gd name="connsiteY121" fmla="*/ 581025 h 1871663"/>
                <a:gd name="connsiteX122" fmla="*/ 3519487 w 3762723"/>
                <a:gd name="connsiteY122" fmla="*/ 504825 h 1871663"/>
                <a:gd name="connsiteX123" fmla="*/ 3600450 w 3762723"/>
                <a:gd name="connsiteY123" fmla="*/ 447675 h 1871663"/>
                <a:gd name="connsiteX124" fmla="*/ 3629025 w 3762723"/>
                <a:gd name="connsiteY124" fmla="*/ 400050 h 1871663"/>
                <a:gd name="connsiteX125" fmla="*/ 3638550 w 3762723"/>
                <a:gd name="connsiteY125" fmla="*/ 385763 h 1871663"/>
                <a:gd name="connsiteX126" fmla="*/ 3643312 w 3762723"/>
                <a:gd name="connsiteY126" fmla="*/ 366713 h 1871663"/>
                <a:gd name="connsiteX127" fmla="*/ 3648075 w 3762723"/>
                <a:gd name="connsiteY127" fmla="*/ 285750 h 1871663"/>
                <a:gd name="connsiteX128" fmla="*/ 3662362 w 3762723"/>
                <a:gd name="connsiteY128" fmla="*/ 257175 h 1871663"/>
                <a:gd name="connsiteX129" fmla="*/ 3671887 w 3762723"/>
                <a:gd name="connsiteY129" fmla="*/ 242888 h 1871663"/>
                <a:gd name="connsiteX130" fmla="*/ 3690937 w 3762723"/>
                <a:gd name="connsiteY130" fmla="*/ 209550 h 1871663"/>
                <a:gd name="connsiteX131" fmla="*/ 3700462 w 3762723"/>
                <a:gd name="connsiteY131" fmla="*/ 142875 h 1871663"/>
                <a:gd name="connsiteX132" fmla="*/ 3705225 w 3762723"/>
                <a:gd name="connsiteY132" fmla="*/ 100013 h 1871663"/>
                <a:gd name="connsiteX133" fmla="*/ 3719512 w 3762723"/>
                <a:gd name="connsiteY133" fmla="*/ 76200 h 1871663"/>
                <a:gd name="connsiteX134" fmla="*/ 3748087 w 3762723"/>
                <a:gd name="connsiteY134" fmla="*/ 42863 h 1871663"/>
                <a:gd name="connsiteX135" fmla="*/ 3762375 w 3762723"/>
                <a:gd name="connsiteY135" fmla="*/ 14288 h 1871663"/>
                <a:gd name="connsiteX136" fmla="*/ 3762375 w 3762723"/>
                <a:gd name="connsiteY13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38525 w 3762723"/>
                <a:gd name="connsiteY121" fmla="*/ 547688 h 1871663"/>
                <a:gd name="connsiteX122" fmla="*/ 3519487 w 3762723"/>
                <a:gd name="connsiteY122" fmla="*/ 504825 h 1871663"/>
                <a:gd name="connsiteX123" fmla="*/ 3600450 w 3762723"/>
                <a:gd name="connsiteY123" fmla="*/ 447675 h 1871663"/>
                <a:gd name="connsiteX124" fmla="*/ 3629025 w 3762723"/>
                <a:gd name="connsiteY124" fmla="*/ 400050 h 1871663"/>
                <a:gd name="connsiteX125" fmla="*/ 3638550 w 3762723"/>
                <a:gd name="connsiteY125" fmla="*/ 385763 h 1871663"/>
                <a:gd name="connsiteX126" fmla="*/ 3643312 w 3762723"/>
                <a:gd name="connsiteY126" fmla="*/ 366713 h 1871663"/>
                <a:gd name="connsiteX127" fmla="*/ 3648075 w 3762723"/>
                <a:gd name="connsiteY127" fmla="*/ 285750 h 1871663"/>
                <a:gd name="connsiteX128" fmla="*/ 3662362 w 3762723"/>
                <a:gd name="connsiteY128" fmla="*/ 257175 h 1871663"/>
                <a:gd name="connsiteX129" fmla="*/ 3671887 w 3762723"/>
                <a:gd name="connsiteY129" fmla="*/ 242888 h 1871663"/>
                <a:gd name="connsiteX130" fmla="*/ 3690937 w 3762723"/>
                <a:gd name="connsiteY130" fmla="*/ 209550 h 1871663"/>
                <a:gd name="connsiteX131" fmla="*/ 3700462 w 3762723"/>
                <a:gd name="connsiteY131" fmla="*/ 142875 h 1871663"/>
                <a:gd name="connsiteX132" fmla="*/ 3705225 w 3762723"/>
                <a:gd name="connsiteY132" fmla="*/ 100013 h 1871663"/>
                <a:gd name="connsiteX133" fmla="*/ 3719512 w 3762723"/>
                <a:gd name="connsiteY133" fmla="*/ 76200 h 1871663"/>
                <a:gd name="connsiteX134" fmla="*/ 3748087 w 3762723"/>
                <a:gd name="connsiteY134" fmla="*/ 42863 h 1871663"/>
                <a:gd name="connsiteX135" fmla="*/ 3762375 w 3762723"/>
                <a:gd name="connsiteY135" fmla="*/ 14288 h 1871663"/>
                <a:gd name="connsiteX136" fmla="*/ 3762375 w 3762723"/>
                <a:gd name="connsiteY13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38525 w 3762723"/>
                <a:gd name="connsiteY121" fmla="*/ 547688 h 1871663"/>
                <a:gd name="connsiteX122" fmla="*/ 3519487 w 3762723"/>
                <a:gd name="connsiteY122" fmla="*/ 504825 h 1871663"/>
                <a:gd name="connsiteX123" fmla="*/ 3581400 w 3762723"/>
                <a:gd name="connsiteY123" fmla="*/ 447675 h 1871663"/>
                <a:gd name="connsiteX124" fmla="*/ 3629025 w 3762723"/>
                <a:gd name="connsiteY124" fmla="*/ 400050 h 1871663"/>
                <a:gd name="connsiteX125" fmla="*/ 3638550 w 3762723"/>
                <a:gd name="connsiteY125" fmla="*/ 385763 h 1871663"/>
                <a:gd name="connsiteX126" fmla="*/ 3643312 w 3762723"/>
                <a:gd name="connsiteY126" fmla="*/ 366713 h 1871663"/>
                <a:gd name="connsiteX127" fmla="*/ 3648075 w 3762723"/>
                <a:gd name="connsiteY127" fmla="*/ 285750 h 1871663"/>
                <a:gd name="connsiteX128" fmla="*/ 3662362 w 3762723"/>
                <a:gd name="connsiteY128" fmla="*/ 257175 h 1871663"/>
                <a:gd name="connsiteX129" fmla="*/ 3671887 w 3762723"/>
                <a:gd name="connsiteY129" fmla="*/ 242888 h 1871663"/>
                <a:gd name="connsiteX130" fmla="*/ 3690937 w 3762723"/>
                <a:gd name="connsiteY130" fmla="*/ 209550 h 1871663"/>
                <a:gd name="connsiteX131" fmla="*/ 3700462 w 3762723"/>
                <a:gd name="connsiteY131" fmla="*/ 142875 h 1871663"/>
                <a:gd name="connsiteX132" fmla="*/ 3705225 w 3762723"/>
                <a:gd name="connsiteY132" fmla="*/ 100013 h 1871663"/>
                <a:gd name="connsiteX133" fmla="*/ 3719512 w 3762723"/>
                <a:gd name="connsiteY133" fmla="*/ 76200 h 1871663"/>
                <a:gd name="connsiteX134" fmla="*/ 3748087 w 3762723"/>
                <a:gd name="connsiteY134" fmla="*/ 42863 h 1871663"/>
                <a:gd name="connsiteX135" fmla="*/ 3762375 w 3762723"/>
                <a:gd name="connsiteY135" fmla="*/ 14288 h 1871663"/>
                <a:gd name="connsiteX136" fmla="*/ 3762375 w 3762723"/>
                <a:gd name="connsiteY13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52800 w 3762723"/>
                <a:gd name="connsiteY119" fmla="*/ 666750 h 1871663"/>
                <a:gd name="connsiteX120" fmla="*/ 3362325 w 3762723"/>
                <a:gd name="connsiteY120" fmla="*/ 633413 h 1871663"/>
                <a:gd name="connsiteX121" fmla="*/ 3438525 w 3762723"/>
                <a:gd name="connsiteY121" fmla="*/ 547688 h 1871663"/>
                <a:gd name="connsiteX122" fmla="*/ 3519487 w 3762723"/>
                <a:gd name="connsiteY122" fmla="*/ 504825 h 1871663"/>
                <a:gd name="connsiteX123" fmla="*/ 3581400 w 3762723"/>
                <a:gd name="connsiteY123" fmla="*/ 447675 h 1871663"/>
                <a:gd name="connsiteX124" fmla="*/ 3629025 w 3762723"/>
                <a:gd name="connsiteY124" fmla="*/ 400050 h 1871663"/>
                <a:gd name="connsiteX125" fmla="*/ 3638550 w 3762723"/>
                <a:gd name="connsiteY125" fmla="*/ 385763 h 1871663"/>
                <a:gd name="connsiteX126" fmla="*/ 3643312 w 3762723"/>
                <a:gd name="connsiteY126" fmla="*/ 366713 h 1871663"/>
                <a:gd name="connsiteX127" fmla="*/ 3648075 w 3762723"/>
                <a:gd name="connsiteY127" fmla="*/ 285750 h 1871663"/>
                <a:gd name="connsiteX128" fmla="*/ 3662362 w 3762723"/>
                <a:gd name="connsiteY128" fmla="*/ 257175 h 1871663"/>
                <a:gd name="connsiteX129" fmla="*/ 3671887 w 3762723"/>
                <a:gd name="connsiteY129" fmla="*/ 242888 h 1871663"/>
                <a:gd name="connsiteX130" fmla="*/ 3690937 w 3762723"/>
                <a:gd name="connsiteY130" fmla="*/ 209550 h 1871663"/>
                <a:gd name="connsiteX131" fmla="*/ 3700462 w 3762723"/>
                <a:gd name="connsiteY131" fmla="*/ 142875 h 1871663"/>
                <a:gd name="connsiteX132" fmla="*/ 3705225 w 3762723"/>
                <a:gd name="connsiteY132" fmla="*/ 100013 h 1871663"/>
                <a:gd name="connsiteX133" fmla="*/ 3719512 w 3762723"/>
                <a:gd name="connsiteY133" fmla="*/ 76200 h 1871663"/>
                <a:gd name="connsiteX134" fmla="*/ 3748087 w 3762723"/>
                <a:gd name="connsiteY134" fmla="*/ 42863 h 1871663"/>
                <a:gd name="connsiteX135" fmla="*/ 3762375 w 3762723"/>
                <a:gd name="connsiteY135" fmla="*/ 14288 h 1871663"/>
                <a:gd name="connsiteX136" fmla="*/ 3762375 w 3762723"/>
                <a:gd name="connsiteY136"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48037 w 3762723"/>
                <a:gd name="connsiteY118" fmla="*/ 681038 h 1871663"/>
                <a:gd name="connsiteX119" fmla="*/ 3362325 w 3762723"/>
                <a:gd name="connsiteY119" fmla="*/ 633413 h 1871663"/>
                <a:gd name="connsiteX120" fmla="*/ 3438525 w 3762723"/>
                <a:gd name="connsiteY120" fmla="*/ 547688 h 1871663"/>
                <a:gd name="connsiteX121" fmla="*/ 3519487 w 3762723"/>
                <a:gd name="connsiteY121" fmla="*/ 504825 h 1871663"/>
                <a:gd name="connsiteX122" fmla="*/ 3581400 w 3762723"/>
                <a:gd name="connsiteY122" fmla="*/ 447675 h 1871663"/>
                <a:gd name="connsiteX123" fmla="*/ 3629025 w 3762723"/>
                <a:gd name="connsiteY123" fmla="*/ 400050 h 1871663"/>
                <a:gd name="connsiteX124" fmla="*/ 3638550 w 3762723"/>
                <a:gd name="connsiteY124" fmla="*/ 385763 h 1871663"/>
                <a:gd name="connsiteX125" fmla="*/ 3643312 w 3762723"/>
                <a:gd name="connsiteY125" fmla="*/ 366713 h 1871663"/>
                <a:gd name="connsiteX126" fmla="*/ 3648075 w 3762723"/>
                <a:gd name="connsiteY126" fmla="*/ 285750 h 1871663"/>
                <a:gd name="connsiteX127" fmla="*/ 3662362 w 3762723"/>
                <a:gd name="connsiteY127" fmla="*/ 257175 h 1871663"/>
                <a:gd name="connsiteX128" fmla="*/ 3671887 w 3762723"/>
                <a:gd name="connsiteY128" fmla="*/ 242888 h 1871663"/>
                <a:gd name="connsiteX129" fmla="*/ 3690937 w 3762723"/>
                <a:gd name="connsiteY129" fmla="*/ 209550 h 1871663"/>
                <a:gd name="connsiteX130" fmla="*/ 3700462 w 3762723"/>
                <a:gd name="connsiteY130" fmla="*/ 142875 h 1871663"/>
                <a:gd name="connsiteX131" fmla="*/ 3705225 w 3762723"/>
                <a:gd name="connsiteY131" fmla="*/ 100013 h 1871663"/>
                <a:gd name="connsiteX132" fmla="*/ 3719512 w 3762723"/>
                <a:gd name="connsiteY132" fmla="*/ 76200 h 1871663"/>
                <a:gd name="connsiteX133" fmla="*/ 3748087 w 3762723"/>
                <a:gd name="connsiteY133" fmla="*/ 42863 h 1871663"/>
                <a:gd name="connsiteX134" fmla="*/ 3762375 w 3762723"/>
                <a:gd name="connsiteY134" fmla="*/ 14288 h 1871663"/>
                <a:gd name="connsiteX135" fmla="*/ 3762375 w 3762723"/>
                <a:gd name="connsiteY135" fmla="*/ 0 h 1871663"/>
                <a:gd name="connsiteX0" fmla="*/ 0 w 3762723"/>
                <a:gd name="connsiteY0" fmla="*/ 404813 h 1871663"/>
                <a:gd name="connsiteX1" fmla="*/ 9525 w 3762723"/>
                <a:gd name="connsiteY1" fmla="*/ 428625 h 1871663"/>
                <a:gd name="connsiteX2" fmla="*/ 19050 w 3762723"/>
                <a:gd name="connsiteY2" fmla="*/ 442913 h 1871663"/>
                <a:gd name="connsiteX3" fmla="*/ 23812 w 3762723"/>
                <a:gd name="connsiteY3" fmla="*/ 457200 h 1871663"/>
                <a:gd name="connsiteX4" fmla="*/ 28575 w 3762723"/>
                <a:gd name="connsiteY4" fmla="*/ 476250 h 1871663"/>
                <a:gd name="connsiteX5" fmla="*/ 42862 w 3762723"/>
                <a:gd name="connsiteY5" fmla="*/ 485775 h 1871663"/>
                <a:gd name="connsiteX6" fmla="*/ 47625 w 3762723"/>
                <a:gd name="connsiteY6" fmla="*/ 504825 h 1871663"/>
                <a:gd name="connsiteX7" fmla="*/ 71437 w 3762723"/>
                <a:gd name="connsiteY7" fmla="*/ 533400 h 1871663"/>
                <a:gd name="connsiteX8" fmla="*/ 100012 w 3762723"/>
                <a:gd name="connsiteY8" fmla="*/ 585788 h 1871663"/>
                <a:gd name="connsiteX9" fmla="*/ 104775 w 3762723"/>
                <a:gd name="connsiteY9" fmla="*/ 704850 h 1871663"/>
                <a:gd name="connsiteX10" fmla="*/ 128587 w 3762723"/>
                <a:gd name="connsiteY10" fmla="*/ 747713 h 1871663"/>
                <a:gd name="connsiteX11" fmla="*/ 157162 w 3762723"/>
                <a:gd name="connsiteY11" fmla="*/ 795338 h 1871663"/>
                <a:gd name="connsiteX12" fmla="*/ 171450 w 3762723"/>
                <a:gd name="connsiteY12" fmla="*/ 809625 h 1871663"/>
                <a:gd name="connsiteX13" fmla="*/ 185737 w 3762723"/>
                <a:gd name="connsiteY13" fmla="*/ 852488 h 1871663"/>
                <a:gd name="connsiteX14" fmla="*/ 190500 w 3762723"/>
                <a:gd name="connsiteY14" fmla="*/ 866775 h 1871663"/>
                <a:gd name="connsiteX15" fmla="*/ 200025 w 3762723"/>
                <a:gd name="connsiteY15" fmla="*/ 881063 h 1871663"/>
                <a:gd name="connsiteX16" fmla="*/ 228600 w 3762723"/>
                <a:gd name="connsiteY16" fmla="*/ 938213 h 1871663"/>
                <a:gd name="connsiteX17" fmla="*/ 242887 w 3762723"/>
                <a:gd name="connsiteY17" fmla="*/ 947738 h 1871663"/>
                <a:gd name="connsiteX18" fmla="*/ 257175 w 3762723"/>
                <a:gd name="connsiteY18" fmla="*/ 976313 h 1871663"/>
                <a:gd name="connsiteX19" fmla="*/ 271462 w 3762723"/>
                <a:gd name="connsiteY19" fmla="*/ 1004888 h 1871663"/>
                <a:gd name="connsiteX20" fmla="*/ 276225 w 3762723"/>
                <a:gd name="connsiteY20" fmla="*/ 1023938 h 1871663"/>
                <a:gd name="connsiteX21" fmla="*/ 300037 w 3762723"/>
                <a:gd name="connsiteY21" fmla="*/ 1052513 h 1871663"/>
                <a:gd name="connsiteX22" fmla="*/ 309562 w 3762723"/>
                <a:gd name="connsiteY22" fmla="*/ 1066800 h 1871663"/>
                <a:gd name="connsiteX23" fmla="*/ 319087 w 3762723"/>
                <a:gd name="connsiteY23" fmla="*/ 1085850 h 1871663"/>
                <a:gd name="connsiteX24" fmla="*/ 333375 w 3762723"/>
                <a:gd name="connsiteY24" fmla="*/ 1095375 h 1871663"/>
                <a:gd name="connsiteX25" fmla="*/ 347662 w 3762723"/>
                <a:gd name="connsiteY25" fmla="*/ 1133475 h 1871663"/>
                <a:gd name="connsiteX26" fmla="*/ 352425 w 3762723"/>
                <a:gd name="connsiteY26" fmla="*/ 1147763 h 1871663"/>
                <a:gd name="connsiteX27" fmla="*/ 371475 w 3762723"/>
                <a:gd name="connsiteY27" fmla="*/ 1176338 h 1871663"/>
                <a:gd name="connsiteX28" fmla="*/ 381000 w 3762723"/>
                <a:gd name="connsiteY28" fmla="*/ 1190625 h 1871663"/>
                <a:gd name="connsiteX29" fmla="*/ 390525 w 3762723"/>
                <a:gd name="connsiteY29" fmla="*/ 1233488 h 1871663"/>
                <a:gd name="connsiteX30" fmla="*/ 381000 w 3762723"/>
                <a:gd name="connsiteY30" fmla="*/ 1323975 h 1871663"/>
                <a:gd name="connsiteX31" fmla="*/ 371475 w 3762723"/>
                <a:gd name="connsiteY31" fmla="*/ 1352550 h 1871663"/>
                <a:gd name="connsiteX32" fmla="*/ 366712 w 3762723"/>
                <a:gd name="connsiteY32" fmla="*/ 1376363 h 1871663"/>
                <a:gd name="connsiteX33" fmla="*/ 338137 w 3762723"/>
                <a:gd name="connsiteY33" fmla="*/ 1390650 h 1871663"/>
                <a:gd name="connsiteX34" fmla="*/ 309562 w 3762723"/>
                <a:gd name="connsiteY34" fmla="*/ 1385888 h 1871663"/>
                <a:gd name="connsiteX35" fmla="*/ 290512 w 3762723"/>
                <a:gd name="connsiteY35" fmla="*/ 1419225 h 1871663"/>
                <a:gd name="connsiteX36" fmla="*/ 300037 w 3762723"/>
                <a:gd name="connsiteY36" fmla="*/ 1462088 h 1871663"/>
                <a:gd name="connsiteX37" fmla="*/ 314325 w 3762723"/>
                <a:gd name="connsiteY37" fmla="*/ 1471613 h 1871663"/>
                <a:gd name="connsiteX38" fmla="*/ 342900 w 3762723"/>
                <a:gd name="connsiteY38" fmla="*/ 1500188 h 1871663"/>
                <a:gd name="connsiteX39" fmla="*/ 347662 w 3762723"/>
                <a:gd name="connsiteY39" fmla="*/ 1524000 h 1871663"/>
                <a:gd name="connsiteX40" fmla="*/ 361950 w 3762723"/>
                <a:gd name="connsiteY40" fmla="*/ 1581150 h 1871663"/>
                <a:gd name="connsiteX41" fmla="*/ 390525 w 3762723"/>
                <a:gd name="connsiteY41" fmla="*/ 1595438 h 1871663"/>
                <a:gd name="connsiteX42" fmla="*/ 414337 w 3762723"/>
                <a:gd name="connsiteY42" fmla="*/ 1638300 h 1871663"/>
                <a:gd name="connsiteX43" fmla="*/ 404812 w 3762723"/>
                <a:gd name="connsiteY43" fmla="*/ 1671638 h 1871663"/>
                <a:gd name="connsiteX44" fmla="*/ 390525 w 3762723"/>
                <a:gd name="connsiteY44" fmla="*/ 1681163 h 1871663"/>
                <a:gd name="connsiteX45" fmla="*/ 381000 w 3762723"/>
                <a:gd name="connsiteY45" fmla="*/ 1695450 h 1871663"/>
                <a:gd name="connsiteX46" fmla="*/ 385762 w 3762723"/>
                <a:gd name="connsiteY46" fmla="*/ 1738313 h 1871663"/>
                <a:gd name="connsiteX47" fmla="*/ 400050 w 3762723"/>
                <a:gd name="connsiteY47" fmla="*/ 1747838 h 1871663"/>
                <a:gd name="connsiteX48" fmla="*/ 414337 w 3762723"/>
                <a:gd name="connsiteY48" fmla="*/ 1762125 h 1871663"/>
                <a:gd name="connsiteX49" fmla="*/ 419100 w 3762723"/>
                <a:gd name="connsiteY49" fmla="*/ 1776413 h 1871663"/>
                <a:gd name="connsiteX50" fmla="*/ 428625 w 3762723"/>
                <a:gd name="connsiteY50" fmla="*/ 1762125 h 1871663"/>
                <a:gd name="connsiteX51" fmla="*/ 433387 w 3762723"/>
                <a:gd name="connsiteY51" fmla="*/ 1733550 h 1871663"/>
                <a:gd name="connsiteX52" fmla="*/ 471487 w 3762723"/>
                <a:gd name="connsiteY52" fmla="*/ 1709738 h 1871663"/>
                <a:gd name="connsiteX53" fmla="*/ 514350 w 3762723"/>
                <a:gd name="connsiteY53" fmla="*/ 1714500 h 1871663"/>
                <a:gd name="connsiteX54" fmla="*/ 523875 w 3762723"/>
                <a:gd name="connsiteY54" fmla="*/ 1733550 h 1871663"/>
                <a:gd name="connsiteX55" fmla="*/ 514350 w 3762723"/>
                <a:gd name="connsiteY55" fmla="*/ 1762125 h 1871663"/>
                <a:gd name="connsiteX56" fmla="*/ 561975 w 3762723"/>
                <a:gd name="connsiteY56" fmla="*/ 1771650 h 1871663"/>
                <a:gd name="connsiteX57" fmla="*/ 590550 w 3762723"/>
                <a:gd name="connsiteY57" fmla="*/ 1776413 h 1871663"/>
                <a:gd name="connsiteX58" fmla="*/ 614362 w 3762723"/>
                <a:gd name="connsiteY58" fmla="*/ 1814513 h 1871663"/>
                <a:gd name="connsiteX59" fmla="*/ 619125 w 3762723"/>
                <a:gd name="connsiteY59" fmla="*/ 1833563 h 1871663"/>
                <a:gd name="connsiteX60" fmla="*/ 671512 w 3762723"/>
                <a:gd name="connsiteY60" fmla="*/ 1847850 h 1871663"/>
                <a:gd name="connsiteX61" fmla="*/ 738187 w 3762723"/>
                <a:gd name="connsiteY61" fmla="*/ 1866900 h 1871663"/>
                <a:gd name="connsiteX62" fmla="*/ 771525 w 3762723"/>
                <a:gd name="connsiteY62" fmla="*/ 1871663 h 1871663"/>
                <a:gd name="connsiteX63" fmla="*/ 819150 w 3762723"/>
                <a:gd name="connsiteY63" fmla="*/ 1866900 h 1871663"/>
                <a:gd name="connsiteX64" fmla="*/ 833437 w 3762723"/>
                <a:gd name="connsiteY64" fmla="*/ 1852613 h 1871663"/>
                <a:gd name="connsiteX65" fmla="*/ 871537 w 3762723"/>
                <a:gd name="connsiteY65" fmla="*/ 1809750 h 1871663"/>
                <a:gd name="connsiteX66" fmla="*/ 885825 w 3762723"/>
                <a:gd name="connsiteY66" fmla="*/ 1804988 h 1871663"/>
                <a:gd name="connsiteX67" fmla="*/ 966787 w 3762723"/>
                <a:gd name="connsiteY67" fmla="*/ 1795463 h 1871663"/>
                <a:gd name="connsiteX68" fmla="*/ 995362 w 3762723"/>
                <a:gd name="connsiteY68" fmla="*/ 1781175 h 1871663"/>
                <a:gd name="connsiteX69" fmla="*/ 1033462 w 3762723"/>
                <a:gd name="connsiteY69" fmla="*/ 1771650 h 1871663"/>
                <a:gd name="connsiteX70" fmla="*/ 1071562 w 3762723"/>
                <a:gd name="connsiteY70" fmla="*/ 1776413 h 1871663"/>
                <a:gd name="connsiteX71" fmla="*/ 1085850 w 3762723"/>
                <a:gd name="connsiteY71" fmla="*/ 1781175 h 1871663"/>
                <a:gd name="connsiteX72" fmla="*/ 1123950 w 3762723"/>
                <a:gd name="connsiteY72" fmla="*/ 1800225 h 1871663"/>
                <a:gd name="connsiteX73" fmla="*/ 1166812 w 3762723"/>
                <a:gd name="connsiteY73" fmla="*/ 1790700 h 1871663"/>
                <a:gd name="connsiteX74" fmla="*/ 1200150 w 3762723"/>
                <a:gd name="connsiteY74" fmla="*/ 1762125 h 1871663"/>
                <a:gd name="connsiteX75" fmla="*/ 1223962 w 3762723"/>
                <a:gd name="connsiteY75" fmla="*/ 1752600 h 1871663"/>
                <a:gd name="connsiteX76" fmla="*/ 1238250 w 3762723"/>
                <a:gd name="connsiteY76" fmla="*/ 1743075 h 1871663"/>
                <a:gd name="connsiteX77" fmla="*/ 1276350 w 3762723"/>
                <a:gd name="connsiteY77" fmla="*/ 1724025 h 1871663"/>
                <a:gd name="connsiteX78" fmla="*/ 1314450 w 3762723"/>
                <a:gd name="connsiteY78" fmla="*/ 1695450 h 1871663"/>
                <a:gd name="connsiteX79" fmla="*/ 1328737 w 3762723"/>
                <a:gd name="connsiteY79" fmla="*/ 1690688 h 1871663"/>
                <a:gd name="connsiteX80" fmla="*/ 1362075 w 3762723"/>
                <a:gd name="connsiteY80" fmla="*/ 1695450 h 1871663"/>
                <a:gd name="connsiteX81" fmla="*/ 1376362 w 3762723"/>
                <a:gd name="connsiteY81" fmla="*/ 1700213 h 1871663"/>
                <a:gd name="connsiteX82" fmla="*/ 1414462 w 3762723"/>
                <a:gd name="connsiteY82" fmla="*/ 1714500 h 1871663"/>
                <a:gd name="connsiteX83" fmla="*/ 1452562 w 3762723"/>
                <a:gd name="connsiteY83" fmla="*/ 1724025 h 1871663"/>
                <a:gd name="connsiteX84" fmla="*/ 1466850 w 3762723"/>
                <a:gd name="connsiteY84" fmla="*/ 1728788 h 1871663"/>
                <a:gd name="connsiteX85" fmla="*/ 1538287 w 3762723"/>
                <a:gd name="connsiteY85" fmla="*/ 1714500 h 1871663"/>
                <a:gd name="connsiteX86" fmla="*/ 1547812 w 3762723"/>
                <a:gd name="connsiteY86" fmla="*/ 1695450 h 1871663"/>
                <a:gd name="connsiteX87" fmla="*/ 1562100 w 3762723"/>
                <a:gd name="connsiteY87" fmla="*/ 1681163 h 1871663"/>
                <a:gd name="connsiteX88" fmla="*/ 1600200 w 3762723"/>
                <a:gd name="connsiteY88" fmla="*/ 1666875 h 1871663"/>
                <a:gd name="connsiteX89" fmla="*/ 1619250 w 3762723"/>
                <a:gd name="connsiteY89" fmla="*/ 1676400 h 1871663"/>
                <a:gd name="connsiteX90" fmla="*/ 1643062 w 3762723"/>
                <a:gd name="connsiteY90" fmla="*/ 1695450 h 1871663"/>
                <a:gd name="connsiteX91" fmla="*/ 1719262 w 3762723"/>
                <a:gd name="connsiteY91" fmla="*/ 1714500 h 1871663"/>
                <a:gd name="connsiteX92" fmla="*/ 1857375 w 3762723"/>
                <a:gd name="connsiteY92" fmla="*/ 1724025 h 1871663"/>
                <a:gd name="connsiteX93" fmla="*/ 1919287 w 3762723"/>
                <a:gd name="connsiteY93" fmla="*/ 1724025 h 1871663"/>
                <a:gd name="connsiteX94" fmla="*/ 1924050 w 3762723"/>
                <a:gd name="connsiteY94" fmla="*/ 1704975 h 1871663"/>
                <a:gd name="connsiteX95" fmla="*/ 1928812 w 3762723"/>
                <a:gd name="connsiteY95" fmla="*/ 1681163 h 1871663"/>
                <a:gd name="connsiteX96" fmla="*/ 1943100 w 3762723"/>
                <a:gd name="connsiteY96" fmla="*/ 1676400 h 1871663"/>
                <a:gd name="connsiteX97" fmla="*/ 2000250 w 3762723"/>
                <a:gd name="connsiteY97" fmla="*/ 1700213 h 1871663"/>
                <a:gd name="connsiteX98" fmla="*/ 2033587 w 3762723"/>
                <a:gd name="connsiteY98" fmla="*/ 1704975 h 1871663"/>
                <a:gd name="connsiteX99" fmla="*/ 2047875 w 3762723"/>
                <a:gd name="connsiteY99" fmla="*/ 1700213 h 1871663"/>
                <a:gd name="connsiteX100" fmla="*/ 2052637 w 3762723"/>
                <a:gd name="connsiteY100" fmla="*/ 1643063 h 1871663"/>
                <a:gd name="connsiteX101" fmla="*/ 2057400 w 3762723"/>
                <a:gd name="connsiteY101" fmla="*/ 1628775 h 1871663"/>
                <a:gd name="connsiteX102" fmla="*/ 2290762 w 3762723"/>
                <a:gd name="connsiteY102" fmla="*/ 1628775 h 1871663"/>
                <a:gd name="connsiteX103" fmla="*/ 2309812 w 3762723"/>
                <a:gd name="connsiteY103" fmla="*/ 1614488 h 1871663"/>
                <a:gd name="connsiteX104" fmla="*/ 2357437 w 3762723"/>
                <a:gd name="connsiteY104" fmla="*/ 1585913 h 1871663"/>
                <a:gd name="connsiteX105" fmla="*/ 2424112 w 3762723"/>
                <a:gd name="connsiteY105" fmla="*/ 1528763 h 1871663"/>
                <a:gd name="connsiteX106" fmla="*/ 2466975 w 3762723"/>
                <a:gd name="connsiteY106" fmla="*/ 1504950 h 1871663"/>
                <a:gd name="connsiteX107" fmla="*/ 2495550 w 3762723"/>
                <a:gd name="connsiteY107" fmla="*/ 1490663 h 1871663"/>
                <a:gd name="connsiteX108" fmla="*/ 2514600 w 3762723"/>
                <a:gd name="connsiteY108" fmla="*/ 1443037 h 1871663"/>
                <a:gd name="connsiteX109" fmla="*/ 2633662 w 3762723"/>
                <a:gd name="connsiteY109" fmla="*/ 1419225 h 1871663"/>
                <a:gd name="connsiteX110" fmla="*/ 2652712 w 3762723"/>
                <a:gd name="connsiteY110" fmla="*/ 1390650 h 1871663"/>
                <a:gd name="connsiteX111" fmla="*/ 2700337 w 3762723"/>
                <a:gd name="connsiteY111" fmla="*/ 1338263 h 1871663"/>
                <a:gd name="connsiteX112" fmla="*/ 2843212 w 3762723"/>
                <a:gd name="connsiteY112" fmla="*/ 1228725 h 1871663"/>
                <a:gd name="connsiteX113" fmla="*/ 2943225 w 3762723"/>
                <a:gd name="connsiteY113" fmla="*/ 1133475 h 1871663"/>
                <a:gd name="connsiteX114" fmla="*/ 3024187 w 3762723"/>
                <a:gd name="connsiteY114" fmla="*/ 1081088 h 1871663"/>
                <a:gd name="connsiteX115" fmla="*/ 3171825 w 3762723"/>
                <a:gd name="connsiteY115" fmla="*/ 904875 h 1871663"/>
                <a:gd name="connsiteX116" fmla="*/ 3238500 w 3762723"/>
                <a:gd name="connsiteY116" fmla="*/ 809626 h 1871663"/>
                <a:gd name="connsiteX117" fmla="*/ 3281362 w 3762723"/>
                <a:gd name="connsiteY117" fmla="*/ 723900 h 1871663"/>
                <a:gd name="connsiteX118" fmla="*/ 3333749 w 3762723"/>
                <a:gd name="connsiteY118" fmla="*/ 671513 h 1871663"/>
                <a:gd name="connsiteX119" fmla="*/ 3362325 w 3762723"/>
                <a:gd name="connsiteY119" fmla="*/ 633413 h 1871663"/>
                <a:gd name="connsiteX120" fmla="*/ 3438525 w 3762723"/>
                <a:gd name="connsiteY120" fmla="*/ 547688 h 1871663"/>
                <a:gd name="connsiteX121" fmla="*/ 3519487 w 3762723"/>
                <a:gd name="connsiteY121" fmla="*/ 504825 h 1871663"/>
                <a:gd name="connsiteX122" fmla="*/ 3581400 w 3762723"/>
                <a:gd name="connsiteY122" fmla="*/ 447675 h 1871663"/>
                <a:gd name="connsiteX123" fmla="*/ 3629025 w 3762723"/>
                <a:gd name="connsiteY123" fmla="*/ 400050 h 1871663"/>
                <a:gd name="connsiteX124" fmla="*/ 3638550 w 3762723"/>
                <a:gd name="connsiteY124" fmla="*/ 385763 h 1871663"/>
                <a:gd name="connsiteX125" fmla="*/ 3643312 w 3762723"/>
                <a:gd name="connsiteY125" fmla="*/ 366713 h 1871663"/>
                <a:gd name="connsiteX126" fmla="*/ 3648075 w 3762723"/>
                <a:gd name="connsiteY126" fmla="*/ 285750 h 1871663"/>
                <a:gd name="connsiteX127" fmla="*/ 3662362 w 3762723"/>
                <a:gd name="connsiteY127" fmla="*/ 257175 h 1871663"/>
                <a:gd name="connsiteX128" fmla="*/ 3671887 w 3762723"/>
                <a:gd name="connsiteY128" fmla="*/ 242888 h 1871663"/>
                <a:gd name="connsiteX129" fmla="*/ 3690937 w 3762723"/>
                <a:gd name="connsiteY129" fmla="*/ 209550 h 1871663"/>
                <a:gd name="connsiteX130" fmla="*/ 3700462 w 3762723"/>
                <a:gd name="connsiteY130" fmla="*/ 142875 h 1871663"/>
                <a:gd name="connsiteX131" fmla="*/ 3705225 w 3762723"/>
                <a:gd name="connsiteY131" fmla="*/ 100013 h 1871663"/>
                <a:gd name="connsiteX132" fmla="*/ 3719512 w 3762723"/>
                <a:gd name="connsiteY132" fmla="*/ 76200 h 1871663"/>
                <a:gd name="connsiteX133" fmla="*/ 3748087 w 3762723"/>
                <a:gd name="connsiteY133" fmla="*/ 42863 h 1871663"/>
                <a:gd name="connsiteX134" fmla="*/ 3762375 w 3762723"/>
                <a:gd name="connsiteY134" fmla="*/ 14288 h 1871663"/>
                <a:gd name="connsiteX135" fmla="*/ 3762375 w 3762723"/>
                <a:gd name="connsiteY135" fmla="*/ 0 h 1871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762723" h="1871663">
                  <a:moveTo>
                    <a:pt x="0" y="404813"/>
                  </a:moveTo>
                  <a:cubicBezTo>
                    <a:pt x="3175" y="412750"/>
                    <a:pt x="5702" y="420979"/>
                    <a:pt x="9525" y="428625"/>
                  </a:cubicBezTo>
                  <a:cubicBezTo>
                    <a:pt x="12085" y="433745"/>
                    <a:pt x="16490" y="437793"/>
                    <a:pt x="19050" y="442913"/>
                  </a:cubicBezTo>
                  <a:cubicBezTo>
                    <a:pt x="21295" y="447403"/>
                    <a:pt x="22433" y="452373"/>
                    <a:pt x="23812" y="457200"/>
                  </a:cubicBezTo>
                  <a:cubicBezTo>
                    <a:pt x="25610" y="463494"/>
                    <a:pt x="24944" y="470804"/>
                    <a:pt x="28575" y="476250"/>
                  </a:cubicBezTo>
                  <a:cubicBezTo>
                    <a:pt x="31750" y="481012"/>
                    <a:pt x="38100" y="482600"/>
                    <a:pt x="42862" y="485775"/>
                  </a:cubicBezTo>
                  <a:cubicBezTo>
                    <a:pt x="44450" y="492125"/>
                    <a:pt x="45047" y="498809"/>
                    <a:pt x="47625" y="504825"/>
                  </a:cubicBezTo>
                  <a:cubicBezTo>
                    <a:pt x="54588" y="521072"/>
                    <a:pt x="60513" y="519354"/>
                    <a:pt x="71437" y="533400"/>
                  </a:cubicBezTo>
                  <a:cubicBezTo>
                    <a:pt x="91031" y="558592"/>
                    <a:pt x="89371" y="559185"/>
                    <a:pt x="100012" y="585788"/>
                  </a:cubicBezTo>
                  <a:cubicBezTo>
                    <a:pt x="101600" y="625475"/>
                    <a:pt x="101945" y="665232"/>
                    <a:pt x="104775" y="704850"/>
                  </a:cubicBezTo>
                  <a:cubicBezTo>
                    <a:pt x="105873" y="720218"/>
                    <a:pt x="123362" y="737262"/>
                    <a:pt x="128587" y="747713"/>
                  </a:cubicBezTo>
                  <a:cubicBezTo>
                    <a:pt x="136103" y="762744"/>
                    <a:pt x="145669" y="783846"/>
                    <a:pt x="157162" y="795338"/>
                  </a:cubicBezTo>
                  <a:lnTo>
                    <a:pt x="171450" y="809625"/>
                  </a:lnTo>
                  <a:lnTo>
                    <a:pt x="185737" y="852488"/>
                  </a:lnTo>
                  <a:cubicBezTo>
                    <a:pt x="187324" y="857250"/>
                    <a:pt x="187715" y="862598"/>
                    <a:pt x="190500" y="866775"/>
                  </a:cubicBezTo>
                  <a:lnTo>
                    <a:pt x="200025" y="881063"/>
                  </a:lnTo>
                  <a:cubicBezTo>
                    <a:pt x="205459" y="897364"/>
                    <a:pt x="212773" y="927661"/>
                    <a:pt x="228600" y="938213"/>
                  </a:cubicBezTo>
                  <a:lnTo>
                    <a:pt x="242887" y="947738"/>
                  </a:lnTo>
                  <a:cubicBezTo>
                    <a:pt x="254861" y="983655"/>
                    <a:pt x="238707" y="939377"/>
                    <a:pt x="257175" y="976313"/>
                  </a:cubicBezTo>
                  <a:cubicBezTo>
                    <a:pt x="276892" y="1015749"/>
                    <a:pt x="244164" y="963939"/>
                    <a:pt x="271462" y="1004888"/>
                  </a:cubicBezTo>
                  <a:cubicBezTo>
                    <a:pt x="273050" y="1011238"/>
                    <a:pt x="273647" y="1017922"/>
                    <a:pt x="276225" y="1023938"/>
                  </a:cubicBezTo>
                  <a:cubicBezTo>
                    <a:pt x="282484" y="1038542"/>
                    <a:pt x="289942" y="1040399"/>
                    <a:pt x="300037" y="1052513"/>
                  </a:cubicBezTo>
                  <a:cubicBezTo>
                    <a:pt x="303701" y="1056910"/>
                    <a:pt x="306722" y="1061830"/>
                    <a:pt x="309562" y="1066800"/>
                  </a:cubicBezTo>
                  <a:cubicBezTo>
                    <a:pt x="313084" y="1072964"/>
                    <a:pt x="314542" y="1080396"/>
                    <a:pt x="319087" y="1085850"/>
                  </a:cubicBezTo>
                  <a:cubicBezTo>
                    <a:pt x="322751" y="1090247"/>
                    <a:pt x="328612" y="1092200"/>
                    <a:pt x="333375" y="1095375"/>
                  </a:cubicBezTo>
                  <a:cubicBezTo>
                    <a:pt x="338137" y="1108075"/>
                    <a:pt x="343027" y="1120728"/>
                    <a:pt x="347662" y="1133475"/>
                  </a:cubicBezTo>
                  <a:cubicBezTo>
                    <a:pt x="349378" y="1138193"/>
                    <a:pt x="349987" y="1143374"/>
                    <a:pt x="352425" y="1147763"/>
                  </a:cubicBezTo>
                  <a:cubicBezTo>
                    <a:pt x="357984" y="1157770"/>
                    <a:pt x="365125" y="1166813"/>
                    <a:pt x="371475" y="1176338"/>
                  </a:cubicBezTo>
                  <a:lnTo>
                    <a:pt x="381000" y="1190625"/>
                  </a:lnTo>
                  <a:cubicBezTo>
                    <a:pt x="382661" y="1197271"/>
                    <a:pt x="390741" y="1228309"/>
                    <a:pt x="390525" y="1233488"/>
                  </a:cubicBezTo>
                  <a:cubicBezTo>
                    <a:pt x="389263" y="1263791"/>
                    <a:pt x="385792" y="1294027"/>
                    <a:pt x="381000" y="1323975"/>
                  </a:cubicBezTo>
                  <a:cubicBezTo>
                    <a:pt x="379414" y="1333889"/>
                    <a:pt x="373444" y="1342705"/>
                    <a:pt x="371475" y="1352550"/>
                  </a:cubicBezTo>
                  <a:cubicBezTo>
                    <a:pt x="369887" y="1360488"/>
                    <a:pt x="370728" y="1369335"/>
                    <a:pt x="366712" y="1376363"/>
                  </a:cubicBezTo>
                  <a:cubicBezTo>
                    <a:pt x="362367" y="1383967"/>
                    <a:pt x="345471" y="1388206"/>
                    <a:pt x="338137" y="1390650"/>
                  </a:cubicBezTo>
                  <a:cubicBezTo>
                    <a:pt x="328612" y="1389063"/>
                    <a:pt x="318723" y="1382834"/>
                    <a:pt x="309562" y="1385888"/>
                  </a:cubicBezTo>
                  <a:cubicBezTo>
                    <a:pt x="298751" y="1389492"/>
                    <a:pt x="293682" y="1409717"/>
                    <a:pt x="290512" y="1419225"/>
                  </a:cubicBezTo>
                  <a:cubicBezTo>
                    <a:pt x="290560" y="1419513"/>
                    <a:pt x="295102" y="1455919"/>
                    <a:pt x="300037" y="1462088"/>
                  </a:cubicBezTo>
                  <a:cubicBezTo>
                    <a:pt x="303613" y="1466558"/>
                    <a:pt x="310047" y="1467810"/>
                    <a:pt x="314325" y="1471613"/>
                  </a:cubicBezTo>
                  <a:cubicBezTo>
                    <a:pt x="324393" y="1480562"/>
                    <a:pt x="342900" y="1500188"/>
                    <a:pt x="342900" y="1500188"/>
                  </a:cubicBezTo>
                  <a:cubicBezTo>
                    <a:pt x="344487" y="1508125"/>
                    <a:pt x="346331" y="1516016"/>
                    <a:pt x="347662" y="1524000"/>
                  </a:cubicBezTo>
                  <a:cubicBezTo>
                    <a:pt x="350632" y="1541819"/>
                    <a:pt x="350542" y="1565179"/>
                    <a:pt x="361950" y="1581150"/>
                  </a:cubicBezTo>
                  <a:cubicBezTo>
                    <a:pt x="367720" y="1589228"/>
                    <a:pt x="381941" y="1592577"/>
                    <a:pt x="390525" y="1595438"/>
                  </a:cubicBezTo>
                  <a:cubicBezTo>
                    <a:pt x="412360" y="1628190"/>
                    <a:pt x="405955" y="1613153"/>
                    <a:pt x="414337" y="1638300"/>
                  </a:cubicBezTo>
                  <a:cubicBezTo>
                    <a:pt x="411162" y="1649413"/>
                    <a:pt x="410425" y="1661535"/>
                    <a:pt x="404812" y="1671638"/>
                  </a:cubicBezTo>
                  <a:cubicBezTo>
                    <a:pt x="402032" y="1676641"/>
                    <a:pt x="394572" y="1677116"/>
                    <a:pt x="390525" y="1681163"/>
                  </a:cubicBezTo>
                  <a:cubicBezTo>
                    <a:pt x="386478" y="1685210"/>
                    <a:pt x="384175" y="1690688"/>
                    <a:pt x="381000" y="1695450"/>
                  </a:cubicBezTo>
                  <a:cubicBezTo>
                    <a:pt x="382587" y="1709738"/>
                    <a:pt x="380849" y="1724803"/>
                    <a:pt x="385762" y="1738313"/>
                  </a:cubicBezTo>
                  <a:cubicBezTo>
                    <a:pt x="387718" y="1743692"/>
                    <a:pt x="395653" y="1744174"/>
                    <a:pt x="400050" y="1747838"/>
                  </a:cubicBezTo>
                  <a:cubicBezTo>
                    <a:pt x="405224" y="1752150"/>
                    <a:pt x="409575" y="1757363"/>
                    <a:pt x="414337" y="1762125"/>
                  </a:cubicBezTo>
                  <a:cubicBezTo>
                    <a:pt x="415925" y="1766888"/>
                    <a:pt x="414080" y="1776413"/>
                    <a:pt x="419100" y="1776413"/>
                  </a:cubicBezTo>
                  <a:cubicBezTo>
                    <a:pt x="424824" y="1776413"/>
                    <a:pt x="426815" y="1767555"/>
                    <a:pt x="428625" y="1762125"/>
                  </a:cubicBezTo>
                  <a:cubicBezTo>
                    <a:pt x="431678" y="1752964"/>
                    <a:pt x="429801" y="1742516"/>
                    <a:pt x="433387" y="1733550"/>
                  </a:cubicBezTo>
                  <a:cubicBezTo>
                    <a:pt x="442820" y="1709967"/>
                    <a:pt x="449795" y="1714076"/>
                    <a:pt x="471487" y="1709738"/>
                  </a:cubicBezTo>
                  <a:cubicBezTo>
                    <a:pt x="485775" y="1711325"/>
                    <a:pt x="501263" y="1708551"/>
                    <a:pt x="514350" y="1714500"/>
                  </a:cubicBezTo>
                  <a:cubicBezTo>
                    <a:pt x="520813" y="1717438"/>
                    <a:pt x="523875" y="1726450"/>
                    <a:pt x="523875" y="1733550"/>
                  </a:cubicBezTo>
                  <a:cubicBezTo>
                    <a:pt x="523875" y="1743590"/>
                    <a:pt x="514350" y="1762125"/>
                    <a:pt x="514350" y="1762125"/>
                  </a:cubicBezTo>
                  <a:cubicBezTo>
                    <a:pt x="524276" y="1791908"/>
                    <a:pt x="512350" y="1771650"/>
                    <a:pt x="561975" y="1771650"/>
                  </a:cubicBezTo>
                  <a:cubicBezTo>
                    <a:pt x="571631" y="1771650"/>
                    <a:pt x="581025" y="1774825"/>
                    <a:pt x="590550" y="1776413"/>
                  </a:cubicBezTo>
                  <a:cubicBezTo>
                    <a:pt x="601885" y="1810418"/>
                    <a:pt x="591721" y="1799419"/>
                    <a:pt x="614362" y="1814513"/>
                  </a:cubicBezTo>
                  <a:cubicBezTo>
                    <a:pt x="615950" y="1820863"/>
                    <a:pt x="615494" y="1828117"/>
                    <a:pt x="619125" y="1833563"/>
                  </a:cubicBezTo>
                  <a:cubicBezTo>
                    <a:pt x="628949" y="1848299"/>
                    <a:pt x="661525" y="1846602"/>
                    <a:pt x="671512" y="1847850"/>
                  </a:cubicBezTo>
                  <a:cubicBezTo>
                    <a:pt x="691868" y="1854635"/>
                    <a:pt x="717255" y="1863910"/>
                    <a:pt x="738187" y="1866900"/>
                  </a:cubicBezTo>
                  <a:lnTo>
                    <a:pt x="771525" y="1871663"/>
                  </a:lnTo>
                  <a:cubicBezTo>
                    <a:pt x="787400" y="1870075"/>
                    <a:pt x="803901" y="1871592"/>
                    <a:pt x="819150" y="1866900"/>
                  </a:cubicBezTo>
                  <a:cubicBezTo>
                    <a:pt x="825587" y="1864919"/>
                    <a:pt x="829302" y="1857929"/>
                    <a:pt x="833437" y="1852613"/>
                  </a:cubicBezTo>
                  <a:cubicBezTo>
                    <a:pt x="853753" y="1826492"/>
                    <a:pt x="845504" y="1824626"/>
                    <a:pt x="871537" y="1809750"/>
                  </a:cubicBezTo>
                  <a:cubicBezTo>
                    <a:pt x="875896" y="1807259"/>
                    <a:pt x="880955" y="1806206"/>
                    <a:pt x="885825" y="1804988"/>
                  </a:cubicBezTo>
                  <a:cubicBezTo>
                    <a:pt x="915622" y="1797539"/>
                    <a:pt x="931704" y="1798386"/>
                    <a:pt x="966787" y="1795463"/>
                  </a:cubicBezTo>
                  <a:cubicBezTo>
                    <a:pt x="981791" y="1785461"/>
                    <a:pt x="978680" y="1785725"/>
                    <a:pt x="995362" y="1781175"/>
                  </a:cubicBezTo>
                  <a:cubicBezTo>
                    <a:pt x="1007992" y="1777730"/>
                    <a:pt x="1033462" y="1771650"/>
                    <a:pt x="1033462" y="1771650"/>
                  </a:cubicBezTo>
                  <a:cubicBezTo>
                    <a:pt x="1046162" y="1773238"/>
                    <a:pt x="1058970" y="1774123"/>
                    <a:pt x="1071562" y="1776413"/>
                  </a:cubicBezTo>
                  <a:cubicBezTo>
                    <a:pt x="1076501" y="1777311"/>
                    <a:pt x="1081149" y="1779412"/>
                    <a:pt x="1085850" y="1781175"/>
                  </a:cubicBezTo>
                  <a:cubicBezTo>
                    <a:pt x="1112478" y="1791160"/>
                    <a:pt x="1104222" y="1787073"/>
                    <a:pt x="1123950" y="1800225"/>
                  </a:cubicBezTo>
                  <a:cubicBezTo>
                    <a:pt x="1127413" y="1799648"/>
                    <a:pt x="1158993" y="1795912"/>
                    <a:pt x="1166812" y="1790700"/>
                  </a:cubicBezTo>
                  <a:cubicBezTo>
                    <a:pt x="1210117" y="1761830"/>
                    <a:pt x="1148129" y="1791026"/>
                    <a:pt x="1200150" y="1762125"/>
                  </a:cubicBezTo>
                  <a:cubicBezTo>
                    <a:pt x="1207623" y="1757973"/>
                    <a:pt x="1216316" y="1756423"/>
                    <a:pt x="1223962" y="1752600"/>
                  </a:cubicBezTo>
                  <a:cubicBezTo>
                    <a:pt x="1229082" y="1750040"/>
                    <a:pt x="1233130" y="1745635"/>
                    <a:pt x="1238250" y="1743075"/>
                  </a:cubicBezTo>
                  <a:cubicBezTo>
                    <a:pt x="1272918" y="1725742"/>
                    <a:pt x="1226843" y="1758680"/>
                    <a:pt x="1276350" y="1724025"/>
                  </a:cubicBezTo>
                  <a:cubicBezTo>
                    <a:pt x="1285117" y="1717888"/>
                    <a:pt x="1302693" y="1701328"/>
                    <a:pt x="1314450" y="1695450"/>
                  </a:cubicBezTo>
                  <a:cubicBezTo>
                    <a:pt x="1318940" y="1693205"/>
                    <a:pt x="1323975" y="1692275"/>
                    <a:pt x="1328737" y="1690688"/>
                  </a:cubicBezTo>
                  <a:cubicBezTo>
                    <a:pt x="1339850" y="1692275"/>
                    <a:pt x="1351068" y="1693249"/>
                    <a:pt x="1362075" y="1695450"/>
                  </a:cubicBezTo>
                  <a:cubicBezTo>
                    <a:pt x="1366998" y="1696435"/>
                    <a:pt x="1371644" y="1698497"/>
                    <a:pt x="1376362" y="1700213"/>
                  </a:cubicBezTo>
                  <a:cubicBezTo>
                    <a:pt x="1389109" y="1704848"/>
                    <a:pt x="1401516" y="1710454"/>
                    <a:pt x="1414462" y="1714500"/>
                  </a:cubicBezTo>
                  <a:cubicBezTo>
                    <a:pt x="1426957" y="1718405"/>
                    <a:pt x="1440143" y="1719885"/>
                    <a:pt x="1452562" y="1724025"/>
                  </a:cubicBezTo>
                  <a:lnTo>
                    <a:pt x="1466850" y="1728788"/>
                  </a:lnTo>
                  <a:cubicBezTo>
                    <a:pt x="1479459" y="1727527"/>
                    <a:pt x="1522983" y="1727618"/>
                    <a:pt x="1538287" y="1714500"/>
                  </a:cubicBezTo>
                  <a:cubicBezTo>
                    <a:pt x="1543677" y="1709880"/>
                    <a:pt x="1543685" y="1701227"/>
                    <a:pt x="1547812" y="1695450"/>
                  </a:cubicBezTo>
                  <a:cubicBezTo>
                    <a:pt x="1551727" y="1689969"/>
                    <a:pt x="1556389" y="1684733"/>
                    <a:pt x="1562100" y="1681163"/>
                  </a:cubicBezTo>
                  <a:cubicBezTo>
                    <a:pt x="1568608" y="1677096"/>
                    <a:pt x="1590701" y="1670041"/>
                    <a:pt x="1600200" y="1666875"/>
                  </a:cubicBezTo>
                  <a:cubicBezTo>
                    <a:pt x="1606550" y="1670050"/>
                    <a:pt x="1613343" y="1672462"/>
                    <a:pt x="1619250" y="1676400"/>
                  </a:cubicBezTo>
                  <a:cubicBezTo>
                    <a:pt x="1627708" y="1682038"/>
                    <a:pt x="1633970" y="1690904"/>
                    <a:pt x="1643062" y="1695450"/>
                  </a:cubicBezTo>
                  <a:cubicBezTo>
                    <a:pt x="1665924" y="1706881"/>
                    <a:pt x="1693860" y="1712383"/>
                    <a:pt x="1719262" y="1714500"/>
                  </a:cubicBezTo>
                  <a:cubicBezTo>
                    <a:pt x="1765250" y="1718332"/>
                    <a:pt x="1857375" y="1724025"/>
                    <a:pt x="1857375" y="1724025"/>
                  </a:cubicBezTo>
                  <a:cubicBezTo>
                    <a:pt x="1878716" y="1729361"/>
                    <a:pt x="1895516" y="1735911"/>
                    <a:pt x="1919287" y="1724025"/>
                  </a:cubicBezTo>
                  <a:cubicBezTo>
                    <a:pt x="1925141" y="1721098"/>
                    <a:pt x="1922630" y="1711365"/>
                    <a:pt x="1924050" y="1704975"/>
                  </a:cubicBezTo>
                  <a:cubicBezTo>
                    <a:pt x="1925806" y="1697073"/>
                    <a:pt x="1924322" y="1687898"/>
                    <a:pt x="1928812" y="1681163"/>
                  </a:cubicBezTo>
                  <a:cubicBezTo>
                    <a:pt x="1931597" y="1676986"/>
                    <a:pt x="1938337" y="1677988"/>
                    <a:pt x="1943100" y="1676400"/>
                  </a:cubicBezTo>
                  <a:cubicBezTo>
                    <a:pt x="1971790" y="1690745"/>
                    <a:pt x="1974461" y="1695524"/>
                    <a:pt x="2000250" y="1700213"/>
                  </a:cubicBezTo>
                  <a:cubicBezTo>
                    <a:pt x="2011294" y="1702221"/>
                    <a:pt x="2022475" y="1703388"/>
                    <a:pt x="2033587" y="1704975"/>
                  </a:cubicBezTo>
                  <a:cubicBezTo>
                    <a:pt x="2038350" y="1703388"/>
                    <a:pt x="2044957" y="1704298"/>
                    <a:pt x="2047875" y="1700213"/>
                  </a:cubicBezTo>
                  <a:cubicBezTo>
                    <a:pt x="2063174" y="1678796"/>
                    <a:pt x="2056435" y="1665847"/>
                    <a:pt x="2052637" y="1643063"/>
                  </a:cubicBezTo>
                  <a:cubicBezTo>
                    <a:pt x="2054225" y="1638300"/>
                    <a:pt x="2052382" y="1628918"/>
                    <a:pt x="2057400" y="1628775"/>
                  </a:cubicBezTo>
                  <a:cubicBezTo>
                    <a:pt x="2398403" y="1619031"/>
                    <a:pt x="2096820" y="1654634"/>
                    <a:pt x="2290762" y="1628775"/>
                  </a:cubicBezTo>
                  <a:cubicBezTo>
                    <a:pt x="2297112" y="1624013"/>
                    <a:pt x="2303135" y="1618780"/>
                    <a:pt x="2309812" y="1614488"/>
                  </a:cubicBezTo>
                  <a:cubicBezTo>
                    <a:pt x="2325385" y="1604477"/>
                    <a:pt x="2343381" y="1597961"/>
                    <a:pt x="2357437" y="1585913"/>
                  </a:cubicBezTo>
                  <a:cubicBezTo>
                    <a:pt x="2379662" y="1566863"/>
                    <a:pt x="2397930" y="1541854"/>
                    <a:pt x="2424112" y="1528763"/>
                  </a:cubicBezTo>
                  <a:cubicBezTo>
                    <a:pt x="2478970" y="1501334"/>
                    <a:pt x="2401180" y="1540838"/>
                    <a:pt x="2466975" y="1504950"/>
                  </a:cubicBezTo>
                  <a:cubicBezTo>
                    <a:pt x="2476324" y="1499851"/>
                    <a:pt x="2486025" y="1495425"/>
                    <a:pt x="2495550" y="1490663"/>
                  </a:cubicBezTo>
                  <a:cubicBezTo>
                    <a:pt x="2508867" y="1464029"/>
                    <a:pt x="2481131" y="1457589"/>
                    <a:pt x="2514600" y="1443037"/>
                  </a:cubicBezTo>
                  <a:cubicBezTo>
                    <a:pt x="2590771" y="1409919"/>
                    <a:pt x="2588730" y="1430459"/>
                    <a:pt x="2633662" y="1419225"/>
                  </a:cubicBezTo>
                  <a:cubicBezTo>
                    <a:pt x="2638425" y="1416050"/>
                    <a:pt x="2641600" y="1404144"/>
                    <a:pt x="2652712" y="1390650"/>
                  </a:cubicBezTo>
                  <a:cubicBezTo>
                    <a:pt x="2663825" y="1377156"/>
                    <a:pt x="2668587" y="1365250"/>
                    <a:pt x="2700337" y="1338263"/>
                  </a:cubicBezTo>
                  <a:cubicBezTo>
                    <a:pt x="2732087" y="1311276"/>
                    <a:pt x="2802731" y="1262856"/>
                    <a:pt x="2843212" y="1228725"/>
                  </a:cubicBezTo>
                  <a:cubicBezTo>
                    <a:pt x="2883693" y="1194594"/>
                    <a:pt x="2913063" y="1158081"/>
                    <a:pt x="2943225" y="1133475"/>
                  </a:cubicBezTo>
                  <a:cubicBezTo>
                    <a:pt x="2973388" y="1108869"/>
                    <a:pt x="2986087" y="1119188"/>
                    <a:pt x="3024187" y="1081088"/>
                  </a:cubicBezTo>
                  <a:cubicBezTo>
                    <a:pt x="3062287" y="1042988"/>
                    <a:pt x="3136106" y="950119"/>
                    <a:pt x="3171825" y="904875"/>
                  </a:cubicBezTo>
                  <a:cubicBezTo>
                    <a:pt x="3207544" y="859631"/>
                    <a:pt x="3220244" y="839788"/>
                    <a:pt x="3238500" y="809626"/>
                  </a:cubicBezTo>
                  <a:cubicBezTo>
                    <a:pt x="3256756" y="779464"/>
                    <a:pt x="3265487" y="746919"/>
                    <a:pt x="3281362" y="723900"/>
                  </a:cubicBezTo>
                  <a:cubicBezTo>
                    <a:pt x="3297237" y="700881"/>
                    <a:pt x="3320255" y="686594"/>
                    <a:pt x="3333749" y="671513"/>
                  </a:cubicBezTo>
                  <a:cubicBezTo>
                    <a:pt x="3347243" y="656432"/>
                    <a:pt x="3344862" y="654051"/>
                    <a:pt x="3362325" y="633413"/>
                  </a:cubicBezTo>
                  <a:cubicBezTo>
                    <a:pt x="3379788" y="612776"/>
                    <a:pt x="3412331" y="569119"/>
                    <a:pt x="3438525" y="547688"/>
                  </a:cubicBezTo>
                  <a:cubicBezTo>
                    <a:pt x="3464719" y="526257"/>
                    <a:pt x="3495675" y="521494"/>
                    <a:pt x="3519487" y="504825"/>
                  </a:cubicBezTo>
                  <a:cubicBezTo>
                    <a:pt x="3543300" y="488156"/>
                    <a:pt x="3563144" y="465137"/>
                    <a:pt x="3581400" y="447675"/>
                  </a:cubicBezTo>
                  <a:cubicBezTo>
                    <a:pt x="3599656" y="430213"/>
                    <a:pt x="3619500" y="410369"/>
                    <a:pt x="3629025" y="400050"/>
                  </a:cubicBezTo>
                  <a:cubicBezTo>
                    <a:pt x="3638550" y="389731"/>
                    <a:pt x="3635375" y="390525"/>
                    <a:pt x="3638550" y="385763"/>
                  </a:cubicBezTo>
                  <a:cubicBezTo>
                    <a:pt x="3640137" y="379413"/>
                    <a:pt x="3642691" y="373229"/>
                    <a:pt x="3643312" y="366713"/>
                  </a:cubicBezTo>
                  <a:cubicBezTo>
                    <a:pt x="3645875" y="339800"/>
                    <a:pt x="3644900" y="304006"/>
                    <a:pt x="3648075" y="285750"/>
                  </a:cubicBezTo>
                  <a:cubicBezTo>
                    <a:pt x="3651250" y="267494"/>
                    <a:pt x="3657190" y="266484"/>
                    <a:pt x="3662362" y="257175"/>
                  </a:cubicBezTo>
                  <a:cubicBezTo>
                    <a:pt x="3665142" y="252172"/>
                    <a:pt x="3668942" y="247796"/>
                    <a:pt x="3671887" y="242888"/>
                  </a:cubicBezTo>
                  <a:cubicBezTo>
                    <a:pt x="3678472" y="231913"/>
                    <a:pt x="3684587" y="220663"/>
                    <a:pt x="3690937" y="209550"/>
                  </a:cubicBezTo>
                  <a:cubicBezTo>
                    <a:pt x="3696907" y="173735"/>
                    <a:pt x="3695692" y="183420"/>
                    <a:pt x="3700462" y="142875"/>
                  </a:cubicBezTo>
                  <a:cubicBezTo>
                    <a:pt x="3702142" y="128598"/>
                    <a:pt x="3701276" y="113835"/>
                    <a:pt x="3705225" y="100013"/>
                  </a:cubicBezTo>
                  <a:cubicBezTo>
                    <a:pt x="3707768" y="91112"/>
                    <a:pt x="3715017" y="84292"/>
                    <a:pt x="3719512" y="76200"/>
                  </a:cubicBezTo>
                  <a:cubicBezTo>
                    <a:pt x="3735076" y="48184"/>
                    <a:pt x="3720574" y="63497"/>
                    <a:pt x="3748087" y="42863"/>
                  </a:cubicBezTo>
                  <a:cubicBezTo>
                    <a:pt x="3755399" y="31894"/>
                    <a:pt x="3760184" y="27431"/>
                    <a:pt x="3762375" y="14288"/>
                  </a:cubicBezTo>
                  <a:cubicBezTo>
                    <a:pt x="3763158" y="9590"/>
                    <a:pt x="3762375" y="4763"/>
                    <a:pt x="3762375" y="0"/>
                  </a:cubicBezTo>
                </a:path>
              </a:pathLst>
            </a:custGeom>
            <a:noFill/>
            <a:ln w="12700">
              <a:solidFill>
                <a:schemeClr val="tx1">
                  <a:alpha val="9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3362150" y="3249224"/>
              <a:ext cx="487313"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900" dirty="0" smtClean="0">
                  <a:solidFill>
                    <a:schemeClr val="bg1"/>
                  </a:solidFill>
                </a:rPr>
                <a:t>Kwa-Zulu</a:t>
              </a:r>
              <a:br>
                <a:rPr lang="en-US" sz="900" dirty="0" smtClean="0">
                  <a:solidFill>
                    <a:schemeClr val="bg1"/>
                  </a:solidFill>
                </a:rPr>
              </a:br>
              <a:r>
                <a:rPr lang="en-US" sz="900" dirty="0" smtClean="0">
                  <a:solidFill>
                    <a:schemeClr val="bg1"/>
                  </a:solidFill>
                </a:rPr>
                <a:t>Natal</a:t>
              </a:r>
              <a:endParaRPr lang="en-US" sz="900" dirty="0">
                <a:solidFill>
                  <a:schemeClr val="bg1"/>
                </a:solidFill>
              </a:endParaRPr>
            </a:p>
          </p:txBody>
        </p:sp>
      </p:grpSp>
      <p:grpSp>
        <p:nvGrpSpPr>
          <p:cNvPr id="44" name="Group 43"/>
          <p:cNvGrpSpPr/>
          <p:nvPr/>
        </p:nvGrpSpPr>
        <p:grpSpPr>
          <a:xfrm>
            <a:off x="532098" y="1611434"/>
            <a:ext cx="2204119" cy="726004"/>
            <a:chOff x="376239" y="1662921"/>
            <a:chExt cx="2204119" cy="726004"/>
          </a:xfrm>
        </p:grpSpPr>
        <p:sp>
          <p:nvSpPr>
            <p:cNvPr id="31" name="Legend1"/>
            <p:cNvSpPr>
              <a:spLocks noChangeArrowheads="1"/>
            </p:cNvSpPr>
            <p:nvPr/>
          </p:nvSpPr>
          <p:spPr bwMode="auto">
            <a:xfrm>
              <a:off x="764155" y="1662921"/>
              <a:ext cx="181620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smtClean="0">
                  <a:latin typeface="+mn-lt"/>
                </a:rPr>
                <a:t>SA Coastline 50 Km Buffer</a:t>
              </a:r>
              <a:endParaRPr lang="en-US" sz="1200" dirty="0">
                <a:latin typeface="+mn-lt"/>
              </a:endParaRPr>
            </a:p>
          </p:txBody>
        </p:sp>
        <p:sp>
          <p:nvSpPr>
            <p:cNvPr id="33" name="Legend2"/>
            <p:cNvSpPr>
              <a:spLocks noChangeArrowheads="1"/>
            </p:cNvSpPr>
            <p:nvPr/>
          </p:nvSpPr>
          <p:spPr bwMode="auto">
            <a:xfrm>
              <a:off x="764155" y="1932796"/>
              <a:ext cx="181620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smtClean="0">
                  <a:latin typeface="+mn-lt"/>
                </a:rPr>
                <a:t>SA Coastline 10 Km Buffer</a:t>
              </a:r>
              <a:endParaRPr lang="en-US" sz="1200" dirty="0">
                <a:latin typeface="+mn-lt"/>
              </a:endParaRPr>
            </a:p>
          </p:txBody>
        </p:sp>
        <p:grpSp>
          <p:nvGrpSpPr>
            <p:cNvPr id="29" name="Group 28"/>
            <p:cNvGrpSpPr>
              <a:grpSpLocks/>
            </p:cNvGrpSpPr>
            <p:nvPr/>
          </p:nvGrpSpPr>
          <p:grpSpPr>
            <a:xfrm>
              <a:off x="376239" y="1674034"/>
              <a:ext cx="299016" cy="398990"/>
              <a:chOff x="510155" y="1674034"/>
              <a:chExt cx="165100" cy="398990"/>
            </a:xfrm>
          </p:grpSpPr>
          <p:sp>
            <p:nvSpPr>
              <p:cNvPr id="32" name="LegendRectangle1"/>
              <p:cNvSpPr>
                <a:spLocks noChangeArrowheads="1"/>
              </p:cNvSpPr>
              <p:nvPr/>
            </p:nvSpPr>
            <p:spPr bwMode="auto">
              <a:xfrm>
                <a:off x="510155" y="1674034"/>
                <a:ext cx="165100" cy="160338"/>
              </a:xfrm>
              <a:prstGeom prst="rect">
                <a:avLst/>
              </a:prstGeom>
              <a:solidFill>
                <a:schemeClr val="accent4">
                  <a:alpha val="66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35" name="LegendRectangle2"/>
              <p:cNvSpPr>
                <a:spLocks noChangeArrowheads="1"/>
              </p:cNvSpPr>
              <p:nvPr/>
            </p:nvSpPr>
            <p:spPr bwMode="auto">
              <a:xfrm>
                <a:off x="510155" y="1975132"/>
                <a:ext cx="165100" cy="97892"/>
              </a:xfrm>
              <a:prstGeom prst="rect">
                <a:avLst/>
              </a:prstGeom>
              <a:solidFill>
                <a:schemeClr val="accent5">
                  <a:alpha val="75000"/>
                </a:scheme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40" name="Legend3"/>
            <p:cNvSpPr>
              <a:spLocks noChangeArrowheads="1"/>
            </p:cNvSpPr>
            <p:nvPr/>
          </p:nvSpPr>
          <p:spPr bwMode="auto">
            <a:xfrm>
              <a:off x="764155" y="2204259"/>
              <a:ext cx="151919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smtClean="0">
                  <a:latin typeface="+mn-lt"/>
                </a:rPr>
                <a:t>SA Coastal Provinces </a:t>
              </a:r>
              <a:endParaRPr lang="en-US" sz="1200" dirty="0">
                <a:latin typeface="+mn-lt"/>
              </a:endParaRPr>
            </a:p>
          </p:txBody>
        </p:sp>
        <p:cxnSp>
          <p:nvCxnSpPr>
            <p:cNvPr id="28" name="Straight Connector 27"/>
            <p:cNvCxnSpPr>
              <a:cxnSpLocks/>
            </p:cNvCxnSpPr>
            <p:nvPr/>
          </p:nvCxnSpPr>
          <p:spPr>
            <a:xfrm>
              <a:off x="376239" y="2297691"/>
              <a:ext cx="299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2" name="Freeform 61"/>
          <p:cNvSpPr/>
          <p:nvPr/>
        </p:nvSpPr>
        <p:spPr>
          <a:xfrm>
            <a:off x="4092859" y="3009602"/>
            <a:ext cx="352425" cy="114300"/>
          </a:xfrm>
          <a:custGeom>
            <a:avLst/>
            <a:gdLst>
              <a:gd name="connsiteX0" fmla="*/ 92075 w 352425"/>
              <a:gd name="connsiteY0" fmla="*/ 114300 h 114300"/>
              <a:gd name="connsiteX1" fmla="*/ 200025 w 352425"/>
              <a:gd name="connsiteY1" fmla="*/ 114300 h 114300"/>
              <a:gd name="connsiteX2" fmla="*/ 200025 w 352425"/>
              <a:gd name="connsiteY2" fmla="*/ 114300 h 114300"/>
              <a:gd name="connsiteX3" fmla="*/ 352425 w 352425"/>
              <a:gd name="connsiteY3" fmla="*/ 95250 h 114300"/>
              <a:gd name="connsiteX4" fmla="*/ 257175 w 352425"/>
              <a:gd name="connsiteY4" fmla="*/ 0 h 114300"/>
              <a:gd name="connsiteX5" fmla="*/ 60325 w 352425"/>
              <a:gd name="connsiteY5" fmla="*/ 53975 h 114300"/>
              <a:gd name="connsiteX6" fmla="*/ 0 w 352425"/>
              <a:gd name="connsiteY6" fmla="*/ 107950 h 114300"/>
              <a:gd name="connsiteX7" fmla="*/ 92075 w 352425"/>
              <a:gd name="connsiteY7" fmla="*/ 11430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425" h="114300">
                <a:moveTo>
                  <a:pt x="92075" y="114300"/>
                </a:moveTo>
                <a:lnTo>
                  <a:pt x="200025" y="114300"/>
                </a:lnTo>
                <a:lnTo>
                  <a:pt x="200025" y="114300"/>
                </a:lnTo>
                <a:lnTo>
                  <a:pt x="352425" y="95250"/>
                </a:lnTo>
                <a:lnTo>
                  <a:pt x="257175" y="0"/>
                </a:lnTo>
                <a:lnTo>
                  <a:pt x="60325" y="53975"/>
                </a:lnTo>
                <a:lnTo>
                  <a:pt x="0" y="107950"/>
                </a:lnTo>
                <a:lnTo>
                  <a:pt x="92075" y="11430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Tree>
    <p:extLst>
      <p:ext uri="{BB962C8B-B14F-4D97-AF65-F5344CB8AC3E}">
        <p14:creationId xmlns:p14="http://schemas.microsoft.com/office/powerpoint/2010/main" val="427063592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3"/>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881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31" name="Rectangle 30" hidden="1"/>
          <p:cNvSpPr/>
          <p:nvPr>
            <p:custDataLst>
              <p:tags r:id="rId4"/>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600" b="1" dirty="0" err="1"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5" name="Picture 4"/>
          <p:cNvPicPr>
            <a:picLocks noChangeAspect="1"/>
          </p:cNvPicPr>
          <p:nvPr/>
        </p:nvPicPr>
        <p:blipFill rotWithShape="1">
          <a:blip r:embed="rId23" cstate="email">
            <a:extLst>
              <a:ext uri="{28A0092B-C50C-407E-A947-70E740481C1C}">
                <a14:useLocalDpi xmlns:a14="http://schemas.microsoft.com/office/drawing/2010/main"/>
              </a:ext>
            </a:extLst>
          </a:blip>
          <a:srcRect/>
          <a:stretch/>
        </p:blipFill>
        <p:spPr>
          <a:xfrm>
            <a:off x="3275951" y="1855607"/>
            <a:ext cx="1225701" cy="959772"/>
          </a:xfrm>
          <a:prstGeom prst="rect">
            <a:avLst/>
          </a:prstGeom>
        </p:spPr>
      </p:pic>
      <p:pic>
        <p:nvPicPr>
          <p:cNvPr id="3" name="Picture 2"/>
          <p:cNvPicPr>
            <a:picLocks noChangeAspect="1"/>
          </p:cNvPicPr>
          <p:nvPr/>
        </p:nvPicPr>
        <p:blipFill rotWithShape="1">
          <a:blip r:embed="rId24" cstate="email">
            <a:extLst>
              <a:ext uri="{28A0092B-C50C-407E-A947-70E740481C1C}">
                <a14:useLocalDpi xmlns:a14="http://schemas.microsoft.com/office/drawing/2010/main"/>
              </a:ext>
            </a:extLst>
          </a:blip>
          <a:srcRect/>
          <a:stretch/>
        </p:blipFill>
        <p:spPr>
          <a:xfrm>
            <a:off x="296863" y="1639670"/>
            <a:ext cx="1293532" cy="1284884"/>
          </a:xfrm>
          <a:prstGeom prst="rect">
            <a:avLst/>
          </a:prstGeom>
        </p:spPr>
      </p:pic>
      <p:grpSp>
        <p:nvGrpSpPr>
          <p:cNvPr id="28" name="Group 27"/>
          <p:cNvGrpSpPr/>
          <p:nvPr/>
        </p:nvGrpSpPr>
        <p:grpSpPr>
          <a:xfrm>
            <a:off x="1" y="1381777"/>
            <a:ext cx="8961437" cy="495300"/>
            <a:chOff x="1" y="758416"/>
            <a:chExt cx="8961437" cy="495300"/>
          </a:xfrm>
        </p:grpSpPr>
        <p:sp>
          <p:nvSpPr>
            <p:cNvPr id="29" name="Rectangle 28"/>
            <p:cNvSpPr>
              <a:spLocks/>
            </p:cNvSpPr>
            <p:nvPr/>
          </p:nvSpPr>
          <p:spPr>
            <a:xfrm>
              <a:off x="1" y="767941"/>
              <a:ext cx="8961437" cy="485775"/>
            </a:xfrm>
            <a:prstGeom prst="rect">
              <a:avLst/>
            </a:prstGeom>
            <a:gradFill rotWithShape="1">
              <a:gsLst>
                <a:gs pos="0">
                  <a:srgbClr val="EEEEEE"/>
                </a:gs>
                <a:gs pos="100000">
                  <a:srgbClr val="EEEEEE">
                    <a:gamma/>
                    <a:tint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600" dirty="0" err="1">
                <a:solidFill>
                  <a:schemeClr val="tx1"/>
                </a:solidFill>
                <a:latin typeface="Arial" charset="0"/>
              </a:endParaRPr>
            </a:p>
          </p:txBody>
        </p:sp>
        <p:cxnSp>
          <p:nvCxnSpPr>
            <p:cNvPr id="33" name="Straight Connector 32"/>
            <p:cNvCxnSpPr>
              <a:cxnSpLocks/>
            </p:cNvCxnSpPr>
            <p:nvPr/>
          </p:nvCxnSpPr>
          <p:spPr>
            <a:xfrm>
              <a:off x="1" y="758416"/>
              <a:ext cx="896143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171451" y="230188"/>
            <a:ext cx="878998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The </a:t>
            </a:r>
            <a:r>
              <a:rPr lang="en-US" dirty="0" smtClean="0"/>
              <a:t>Lab</a:t>
            </a:r>
            <a:r>
              <a:rPr lang="en-US" baseline="30000" dirty="0" smtClean="0"/>
              <a:t>1</a:t>
            </a:r>
            <a:r>
              <a:rPr lang="en-US" dirty="0" smtClean="0"/>
              <a:t> estimates </a:t>
            </a:r>
            <a:r>
              <a:rPr lang="en-US" dirty="0"/>
              <a:t>the </a:t>
            </a:r>
            <a:r>
              <a:rPr lang="en-US" dirty="0" smtClean="0"/>
              <a:t>Coastal and Marine sector </a:t>
            </a:r>
            <a:r>
              <a:rPr lang="en-US" dirty="0"/>
              <a:t>could reach </a:t>
            </a:r>
            <a:r>
              <a:rPr lang="en-US" dirty="0" smtClean="0">
                <a:solidFill>
                  <a:schemeClr val="accent3"/>
                </a:solidFill>
              </a:rPr>
              <a:t>R43.3</a:t>
            </a:r>
            <a:r>
              <a:rPr lang="en-US" dirty="0" smtClean="0"/>
              <a:t> </a:t>
            </a:r>
            <a:r>
              <a:rPr lang="en-US" dirty="0"/>
              <a:t>billion contribution to GDP and </a:t>
            </a:r>
            <a:r>
              <a:rPr lang="en-US" dirty="0" smtClean="0"/>
              <a:t>approximately </a:t>
            </a:r>
            <a:r>
              <a:rPr lang="en-US" dirty="0" smtClean="0">
                <a:solidFill>
                  <a:schemeClr val="accent3"/>
                </a:solidFill>
              </a:rPr>
              <a:t>double </a:t>
            </a:r>
            <a:r>
              <a:rPr lang="en-US" dirty="0"/>
              <a:t>the number of jobs by 2030 </a:t>
            </a:r>
            <a:r>
              <a:rPr lang="en-US" dirty="0" smtClean="0"/>
              <a:t> </a:t>
            </a:r>
            <a:endParaRPr lang="en-US" dirty="0"/>
          </a:p>
        </p:txBody>
      </p:sp>
      <p:graphicFrame>
        <p:nvGraphicFramePr>
          <p:cNvPr id="13" name="Object 12"/>
          <p:cNvGraphicFramePr>
            <a:graphicFrameLocks/>
          </p:cNvGraphicFramePr>
          <p:nvPr>
            <p:custDataLst>
              <p:tags r:id="rId5"/>
            </p:custDataLst>
            <p:extLst/>
          </p:nvPr>
        </p:nvGraphicFramePr>
        <p:xfrm>
          <a:off x="152401" y="2705100"/>
          <a:ext cx="2666867" cy="2644023"/>
        </p:xfrm>
        <a:graphic>
          <a:graphicData uri="http://schemas.openxmlformats.org/presentationml/2006/ole">
            <mc:AlternateContent xmlns:mc="http://schemas.openxmlformats.org/markup-compatibility/2006">
              <mc:Choice xmlns:v="urn:schemas-microsoft-com:vml" Requires="v">
                <p:oleObj spid="_x0000_s118820" name="Chart" r:id="rId25" imgW="2667016" imgH="2648048" progId="MSGraph.Chart.8">
                  <p:embed followColorScheme="full"/>
                </p:oleObj>
              </mc:Choice>
              <mc:Fallback>
                <p:oleObj name="Chart" r:id="rId25" imgW="2667016" imgH="2648048" progId="MSGraph.Chart.8">
                  <p:embed followColorScheme="full"/>
                  <p:pic>
                    <p:nvPicPr>
                      <p:cNvPr id="0" name=""/>
                      <p:cNvPicPr/>
                      <p:nvPr/>
                    </p:nvPicPr>
                    <p:blipFill>
                      <a:blip r:embed="rId26"/>
                      <a:stretch>
                        <a:fillRect/>
                      </a:stretch>
                    </p:blipFill>
                    <p:spPr>
                      <a:xfrm>
                        <a:off x="152401" y="2705100"/>
                        <a:ext cx="2666867" cy="2644023"/>
                      </a:xfrm>
                      <a:prstGeom prst="rect">
                        <a:avLst/>
                      </a:prstGeom>
                    </p:spPr>
                  </p:pic>
                </p:oleObj>
              </mc:Fallback>
            </mc:AlternateContent>
          </a:graphicData>
        </a:graphic>
      </p:graphicFrame>
      <p:cxnSp>
        <p:nvCxnSpPr>
          <p:cNvPr id="7" name="Straight Connector 6"/>
          <p:cNvCxnSpPr/>
          <p:nvPr>
            <p:custDataLst>
              <p:tags r:id="rId6"/>
            </p:custDataLst>
          </p:nvPr>
        </p:nvCxnSpPr>
        <p:spPr bwMode="gray">
          <a:xfrm flipV="1">
            <a:off x="890588" y="1401763"/>
            <a:ext cx="1219200" cy="1766888"/>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7" name="Text Placeholder 2"/>
          <p:cNvSpPr>
            <a:spLocks noGrp="1"/>
          </p:cNvSpPr>
          <p:nvPr>
            <p:custDataLst>
              <p:tags r:id="rId7"/>
            </p:custDataLst>
          </p:nvPr>
        </p:nvSpPr>
        <p:spPr bwMode="gray">
          <a:xfrm>
            <a:off x="673100" y="4308475"/>
            <a:ext cx="434975"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B02D521-D9B9-47F1-BB94-63C901BDB1FB}" type="datetime'''''1''''''''''''1'''''',''''''''9'''''''''''''''''''''''''''">
              <a:rPr lang="en-US" b="1">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rPr>
              <a:pPr algn="ctr"/>
              <a:t>11,9</a:t>
            </a:fld>
            <a:endParaRPr lang="en-US" b="1" dirty="0">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6" name="Rectangle 15"/>
          <p:cNvSpPr>
            <a:spLocks noGrp="1" noChangeArrowheads="1"/>
          </p:cNvSpPr>
          <p:nvPr>
            <p:custDataLst>
              <p:tags r:id="rId8"/>
            </p:custDataLst>
          </p:nvPr>
        </p:nvSpPr>
        <p:spPr bwMode="auto">
          <a:xfrm>
            <a:off x="658813" y="5437188"/>
            <a:ext cx="46355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55773B1-E5E9-42A4-BAE6-3428774FB8D8}" type="datetime'''''''''''''20''1''''''''''''5'''''''''''''''">
              <a:rPr lang="en-US"/>
              <a:pPr/>
              <a:t>2015</a:t>
            </a:fld>
            <a:endParaRPr lang="en-US" noProof="0" dirty="0" smtClean="0">
              <a:latin typeface="Arial"/>
              <a:ea typeface="Arial Unicode MS"/>
              <a:cs typeface="Arial Unicode MS"/>
              <a:sym typeface="Arial"/>
            </a:endParaRPr>
          </a:p>
        </p:txBody>
      </p:sp>
      <p:sp>
        <p:nvSpPr>
          <p:cNvPr id="25" name="Rectangle 24"/>
          <p:cNvSpPr>
            <a:spLocks noGrp="1" noChangeArrowheads="1"/>
          </p:cNvSpPr>
          <p:nvPr>
            <p:custDataLst>
              <p:tags r:id="rId9"/>
            </p:custDataLst>
          </p:nvPr>
        </p:nvSpPr>
        <p:spPr bwMode="gray">
          <a:xfrm>
            <a:off x="1887538" y="2541588"/>
            <a:ext cx="446088"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accent4"/>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accent4"/>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accent4"/>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accent4"/>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11FFA88E-3FA8-42A1-959B-7DA275BC4322}" type="datetime'''''''''''''''''43'''''''''''''''''''''''''''''',''''3'''">
              <a:rPr lang="en-US" b="1" smtClean="0">
                <a:ea typeface="Arial Unicode MS" panose="020B0604020202020204" pitchFamily="34" charset="-128"/>
                <a:cs typeface="Arial Unicode MS" panose="020B0604020202020204" pitchFamily="34" charset="-128"/>
              </a:rPr>
              <a:pPr/>
              <a:t>43,3</a:t>
            </a:fld>
            <a:endParaRPr lang="en-ZA" b="1" noProof="0" dirty="0" smtClean="0">
              <a:latin typeface="Arial"/>
              <a:ea typeface="Arial Unicode MS"/>
              <a:cs typeface="Arial Unicode MS"/>
              <a:sym typeface="Arial"/>
            </a:endParaRPr>
          </a:p>
        </p:txBody>
      </p:sp>
      <p:sp>
        <p:nvSpPr>
          <p:cNvPr id="23" name="Oval 22"/>
          <p:cNvSpPr>
            <a:spLocks noGrp="1" noChangeArrowheads="1"/>
          </p:cNvSpPr>
          <p:nvPr>
            <p:custDataLst>
              <p:tags r:id="rId10"/>
            </p:custDataLst>
          </p:nvPr>
        </p:nvSpPr>
        <p:spPr bwMode="gray">
          <a:xfrm>
            <a:off x="911225" y="2128838"/>
            <a:ext cx="1179513" cy="311150"/>
          </a:xfrm>
          <a:prstGeom prst="ellipse">
            <a:avLst/>
          </a:prstGeom>
          <a:solidFill>
            <a:schemeClr val="tx2"/>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accent4"/>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accent4"/>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accent4"/>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accent4"/>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r>
              <a:rPr lang="en-US" b="1" dirty="0" smtClean="0">
                <a:solidFill>
                  <a:schemeClr val="bg1"/>
                </a:solidFill>
                <a:ea typeface="Arial Unicode MS" panose="020B0604020202020204" pitchFamily="34" charset="-128"/>
                <a:cs typeface="Arial Unicode MS" panose="020B0604020202020204" pitchFamily="34" charset="-128"/>
              </a:rPr>
              <a:t>9</a:t>
            </a:r>
            <a:r>
              <a:rPr lang="en-US" b="1" baseline="30000" dirty="0" smtClean="0">
                <a:solidFill>
                  <a:schemeClr val="bg1"/>
                </a:solidFill>
                <a:ea typeface="Arial Unicode MS" panose="020B0604020202020204" pitchFamily="34" charset="-128"/>
                <a:cs typeface="Arial Unicode MS" panose="020B0604020202020204" pitchFamily="34" charset="-128"/>
              </a:rPr>
              <a:t>2</a:t>
            </a:r>
            <a:r>
              <a:rPr lang="en-US" b="1" dirty="0" smtClean="0">
                <a:solidFill>
                  <a:schemeClr val="bg1"/>
                </a:solidFill>
                <a:ea typeface="Arial Unicode MS" panose="020B0604020202020204" pitchFamily="34" charset="-128"/>
                <a:cs typeface="Arial Unicode MS" panose="020B0604020202020204" pitchFamily="34" charset="-128"/>
              </a:rPr>
              <a:t>%</a:t>
            </a:r>
            <a:r>
              <a:rPr lang="en-ZA" b="1" noProof="0" dirty="0" smtClean="0">
                <a:solidFill>
                  <a:schemeClr val="bg1"/>
                </a:solidFill>
                <a:latin typeface="Arial"/>
                <a:ea typeface="Arial Unicode MS"/>
                <a:cs typeface="Arial Unicode MS"/>
                <a:sym typeface="Arial"/>
              </a:rPr>
              <a:t> p.a. </a:t>
            </a:r>
          </a:p>
        </p:txBody>
      </p:sp>
      <p:sp>
        <p:nvSpPr>
          <p:cNvPr id="19" name="Rectangle 18"/>
          <p:cNvSpPr>
            <a:spLocks noGrp="1" noChangeArrowheads="1"/>
          </p:cNvSpPr>
          <p:nvPr>
            <p:custDataLst>
              <p:tags r:id="rId11"/>
            </p:custDataLst>
          </p:nvPr>
        </p:nvSpPr>
        <p:spPr bwMode="auto">
          <a:xfrm>
            <a:off x="1878013" y="5437188"/>
            <a:ext cx="46355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6869CE3-27E3-49F3-B1F2-29F93E628B45}" type="datetime'''''2''''0''''''''''3''''0'''''''''''''''''''''''''''''''''">
              <a:rPr lang="en-US"/>
              <a:pPr/>
              <a:t>2030</a:t>
            </a:fld>
            <a:endParaRPr lang="en-US" noProof="0" dirty="0" smtClean="0">
              <a:latin typeface="Arial"/>
              <a:ea typeface="Arial Unicode MS"/>
              <a:cs typeface="Arial Unicode MS"/>
              <a:sym typeface="Arial"/>
            </a:endParaRPr>
          </a:p>
        </p:txBody>
      </p:sp>
      <p:sp>
        <p:nvSpPr>
          <p:cNvPr id="89" name="Rectangle 82"/>
          <p:cNvSpPr txBox="1">
            <a:spLocks/>
          </p:cNvSpPr>
          <p:nvPr/>
        </p:nvSpPr>
        <p:spPr>
          <a:xfrm>
            <a:off x="276225" y="1074236"/>
            <a:ext cx="4039092" cy="246221"/>
          </a:xfrm>
          <a:prstGeom prst="rect">
            <a:avLst/>
          </a:prstGeom>
          <a:noFill/>
          <a:ln w="19050">
            <a:noFill/>
            <a:miter lim="800000"/>
            <a:headEnd/>
            <a:tailEnd/>
          </a:ln>
          <a:effectLs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b="1" dirty="0">
                <a:solidFill>
                  <a:schemeClr val="tx2"/>
                </a:solidFill>
              </a:rPr>
              <a:t>GDP </a:t>
            </a:r>
            <a:r>
              <a:rPr lang="en-US" sz="1600" b="1" dirty="0" smtClean="0">
                <a:solidFill>
                  <a:schemeClr val="tx2"/>
                </a:solidFill>
              </a:rPr>
              <a:t>contribution</a:t>
            </a:r>
            <a:r>
              <a:rPr lang="en-US" sz="1600" b="1" baseline="30000" dirty="0" smtClean="0">
                <a:solidFill>
                  <a:schemeClr val="tx2"/>
                </a:solidFill>
              </a:rPr>
              <a:t>1</a:t>
            </a:r>
            <a:endParaRPr lang="en-US" sz="1600" dirty="0">
              <a:solidFill>
                <a:schemeClr val="tx2"/>
              </a:solidFill>
            </a:endParaRPr>
          </a:p>
        </p:txBody>
      </p:sp>
      <p:sp>
        <p:nvSpPr>
          <p:cNvPr id="93" name="Rectangle 82"/>
          <p:cNvSpPr txBox="1">
            <a:spLocks/>
          </p:cNvSpPr>
          <p:nvPr/>
        </p:nvSpPr>
        <p:spPr>
          <a:xfrm>
            <a:off x="3189288" y="1074236"/>
            <a:ext cx="4039092" cy="246221"/>
          </a:xfrm>
          <a:prstGeom prst="rect">
            <a:avLst/>
          </a:prstGeom>
          <a:noFill/>
          <a:ln w="19050">
            <a:noFill/>
            <a:miter lim="800000"/>
            <a:headEnd/>
            <a:tailEnd/>
          </a:ln>
          <a:effectLs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b="1" dirty="0">
                <a:solidFill>
                  <a:schemeClr val="tx2"/>
                </a:solidFill>
              </a:rPr>
              <a:t>Job </a:t>
            </a:r>
            <a:r>
              <a:rPr lang="en-US" sz="1600" b="1" dirty="0" smtClean="0">
                <a:solidFill>
                  <a:schemeClr val="tx2"/>
                </a:solidFill>
              </a:rPr>
              <a:t>creation</a:t>
            </a:r>
            <a:r>
              <a:rPr lang="en-US" sz="1600" b="1" baseline="30000" dirty="0" smtClean="0">
                <a:solidFill>
                  <a:schemeClr val="tx2"/>
                </a:solidFill>
              </a:rPr>
              <a:t>1</a:t>
            </a:r>
            <a:endParaRPr lang="en-US" sz="1600" dirty="0">
              <a:solidFill>
                <a:schemeClr val="tx2"/>
              </a:solidFill>
            </a:endParaRPr>
          </a:p>
        </p:txBody>
      </p:sp>
      <p:sp>
        <p:nvSpPr>
          <p:cNvPr id="125" name="Rectangle 82"/>
          <p:cNvSpPr txBox="1"/>
          <p:nvPr/>
        </p:nvSpPr>
        <p:spPr>
          <a:xfrm>
            <a:off x="365125" y="1426605"/>
            <a:ext cx="3843057"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smtClean="0">
                <a:solidFill>
                  <a:schemeClr val="bg1">
                    <a:lumMod val="50000"/>
                  </a:schemeClr>
                </a:solidFill>
              </a:rPr>
              <a:t>R </a:t>
            </a:r>
            <a:r>
              <a:rPr lang="en-US" sz="1600" dirty="0" err="1" smtClean="0">
                <a:solidFill>
                  <a:schemeClr val="bg1">
                    <a:lumMod val="50000"/>
                  </a:schemeClr>
                </a:solidFill>
              </a:rPr>
              <a:t>bn</a:t>
            </a:r>
            <a:endParaRPr lang="en-US" sz="1600" dirty="0">
              <a:solidFill>
                <a:schemeClr val="bg1">
                  <a:lumMod val="50000"/>
                </a:schemeClr>
              </a:solidFill>
            </a:endParaRPr>
          </a:p>
        </p:txBody>
      </p:sp>
      <p:sp>
        <p:nvSpPr>
          <p:cNvPr id="128" name="Rectangle 82"/>
          <p:cNvSpPr txBox="1"/>
          <p:nvPr/>
        </p:nvSpPr>
        <p:spPr>
          <a:xfrm>
            <a:off x="3268663" y="1426605"/>
            <a:ext cx="3843057"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600" dirty="0" smtClean="0">
                <a:solidFill>
                  <a:schemeClr val="bg1">
                    <a:lumMod val="50000"/>
                  </a:schemeClr>
                </a:solidFill>
              </a:rPr>
              <a:t>000 </a:t>
            </a:r>
            <a:r>
              <a:rPr lang="en-US" sz="1600" dirty="0">
                <a:solidFill>
                  <a:schemeClr val="bg1">
                    <a:lumMod val="50000"/>
                  </a:schemeClr>
                </a:solidFill>
              </a:rPr>
              <a:t>jobs</a:t>
            </a:r>
          </a:p>
        </p:txBody>
      </p:sp>
      <p:sp>
        <p:nvSpPr>
          <p:cNvPr id="27" name="McK 4. Footnote"/>
          <p:cNvSpPr txBox="1">
            <a:spLocks noChangeArrowheads="1"/>
          </p:cNvSpPr>
          <p:nvPr/>
        </p:nvSpPr>
        <p:spPr bwMode="auto">
          <a:xfrm>
            <a:off x="171752" y="5759884"/>
            <a:ext cx="8618237"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104775" indent="-104775" defTabSz="895350" fontAlgn="base">
              <a:spcBef>
                <a:spcPct val="0"/>
              </a:spcBef>
              <a:spcAft>
                <a:spcPct val="0"/>
              </a:spcAft>
              <a:defRPr sz="900">
                <a:solidFill>
                  <a:srgbClr val="000000"/>
                </a:solidFill>
                <a:latin typeface="Arial"/>
              </a:defRPr>
            </a:lvl1pPr>
            <a:lvl2pPr marL="1031875" defTabSz="895350">
              <a:defRPr sz="2400">
                <a:latin typeface="Arial" charset="0"/>
              </a:defRPr>
            </a:lvl2pPr>
            <a:lvl3pPr marL="1217613" defTabSz="895350">
              <a:defRPr sz="2400">
                <a:latin typeface="Arial" charset="0"/>
              </a:defRPr>
            </a:lvl3pPr>
            <a:lvl4pPr marL="1404938" defTabSz="895350">
              <a:defRPr sz="2400">
                <a:latin typeface="Arial" charset="0"/>
              </a:defRPr>
            </a:lvl4pPr>
            <a:lvl5pPr marL="1792288" defTabSz="895350">
              <a:defRPr sz="2400">
                <a:latin typeface="Arial" charset="0"/>
              </a:defRPr>
            </a:lvl5pPr>
            <a:lvl6pPr marL="2249488" defTabSz="895350" fontAlgn="base">
              <a:spcBef>
                <a:spcPct val="0"/>
              </a:spcBef>
              <a:spcAft>
                <a:spcPct val="0"/>
              </a:spcAft>
              <a:defRPr sz="2400">
                <a:latin typeface="Arial" charset="0"/>
              </a:defRPr>
            </a:lvl6pPr>
            <a:lvl7pPr marL="2706688" defTabSz="895350" fontAlgn="base">
              <a:spcBef>
                <a:spcPct val="0"/>
              </a:spcBef>
              <a:spcAft>
                <a:spcPct val="0"/>
              </a:spcAft>
              <a:defRPr sz="2400">
                <a:latin typeface="Arial" charset="0"/>
              </a:defRPr>
            </a:lvl7pPr>
            <a:lvl8pPr marL="3163888" defTabSz="895350" fontAlgn="base">
              <a:spcBef>
                <a:spcPct val="0"/>
              </a:spcBef>
              <a:spcAft>
                <a:spcPct val="0"/>
              </a:spcAft>
              <a:defRPr sz="2400">
                <a:latin typeface="Arial" charset="0"/>
              </a:defRPr>
            </a:lvl8pPr>
            <a:lvl9pPr marL="3621088" defTabSz="895350" fontAlgn="base">
              <a:spcBef>
                <a:spcPct val="0"/>
              </a:spcBef>
              <a:spcAft>
                <a:spcPct val="0"/>
              </a:spcAft>
              <a:defRPr sz="2400">
                <a:latin typeface="Arial" charset="0"/>
              </a:defRPr>
            </a:lvl9pPr>
          </a:lstStyle>
          <a:p>
            <a:r>
              <a:rPr lang="en-US" dirty="0"/>
              <a:t>1 The estimations are from an economic model developed in the lab. In view of the limited baseline data, ratios were established based on total tourism sector contribution and assumptions were made which may require refinement post </a:t>
            </a:r>
            <a:r>
              <a:rPr lang="en-US" dirty="0" smtClean="0"/>
              <a:t>lab. The </a:t>
            </a:r>
            <a:r>
              <a:rPr lang="en-US" b="1" dirty="0"/>
              <a:t>real growth </a:t>
            </a:r>
            <a:r>
              <a:rPr lang="en-US" dirty="0"/>
              <a:t>of the coastal and marine sector is</a:t>
            </a:r>
            <a:r>
              <a:rPr lang="en-US" b="1" dirty="0"/>
              <a:t> 4%. </a:t>
            </a:r>
            <a:r>
              <a:rPr lang="en-US" dirty="0"/>
              <a:t>This </a:t>
            </a:r>
            <a:r>
              <a:rPr lang="en-US" dirty="0" smtClean="0"/>
              <a:t>nominal growth </a:t>
            </a:r>
            <a:r>
              <a:rPr lang="en-US" dirty="0"/>
              <a:t>illustrates growth including 5% inflation </a:t>
            </a:r>
            <a:r>
              <a:rPr lang="en-US" dirty="0" smtClean="0"/>
              <a:t>rate. GDP contribution is both </a:t>
            </a:r>
            <a:r>
              <a:rPr lang="en-US" b="1" dirty="0" smtClean="0"/>
              <a:t>direct</a:t>
            </a:r>
            <a:r>
              <a:rPr lang="en-US" dirty="0" smtClean="0"/>
              <a:t> and </a:t>
            </a:r>
            <a:r>
              <a:rPr lang="en-US" b="1" dirty="0" smtClean="0"/>
              <a:t>indirect</a:t>
            </a:r>
            <a:r>
              <a:rPr lang="en-US" dirty="0" smtClean="0"/>
              <a:t> contribution</a:t>
            </a:r>
            <a:endParaRPr lang="en-US" dirty="0"/>
          </a:p>
        </p:txBody>
      </p:sp>
      <p:graphicFrame>
        <p:nvGraphicFramePr>
          <p:cNvPr id="30" name="Object 29"/>
          <p:cNvGraphicFramePr>
            <a:graphicFrameLocks/>
          </p:cNvGraphicFramePr>
          <p:nvPr>
            <p:custDataLst>
              <p:tags r:id="rId12"/>
            </p:custDataLst>
            <p:extLst/>
          </p:nvPr>
        </p:nvGraphicFramePr>
        <p:xfrm>
          <a:off x="3086100" y="2705100"/>
          <a:ext cx="2445821" cy="2644023"/>
        </p:xfrm>
        <a:graphic>
          <a:graphicData uri="http://schemas.openxmlformats.org/presentationml/2006/ole">
            <mc:AlternateContent xmlns:mc="http://schemas.openxmlformats.org/markup-compatibility/2006">
              <mc:Choice xmlns:v="urn:schemas-microsoft-com:vml" Requires="v">
                <p:oleObj spid="_x0000_s118821" name="Chart" r:id="rId27" imgW="2447824" imgH="2648048" progId="MSGraph.Chart.8">
                  <p:embed followColorScheme="full"/>
                </p:oleObj>
              </mc:Choice>
              <mc:Fallback>
                <p:oleObj name="Chart" r:id="rId27" imgW="2447824" imgH="2648048" progId="MSGraph.Chart.8">
                  <p:embed followColorScheme="full"/>
                  <p:pic>
                    <p:nvPicPr>
                      <p:cNvPr id="0" name=""/>
                      <p:cNvPicPr/>
                      <p:nvPr/>
                    </p:nvPicPr>
                    <p:blipFill>
                      <a:blip r:embed="rId28"/>
                      <a:stretch>
                        <a:fillRect/>
                      </a:stretch>
                    </p:blipFill>
                    <p:spPr>
                      <a:xfrm>
                        <a:off x="3086100" y="2705100"/>
                        <a:ext cx="2445821" cy="2644023"/>
                      </a:xfrm>
                      <a:prstGeom prst="rect">
                        <a:avLst/>
                      </a:prstGeom>
                    </p:spPr>
                  </p:pic>
                </p:oleObj>
              </mc:Fallback>
            </mc:AlternateContent>
          </a:graphicData>
        </a:graphic>
      </p:graphicFrame>
      <p:cxnSp>
        <p:nvCxnSpPr>
          <p:cNvPr id="10" name="Straight Connector 9"/>
          <p:cNvCxnSpPr/>
          <p:nvPr>
            <p:custDataLst>
              <p:tags r:id="rId13"/>
            </p:custDataLst>
          </p:nvPr>
        </p:nvCxnSpPr>
        <p:spPr bwMode="gray">
          <a:xfrm flipV="1">
            <a:off x="3752850" y="1744663"/>
            <a:ext cx="1114425" cy="1081088"/>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9" name="Oval 38"/>
          <p:cNvSpPr>
            <a:spLocks noGrp="1" noChangeArrowheads="1"/>
          </p:cNvSpPr>
          <p:nvPr>
            <p:custDataLst>
              <p:tags r:id="rId14"/>
            </p:custDataLst>
          </p:nvPr>
        </p:nvSpPr>
        <p:spPr bwMode="gray">
          <a:xfrm>
            <a:off x="3689350" y="2128838"/>
            <a:ext cx="1243013" cy="311150"/>
          </a:xfrm>
          <a:prstGeom prst="ellipse">
            <a:avLst/>
          </a:prstGeom>
          <a:solidFill>
            <a:schemeClr val="tx2"/>
          </a:solidFill>
          <a:ln w="9525">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accent4"/>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accent4"/>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accent4"/>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accent4"/>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AD86EC76-3A4A-439A-BDE2-6A2B2BAFC6A0}" type="datetime'''''''''''''''''''''''''''''''''''''+''4''%'''''''''''''">
              <a:rPr lang="en-US" b="1">
                <a:solidFill>
                  <a:schemeClr val="bg1"/>
                </a:solidFill>
                <a:ea typeface="Arial Unicode MS" panose="020B0604020202020204" pitchFamily="34" charset="-128"/>
                <a:cs typeface="Arial Unicode MS" panose="020B0604020202020204" pitchFamily="34" charset="-128"/>
              </a:rPr>
              <a:pPr/>
              <a:t>+4%</a:t>
            </a:fld>
            <a:r>
              <a:rPr lang="en-US" b="1" smtClean="0">
                <a:solidFill>
                  <a:schemeClr val="bg1"/>
                </a:solidFill>
                <a:ea typeface="Arial Unicode MS" panose="020B0604020202020204" pitchFamily="34" charset="-128"/>
                <a:cs typeface="Arial Unicode MS" panose="020B0604020202020204" pitchFamily="34" charset="-128"/>
              </a:rPr>
              <a:t> </a:t>
            </a:r>
            <a:r>
              <a:rPr lang="en-US" b="1" dirty="0" smtClean="0">
                <a:solidFill>
                  <a:schemeClr val="bg1"/>
                </a:solidFill>
                <a:ea typeface="Arial Unicode MS" panose="020B0604020202020204" pitchFamily="34" charset="-128"/>
                <a:cs typeface="Arial Unicode MS" panose="020B0604020202020204" pitchFamily="34" charset="-128"/>
              </a:rPr>
              <a:t>p.a.</a:t>
            </a:r>
            <a:r>
              <a:rPr lang="en-ZA" b="1" noProof="0" dirty="0" smtClean="0">
                <a:solidFill>
                  <a:schemeClr val="bg1"/>
                </a:solidFill>
                <a:latin typeface="Arial"/>
                <a:ea typeface="Arial Unicode MS"/>
                <a:cs typeface="Arial Unicode MS"/>
                <a:sym typeface="Arial"/>
              </a:rPr>
              <a:t> </a:t>
            </a:r>
          </a:p>
        </p:txBody>
      </p:sp>
      <p:sp>
        <p:nvSpPr>
          <p:cNvPr id="34" name="Rectangle 33"/>
          <p:cNvSpPr>
            <a:spLocks noGrp="1" noChangeArrowheads="1"/>
          </p:cNvSpPr>
          <p:nvPr>
            <p:custDataLst>
              <p:tags r:id="rId15"/>
            </p:custDataLst>
          </p:nvPr>
        </p:nvSpPr>
        <p:spPr bwMode="auto">
          <a:xfrm>
            <a:off x="4635500" y="5437188"/>
            <a:ext cx="46355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F229227-54EB-4546-9F5F-A46321D4525B}" type="datetime'''''20''''3''''''''''''''''''''''''''''''''0'">
              <a:rPr lang="en-US"/>
              <a:pPr/>
              <a:t>2030</a:t>
            </a:fld>
            <a:endParaRPr lang="en-US" noProof="0" dirty="0" smtClean="0">
              <a:latin typeface="Arial"/>
              <a:ea typeface="Arial Unicode MS"/>
              <a:cs typeface="Arial Unicode MS"/>
              <a:sym typeface="Arial"/>
            </a:endParaRPr>
          </a:p>
        </p:txBody>
      </p:sp>
      <p:sp>
        <p:nvSpPr>
          <p:cNvPr id="49" name="Text Placeholder 6"/>
          <p:cNvSpPr>
            <a:spLocks noGrp="1"/>
          </p:cNvSpPr>
          <p:nvPr>
            <p:custDataLst>
              <p:tags r:id="rId16"/>
            </p:custDataLst>
          </p:nvPr>
        </p:nvSpPr>
        <p:spPr bwMode="gray">
          <a:xfrm>
            <a:off x="3530600" y="3622675"/>
            <a:ext cx="446088"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6E5A7B9-1B59-435E-98C0-5834033DFCF6}" type="datetime'''''''''6''''''4'''''''''''',''''''''''''''''''''''''''''4'''">
              <a:rPr lang="en-US" b="1">
                <a:ea typeface="Arial Unicode MS" panose="020B0604020202020204" pitchFamily="34" charset="-128"/>
                <a:cs typeface="Arial Unicode MS" panose="020B0604020202020204" pitchFamily="34" charset="-128"/>
              </a:rPr>
              <a:pPr/>
              <a:t>64,4</a:t>
            </a:fld>
            <a:endParaRPr lang="en-US" b="1" dirty="0">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40" name="Rectangle 39"/>
          <p:cNvSpPr>
            <a:spLocks noGrp="1" noChangeArrowheads="1"/>
          </p:cNvSpPr>
          <p:nvPr>
            <p:custDataLst>
              <p:tags r:id="rId17"/>
            </p:custDataLst>
          </p:nvPr>
        </p:nvSpPr>
        <p:spPr bwMode="gray">
          <a:xfrm>
            <a:off x="4594225" y="2541588"/>
            <a:ext cx="547688"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accent4"/>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accent4"/>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accent4"/>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accent4"/>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A7E97750-6233-448D-AF91-AAE13CE15C80}" type="datetime'''''1''''''''''1''''''''''''''''6'''',''''''''''''0'''''''">
              <a:rPr lang="en-US" b="1" smtClean="0">
                <a:ea typeface="Arial Unicode MS" panose="020B0604020202020204" pitchFamily="34" charset="-128"/>
                <a:cs typeface="Arial Unicode MS" panose="020B0604020202020204" pitchFamily="34" charset="-128"/>
              </a:rPr>
              <a:pPr/>
              <a:t>116,0</a:t>
            </a:fld>
            <a:endParaRPr lang="en-ZA" b="1" noProof="0" dirty="0" smtClean="0">
              <a:latin typeface="Arial"/>
              <a:ea typeface="Arial Unicode MS"/>
              <a:cs typeface="Arial Unicode MS"/>
              <a:sym typeface="Arial"/>
            </a:endParaRPr>
          </a:p>
        </p:txBody>
      </p:sp>
      <p:sp>
        <p:nvSpPr>
          <p:cNvPr id="35" name="Rectangle 34"/>
          <p:cNvSpPr>
            <a:spLocks noGrp="1" noChangeArrowheads="1"/>
          </p:cNvSpPr>
          <p:nvPr>
            <p:custDataLst>
              <p:tags r:id="rId18"/>
            </p:custDataLst>
          </p:nvPr>
        </p:nvSpPr>
        <p:spPr bwMode="auto">
          <a:xfrm>
            <a:off x="3521075" y="5437188"/>
            <a:ext cx="463550"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0C70C0E-5B74-458B-B749-B918BBDAA2C8}" type="datetime'''2''''''0''''1''''''''''''''''''''5'''''''''''''''''''''''''">
              <a:rPr lang="en-US"/>
              <a:pPr/>
              <a:t>2015</a:t>
            </a:fld>
            <a:endParaRPr lang="en-US" noProof="0" dirty="0" smtClean="0">
              <a:latin typeface="Arial"/>
              <a:ea typeface="Arial Unicode MS"/>
              <a:cs typeface="Arial Unicode MS"/>
              <a:sym typeface="Arial"/>
            </a:endParaRPr>
          </a:p>
        </p:txBody>
      </p:sp>
      <p:cxnSp>
        <p:nvCxnSpPr>
          <p:cNvPr id="6" name="Straight Connector 5"/>
          <p:cNvCxnSpPr/>
          <p:nvPr/>
        </p:nvCxnSpPr>
        <p:spPr>
          <a:xfrm flipH="1">
            <a:off x="2817528" y="1391302"/>
            <a:ext cx="46832" cy="4279248"/>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pic>
        <p:nvPicPr>
          <p:cNvPr id="36" name="Picture 4" descr="ZZY957_Client Comms_PPT template02"/>
          <p:cNvPicPr>
            <a:picLocks noChangeAspect="1" noChangeArrowheads="1"/>
          </p:cNvPicPr>
          <p:nvPr/>
        </p:nvPicPr>
        <p:blipFill>
          <a:blip r:embed="rId29"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5623829" y="3335338"/>
            <a:ext cx="3337609" cy="2608262"/>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14"/>
          <p:cNvSpPr txBox="1">
            <a:spLocks/>
          </p:cNvSpPr>
          <p:nvPr/>
        </p:nvSpPr>
        <p:spPr>
          <a:xfrm>
            <a:off x="5903023" y="1461058"/>
            <a:ext cx="2886965" cy="430887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600" dirty="0"/>
              <a:t>GDP contribution is calculated from </a:t>
            </a:r>
            <a:r>
              <a:rPr lang="en-US" sz="1600" dirty="0" smtClean="0"/>
              <a:t>ratios established from the total </a:t>
            </a:r>
            <a:r>
              <a:rPr lang="en-US" sz="1600" dirty="0"/>
              <a:t>sector output, or total revenue, using a ratio of GDP to output </a:t>
            </a:r>
            <a:endParaRPr lang="en-US" sz="1600" dirty="0" smtClean="0"/>
          </a:p>
          <a:p>
            <a:pPr lvl="1">
              <a:spcBef>
                <a:spcPct val="50000"/>
              </a:spcBef>
            </a:pPr>
            <a:r>
              <a:rPr lang="en-US" sz="1600" dirty="0" smtClean="0"/>
              <a:t>Job </a:t>
            </a:r>
            <a:r>
              <a:rPr lang="en-US" sz="1600" dirty="0"/>
              <a:t>creation (in number of jobs) is estimated by using </a:t>
            </a:r>
            <a:r>
              <a:rPr lang="en-US" sz="1600" dirty="0" smtClean="0"/>
              <a:t>ratios of average </a:t>
            </a:r>
            <a:r>
              <a:rPr lang="en-US" sz="1600" dirty="0"/>
              <a:t>compensation </a:t>
            </a:r>
            <a:r>
              <a:rPr lang="en-US" sz="1600" dirty="0" smtClean="0"/>
              <a:t>of employees </a:t>
            </a:r>
            <a:r>
              <a:rPr lang="en-US" sz="1600" dirty="0"/>
              <a:t>in the </a:t>
            </a:r>
            <a:r>
              <a:rPr lang="en-US" sz="1600" dirty="0" smtClean="0"/>
              <a:t>tourism </a:t>
            </a:r>
            <a:r>
              <a:rPr lang="en-US" sz="1600" dirty="0"/>
              <a:t>sectors and dividing it into job creation </a:t>
            </a:r>
            <a:r>
              <a:rPr lang="en-US" sz="1600" dirty="0" smtClean="0"/>
              <a:t>which </a:t>
            </a:r>
            <a:r>
              <a:rPr lang="en-US" sz="1600" dirty="0"/>
              <a:t>is calculated from the sector output, or total revenue, using a ration of compensation of employees to </a:t>
            </a:r>
            <a:r>
              <a:rPr lang="en-US" sz="1600" dirty="0" smtClean="0"/>
              <a:t>output</a:t>
            </a:r>
            <a:endParaRPr lang="en-US" sz="1600" dirty="0"/>
          </a:p>
        </p:txBody>
      </p:sp>
      <p:sp>
        <p:nvSpPr>
          <p:cNvPr id="38" name="TextBox 37"/>
          <p:cNvSpPr txBox="1">
            <a:spLocks/>
          </p:cNvSpPr>
          <p:nvPr/>
        </p:nvSpPr>
        <p:spPr>
          <a:xfrm>
            <a:off x="5942504" y="972048"/>
            <a:ext cx="3152285"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tx2"/>
                </a:solidFill>
              </a:rPr>
              <a:t>Key assumptions</a:t>
            </a:r>
            <a:endParaRPr lang="en-US" b="1" dirty="0">
              <a:solidFill>
                <a:schemeClr val="tx2"/>
              </a:solidFill>
            </a:endParaRPr>
          </a:p>
        </p:txBody>
      </p:sp>
      <p:grpSp>
        <p:nvGrpSpPr>
          <p:cNvPr id="41" name="Group 40"/>
          <p:cNvGrpSpPr/>
          <p:nvPr/>
        </p:nvGrpSpPr>
        <p:grpSpPr>
          <a:xfrm>
            <a:off x="5321878" y="1144108"/>
            <a:ext cx="296548" cy="296548"/>
            <a:chOff x="5039844" y="1003767"/>
            <a:chExt cx="435864" cy="435864"/>
          </a:xfrm>
        </p:grpSpPr>
        <p:sp>
          <p:nvSpPr>
            <p:cNvPr id="42" name="Oval 41"/>
            <p:cNvSpPr/>
            <p:nvPr/>
          </p:nvSpPr>
          <p:spPr>
            <a:xfrm>
              <a:off x="5039844" y="1003767"/>
              <a:ext cx="435864" cy="435864"/>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smtClean="0">
                <a:solidFill>
                  <a:schemeClr val="tx1"/>
                </a:solidFill>
              </a:endParaRPr>
            </a:p>
          </p:txBody>
        </p:sp>
        <p:grpSp>
          <p:nvGrpSpPr>
            <p:cNvPr id="43" name="Group 42"/>
            <p:cNvGrpSpPr/>
            <p:nvPr/>
          </p:nvGrpSpPr>
          <p:grpSpPr>
            <a:xfrm>
              <a:off x="5101407" y="1091356"/>
              <a:ext cx="312739" cy="260687"/>
              <a:chOff x="5135880" y="1150276"/>
              <a:chExt cx="312739" cy="226788"/>
            </a:xfrm>
            <a:solidFill>
              <a:schemeClr val="bg1"/>
            </a:solidFill>
          </p:grpSpPr>
          <p:sp>
            <p:nvSpPr>
              <p:cNvPr id="44" name="Chevron 43"/>
              <p:cNvSpPr/>
              <p:nvPr/>
            </p:nvSpPr>
            <p:spPr>
              <a:xfrm>
                <a:off x="5135880" y="1186221"/>
                <a:ext cx="154899" cy="154899"/>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smtClean="0">
                  <a:solidFill>
                    <a:schemeClr val="tx1"/>
                  </a:solidFill>
                </a:endParaRPr>
              </a:p>
            </p:txBody>
          </p:sp>
          <p:sp>
            <p:nvSpPr>
              <p:cNvPr id="45" name="Chevron 44"/>
              <p:cNvSpPr/>
              <p:nvPr/>
            </p:nvSpPr>
            <p:spPr>
              <a:xfrm>
                <a:off x="5221831" y="1150276"/>
                <a:ext cx="226788" cy="226788"/>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smtClean="0">
                  <a:solidFill>
                    <a:schemeClr val="tx1"/>
                  </a:solidFill>
                </a:endParaRPr>
              </a:p>
            </p:txBody>
          </p:sp>
        </p:grpSp>
      </p:grpSp>
      <p:cxnSp>
        <p:nvCxnSpPr>
          <p:cNvPr id="46" name="Straight Connector 45"/>
          <p:cNvCxnSpPr/>
          <p:nvPr/>
        </p:nvCxnSpPr>
        <p:spPr>
          <a:xfrm>
            <a:off x="5470152" y="1455930"/>
            <a:ext cx="0" cy="448767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423848594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21" name="think-cell Slide" r:id="rId7" imgW="353" imgH="353" progId="TCLayout.ActiveDocument.1">
                  <p:embed/>
                </p:oleObj>
              </mc:Choice>
              <mc:Fallback>
                <p:oleObj name="think-cell Slide" r:id="rId7" imgW="353" imgH="353"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1451" y="230188"/>
            <a:ext cx="8131201"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The lab aspires for South Africa to be ranked amongst the top 20 destinations globally, and to grow up to </a:t>
            </a:r>
            <a:r>
              <a:rPr lang="en-US" dirty="0" smtClean="0"/>
              <a:t>9% </a:t>
            </a:r>
            <a:r>
              <a:rPr lang="en-US" dirty="0"/>
              <a:t>annually</a:t>
            </a:r>
          </a:p>
        </p:txBody>
      </p:sp>
      <p:sp>
        <p:nvSpPr>
          <p:cNvPr id="45" name="Rectangle 44"/>
          <p:cNvSpPr>
            <a:spLocks/>
          </p:cNvSpPr>
          <p:nvPr/>
        </p:nvSpPr>
        <p:spPr>
          <a:xfrm>
            <a:off x="658786" y="1302401"/>
            <a:ext cx="7643867" cy="4479563"/>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
        <p:nvSpPr>
          <p:cNvPr id="11" name="TextBox 10"/>
          <p:cNvSpPr txBox="1">
            <a:spLocks/>
          </p:cNvSpPr>
          <p:nvPr/>
        </p:nvSpPr>
        <p:spPr>
          <a:xfrm>
            <a:off x="745107" y="2727971"/>
            <a:ext cx="1257020" cy="2970865"/>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1600" b="1">
                <a:solidFill>
                  <a:schemeClr val="tx2"/>
                </a:solidFill>
              </a:rPr>
              <a:t>Objectives</a:t>
            </a:r>
            <a:endParaRPr lang="en-US" sz="1600" b="1" dirty="0">
              <a:solidFill>
                <a:schemeClr val="tx2"/>
              </a:solidFill>
            </a:endParaRPr>
          </a:p>
        </p:txBody>
      </p:sp>
      <p:sp>
        <p:nvSpPr>
          <p:cNvPr id="10" name="TextBox 9"/>
          <p:cNvSpPr txBox="1">
            <a:spLocks/>
          </p:cNvSpPr>
          <p:nvPr/>
        </p:nvSpPr>
        <p:spPr>
          <a:xfrm>
            <a:off x="745107" y="1399633"/>
            <a:ext cx="1257020" cy="1231106"/>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9" tIns="72009" rIns="72009" bIns="72009" numCol="1" anchor="ctr"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1600" b="1" dirty="0">
                <a:solidFill>
                  <a:schemeClr val="tx2"/>
                </a:solidFill>
              </a:rPr>
              <a:t>Aspiration</a:t>
            </a:r>
          </a:p>
        </p:txBody>
      </p:sp>
      <p:sp>
        <p:nvSpPr>
          <p:cNvPr id="16" name="TextBox 15"/>
          <p:cNvSpPr txBox="1">
            <a:spLocks/>
          </p:cNvSpPr>
          <p:nvPr/>
        </p:nvSpPr>
        <p:spPr>
          <a:xfrm>
            <a:off x="2122619" y="1399633"/>
            <a:ext cx="6093713"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B4623"/>
              </a:buClr>
            </a:pPr>
            <a:r>
              <a:rPr lang="en-US" sz="1600" dirty="0">
                <a:solidFill>
                  <a:srgbClr val="000000"/>
                </a:solidFill>
                <a:cs typeface="Arial" panose="020B0604020202020204" pitchFamily="34" charset="0"/>
              </a:rPr>
              <a:t>To deliver by 2030 a uniquely South African, world class coastal and marine experience where South Africa is ranked within the top 20 tourism </a:t>
            </a:r>
            <a:r>
              <a:rPr lang="en-US" sz="1600" dirty="0" smtClean="0">
                <a:solidFill>
                  <a:srgbClr val="000000"/>
                </a:solidFill>
                <a:cs typeface="Arial" panose="020B0604020202020204" pitchFamily="34" charset="0"/>
              </a:rPr>
              <a:t>destinations, </a:t>
            </a:r>
            <a:r>
              <a:rPr lang="en-US" sz="1600" dirty="0">
                <a:solidFill>
                  <a:srgbClr val="000000"/>
                </a:solidFill>
                <a:cs typeface="Arial" panose="020B0604020202020204" pitchFamily="34" charset="0"/>
              </a:rPr>
              <a:t>showing a </a:t>
            </a:r>
            <a:r>
              <a:rPr lang="en-US" sz="1600" dirty="0" smtClean="0">
                <a:solidFill>
                  <a:srgbClr val="000000"/>
                </a:solidFill>
                <a:cs typeface="Arial" panose="020B0604020202020204" pitchFamily="34" charset="0"/>
              </a:rPr>
              <a:t>9</a:t>
            </a:r>
            <a:r>
              <a:rPr lang="en-US" sz="1600" dirty="0" smtClean="0">
                <a:cs typeface="Arial" panose="020B0604020202020204" pitchFamily="34" charset="0"/>
              </a:rPr>
              <a:t>%</a:t>
            </a:r>
            <a:r>
              <a:rPr lang="en-US" sz="1600" baseline="30000" dirty="0" smtClean="0">
                <a:cs typeface="Arial" panose="020B0604020202020204" pitchFamily="34" charset="0"/>
              </a:rPr>
              <a:t>1</a:t>
            </a:r>
            <a:r>
              <a:rPr lang="en-US" sz="1600" dirty="0" smtClean="0">
                <a:cs typeface="Arial" panose="020B0604020202020204" pitchFamily="34" charset="0"/>
              </a:rPr>
              <a:t> </a:t>
            </a:r>
            <a:r>
              <a:rPr lang="en-US" sz="1600" dirty="0" smtClean="0">
                <a:solidFill>
                  <a:srgbClr val="000000"/>
                </a:solidFill>
                <a:cs typeface="Arial" panose="020B0604020202020204" pitchFamily="34" charset="0"/>
              </a:rPr>
              <a:t>growth </a:t>
            </a:r>
            <a:r>
              <a:rPr lang="en-US" sz="1600" dirty="0">
                <a:solidFill>
                  <a:srgbClr val="000000"/>
                </a:solidFill>
                <a:cs typeface="Arial" panose="020B0604020202020204" pitchFamily="34" charset="0"/>
              </a:rPr>
              <a:t>rate p.a. contributing to an inclusive and sustainable tourism economy</a:t>
            </a:r>
          </a:p>
        </p:txBody>
      </p:sp>
      <p:sp>
        <p:nvSpPr>
          <p:cNvPr id="18" name="TextBox 17"/>
          <p:cNvSpPr txBox="1">
            <a:spLocks/>
          </p:cNvSpPr>
          <p:nvPr/>
        </p:nvSpPr>
        <p:spPr>
          <a:xfrm>
            <a:off x="2446170" y="3880861"/>
            <a:ext cx="172796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1600" dirty="0">
                <a:solidFill>
                  <a:srgbClr val="000000"/>
                </a:solidFill>
              </a:rPr>
              <a:t>Transformation</a:t>
            </a:r>
          </a:p>
        </p:txBody>
      </p:sp>
      <p:sp>
        <p:nvSpPr>
          <p:cNvPr id="23" name="TextBox 22"/>
          <p:cNvSpPr txBox="1"/>
          <p:nvPr/>
        </p:nvSpPr>
        <p:spPr>
          <a:xfrm>
            <a:off x="4174136" y="3880861"/>
            <a:ext cx="4042196" cy="8125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B4623"/>
              </a:buClr>
            </a:pPr>
            <a:r>
              <a:rPr lang="en-US" sz="1600" dirty="0" smtClean="0">
                <a:solidFill>
                  <a:srgbClr val="000000"/>
                </a:solidFill>
              </a:rPr>
              <a:t>Create employment for a skilled and capable workforce </a:t>
            </a:r>
            <a:endParaRPr lang="en-US" dirty="0">
              <a:solidFill>
                <a:srgbClr val="000000"/>
              </a:solidFill>
            </a:endParaRPr>
          </a:p>
          <a:p>
            <a:pPr lvl="1">
              <a:spcBef>
                <a:spcPct val="30000"/>
              </a:spcBef>
              <a:buClr>
                <a:srgbClr val="0B4623"/>
              </a:buClr>
            </a:pPr>
            <a:r>
              <a:rPr lang="en-US" sz="1600" dirty="0" smtClean="0">
                <a:solidFill>
                  <a:srgbClr val="000000"/>
                </a:solidFill>
              </a:rPr>
              <a:t>Increase </a:t>
            </a:r>
            <a:r>
              <a:rPr lang="en-US" sz="1600" dirty="0" err="1" smtClean="0">
                <a:solidFill>
                  <a:srgbClr val="000000"/>
                </a:solidFill>
              </a:rPr>
              <a:t>HDI</a:t>
            </a:r>
            <a:r>
              <a:rPr lang="en-US" sz="1600" dirty="0" smtClean="0">
                <a:solidFill>
                  <a:srgbClr val="000000"/>
                </a:solidFill>
              </a:rPr>
              <a:t> participation and ownership</a:t>
            </a:r>
          </a:p>
        </p:txBody>
      </p:sp>
      <p:sp>
        <p:nvSpPr>
          <p:cNvPr id="26" name="Oval 24"/>
          <p:cNvSpPr txBox="1">
            <a:spLocks/>
          </p:cNvSpPr>
          <p:nvPr>
            <p:custDataLst>
              <p:tags r:id="rId3"/>
            </p:custDataLst>
          </p:nvPr>
        </p:nvSpPr>
        <p:spPr>
          <a:xfrm>
            <a:off x="2122619" y="3880861"/>
            <a:ext cx="262077" cy="261369"/>
          </a:xfrm>
          <a:prstGeom prst="ellipse">
            <a:avLst/>
          </a:prstGeom>
          <a:solidFill>
            <a:schemeClr val="accent3"/>
          </a:solidFill>
          <a:ln w="9525">
            <a:noFill/>
            <a:miter lim="800000"/>
            <a:headEnd/>
            <a:tailEnd/>
          </a:ln>
          <a:effectLst/>
          <a:ex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B4623"/>
              </a:buClr>
            </a:pPr>
            <a:r>
              <a:rPr lang="en-US" sz="1600" dirty="0" smtClean="0">
                <a:solidFill>
                  <a:schemeClr val="bg1"/>
                </a:solidFill>
              </a:rPr>
              <a:t>2</a:t>
            </a:r>
            <a:endParaRPr lang="en-US" sz="1600" dirty="0">
              <a:solidFill>
                <a:schemeClr val="bg1"/>
              </a:solidFill>
            </a:endParaRPr>
          </a:p>
        </p:txBody>
      </p:sp>
      <p:sp>
        <p:nvSpPr>
          <p:cNvPr id="17" name="TextBox 16"/>
          <p:cNvSpPr txBox="1">
            <a:spLocks/>
          </p:cNvSpPr>
          <p:nvPr/>
        </p:nvSpPr>
        <p:spPr>
          <a:xfrm>
            <a:off x="2446170" y="2695183"/>
            <a:ext cx="172796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1600" dirty="0">
                <a:solidFill>
                  <a:srgbClr val="000000"/>
                </a:solidFill>
              </a:rPr>
              <a:t>Economic growth</a:t>
            </a:r>
          </a:p>
        </p:txBody>
      </p:sp>
      <p:sp>
        <p:nvSpPr>
          <p:cNvPr id="20" name="TextBox 19"/>
          <p:cNvSpPr txBox="1"/>
          <p:nvPr/>
        </p:nvSpPr>
        <p:spPr>
          <a:xfrm>
            <a:off x="4174136" y="2695183"/>
            <a:ext cx="4042196" cy="10587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rgbClr val="0B4623"/>
              </a:buClr>
            </a:pPr>
            <a:r>
              <a:rPr lang="en-US" sz="1600" dirty="0" smtClean="0"/>
              <a:t>GDP growth of 9%</a:t>
            </a:r>
            <a:r>
              <a:rPr lang="en-US" sz="1600" baseline="30000" dirty="0" smtClean="0"/>
              <a:t>1</a:t>
            </a:r>
            <a:r>
              <a:rPr lang="en-US" sz="1600" dirty="0" smtClean="0"/>
              <a:t> </a:t>
            </a:r>
            <a:r>
              <a:rPr lang="en-US" dirty="0"/>
              <a:t>from R11.9 billion to R43.3 billion</a:t>
            </a:r>
            <a:endParaRPr lang="en-US" sz="1600" dirty="0" smtClean="0"/>
          </a:p>
          <a:p>
            <a:pPr lvl="1" fontAlgn="base">
              <a:spcBef>
                <a:spcPct val="30000"/>
              </a:spcBef>
              <a:spcAft>
                <a:spcPct val="0"/>
              </a:spcAft>
              <a:buClr>
                <a:srgbClr val="0B4623"/>
              </a:buClr>
            </a:pPr>
            <a:r>
              <a:rPr lang="en-US" sz="1600" dirty="0" smtClean="0">
                <a:solidFill>
                  <a:srgbClr val="000000"/>
                </a:solidFill>
              </a:rPr>
              <a:t>Increase </a:t>
            </a:r>
            <a:r>
              <a:rPr lang="en-US" dirty="0" smtClean="0">
                <a:solidFill>
                  <a:srgbClr val="000000"/>
                </a:solidFill>
              </a:rPr>
              <a:t>jobs by 52,000</a:t>
            </a:r>
            <a:r>
              <a:rPr lang="en-US" sz="1600" dirty="0" smtClean="0">
                <a:solidFill>
                  <a:srgbClr val="000000"/>
                </a:solidFill>
              </a:rPr>
              <a:t> </a:t>
            </a:r>
            <a:r>
              <a:rPr lang="en-US" dirty="0" smtClean="0">
                <a:solidFill>
                  <a:srgbClr val="000000"/>
                </a:solidFill>
              </a:rPr>
              <a:t>from 64,000 </a:t>
            </a:r>
            <a:r>
              <a:rPr lang="en-US" sz="1600" dirty="0" smtClean="0">
                <a:solidFill>
                  <a:srgbClr val="000000"/>
                </a:solidFill>
              </a:rPr>
              <a:t>to 116,000</a:t>
            </a:r>
            <a:endParaRPr lang="en-US" sz="1600" dirty="0">
              <a:solidFill>
                <a:srgbClr val="000000"/>
              </a:solidFill>
            </a:endParaRPr>
          </a:p>
        </p:txBody>
      </p:sp>
      <p:sp>
        <p:nvSpPr>
          <p:cNvPr id="25" name="Oval 24"/>
          <p:cNvSpPr txBox="1">
            <a:spLocks/>
          </p:cNvSpPr>
          <p:nvPr>
            <p:custDataLst>
              <p:tags r:id="rId4"/>
            </p:custDataLst>
          </p:nvPr>
        </p:nvSpPr>
        <p:spPr>
          <a:xfrm>
            <a:off x="2122619" y="2695183"/>
            <a:ext cx="262077" cy="261369"/>
          </a:xfrm>
          <a:prstGeom prst="ellipse">
            <a:avLst/>
          </a:prstGeom>
          <a:solidFill>
            <a:schemeClr val="accent3"/>
          </a:solidFill>
          <a:ln w="9525">
            <a:noFill/>
            <a:miter lim="800000"/>
            <a:headEnd/>
            <a:tailEnd/>
          </a:ln>
          <a:effectLst/>
          <a:ex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B4623"/>
              </a:buClr>
            </a:pPr>
            <a:r>
              <a:rPr lang="en-US" sz="1600" dirty="0" smtClean="0">
                <a:solidFill>
                  <a:schemeClr val="bg1"/>
                </a:solidFill>
              </a:rPr>
              <a:t>1</a:t>
            </a:r>
            <a:endParaRPr lang="en-US" sz="1600" dirty="0">
              <a:solidFill>
                <a:schemeClr val="bg1"/>
              </a:solidFill>
            </a:endParaRPr>
          </a:p>
        </p:txBody>
      </p:sp>
      <p:sp>
        <p:nvSpPr>
          <p:cNvPr id="19" name="TextBox 18"/>
          <p:cNvSpPr txBox="1"/>
          <p:nvPr/>
        </p:nvSpPr>
        <p:spPr>
          <a:xfrm>
            <a:off x="2446170" y="4864449"/>
            <a:ext cx="172796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1600" dirty="0">
                <a:solidFill>
                  <a:srgbClr val="000000"/>
                </a:solidFill>
              </a:rPr>
              <a:t>Sustainability</a:t>
            </a:r>
          </a:p>
        </p:txBody>
      </p:sp>
      <p:sp>
        <p:nvSpPr>
          <p:cNvPr id="24" name="TextBox 23"/>
          <p:cNvSpPr txBox="1"/>
          <p:nvPr/>
        </p:nvSpPr>
        <p:spPr>
          <a:xfrm>
            <a:off x="4174136" y="4864449"/>
            <a:ext cx="4042196"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fontAlgn="base">
              <a:spcBef>
                <a:spcPct val="30000"/>
              </a:spcBef>
              <a:spcAft>
                <a:spcPct val="0"/>
              </a:spcAft>
              <a:buClr>
                <a:srgbClr val="0B4623"/>
              </a:buClr>
            </a:pPr>
            <a:r>
              <a:rPr lang="en-US" sz="1600" dirty="0">
                <a:solidFill>
                  <a:srgbClr val="000000"/>
                </a:solidFill>
              </a:rPr>
              <a:t>To conserve the coastal natural resources to meet </a:t>
            </a:r>
            <a:r>
              <a:rPr lang="en-US" sz="1600" dirty="0" smtClean="0">
                <a:solidFill>
                  <a:srgbClr val="000000"/>
                </a:solidFill>
              </a:rPr>
              <a:t>key </a:t>
            </a:r>
            <a:r>
              <a:rPr lang="en-US" sz="1600" dirty="0">
                <a:solidFill>
                  <a:srgbClr val="000000"/>
                </a:solidFill>
              </a:rPr>
              <a:t>sustainability indicators that drive conservation</a:t>
            </a:r>
          </a:p>
        </p:txBody>
      </p:sp>
      <p:sp>
        <p:nvSpPr>
          <p:cNvPr id="27" name="Oval 24"/>
          <p:cNvSpPr txBox="1">
            <a:spLocks/>
          </p:cNvSpPr>
          <p:nvPr>
            <p:custDataLst>
              <p:tags r:id="rId5"/>
            </p:custDataLst>
          </p:nvPr>
        </p:nvSpPr>
        <p:spPr>
          <a:xfrm>
            <a:off x="2122619" y="4864449"/>
            <a:ext cx="262077" cy="261369"/>
          </a:xfrm>
          <a:prstGeom prst="ellipse">
            <a:avLst/>
          </a:prstGeom>
          <a:solidFill>
            <a:schemeClr val="accent3"/>
          </a:solidFill>
          <a:ln w="9525">
            <a:noFill/>
            <a:miter lim="800000"/>
            <a:headEnd/>
            <a:tailEnd/>
          </a:ln>
          <a:effectLst/>
          <a:ex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B4623"/>
              </a:buClr>
            </a:pPr>
            <a:r>
              <a:rPr lang="en-US" sz="1600" dirty="0" smtClean="0">
                <a:solidFill>
                  <a:schemeClr val="bg1"/>
                </a:solidFill>
              </a:rPr>
              <a:t>3</a:t>
            </a:r>
            <a:endParaRPr lang="en-US" sz="1600" dirty="0">
              <a:solidFill>
                <a:schemeClr val="bg1"/>
              </a:solidFill>
            </a:endParaRPr>
          </a:p>
        </p:txBody>
      </p:sp>
      <p:cxnSp>
        <p:nvCxnSpPr>
          <p:cNvPr id="34" name="Straight Connector 33"/>
          <p:cNvCxnSpPr>
            <a:cxnSpLocks/>
          </p:cNvCxnSpPr>
          <p:nvPr/>
        </p:nvCxnSpPr>
        <p:spPr>
          <a:xfrm>
            <a:off x="2122619" y="2644919"/>
            <a:ext cx="6093713" cy="0"/>
          </a:xfrm>
          <a:prstGeom prst="line">
            <a:avLst/>
          </a:prstGeom>
          <a:ln w="9525">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cxnSpLocks/>
          </p:cNvCxnSpPr>
          <p:nvPr/>
        </p:nvCxnSpPr>
        <p:spPr>
          <a:xfrm>
            <a:off x="2122619" y="3758399"/>
            <a:ext cx="6093713"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a:off x="2122619" y="4741987"/>
            <a:ext cx="6093713" cy="0"/>
          </a:xfrm>
          <a:prstGeom prst="line">
            <a:avLst/>
          </a:prstGeom>
          <a:ln w="1905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0" name="4. Footnote"/>
          <p:cNvSpPr txBox="1">
            <a:spLocks noChangeArrowheads="1"/>
          </p:cNvSpPr>
          <p:nvPr/>
        </p:nvSpPr>
        <p:spPr bwMode="auto">
          <a:xfrm>
            <a:off x="171752" y="6004295"/>
            <a:ext cx="8618237" cy="138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104775" indent="-104775" defTabSz="895350">
              <a:defRPr sz="9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fr-FR" dirty="0"/>
              <a:t>1 </a:t>
            </a:r>
            <a:r>
              <a:rPr lang="fr-FR" dirty="0" smtClean="0"/>
              <a:t>The </a:t>
            </a:r>
            <a:r>
              <a:rPr lang="fr-FR" dirty="0" err="1" smtClean="0"/>
              <a:t>Lab</a:t>
            </a:r>
            <a:r>
              <a:rPr lang="fr-FR" dirty="0" smtClean="0"/>
              <a:t> aspires for a </a:t>
            </a:r>
            <a:r>
              <a:rPr lang="fr-FR" b="1" dirty="0" smtClean="0"/>
              <a:t>real </a:t>
            </a:r>
            <a:r>
              <a:rPr lang="fr-FR" b="1" dirty="0" err="1" smtClean="0"/>
              <a:t>growth</a:t>
            </a:r>
            <a:r>
              <a:rPr lang="fr-FR" b="1" dirty="0" smtClean="0"/>
              <a:t> </a:t>
            </a:r>
            <a:r>
              <a:rPr lang="fr-FR" dirty="0" smtClean="0"/>
              <a:t>of </a:t>
            </a:r>
            <a:r>
              <a:rPr lang="fr-FR" b="1" dirty="0" smtClean="0"/>
              <a:t>4%. </a:t>
            </a:r>
            <a:r>
              <a:rPr lang="fr-FR" dirty="0" smtClean="0"/>
              <a:t>To </a:t>
            </a:r>
            <a:r>
              <a:rPr lang="fr-FR" dirty="0" err="1" smtClean="0"/>
              <a:t>be</a:t>
            </a:r>
            <a:r>
              <a:rPr lang="fr-FR" dirty="0" smtClean="0"/>
              <a:t> </a:t>
            </a:r>
            <a:r>
              <a:rPr lang="fr-FR" dirty="0" err="1" smtClean="0"/>
              <a:t>refined</a:t>
            </a:r>
            <a:r>
              <a:rPr lang="fr-FR" dirty="0" smtClean="0"/>
              <a:t> post </a:t>
            </a:r>
            <a:r>
              <a:rPr lang="fr-FR" dirty="0" err="1" smtClean="0"/>
              <a:t>lab</a:t>
            </a:r>
            <a:endParaRPr lang="en-US" dirty="0"/>
          </a:p>
        </p:txBody>
      </p:sp>
    </p:spTree>
    <p:extLst>
      <p:ext uri="{BB962C8B-B14F-4D97-AF65-F5344CB8AC3E}">
        <p14:creationId xmlns:p14="http://schemas.microsoft.com/office/powerpoint/2010/main" val="70463497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45" name="think-cell Slide" r:id="rId10" imgW="353" imgH="353" progId="TCLayout.ActiveDocument.1">
                  <p:embed/>
                </p:oleObj>
              </mc:Choice>
              <mc:Fallback>
                <p:oleObj name="think-cell Slide" r:id="rId10" imgW="353" imgH="353"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6" name="Rounded Rectangle 15"/>
          <p:cNvSpPr/>
          <p:nvPr/>
        </p:nvSpPr>
        <p:spPr>
          <a:xfrm>
            <a:off x="165099" y="953911"/>
            <a:ext cx="2021269" cy="5209822"/>
          </a:xfrm>
          <a:prstGeom prst="roundRect">
            <a:avLst>
              <a:gd name="adj" fmla="val 7971"/>
            </a:avLst>
          </a:prstGeom>
          <a:gradFill flip="none" rotWithShape="1">
            <a:gsLst>
              <a:gs pos="50000">
                <a:schemeClr val="bg1"/>
              </a:gs>
              <a:gs pos="0">
                <a:schemeClr val="tx2">
                  <a:lumMod val="10000"/>
                  <a:lumOff val="90000"/>
                </a:schemeClr>
              </a:gs>
              <a:gs pos="100000">
                <a:schemeClr val="tx2">
                  <a:lumMod val="10000"/>
                  <a:lumOff val="90000"/>
                </a:schemeClr>
              </a:gs>
            </a:gsLst>
            <a:lin ang="16200000" scaled="1"/>
            <a:tileRect/>
          </a:gra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7" name="Rounded Rectangle 16"/>
          <p:cNvSpPr/>
          <p:nvPr/>
        </p:nvSpPr>
        <p:spPr>
          <a:xfrm>
            <a:off x="2366834" y="953911"/>
            <a:ext cx="2021269" cy="5209822"/>
          </a:xfrm>
          <a:prstGeom prst="roundRect">
            <a:avLst>
              <a:gd name="adj" fmla="val 7971"/>
            </a:avLst>
          </a:prstGeom>
          <a:gradFill flip="none" rotWithShape="1">
            <a:gsLst>
              <a:gs pos="50000">
                <a:schemeClr val="bg1"/>
              </a:gs>
              <a:gs pos="0">
                <a:schemeClr val="tx2">
                  <a:lumMod val="10000"/>
                  <a:lumOff val="90000"/>
                </a:schemeClr>
              </a:gs>
              <a:gs pos="100000">
                <a:schemeClr val="tx2">
                  <a:lumMod val="10000"/>
                  <a:lumOff val="90000"/>
                </a:schemeClr>
              </a:gs>
            </a:gsLst>
            <a:lin ang="16200000" scaled="1"/>
            <a:tileRect/>
          </a:gra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8" name="Rounded Rectangle 17"/>
          <p:cNvSpPr/>
          <p:nvPr/>
        </p:nvSpPr>
        <p:spPr>
          <a:xfrm>
            <a:off x="4568570" y="953911"/>
            <a:ext cx="2021269" cy="5209822"/>
          </a:xfrm>
          <a:prstGeom prst="roundRect">
            <a:avLst>
              <a:gd name="adj" fmla="val 7971"/>
            </a:avLst>
          </a:prstGeom>
          <a:gradFill flip="none" rotWithShape="1">
            <a:gsLst>
              <a:gs pos="50000">
                <a:schemeClr val="bg1"/>
              </a:gs>
              <a:gs pos="0">
                <a:schemeClr val="tx2">
                  <a:lumMod val="10000"/>
                  <a:lumOff val="90000"/>
                </a:schemeClr>
              </a:gs>
              <a:gs pos="100000">
                <a:schemeClr val="tx2">
                  <a:lumMod val="10000"/>
                  <a:lumOff val="90000"/>
                </a:schemeClr>
              </a:gs>
            </a:gsLst>
            <a:lin ang="16200000" scaled="1"/>
            <a:tileRect/>
          </a:gra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9" name="Rounded Rectangle 18"/>
          <p:cNvSpPr/>
          <p:nvPr/>
        </p:nvSpPr>
        <p:spPr>
          <a:xfrm>
            <a:off x="6770306" y="953911"/>
            <a:ext cx="2021269" cy="5209822"/>
          </a:xfrm>
          <a:prstGeom prst="roundRect">
            <a:avLst>
              <a:gd name="adj" fmla="val 7971"/>
            </a:avLst>
          </a:prstGeom>
          <a:gradFill flip="none" rotWithShape="1">
            <a:gsLst>
              <a:gs pos="50000">
                <a:schemeClr val="bg1"/>
              </a:gs>
              <a:gs pos="0">
                <a:schemeClr val="tx2">
                  <a:lumMod val="10000"/>
                  <a:lumOff val="90000"/>
                </a:schemeClr>
              </a:gs>
              <a:gs pos="100000">
                <a:schemeClr val="tx2">
                  <a:lumMod val="10000"/>
                  <a:lumOff val="90000"/>
                </a:schemeClr>
              </a:gs>
            </a:gsLst>
            <a:lin ang="16200000" scaled="1"/>
            <a:tileRect/>
          </a:gra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2" name="Title 1"/>
          <p:cNvSpPr>
            <a:spLocks noGrp="1"/>
          </p:cNvSpPr>
          <p:nvPr>
            <p:ph type="title"/>
          </p:nvPr>
        </p:nvSpPr>
        <p:spPr>
          <a:xfrm>
            <a:off x="171451" y="230188"/>
            <a:ext cx="8618537" cy="584775"/>
          </a:xfrm>
        </p:spPr>
        <p:txBody>
          <a:bodyPr/>
          <a:lstStyle/>
          <a:p>
            <a:r>
              <a:rPr lang="en-US" dirty="0"/>
              <a:t>The tourism value chain is complex, with multiple stakeholders participating</a:t>
            </a:r>
          </a:p>
        </p:txBody>
      </p:sp>
      <p:sp>
        <p:nvSpPr>
          <p:cNvPr id="8" name="TextBox 7"/>
          <p:cNvSpPr txBox="1">
            <a:spLocks/>
          </p:cNvSpPr>
          <p:nvPr/>
        </p:nvSpPr>
        <p:spPr>
          <a:xfrm>
            <a:off x="284157" y="1527091"/>
            <a:ext cx="1783153"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tx2"/>
                </a:solidFill>
              </a:rPr>
              <a:t>Where do I want to go?</a:t>
            </a:r>
            <a:endParaRPr lang="en-US" b="1" dirty="0">
              <a:solidFill>
                <a:schemeClr val="tx2"/>
              </a:solidFill>
            </a:endParaRPr>
          </a:p>
        </p:txBody>
      </p:sp>
      <p:sp>
        <p:nvSpPr>
          <p:cNvPr id="9" name="TextBox 8"/>
          <p:cNvSpPr txBox="1">
            <a:spLocks/>
          </p:cNvSpPr>
          <p:nvPr/>
        </p:nvSpPr>
        <p:spPr>
          <a:xfrm>
            <a:off x="284157" y="4084395"/>
            <a:ext cx="1783153" cy="22159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dirty="0" smtClean="0"/>
              <a:t>Travel channels; National, international and local </a:t>
            </a:r>
            <a:r>
              <a:rPr lang="en-US" dirty="0"/>
              <a:t>travel </a:t>
            </a:r>
            <a:r>
              <a:rPr lang="en-US" dirty="0" smtClean="0"/>
              <a:t>agents and  </a:t>
            </a:r>
            <a:r>
              <a:rPr lang="en-US" dirty="0"/>
              <a:t>tour </a:t>
            </a:r>
            <a:r>
              <a:rPr lang="en-US" dirty="0" smtClean="0"/>
              <a:t>operator</a:t>
            </a:r>
          </a:p>
          <a:p>
            <a:pPr lvl="1"/>
            <a:r>
              <a:rPr lang="en-US" dirty="0" smtClean="0"/>
              <a:t>Self-planned trips</a:t>
            </a:r>
            <a:endParaRPr lang="en-US" dirty="0"/>
          </a:p>
          <a:p>
            <a:pPr lvl="1"/>
            <a:endParaRPr lang="en-US" dirty="0" smtClean="0"/>
          </a:p>
          <a:p>
            <a:pPr lvl="1"/>
            <a:endParaRPr lang="en-US" dirty="0"/>
          </a:p>
        </p:txBody>
      </p:sp>
      <p:sp>
        <p:nvSpPr>
          <p:cNvPr id="10" name="TextBox 9"/>
          <p:cNvSpPr txBox="1">
            <a:spLocks/>
          </p:cNvSpPr>
          <p:nvPr/>
        </p:nvSpPr>
        <p:spPr>
          <a:xfrm>
            <a:off x="2485892" y="1527091"/>
            <a:ext cx="1783153"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tx2"/>
                </a:solidFill>
              </a:rPr>
              <a:t>How do I get there?</a:t>
            </a:r>
            <a:endParaRPr lang="en-US" b="1" dirty="0">
              <a:solidFill>
                <a:schemeClr val="tx2"/>
              </a:solidFill>
            </a:endParaRPr>
          </a:p>
        </p:txBody>
      </p:sp>
      <p:sp>
        <p:nvSpPr>
          <p:cNvPr id="11" name="TextBox 10"/>
          <p:cNvSpPr txBox="1">
            <a:spLocks/>
          </p:cNvSpPr>
          <p:nvPr/>
        </p:nvSpPr>
        <p:spPr>
          <a:xfrm>
            <a:off x="2485892" y="4084395"/>
            <a:ext cx="1783153" cy="19389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dirty="0" smtClean="0"/>
              <a:t>International and national air carriers</a:t>
            </a:r>
          </a:p>
          <a:p>
            <a:pPr lvl="1"/>
            <a:r>
              <a:rPr lang="en-US" dirty="0"/>
              <a:t>Ground </a:t>
            </a:r>
            <a:r>
              <a:rPr lang="en-US" dirty="0" smtClean="0"/>
              <a:t>transportation services</a:t>
            </a:r>
          </a:p>
          <a:p>
            <a:pPr lvl="1"/>
            <a:r>
              <a:rPr lang="en-US" dirty="0" smtClean="0"/>
              <a:t>Cruise lines </a:t>
            </a:r>
            <a:endParaRPr lang="en-US" dirty="0"/>
          </a:p>
        </p:txBody>
      </p:sp>
      <p:sp>
        <p:nvSpPr>
          <p:cNvPr id="12" name="TextBox 11"/>
          <p:cNvSpPr txBox="1">
            <a:spLocks/>
          </p:cNvSpPr>
          <p:nvPr/>
        </p:nvSpPr>
        <p:spPr>
          <a:xfrm>
            <a:off x="4687628" y="1527091"/>
            <a:ext cx="178315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tx2"/>
                </a:solidFill>
              </a:rPr>
              <a:t>Where will I stay?</a:t>
            </a:r>
            <a:endParaRPr lang="en-US" b="1" dirty="0">
              <a:solidFill>
                <a:schemeClr val="tx2"/>
              </a:solidFill>
            </a:endParaRPr>
          </a:p>
        </p:txBody>
      </p:sp>
      <p:sp>
        <p:nvSpPr>
          <p:cNvPr id="13" name="TextBox 12"/>
          <p:cNvSpPr txBox="1">
            <a:spLocks/>
          </p:cNvSpPr>
          <p:nvPr/>
        </p:nvSpPr>
        <p:spPr>
          <a:xfrm>
            <a:off x="4687628" y="4084395"/>
            <a:ext cx="1783153"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dirty="0" smtClean="0"/>
              <a:t>Luxury, large and small hotels</a:t>
            </a:r>
          </a:p>
          <a:p>
            <a:pPr lvl="1"/>
            <a:r>
              <a:rPr lang="en-US" dirty="0" smtClean="0"/>
              <a:t>Village </a:t>
            </a:r>
            <a:r>
              <a:rPr lang="en-US" dirty="0" err="1" smtClean="0"/>
              <a:t>accom-modations</a:t>
            </a:r>
            <a:endParaRPr lang="en-US" dirty="0"/>
          </a:p>
        </p:txBody>
      </p:sp>
      <p:sp>
        <p:nvSpPr>
          <p:cNvPr id="14" name="TextBox 13"/>
          <p:cNvSpPr txBox="1">
            <a:spLocks/>
          </p:cNvSpPr>
          <p:nvPr/>
        </p:nvSpPr>
        <p:spPr>
          <a:xfrm>
            <a:off x="6889364" y="1527091"/>
            <a:ext cx="1783153"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tx2"/>
                </a:solidFill>
              </a:rPr>
              <a:t>What will I see and do?</a:t>
            </a:r>
            <a:endParaRPr lang="en-US" b="1" dirty="0">
              <a:solidFill>
                <a:schemeClr val="tx2"/>
              </a:solidFill>
            </a:endParaRPr>
          </a:p>
        </p:txBody>
      </p:sp>
      <p:sp>
        <p:nvSpPr>
          <p:cNvPr id="15" name="TextBox 14"/>
          <p:cNvSpPr txBox="1">
            <a:spLocks/>
          </p:cNvSpPr>
          <p:nvPr/>
        </p:nvSpPr>
        <p:spPr>
          <a:xfrm>
            <a:off x="6889364" y="4084395"/>
            <a:ext cx="1783153" cy="19389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dirty="0" smtClean="0"/>
              <a:t>Beach activities</a:t>
            </a:r>
          </a:p>
          <a:p>
            <a:pPr lvl="1"/>
            <a:r>
              <a:rPr lang="en-US" dirty="0" smtClean="0"/>
              <a:t>Activities (water based)</a:t>
            </a:r>
          </a:p>
          <a:p>
            <a:pPr lvl="1"/>
            <a:r>
              <a:rPr lang="en-US" dirty="0" smtClean="0"/>
              <a:t>Events</a:t>
            </a:r>
          </a:p>
          <a:p>
            <a:pPr lvl="1"/>
            <a:r>
              <a:rPr lang="en-US" dirty="0" smtClean="0"/>
              <a:t>Cultural experiences</a:t>
            </a:r>
          </a:p>
          <a:p>
            <a:pPr lvl="1"/>
            <a:r>
              <a:rPr lang="en-US" dirty="0" smtClean="0"/>
              <a:t>Retail</a:t>
            </a:r>
            <a:endParaRPr lang="en-US" dirty="0"/>
          </a:p>
        </p:txBody>
      </p:sp>
      <p:grpSp>
        <p:nvGrpSpPr>
          <p:cNvPr id="22" name="Group 6"/>
          <p:cNvGrpSpPr>
            <a:grpSpLocks/>
          </p:cNvGrpSpPr>
          <p:nvPr/>
        </p:nvGrpSpPr>
        <p:grpSpPr bwMode="auto">
          <a:xfrm>
            <a:off x="-47625" y="2938286"/>
            <a:ext cx="9018722" cy="1103118"/>
            <a:chOff x="745" y="1222"/>
            <a:chExt cx="4757" cy="316"/>
          </a:xfrm>
        </p:grpSpPr>
        <p:sp>
          <p:nvSpPr>
            <p:cNvPr id="23" name="Freeform 7"/>
            <p:cNvSpPr>
              <a:spLocks/>
            </p:cNvSpPr>
            <p:nvPr>
              <p:custDataLst>
                <p:tags r:id="rId3"/>
              </p:custDataLst>
            </p:nvPr>
          </p:nvSpPr>
          <p:spPr bwMode="gray">
            <a:xfrm>
              <a:off x="745" y="1241"/>
              <a:ext cx="4757" cy="277"/>
            </a:xfrm>
            <a:custGeom>
              <a:avLst/>
              <a:gdLst>
                <a:gd name="T0" fmla="*/ 4 w 5242"/>
                <a:gd name="T1" fmla="*/ 367 h 1216"/>
                <a:gd name="T2" fmla="*/ 372 w 5242"/>
                <a:gd name="T3" fmla="*/ 165 h 1216"/>
                <a:gd name="T4" fmla="*/ 578 w 5242"/>
                <a:gd name="T5" fmla="*/ 90 h 1216"/>
                <a:gd name="T6" fmla="*/ 771 w 5242"/>
                <a:gd name="T7" fmla="*/ 54 h 1216"/>
                <a:gd name="T8" fmla="*/ 976 w 5242"/>
                <a:gd name="T9" fmla="*/ 61 h 1216"/>
                <a:gd name="T10" fmla="*/ 1436 w 5242"/>
                <a:gd name="T11" fmla="*/ 165 h 1216"/>
                <a:gd name="T12" fmla="*/ 2021 w 5242"/>
                <a:gd name="T13" fmla="*/ 336 h 1216"/>
                <a:gd name="T14" fmla="*/ 2366 w 5242"/>
                <a:gd name="T15" fmla="*/ 412 h 1216"/>
                <a:gd name="T16" fmla="*/ 2623 w 5242"/>
                <a:gd name="T17" fmla="*/ 433 h 1216"/>
                <a:gd name="T18" fmla="*/ 2867 w 5242"/>
                <a:gd name="T19" fmla="*/ 409 h 1216"/>
                <a:gd name="T20" fmla="*/ 3240 w 5242"/>
                <a:gd name="T21" fmla="*/ 301 h 1216"/>
                <a:gd name="T22" fmla="*/ 3705 w 5242"/>
                <a:gd name="T23" fmla="*/ 112 h 1216"/>
                <a:gd name="T24" fmla="*/ 3941 w 5242"/>
                <a:gd name="T25" fmla="*/ 34 h 1216"/>
                <a:gd name="T26" fmla="*/ 4100 w 5242"/>
                <a:gd name="T27" fmla="*/ 4 h 1216"/>
                <a:gd name="T28" fmla="*/ 4188 w 5242"/>
                <a:gd name="T29" fmla="*/ 1 h 1216"/>
                <a:gd name="T30" fmla="*/ 4454 w 5242"/>
                <a:gd name="T31" fmla="*/ 36 h 1216"/>
                <a:gd name="T32" fmla="*/ 4738 w 5242"/>
                <a:gd name="T33" fmla="*/ 141 h 1216"/>
                <a:gd name="T34" fmla="*/ 5080 w 5242"/>
                <a:gd name="T35" fmla="*/ 310 h 1216"/>
                <a:gd name="T36" fmla="*/ 5242 w 5242"/>
                <a:gd name="T37" fmla="*/ 1162 h 1216"/>
                <a:gd name="T38" fmla="*/ 5117 w 5242"/>
                <a:gd name="T39" fmla="*/ 1108 h 1216"/>
                <a:gd name="T40" fmla="*/ 4799 w 5242"/>
                <a:gd name="T41" fmla="*/ 946 h 1216"/>
                <a:gd name="T42" fmla="*/ 4449 w 5242"/>
                <a:gd name="T43" fmla="*/ 819 h 1216"/>
                <a:gd name="T44" fmla="*/ 4281 w 5242"/>
                <a:gd name="T45" fmla="*/ 787 h 1216"/>
                <a:gd name="T46" fmla="*/ 4107 w 5242"/>
                <a:gd name="T47" fmla="*/ 784 h 1216"/>
                <a:gd name="T48" fmla="*/ 3923 w 5242"/>
                <a:gd name="T49" fmla="*/ 820 h 1216"/>
                <a:gd name="T50" fmla="*/ 3491 w 5242"/>
                <a:gd name="T51" fmla="*/ 982 h 1216"/>
                <a:gd name="T52" fmla="*/ 3013 w 5242"/>
                <a:gd name="T53" fmla="*/ 1156 h 1216"/>
                <a:gd name="T54" fmla="*/ 2867 w 5242"/>
                <a:gd name="T55" fmla="*/ 1192 h 1216"/>
                <a:gd name="T56" fmla="*/ 2612 w 5242"/>
                <a:gd name="T57" fmla="*/ 1216 h 1216"/>
                <a:gd name="T58" fmla="*/ 2394 w 5242"/>
                <a:gd name="T59" fmla="*/ 1198 h 1216"/>
                <a:gd name="T60" fmla="*/ 2102 w 5242"/>
                <a:gd name="T61" fmla="*/ 1138 h 1216"/>
                <a:gd name="T62" fmla="*/ 1473 w 5242"/>
                <a:gd name="T63" fmla="*/ 957 h 1216"/>
                <a:gd name="T64" fmla="*/ 1153 w 5242"/>
                <a:gd name="T65" fmla="*/ 873 h 1216"/>
                <a:gd name="T66" fmla="*/ 960 w 5242"/>
                <a:gd name="T67" fmla="*/ 838 h 1216"/>
                <a:gd name="T68" fmla="*/ 723 w 5242"/>
                <a:gd name="T69" fmla="*/ 841 h 1216"/>
                <a:gd name="T70" fmla="*/ 488 w 5242"/>
                <a:gd name="T71" fmla="*/ 898 h 1216"/>
                <a:gd name="T72" fmla="*/ 167 w 5242"/>
                <a:gd name="T73" fmla="*/ 1057 h 1216"/>
                <a:gd name="T74" fmla="*/ 0 w 5242"/>
                <a:gd name="T75" fmla="*/ 1150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42" h="1216">
                  <a:moveTo>
                    <a:pt x="0" y="1150"/>
                  </a:moveTo>
                  <a:lnTo>
                    <a:pt x="4" y="367"/>
                  </a:lnTo>
                  <a:lnTo>
                    <a:pt x="261" y="220"/>
                  </a:lnTo>
                  <a:lnTo>
                    <a:pt x="372" y="165"/>
                  </a:lnTo>
                  <a:lnTo>
                    <a:pt x="475" y="121"/>
                  </a:lnTo>
                  <a:lnTo>
                    <a:pt x="578" y="90"/>
                  </a:lnTo>
                  <a:lnTo>
                    <a:pt x="680" y="66"/>
                  </a:lnTo>
                  <a:lnTo>
                    <a:pt x="771" y="54"/>
                  </a:lnTo>
                  <a:lnTo>
                    <a:pt x="871" y="51"/>
                  </a:lnTo>
                  <a:lnTo>
                    <a:pt x="976" y="61"/>
                  </a:lnTo>
                  <a:lnTo>
                    <a:pt x="1098" y="79"/>
                  </a:lnTo>
                  <a:lnTo>
                    <a:pt x="1436" y="165"/>
                  </a:lnTo>
                  <a:lnTo>
                    <a:pt x="1822" y="280"/>
                  </a:lnTo>
                  <a:lnTo>
                    <a:pt x="2021" y="336"/>
                  </a:lnTo>
                  <a:lnTo>
                    <a:pt x="2214" y="382"/>
                  </a:lnTo>
                  <a:lnTo>
                    <a:pt x="2366" y="412"/>
                  </a:lnTo>
                  <a:lnTo>
                    <a:pt x="2518" y="430"/>
                  </a:lnTo>
                  <a:lnTo>
                    <a:pt x="2623" y="433"/>
                  </a:lnTo>
                  <a:lnTo>
                    <a:pt x="2736" y="430"/>
                  </a:lnTo>
                  <a:lnTo>
                    <a:pt x="2867" y="409"/>
                  </a:lnTo>
                  <a:lnTo>
                    <a:pt x="2997" y="381"/>
                  </a:lnTo>
                  <a:lnTo>
                    <a:pt x="3240" y="301"/>
                  </a:lnTo>
                  <a:lnTo>
                    <a:pt x="3470" y="208"/>
                  </a:lnTo>
                  <a:lnTo>
                    <a:pt x="3705" y="112"/>
                  </a:lnTo>
                  <a:lnTo>
                    <a:pt x="3824" y="69"/>
                  </a:lnTo>
                  <a:lnTo>
                    <a:pt x="3941" y="34"/>
                  </a:lnTo>
                  <a:lnTo>
                    <a:pt x="4026" y="16"/>
                  </a:lnTo>
                  <a:lnTo>
                    <a:pt x="4100" y="4"/>
                  </a:lnTo>
                  <a:lnTo>
                    <a:pt x="4159" y="0"/>
                  </a:lnTo>
                  <a:lnTo>
                    <a:pt x="4188" y="1"/>
                  </a:lnTo>
                  <a:lnTo>
                    <a:pt x="4286" y="6"/>
                  </a:lnTo>
                  <a:lnTo>
                    <a:pt x="4454" y="36"/>
                  </a:lnTo>
                  <a:lnTo>
                    <a:pt x="4614" y="88"/>
                  </a:lnTo>
                  <a:lnTo>
                    <a:pt x="4738" y="141"/>
                  </a:lnTo>
                  <a:lnTo>
                    <a:pt x="4859" y="195"/>
                  </a:lnTo>
                  <a:lnTo>
                    <a:pt x="5080" y="310"/>
                  </a:lnTo>
                  <a:lnTo>
                    <a:pt x="5242" y="384"/>
                  </a:lnTo>
                  <a:lnTo>
                    <a:pt x="5242" y="1162"/>
                  </a:lnTo>
                  <a:lnTo>
                    <a:pt x="5198" y="1147"/>
                  </a:lnTo>
                  <a:lnTo>
                    <a:pt x="5117" y="1108"/>
                  </a:lnTo>
                  <a:lnTo>
                    <a:pt x="4967" y="1032"/>
                  </a:lnTo>
                  <a:lnTo>
                    <a:pt x="4799" y="946"/>
                  </a:lnTo>
                  <a:lnTo>
                    <a:pt x="4595" y="862"/>
                  </a:lnTo>
                  <a:lnTo>
                    <a:pt x="4449" y="819"/>
                  </a:lnTo>
                  <a:lnTo>
                    <a:pt x="4367" y="801"/>
                  </a:lnTo>
                  <a:lnTo>
                    <a:pt x="4281" y="787"/>
                  </a:lnTo>
                  <a:lnTo>
                    <a:pt x="4193" y="781"/>
                  </a:lnTo>
                  <a:lnTo>
                    <a:pt x="4107" y="784"/>
                  </a:lnTo>
                  <a:lnTo>
                    <a:pt x="3998" y="804"/>
                  </a:lnTo>
                  <a:lnTo>
                    <a:pt x="3923" y="820"/>
                  </a:lnTo>
                  <a:lnTo>
                    <a:pt x="3711" y="891"/>
                  </a:lnTo>
                  <a:lnTo>
                    <a:pt x="3491" y="982"/>
                  </a:lnTo>
                  <a:lnTo>
                    <a:pt x="3178" y="1104"/>
                  </a:lnTo>
                  <a:lnTo>
                    <a:pt x="3013" y="1156"/>
                  </a:lnTo>
                  <a:lnTo>
                    <a:pt x="2938" y="1176"/>
                  </a:lnTo>
                  <a:lnTo>
                    <a:pt x="2867" y="1192"/>
                  </a:lnTo>
                  <a:lnTo>
                    <a:pt x="2733" y="1212"/>
                  </a:lnTo>
                  <a:lnTo>
                    <a:pt x="2612" y="1216"/>
                  </a:lnTo>
                  <a:lnTo>
                    <a:pt x="2515" y="1210"/>
                  </a:lnTo>
                  <a:lnTo>
                    <a:pt x="2394" y="1198"/>
                  </a:lnTo>
                  <a:lnTo>
                    <a:pt x="2257" y="1173"/>
                  </a:lnTo>
                  <a:lnTo>
                    <a:pt x="2102" y="1138"/>
                  </a:lnTo>
                  <a:lnTo>
                    <a:pt x="1741" y="1038"/>
                  </a:lnTo>
                  <a:lnTo>
                    <a:pt x="1473" y="957"/>
                  </a:lnTo>
                  <a:lnTo>
                    <a:pt x="1262" y="898"/>
                  </a:lnTo>
                  <a:lnTo>
                    <a:pt x="1153" y="873"/>
                  </a:lnTo>
                  <a:lnTo>
                    <a:pt x="1070" y="856"/>
                  </a:lnTo>
                  <a:lnTo>
                    <a:pt x="960" y="838"/>
                  </a:lnTo>
                  <a:lnTo>
                    <a:pt x="858" y="832"/>
                  </a:lnTo>
                  <a:lnTo>
                    <a:pt x="723" y="841"/>
                  </a:lnTo>
                  <a:lnTo>
                    <a:pt x="603" y="862"/>
                  </a:lnTo>
                  <a:lnTo>
                    <a:pt x="488" y="898"/>
                  </a:lnTo>
                  <a:lnTo>
                    <a:pt x="354" y="952"/>
                  </a:lnTo>
                  <a:lnTo>
                    <a:pt x="167" y="1057"/>
                  </a:lnTo>
                  <a:lnTo>
                    <a:pt x="81" y="1108"/>
                  </a:lnTo>
                  <a:lnTo>
                    <a:pt x="0" y="1150"/>
                  </a:lnTo>
                  <a:close/>
                </a:path>
              </a:pathLst>
            </a:custGeom>
            <a:solidFill>
              <a:srgbClr val="80808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endParaRPr lang="en-US"/>
            </a:p>
          </p:txBody>
        </p:sp>
        <p:sp>
          <p:nvSpPr>
            <p:cNvPr id="24" name="Freeform 8"/>
            <p:cNvSpPr>
              <a:spLocks/>
            </p:cNvSpPr>
            <p:nvPr>
              <p:custDataLst>
                <p:tags r:id="rId4"/>
              </p:custDataLst>
            </p:nvPr>
          </p:nvSpPr>
          <p:spPr bwMode="gray">
            <a:xfrm>
              <a:off x="745" y="1222"/>
              <a:ext cx="4757" cy="102"/>
            </a:xfrm>
            <a:custGeom>
              <a:avLst/>
              <a:gdLst>
                <a:gd name="T0" fmla="*/ 0 w 5058"/>
                <a:gd name="T1" fmla="*/ 372 h 448"/>
                <a:gd name="T2" fmla="*/ 848 w 5058"/>
                <a:gd name="T3" fmla="*/ 59 h 448"/>
                <a:gd name="T4" fmla="*/ 2551 w 5058"/>
                <a:gd name="T5" fmla="*/ 440 h 448"/>
                <a:gd name="T6" fmla="*/ 4017 w 5058"/>
                <a:gd name="T7" fmla="*/ 8 h 448"/>
                <a:gd name="T8" fmla="*/ 5058 w 5058"/>
                <a:gd name="T9" fmla="*/ 389 h 448"/>
              </a:gdLst>
              <a:ahLst/>
              <a:cxnLst>
                <a:cxn ang="0">
                  <a:pos x="T0" y="T1"/>
                </a:cxn>
                <a:cxn ang="0">
                  <a:pos x="T2" y="T3"/>
                </a:cxn>
                <a:cxn ang="0">
                  <a:pos x="T4" y="T5"/>
                </a:cxn>
                <a:cxn ang="0">
                  <a:pos x="T6" y="T7"/>
                </a:cxn>
                <a:cxn ang="0">
                  <a:pos x="T8" y="T9"/>
                </a:cxn>
              </a:cxnLst>
              <a:rect l="0" t="0" r="r" b="b"/>
              <a:pathLst>
                <a:path w="5058" h="448">
                  <a:moveTo>
                    <a:pt x="0" y="372"/>
                  </a:moveTo>
                  <a:cubicBezTo>
                    <a:pt x="141" y="320"/>
                    <a:pt x="423" y="48"/>
                    <a:pt x="848" y="59"/>
                  </a:cubicBezTo>
                  <a:cubicBezTo>
                    <a:pt x="1273" y="70"/>
                    <a:pt x="2023" y="448"/>
                    <a:pt x="2551" y="440"/>
                  </a:cubicBezTo>
                  <a:cubicBezTo>
                    <a:pt x="3079" y="432"/>
                    <a:pt x="3599" y="16"/>
                    <a:pt x="4017" y="8"/>
                  </a:cubicBezTo>
                  <a:cubicBezTo>
                    <a:pt x="4435" y="0"/>
                    <a:pt x="4841" y="310"/>
                    <a:pt x="5058" y="389"/>
                  </a:cubicBez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endParaRPr lang="en-US"/>
            </a:p>
          </p:txBody>
        </p:sp>
        <p:sp>
          <p:nvSpPr>
            <p:cNvPr id="25" name="Freeform 9"/>
            <p:cNvSpPr>
              <a:spLocks/>
            </p:cNvSpPr>
            <p:nvPr>
              <p:custDataLst>
                <p:tags r:id="rId5"/>
              </p:custDataLst>
            </p:nvPr>
          </p:nvSpPr>
          <p:spPr bwMode="gray">
            <a:xfrm>
              <a:off x="745" y="1418"/>
              <a:ext cx="4757" cy="102"/>
            </a:xfrm>
            <a:custGeom>
              <a:avLst/>
              <a:gdLst>
                <a:gd name="T0" fmla="*/ 0 w 5058"/>
                <a:gd name="T1" fmla="*/ 372 h 448"/>
                <a:gd name="T2" fmla="*/ 848 w 5058"/>
                <a:gd name="T3" fmla="*/ 59 h 448"/>
                <a:gd name="T4" fmla="*/ 2551 w 5058"/>
                <a:gd name="T5" fmla="*/ 440 h 448"/>
                <a:gd name="T6" fmla="*/ 4017 w 5058"/>
                <a:gd name="T7" fmla="*/ 8 h 448"/>
                <a:gd name="T8" fmla="*/ 5058 w 5058"/>
                <a:gd name="T9" fmla="*/ 389 h 448"/>
              </a:gdLst>
              <a:ahLst/>
              <a:cxnLst>
                <a:cxn ang="0">
                  <a:pos x="T0" y="T1"/>
                </a:cxn>
                <a:cxn ang="0">
                  <a:pos x="T2" y="T3"/>
                </a:cxn>
                <a:cxn ang="0">
                  <a:pos x="T4" y="T5"/>
                </a:cxn>
                <a:cxn ang="0">
                  <a:pos x="T6" y="T7"/>
                </a:cxn>
                <a:cxn ang="0">
                  <a:pos x="T8" y="T9"/>
                </a:cxn>
              </a:cxnLst>
              <a:rect l="0" t="0" r="r" b="b"/>
              <a:pathLst>
                <a:path w="5058" h="448">
                  <a:moveTo>
                    <a:pt x="0" y="372"/>
                  </a:moveTo>
                  <a:cubicBezTo>
                    <a:pt x="141" y="320"/>
                    <a:pt x="423" y="48"/>
                    <a:pt x="848" y="59"/>
                  </a:cubicBezTo>
                  <a:cubicBezTo>
                    <a:pt x="1273" y="70"/>
                    <a:pt x="2023" y="448"/>
                    <a:pt x="2551" y="440"/>
                  </a:cubicBezTo>
                  <a:cubicBezTo>
                    <a:pt x="3079" y="432"/>
                    <a:pt x="3599" y="16"/>
                    <a:pt x="4017" y="8"/>
                  </a:cubicBezTo>
                  <a:cubicBezTo>
                    <a:pt x="4435" y="0"/>
                    <a:pt x="4841" y="310"/>
                    <a:pt x="5058" y="389"/>
                  </a:cubicBez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endParaRPr lang="en-US"/>
            </a:p>
          </p:txBody>
        </p:sp>
        <p:sp>
          <p:nvSpPr>
            <p:cNvPr id="26" name="Freeform 10"/>
            <p:cNvSpPr>
              <a:spLocks/>
            </p:cNvSpPr>
            <p:nvPr>
              <p:custDataLst>
                <p:tags r:id="rId6"/>
              </p:custDataLst>
            </p:nvPr>
          </p:nvSpPr>
          <p:spPr bwMode="gray">
            <a:xfrm>
              <a:off x="745" y="1436"/>
              <a:ext cx="4757" cy="102"/>
            </a:xfrm>
            <a:custGeom>
              <a:avLst/>
              <a:gdLst>
                <a:gd name="T0" fmla="*/ 0 w 5058"/>
                <a:gd name="T1" fmla="*/ 372 h 448"/>
                <a:gd name="T2" fmla="*/ 848 w 5058"/>
                <a:gd name="T3" fmla="*/ 59 h 448"/>
                <a:gd name="T4" fmla="*/ 2551 w 5058"/>
                <a:gd name="T5" fmla="*/ 440 h 448"/>
                <a:gd name="T6" fmla="*/ 4017 w 5058"/>
                <a:gd name="T7" fmla="*/ 8 h 448"/>
                <a:gd name="T8" fmla="*/ 5058 w 5058"/>
                <a:gd name="T9" fmla="*/ 389 h 448"/>
              </a:gdLst>
              <a:ahLst/>
              <a:cxnLst>
                <a:cxn ang="0">
                  <a:pos x="T0" y="T1"/>
                </a:cxn>
                <a:cxn ang="0">
                  <a:pos x="T2" y="T3"/>
                </a:cxn>
                <a:cxn ang="0">
                  <a:pos x="T4" y="T5"/>
                </a:cxn>
                <a:cxn ang="0">
                  <a:pos x="T6" y="T7"/>
                </a:cxn>
                <a:cxn ang="0">
                  <a:pos x="T8" y="T9"/>
                </a:cxn>
              </a:cxnLst>
              <a:rect l="0" t="0" r="r" b="b"/>
              <a:pathLst>
                <a:path w="5058" h="448">
                  <a:moveTo>
                    <a:pt x="0" y="372"/>
                  </a:moveTo>
                  <a:cubicBezTo>
                    <a:pt x="141" y="320"/>
                    <a:pt x="423" y="48"/>
                    <a:pt x="848" y="59"/>
                  </a:cubicBezTo>
                  <a:cubicBezTo>
                    <a:pt x="1273" y="70"/>
                    <a:pt x="2023" y="448"/>
                    <a:pt x="2551" y="440"/>
                  </a:cubicBezTo>
                  <a:cubicBezTo>
                    <a:pt x="3079" y="432"/>
                    <a:pt x="3599" y="16"/>
                    <a:pt x="4017" y="8"/>
                  </a:cubicBezTo>
                  <a:cubicBezTo>
                    <a:pt x="4435" y="0"/>
                    <a:pt x="4841" y="310"/>
                    <a:pt x="5058" y="389"/>
                  </a:cubicBez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endParaRPr lang="en-US"/>
            </a:p>
          </p:txBody>
        </p:sp>
        <p:sp>
          <p:nvSpPr>
            <p:cNvPr id="27" name="Freeform 11"/>
            <p:cNvSpPr>
              <a:spLocks/>
            </p:cNvSpPr>
            <p:nvPr>
              <p:custDataLst>
                <p:tags r:id="rId7"/>
              </p:custDataLst>
            </p:nvPr>
          </p:nvSpPr>
          <p:spPr bwMode="gray">
            <a:xfrm>
              <a:off x="745" y="1240"/>
              <a:ext cx="4757" cy="102"/>
            </a:xfrm>
            <a:custGeom>
              <a:avLst/>
              <a:gdLst>
                <a:gd name="T0" fmla="*/ 0 w 5058"/>
                <a:gd name="T1" fmla="*/ 372 h 448"/>
                <a:gd name="T2" fmla="*/ 848 w 5058"/>
                <a:gd name="T3" fmla="*/ 59 h 448"/>
                <a:gd name="T4" fmla="*/ 2551 w 5058"/>
                <a:gd name="T5" fmla="*/ 440 h 448"/>
                <a:gd name="T6" fmla="*/ 4017 w 5058"/>
                <a:gd name="T7" fmla="*/ 8 h 448"/>
                <a:gd name="T8" fmla="*/ 5058 w 5058"/>
                <a:gd name="T9" fmla="*/ 389 h 448"/>
              </a:gdLst>
              <a:ahLst/>
              <a:cxnLst>
                <a:cxn ang="0">
                  <a:pos x="T0" y="T1"/>
                </a:cxn>
                <a:cxn ang="0">
                  <a:pos x="T2" y="T3"/>
                </a:cxn>
                <a:cxn ang="0">
                  <a:pos x="T4" y="T5"/>
                </a:cxn>
                <a:cxn ang="0">
                  <a:pos x="T6" y="T7"/>
                </a:cxn>
                <a:cxn ang="0">
                  <a:pos x="T8" y="T9"/>
                </a:cxn>
              </a:cxnLst>
              <a:rect l="0" t="0" r="r" b="b"/>
              <a:pathLst>
                <a:path w="5058" h="448">
                  <a:moveTo>
                    <a:pt x="0" y="372"/>
                  </a:moveTo>
                  <a:cubicBezTo>
                    <a:pt x="141" y="320"/>
                    <a:pt x="423" y="48"/>
                    <a:pt x="848" y="59"/>
                  </a:cubicBezTo>
                  <a:cubicBezTo>
                    <a:pt x="1273" y="70"/>
                    <a:pt x="2023" y="448"/>
                    <a:pt x="2551" y="440"/>
                  </a:cubicBezTo>
                  <a:cubicBezTo>
                    <a:pt x="3079" y="432"/>
                    <a:pt x="3599" y="16"/>
                    <a:pt x="4017" y="8"/>
                  </a:cubicBezTo>
                  <a:cubicBezTo>
                    <a:pt x="4435" y="0"/>
                    <a:pt x="4841" y="310"/>
                    <a:pt x="5058" y="389"/>
                  </a:cubicBezTo>
                </a:path>
              </a:pathLst>
            </a:custGeom>
            <a:noFill/>
            <a:ln w="9525">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endParaRPr lang="en-US"/>
            </a:p>
          </p:txBody>
        </p:sp>
        <p:sp>
          <p:nvSpPr>
            <p:cNvPr id="28" name="Freeform 12"/>
            <p:cNvSpPr>
              <a:spLocks/>
            </p:cNvSpPr>
            <p:nvPr>
              <p:custDataLst>
                <p:tags r:id="rId8"/>
              </p:custDataLst>
            </p:nvPr>
          </p:nvSpPr>
          <p:spPr bwMode="gray">
            <a:xfrm>
              <a:off x="745" y="1330"/>
              <a:ext cx="4757" cy="103"/>
            </a:xfrm>
            <a:custGeom>
              <a:avLst/>
              <a:gdLst>
                <a:gd name="T0" fmla="*/ 0 w 5058"/>
                <a:gd name="T1" fmla="*/ 372 h 448"/>
                <a:gd name="T2" fmla="*/ 848 w 5058"/>
                <a:gd name="T3" fmla="*/ 59 h 448"/>
                <a:gd name="T4" fmla="*/ 2551 w 5058"/>
                <a:gd name="T5" fmla="*/ 440 h 448"/>
                <a:gd name="T6" fmla="*/ 4017 w 5058"/>
                <a:gd name="T7" fmla="*/ 8 h 448"/>
                <a:gd name="T8" fmla="*/ 5058 w 5058"/>
                <a:gd name="T9" fmla="*/ 389 h 448"/>
              </a:gdLst>
              <a:ahLst/>
              <a:cxnLst>
                <a:cxn ang="0">
                  <a:pos x="T0" y="T1"/>
                </a:cxn>
                <a:cxn ang="0">
                  <a:pos x="T2" y="T3"/>
                </a:cxn>
                <a:cxn ang="0">
                  <a:pos x="T4" y="T5"/>
                </a:cxn>
                <a:cxn ang="0">
                  <a:pos x="T6" y="T7"/>
                </a:cxn>
                <a:cxn ang="0">
                  <a:pos x="T8" y="T9"/>
                </a:cxn>
              </a:cxnLst>
              <a:rect l="0" t="0" r="r" b="b"/>
              <a:pathLst>
                <a:path w="5058" h="448">
                  <a:moveTo>
                    <a:pt x="0" y="372"/>
                  </a:moveTo>
                  <a:cubicBezTo>
                    <a:pt x="141" y="320"/>
                    <a:pt x="423" y="48"/>
                    <a:pt x="848" y="59"/>
                  </a:cubicBezTo>
                  <a:cubicBezTo>
                    <a:pt x="1273" y="70"/>
                    <a:pt x="2023" y="448"/>
                    <a:pt x="2551" y="440"/>
                  </a:cubicBezTo>
                  <a:cubicBezTo>
                    <a:pt x="3079" y="432"/>
                    <a:pt x="3599" y="16"/>
                    <a:pt x="4017" y="8"/>
                  </a:cubicBezTo>
                  <a:cubicBezTo>
                    <a:pt x="4435" y="0"/>
                    <a:pt x="4841" y="310"/>
                    <a:pt x="5058" y="389"/>
                  </a:cubicBezTo>
                </a:path>
              </a:pathLst>
            </a:custGeom>
            <a:noFill/>
            <a:ln w="28575" cap="flat" cmpd="sng">
              <a:solidFill>
                <a:srgbClr val="FFFF66"/>
              </a:solidFill>
              <a:prstDash val="lgDash"/>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endParaRPr lang="en-US"/>
            </a:p>
          </p:txBody>
        </p:sp>
      </p:grpSp>
      <p:pic>
        <p:nvPicPr>
          <p:cNvPr id="21508" name="Picture 4" descr="Thinking, People, Man, Guy, Silhouette, Person, Hat"/>
          <p:cNvPicPr>
            <a:picLocks noChangeAspect="1" noChangeArrowheads="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818810" y="1994058"/>
            <a:ext cx="713847" cy="13212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Thinking, People, Man, Guy, Silhouette, Person, Hat"/>
          <p:cNvPicPr>
            <a:picLocks noChangeAspect="1" noChangeArrowheads="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3020545" y="2212959"/>
            <a:ext cx="713847" cy="132124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Thinking, People, Man, Guy, Silhouette, Person, Hat"/>
          <p:cNvPicPr>
            <a:picLocks noChangeAspect="1" noChangeArrowheads="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5222281" y="2127737"/>
            <a:ext cx="713847" cy="132124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Thinking, People, Man, Guy, Silhouette, Person, Hat"/>
          <p:cNvPicPr>
            <a:picLocks noChangeAspect="1" noChangeArrowheads="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flipH="1">
            <a:off x="7424017" y="1983586"/>
            <a:ext cx="713847" cy="1321243"/>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p:cNvGrpSpPr/>
          <p:nvPr/>
        </p:nvGrpSpPr>
        <p:grpSpPr>
          <a:xfrm>
            <a:off x="1808106" y="1059354"/>
            <a:ext cx="229593" cy="449632"/>
            <a:chOff x="2207843" y="5272271"/>
            <a:chExt cx="390382" cy="764519"/>
          </a:xfrm>
          <a:solidFill>
            <a:schemeClr val="accent3"/>
          </a:solidFill>
        </p:grpSpPr>
        <p:sp>
          <p:nvSpPr>
            <p:cNvPr id="51" name="Freeform 32"/>
            <p:cNvSpPr>
              <a:spLocks noEditPoints="1"/>
            </p:cNvSpPr>
            <p:nvPr/>
          </p:nvSpPr>
          <p:spPr bwMode="auto">
            <a:xfrm>
              <a:off x="2207843" y="5272271"/>
              <a:ext cx="390382" cy="453529"/>
            </a:xfrm>
            <a:custGeom>
              <a:avLst/>
              <a:gdLst>
                <a:gd name="T0" fmla="*/ 199 w 199"/>
                <a:gd name="T1" fmla="*/ 109 h 231"/>
                <a:gd name="T2" fmla="*/ 100 w 199"/>
                <a:gd name="T3" fmla="*/ 0 h 231"/>
                <a:gd name="T4" fmla="*/ 0 w 199"/>
                <a:gd name="T5" fmla="*/ 109 h 231"/>
                <a:gd name="T6" fmla="*/ 29 w 199"/>
                <a:gd name="T7" fmla="*/ 231 h 231"/>
                <a:gd name="T8" fmla="*/ 171 w 199"/>
                <a:gd name="T9" fmla="*/ 231 h 231"/>
                <a:gd name="T10" fmla="*/ 199 w 199"/>
                <a:gd name="T11" fmla="*/ 109 h 231"/>
                <a:gd name="T12" fmla="*/ 101 w 199"/>
                <a:gd name="T13" fmla="*/ 127 h 231"/>
                <a:gd name="T14" fmla="*/ 56 w 199"/>
                <a:gd name="T15" fmla="*/ 82 h 231"/>
                <a:gd name="T16" fmla="*/ 101 w 199"/>
                <a:gd name="T17" fmla="*/ 37 h 231"/>
                <a:gd name="T18" fmla="*/ 146 w 199"/>
                <a:gd name="T19" fmla="*/ 82 h 231"/>
                <a:gd name="T20" fmla="*/ 101 w 199"/>
                <a:gd name="T21" fmla="*/ 1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31">
                  <a:moveTo>
                    <a:pt x="199" y="109"/>
                  </a:moveTo>
                  <a:cubicBezTo>
                    <a:pt x="199" y="49"/>
                    <a:pt x="155" y="0"/>
                    <a:pt x="100" y="0"/>
                  </a:cubicBezTo>
                  <a:cubicBezTo>
                    <a:pt x="45" y="0"/>
                    <a:pt x="0" y="49"/>
                    <a:pt x="0" y="109"/>
                  </a:cubicBezTo>
                  <a:cubicBezTo>
                    <a:pt x="0" y="139"/>
                    <a:pt x="11" y="189"/>
                    <a:pt x="29" y="231"/>
                  </a:cubicBezTo>
                  <a:cubicBezTo>
                    <a:pt x="171" y="231"/>
                    <a:pt x="171" y="231"/>
                    <a:pt x="171" y="231"/>
                  </a:cubicBezTo>
                  <a:cubicBezTo>
                    <a:pt x="189" y="189"/>
                    <a:pt x="199" y="139"/>
                    <a:pt x="199" y="109"/>
                  </a:cubicBezTo>
                  <a:close/>
                  <a:moveTo>
                    <a:pt x="101" y="127"/>
                  </a:moveTo>
                  <a:cubicBezTo>
                    <a:pt x="76" y="127"/>
                    <a:pt x="56" y="106"/>
                    <a:pt x="56" y="82"/>
                  </a:cubicBezTo>
                  <a:cubicBezTo>
                    <a:pt x="56" y="57"/>
                    <a:pt x="76" y="37"/>
                    <a:pt x="101" y="37"/>
                  </a:cubicBezTo>
                  <a:cubicBezTo>
                    <a:pt x="125" y="37"/>
                    <a:pt x="146" y="57"/>
                    <a:pt x="146" y="82"/>
                  </a:cubicBezTo>
                  <a:cubicBezTo>
                    <a:pt x="146" y="106"/>
                    <a:pt x="125" y="127"/>
                    <a:pt x="101"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3"/>
            <p:cNvSpPr>
              <a:spLocks/>
            </p:cNvSpPr>
            <p:nvPr/>
          </p:nvSpPr>
          <p:spPr bwMode="auto">
            <a:xfrm>
              <a:off x="2275876" y="5756574"/>
              <a:ext cx="255935" cy="280216"/>
            </a:xfrm>
            <a:custGeom>
              <a:avLst/>
              <a:gdLst>
                <a:gd name="T0" fmla="*/ 65 w 130"/>
                <a:gd name="T1" fmla="*/ 143 h 143"/>
                <a:gd name="T2" fmla="*/ 130 w 130"/>
                <a:gd name="T3" fmla="*/ 0 h 143"/>
                <a:gd name="T4" fmla="*/ 0 w 130"/>
                <a:gd name="T5" fmla="*/ 0 h 143"/>
                <a:gd name="T6" fmla="*/ 65 w 130"/>
                <a:gd name="T7" fmla="*/ 143 h 143"/>
              </a:gdLst>
              <a:ahLst/>
              <a:cxnLst>
                <a:cxn ang="0">
                  <a:pos x="T0" y="T1"/>
                </a:cxn>
                <a:cxn ang="0">
                  <a:pos x="T2" y="T3"/>
                </a:cxn>
                <a:cxn ang="0">
                  <a:pos x="T4" y="T5"/>
                </a:cxn>
                <a:cxn ang="0">
                  <a:pos x="T6" y="T7"/>
                </a:cxn>
              </a:cxnLst>
              <a:rect l="0" t="0" r="r" b="b"/>
              <a:pathLst>
                <a:path w="130" h="143">
                  <a:moveTo>
                    <a:pt x="65" y="143"/>
                  </a:moveTo>
                  <a:cubicBezTo>
                    <a:pt x="90" y="143"/>
                    <a:pt x="112" y="37"/>
                    <a:pt x="130" y="0"/>
                  </a:cubicBezTo>
                  <a:cubicBezTo>
                    <a:pt x="0" y="0"/>
                    <a:pt x="0" y="0"/>
                    <a:pt x="0" y="0"/>
                  </a:cubicBezTo>
                  <a:cubicBezTo>
                    <a:pt x="17" y="37"/>
                    <a:pt x="40" y="143"/>
                    <a:pt x="65"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3" name="Freeform 58"/>
          <p:cNvSpPr>
            <a:spLocks/>
          </p:cNvSpPr>
          <p:nvPr/>
        </p:nvSpPr>
        <p:spPr bwMode="auto">
          <a:xfrm>
            <a:off x="8228510" y="1083434"/>
            <a:ext cx="444007" cy="398250"/>
          </a:xfrm>
          <a:custGeom>
            <a:avLst/>
            <a:gdLst>
              <a:gd name="T0" fmla="*/ 129 w 142"/>
              <a:gd name="T1" fmla="*/ 69 h 127"/>
              <a:gd name="T2" fmla="*/ 125 w 142"/>
              <a:gd name="T3" fmla="*/ 27 h 127"/>
              <a:gd name="T4" fmla="*/ 111 w 142"/>
              <a:gd name="T5" fmla="*/ 19 h 127"/>
              <a:gd name="T6" fmla="*/ 114 w 142"/>
              <a:gd name="T7" fmla="*/ 4 h 127"/>
              <a:gd name="T8" fmla="*/ 82 w 142"/>
              <a:gd name="T9" fmla="*/ 0 h 127"/>
              <a:gd name="T10" fmla="*/ 78 w 142"/>
              <a:gd name="T11" fmla="*/ 15 h 127"/>
              <a:gd name="T12" fmla="*/ 81 w 142"/>
              <a:gd name="T13" fmla="*/ 31 h 127"/>
              <a:gd name="T14" fmla="*/ 71 w 142"/>
              <a:gd name="T15" fmla="*/ 35 h 127"/>
              <a:gd name="T16" fmla="*/ 61 w 142"/>
              <a:gd name="T17" fmla="*/ 19 h 127"/>
              <a:gd name="T18" fmla="*/ 64 w 142"/>
              <a:gd name="T19" fmla="*/ 4 h 127"/>
              <a:gd name="T20" fmla="*/ 32 w 142"/>
              <a:gd name="T21" fmla="*/ 0 h 127"/>
              <a:gd name="T22" fmla="*/ 28 w 142"/>
              <a:gd name="T23" fmla="*/ 15 h 127"/>
              <a:gd name="T24" fmla="*/ 31 w 142"/>
              <a:gd name="T25" fmla="*/ 27 h 127"/>
              <a:gd name="T26" fmla="*/ 13 w 142"/>
              <a:gd name="T27" fmla="*/ 31 h 127"/>
              <a:gd name="T28" fmla="*/ 3 w 142"/>
              <a:gd name="T29" fmla="*/ 99 h 127"/>
              <a:gd name="T30" fmla="*/ 0 w 142"/>
              <a:gd name="T31" fmla="*/ 108 h 127"/>
              <a:gd name="T32" fmla="*/ 0 w 142"/>
              <a:gd name="T33" fmla="*/ 122 h 127"/>
              <a:gd name="T34" fmla="*/ 45 w 142"/>
              <a:gd name="T35" fmla="*/ 127 h 127"/>
              <a:gd name="T36" fmla="*/ 49 w 142"/>
              <a:gd name="T37" fmla="*/ 118 h 127"/>
              <a:gd name="T38" fmla="*/ 49 w 142"/>
              <a:gd name="T39" fmla="*/ 103 h 127"/>
              <a:gd name="T40" fmla="*/ 44 w 142"/>
              <a:gd name="T41" fmla="*/ 80 h 127"/>
              <a:gd name="T42" fmla="*/ 57 w 142"/>
              <a:gd name="T43" fmla="*/ 73 h 127"/>
              <a:gd name="T44" fmla="*/ 61 w 142"/>
              <a:gd name="T45" fmla="*/ 69 h 127"/>
              <a:gd name="T46" fmla="*/ 81 w 142"/>
              <a:gd name="T47" fmla="*/ 69 h 127"/>
              <a:gd name="T48" fmla="*/ 85 w 142"/>
              <a:gd name="T49" fmla="*/ 73 h 127"/>
              <a:gd name="T50" fmla="*/ 98 w 142"/>
              <a:gd name="T51" fmla="*/ 80 h 127"/>
              <a:gd name="T52" fmla="*/ 93 w 142"/>
              <a:gd name="T53" fmla="*/ 103 h 127"/>
              <a:gd name="T54" fmla="*/ 93 w 142"/>
              <a:gd name="T55" fmla="*/ 118 h 127"/>
              <a:gd name="T56" fmla="*/ 97 w 142"/>
              <a:gd name="T57" fmla="*/ 127 h 127"/>
              <a:gd name="T58" fmla="*/ 142 w 142"/>
              <a:gd name="T59" fmla="*/ 122 h 127"/>
              <a:gd name="T60" fmla="*/ 142 w 142"/>
              <a:gd name="T61" fmla="*/ 108 h 127"/>
              <a:gd name="T62" fmla="*/ 139 w 142"/>
              <a:gd name="T63" fmla="*/ 9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27">
                <a:moveTo>
                  <a:pt x="139" y="99"/>
                </a:moveTo>
                <a:cubicBezTo>
                  <a:pt x="129" y="69"/>
                  <a:pt x="129" y="69"/>
                  <a:pt x="129" y="69"/>
                </a:cubicBezTo>
                <a:cubicBezTo>
                  <a:pt x="129" y="31"/>
                  <a:pt x="129" y="31"/>
                  <a:pt x="129" y="31"/>
                </a:cubicBezTo>
                <a:cubicBezTo>
                  <a:pt x="129" y="29"/>
                  <a:pt x="127" y="27"/>
                  <a:pt x="125" y="27"/>
                </a:cubicBezTo>
                <a:cubicBezTo>
                  <a:pt x="111" y="27"/>
                  <a:pt x="111" y="27"/>
                  <a:pt x="111" y="27"/>
                </a:cubicBezTo>
                <a:cubicBezTo>
                  <a:pt x="111" y="19"/>
                  <a:pt x="111" y="19"/>
                  <a:pt x="111" y="19"/>
                </a:cubicBezTo>
                <a:cubicBezTo>
                  <a:pt x="113" y="18"/>
                  <a:pt x="114" y="16"/>
                  <a:pt x="114" y="15"/>
                </a:cubicBezTo>
                <a:cubicBezTo>
                  <a:pt x="114" y="4"/>
                  <a:pt x="114" y="4"/>
                  <a:pt x="114" y="4"/>
                </a:cubicBezTo>
                <a:cubicBezTo>
                  <a:pt x="114" y="1"/>
                  <a:pt x="112" y="0"/>
                  <a:pt x="110" y="0"/>
                </a:cubicBezTo>
                <a:cubicBezTo>
                  <a:pt x="82" y="0"/>
                  <a:pt x="82" y="0"/>
                  <a:pt x="82" y="0"/>
                </a:cubicBezTo>
                <a:cubicBezTo>
                  <a:pt x="80" y="0"/>
                  <a:pt x="78" y="1"/>
                  <a:pt x="78" y="4"/>
                </a:cubicBezTo>
                <a:cubicBezTo>
                  <a:pt x="78" y="15"/>
                  <a:pt x="78" y="15"/>
                  <a:pt x="78" y="15"/>
                </a:cubicBezTo>
                <a:cubicBezTo>
                  <a:pt x="78" y="16"/>
                  <a:pt x="79" y="18"/>
                  <a:pt x="81" y="19"/>
                </a:cubicBezTo>
                <a:cubicBezTo>
                  <a:pt x="81" y="31"/>
                  <a:pt x="81" y="31"/>
                  <a:pt x="81" y="31"/>
                </a:cubicBezTo>
                <a:cubicBezTo>
                  <a:pt x="81" y="31"/>
                  <a:pt x="81" y="31"/>
                  <a:pt x="81" y="31"/>
                </a:cubicBezTo>
                <a:cubicBezTo>
                  <a:pt x="80" y="34"/>
                  <a:pt x="76" y="35"/>
                  <a:pt x="71" y="35"/>
                </a:cubicBezTo>
                <a:cubicBezTo>
                  <a:pt x="66" y="35"/>
                  <a:pt x="62" y="34"/>
                  <a:pt x="61" y="31"/>
                </a:cubicBezTo>
                <a:cubicBezTo>
                  <a:pt x="61" y="19"/>
                  <a:pt x="61" y="19"/>
                  <a:pt x="61" y="19"/>
                </a:cubicBezTo>
                <a:cubicBezTo>
                  <a:pt x="63" y="18"/>
                  <a:pt x="64" y="16"/>
                  <a:pt x="64" y="15"/>
                </a:cubicBezTo>
                <a:cubicBezTo>
                  <a:pt x="64" y="4"/>
                  <a:pt x="64" y="4"/>
                  <a:pt x="64" y="4"/>
                </a:cubicBezTo>
                <a:cubicBezTo>
                  <a:pt x="64" y="1"/>
                  <a:pt x="62" y="0"/>
                  <a:pt x="60" y="0"/>
                </a:cubicBezTo>
                <a:cubicBezTo>
                  <a:pt x="32" y="0"/>
                  <a:pt x="32" y="0"/>
                  <a:pt x="32" y="0"/>
                </a:cubicBezTo>
                <a:cubicBezTo>
                  <a:pt x="30" y="0"/>
                  <a:pt x="28" y="1"/>
                  <a:pt x="28" y="4"/>
                </a:cubicBezTo>
                <a:cubicBezTo>
                  <a:pt x="28" y="15"/>
                  <a:pt x="28" y="15"/>
                  <a:pt x="28" y="15"/>
                </a:cubicBezTo>
                <a:cubicBezTo>
                  <a:pt x="28" y="16"/>
                  <a:pt x="29" y="18"/>
                  <a:pt x="31" y="19"/>
                </a:cubicBezTo>
                <a:cubicBezTo>
                  <a:pt x="31" y="27"/>
                  <a:pt x="31" y="27"/>
                  <a:pt x="31" y="27"/>
                </a:cubicBezTo>
                <a:cubicBezTo>
                  <a:pt x="17" y="27"/>
                  <a:pt x="17" y="27"/>
                  <a:pt x="17" y="27"/>
                </a:cubicBezTo>
                <a:cubicBezTo>
                  <a:pt x="15" y="27"/>
                  <a:pt x="13" y="29"/>
                  <a:pt x="13" y="31"/>
                </a:cubicBezTo>
                <a:cubicBezTo>
                  <a:pt x="13" y="69"/>
                  <a:pt x="13" y="69"/>
                  <a:pt x="13" y="69"/>
                </a:cubicBezTo>
                <a:cubicBezTo>
                  <a:pt x="3" y="99"/>
                  <a:pt x="3" y="99"/>
                  <a:pt x="3" y="99"/>
                </a:cubicBezTo>
                <a:cubicBezTo>
                  <a:pt x="1" y="99"/>
                  <a:pt x="0" y="101"/>
                  <a:pt x="0" y="103"/>
                </a:cubicBezTo>
                <a:cubicBezTo>
                  <a:pt x="0" y="108"/>
                  <a:pt x="0" y="108"/>
                  <a:pt x="0" y="108"/>
                </a:cubicBezTo>
                <a:cubicBezTo>
                  <a:pt x="0" y="118"/>
                  <a:pt x="0" y="118"/>
                  <a:pt x="0" y="118"/>
                </a:cubicBezTo>
                <a:cubicBezTo>
                  <a:pt x="0" y="122"/>
                  <a:pt x="0" y="122"/>
                  <a:pt x="0" y="122"/>
                </a:cubicBezTo>
                <a:cubicBezTo>
                  <a:pt x="0" y="125"/>
                  <a:pt x="1" y="127"/>
                  <a:pt x="4" y="127"/>
                </a:cubicBezTo>
                <a:cubicBezTo>
                  <a:pt x="45" y="127"/>
                  <a:pt x="45" y="127"/>
                  <a:pt x="45" y="127"/>
                </a:cubicBezTo>
                <a:cubicBezTo>
                  <a:pt x="47" y="127"/>
                  <a:pt x="49" y="125"/>
                  <a:pt x="49" y="122"/>
                </a:cubicBezTo>
                <a:cubicBezTo>
                  <a:pt x="49" y="118"/>
                  <a:pt x="49" y="118"/>
                  <a:pt x="49" y="118"/>
                </a:cubicBezTo>
                <a:cubicBezTo>
                  <a:pt x="49" y="108"/>
                  <a:pt x="49" y="108"/>
                  <a:pt x="49" y="108"/>
                </a:cubicBezTo>
                <a:cubicBezTo>
                  <a:pt x="49" y="103"/>
                  <a:pt x="49" y="103"/>
                  <a:pt x="49" y="103"/>
                </a:cubicBezTo>
                <a:cubicBezTo>
                  <a:pt x="49" y="101"/>
                  <a:pt x="48" y="100"/>
                  <a:pt x="46" y="99"/>
                </a:cubicBezTo>
                <a:cubicBezTo>
                  <a:pt x="44" y="80"/>
                  <a:pt x="44" y="80"/>
                  <a:pt x="44" y="80"/>
                </a:cubicBezTo>
                <a:cubicBezTo>
                  <a:pt x="44" y="80"/>
                  <a:pt x="44" y="73"/>
                  <a:pt x="49" y="73"/>
                </a:cubicBezTo>
                <a:cubicBezTo>
                  <a:pt x="54" y="73"/>
                  <a:pt x="57" y="73"/>
                  <a:pt x="57" y="73"/>
                </a:cubicBezTo>
                <a:cubicBezTo>
                  <a:pt x="59" y="73"/>
                  <a:pt x="61" y="71"/>
                  <a:pt x="61" y="69"/>
                </a:cubicBezTo>
                <a:cubicBezTo>
                  <a:pt x="61" y="69"/>
                  <a:pt x="61" y="69"/>
                  <a:pt x="61" y="69"/>
                </a:cubicBezTo>
                <a:cubicBezTo>
                  <a:pt x="62" y="65"/>
                  <a:pt x="66" y="64"/>
                  <a:pt x="71" y="64"/>
                </a:cubicBezTo>
                <a:cubicBezTo>
                  <a:pt x="76" y="64"/>
                  <a:pt x="80" y="65"/>
                  <a:pt x="81" y="69"/>
                </a:cubicBezTo>
                <a:cubicBezTo>
                  <a:pt x="81" y="69"/>
                  <a:pt x="81" y="69"/>
                  <a:pt x="81" y="69"/>
                </a:cubicBezTo>
                <a:cubicBezTo>
                  <a:pt x="81" y="71"/>
                  <a:pt x="83" y="73"/>
                  <a:pt x="85" y="73"/>
                </a:cubicBezTo>
                <a:cubicBezTo>
                  <a:pt x="85" y="73"/>
                  <a:pt x="88" y="73"/>
                  <a:pt x="93" y="73"/>
                </a:cubicBezTo>
                <a:cubicBezTo>
                  <a:pt x="98" y="73"/>
                  <a:pt x="98" y="80"/>
                  <a:pt x="98" y="80"/>
                </a:cubicBezTo>
                <a:cubicBezTo>
                  <a:pt x="96" y="99"/>
                  <a:pt x="96" y="99"/>
                  <a:pt x="96" y="99"/>
                </a:cubicBezTo>
                <a:cubicBezTo>
                  <a:pt x="94" y="100"/>
                  <a:pt x="93" y="101"/>
                  <a:pt x="93" y="103"/>
                </a:cubicBezTo>
                <a:cubicBezTo>
                  <a:pt x="93" y="108"/>
                  <a:pt x="93" y="108"/>
                  <a:pt x="93" y="108"/>
                </a:cubicBezTo>
                <a:cubicBezTo>
                  <a:pt x="93" y="118"/>
                  <a:pt x="93" y="118"/>
                  <a:pt x="93" y="118"/>
                </a:cubicBezTo>
                <a:cubicBezTo>
                  <a:pt x="93" y="122"/>
                  <a:pt x="93" y="122"/>
                  <a:pt x="93" y="122"/>
                </a:cubicBezTo>
                <a:cubicBezTo>
                  <a:pt x="93" y="125"/>
                  <a:pt x="95" y="127"/>
                  <a:pt x="97" y="127"/>
                </a:cubicBezTo>
                <a:cubicBezTo>
                  <a:pt x="138" y="127"/>
                  <a:pt x="138" y="127"/>
                  <a:pt x="138" y="127"/>
                </a:cubicBezTo>
                <a:cubicBezTo>
                  <a:pt x="141" y="127"/>
                  <a:pt x="142" y="125"/>
                  <a:pt x="142" y="122"/>
                </a:cubicBezTo>
                <a:cubicBezTo>
                  <a:pt x="142" y="118"/>
                  <a:pt x="142" y="118"/>
                  <a:pt x="142" y="118"/>
                </a:cubicBezTo>
                <a:cubicBezTo>
                  <a:pt x="142" y="108"/>
                  <a:pt x="142" y="108"/>
                  <a:pt x="142" y="108"/>
                </a:cubicBezTo>
                <a:cubicBezTo>
                  <a:pt x="142" y="103"/>
                  <a:pt x="142" y="103"/>
                  <a:pt x="142" y="103"/>
                </a:cubicBezTo>
                <a:cubicBezTo>
                  <a:pt x="142" y="101"/>
                  <a:pt x="141" y="99"/>
                  <a:pt x="139" y="99"/>
                </a:cubicBezTo>
                <a:close/>
              </a:path>
            </a:pathLst>
          </a:custGeom>
          <a:solidFill>
            <a:schemeClr val="accent3"/>
          </a:solidFill>
          <a:ln>
            <a:noFill/>
          </a:ln>
          <a:extLst/>
        </p:spPr>
        <p:txBody>
          <a:bodyPr vert="horz" wrap="square" lIns="93296" tIns="46648" rIns="93296" bIns="46648" numCol="1" anchor="t" anchorCtr="0" compatLnSpc="1">
            <a:prstTxWarp prst="textNoShape">
              <a:avLst/>
            </a:prstTxWarp>
          </a:bodyPr>
          <a:lstStyle/>
          <a:p>
            <a:endParaRPr lang="en-US"/>
          </a:p>
        </p:txBody>
      </p:sp>
      <p:sp>
        <p:nvSpPr>
          <p:cNvPr id="54" name="Freeform 20"/>
          <p:cNvSpPr>
            <a:spLocks noEditPoints="1"/>
          </p:cNvSpPr>
          <p:nvPr/>
        </p:nvSpPr>
        <p:spPr bwMode="auto">
          <a:xfrm>
            <a:off x="3775602" y="1059354"/>
            <a:ext cx="507010" cy="508600"/>
          </a:xfrm>
          <a:custGeom>
            <a:avLst/>
            <a:gdLst>
              <a:gd name="T0" fmla="*/ 43 w 309"/>
              <a:gd name="T1" fmla="*/ 171 h 309"/>
              <a:gd name="T2" fmla="*/ 26 w 309"/>
              <a:gd name="T3" fmla="*/ 177 h 309"/>
              <a:gd name="T4" fmla="*/ 25 w 309"/>
              <a:gd name="T5" fmla="*/ 178 h 309"/>
              <a:gd name="T6" fmla="*/ 28 w 309"/>
              <a:gd name="T7" fmla="*/ 188 h 309"/>
              <a:gd name="T8" fmla="*/ 71 w 309"/>
              <a:gd name="T9" fmla="*/ 202 h 309"/>
              <a:gd name="T10" fmla="*/ 95 w 309"/>
              <a:gd name="T11" fmla="*/ 177 h 309"/>
              <a:gd name="T12" fmla="*/ 43 w 309"/>
              <a:gd name="T13" fmla="*/ 171 h 309"/>
              <a:gd name="T14" fmla="*/ 282 w 309"/>
              <a:gd name="T15" fmla="*/ 70 h 309"/>
              <a:gd name="T16" fmla="*/ 299 w 309"/>
              <a:gd name="T17" fmla="*/ 10 h 309"/>
              <a:gd name="T18" fmla="*/ 239 w 309"/>
              <a:gd name="T19" fmla="*/ 27 h 309"/>
              <a:gd name="T20" fmla="*/ 195 w 309"/>
              <a:gd name="T21" fmla="*/ 71 h 309"/>
              <a:gd name="T22" fmla="*/ 20 w 309"/>
              <a:gd name="T23" fmla="*/ 42 h 309"/>
              <a:gd name="T24" fmla="*/ 6 w 309"/>
              <a:gd name="T25" fmla="*/ 49 h 309"/>
              <a:gd name="T26" fmla="*/ 2 w 309"/>
              <a:gd name="T27" fmla="*/ 57 h 309"/>
              <a:gd name="T28" fmla="*/ 7 w 309"/>
              <a:gd name="T29" fmla="*/ 70 h 309"/>
              <a:gd name="T30" fmla="*/ 145 w 309"/>
              <a:gd name="T31" fmla="*/ 131 h 309"/>
              <a:gd name="T32" fmla="*/ 146 w 309"/>
              <a:gd name="T33" fmla="*/ 132 h 309"/>
              <a:gd name="T34" fmla="*/ 86 w 309"/>
              <a:gd name="T35" fmla="*/ 203 h 309"/>
              <a:gd name="T36" fmla="*/ 79 w 309"/>
              <a:gd name="T37" fmla="*/ 230 h 309"/>
              <a:gd name="T38" fmla="*/ 106 w 309"/>
              <a:gd name="T39" fmla="*/ 223 h 309"/>
              <a:gd name="T40" fmla="*/ 177 w 309"/>
              <a:gd name="T41" fmla="*/ 163 h 309"/>
              <a:gd name="T42" fmla="*/ 178 w 309"/>
              <a:gd name="T43" fmla="*/ 164 h 309"/>
              <a:gd name="T44" fmla="*/ 239 w 309"/>
              <a:gd name="T45" fmla="*/ 302 h 309"/>
              <a:gd name="T46" fmla="*/ 252 w 309"/>
              <a:gd name="T47" fmla="*/ 307 h 309"/>
              <a:gd name="T48" fmla="*/ 260 w 309"/>
              <a:gd name="T49" fmla="*/ 303 h 309"/>
              <a:gd name="T50" fmla="*/ 267 w 309"/>
              <a:gd name="T51" fmla="*/ 289 h 309"/>
              <a:gd name="T52" fmla="*/ 238 w 309"/>
              <a:gd name="T53" fmla="*/ 114 h 309"/>
              <a:gd name="T54" fmla="*/ 282 w 309"/>
              <a:gd name="T55" fmla="*/ 70 h 309"/>
              <a:gd name="T56" fmla="*/ 132 w 309"/>
              <a:gd name="T57" fmla="*/ 214 h 309"/>
              <a:gd name="T58" fmla="*/ 107 w 309"/>
              <a:gd name="T59" fmla="*/ 238 h 309"/>
              <a:gd name="T60" fmla="*/ 121 w 309"/>
              <a:gd name="T61" fmla="*/ 281 h 309"/>
              <a:gd name="T62" fmla="*/ 131 w 309"/>
              <a:gd name="T63" fmla="*/ 284 h 309"/>
              <a:gd name="T64" fmla="*/ 132 w 309"/>
              <a:gd name="T65" fmla="*/ 283 h 309"/>
              <a:gd name="T66" fmla="*/ 138 w 309"/>
              <a:gd name="T67" fmla="*/ 266 h 309"/>
              <a:gd name="T68" fmla="*/ 132 w 309"/>
              <a:gd name="T69" fmla="*/ 214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9" h="309">
                <a:moveTo>
                  <a:pt x="43" y="171"/>
                </a:moveTo>
                <a:cubicBezTo>
                  <a:pt x="37" y="171"/>
                  <a:pt x="30" y="173"/>
                  <a:pt x="26" y="177"/>
                </a:cubicBezTo>
                <a:cubicBezTo>
                  <a:pt x="25" y="178"/>
                  <a:pt x="25" y="178"/>
                  <a:pt x="25" y="178"/>
                </a:cubicBezTo>
                <a:cubicBezTo>
                  <a:pt x="21" y="182"/>
                  <a:pt x="23" y="186"/>
                  <a:pt x="28" y="188"/>
                </a:cubicBezTo>
                <a:cubicBezTo>
                  <a:pt x="71" y="202"/>
                  <a:pt x="71" y="202"/>
                  <a:pt x="71" y="202"/>
                </a:cubicBezTo>
                <a:cubicBezTo>
                  <a:pt x="95" y="177"/>
                  <a:pt x="95" y="177"/>
                  <a:pt x="95" y="177"/>
                </a:cubicBezTo>
                <a:lnTo>
                  <a:pt x="43" y="171"/>
                </a:lnTo>
                <a:close/>
                <a:moveTo>
                  <a:pt x="282" y="70"/>
                </a:moveTo>
                <a:cubicBezTo>
                  <a:pt x="298" y="53"/>
                  <a:pt x="309" y="21"/>
                  <a:pt x="299" y="10"/>
                </a:cubicBezTo>
                <a:cubicBezTo>
                  <a:pt x="288" y="0"/>
                  <a:pt x="256" y="11"/>
                  <a:pt x="239" y="27"/>
                </a:cubicBezTo>
                <a:cubicBezTo>
                  <a:pt x="231" y="35"/>
                  <a:pt x="213" y="53"/>
                  <a:pt x="195" y="71"/>
                </a:cubicBezTo>
                <a:cubicBezTo>
                  <a:pt x="20" y="42"/>
                  <a:pt x="20" y="42"/>
                  <a:pt x="20" y="42"/>
                </a:cubicBezTo>
                <a:cubicBezTo>
                  <a:pt x="14" y="41"/>
                  <a:pt x="8" y="44"/>
                  <a:pt x="6" y="49"/>
                </a:cubicBezTo>
                <a:cubicBezTo>
                  <a:pt x="2" y="57"/>
                  <a:pt x="2" y="57"/>
                  <a:pt x="2" y="57"/>
                </a:cubicBezTo>
                <a:cubicBezTo>
                  <a:pt x="0" y="62"/>
                  <a:pt x="2" y="68"/>
                  <a:pt x="7" y="70"/>
                </a:cubicBezTo>
                <a:cubicBezTo>
                  <a:pt x="145" y="131"/>
                  <a:pt x="145" y="131"/>
                  <a:pt x="145" y="131"/>
                </a:cubicBezTo>
                <a:cubicBezTo>
                  <a:pt x="146" y="131"/>
                  <a:pt x="146" y="131"/>
                  <a:pt x="146" y="132"/>
                </a:cubicBezTo>
                <a:cubicBezTo>
                  <a:pt x="128" y="157"/>
                  <a:pt x="94" y="195"/>
                  <a:pt x="86" y="203"/>
                </a:cubicBezTo>
                <a:cubicBezTo>
                  <a:pt x="77" y="212"/>
                  <a:pt x="74" y="222"/>
                  <a:pt x="79" y="230"/>
                </a:cubicBezTo>
                <a:cubicBezTo>
                  <a:pt x="86" y="235"/>
                  <a:pt x="97" y="232"/>
                  <a:pt x="106" y="223"/>
                </a:cubicBezTo>
                <a:cubicBezTo>
                  <a:pt x="114" y="215"/>
                  <a:pt x="152" y="181"/>
                  <a:pt x="177" y="163"/>
                </a:cubicBezTo>
                <a:cubicBezTo>
                  <a:pt x="177" y="163"/>
                  <a:pt x="178" y="163"/>
                  <a:pt x="178" y="164"/>
                </a:cubicBezTo>
                <a:cubicBezTo>
                  <a:pt x="239" y="302"/>
                  <a:pt x="239" y="302"/>
                  <a:pt x="239" y="302"/>
                </a:cubicBezTo>
                <a:cubicBezTo>
                  <a:pt x="241" y="307"/>
                  <a:pt x="247" y="309"/>
                  <a:pt x="252" y="307"/>
                </a:cubicBezTo>
                <a:cubicBezTo>
                  <a:pt x="260" y="303"/>
                  <a:pt x="260" y="303"/>
                  <a:pt x="260" y="303"/>
                </a:cubicBezTo>
                <a:cubicBezTo>
                  <a:pt x="265" y="301"/>
                  <a:pt x="268" y="294"/>
                  <a:pt x="267" y="289"/>
                </a:cubicBezTo>
                <a:cubicBezTo>
                  <a:pt x="238" y="114"/>
                  <a:pt x="238" y="114"/>
                  <a:pt x="238" y="114"/>
                </a:cubicBezTo>
                <a:cubicBezTo>
                  <a:pt x="256" y="96"/>
                  <a:pt x="274" y="78"/>
                  <a:pt x="282" y="70"/>
                </a:cubicBezTo>
                <a:close/>
                <a:moveTo>
                  <a:pt x="132" y="214"/>
                </a:moveTo>
                <a:cubicBezTo>
                  <a:pt x="107" y="238"/>
                  <a:pt x="107" y="238"/>
                  <a:pt x="107" y="238"/>
                </a:cubicBezTo>
                <a:cubicBezTo>
                  <a:pt x="121" y="281"/>
                  <a:pt x="121" y="281"/>
                  <a:pt x="121" y="281"/>
                </a:cubicBezTo>
                <a:cubicBezTo>
                  <a:pt x="123" y="286"/>
                  <a:pt x="127" y="287"/>
                  <a:pt x="131" y="284"/>
                </a:cubicBezTo>
                <a:cubicBezTo>
                  <a:pt x="132" y="283"/>
                  <a:pt x="132" y="283"/>
                  <a:pt x="132" y="283"/>
                </a:cubicBezTo>
                <a:cubicBezTo>
                  <a:pt x="136" y="279"/>
                  <a:pt x="138" y="272"/>
                  <a:pt x="138" y="266"/>
                </a:cubicBezTo>
                <a:lnTo>
                  <a:pt x="132" y="21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5" name="Freeform 73"/>
          <p:cNvSpPr>
            <a:spLocks/>
          </p:cNvSpPr>
          <p:nvPr/>
        </p:nvSpPr>
        <p:spPr bwMode="auto">
          <a:xfrm>
            <a:off x="5958315" y="1073228"/>
            <a:ext cx="512466" cy="479329"/>
          </a:xfrm>
          <a:custGeom>
            <a:avLst/>
            <a:gdLst>
              <a:gd name="T0" fmla="*/ 72 w 151"/>
              <a:gd name="T1" fmla="*/ 2 h 141"/>
              <a:gd name="T2" fmla="*/ 60 w 151"/>
              <a:gd name="T3" fmla="*/ 18 h 141"/>
              <a:gd name="T4" fmla="*/ 51 w 151"/>
              <a:gd name="T5" fmla="*/ 15 h 141"/>
              <a:gd name="T6" fmla="*/ 51 w 151"/>
              <a:gd name="T7" fmla="*/ 14 h 141"/>
              <a:gd name="T8" fmla="*/ 46 w 151"/>
              <a:gd name="T9" fmla="*/ 9 h 141"/>
              <a:gd name="T10" fmla="*/ 43 w 151"/>
              <a:gd name="T11" fmla="*/ 9 h 141"/>
              <a:gd name="T12" fmla="*/ 38 w 151"/>
              <a:gd name="T13" fmla="*/ 14 h 141"/>
              <a:gd name="T14" fmla="*/ 38 w 151"/>
              <a:gd name="T15" fmla="*/ 44 h 141"/>
              <a:gd name="T16" fmla="*/ 37 w 151"/>
              <a:gd name="T17" fmla="*/ 47 h 141"/>
              <a:gd name="T18" fmla="*/ 2 w 151"/>
              <a:gd name="T19" fmla="*/ 92 h 141"/>
              <a:gd name="T20" fmla="*/ 6 w 151"/>
              <a:gd name="T21" fmla="*/ 100 h 141"/>
              <a:gd name="T22" fmla="*/ 21 w 151"/>
              <a:gd name="T23" fmla="*/ 100 h 141"/>
              <a:gd name="T24" fmla="*/ 26 w 151"/>
              <a:gd name="T25" fmla="*/ 105 h 141"/>
              <a:gd name="T26" fmla="*/ 26 w 151"/>
              <a:gd name="T27" fmla="*/ 136 h 141"/>
              <a:gd name="T28" fmla="*/ 31 w 151"/>
              <a:gd name="T29" fmla="*/ 141 h 141"/>
              <a:gd name="T30" fmla="*/ 61 w 151"/>
              <a:gd name="T31" fmla="*/ 141 h 141"/>
              <a:gd name="T32" fmla="*/ 66 w 151"/>
              <a:gd name="T33" fmla="*/ 136 h 141"/>
              <a:gd name="T34" fmla="*/ 66 w 151"/>
              <a:gd name="T35" fmla="*/ 107 h 141"/>
              <a:gd name="T36" fmla="*/ 71 w 151"/>
              <a:gd name="T37" fmla="*/ 102 h 141"/>
              <a:gd name="T38" fmla="*/ 76 w 151"/>
              <a:gd name="T39" fmla="*/ 102 h 141"/>
              <a:gd name="T40" fmla="*/ 80 w 151"/>
              <a:gd name="T41" fmla="*/ 102 h 141"/>
              <a:gd name="T42" fmla="*/ 85 w 151"/>
              <a:gd name="T43" fmla="*/ 107 h 141"/>
              <a:gd name="T44" fmla="*/ 85 w 151"/>
              <a:gd name="T45" fmla="*/ 136 h 141"/>
              <a:gd name="T46" fmla="*/ 90 w 151"/>
              <a:gd name="T47" fmla="*/ 141 h 141"/>
              <a:gd name="T48" fmla="*/ 120 w 151"/>
              <a:gd name="T49" fmla="*/ 141 h 141"/>
              <a:gd name="T50" fmla="*/ 125 w 151"/>
              <a:gd name="T51" fmla="*/ 136 h 141"/>
              <a:gd name="T52" fmla="*/ 125 w 151"/>
              <a:gd name="T53" fmla="*/ 105 h 141"/>
              <a:gd name="T54" fmla="*/ 130 w 151"/>
              <a:gd name="T55" fmla="*/ 100 h 141"/>
              <a:gd name="T56" fmla="*/ 145 w 151"/>
              <a:gd name="T57" fmla="*/ 100 h 141"/>
              <a:gd name="T58" fmla="*/ 149 w 151"/>
              <a:gd name="T59" fmla="*/ 92 h 141"/>
              <a:gd name="T60" fmla="*/ 79 w 151"/>
              <a:gd name="T61" fmla="*/ 2 h 141"/>
              <a:gd name="T62" fmla="*/ 72 w 151"/>
              <a:gd name="T63" fmla="*/ 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41">
                <a:moveTo>
                  <a:pt x="72" y="2"/>
                </a:moveTo>
                <a:cubicBezTo>
                  <a:pt x="60" y="18"/>
                  <a:pt x="60" y="18"/>
                  <a:pt x="60" y="18"/>
                </a:cubicBezTo>
                <a:cubicBezTo>
                  <a:pt x="57" y="21"/>
                  <a:pt x="51" y="19"/>
                  <a:pt x="51" y="15"/>
                </a:cubicBezTo>
                <a:cubicBezTo>
                  <a:pt x="51" y="14"/>
                  <a:pt x="51" y="14"/>
                  <a:pt x="51" y="14"/>
                </a:cubicBezTo>
                <a:cubicBezTo>
                  <a:pt x="51" y="12"/>
                  <a:pt x="49" y="9"/>
                  <a:pt x="46" y="9"/>
                </a:cubicBezTo>
                <a:cubicBezTo>
                  <a:pt x="43" y="9"/>
                  <a:pt x="43" y="9"/>
                  <a:pt x="43" y="9"/>
                </a:cubicBezTo>
                <a:cubicBezTo>
                  <a:pt x="40" y="9"/>
                  <a:pt x="38" y="12"/>
                  <a:pt x="38" y="14"/>
                </a:cubicBezTo>
                <a:cubicBezTo>
                  <a:pt x="38" y="44"/>
                  <a:pt x="38" y="44"/>
                  <a:pt x="38" y="44"/>
                </a:cubicBezTo>
                <a:cubicBezTo>
                  <a:pt x="38" y="45"/>
                  <a:pt x="38" y="46"/>
                  <a:pt x="37" y="47"/>
                </a:cubicBezTo>
                <a:cubicBezTo>
                  <a:pt x="2" y="92"/>
                  <a:pt x="2" y="92"/>
                  <a:pt x="2" y="92"/>
                </a:cubicBezTo>
                <a:cubicBezTo>
                  <a:pt x="0" y="95"/>
                  <a:pt x="2" y="100"/>
                  <a:pt x="6" y="100"/>
                </a:cubicBezTo>
                <a:cubicBezTo>
                  <a:pt x="21" y="100"/>
                  <a:pt x="21" y="100"/>
                  <a:pt x="21" y="100"/>
                </a:cubicBezTo>
                <a:cubicBezTo>
                  <a:pt x="24" y="100"/>
                  <a:pt x="26" y="102"/>
                  <a:pt x="26" y="105"/>
                </a:cubicBezTo>
                <a:cubicBezTo>
                  <a:pt x="26" y="136"/>
                  <a:pt x="26" y="136"/>
                  <a:pt x="26" y="136"/>
                </a:cubicBezTo>
                <a:cubicBezTo>
                  <a:pt x="26" y="139"/>
                  <a:pt x="29" y="141"/>
                  <a:pt x="31" y="141"/>
                </a:cubicBezTo>
                <a:cubicBezTo>
                  <a:pt x="61" y="141"/>
                  <a:pt x="61" y="141"/>
                  <a:pt x="61" y="141"/>
                </a:cubicBezTo>
                <a:cubicBezTo>
                  <a:pt x="64" y="141"/>
                  <a:pt x="66" y="139"/>
                  <a:pt x="66" y="136"/>
                </a:cubicBezTo>
                <a:cubicBezTo>
                  <a:pt x="66" y="107"/>
                  <a:pt x="66" y="107"/>
                  <a:pt x="66" y="107"/>
                </a:cubicBezTo>
                <a:cubicBezTo>
                  <a:pt x="66" y="104"/>
                  <a:pt x="68" y="102"/>
                  <a:pt x="71" y="102"/>
                </a:cubicBezTo>
                <a:cubicBezTo>
                  <a:pt x="76" y="102"/>
                  <a:pt x="76" y="102"/>
                  <a:pt x="76" y="102"/>
                </a:cubicBezTo>
                <a:cubicBezTo>
                  <a:pt x="80" y="102"/>
                  <a:pt x="80" y="102"/>
                  <a:pt x="80" y="102"/>
                </a:cubicBezTo>
                <a:cubicBezTo>
                  <a:pt x="83" y="102"/>
                  <a:pt x="85" y="104"/>
                  <a:pt x="85" y="107"/>
                </a:cubicBezTo>
                <a:cubicBezTo>
                  <a:pt x="85" y="136"/>
                  <a:pt x="85" y="136"/>
                  <a:pt x="85" y="136"/>
                </a:cubicBezTo>
                <a:cubicBezTo>
                  <a:pt x="85" y="139"/>
                  <a:pt x="88" y="141"/>
                  <a:pt x="90" y="141"/>
                </a:cubicBezTo>
                <a:cubicBezTo>
                  <a:pt x="120" y="141"/>
                  <a:pt x="120" y="141"/>
                  <a:pt x="120" y="141"/>
                </a:cubicBezTo>
                <a:cubicBezTo>
                  <a:pt x="123" y="141"/>
                  <a:pt x="125" y="139"/>
                  <a:pt x="125" y="136"/>
                </a:cubicBezTo>
                <a:cubicBezTo>
                  <a:pt x="125" y="105"/>
                  <a:pt x="125" y="105"/>
                  <a:pt x="125" y="105"/>
                </a:cubicBezTo>
                <a:cubicBezTo>
                  <a:pt x="125" y="102"/>
                  <a:pt x="127" y="100"/>
                  <a:pt x="130" y="100"/>
                </a:cubicBezTo>
                <a:cubicBezTo>
                  <a:pt x="145" y="100"/>
                  <a:pt x="145" y="100"/>
                  <a:pt x="145" y="100"/>
                </a:cubicBezTo>
                <a:cubicBezTo>
                  <a:pt x="149" y="100"/>
                  <a:pt x="151" y="95"/>
                  <a:pt x="149" y="92"/>
                </a:cubicBezTo>
                <a:cubicBezTo>
                  <a:pt x="79" y="2"/>
                  <a:pt x="79" y="2"/>
                  <a:pt x="79" y="2"/>
                </a:cubicBezTo>
                <a:cubicBezTo>
                  <a:pt x="77" y="0"/>
                  <a:pt x="74" y="0"/>
                  <a:pt x="72" y="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719119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69"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ounded Rectangle 15"/>
          <p:cNvSpPr/>
          <p:nvPr/>
        </p:nvSpPr>
        <p:spPr>
          <a:xfrm>
            <a:off x="165099" y="690902"/>
            <a:ext cx="2021269" cy="520011"/>
          </a:xfrm>
          <a:prstGeom prst="roundRect">
            <a:avLst>
              <a:gd name="adj" fmla="val 7971"/>
            </a:avLst>
          </a:prstGeom>
          <a:gradFill flip="none" rotWithShape="1">
            <a:gsLst>
              <a:gs pos="50000">
                <a:schemeClr val="bg1"/>
              </a:gs>
              <a:gs pos="0">
                <a:schemeClr val="tx2">
                  <a:lumMod val="10000"/>
                  <a:lumOff val="90000"/>
                </a:schemeClr>
              </a:gs>
              <a:gs pos="100000">
                <a:schemeClr val="tx2">
                  <a:lumMod val="10000"/>
                  <a:lumOff val="90000"/>
                </a:schemeClr>
              </a:gs>
            </a:gsLst>
            <a:lin ang="16200000" scaled="1"/>
            <a:tileRect/>
          </a:gra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sp>
        <p:nvSpPr>
          <p:cNvPr id="17" name="Rounded Rectangle 16"/>
          <p:cNvSpPr/>
          <p:nvPr/>
        </p:nvSpPr>
        <p:spPr>
          <a:xfrm>
            <a:off x="2366834" y="690902"/>
            <a:ext cx="2021269" cy="520011"/>
          </a:xfrm>
          <a:prstGeom prst="roundRect">
            <a:avLst>
              <a:gd name="adj" fmla="val 7971"/>
            </a:avLst>
          </a:prstGeom>
          <a:gradFill flip="none" rotWithShape="1">
            <a:gsLst>
              <a:gs pos="50000">
                <a:schemeClr val="bg1"/>
              </a:gs>
              <a:gs pos="0">
                <a:schemeClr val="tx2">
                  <a:lumMod val="10000"/>
                  <a:lumOff val="90000"/>
                </a:schemeClr>
              </a:gs>
              <a:gs pos="100000">
                <a:schemeClr val="tx2">
                  <a:lumMod val="10000"/>
                  <a:lumOff val="90000"/>
                </a:schemeClr>
              </a:gs>
            </a:gsLst>
            <a:lin ang="16200000" scaled="1"/>
            <a:tileRect/>
          </a:gra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sp>
        <p:nvSpPr>
          <p:cNvPr id="18" name="Rounded Rectangle 17"/>
          <p:cNvSpPr/>
          <p:nvPr/>
        </p:nvSpPr>
        <p:spPr>
          <a:xfrm>
            <a:off x="4568570" y="690902"/>
            <a:ext cx="2021269" cy="520011"/>
          </a:xfrm>
          <a:prstGeom prst="roundRect">
            <a:avLst>
              <a:gd name="adj" fmla="val 7971"/>
            </a:avLst>
          </a:prstGeom>
          <a:gradFill flip="none" rotWithShape="1">
            <a:gsLst>
              <a:gs pos="50000">
                <a:schemeClr val="bg1"/>
              </a:gs>
              <a:gs pos="0">
                <a:schemeClr val="tx2">
                  <a:lumMod val="10000"/>
                  <a:lumOff val="90000"/>
                </a:schemeClr>
              </a:gs>
              <a:gs pos="100000">
                <a:schemeClr val="tx2">
                  <a:lumMod val="10000"/>
                  <a:lumOff val="90000"/>
                </a:schemeClr>
              </a:gs>
            </a:gsLst>
            <a:lin ang="16200000" scaled="1"/>
            <a:tileRect/>
          </a:gra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sp>
        <p:nvSpPr>
          <p:cNvPr id="19" name="Rounded Rectangle 18"/>
          <p:cNvSpPr/>
          <p:nvPr/>
        </p:nvSpPr>
        <p:spPr>
          <a:xfrm>
            <a:off x="6770306" y="690902"/>
            <a:ext cx="2021269" cy="520011"/>
          </a:xfrm>
          <a:prstGeom prst="roundRect">
            <a:avLst>
              <a:gd name="adj" fmla="val 7971"/>
            </a:avLst>
          </a:prstGeom>
          <a:gradFill flip="none" rotWithShape="1">
            <a:gsLst>
              <a:gs pos="50000">
                <a:schemeClr val="bg1"/>
              </a:gs>
              <a:gs pos="0">
                <a:schemeClr val="tx2">
                  <a:lumMod val="10000"/>
                  <a:lumOff val="90000"/>
                </a:schemeClr>
              </a:gs>
              <a:gs pos="100000">
                <a:schemeClr val="tx2">
                  <a:lumMod val="10000"/>
                  <a:lumOff val="90000"/>
                </a:schemeClr>
              </a:gs>
            </a:gsLst>
            <a:lin ang="16200000" scaled="1"/>
            <a:tileRect/>
          </a:gra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sp>
        <p:nvSpPr>
          <p:cNvPr id="2" name="Title 1"/>
          <p:cNvSpPr>
            <a:spLocks noGrp="1"/>
          </p:cNvSpPr>
          <p:nvPr>
            <p:ph type="title"/>
          </p:nvPr>
        </p:nvSpPr>
        <p:spPr>
          <a:xfrm>
            <a:off x="171451" y="230188"/>
            <a:ext cx="8618537" cy="292388"/>
          </a:xfrm>
        </p:spPr>
        <p:txBody>
          <a:bodyPr/>
          <a:lstStyle/>
          <a:p>
            <a:r>
              <a:rPr lang="en-US" dirty="0" smtClean="0"/>
              <a:t>We have identified challenges to growth along the </a:t>
            </a:r>
            <a:r>
              <a:rPr lang="en-US" dirty="0" err="1" smtClean="0"/>
              <a:t>C&amp;M</a:t>
            </a:r>
            <a:r>
              <a:rPr lang="en-US" dirty="0" smtClean="0"/>
              <a:t> tourist journey</a:t>
            </a:r>
            <a:endParaRPr lang="en-US" dirty="0"/>
          </a:p>
        </p:txBody>
      </p:sp>
      <p:sp>
        <p:nvSpPr>
          <p:cNvPr id="8" name="TextBox 7"/>
          <p:cNvSpPr txBox="1">
            <a:spLocks/>
          </p:cNvSpPr>
          <p:nvPr/>
        </p:nvSpPr>
        <p:spPr>
          <a:xfrm>
            <a:off x="284157" y="907228"/>
            <a:ext cx="178315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smtClean="0">
                <a:solidFill>
                  <a:schemeClr val="tx2"/>
                </a:solidFill>
              </a:rPr>
              <a:t>Where do I want to go?</a:t>
            </a:r>
            <a:endParaRPr lang="en-US" sz="1200" b="1" dirty="0">
              <a:solidFill>
                <a:schemeClr val="tx2"/>
              </a:solidFill>
            </a:endParaRPr>
          </a:p>
        </p:txBody>
      </p:sp>
      <p:sp>
        <p:nvSpPr>
          <p:cNvPr id="10" name="TextBox 9"/>
          <p:cNvSpPr txBox="1">
            <a:spLocks/>
          </p:cNvSpPr>
          <p:nvPr/>
        </p:nvSpPr>
        <p:spPr>
          <a:xfrm>
            <a:off x="2485892" y="907228"/>
            <a:ext cx="178315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smtClean="0">
                <a:solidFill>
                  <a:schemeClr val="tx2"/>
                </a:solidFill>
              </a:rPr>
              <a:t>How do I get there?</a:t>
            </a:r>
            <a:endParaRPr lang="en-US" sz="1200" b="1" dirty="0">
              <a:solidFill>
                <a:schemeClr val="tx2"/>
              </a:solidFill>
            </a:endParaRPr>
          </a:p>
        </p:txBody>
      </p:sp>
      <p:sp>
        <p:nvSpPr>
          <p:cNvPr id="12" name="TextBox 11"/>
          <p:cNvSpPr txBox="1">
            <a:spLocks/>
          </p:cNvSpPr>
          <p:nvPr/>
        </p:nvSpPr>
        <p:spPr>
          <a:xfrm>
            <a:off x="4687628" y="907228"/>
            <a:ext cx="178315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smtClean="0">
                <a:solidFill>
                  <a:schemeClr val="tx2"/>
                </a:solidFill>
              </a:rPr>
              <a:t>Where will I stay?</a:t>
            </a:r>
            <a:endParaRPr lang="en-US" sz="1200" b="1" dirty="0">
              <a:solidFill>
                <a:schemeClr val="tx2"/>
              </a:solidFill>
            </a:endParaRPr>
          </a:p>
        </p:txBody>
      </p:sp>
      <p:sp>
        <p:nvSpPr>
          <p:cNvPr id="14" name="TextBox 13"/>
          <p:cNvSpPr txBox="1">
            <a:spLocks/>
          </p:cNvSpPr>
          <p:nvPr/>
        </p:nvSpPr>
        <p:spPr>
          <a:xfrm>
            <a:off x="6889364" y="907228"/>
            <a:ext cx="178315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smtClean="0">
                <a:solidFill>
                  <a:schemeClr val="tx2"/>
                </a:solidFill>
              </a:rPr>
              <a:t>What will I see and do?</a:t>
            </a:r>
            <a:endParaRPr lang="en-US" sz="1200" b="1" dirty="0">
              <a:solidFill>
                <a:schemeClr val="tx2"/>
              </a:solidFill>
            </a:endParaRPr>
          </a:p>
        </p:txBody>
      </p:sp>
      <p:grpSp>
        <p:nvGrpSpPr>
          <p:cNvPr id="50" name="Group 49"/>
          <p:cNvGrpSpPr/>
          <p:nvPr/>
        </p:nvGrpSpPr>
        <p:grpSpPr>
          <a:xfrm>
            <a:off x="2044900" y="584965"/>
            <a:ext cx="141468" cy="233822"/>
            <a:chOff x="2207843" y="5272271"/>
            <a:chExt cx="390382" cy="764519"/>
          </a:xfrm>
          <a:solidFill>
            <a:schemeClr val="accent3"/>
          </a:solidFill>
        </p:grpSpPr>
        <p:sp>
          <p:nvSpPr>
            <p:cNvPr id="51" name="Freeform 32"/>
            <p:cNvSpPr>
              <a:spLocks noEditPoints="1"/>
            </p:cNvSpPr>
            <p:nvPr/>
          </p:nvSpPr>
          <p:spPr bwMode="auto">
            <a:xfrm>
              <a:off x="2207843" y="5272271"/>
              <a:ext cx="390382" cy="453529"/>
            </a:xfrm>
            <a:custGeom>
              <a:avLst/>
              <a:gdLst>
                <a:gd name="T0" fmla="*/ 199 w 199"/>
                <a:gd name="T1" fmla="*/ 109 h 231"/>
                <a:gd name="T2" fmla="*/ 100 w 199"/>
                <a:gd name="T3" fmla="*/ 0 h 231"/>
                <a:gd name="T4" fmla="*/ 0 w 199"/>
                <a:gd name="T5" fmla="*/ 109 h 231"/>
                <a:gd name="T6" fmla="*/ 29 w 199"/>
                <a:gd name="T7" fmla="*/ 231 h 231"/>
                <a:gd name="T8" fmla="*/ 171 w 199"/>
                <a:gd name="T9" fmla="*/ 231 h 231"/>
                <a:gd name="T10" fmla="*/ 199 w 199"/>
                <a:gd name="T11" fmla="*/ 109 h 231"/>
                <a:gd name="T12" fmla="*/ 101 w 199"/>
                <a:gd name="T13" fmla="*/ 127 h 231"/>
                <a:gd name="T14" fmla="*/ 56 w 199"/>
                <a:gd name="T15" fmla="*/ 82 h 231"/>
                <a:gd name="T16" fmla="*/ 101 w 199"/>
                <a:gd name="T17" fmla="*/ 37 h 231"/>
                <a:gd name="T18" fmla="*/ 146 w 199"/>
                <a:gd name="T19" fmla="*/ 82 h 231"/>
                <a:gd name="T20" fmla="*/ 101 w 199"/>
                <a:gd name="T21" fmla="*/ 1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9" h="231">
                  <a:moveTo>
                    <a:pt x="199" y="109"/>
                  </a:moveTo>
                  <a:cubicBezTo>
                    <a:pt x="199" y="49"/>
                    <a:pt x="155" y="0"/>
                    <a:pt x="100" y="0"/>
                  </a:cubicBezTo>
                  <a:cubicBezTo>
                    <a:pt x="45" y="0"/>
                    <a:pt x="0" y="49"/>
                    <a:pt x="0" y="109"/>
                  </a:cubicBezTo>
                  <a:cubicBezTo>
                    <a:pt x="0" y="139"/>
                    <a:pt x="11" y="189"/>
                    <a:pt x="29" y="231"/>
                  </a:cubicBezTo>
                  <a:cubicBezTo>
                    <a:pt x="171" y="231"/>
                    <a:pt x="171" y="231"/>
                    <a:pt x="171" y="231"/>
                  </a:cubicBezTo>
                  <a:cubicBezTo>
                    <a:pt x="189" y="189"/>
                    <a:pt x="199" y="139"/>
                    <a:pt x="199" y="109"/>
                  </a:cubicBezTo>
                  <a:close/>
                  <a:moveTo>
                    <a:pt x="101" y="127"/>
                  </a:moveTo>
                  <a:cubicBezTo>
                    <a:pt x="76" y="127"/>
                    <a:pt x="56" y="106"/>
                    <a:pt x="56" y="82"/>
                  </a:cubicBezTo>
                  <a:cubicBezTo>
                    <a:pt x="56" y="57"/>
                    <a:pt x="76" y="37"/>
                    <a:pt x="101" y="37"/>
                  </a:cubicBezTo>
                  <a:cubicBezTo>
                    <a:pt x="125" y="37"/>
                    <a:pt x="146" y="57"/>
                    <a:pt x="146" y="82"/>
                  </a:cubicBezTo>
                  <a:cubicBezTo>
                    <a:pt x="146" y="106"/>
                    <a:pt x="125" y="127"/>
                    <a:pt x="101" y="1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3"/>
            <p:cNvSpPr>
              <a:spLocks/>
            </p:cNvSpPr>
            <p:nvPr/>
          </p:nvSpPr>
          <p:spPr bwMode="auto">
            <a:xfrm>
              <a:off x="2275876" y="5756574"/>
              <a:ext cx="255935" cy="280216"/>
            </a:xfrm>
            <a:custGeom>
              <a:avLst/>
              <a:gdLst>
                <a:gd name="T0" fmla="*/ 65 w 130"/>
                <a:gd name="T1" fmla="*/ 143 h 143"/>
                <a:gd name="T2" fmla="*/ 130 w 130"/>
                <a:gd name="T3" fmla="*/ 0 h 143"/>
                <a:gd name="T4" fmla="*/ 0 w 130"/>
                <a:gd name="T5" fmla="*/ 0 h 143"/>
                <a:gd name="T6" fmla="*/ 65 w 130"/>
                <a:gd name="T7" fmla="*/ 143 h 143"/>
              </a:gdLst>
              <a:ahLst/>
              <a:cxnLst>
                <a:cxn ang="0">
                  <a:pos x="T0" y="T1"/>
                </a:cxn>
                <a:cxn ang="0">
                  <a:pos x="T2" y="T3"/>
                </a:cxn>
                <a:cxn ang="0">
                  <a:pos x="T4" y="T5"/>
                </a:cxn>
                <a:cxn ang="0">
                  <a:pos x="T6" y="T7"/>
                </a:cxn>
              </a:cxnLst>
              <a:rect l="0" t="0" r="r" b="b"/>
              <a:pathLst>
                <a:path w="130" h="143">
                  <a:moveTo>
                    <a:pt x="65" y="143"/>
                  </a:moveTo>
                  <a:cubicBezTo>
                    <a:pt x="90" y="143"/>
                    <a:pt x="112" y="37"/>
                    <a:pt x="130" y="0"/>
                  </a:cubicBezTo>
                  <a:cubicBezTo>
                    <a:pt x="0" y="0"/>
                    <a:pt x="0" y="0"/>
                    <a:pt x="0" y="0"/>
                  </a:cubicBezTo>
                  <a:cubicBezTo>
                    <a:pt x="17" y="37"/>
                    <a:pt x="40" y="143"/>
                    <a:pt x="65"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3" name="Freeform 58"/>
          <p:cNvSpPr>
            <a:spLocks/>
          </p:cNvSpPr>
          <p:nvPr/>
        </p:nvSpPr>
        <p:spPr bwMode="auto">
          <a:xfrm>
            <a:off x="8547602" y="639799"/>
            <a:ext cx="273584" cy="207102"/>
          </a:xfrm>
          <a:custGeom>
            <a:avLst/>
            <a:gdLst>
              <a:gd name="T0" fmla="*/ 129 w 142"/>
              <a:gd name="T1" fmla="*/ 69 h 127"/>
              <a:gd name="T2" fmla="*/ 125 w 142"/>
              <a:gd name="T3" fmla="*/ 27 h 127"/>
              <a:gd name="T4" fmla="*/ 111 w 142"/>
              <a:gd name="T5" fmla="*/ 19 h 127"/>
              <a:gd name="T6" fmla="*/ 114 w 142"/>
              <a:gd name="T7" fmla="*/ 4 h 127"/>
              <a:gd name="T8" fmla="*/ 82 w 142"/>
              <a:gd name="T9" fmla="*/ 0 h 127"/>
              <a:gd name="T10" fmla="*/ 78 w 142"/>
              <a:gd name="T11" fmla="*/ 15 h 127"/>
              <a:gd name="T12" fmla="*/ 81 w 142"/>
              <a:gd name="T13" fmla="*/ 31 h 127"/>
              <a:gd name="T14" fmla="*/ 71 w 142"/>
              <a:gd name="T15" fmla="*/ 35 h 127"/>
              <a:gd name="T16" fmla="*/ 61 w 142"/>
              <a:gd name="T17" fmla="*/ 19 h 127"/>
              <a:gd name="T18" fmla="*/ 64 w 142"/>
              <a:gd name="T19" fmla="*/ 4 h 127"/>
              <a:gd name="T20" fmla="*/ 32 w 142"/>
              <a:gd name="T21" fmla="*/ 0 h 127"/>
              <a:gd name="T22" fmla="*/ 28 w 142"/>
              <a:gd name="T23" fmla="*/ 15 h 127"/>
              <a:gd name="T24" fmla="*/ 31 w 142"/>
              <a:gd name="T25" fmla="*/ 27 h 127"/>
              <a:gd name="T26" fmla="*/ 13 w 142"/>
              <a:gd name="T27" fmla="*/ 31 h 127"/>
              <a:gd name="T28" fmla="*/ 3 w 142"/>
              <a:gd name="T29" fmla="*/ 99 h 127"/>
              <a:gd name="T30" fmla="*/ 0 w 142"/>
              <a:gd name="T31" fmla="*/ 108 h 127"/>
              <a:gd name="T32" fmla="*/ 0 w 142"/>
              <a:gd name="T33" fmla="*/ 122 h 127"/>
              <a:gd name="T34" fmla="*/ 45 w 142"/>
              <a:gd name="T35" fmla="*/ 127 h 127"/>
              <a:gd name="T36" fmla="*/ 49 w 142"/>
              <a:gd name="T37" fmla="*/ 118 h 127"/>
              <a:gd name="T38" fmla="*/ 49 w 142"/>
              <a:gd name="T39" fmla="*/ 103 h 127"/>
              <a:gd name="T40" fmla="*/ 44 w 142"/>
              <a:gd name="T41" fmla="*/ 80 h 127"/>
              <a:gd name="T42" fmla="*/ 57 w 142"/>
              <a:gd name="T43" fmla="*/ 73 h 127"/>
              <a:gd name="T44" fmla="*/ 61 w 142"/>
              <a:gd name="T45" fmla="*/ 69 h 127"/>
              <a:gd name="T46" fmla="*/ 81 w 142"/>
              <a:gd name="T47" fmla="*/ 69 h 127"/>
              <a:gd name="T48" fmla="*/ 85 w 142"/>
              <a:gd name="T49" fmla="*/ 73 h 127"/>
              <a:gd name="T50" fmla="*/ 98 w 142"/>
              <a:gd name="T51" fmla="*/ 80 h 127"/>
              <a:gd name="T52" fmla="*/ 93 w 142"/>
              <a:gd name="T53" fmla="*/ 103 h 127"/>
              <a:gd name="T54" fmla="*/ 93 w 142"/>
              <a:gd name="T55" fmla="*/ 118 h 127"/>
              <a:gd name="T56" fmla="*/ 97 w 142"/>
              <a:gd name="T57" fmla="*/ 127 h 127"/>
              <a:gd name="T58" fmla="*/ 142 w 142"/>
              <a:gd name="T59" fmla="*/ 122 h 127"/>
              <a:gd name="T60" fmla="*/ 142 w 142"/>
              <a:gd name="T61" fmla="*/ 108 h 127"/>
              <a:gd name="T62" fmla="*/ 139 w 142"/>
              <a:gd name="T63" fmla="*/ 9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27">
                <a:moveTo>
                  <a:pt x="139" y="99"/>
                </a:moveTo>
                <a:cubicBezTo>
                  <a:pt x="129" y="69"/>
                  <a:pt x="129" y="69"/>
                  <a:pt x="129" y="69"/>
                </a:cubicBezTo>
                <a:cubicBezTo>
                  <a:pt x="129" y="31"/>
                  <a:pt x="129" y="31"/>
                  <a:pt x="129" y="31"/>
                </a:cubicBezTo>
                <a:cubicBezTo>
                  <a:pt x="129" y="29"/>
                  <a:pt x="127" y="27"/>
                  <a:pt x="125" y="27"/>
                </a:cubicBezTo>
                <a:cubicBezTo>
                  <a:pt x="111" y="27"/>
                  <a:pt x="111" y="27"/>
                  <a:pt x="111" y="27"/>
                </a:cubicBezTo>
                <a:cubicBezTo>
                  <a:pt x="111" y="19"/>
                  <a:pt x="111" y="19"/>
                  <a:pt x="111" y="19"/>
                </a:cubicBezTo>
                <a:cubicBezTo>
                  <a:pt x="113" y="18"/>
                  <a:pt x="114" y="16"/>
                  <a:pt x="114" y="15"/>
                </a:cubicBezTo>
                <a:cubicBezTo>
                  <a:pt x="114" y="4"/>
                  <a:pt x="114" y="4"/>
                  <a:pt x="114" y="4"/>
                </a:cubicBezTo>
                <a:cubicBezTo>
                  <a:pt x="114" y="1"/>
                  <a:pt x="112" y="0"/>
                  <a:pt x="110" y="0"/>
                </a:cubicBezTo>
                <a:cubicBezTo>
                  <a:pt x="82" y="0"/>
                  <a:pt x="82" y="0"/>
                  <a:pt x="82" y="0"/>
                </a:cubicBezTo>
                <a:cubicBezTo>
                  <a:pt x="80" y="0"/>
                  <a:pt x="78" y="1"/>
                  <a:pt x="78" y="4"/>
                </a:cubicBezTo>
                <a:cubicBezTo>
                  <a:pt x="78" y="15"/>
                  <a:pt x="78" y="15"/>
                  <a:pt x="78" y="15"/>
                </a:cubicBezTo>
                <a:cubicBezTo>
                  <a:pt x="78" y="16"/>
                  <a:pt x="79" y="18"/>
                  <a:pt x="81" y="19"/>
                </a:cubicBezTo>
                <a:cubicBezTo>
                  <a:pt x="81" y="31"/>
                  <a:pt x="81" y="31"/>
                  <a:pt x="81" y="31"/>
                </a:cubicBezTo>
                <a:cubicBezTo>
                  <a:pt x="81" y="31"/>
                  <a:pt x="81" y="31"/>
                  <a:pt x="81" y="31"/>
                </a:cubicBezTo>
                <a:cubicBezTo>
                  <a:pt x="80" y="34"/>
                  <a:pt x="76" y="35"/>
                  <a:pt x="71" y="35"/>
                </a:cubicBezTo>
                <a:cubicBezTo>
                  <a:pt x="66" y="35"/>
                  <a:pt x="62" y="34"/>
                  <a:pt x="61" y="31"/>
                </a:cubicBezTo>
                <a:cubicBezTo>
                  <a:pt x="61" y="19"/>
                  <a:pt x="61" y="19"/>
                  <a:pt x="61" y="19"/>
                </a:cubicBezTo>
                <a:cubicBezTo>
                  <a:pt x="63" y="18"/>
                  <a:pt x="64" y="16"/>
                  <a:pt x="64" y="15"/>
                </a:cubicBezTo>
                <a:cubicBezTo>
                  <a:pt x="64" y="4"/>
                  <a:pt x="64" y="4"/>
                  <a:pt x="64" y="4"/>
                </a:cubicBezTo>
                <a:cubicBezTo>
                  <a:pt x="64" y="1"/>
                  <a:pt x="62" y="0"/>
                  <a:pt x="60" y="0"/>
                </a:cubicBezTo>
                <a:cubicBezTo>
                  <a:pt x="32" y="0"/>
                  <a:pt x="32" y="0"/>
                  <a:pt x="32" y="0"/>
                </a:cubicBezTo>
                <a:cubicBezTo>
                  <a:pt x="30" y="0"/>
                  <a:pt x="28" y="1"/>
                  <a:pt x="28" y="4"/>
                </a:cubicBezTo>
                <a:cubicBezTo>
                  <a:pt x="28" y="15"/>
                  <a:pt x="28" y="15"/>
                  <a:pt x="28" y="15"/>
                </a:cubicBezTo>
                <a:cubicBezTo>
                  <a:pt x="28" y="16"/>
                  <a:pt x="29" y="18"/>
                  <a:pt x="31" y="19"/>
                </a:cubicBezTo>
                <a:cubicBezTo>
                  <a:pt x="31" y="27"/>
                  <a:pt x="31" y="27"/>
                  <a:pt x="31" y="27"/>
                </a:cubicBezTo>
                <a:cubicBezTo>
                  <a:pt x="17" y="27"/>
                  <a:pt x="17" y="27"/>
                  <a:pt x="17" y="27"/>
                </a:cubicBezTo>
                <a:cubicBezTo>
                  <a:pt x="15" y="27"/>
                  <a:pt x="13" y="29"/>
                  <a:pt x="13" y="31"/>
                </a:cubicBezTo>
                <a:cubicBezTo>
                  <a:pt x="13" y="69"/>
                  <a:pt x="13" y="69"/>
                  <a:pt x="13" y="69"/>
                </a:cubicBezTo>
                <a:cubicBezTo>
                  <a:pt x="3" y="99"/>
                  <a:pt x="3" y="99"/>
                  <a:pt x="3" y="99"/>
                </a:cubicBezTo>
                <a:cubicBezTo>
                  <a:pt x="1" y="99"/>
                  <a:pt x="0" y="101"/>
                  <a:pt x="0" y="103"/>
                </a:cubicBezTo>
                <a:cubicBezTo>
                  <a:pt x="0" y="108"/>
                  <a:pt x="0" y="108"/>
                  <a:pt x="0" y="108"/>
                </a:cubicBezTo>
                <a:cubicBezTo>
                  <a:pt x="0" y="118"/>
                  <a:pt x="0" y="118"/>
                  <a:pt x="0" y="118"/>
                </a:cubicBezTo>
                <a:cubicBezTo>
                  <a:pt x="0" y="122"/>
                  <a:pt x="0" y="122"/>
                  <a:pt x="0" y="122"/>
                </a:cubicBezTo>
                <a:cubicBezTo>
                  <a:pt x="0" y="125"/>
                  <a:pt x="1" y="127"/>
                  <a:pt x="4" y="127"/>
                </a:cubicBezTo>
                <a:cubicBezTo>
                  <a:pt x="45" y="127"/>
                  <a:pt x="45" y="127"/>
                  <a:pt x="45" y="127"/>
                </a:cubicBezTo>
                <a:cubicBezTo>
                  <a:pt x="47" y="127"/>
                  <a:pt x="49" y="125"/>
                  <a:pt x="49" y="122"/>
                </a:cubicBezTo>
                <a:cubicBezTo>
                  <a:pt x="49" y="118"/>
                  <a:pt x="49" y="118"/>
                  <a:pt x="49" y="118"/>
                </a:cubicBezTo>
                <a:cubicBezTo>
                  <a:pt x="49" y="108"/>
                  <a:pt x="49" y="108"/>
                  <a:pt x="49" y="108"/>
                </a:cubicBezTo>
                <a:cubicBezTo>
                  <a:pt x="49" y="103"/>
                  <a:pt x="49" y="103"/>
                  <a:pt x="49" y="103"/>
                </a:cubicBezTo>
                <a:cubicBezTo>
                  <a:pt x="49" y="101"/>
                  <a:pt x="48" y="100"/>
                  <a:pt x="46" y="99"/>
                </a:cubicBezTo>
                <a:cubicBezTo>
                  <a:pt x="44" y="80"/>
                  <a:pt x="44" y="80"/>
                  <a:pt x="44" y="80"/>
                </a:cubicBezTo>
                <a:cubicBezTo>
                  <a:pt x="44" y="80"/>
                  <a:pt x="44" y="73"/>
                  <a:pt x="49" y="73"/>
                </a:cubicBezTo>
                <a:cubicBezTo>
                  <a:pt x="54" y="73"/>
                  <a:pt x="57" y="73"/>
                  <a:pt x="57" y="73"/>
                </a:cubicBezTo>
                <a:cubicBezTo>
                  <a:pt x="59" y="73"/>
                  <a:pt x="61" y="71"/>
                  <a:pt x="61" y="69"/>
                </a:cubicBezTo>
                <a:cubicBezTo>
                  <a:pt x="61" y="69"/>
                  <a:pt x="61" y="69"/>
                  <a:pt x="61" y="69"/>
                </a:cubicBezTo>
                <a:cubicBezTo>
                  <a:pt x="62" y="65"/>
                  <a:pt x="66" y="64"/>
                  <a:pt x="71" y="64"/>
                </a:cubicBezTo>
                <a:cubicBezTo>
                  <a:pt x="76" y="64"/>
                  <a:pt x="80" y="65"/>
                  <a:pt x="81" y="69"/>
                </a:cubicBezTo>
                <a:cubicBezTo>
                  <a:pt x="81" y="69"/>
                  <a:pt x="81" y="69"/>
                  <a:pt x="81" y="69"/>
                </a:cubicBezTo>
                <a:cubicBezTo>
                  <a:pt x="81" y="71"/>
                  <a:pt x="83" y="73"/>
                  <a:pt x="85" y="73"/>
                </a:cubicBezTo>
                <a:cubicBezTo>
                  <a:pt x="85" y="73"/>
                  <a:pt x="88" y="73"/>
                  <a:pt x="93" y="73"/>
                </a:cubicBezTo>
                <a:cubicBezTo>
                  <a:pt x="98" y="73"/>
                  <a:pt x="98" y="80"/>
                  <a:pt x="98" y="80"/>
                </a:cubicBezTo>
                <a:cubicBezTo>
                  <a:pt x="96" y="99"/>
                  <a:pt x="96" y="99"/>
                  <a:pt x="96" y="99"/>
                </a:cubicBezTo>
                <a:cubicBezTo>
                  <a:pt x="94" y="100"/>
                  <a:pt x="93" y="101"/>
                  <a:pt x="93" y="103"/>
                </a:cubicBezTo>
                <a:cubicBezTo>
                  <a:pt x="93" y="108"/>
                  <a:pt x="93" y="108"/>
                  <a:pt x="93" y="108"/>
                </a:cubicBezTo>
                <a:cubicBezTo>
                  <a:pt x="93" y="118"/>
                  <a:pt x="93" y="118"/>
                  <a:pt x="93" y="118"/>
                </a:cubicBezTo>
                <a:cubicBezTo>
                  <a:pt x="93" y="122"/>
                  <a:pt x="93" y="122"/>
                  <a:pt x="93" y="122"/>
                </a:cubicBezTo>
                <a:cubicBezTo>
                  <a:pt x="93" y="125"/>
                  <a:pt x="95" y="127"/>
                  <a:pt x="97" y="127"/>
                </a:cubicBezTo>
                <a:cubicBezTo>
                  <a:pt x="138" y="127"/>
                  <a:pt x="138" y="127"/>
                  <a:pt x="138" y="127"/>
                </a:cubicBezTo>
                <a:cubicBezTo>
                  <a:pt x="141" y="127"/>
                  <a:pt x="142" y="125"/>
                  <a:pt x="142" y="122"/>
                </a:cubicBezTo>
                <a:cubicBezTo>
                  <a:pt x="142" y="118"/>
                  <a:pt x="142" y="118"/>
                  <a:pt x="142" y="118"/>
                </a:cubicBezTo>
                <a:cubicBezTo>
                  <a:pt x="142" y="108"/>
                  <a:pt x="142" y="108"/>
                  <a:pt x="142" y="108"/>
                </a:cubicBezTo>
                <a:cubicBezTo>
                  <a:pt x="142" y="103"/>
                  <a:pt x="142" y="103"/>
                  <a:pt x="142" y="103"/>
                </a:cubicBezTo>
                <a:cubicBezTo>
                  <a:pt x="142" y="101"/>
                  <a:pt x="141" y="99"/>
                  <a:pt x="139" y="99"/>
                </a:cubicBezTo>
                <a:close/>
              </a:path>
            </a:pathLst>
          </a:custGeom>
          <a:solidFill>
            <a:schemeClr val="accent3"/>
          </a:solidFill>
          <a:ln>
            <a:noFill/>
          </a:ln>
          <a:extLst/>
        </p:spPr>
        <p:txBody>
          <a:bodyPr vert="horz" wrap="square" lIns="93296" tIns="46648" rIns="93296" bIns="46648" numCol="1" anchor="t" anchorCtr="0" compatLnSpc="1">
            <a:prstTxWarp prst="textNoShape">
              <a:avLst/>
            </a:prstTxWarp>
          </a:bodyPr>
          <a:lstStyle/>
          <a:p>
            <a:endParaRPr lang="en-US"/>
          </a:p>
        </p:txBody>
      </p:sp>
      <p:sp>
        <p:nvSpPr>
          <p:cNvPr id="54" name="Freeform 20"/>
          <p:cNvSpPr>
            <a:spLocks noEditPoints="1"/>
          </p:cNvSpPr>
          <p:nvPr/>
        </p:nvSpPr>
        <p:spPr bwMode="auto">
          <a:xfrm>
            <a:off x="4118875" y="613267"/>
            <a:ext cx="312405" cy="264487"/>
          </a:xfrm>
          <a:custGeom>
            <a:avLst/>
            <a:gdLst>
              <a:gd name="T0" fmla="*/ 43 w 309"/>
              <a:gd name="T1" fmla="*/ 171 h 309"/>
              <a:gd name="T2" fmla="*/ 26 w 309"/>
              <a:gd name="T3" fmla="*/ 177 h 309"/>
              <a:gd name="T4" fmla="*/ 25 w 309"/>
              <a:gd name="T5" fmla="*/ 178 h 309"/>
              <a:gd name="T6" fmla="*/ 28 w 309"/>
              <a:gd name="T7" fmla="*/ 188 h 309"/>
              <a:gd name="T8" fmla="*/ 71 w 309"/>
              <a:gd name="T9" fmla="*/ 202 h 309"/>
              <a:gd name="T10" fmla="*/ 95 w 309"/>
              <a:gd name="T11" fmla="*/ 177 h 309"/>
              <a:gd name="T12" fmla="*/ 43 w 309"/>
              <a:gd name="T13" fmla="*/ 171 h 309"/>
              <a:gd name="T14" fmla="*/ 282 w 309"/>
              <a:gd name="T15" fmla="*/ 70 h 309"/>
              <a:gd name="T16" fmla="*/ 299 w 309"/>
              <a:gd name="T17" fmla="*/ 10 h 309"/>
              <a:gd name="T18" fmla="*/ 239 w 309"/>
              <a:gd name="T19" fmla="*/ 27 h 309"/>
              <a:gd name="T20" fmla="*/ 195 w 309"/>
              <a:gd name="T21" fmla="*/ 71 h 309"/>
              <a:gd name="T22" fmla="*/ 20 w 309"/>
              <a:gd name="T23" fmla="*/ 42 h 309"/>
              <a:gd name="T24" fmla="*/ 6 w 309"/>
              <a:gd name="T25" fmla="*/ 49 h 309"/>
              <a:gd name="T26" fmla="*/ 2 w 309"/>
              <a:gd name="T27" fmla="*/ 57 h 309"/>
              <a:gd name="T28" fmla="*/ 7 w 309"/>
              <a:gd name="T29" fmla="*/ 70 h 309"/>
              <a:gd name="T30" fmla="*/ 145 w 309"/>
              <a:gd name="T31" fmla="*/ 131 h 309"/>
              <a:gd name="T32" fmla="*/ 146 w 309"/>
              <a:gd name="T33" fmla="*/ 132 h 309"/>
              <a:gd name="T34" fmla="*/ 86 w 309"/>
              <a:gd name="T35" fmla="*/ 203 h 309"/>
              <a:gd name="T36" fmla="*/ 79 w 309"/>
              <a:gd name="T37" fmla="*/ 230 h 309"/>
              <a:gd name="T38" fmla="*/ 106 w 309"/>
              <a:gd name="T39" fmla="*/ 223 h 309"/>
              <a:gd name="T40" fmla="*/ 177 w 309"/>
              <a:gd name="T41" fmla="*/ 163 h 309"/>
              <a:gd name="T42" fmla="*/ 178 w 309"/>
              <a:gd name="T43" fmla="*/ 164 h 309"/>
              <a:gd name="T44" fmla="*/ 239 w 309"/>
              <a:gd name="T45" fmla="*/ 302 h 309"/>
              <a:gd name="T46" fmla="*/ 252 w 309"/>
              <a:gd name="T47" fmla="*/ 307 h 309"/>
              <a:gd name="T48" fmla="*/ 260 w 309"/>
              <a:gd name="T49" fmla="*/ 303 h 309"/>
              <a:gd name="T50" fmla="*/ 267 w 309"/>
              <a:gd name="T51" fmla="*/ 289 h 309"/>
              <a:gd name="T52" fmla="*/ 238 w 309"/>
              <a:gd name="T53" fmla="*/ 114 h 309"/>
              <a:gd name="T54" fmla="*/ 282 w 309"/>
              <a:gd name="T55" fmla="*/ 70 h 309"/>
              <a:gd name="T56" fmla="*/ 132 w 309"/>
              <a:gd name="T57" fmla="*/ 214 h 309"/>
              <a:gd name="T58" fmla="*/ 107 w 309"/>
              <a:gd name="T59" fmla="*/ 238 h 309"/>
              <a:gd name="T60" fmla="*/ 121 w 309"/>
              <a:gd name="T61" fmla="*/ 281 h 309"/>
              <a:gd name="T62" fmla="*/ 131 w 309"/>
              <a:gd name="T63" fmla="*/ 284 h 309"/>
              <a:gd name="T64" fmla="*/ 132 w 309"/>
              <a:gd name="T65" fmla="*/ 283 h 309"/>
              <a:gd name="T66" fmla="*/ 138 w 309"/>
              <a:gd name="T67" fmla="*/ 266 h 309"/>
              <a:gd name="T68" fmla="*/ 132 w 309"/>
              <a:gd name="T69" fmla="*/ 214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9" h="309">
                <a:moveTo>
                  <a:pt x="43" y="171"/>
                </a:moveTo>
                <a:cubicBezTo>
                  <a:pt x="37" y="171"/>
                  <a:pt x="30" y="173"/>
                  <a:pt x="26" y="177"/>
                </a:cubicBezTo>
                <a:cubicBezTo>
                  <a:pt x="25" y="178"/>
                  <a:pt x="25" y="178"/>
                  <a:pt x="25" y="178"/>
                </a:cubicBezTo>
                <a:cubicBezTo>
                  <a:pt x="21" y="182"/>
                  <a:pt x="23" y="186"/>
                  <a:pt x="28" y="188"/>
                </a:cubicBezTo>
                <a:cubicBezTo>
                  <a:pt x="71" y="202"/>
                  <a:pt x="71" y="202"/>
                  <a:pt x="71" y="202"/>
                </a:cubicBezTo>
                <a:cubicBezTo>
                  <a:pt x="95" y="177"/>
                  <a:pt x="95" y="177"/>
                  <a:pt x="95" y="177"/>
                </a:cubicBezTo>
                <a:lnTo>
                  <a:pt x="43" y="171"/>
                </a:lnTo>
                <a:close/>
                <a:moveTo>
                  <a:pt x="282" y="70"/>
                </a:moveTo>
                <a:cubicBezTo>
                  <a:pt x="298" y="53"/>
                  <a:pt x="309" y="21"/>
                  <a:pt x="299" y="10"/>
                </a:cubicBezTo>
                <a:cubicBezTo>
                  <a:pt x="288" y="0"/>
                  <a:pt x="256" y="11"/>
                  <a:pt x="239" y="27"/>
                </a:cubicBezTo>
                <a:cubicBezTo>
                  <a:pt x="231" y="35"/>
                  <a:pt x="213" y="53"/>
                  <a:pt x="195" y="71"/>
                </a:cubicBezTo>
                <a:cubicBezTo>
                  <a:pt x="20" y="42"/>
                  <a:pt x="20" y="42"/>
                  <a:pt x="20" y="42"/>
                </a:cubicBezTo>
                <a:cubicBezTo>
                  <a:pt x="14" y="41"/>
                  <a:pt x="8" y="44"/>
                  <a:pt x="6" y="49"/>
                </a:cubicBezTo>
                <a:cubicBezTo>
                  <a:pt x="2" y="57"/>
                  <a:pt x="2" y="57"/>
                  <a:pt x="2" y="57"/>
                </a:cubicBezTo>
                <a:cubicBezTo>
                  <a:pt x="0" y="62"/>
                  <a:pt x="2" y="68"/>
                  <a:pt x="7" y="70"/>
                </a:cubicBezTo>
                <a:cubicBezTo>
                  <a:pt x="145" y="131"/>
                  <a:pt x="145" y="131"/>
                  <a:pt x="145" y="131"/>
                </a:cubicBezTo>
                <a:cubicBezTo>
                  <a:pt x="146" y="131"/>
                  <a:pt x="146" y="131"/>
                  <a:pt x="146" y="132"/>
                </a:cubicBezTo>
                <a:cubicBezTo>
                  <a:pt x="128" y="157"/>
                  <a:pt x="94" y="195"/>
                  <a:pt x="86" y="203"/>
                </a:cubicBezTo>
                <a:cubicBezTo>
                  <a:pt x="77" y="212"/>
                  <a:pt x="74" y="222"/>
                  <a:pt x="79" y="230"/>
                </a:cubicBezTo>
                <a:cubicBezTo>
                  <a:pt x="86" y="235"/>
                  <a:pt x="97" y="232"/>
                  <a:pt x="106" y="223"/>
                </a:cubicBezTo>
                <a:cubicBezTo>
                  <a:pt x="114" y="215"/>
                  <a:pt x="152" y="181"/>
                  <a:pt x="177" y="163"/>
                </a:cubicBezTo>
                <a:cubicBezTo>
                  <a:pt x="177" y="163"/>
                  <a:pt x="178" y="163"/>
                  <a:pt x="178" y="164"/>
                </a:cubicBezTo>
                <a:cubicBezTo>
                  <a:pt x="239" y="302"/>
                  <a:pt x="239" y="302"/>
                  <a:pt x="239" y="302"/>
                </a:cubicBezTo>
                <a:cubicBezTo>
                  <a:pt x="241" y="307"/>
                  <a:pt x="247" y="309"/>
                  <a:pt x="252" y="307"/>
                </a:cubicBezTo>
                <a:cubicBezTo>
                  <a:pt x="260" y="303"/>
                  <a:pt x="260" y="303"/>
                  <a:pt x="260" y="303"/>
                </a:cubicBezTo>
                <a:cubicBezTo>
                  <a:pt x="265" y="301"/>
                  <a:pt x="268" y="294"/>
                  <a:pt x="267" y="289"/>
                </a:cubicBezTo>
                <a:cubicBezTo>
                  <a:pt x="238" y="114"/>
                  <a:pt x="238" y="114"/>
                  <a:pt x="238" y="114"/>
                </a:cubicBezTo>
                <a:cubicBezTo>
                  <a:pt x="256" y="96"/>
                  <a:pt x="274" y="78"/>
                  <a:pt x="282" y="70"/>
                </a:cubicBezTo>
                <a:close/>
                <a:moveTo>
                  <a:pt x="132" y="214"/>
                </a:moveTo>
                <a:cubicBezTo>
                  <a:pt x="107" y="238"/>
                  <a:pt x="107" y="238"/>
                  <a:pt x="107" y="238"/>
                </a:cubicBezTo>
                <a:cubicBezTo>
                  <a:pt x="121" y="281"/>
                  <a:pt x="121" y="281"/>
                  <a:pt x="121" y="281"/>
                </a:cubicBezTo>
                <a:cubicBezTo>
                  <a:pt x="123" y="286"/>
                  <a:pt x="127" y="287"/>
                  <a:pt x="131" y="284"/>
                </a:cubicBezTo>
                <a:cubicBezTo>
                  <a:pt x="132" y="283"/>
                  <a:pt x="132" y="283"/>
                  <a:pt x="132" y="283"/>
                </a:cubicBezTo>
                <a:cubicBezTo>
                  <a:pt x="136" y="279"/>
                  <a:pt x="138" y="272"/>
                  <a:pt x="138" y="266"/>
                </a:cubicBezTo>
                <a:lnTo>
                  <a:pt x="132" y="214"/>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5" name="Freeform 73"/>
          <p:cNvSpPr>
            <a:spLocks/>
          </p:cNvSpPr>
          <p:nvPr/>
        </p:nvSpPr>
        <p:spPr bwMode="auto">
          <a:xfrm>
            <a:off x="6303684" y="613092"/>
            <a:ext cx="315766" cy="249266"/>
          </a:xfrm>
          <a:custGeom>
            <a:avLst/>
            <a:gdLst>
              <a:gd name="T0" fmla="*/ 72 w 151"/>
              <a:gd name="T1" fmla="*/ 2 h 141"/>
              <a:gd name="T2" fmla="*/ 60 w 151"/>
              <a:gd name="T3" fmla="*/ 18 h 141"/>
              <a:gd name="T4" fmla="*/ 51 w 151"/>
              <a:gd name="T5" fmla="*/ 15 h 141"/>
              <a:gd name="T6" fmla="*/ 51 w 151"/>
              <a:gd name="T7" fmla="*/ 14 h 141"/>
              <a:gd name="T8" fmla="*/ 46 w 151"/>
              <a:gd name="T9" fmla="*/ 9 h 141"/>
              <a:gd name="T10" fmla="*/ 43 w 151"/>
              <a:gd name="T11" fmla="*/ 9 h 141"/>
              <a:gd name="T12" fmla="*/ 38 w 151"/>
              <a:gd name="T13" fmla="*/ 14 h 141"/>
              <a:gd name="T14" fmla="*/ 38 w 151"/>
              <a:gd name="T15" fmla="*/ 44 h 141"/>
              <a:gd name="T16" fmla="*/ 37 w 151"/>
              <a:gd name="T17" fmla="*/ 47 h 141"/>
              <a:gd name="T18" fmla="*/ 2 w 151"/>
              <a:gd name="T19" fmla="*/ 92 h 141"/>
              <a:gd name="T20" fmla="*/ 6 w 151"/>
              <a:gd name="T21" fmla="*/ 100 h 141"/>
              <a:gd name="T22" fmla="*/ 21 w 151"/>
              <a:gd name="T23" fmla="*/ 100 h 141"/>
              <a:gd name="T24" fmla="*/ 26 w 151"/>
              <a:gd name="T25" fmla="*/ 105 h 141"/>
              <a:gd name="T26" fmla="*/ 26 w 151"/>
              <a:gd name="T27" fmla="*/ 136 h 141"/>
              <a:gd name="T28" fmla="*/ 31 w 151"/>
              <a:gd name="T29" fmla="*/ 141 h 141"/>
              <a:gd name="T30" fmla="*/ 61 w 151"/>
              <a:gd name="T31" fmla="*/ 141 h 141"/>
              <a:gd name="T32" fmla="*/ 66 w 151"/>
              <a:gd name="T33" fmla="*/ 136 h 141"/>
              <a:gd name="T34" fmla="*/ 66 w 151"/>
              <a:gd name="T35" fmla="*/ 107 h 141"/>
              <a:gd name="T36" fmla="*/ 71 w 151"/>
              <a:gd name="T37" fmla="*/ 102 h 141"/>
              <a:gd name="T38" fmla="*/ 76 w 151"/>
              <a:gd name="T39" fmla="*/ 102 h 141"/>
              <a:gd name="T40" fmla="*/ 80 w 151"/>
              <a:gd name="T41" fmla="*/ 102 h 141"/>
              <a:gd name="T42" fmla="*/ 85 w 151"/>
              <a:gd name="T43" fmla="*/ 107 h 141"/>
              <a:gd name="T44" fmla="*/ 85 w 151"/>
              <a:gd name="T45" fmla="*/ 136 h 141"/>
              <a:gd name="T46" fmla="*/ 90 w 151"/>
              <a:gd name="T47" fmla="*/ 141 h 141"/>
              <a:gd name="T48" fmla="*/ 120 w 151"/>
              <a:gd name="T49" fmla="*/ 141 h 141"/>
              <a:gd name="T50" fmla="*/ 125 w 151"/>
              <a:gd name="T51" fmla="*/ 136 h 141"/>
              <a:gd name="T52" fmla="*/ 125 w 151"/>
              <a:gd name="T53" fmla="*/ 105 h 141"/>
              <a:gd name="T54" fmla="*/ 130 w 151"/>
              <a:gd name="T55" fmla="*/ 100 h 141"/>
              <a:gd name="T56" fmla="*/ 145 w 151"/>
              <a:gd name="T57" fmla="*/ 100 h 141"/>
              <a:gd name="T58" fmla="*/ 149 w 151"/>
              <a:gd name="T59" fmla="*/ 92 h 141"/>
              <a:gd name="T60" fmla="*/ 79 w 151"/>
              <a:gd name="T61" fmla="*/ 2 h 141"/>
              <a:gd name="T62" fmla="*/ 72 w 151"/>
              <a:gd name="T63" fmla="*/ 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41">
                <a:moveTo>
                  <a:pt x="72" y="2"/>
                </a:moveTo>
                <a:cubicBezTo>
                  <a:pt x="60" y="18"/>
                  <a:pt x="60" y="18"/>
                  <a:pt x="60" y="18"/>
                </a:cubicBezTo>
                <a:cubicBezTo>
                  <a:pt x="57" y="21"/>
                  <a:pt x="51" y="19"/>
                  <a:pt x="51" y="15"/>
                </a:cubicBezTo>
                <a:cubicBezTo>
                  <a:pt x="51" y="14"/>
                  <a:pt x="51" y="14"/>
                  <a:pt x="51" y="14"/>
                </a:cubicBezTo>
                <a:cubicBezTo>
                  <a:pt x="51" y="12"/>
                  <a:pt x="49" y="9"/>
                  <a:pt x="46" y="9"/>
                </a:cubicBezTo>
                <a:cubicBezTo>
                  <a:pt x="43" y="9"/>
                  <a:pt x="43" y="9"/>
                  <a:pt x="43" y="9"/>
                </a:cubicBezTo>
                <a:cubicBezTo>
                  <a:pt x="40" y="9"/>
                  <a:pt x="38" y="12"/>
                  <a:pt x="38" y="14"/>
                </a:cubicBezTo>
                <a:cubicBezTo>
                  <a:pt x="38" y="44"/>
                  <a:pt x="38" y="44"/>
                  <a:pt x="38" y="44"/>
                </a:cubicBezTo>
                <a:cubicBezTo>
                  <a:pt x="38" y="45"/>
                  <a:pt x="38" y="46"/>
                  <a:pt x="37" y="47"/>
                </a:cubicBezTo>
                <a:cubicBezTo>
                  <a:pt x="2" y="92"/>
                  <a:pt x="2" y="92"/>
                  <a:pt x="2" y="92"/>
                </a:cubicBezTo>
                <a:cubicBezTo>
                  <a:pt x="0" y="95"/>
                  <a:pt x="2" y="100"/>
                  <a:pt x="6" y="100"/>
                </a:cubicBezTo>
                <a:cubicBezTo>
                  <a:pt x="21" y="100"/>
                  <a:pt x="21" y="100"/>
                  <a:pt x="21" y="100"/>
                </a:cubicBezTo>
                <a:cubicBezTo>
                  <a:pt x="24" y="100"/>
                  <a:pt x="26" y="102"/>
                  <a:pt x="26" y="105"/>
                </a:cubicBezTo>
                <a:cubicBezTo>
                  <a:pt x="26" y="136"/>
                  <a:pt x="26" y="136"/>
                  <a:pt x="26" y="136"/>
                </a:cubicBezTo>
                <a:cubicBezTo>
                  <a:pt x="26" y="139"/>
                  <a:pt x="29" y="141"/>
                  <a:pt x="31" y="141"/>
                </a:cubicBezTo>
                <a:cubicBezTo>
                  <a:pt x="61" y="141"/>
                  <a:pt x="61" y="141"/>
                  <a:pt x="61" y="141"/>
                </a:cubicBezTo>
                <a:cubicBezTo>
                  <a:pt x="64" y="141"/>
                  <a:pt x="66" y="139"/>
                  <a:pt x="66" y="136"/>
                </a:cubicBezTo>
                <a:cubicBezTo>
                  <a:pt x="66" y="107"/>
                  <a:pt x="66" y="107"/>
                  <a:pt x="66" y="107"/>
                </a:cubicBezTo>
                <a:cubicBezTo>
                  <a:pt x="66" y="104"/>
                  <a:pt x="68" y="102"/>
                  <a:pt x="71" y="102"/>
                </a:cubicBezTo>
                <a:cubicBezTo>
                  <a:pt x="76" y="102"/>
                  <a:pt x="76" y="102"/>
                  <a:pt x="76" y="102"/>
                </a:cubicBezTo>
                <a:cubicBezTo>
                  <a:pt x="80" y="102"/>
                  <a:pt x="80" y="102"/>
                  <a:pt x="80" y="102"/>
                </a:cubicBezTo>
                <a:cubicBezTo>
                  <a:pt x="83" y="102"/>
                  <a:pt x="85" y="104"/>
                  <a:pt x="85" y="107"/>
                </a:cubicBezTo>
                <a:cubicBezTo>
                  <a:pt x="85" y="136"/>
                  <a:pt x="85" y="136"/>
                  <a:pt x="85" y="136"/>
                </a:cubicBezTo>
                <a:cubicBezTo>
                  <a:pt x="85" y="139"/>
                  <a:pt x="88" y="141"/>
                  <a:pt x="90" y="141"/>
                </a:cubicBezTo>
                <a:cubicBezTo>
                  <a:pt x="120" y="141"/>
                  <a:pt x="120" y="141"/>
                  <a:pt x="120" y="141"/>
                </a:cubicBezTo>
                <a:cubicBezTo>
                  <a:pt x="123" y="141"/>
                  <a:pt x="125" y="139"/>
                  <a:pt x="125" y="136"/>
                </a:cubicBezTo>
                <a:cubicBezTo>
                  <a:pt x="125" y="105"/>
                  <a:pt x="125" y="105"/>
                  <a:pt x="125" y="105"/>
                </a:cubicBezTo>
                <a:cubicBezTo>
                  <a:pt x="125" y="102"/>
                  <a:pt x="127" y="100"/>
                  <a:pt x="130" y="100"/>
                </a:cubicBezTo>
                <a:cubicBezTo>
                  <a:pt x="145" y="100"/>
                  <a:pt x="145" y="100"/>
                  <a:pt x="145" y="100"/>
                </a:cubicBezTo>
                <a:cubicBezTo>
                  <a:pt x="149" y="100"/>
                  <a:pt x="151" y="95"/>
                  <a:pt x="149" y="92"/>
                </a:cubicBezTo>
                <a:cubicBezTo>
                  <a:pt x="79" y="2"/>
                  <a:pt x="79" y="2"/>
                  <a:pt x="79" y="2"/>
                </a:cubicBezTo>
                <a:cubicBezTo>
                  <a:pt x="77" y="0"/>
                  <a:pt x="74" y="0"/>
                  <a:pt x="72" y="2"/>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4" name="TextBox 33"/>
          <p:cNvSpPr txBox="1">
            <a:spLocks/>
          </p:cNvSpPr>
          <p:nvPr/>
        </p:nvSpPr>
        <p:spPr>
          <a:xfrm>
            <a:off x="165099" y="1389786"/>
            <a:ext cx="1917285"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80975" lvl="1" indent="-180975">
              <a:spcBef>
                <a:spcPct val="25000"/>
              </a:spcBef>
              <a:tabLst>
                <a:tab pos="271463" algn="l"/>
              </a:tabLst>
            </a:pPr>
            <a:r>
              <a:rPr lang="en-US" sz="1200" dirty="0" smtClean="0"/>
              <a:t>Perceptions of South Africa as an </a:t>
            </a:r>
            <a:r>
              <a:rPr lang="en-US" sz="1200" b="1" dirty="0" smtClean="0"/>
              <a:t>inland/wildlife tourist destination</a:t>
            </a:r>
            <a:r>
              <a:rPr lang="en-US" sz="1200" dirty="0" smtClean="0"/>
              <a:t>: poor awareness of South Africa coastal and marine tourism offerings</a:t>
            </a:r>
            <a:endParaRPr lang="en-US" sz="1200" dirty="0"/>
          </a:p>
        </p:txBody>
      </p:sp>
      <p:sp>
        <p:nvSpPr>
          <p:cNvPr id="35" name="TextBox 34"/>
          <p:cNvSpPr txBox="1">
            <a:spLocks/>
          </p:cNvSpPr>
          <p:nvPr/>
        </p:nvSpPr>
        <p:spPr>
          <a:xfrm>
            <a:off x="165099" y="2786413"/>
            <a:ext cx="2021269" cy="13406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80975" lvl="1" indent="-180975">
              <a:spcBef>
                <a:spcPct val="25000"/>
              </a:spcBef>
            </a:pPr>
            <a:r>
              <a:rPr lang="en-US" sz="1200" dirty="0" smtClean="0"/>
              <a:t>Perceptions around lack of safety</a:t>
            </a:r>
          </a:p>
          <a:p>
            <a:pPr marL="361950" lvl="2" indent="-180975">
              <a:spcBef>
                <a:spcPct val="12500"/>
              </a:spcBef>
            </a:pPr>
            <a:r>
              <a:rPr lang="en-US" sz="1200" b="1" dirty="0" smtClean="0"/>
              <a:t>Number of incidents </a:t>
            </a:r>
            <a:r>
              <a:rPr lang="en-US" sz="1200" dirty="0" smtClean="0"/>
              <a:t>along the coastline</a:t>
            </a:r>
          </a:p>
          <a:p>
            <a:pPr marL="361950" lvl="2" indent="-180975">
              <a:spcBef>
                <a:spcPct val="12500"/>
              </a:spcBef>
            </a:pPr>
            <a:r>
              <a:rPr lang="en-US" sz="1200" b="1" dirty="0" smtClean="0"/>
              <a:t>Water safety </a:t>
            </a:r>
            <a:r>
              <a:rPr lang="en-US" sz="1200" dirty="0" smtClean="0"/>
              <a:t>(e.g., wave energy, pollution and dangerous species</a:t>
            </a:r>
            <a:endParaRPr lang="en-US" sz="1200" dirty="0"/>
          </a:p>
        </p:txBody>
      </p:sp>
      <p:sp>
        <p:nvSpPr>
          <p:cNvPr id="40" name="TextBox 39"/>
          <p:cNvSpPr txBox="1">
            <a:spLocks/>
          </p:cNvSpPr>
          <p:nvPr/>
        </p:nvSpPr>
        <p:spPr>
          <a:xfrm>
            <a:off x="2380945" y="1360659"/>
            <a:ext cx="2007158" cy="26572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baseline="0">
                <a:latin typeface="+mn-lt"/>
              </a:defRPr>
            </a:lvl1pPr>
            <a:lvl2pPr marL="180975" lvl="1" indent="-180975" defTabSz="895255" eaLnBrk="1" hangingPunct="1">
              <a:spcBef>
                <a:spcPct val="25000"/>
              </a:spcBef>
              <a:buClr>
                <a:schemeClr val="tx2"/>
              </a:buClr>
              <a:buSzPct val="125000"/>
              <a:buFont typeface="Arial" charset="0"/>
              <a:buChar char="▪"/>
              <a:defRPr sz="1200" baseline="0">
                <a:latin typeface="+mn-lt"/>
              </a:defRPr>
            </a:lvl2pPr>
            <a:lvl3pPr marL="361950" lvl="2" indent="-180975" defTabSz="895255" eaLnBrk="1" hangingPunct="1">
              <a:spcBef>
                <a:spcPct val="12500"/>
              </a:spcBef>
              <a:buClr>
                <a:schemeClr val="tx2"/>
              </a:buClr>
              <a:buSzPct val="120000"/>
              <a:buFont typeface="Arial" charset="0"/>
              <a:buChar char="–"/>
              <a:defRPr sz="1200"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b="1" dirty="0"/>
              <a:t>Access and cost </a:t>
            </a:r>
            <a:r>
              <a:rPr lang="en-US" dirty="0"/>
              <a:t>to coastal destinations can be challenging</a:t>
            </a:r>
          </a:p>
          <a:p>
            <a:pPr lvl="2"/>
            <a:r>
              <a:rPr lang="en-US" dirty="0" smtClean="0"/>
              <a:t>Insufficient number and frequency </a:t>
            </a:r>
            <a:r>
              <a:rPr lang="en-US" dirty="0"/>
              <a:t>of flights and distance from airports</a:t>
            </a:r>
          </a:p>
          <a:p>
            <a:pPr lvl="2"/>
            <a:r>
              <a:rPr lang="en-US" dirty="0"/>
              <a:t>Private car or shuttle required for many beaches, parks and </a:t>
            </a:r>
            <a:r>
              <a:rPr lang="en-US" dirty="0" smtClean="0"/>
              <a:t>attractions</a:t>
            </a:r>
          </a:p>
          <a:p>
            <a:pPr lvl="2"/>
            <a:r>
              <a:rPr lang="en-US" dirty="0" smtClean="0"/>
              <a:t>Cost of travelling equal or above to other to other competing destinations</a:t>
            </a:r>
            <a:endParaRPr lang="en-US" dirty="0"/>
          </a:p>
        </p:txBody>
      </p:sp>
      <p:sp>
        <p:nvSpPr>
          <p:cNvPr id="44" name="TextBox 43"/>
          <p:cNvSpPr txBox="1">
            <a:spLocks/>
          </p:cNvSpPr>
          <p:nvPr/>
        </p:nvSpPr>
        <p:spPr>
          <a:xfrm>
            <a:off x="4656421" y="1360026"/>
            <a:ext cx="2021269" cy="22639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baseline="0">
                <a:latin typeface="+mn-lt"/>
              </a:defRPr>
            </a:lvl1pPr>
            <a:lvl2pPr marL="180975" lvl="1" indent="-180975" defTabSz="895255" eaLnBrk="1" hangingPunct="1">
              <a:spcBef>
                <a:spcPct val="25000"/>
              </a:spcBef>
              <a:buClr>
                <a:schemeClr val="tx2"/>
              </a:buClr>
              <a:buSzPct val="125000"/>
              <a:buFont typeface="Arial" charset="0"/>
              <a:buChar char="▪"/>
              <a:defRPr sz="1200" baseline="0">
                <a:latin typeface="+mn-lt"/>
              </a:defRPr>
            </a:lvl2pPr>
            <a:lvl3pPr marL="361950" lvl="2" indent="-180975" defTabSz="895255" eaLnBrk="1" hangingPunct="1">
              <a:spcBef>
                <a:spcPct val="12500"/>
              </a:spcBef>
              <a:buClr>
                <a:schemeClr val="tx2"/>
              </a:buClr>
              <a:buSzPct val="120000"/>
              <a:buFont typeface="Arial" charset="0"/>
              <a:buChar char="–"/>
              <a:defRPr sz="1200"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b="1" dirty="0"/>
              <a:t>Accommodation mix</a:t>
            </a:r>
          </a:p>
          <a:p>
            <a:pPr lvl="2"/>
            <a:r>
              <a:rPr lang="en-US" dirty="0"/>
              <a:t>Balance towards 3-4 star hotels offerings, with only 5% of 5 </a:t>
            </a:r>
            <a:r>
              <a:rPr lang="en-US" dirty="0" smtClean="0"/>
              <a:t>star hotels </a:t>
            </a:r>
            <a:r>
              <a:rPr lang="en-US" dirty="0"/>
              <a:t>to compete with other African beach destinations</a:t>
            </a:r>
          </a:p>
          <a:p>
            <a:pPr lvl="2"/>
            <a:r>
              <a:rPr lang="en-US" dirty="0" smtClean="0"/>
              <a:t>Unique SA lodging like village </a:t>
            </a:r>
            <a:r>
              <a:rPr lang="en-US" dirty="0"/>
              <a:t>stays and cultural experiences not developed or promoted at a sufficient scale</a:t>
            </a:r>
          </a:p>
        </p:txBody>
      </p:sp>
      <p:sp>
        <p:nvSpPr>
          <p:cNvPr id="46" name="TextBox 45"/>
          <p:cNvSpPr txBox="1">
            <a:spLocks/>
          </p:cNvSpPr>
          <p:nvPr/>
        </p:nvSpPr>
        <p:spPr>
          <a:xfrm>
            <a:off x="6810697" y="1360026"/>
            <a:ext cx="2021269" cy="18928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baseline="0">
                <a:latin typeface="+mn-lt"/>
              </a:defRPr>
            </a:lvl1pPr>
            <a:lvl2pPr marL="180975" lvl="1" indent="-180975" defTabSz="895255" eaLnBrk="1" hangingPunct="1">
              <a:spcBef>
                <a:spcPct val="25000"/>
              </a:spcBef>
              <a:buClr>
                <a:schemeClr val="tx2"/>
              </a:buClr>
              <a:buSzPct val="125000"/>
              <a:buFont typeface="Arial" charset="0"/>
              <a:buChar char="▪"/>
              <a:defRPr sz="1200" baseline="0">
                <a:latin typeface="+mn-lt"/>
              </a:defRPr>
            </a:lvl2pPr>
            <a:lvl3pPr marL="361950" lvl="2" indent="-180975" defTabSz="895255" eaLnBrk="1" hangingPunct="1">
              <a:spcBef>
                <a:spcPct val="12500"/>
              </a:spcBef>
              <a:buClr>
                <a:schemeClr val="tx2"/>
              </a:buClr>
              <a:buSzPct val="120000"/>
              <a:buFont typeface="Arial" charset="0"/>
              <a:buChar char="–"/>
              <a:defRPr sz="1200"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indent="-179388"/>
            <a:r>
              <a:rPr lang="en-US" dirty="0" err="1" smtClean="0"/>
              <a:t>C&amp;M</a:t>
            </a:r>
            <a:r>
              <a:rPr lang="en-US" dirty="0" smtClean="0"/>
              <a:t> </a:t>
            </a:r>
            <a:r>
              <a:rPr lang="en-US" b="1" dirty="0" smtClean="0"/>
              <a:t>activities, routes </a:t>
            </a:r>
            <a:r>
              <a:rPr lang="en-US" dirty="0"/>
              <a:t>and </a:t>
            </a:r>
            <a:r>
              <a:rPr lang="en-US" dirty="0" err="1"/>
              <a:t>C&amp;M</a:t>
            </a:r>
            <a:r>
              <a:rPr lang="en-US" dirty="0"/>
              <a:t>/ </a:t>
            </a:r>
            <a:r>
              <a:rPr lang="en-US" b="1" dirty="0"/>
              <a:t>terrestrial combos not sufficiently organized and / or marketed</a:t>
            </a:r>
            <a:r>
              <a:rPr lang="en-US" dirty="0"/>
              <a:t> to targeted </a:t>
            </a:r>
            <a:r>
              <a:rPr lang="en-US" dirty="0" smtClean="0"/>
              <a:t>segments. </a:t>
            </a:r>
            <a:endParaRPr lang="en-US" dirty="0"/>
          </a:p>
          <a:p>
            <a:pPr lvl="1" indent="-179388"/>
            <a:r>
              <a:rPr lang="en-US" b="1" dirty="0" smtClean="0"/>
              <a:t>Inadequate integrated information </a:t>
            </a:r>
            <a:r>
              <a:rPr lang="en-US" dirty="0" smtClean="0"/>
              <a:t>to facilitate exploration of activities, routes and packages </a:t>
            </a:r>
            <a:endParaRPr lang="en-US" dirty="0"/>
          </a:p>
        </p:txBody>
      </p:sp>
      <p:sp>
        <p:nvSpPr>
          <p:cNvPr id="48" name="Rounded Rectangle 47"/>
          <p:cNvSpPr/>
          <p:nvPr/>
        </p:nvSpPr>
        <p:spPr>
          <a:xfrm>
            <a:off x="107712" y="4190436"/>
            <a:ext cx="8666867" cy="461175"/>
          </a:xfrm>
          <a:prstGeom prst="roundRect">
            <a:avLst>
              <a:gd name="adj" fmla="val 7971"/>
            </a:avLst>
          </a:prstGeom>
          <a:gradFill flip="none" rotWithShape="1">
            <a:gsLst>
              <a:gs pos="50000">
                <a:schemeClr val="bg1"/>
              </a:gs>
              <a:gs pos="0">
                <a:schemeClr val="tx2">
                  <a:lumMod val="10000"/>
                  <a:lumOff val="90000"/>
                </a:schemeClr>
              </a:gs>
              <a:gs pos="100000">
                <a:schemeClr val="tx2">
                  <a:lumMod val="10000"/>
                  <a:lumOff val="90000"/>
                </a:schemeClr>
              </a:gs>
            </a:gsLst>
            <a:lin ang="16200000" scaled="1"/>
            <a:tileRect/>
          </a:gra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sp>
        <p:nvSpPr>
          <p:cNvPr id="49" name="TextBox 48"/>
          <p:cNvSpPr txBox="1">
            <a:spLocks/>
          </p:cNvSpPr>
          <p:nvPr/>
        </p:nvSpPr>
        <p:spPr>
          <a:xfrm>
            <a:off x="3549569" y="4328690"/>
            <a:ext cx="178315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smtClean="0">
                <a:solidFill>
                  <a:schemeClr val="tx2"/>
                </a:solidFill>
              </a:rPr>
              <a:t>Enabling environment</a:t>
            </a:r>
            <a:endParaRPr lang="en-US" sz="1200" b="1" dirty="0">
              <a:solidFill>
                <a:schemeClr val="tx2"/>
              </a:solidFill>
            </a:endParaRPr>
          </a:p>
        </p:txBody>
      </p:sp>
      <p:sp>
        <p:nvSpPr>
          <p:cNvPr id="56" name="TextBox 55"/>
          <p:cNvSpPr txBox="1">
            <a:spLocks/>
          </p:cNvSpPr>
          <p:nvPr/>
        </p:nvSpPr>
        <p:spPr>
          <a:xfrm>
            <a:off x="228240" y="5320735"/>
            <a:ext cx="2322534"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baseline="0">
                <a:latin typeface="+mn-lt"/>
              </a:defRPr>
            </a:lvl1pPr>
            <a:lvl2pPr marL="180975" lvl="1" indent="-180975" defTabSz="895255" eaLnBrk="1" hangingPunct="1">
              <a:spcBef>
                <a:spcPct val="25000"/>
              </a:spcBef>
              <a:buClr>
                <a:schemeClr val="tx2"/>
              </a:buClr>
              <a:buSzPct val="125000"/>
              <a:buFont typeface="Arial" charset="0"/>
              <a:buChar char="▪"/>
              <a:defRPr sz="1200" baseline="0">
                <a:latin typeface="+mn-lt"/>
              </a:defRPr>
            </a:lvl2pPr>
            <a:lvl3pPr marL="361950" lvl="2" indent="-180975" defTabSz="895255" eaLnBrk="1" hangingPunct="1">
              <a:spcBef>
                <a:spcPct val="12500"/>
              </a:spcBef>
              <a:buClr>
                <a:schemeClr val="tx2"/>
              </a:buClr>
              <a:buSzPct val="120000"/>
              <a:buFont typeface="Arial" charset="0"/>
              <a:buChar char="–"/>
              <a:defRPr sz="1200"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b="1" dirty="0"/>
              <a:t>Excessive, lengthy and costly permitting </a:t>
            </a:r>
            <a:r>
              <a:rPr lang="en-US" dirty="0" smtClean="0"/>
              <a:t>difficulty new entrants in the </a:t>
            </a:r>
            <a:r>
              <a:rPr lang="en-US" dirty="0" err="1" smtClean="0"/>
              <a:t>C&amp;M</a:t>
            </a:r>
            <a:r>
              <a:rPr lang="en-US" dirty="0" smtClean="0"/>
              <a:t> tourism activities business</a:t>
            </a:r>
            <a:endParaRPr lang="en-US" dirty="0"/>
          </a:p>
        </p:txBody>
      </p:sp>
      <p:sp>
        <p:nvSpPr>
          <p:cNvPr id="58" name="TextBox 57"/>
          <p:cNvSpPr txBox="1">
            <a:spLocks/>
          </p:cNvSpPr>
          <p:nvPr/>
        </p:nvSpPr>
        <p:spPr>
          <a:xfrm>
            <a:off x="3242888" y="4714000"/>
            <a:ext cx="2322534" cy="136460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baseline="0">
                <a:latin typeface="+mn-lt"/>
              </a:defRPr>
            </a:lvl1pPr>
            <a:lvl2pPr marL="180975" lvl="1" indent="-180975" defTabSz="895255" eaLnBrk="1" hangingPunct="1">
              <a:spcBef>
                <a:spcPct val="25000"/>
              </a:spcBef>
              <a:buClr>
                <a:schemeClr val="tx2"/>
              </a:buClr>
              <a:buSzPct val="125000"/>
              <a:buFont typeface="Arial" charset="0"/>
              <a:buChar char="▪"/>
              <a:defRPr sz="1200" baseline="0">
                <a:latin typeface="+mn-lt"/>
              </a:defRPr>
            </a:lvl2pPr>
            <a:lvl3pPr marL="361950" lvl="2" indent="-180975" defTabSz="895255" eaLnBrk="1" hangingPunct="1">
              <a:spcBef>
                <a:spcPct val="12500"/>
              </a:spcBef>
              <a:buClr>
                <a:schemeClr val="tx2"/>
              </a:buClr>
              <a:buSzPct val="120000"/>
              <a:buFont typeface="Arial" charset="0"/>
              <a:buChar char="–"/>
              <a:defRPr sz="1200"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dirty="0"/>
              <a:t>Inadequate </a:t>
            </a:r>
            <a:r>
              <a:rPr lang="en-US" b="1" dirty="0"/>
              <a:t>skills</a:t>
            </a:r>
          </a:p>
          <a:p>
            <a:pPr lvl="2"/>
            <a:r>
              <a:rPr lang="en-US" dirty="0" smtClean="0"/>
              <a:t>Poor customer </a:t>
            </a:r>
            <a:r>
              <a:rPr lang="en-US" dirty="0"/>
              <a:t>service</a:t>
            </a:r>
          </a:p>
          <a:p>
            <a:pPr lvl="2"/>
            <a:r>
              <a:rPr lang="en-US" dirty="0" smtClean="0"/>
              <a:t>Low levels of entrepreneurial mindset and skills</a:t>
            </a:r>
            <a:endParaRPr lang="en-US" dirty="0"/>
          </a:p>
          <a:p>
            <a:pPr lvl="2"/>
            <a:r>
              <a:rPr lang="en-US" dirty="0" smtClean="0"/>
              <a:t>Low levels of transformation on managerial and entrepreneurial positions</a:t>
            </a:r>
            <a:endParaRPr lang="en-US" dirty="0"/>
          </a:p>
        </p:txBody>
      </p:sp>
      <p:sp>
        <p:nvSpPr>
          <p:cNvPr id="60" name="TextBox 59"/>
          <p:cNvSpPr txBox="1">
            <a:spLocks/>
          </p:cNvSpPr>
          <p:nvPr/>
        </p:nvSpPr>
        <p:spPr>
          <a:xfrm>
            <a:off x="6127550" y="4714000"/>
            <a:ext cx="2322534"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baseline="0">
                <a:latin typeface="+mn-lt"/>
              </a:defRPr>
            </a:lvl1pPr>
            <a:lvl2pPr marL="180975" lvl="1" indent="-180975" defTabSz="895255" eaLnBrk="1" hangingPunct="1">
              <a:spcBef>
                <a:spcPct val="25000"/>
              </a:spcBef>
              <a:buClr>
                <a:schemeClr val="tx2"/>
              </a:buClr>
              <a:buSzPct val="125000"/>
              <a:buFont typeface="Arial" charset="0"/>
              <a:buChar char="▪"/>
              <a:defRPr sz="1200" baseline="0">
                <a:latin typeface="+mn-lt"/>
              </a:defRPr>
            </a:lvl2pPr>
            <a:lvl3pPr marL="361950" lvl="2" indent="-180975" defTabSz="895255" eaLnBrk="1" hangingPunct="1">
              <a:spcBef>
                <a:spcPct val="12500"/>
              </a:spcBef>
              <a:buClr>
                <a:schemeClr val="tx2"/>
              </a:buClr>
              <a:buSzPct val="120000"/>
              <a:buFont typeface="Arial" charset="0"/>
              <a:buChar char="–"/>
              <a:defRPr sz="1200"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dirty="0"/>
              <a:t>Difficult </a:t>
            </a:r>
            <a:r>
              <a:rPr lang="en-US" b="1" dirty="0"/>
              <a:t>balance between economic development and environmental sustainability</a:t>
            </a:r>
          </a:p>
        </p:txBody>
      </p:sp>
      <p:sp>
        <p:nvSpPr>
          <p:cNvPr id="39" name="TextBox 38"/>
          <p:cNvSpPr txBox="1">
            <a:spLocks/>
          </p:cNvSpPr>
          <p:nvPr/>
        </p:nvSpPr>
        <p:spPr>
          <a:xfrm>
            <a:off x="244262" y="4714000"/>
            <a:ext cx="2306512"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baseline="0">
                <a:latin typeface="+mn-lt"/>
              </a:defRPr>
            </a:lvl1pPr>
            <a:lvl2pPr marL="180975" lvl="1" indent="-180975" defTabSz="895255" eaLnBrk="1" hangingPunct="1">
              <a:spcBef>
                <a:spcPct val="25000"/>
              </a:spcBef>
              <a:buClr>
                <a:schemeClr val="tx2"/>
              </a:buClr>
              <a:buSzPct val="125000"/>
              <a:buFont typeface="Arial" charset="0"/>
              <a:buChar char="▪"/>
              <a:defRPr sz="1200" baseline="0">
                <a:latin typeface="+mn-lt"/>
              </a:defRPr>
            </a:lvl2pPr>
            <a:lvl3pPr marL="361950" lvl="2" indent="-180975" defTabSz="895255" eaLnBrk="1" hangingPunct="1">
              <a:spcBef>
                <a:spcPct val="12500"/>
              </a:spcBef>
              <a:buClr>
                <a:schemeClr val="tx2"/>
              </a:buClr>
              <a:buSzPct val="120000"/>
              <a:buFont typeface="Arial" charset="0"/>
              <a:buChar char="–"/>
              <a:defRPr sz="1200"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dirty="0" smtClean="0"/>
              <a:t>Restrictive </a:t>
            </a:r>
            <a:r>
              <a:rPr lang="en-US" b="1" dirty="0" smtClean="0"/>
              <a:t>visa requirements</a:t>
            </a:r>
            <a:r>
              <a:rPr lang="en-US" dirty="0" smtClean="0"/>
              <a:t>, in particular for high growth markets</a:t>
            </a:r>
            <a:endParaRPr lang="en-US" dirty="0"/>
          </a:p>
        </p:txBody>
      </p:sp>
      <p:sp>
        <p:nvSpPr>
          <p:cNvPr id="29" name="Marvin tracker circle"/>
          <p:cNvSpPr/>
          <p:nvPr/>
        </p:nvSpPr>
        <p:spPr>
          <a:xfrm>
            <a:off x="52744" y="2745654"/>
            <a:ext cx="274320" cy="2743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400" dirty="0" smtClean="0">
                <a:solidFill>
                  <a:schemeClr val="bg1"/>
                </a:solidFill>
              </a:rPr>
              <a:t>ii</a:t>
            </a:r>
          </a:p>
        </p:txBody>
      </p:sp>
      <p:sp>
        <p:nvSpPr>
          <p:cNvPr id="30" name="Marvin tracker circle"/>
          <p:cNvSpPr/>
          <p:nvPr/>
        </p:nvSpPr>
        <p:spPr>
          <a:xfrm>
            <a:off x="52744" y="1326991"/>
            <a:ext cx="274320" cy="2743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400" dirty="0" err="1" smtClean="0">
                <a:solidFill>
                  <a:schemeClr val="bg1"/>
                </a:solidFill>
              </a:rPr>
              <a:t>i</a:t>
            </a:r>
            <a:endParaRPr lang="en-US" sz="1400" dirty="0" smtClean="0">
              <a:solidFill>
                <a:schemeClr val="bg1"/>
              </a:solidFill>
            </a:endParaRPr>
          </a:p>
        </p:txBody>
      </p:sp>
      <p:sp>
        <p:nvSpPr>
          <p:cNvPr id="31" name="Marvin tracker circle"/>
          <p:cNvSpPr/>
          <p:nvPr/>
        </p:nvSpPr>
        <p:spPr>
          <a:xfrm>
            <a:off x="2252493" y="1326991"/>
            <a:ext cx="274320" cy="2743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400" dirty="0" smtClean="0">
                <a:solidFill>
                  <a:schemeClr val="bg1"/>
                </a:solidFill>
              </a:rPr>
              <a:t>iii</a:t>
            </a:r>
          </a:p>
        </p:txBody>
      </p:sp>
      <p:sp>
        <p:nvSpPr>
          <p:cNvPr id="32" name="Marvin tracker circle"/>
          <p:cNvSpPr/>
          <p:nvPr/>
        </p:nvSpPr>
        <p:spPr>
          <a:xfrm>
            <a:off x="4544506" y="1326991"/>
            <a:ext cx="274320" cy="2743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400" dirty="0" smtClean="0">
                <a:solidFill>
                  <a:schemeClr val="bg1"/>
                </a:solidFill>
              </a:rPr>
              <a:t>iv</a:t>
            </a:r>
          </a:p>
        </p:txBody>
      </p:sp>
      <p:sp>
        <p:nvSpPr>
          <p:cNvPr id="33" name="Marvin tracker circle"/>
          <p:cNvSpPr/>
          <p:nvPr/>
        </p:nvSpPr>
        <p:spPr>
          <a:xfrm>
            <a:off x="6677690" y="1326991"/>
            <a:ext cx="274320" cy="2743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400" dirty="0" smtClean="0">
                <a:solidFill>
                  <a:schemeClr val="bg1"/>
                </a:solidFill>
              </a:rPr>
              <a:t>v</a:t>
            </a:r>
          </a:p>
        </p:txBody>
      </p:sp>
      <p:sp>
        <p:nvSpPr>
          <p:cNvPr id="36" name="Marvin tracker circle"/>
          <p:cNvSpPr/>
          <p:nvPr/>
        </p:nvSpPr>
        <p:spPr>
          <a:xfrm>
            <a:off x="99788" y="5287067"/>
            <a:ext cx="274320" cy="2743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400" dirty="0" smtClean="0">
                <a:solidFill>
                  <a:schemeClr val="bg1"/>
                </a:solidFill>
              </a:rPr>
              <a:t>viii</a:t>
            </a:r>
          </a:p>
        </p:txBody>
      </p:sp>
      <p:sp>
        <p:nvSpPr>
          <p:cNvPr id="37" name="Marvin tracker circle"/>
          <p:cNvSpPr/>
          <p:nvPr/>
        </p:nvSpPr>
        <p:spPr>
          <a:xfrm>
            <a:off x="3114436" y="4680332"/>
            <a:ext cx="274320" cy="2743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400" dirty="0" smtClean="0">
                <a:solidFill>
                  <a:schemeClr val="bg1"/>
                </a:solidFill>
              </a:rPr>
              <a:t>ix</a:t>
            </a:r>
          </a:p>
        </p:txBody>
      </p:sp>
      <p:sp>
        <p:nvSpPr>
          <p:cNvPr id="38" name="Marvin tracker circle"/>
          <p:cNvSpPr/>
          <p:nvPr/>
        </p:nvSpPr>
        <p:spPr>
          <a:xfrm>
            <a:off x="5999098" y="4680332"/>
            <a:ext cx="274320" cy="2743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400" dirty="0" smtClean="0">
                <a:solidFill>
                  <a:schemeClr val="bg1"/>
                </a:solidFill>
              </a:rPr>
              <a:t>x</a:t>
            </a:r>
          </a:p>
        </p:txBody>
      </p:sp>
      <p:sp>
        <p:nvSpPr>
          <p:cNvPr id="41" name="Marvin tracker circle"/>
          <p:cNvSpPr/>
          <p:nvPr/>
        </p:nvSpPr>
        <p:spPr>
          <a:xfrm>
            <a:off x="115810" y="4680332"/>
            <a:ext cx="274320" cy="2743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400" dirty="0" smtClean="0">
                <a:solidFill>
                  <a:schemeClr val="bg1"/>
                </a:solidFill>
              </a:rPr>
              <a:t>vii</a:t>
            </a:r>
          </a:p>
        </p:txBody>
      </p:sp>
      <p:sp>
        <p:nvSpPr>
          <p:cNvPr id="42" name="Marvin tracker circle"/>
          <p:cNvSpPr/>
          <p:nvPr/>
        </p:nvSpPr>
        <p:spPr>
          <a:xfrm>
            <a:off x="6677690" y="2445051"/>
            <a:ext cx="274320" cy="2743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400" dirty="0" smtClean="0">
                <a:solidFill>
                  <a:schemeClr val="bg1"/>
                </a:solidFill>
              </a:rPr>
              <a:t>vi</a:t>
            </a:r>
          </a:p>
        </p:txBody>
      </p:sp>
    </p:spTree>
    <p:extLst>
      <p:ext uri="{BB962C8B-B14F-4D97-AF65-F5344CB8AC3E}">
        <p14:creationId xmlns:p14="http://schemas.microsoft.com/office/powerpoint/2010/main" val="22127193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42" name="think-cell Slide" r:id="rId22" imgW="493" imgH="493" progId="TCLayout.ActiveDocument.1">
                  <p:embed/>
                </p:oleObj>
              </mc:Choice>
              <mc:Fallback>
                <p:oleObj name="think-cell Slide" r:id="rId22" imgW="493" imgH="493"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1451" y="230188"/>
            <a:ext cx="861853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The </a:t>
            </a:r>
            <a:r>
              <a:rPr lang="en-US" dirty="0" smtClean="0"/>
              <a:t>Lab </a:t>
            </a:r>
            <a:r>
              <a:rPr lang="en-US" dirty="0"/>
              <a:t>contributes </a:t>
            </a:r>
            <a:r>
              <a:rPr lang="en-US" dirty="0" smtClean="0"/>
              <a:t>to </a:t>
            </a:r>
            <a:r>
              <a:rPr lang="en-US" dirty="0"/>
              <a:t>the Government’s 9 point plan</a:t>
            </a:r>
          </a:p>
        </p:txBody>
      </p:sp>
      <p:sp>
        <p:nvSpPr>
          <p:cNvPr id="7" name="Rectangle 6"/>
          <p:cNvSpPr txBox="1">
            <a:spLocks/>
          </p:cNvSpPr>
          <p:nvPr>
            <p:custDataLst>
              <p:tags r:id="rId3"/>
            </p:custDataLst>
          </p:nvPr>
        </p:nvSpPr>
        <p:spPr>
          <a:xfrm>
            <a:off x="933789" y="900965"/>
            <a:ext cx="5080150" cy="523220"/>
          </a:xfrm>
          <a:prstGeom prst="rect">
            <a:avLst/>
          </a:prstGeom>
          <a:solidFill>
            <a:schemeClr val="accent2"/>
          </a:solidFill>
          <a:ln w="9525">
            <a:solidFill>
              <a:schemeClr val="accent6"/>
            </a:solidFill>
            <a:miter lim="800000"/>
            <a:headEnd/>
            <a:tailEnd/>
          </a:ln>
          <a:effectLst/>
          <a:extLst/>
        </p:spPr>
        <p:txBody>
          <a:bodyPr vert="horz" wrap="square" lIns="182880" tIns="72009" rIns="72009" bIns="72009" numCol="1" anchor="ctr" anchorCtr="0" compatLnSpc="1">
            <a:prstTxWarp prst="textNoShape">
              <a:avLst/>
            </a:prstTxWarp>
            <a:spAutoFit/>
          </a:bodyPr>
          <a:lstStyle>
            <a:defPPr>
              <a:defRPr lang="en-US"/>
            </a:defPPr>
            <a:lvl1pPr marL="0" lvl="0" indent="0" defTabSz="895255" eaLnBrk="1" hangingPunct="1">
              <a:buClr>
                <a:schemeClr val="tx2"/>
              </a:buClr>
              <a:defRPr sz="1200"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err="1">
                <a:solidFill>
                  <a:schemeClr val="bg2"/>
                </a:solidFill>
              </a:rPr>
              <a:t>Revitalising</a:t>
            </a:r>
            <a:r>
              <a:rPr lang="en-US" dirty="0">
                <a:solidFill>
                  <a:schemeClr val="bg2"/>
                </a:solidFill>
              </a:rPr>
              <a:t> agriculture and the agro-processing</a:t>
            </a:r>
          </a:p>
          <a:p>
            <a:r>
              <a:rPr lang="en-US" dirty="0">
                <a:solidFill>
                  <a:schemeClr val="bg2"/>
                </a:solidFill>
              </a:rPr>
              <a:t>value chain</a:t>
            </a:r>
          </a:p>
        </p:txBody>
      </p:sp>
      <p:sp>
        <p:nvSpPr>
          <p:cNvPr id="8" name="Rectangle 6"/>
          <p:cNvSpPr txBox="1">
            <a:spLocks/>
          </p:cNvSpPr>
          <p:nvPr>
            <p:custDataLst>
              <p:tags r:id="rId4"/>
            </p:custDataLst>
          </p:nvPr>
        </p:nvSpPr>
        <p:spPr>
          <a:xfrm>
            <a:off x="933789" y="1492071"/>
            <a:ext cx="4477295" cy="707886"/>
          </a:xfrm>
          <a:prstGeom prst="rect">
            <a:avLst/>
          </a:prstGeom>
          <a:solidFill>
            <a:schemeClr val="accent1"/>
          </a:solidFill>
          <a:ln w="9525">
            <a:solidFill>
              <a:schemeClr val="accent1"/>
            </a:solidFill>
            <a:miter lim="800000"/>
            <a:headEnd/>
            <a:tailEnd/>
          </a:ln>
          <a:effectLst/>
          <a:extLst/>
        </p:spPr>
        <p:txBody>
          <a:bodyPr vert="horz" wrap="square" lIns="182880"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a:t>Adding value to our mineral wealth (advancing</a:t>
            </a:r>
          </a:p>
          <a:p>
            <a:r>
              <a:rPr lang="en-US" sz="1200" dirty="0"/>
              <a:t>beneficiation and support to the engineering and</a:t>
            </a:r>
          </a:p>
          <a:p>
            <a:r>
              <a:rPr lang="en-US" sz="1200" dirty="0"/>
              <a:t>metals value chain)</a:t>
            </a:r>
          </a:p>
        </p:txBody>
      </p:sp>
      <p:sp>
        <p:nvSpPr>
          <p:cNvPr id="9" name="Rectangle 6"/>
          <p:cNvSpPr txBox="1">
            <a:spLocks/>
          </p:cNvSpPr>
          <p:nvPr>
            <p:custDataLst>
              <p:tags r:id="rId5"/>
            </p:custDataLst>
          </p:nvPr>
        </p:nvSpPr>
        <p:spPr>
          <a:xfrm>
            <a:off x="933789" y="2267843"/>
            <a:ext cx="4477295" cy="523220"/>
          </a:xfrm>
          <a:prstGeom prst="rect">
            <a:avLst/>
          </a:prstGeom>
          <a:solidFill>
            <a:schemeClr val="accent1"/>
          </a:solidFill>
          <a:ln w="9525">
            <a:solidFill>
              <a:schemeClr val="accent1"/>
            </a:solidFill>
            <a:miter lim="800000"/>
            <a:headEnd/>
            <a:tailEnd/>
          </a:ln>
          <a:effectLst/>
          <a:extLst/>
        </p:spPr>
        <p:txBody>
          <a:bodyPr vert="horz" wrap="square" lIns="182880"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a:t>More effective implementation of a higher impact</a:t>
            </a:r>
          </a:p>
          <a:p>
            <a:r>
              <a:rPr lang="en-US" sz="1200" dirty="0"/>
              <a:t>Industrial Policy Action Plan</a:t>
            </a:r>
          </a:p>
        </p:txBody>
      </p:sp>
      <p:sp>
        <p:nvSpPr>
          <p:cNvPr id="10" name="Rectangle 6"/>
          <p:cNvSpPr txBox="1">
            <a:spLocks/>
          </p:cNvSpPr>
          <p:nvPr>
            <p:custDataLst>
              <p:tags r:id="rId6"/>
            </p:custDataLst>
          </p:nvPr>
        </p:nvSpPr>
        <p:spPr>
          <a:xfrm>
            <a:off x="933789" y="2858949"/>
            <a:ext cx="5080150" cy="523220"/>
          </a:xfrm>
          <a:prstGeom prst="rect">
            <a:avLst/>
          </a:prstGeom>
          <a:solidFill>
            <a:schemeClr val="accent2"/>
          </a:solidFill>
          <a:ln w="9525">
            <a:solidFill>
              <a:schemeClr val="accent6"/>
            </a:solidFill>
            <a:miter lim="800000"/>
            <a:headEnd/>
            <a:tailEnd/>
          </a:ln>
          <a:effectLst/>
          <a:extLst/>
        </p:spPr>
        <p:txBody>
          <a:bodyPr vert="horz" wrap="square" lIns="182880" tIns="72009" rIns="72009" bIns="72009" numCol="1" anchor="ctr" anchorCtr="0" compatLnSpc="1">
            <a:prstTxWarp prst="textNoShape">
              <a:avLst/>
            </a:prstTxWarp>
            <a:spAutoFit/>
          </a:bodyPr>
          <a:lstStyle>
            <a:defPPr>
              <a:defRPr lang="en-US"/>
            </a:defPPr>
            <a:lvl1pPr marL="0" lvl="0" indent="0" defTabSz="895255" eaLnBrk="1" hangingPunct="1">
              <a:buClr>
                <a:schemeClr val="tx2"/>
              </a:buClr>
              <a:defRPr sz="1200"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bg2"/>
                </a:solidFill>
              </a:rPr>
              <a:t>Unlocking the potential of small, medium and micro enterprises, cooperatives and township enterprises </a:t>
            </a:r>
          </a:p>
        </p:txBody>
      </p:sp>
      <p:sp>
        <p:nvSpPr>
          <p:cNvPr id="11" name="Rectangle 6"/>
          <p:cNvSpPr txBox="1">
            <a:spLocks/>
          </p:cNvSpPr>
          <p:nvPr>
            <p:custDataLst>
              <p:tags r:id="rId7"/>
            </p:custDataLst>
          </p:nvPr>
        </p:nvSpPr>
        <p:spPr>
          <a:xfrm>
            <a:off x="933789" y="3450055"/>
            <a:ext cx="5080150" cy="523220"/>
          </a:xfrm>
          <a:prstGeom prst="rect">
            <a:avLst/>
          </a:prstGeom>
          <a:solidFill>
            <a:schemeClr val="accent2"/>
          </a:solidFill>
          <a:ln w="9525">
            <a:solidFill>
              <a:schemeClr val="accent6"/>
            </a:solidFill>
            <a:miter lim="800000"/>
            <a:headEnd/>
            <a:tailEnd/>
          </a:ln>
          <a:effectLst/>
          <a:extLst/>
        </p:spPr>
        <p:txBody>
          <a:bodyPr vert="horz" wrap="square" lIns="182880" tIns="72009" rIns="72009" bIns="72009" numCol="1" anchor="ctr" anchorCtr="0" compatLnSpc="1">
            <a:prstTxWarp prst="textNoShape">
              <a:avLst/>
            </a:prstTxWarp>
            <a:spAutoFit/>
          </a:bodyPr>
          <a:lstStyle>
            <a:defPPr>
              <a:defRPr lang="en-US"/>
            </a:defPPr>
            <a:lvl1pPr marL="0" lvl="0" indent="0" defTabSz="895255" eaLnBrk="1" hangingPunct="1">
              <a:buClr>
                <a:schemeClr val="tx2"/>
              </a:buClr>
              <a:defRPr sz="1200" baseline="0">
                <a:solidFill>
                  <a:schemeClr val="bg2"/>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t>Operation </a:t>
            </a:r>
            <a:r>
              <a:rPr lang="en-US" dirty="0" err="1"/>
              <a:t>Phakisa</a:t>
            </a:r>
            <a:r>
              <a:rPr lang="en-US" dirty="0"/>
              <a:t> (Oceans Economy, Mining, Health, Tourism, Basic Education, </a:t>
            </a:r>
            <a:r>
              <a:rPr lang="en-US" dirty="0" err="1"/>
              <a:t>etc</a:t>
            </a:r>
            <a:r>
              <a:rPr lang="en-US" dirty="0"/>
              <a:t>)</a:t>
            </a:r>
          </a:p>
        </p:txBody>
      </p:sp>
      <p:sp>
        <p:nvSpPr>
          <p:cNvPr id="12" name="Rectangle 6"/>
          <p:cNvSpPr txBox="1"/>
          <p:nvPr>
            <p:custDataLst>
              <p:tags r:id="rId8"/>
            </p:custDataLst>
          </p:nvPr>
        </p:nvSpPr>
        <p:spPr>
          <a:xfrm>
            <a:off x="933790" y="4041161"/>
            <a:ext cx="5080149" cy="338554"/>
          </a:xfrm>
          <a:prstGeom prst="rect">
            <a:avLst/>
          </a:prstGeom>
          <a:solidFill>
            <a:schemeClr val="accent2"/>
          </a:solidFill>
          <a:ln w="9525">
            <a:solidFill>
              <a:schemeClr val="accent6"/>
            </a:solidFill>
            <a:miter lim="800000"/>
            <a:headEnd/>
            <a:tailEnd/>
          </a:ln>
          <a:effectLst/>
          <a:extLst/>
        </p:spPr>
        <p:txBody>
          <a:bodyPr vert="horz" wrap="square" lIns="182880" tIns="72009" rIns="72009" bIns="72009" numCol="1" anchor="ctr" anchorCtr="0" compatLnSpc="1">
            <a:prstTxWarp prst="textNoShape">
              <a:avLst/>
            </a:prstTxWarp>
            <a:noAutofit/>
          </a:bodyPr>
          <a:lstStyle>
            <a:defPPr>
              <a:defRPr lang="en-US"/>
            </a:defPPr>
            <a:lvl1pPr marL="0" lvl="0" indent="0" defTabSz="895255" eaLnBrk="1" hangingPunct="1">
              <a:buClr>
                <a:schemeClr val="tx2"/>
              </a:buClr>
              <a:defRPr sz="1200"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bg2"/>
                </a:solidFill>
              </a:rPr>
              <a:t>Encouraging private sector investment</a:t>
            </a:r>
          </a:p>
        </p:txBody>
      </p:sp>
      <p:sp>
        <p:nvSpPr>
          <p:cNvPr id="13" name="Rectangle 6"/>
          <p:cNvSpPr txBox="1">
            <a:spLocks/>
          </p:cNvSpPr>
          <p:nvPr>
            <p:custDataLst>
              <p:tags r:id="rId9"/>
            </p:custDataLst>
          </p:nvPr>
        </p:nvSpPr>
        <p:spPr>
          <a:xfrm>
            <a:off x="933789" y="4447601"/>
            <a:ext cx="4477295" cy="338554"/>
          </a:xfrm>
          <a:prstGeom prst="rect">
            <a:avLst/>
          </a:prstGeom>
          <a:solidFill>
            <a:schemeClr val="accent1"/>
          </a:solidFill>
          <a:ln w="9525">
            <a:solidFill>
              <a:schemeClr val="accent1"/>
            </a:solidFill>
            <a:miter lim="800000"/>
            <a:headEnd/>
            <a:tailEnd/>
          </a:ln>
          <a:effectLst/>
          <a:extLst/>
        </p:spPr>
        <p:txBody>
          <a:bodyPr vert="horz" wrap="square" lIns="182880"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a:t>Resolving the energy challenge</a:t>
            </a:r>
          </a:p>
        </p:txBody>
      </p:sp>
      <p:sp>
        <p:nvSpPr>
          <p:cNvPr id="14" name="Rectangle 6"/>
          <p:cNvSpPr txBox="1">
            <a:spLocks/>
          </p:cNvSpPr>
          <p:nvPr>
            <p:custDataLst>
              <p:tags r:id="rId10"/>
            </p:custDataLst>
          </p:nvPr>
        </p:nvSpPr>
        <p:spPr>
          <a:xfrm>
            <a:off x="933789" y="4854041"/>
            <a:ext cx="4477295" cy="338554"/>
          </a:xfrm>
          <a:prstGeom prst="rect">
            <a:avLst/>
          </a:prstGeom>
          <a:solidFill>
            <a:schemeClr val="accent1"/>
          </a:solidFill>
          <a:ln w="9525">
            <a:solidFill>
              <a:schemeClr val="accent1"/>
            </a:solidFill>
            <a:miter lim="800000"/>
            <a:headEnd/>
            <a:tailEnd/>
          </a:ln>
          <a:effectLst/>
          <a:extLst/>
        </p:spPr>
        <p:txBody>
          <a:bodyPr vert="horz" wrap="square" lIns="182880"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a:t>Moderating workplace conflict</a:t>
            </a:r>
          </a:p>
        </p:txBody>
      </p:sp>
      <p:sp>
        <p:nvSpPr>
          <p:cNvPr id="15" name="Rectangle 6"/>
          <p:cNvSpPr txBox="1">
            <a:spLocks/>
          </p:cNvSpPr>
          <p:nvPr>
            <p:custDataLst>
              <p:tags r:id="rId11"/>
            </p:custDataLst>
          </p:nvPr>
        </p:nvSpPr>
        <p:spPr>
          <a:xfrm>
            <a:off x="933789" y="5260482"/>
            <a:ext cx="4477295" cy="892552"/>
          </a:xfrm>
          <a:prstGeom prst="rect">
            <a:avLst/>
          </a:prstGeom>
          <a:solidFill>
            <a:schemeClr val="accent1"/>
          </a:solidFill>
          <a:ln w="9525">
            <a:solidFill>
              <a:schemeClr val="accent1"/>
            </a:solidFill>
            <a:miter lim="800000"/>
            <a:headEnd/>
            <a:tailEnd/>
          </a:ln>
          <a:effectLst/>
          <a:extLst/>
        </p:spPr>
        <p:txBody>
          <a:bodyPr vert="horz" wrap="square" lIns="182880"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a:t>State reform and boosting the role of state-owned companies, information and communications technology infrastructure or broadband roll-out, water, sanitation and transport infrastructure</a:t>
            </a:r>
          </a:p>
        </p:txBody>
      </p:sp>
      <p:sp>
        <p:nvSpPr>
          <p:cNvPr id="16" name="Oval 15"/>
          <p:cNvSpPr txBox="1"/>
          <p:nvPr>
            <p:custDataLst>
              <p:tags r:id="rId12"/>
            </p:custDataLst>
          </p:nvPr>
        </p:nvSpPr>
        <p:spPr>
          <a:xfrm>
            <a:off x="777622" y="1034559"/>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1</a:t>
            </a:r>
            <a:endParaRPr lang="en-US" sz="1200" dirty="0"/>
          </a:p>
        </p:txBody>
      </p:sp>
      <p:sp>
        <p:nvSpPr>
          <p:cNvPr id="17" name="Oval 15"/>
          <p:cNvSpPr txBox="1"/>
          <p:nvPr>
            <p:custDataLst>
              <p:tags r:id="rId13"/>
            </p:custDataLst>
          </p:nvPr>
        </p:nvSpPr>
        <p:spPr>
          <a:xfrm>
            <a:off x="777622" y="1717998"/>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2</a:t>
            </a:r>
            <a:endParaRPr lang="en-US" sz="1200" dirty="0"/>
          </a:p>
        </p:txBody>
      </p:sp>
      <p:sp>
        <p:nvSpPr>
          <p:cNvPr id="18" name="Oval 15"/>
          <p:cNvSpPr txBox="1"/>
          <p:nvPr>
            <p:custDataLst>
              <p:tags r:id="rId14"/>
            </p:custDataLst>
          </p:nvPr>
        </p:nvSpPr>
        <p:spPr>
          <a:xfrm>
            <a:off x="777622" y="2401437"/>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3</a:t>
            </a:r>
            <a:endParaRPr lang="en-US" sz="1200" dirty="0"/>
          </a:p>
        </p:txBody>
      </p:sp>
      <p:sp>
        <p:nvSpPr>
          <p:cNvPr id="19" name="Oval 15"/>
          <p:cNvSpPr txBox="1"/>
          <p:nvPr>
            <p:custDataLst>
              <p:tags r:id="rId15"/>
            </p:custDataLst>
          </p:nvPr>
        </p:nvSpPr>
        <p:spPr>
          <a:xfrm>
            <a:off x="777622" y="2992543"/>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4</a:t>
            </a:r>
            <a:endParaRPr lang="en-US" sz="1200" dirty="0"/>
          </a:p>
        </p:txBody>
      </p:sp>
      <p:sp>
        <p:nvSpPr>
          <p:cNvPr id="20" name="Oval 15"/>
          <p:cNvSpPr txBox="1"/>
          <p:nvPr>
            <p:custDataLst>
              <p:tags r:id="rId16"/>
            </p:custDataLst>
          </p:nvPr>
        </p:nvSpPr>
        <p:spPr>
          <a:xfrm>
            <a:off x="777622" y="3583649"/>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5</a:t>
            </a:r>
            <a:endParaRPr lang="en-US" sz="1200" dirty="0"/>
          </a:p>
        </p:txBody>
      </p:sp>
      <p:sp>
        <p:nvSpPr>
          <p:cNvPr id="21" name="Oval 15"/>
          <p:cNvSpPr txBox="1"/>
          <p:nvPr>
            <p:custDataLst>
              <p:tags r:id="rId17"/>
            </p:custDataLst>
          </p:nvPr>
        </p:nvSpPr>
        <p:spPr>
          <a:xfrm>
            <a:off x="777622" y="4082422"/>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6</a:t>
            </a:r>
            <a:endParaRPr lang="en-US" sz="1200" dirty="0"/>
          </a:p>
        </p:txBody>
      </p:sp>
      <p:sp>
        <p:nvSpPr>
          <p:cNvPr id="22" name="Oval 15"/>
          <p:cNvSpPr txBox="1"/>
          <p:nvPr>
            <p:custDataLst>
              <p:tags r:id="rId18"/>
            </p:custDataLst>
          </p:nvPr>
        </p:nvSpPr>
        <p:spPr>
          <a:xfrm>
            <a:off x="777622" y="4488862"/>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200" dirty="0"/>
              <a:t>7</a:t>
            </a:r>
          </a:p>
        </p:txBody>
      </p:sp>
      <p:sp>
        <p:nvSpPr>
          <p:cNvPr id="23" name="Oval 15"/>
          <p:cNvSpPr txBox="1"/>
          <p:nvPr>
            <p:custDataLst>
              <p:tags r:id="rId19"/>
            </p:custDataLst>
          </p:nvPr>
        </p:nvSpPr>
        <p:spPr>
          <a:xfrm>
            <a:off x="777622" y="4895302"/>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8</a:t>
            </a:r>
            <a:endParaRPr lang="en-US" sz="1200" dirty="0"/>
          </a:p>
        </p:txBody>
      </p:sp>
      <p:sp>
        <p:nvSpPr>
          <p:cNvPr id="24" name="Oval 15"/>
          <p:cNvSpPr txBox="1"/>
          <p:nvPr>
            <p:custDataLst>
              <p:tags r:id="rId20"/>
            </p:custDataLst>
          </p:nvPr>
        </p:nvSpPr>
        <p:spPr>
          <a:xfrm>
            <a:off x="777622" y="5578742"/>
            <a:ext cx="256032" cy="256032"/>
          </a:xfrm>
          <a:prstGeom prst="ellipse">
            <a:avLst/>
          </a:prstGeom>
          <a:solidFill>
            <a:schemeClr val="accent1"/>
          </a:solidFill>
          <a:ln w="19050">
            <a:solidFill>
              <a:schemeClr val="bg2"/>
            </a:solidFill>
            <a:miter lim="800000"/>
            <a:headEnd/>
            <a:tailEnd/>
          </a:ln>
          <a:effectLst/>
        </p:spPr>
        <p:txBody>
          <a:bodyPr vert="horz" wrap="square" lIns="3810" tIns="0" rIns="3810"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9</a:t>
            </a:r>
            <a:endParaRPr lang="en-US" sz="1200" dirty="0"/>
          </a:p>
        </p:txBody>
      </p:sp>
      <p:sp>
        <p:nvSpPr>
          <p:cNvPr id="26" name="TextBox 25"/>
          <p:cNvSpPr txBox="1"/>
          <p:nvPr/>
        </p:nvSpPr>
        <p:spPr>
          <a:xfrm>
            <a:off x="6537066" y="1738635"/>
            <a:ext cx="1352020" cy="1521534"/>
          </a:xfrm>
          <a:prstGeom prst="roundRect">
            <a:avLst>
              <a:gd name="adj" fmla="val 11571"/>
            </a:avLst>
          </a:prstGeom>
          <a:solidFill>
            <a:schemeClr val="accent3"/>
          </a:solidFill>
          <a:ln w="9525">
            <a:noFill/>
            <a:miter lim="800000"/>
            <a:headEnd/>
            <a:tailEnd/>
          </a:ln>
          <a:effectLst/>
          <a:extLst/>
        </p:spPr>
        <p:txBody>
          <a:bodyPr vert="horz" wrap="square" lIns="72009"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solidFill>
                  <a:schemeClr val="bg1"/>
                </a:solidFill>
              </a:rPr>
              <a:t>The output of the Lab contributes to points 1, 4, 5 and 6 of the Government’s 9 Point Plan</a:t>
            </a:r>
            <a:endParaRPr lang="en-US" sz="1200" dirty="0">
              <a:solidFill>
                <a:schemeClr val="bg1"/>
              </a:solidFill>
            </a:endParaRPr>
          </a:p>
        </p:txBody>
      </p:sp>
      <p:cxnSp>
        <p:nvCxnSpPr>
          <p:cNvPr id="28" name="Elbow Connector 27"/>
          <p:cNvCxnSpPr/>
          <p:nvPr/>
        </p:nvCxnSpPr>
        <p:spPr>
          <a:xfrm rot="10800000">
            <a:off x="5934212" y="773523"/>
            <a:ext cx="1278864" cy="718549"/>
          </a:xfrm>
          <a:prstGeom prst="bentConnector3">
            <a:avLst>
              <a:gd name="adj1" fmla="val 499"/>
            </a:avLst>
          </a:prstGeom>
          <a:ln w="1905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35" name="Elbow Connector 34"/>
          <p:cNvCxnSpPr/>
          <p:nvPr/>
        </p:nvCxnSpPr>
        <p:spPr>
          <a:xfrm rot="10800000" flipV="1">
            <a:off x="5934212" y="3583649"/>
            <a:ext cx="1278864" cy="970766"/>
          </a:xfrm>
          <a:prstGeom prst="bentConnector3">
            <a:avLst>
              <a:gd name="adj1" fmla="val 499"/>
            </a:avLst>
          </a:prstGeom>
          <a:ln w="1905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859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93"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The </a:t>
            </a:r>
            <a:r>
              <a:rPr lang="en-US" dirty="0" err="1" smtClean="0"/>
              <a:t>C&amp;M</a:t>
            </a:r>
            <a:r>
              <a:rPr lang="en-US" dirty="0" smtClean="0"/>
              <a:t> tourism initiatives </a:t>
            </a:r>
            <a:r>
              <a:rPr lang="en-US" dirty="0"/>
              <a:t>developed address the identified market </a:t>
            </a:r>
            <a:r>
              <a:rPr lang="en-US" dirty="0" smtClean="0"/>
              <a:t>segments and </a:t>
            </a:r>
            <a:r>
              <a:rPr lang="en-US" dirty="0"/>
              <a:t>enabling </a:t>
            </a:r>
            <a:r>
              <a:rPr lang="en-US" dirty="0" smtClean="0"/>
              <a:t>environment (1/2)</a:t>
            </a:r>
            <a:endParaRPr lang="en-US" dirty="0"/>
          </a:p>
        </p:txBody>
      </p:sp>
      <p:sp>
        <p:nvSpPr>
          <p:cNvPr id="73" name="Rectangle 72"/>
          <p:cNvSpPr/>
          <p:nvPr/>
        </p:nvSpPr>
        <p:spPr>
          <a:xfrm>
            <a:off x="263426" y="892961"/>
            <a:ext cx="8457952" cy="5287454"/>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err="1" smtClean="0">
              <a:solidFill>
                <a:schemeClr val="tx1"/>
              </a:solidFill>
            </a:endParaRPr>
          </a:p>
        </p:txBody>
      </p:sp>
      <p:sp>
        <p:nvSpPr>
          <p:cNvPr id="74" name="Rectangle 73"/>
          <p:cNvSpPr>
            <a:spLocks/>
          </p:cNvSpPr>
          <p:nvPr/>
        </p:nvSpPr>
        <p:spPr>
          <a:xfrm>
            <a:off x="5351031" y="1169233"/>
            <a:ext cx="1574465" cy="4962486"/>
          </a:xfrm>
          <a:prstGeom prst="rect">
            <a:avLst/>
          </a:prstGeom>
          <a:solidFill>
            <a:schemeClr val="accent1">
              <a:lumMod val="20000"/>
              <a:lumOff val="80000"/>
            </a:schemeClr>
          </a:soli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err="1" smtClean="0">
              <a:solidFill>
                <a:schemeClr val="tx1"/>
              </a:solidFill>
            </a:endParaRPr>
          </a:p>
        </p:txBody>
      </p:sp>
      <p:sp>
        <p:nvSpPr>
          <p:cNvPr id="75" name="TextBox 74"/>
          <p:cNvSpPr txBox="1">
            <a:spLocks/>
          </p:cNvSpPr>
          <p:nvPr/>
        </p:nvSpPr>
        <p:spPr bwMode="gray">
          <a:xfrm>
            <a:off x="5373732" y="5738167"/>
            <a:ext cx="1953929" cy="326243"/>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230188"/>
            <a:r>
              <a:rPr lang="en-US" sz="1000" b="1" dirty="0">
                <a:solidFill>
                  <a:schemeClr val="tx2"/>
                </a:solidFill>
              </a:rPr>
              <a:t>Infrastructural </a:t>
            </a:r>
            <a:r>
              <a:rPr lang="en-US" sz="1000" b="1" dirty="0" smtClean="0">
                <a:solidFill>
                  <a:schemeClr val="tx2"/>
                </a:solidFill>
              </a:rPr>
              <a:t/>
            </a:r>
            <a:br>
              <a:rPr lang="en-US" sz="1000" b="1" dirty="0" smtClean="0">
                <a:solidFill>
                  <a:schemeClr val="tx2"/>
                </a:solidFill>
              </a:rPr>
            </a:br>
            <a:r>
              <a:rPr lang="en-US" sz="1000" b="1" dirty="0" smtClean="0">
                <a:solidFill>
                  <a:schemeClr val="tx2"/>
                </a:solidFill>
              </a:rPr>
              <a:t>developments</a:t>
            </a:r>
            <a:endParaRPr lang="en-US" sz="1000" b="1" dirty="0">
              <a:solidFill>
                <a:schemeClr val="tx2"/>
              </a:solidFill>
            </a:endParaRPr>
          </a:p>
        </p:txBody>
      </p:sp>
      <p:grpSp>
        <p:nvGrpSpPr>
          <p:cNvPr id="84" name="Group 83"/>
          <p:cNvGrpSpPr>
            <a:grpSpLocks noChangeAspect="1"/>
          </p:cNvGrpSpPr>
          <p:nvPr/>
        </p:nvGrpSpPr>
        <p:grpSpPr>
          <a:xfrm>
            <a:off x="6533130" y="5709650"/>
            <a:ext cx="395197" cy="329184"/>
            <a:chOff x="15938500" y="3508375"/>
            <a:chExt cx="849313" cy="698501"/>
          </a:xfrm>
          <a:solidFill>
            <a:schemeClr val="accent2"/>
          </a:solidFill>
        </p:grpSpPr>
        <p:sp>
          <p:nvSpPr>
            <p:cNvPr id="85" name="Freeform 35"/>
            <p:cNvSpPr>
              <a:spLocks noEditPoints="1"/>
            </p:cNvSpPr>
            <p:nvPr/>
          </p:nvSpPr>
          <p:spPr bwMode="auto">
            <a:xfrm>
              <a:off x="15938500" y="3843338"/>
              <a:ext cx="849313" cy="363538"/>
            </a:xfrm>
            <a:custGeom>
              <a:avLst/>
              <a:gdLst>
                <a:gd name="T0" fmla="*/ 87 w 535"/>
                <a:gd name="T1" fmla="*/ 198 h 229"/>
                <a:gd name="T2" fmla="*/ 95 w 535"/>
                <a:gd name="T3" fmla="*/ 222 h 229"/>
                <a:gd name="T4" fmla="*/ 106 w 535"/>
                <a:gd name="T5" fmla="*/ 175 h 229"/>
                <a:gd name="T6" fmla="*/ 127 w 535"/>
                <a:gd name="T7" fmla="*/ 150 h 229"/>
                <a:gd name="T8" fmla="*/ 177 w 535"/>
                <a:gd name="T9" fmla="*/ 117 h 229"/>
                <a:gd name="T10" fmla="*/ 220 w 535"/>
                <a:gd name="T11" fmla="*/ 68 h 229"/>
                <a:gd name="T12" fmla="*/ 201 w 535"/>
                <a:gd name="T13" fmla="*/ 97 h 229"/>
                <a:gd name="T14" fmla="*/ 220 w 535"/>
                <a:gd name="T15" fmla="*/ 68 h 229"/>
                <a:gd name="T16" fmla="*/ 268 w 535"/>
                <a:gd name="T17" fmla="*/ 42 h 229"/>
                <a:gd name="T18" fmla="*/ 257 w 535"/>
                <a:gd name="T19" fmla="*/ 58 h 229"/>
                <a:gd name="T20" fmla="*/ 301 w 535"/>
                <a:gd name="T21" fmla="*/ 36 h 229"/>
                <a:gd name="T22" fmla="*/ 349 w 535"/>
                <a:gd name="T23" fmla="*/ 19 h 229"/>
                <a:gd name="T24" fmla="*/ 330 w 535"/>
                <a:gd name="T25" fmla="*/ 27 h 229"/>
                <a:gd name="T26" fmla="*/ 349 w 535"/>
                <a:gd name="T27" fmla="*/ 19 h 229"/>
                <a:gd name="T28" fmla="*/ 462 w 535"/>
                <a:gd name="T29" fmla="*/ 1 h 229"/>
                <a:gd name="T30" fmla="*/ 507 w 535"/>
                <a:gd name="T31" fmla="*/ 6 h 229"/>
                <a:gd name="T32" fmla="*/ 532 w 535"/>
                <a:gd name="T33" fmla="*/ 10 h 229"/>
                <a:gd name="T34" fmla="*/ 490 w 535"/>
                <a:gd name="T35" fmla="*/ 9 h 229"/>
                <a:gd name="T36" fmla="*/ 411 w 535"/>
                <a:gd name="T37" fmla="*/ 19 h 229"/>
                <a:gd name="T38" fmla="*/ 347 w 535"/>
                <a:gd name="T39" fmla="*/ 44 h 229"/>
                <a:gd name="T40" fmla="*/ 294 w 535"/>
                <a:gd name="T41" fmla="*/ 79 h 229"/>
                <a:gd name="T42" fmla="*/ 253 w 535"/>
                <a:gd name="T43" fmla="*/ 119 h 229"/>
                <a:gd name="T44" fmla="*/ 223 w 535"/>
                <a:gd name="T45" fmla="*/ 160 h 229"/>
                <a:gd name="T46" fmla="*/ 202 w 535"/>
                <a:gd name="T47" fmla="*/ 195 h 229"/>
                <a:gd name="T48" fmla="*/ 190 w 535"/>
                <a:gd name="T49" fmla="*/ 220 h 229"/>
                <a:gd name="T50" fmla="*/ 187 w 535"/>
                <a:gd name="T51" fmla="*/ 229 h 229"/>
                <a:gd name="T52" fmla="*/ 39 w 535"/>
                <a:gd name="T53" fmla="*/ 179 h 229"/>
                <a:gd name="T54" fmla="*/ 122 w 535"/>
                <a:gd name="T55" fmla="*/ 101 h 229"/>
                <a:gd name="T56" fmla="*/ 206 w 535"/>
                <a:gd name="T57" fmla="*/ 50 h 229"/>
                <a:gd name="T58" fmla="*/ 289 w 535"/>
                <a:gd name="T59" fmla="*/ 18 h 229"/>
                <a:gd name="T60" fmla="*/ 366 w 535"/>
                <a:gd name="T61" fmla="*/ 4 h 229"/>
                <a:gd name="T62" fmla="*/ 433 w 535"/>
                <a:gd name="T63"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5" h="229">
                  <a:moveTo>
                    <a:pt x="106" y="175"/>
                  </a:moveTo>
                  <a:lnTo>
                    <a:pt x="87" y="198"/>
                  </a:lnTo>
                  <a:lnTo>
                    <a:pt x="74" y="218"/>
                  </a:lnTo>
                  <a:lnTo>
                    <a:pt x="95" y="222"/>
                  </a:lnTo>
                  <a:lnTo>
                    <a:pt x="123" y="179"/>
                  </a:lnTo>
                  <a:lnTo>
                    <a:pt x="106" y="175"/>
                  </a:lnTo>
                  <a:close/>
                  <a:moveTo>
                    <a:pt x="162" y="113"/>
                  </a:moveTo>
                  <a:lnTo>
                    <a:pt x="127" y="150"/>
                  </a:lnTo>
                  <a:lnTo>
                    <a:pt x="144" y="154"/>
                  </a:lnTo>
                  <a:lnTo>
                    <a:pt x="177" y="117"/>
                  </a:lnTo>
                  <a:lnTo>
                    <a:pt x="162" y="113"/>
                  </a:lnTo>
                  <a:close/>
                  <a:moveTo>
                    <a:pt x="220" y="68"/>
                  </a:moveTo>
                  <a:lnTo>
                    <a:pt x="186" y="94"/>
                  </a:lnTo>
                  <a:lnTo>
                    <a:pt x="201" y="97"/>
                  </a:lnTo>
                  <a:lnTo>
                    <a:pt x="232" y="73"/>
                  </a:lnTo>
                  <a:lnTo>
                    <a:pt x="220" y="68"/>
                  </a:lnTo>
                  <a:close/>
                  <a:moveTo>
                    <a:pt x="291" y="33"/>
                  </a:moveTo>
                  <a:lnTo>
                    <a:pt x="268" y="42"/>
                  </a:lnTo>
                  <a:lnTo>
                    <a:pt x="247" y="52"/>
                  </a:lnTo>
                  <a:lnTo>
                    <a:pt x="257" y="58"/>
                  </a:lnTo>
                  <a:lnTo>
                    <a:pt x="279" y="46"/>
                  </a:lnTo>
                  <a:lnTo>
                    <a:pt x="301" y="36"/>
                  </a:lnTo>
                  <a:lnTo>
                    <a:pt x="291" y="33"/>
                  </a:lnTo>
                  <a:close/>
                  <a:moveTo>
                    <a:pt x="349" y="19"/>
                  </a:moveTo>
                  <a:lnTo>
                    <a:pt x="323" y="23"/>
                  </a:lnTo>
                  <a:lnTo>
                    <a:pt x="330" y="27"/>
                  </a:lnTo>
                  <a:lnTo>
                    <a:pt x="353" y="22"/>
                  </a:lnTo>
                  <a:lnTo>
                    <a:pt x="349" y="19"/>
                  </a:lnTo>
                  <a:close/>
                  <a:moveTo>
                    <a:pt x="433" y="0"/>
                  </a:moveTo>
                  <a:lnTo>
                    <a:pt x="462" y="1"/>
                  </a:lnTo>
                  <a:lnTo>
                    <a:pt x="487" y="4"/>
                  </a:lnTo>
                  <a:lnTo>
                    <a:pt x="507" y="6"/>
                  </a:lnTo>
                  <a:lnTo>
                    <a:pt x="523" y="9"/>
                  </a:lnTo>
                  <a:lnTo>
                    <a:pt x="532" y="10"/>
                  </a:lnTo>
                  <a:lnTo>
                    <a:pt x="535" y="11"/>
                  </a:lnTo>
                  <a:lnTo>
                    <a:pt x="490" y="9"/>
                  </a:lnTo>
                  <a:lnTo>
                    <a:pt x="449" y="11"/>
                  </a:lnTo>
                  <a:lnTo>
                    <a:pt x="411" y="19"/>
                  </a:lnTo>
                  <a:lnTo>
                    <a:pt x="377" y="30"/>
                  </a:lnTo>
                  <a:lnTo>
                    <a:pt x="347" y="44"/>
                  </a:lnTo>
                  <a:lnTo>
                    <a:pt x="318" y="60"/>
                  </a:lnTo>
                  <a:lnTo>
                    <a:pt x="294" y="79"/>
                  </a:lnTo>
                  <a:lnTo>
                    <a:pt x="272" y="100"/>
                  </a:lnTo>
                  <a:lnTo>
                    <a:pt x="253" y="119"/>
                  </a:lnTo>
                  <a:lnTo>
                    <a:pt x="236" y="141"/>
                  </a:lnTo>
                  <a:lnTo>
                    <a:pt x="223" y="160"/>
                  </a:lnTo>
                  <a:lnTo>
                    <a:pt x="211" y="179"/>
                  </a:lnTo>
                  <a:lnTo>
                    <a:pt x="202" y="195"/>
                  </a:lnTo>
                  <a:lnTo>
                    <a:pt x="195" y="209"/>
                  </a:lnTo>
                  <a:lnTo>
                    <a:pt x="190" y="220"/>
                  </a:lnTo>
                  <a:lnTo>
                    <a:pt x="187" y="226"/>
                  </a:lnTo>
                  <a:lnTo>
                    <a:pt x="187" y="229"/>
                  </a:lnTo>
                  <a:lnTo>
                    <a:pt x="0" y="229"/>
                  </a:lnTo>
                  <a:lnTo>
                    <a:pt x="39" y="179"/>
                  </a:lnTo>
                  <a:lnTo>
                    <a:pt x="79" y="137"/>
                  </a:lnTo>
                  <a:lnTo>
                    <a:pt x="122" y="101"/>
                  </a:lnTo>
                  <a:lnTo>
                    <a:pt x="164" y="72"/>
                  </a:lnTo>
                  <a:lnTo>
                    <a:pt x="206" y="50"/>
                  </a:lnTo>
                  <a:lnTo>
                    <a:pt x="248" y="31"/>
                  </a:lnTo>
                  <a:lnTo>
                    <a:pt x="289" y="18"/>
                  </a:lnTo>
                  <a:lnTo>
                    <a:pt x="328" y="9"/>
                  </a:lnTo>
                  <a:lnTo>
                    <a:pt x="366" y="4"/>
                  </a:lnTo>
                  <a:lnTo>
                    <a:pt x="402" y="1"/>
                  </a:lnTo>
                  <a:lnTo>
                    <a:pt x="4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sp>
          <p:nvSpPr>
            <p:cNvPr id="86" name="Freeform 36"/>
            <p:cNvSpPr>
              <a:spLocks/>
            </p:cNvSpPr>
            <p:nvPr/>
          </p:nvSpPr>
          <p:spPr bwMode="auto">
            <a:xfrm>
              <a:off x="16252825" y="3508375"/>
              <a:ext cx="284163" cy="608013"/>
            </a:xfrm>
            <a:custGeom>
              <a:avLst/>
              <a:gdLst>
                <a:gd name="T0" fmla="*/ 114 w 179"/>
                <a:gd name="T1" fmla="*/ 0 h 383"/>
                <a:gd name="T2" fmla="*/ 179 w 179"/>
                <a:gd name="T3" fmla="*/ 383 h 383"/>
                <a:gd name="T4" fmla="*/ 141 w 179"/>
                <a:gd name="T5" fmla="*/ 383 h 383"/>
                <a:gd name="T6" fmla="*/ 109 w 179"/>
                <a:gd name="T7" fmla="*/ 35 h 383"/>
                <a:gd name="T8" fmla="*/ 41 w 179"/>
                <a:gd name="T9" fmla="*/ 257 h 383"/>
                <a:gd name="T10" fmla="*/ 0 w 179"/>
                <a:gd name="T11" fmla="*/ 271 h 383"/>
                <a:gd name="T12" fmla="*/ 114 w 179"/>
                <a:gd name="T13" fmla="*/ 0 h 383"/>
              </a:gdLst>
              <a:ahLst/>
              <a:cxnLst>
                <a:cxn ang="0">
                  <a:pos x="T0" y="T1"/>
                </a:cxn>
                <a:cxn ang="0">
                  <a:pos x="T2" y="T3"/>
                </a:cxn>
                <a:cxn ang="0">
                  <a:pos x="T4" y="T5"/>
                </a:cxn>
                <a:cxn ang="0">
                  <a:pos x="T6" y="T7"/>
                </a:cxn>
                <a:cxn ang="0">
                  <a:pos x="T8" y="T9"/>
                </a:cxn>
                <a:cxn ang="0">
                  <a:pos x="T10" y="T11"/>
                </a:cxn>
                <a:cxn ang="0">
                  <a:pos x="T12" y="T13"/>
                </a:cxn>
              </a:cxnLst>
              <a:rect l="0" t="0" r="r" b="b"/>
              <a:pathLst>
                <a:path w="179" h="383">
                  <a:moveTo>
                    <a:pt x="114" y="0"/>
                  </a:moveTo>
                  <a:lnTo>
                    <a:pt x="179" y="383"/>
                  </a:lnTo>
                  <a:lnTo>
                    <a:pt x="141" y="383"/>
                  </a:lnTo>
                  <a:lnTo>
                    <a:pt x="109" y="35"/>
                  </a:lnTo>
                  <a:lnTo>
                    <a:pt x="41" y="257"/>
                  </a:lnTo>
                  <a:lnTo>
                    <a:pt x="0" y="271"/>
                  </a:lnTo>
                  <a:lnTo>
                    <a:pt x="1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sp>
          <p:nvSpPr>
            <p:cNvPr id="87" name="Freeform 37"/>
            <p:cNvSpPr>
              <a:spLocks/>
            </p:cNvSpPr>
            <p:nvPr/>
          </p:nvSpPr>
          <p:spPr bwMode="auto">
            <a:xfrm>
              <a:off x="16592550" y="3619500"/>
              <a:ext cx="182563" cy="476250"/>
            </a:xfrm>
            <a:custGeom>
              <a:avLst/>
              <a:gdLst>
                <a:gd name="T0" fmla="*/ 65 w 115"/>
                <a:gd name="T1" fmla="*/ 0 h 300"/>
                <a:gd name="T2" fmla="*/ 115 w 115"/>
                <a:gd name="T3" fmla="*/ 300 h 300"/>
                <a:gd name="T4" fmla="*/ 85 w 115"/>
                <a:gd name="T5" fmla="*/ 300 h 300"/>
                <a:gd name="T6" fmla="*/ 60 w 115"/>
                <a:gd name="T7" fmla="*/ 27 h 300"/>
                <a:gd name="T8" fmla="*/ 21 w 115"/>
                <a:gd name="T9" fmla="*/ 151 h 300"/>
                <a:gd name="T10" fmla="*/ 0 w 115"/>
                <a:gd name="T11" fmla="*/ 151 h 300"/>
                <a:gd name="T12" fmla="*/ 65 w 115"/>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115" h="300">
                  <a:moveTo>
                    <a:pt x="65" y="0"/>
                  </a:moveTo>
                  <a:lnTo>
                    <a:pt x="115" y="300"/>
                  </a:lnTo>
                  <a:lnTo>
                    <a:pt x="85" y="300"/>
                  </a:lnTo>
                  <a:lnTo>
                    <a:pt x="60" y="27"/>
                  </a:lnTo>
                  <a:lnTo>
                    <a:pt x="21" y="151"/>
                  </a:lnTo>
                  <a:lnTo>
                    <a:pt x="0" y="151"/>
                  </a:lnTo>
                  <a:lnTo>
                    <a:pt x="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grpSp>
      <p:sp>
        <p:nvSpPr>
          <p:cNvPr id="88" name="Rectangle 87"/>
          <p:cNvSpPr>
            <a:spLocks/>
          </p:cNvSpPr>
          <p:nvPr/>
        </p:nvSpPr>
        <p:spPr>
          <a:xfrm>
            <a:off x="2019864" y="1169233"/>
            <a:ext cx="1574465" cy="4962486"/>
          </a:xfrm>
          <a:prstGeom prst="rect">
            <a:avLst/>
          </a:prstGeom>
          <a:solidFill>
            <a:schemeClr val="accent1">
              <a:lumMod val="20000"/>
              <a:lumOff val="80000"/>
            </a:schemeClr>
          </a:soli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err="1" smtClean="0">
              <a:solidFill>
                <a:schemeClr val="tx1"/>
              </a:solidFill>
            </a:endParaRPr>
          </a:p>
        </p:txBody>
      </p:sp>
      <p:sp>
        <p:nvSpPr>
          <p:cNvPr id="90" name="TextBox 89"/>
          <p:cNvSpPr txBox="1">
            <a:spLocks/>
          </p:cNvSpPr>
          <p:nvPr/>
        </p:nvSpPr>
        <p:spPr bwMode="gray">
          <a:xfrm>
            <a:off x="2088043" y="5752778"/>
            <a:ext cx="1645634" cy="3262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207963"/>
            <a:r>
              <a:rPr lang="en-US" sz="1000" b="1" dirty="0" smtClean="0">
                <a:solidFill>
                  <a:schemeClr val="tx2"/>
                </a:solidFill>
              </a:rPr>
              <a:t>Events</a:t>
            </a:r>
          </a:p>
          <a:p>
            <a:pPr marL="207963"/>
            <a:endParaRPr lang="en-US" sz="1000" b="1" dirty="0">
              <a:solidFill>
                <a:schemeClr val="tx2"/>
              </a:solidFill>
            </a:endParaRPr>
          </a:p>
        </p:txBody>
      </p:sp>
      <p:sp>
        <p:nvSpPr>
          <p:cNvPr id="92" name="Rectangle 91"/>
          <p:cNvSpPr>
            <a:spLocks/>
          </p:cNvSpPr>
          <p:nvPr/>
        </p:nvSpPr>
        <p:spPr>
          <a:xfrm>
            <a:off x="3680832" y="1169233"/>
            <a:ext cx="1574465" cy="4962486"/>
          </a:xfrm>
          <a:prstGeom prst="rect">
            <a:avLst/>
          </a:prstGeom>
          <a:solidFill>
            <a:schemeClr val="accent1">
              <a:lumMod val="20000"/>
              <a:lumOff val="80000"/>
            </a:schemeClr>
          </a:soli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err="1" smtClean="0">
              <a:solidFill>
                <a:schemeClr val="tx1"/>
              </a:solidFill>
            </a:endParaRPr>
          </a:p>
        </p:txBody>
      </p:sp>
      <p:sp>
        <p:nvSpPr>
          <p:cNvPr id="94" name="TextBox 93"/>
          <p:cNvSpPr txBox="1">
            <a:spLocks/>
          </p:cNvSpPr>
          <p:nvPr/>
        </p:nvSpPr>
        <p:spPr bwMode="gray">
          <a:xfrm>
            <a:off x="3731675" y="5767541"/>
            <a:ext cx="1692848" cy="326243"/>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230188"/>
            <a:r>
              <a:rPr lang="en-US" sz="1000" b="1" dirty="0" smtClean="0">
                <a:solidFill>
                  <a:schemeClr val="tx2"/>
                </a:solidFill>
              </a:rPr>
              <a:t>Routes</a:t>
            </a:r>
          </a:p>
          <a:p>
            <a:pPr marL="230188"/>
            <a:endParaRPr lang="en-US" sz="1000" b="1" dirty="0">
              <a:solidFill>
                <a:schemeClr val="tx2"/>
              </a:solidFill>
            </a:endParaRPr>
          </a:p>
        </p:txBody>
      </p:sp>
      <p:sp>
        <p:nvSpPr>
          <p:cNvPr id="96" name="Freeform 2853"/>
          <p:cNvSpPr>
            <a:spLocks noChangeAspect="1" noEditPoints="1"/>
          </p:cNvSpPr>
          <p:nvPr/>
        </p:nvSpPr>
        <p:spPr bwMode="auto">
          <a:xfrm>
            <a:off x="4873591" y="5709650"/>
            <a:ext cx="281311" cy="329184"/>
          </a:xfrm>
          <a:custGeom>
            <a:avLst/>
            <a:gdLst>
              <a:gd name="T0" fmla="*/ 600 w 650"/>
              <a:gd name="T1" fmla="*/ 674 h 751"/>
              <a:gd name="T2" fmla="*/ 423 w 650"/>
              <a:gd name="T3" fmla="*/ 234 h 751"/>
              <a:gd name="T4" fmla="*/ 401 w 650"/>
              <a:gd name="T5" fmla="*/ 193 h 751"/>
              <a:gd name="T6" fmla="*/ 0 w 650"/>
              <a:gd name="T7" fmla="*/ 751 h 751"/>
              <a:gd name="T8" fmla="*/ 568 w 650"/>
              <a:gd name="T9" fmla="*/ 260 h 751"/>
              <a:gd name="T10" fmla="*/ 299 w 650"/>
              <a:gd name="T11" fmla="*/ 223 h 751"/>
              <a:gd name="T12" fmla="*/ 591 w 650"/>
              <a:gd name="T13" fmla="*/ 52 h 751"/>
              <a:gd name="T14" fmla="*/ 501 w 650"/>
              <a:gd name="T15" fmla="*/ 0 h 751"/>
              <a:gd name="T16" fmla="*/ 411 w 650"/>
              <a:gd name="T17" fmla="*/ 52 h 751"/>
              <a:gd name="T18" fmla="*/ 406 w 650"/>
              <a:gd name="T19" fmla="*/ 148 h 751"/>
              <a:gd name="T20" fmla="*/ 434 w 650"/>
              <a:gd name="T21" fmla="*/ 206 h 751"/>
              <a:gd name="T22" fmla="*/ 476 w 650"/>
              <a:gd name="T23" fmla="*/ 298 h 751"/>
              <a:gd name="T24" fmla="*/ 507 w 650"/>
              <a:gd name="T25" fmla="*/ 343 h 751"/>
              <a:gd name="T26" fmla="*/ 547 w 650"/>
              <a:gd name="T27" fmla="*/ 250 h 751"/>
              <a:gd name="T28" fmla="*/ 582 w 650"/>
              <a:gd name="T29" fmla="*/ 175 h 751"/>
              <a:gd name="T30" fmla="*/ 606 w 650"/>
              <a:gd name="T31" fmla="*/ 105 h 751"/>
              <a:gd name="T32" fmla="*/ 456 w 650"/>
              <a:gd name="T33" fmla="*/ 138 h 751"/>
              <a:gd name="T34" fmla="*/ 456 w 650"/>
              <a:gd name="T35" fmla="*/ 71 h 751"/>
              <a:gd name="T36" fmla="*/ 519 w 650"/>
              <a:gd name="T37" fmla="*/ 52 h 751"/>
              <a:gd name="T38" fmla="*/ 556 w 650"/>
              <a:gd name="T39" fmla="*/ 105 h 751"/>
              <a:gd name="T40" fmla="*/ 519 w 650"/>
              <a:gd name="T41" fmla="*/ 157 h 751"/>
              <a:gd name="T42" fmla="*/ 115 w 650"/>
              <a:gd name="T43" fmla="*/ 451 h 751"/>
              <a:gd name="T44" fmla="*/ 94 w 650"/>
              <a:gd name="T45" fmla="*/ 472 h 751"/>
              <a:gd name="T46" fmla="*/ 74 w 650"/>
              <a:gd name="T47" fmla="*/ 451 h 751"/>
              <a:gd name="T48" fmla="*/ 94 w 650"/>
              <a:gd name="T49" fmla="*/ 431 h 751"/>
              <a:gd name="T50" fmla="*/ 138 w 650"/>
              <a:gd name="T51" fmla="*/ 409 h 751"/>
              <a:gd name="T52" fmla="*/ 151 w 650"/>
              <a:gd name="T53" fmla="*/ 433 h 751"/>
              <a:gd name="T54" fmla="*/ 174 w 650"/>
              <a:gd name="T55" fmla="*/ 420 h 751"/>
              <a:gd name="T56" fmla="*/ 161 w 650"/>
              <a:gd name="T57" fmla="*/ 396 h 751"/>
              <a:gd name="T58" fmla="*/ 211 w 650"/>
              <a:gd name="T59" fmla="*/ 424 h 751"/>
              <a:gd name="T60" fmla="*/ 211 w 650"/>
              <a:gd name="T61" fmla="*/ 447 h 751"/>
              <a:gd name="T62" fmla="*/ 234 w 650"/>
              <a:gd name="T63" fmla="*/ 447 h 751"/>
              <a:gd name="T64" fmla="*/ 234 w 650"/>
              <a:gd name="T65" fmla="*/ 424 h 751"/>
              <a:gd name="T66" fmla="*/ 211 w 650"/>
              <a:gd name="T67" fmla="*/ 424 h 751"/>
              <a:gd name="T68" fmla="*/ 242 w 650"/>
              <a:gd name="T69" fmla="*/ 508 h 751"/>
              <a:gd name="T70" fmla="*/ 265 w 650"/>
              <a:gd name="T71" fmla="*/ 520 h 751"/>
              <a:gd name="T72" fmla="*/ 278 w 650"/>
              <a:gd name="T73" fmla="*/ 497 h 751"/>
              <a:gd name="T74" fmla="*/ 254 w 650"/>
              <a:gd name="T75" fmla="*/ 485 h 751"/>
              <a:gd name="T76" fmla="*/ 373 w 650"/>
              <a:gd name="T77" fmla="*/ 513 h 751"/>
              <a:gd name="T78" fmla="*/ 393 w 650"/>
              <a:gd name="T79" fmla="*/ 532 h 751"/>
              <a:gd name="T80" fmla="*/ 414 w 650"/>
              <a:gd name="T81" fmla="*/ 513 h 751"/>
              <a:gd name="T82" fmla="*/ 393 w 650"/>
              <a:gd name="T83" fmla="*/ 492 h 751"/>
              <a:gd name="T84" fmla="*/ 444 w 650"/>
              <a:gd name="T85" fmla="*/ 486 h 751"/>
              <a:gd name="T86" fmla="*/ 457 w 650"/>
              <a:gd name="T87" fmla="*/ 510 h 751"/>
              <a:gd name="T88" fmla="*/ 480 w 650"/>
              <a:gd name="T89" fmla="*/ 497 h 751"/>
              <a:gd name="T90" fmla="*/ 467 w 650"/>
              <a:gd name="T91" fmla="*/ 473 h 751"/>
              <a:gd name="T92" fmla="*/ 485 w 650"/>
              <a:gd name="T93" fmla="*/ 413 h 751"/>
              <a:gd name="T94" fmla="*/ 485 w 650"/>
              <a:gd name="T95" fmla="*/ 437 h 751"/>
              <a:gd name="T96" fmla="*/ 509 w 650"/>
              <a:gd name="T97" fmla="*/ 436 h 751"/>
              <a:gd name="T98" fmla="*/ 509 w 650"/>
              <a:gd name="T99" fmla="*/ 413 h 751"/>
              <a:gd name="T100" fmla="*/ 485 w 650"/>
              <a:gd name="T101" fmla="*/ 413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0" h="751">
                <a:moveTo>
                  <a:pt x="568" y="260"/>
                </a:moveTo>
                <a:lnTo>
                  <a:pt x="548" y="307"/>
                </a:lnTo>
                <a:lnTo>
                  <a:pt x="600" y="328"/>
                </a:lnTo>
                <a:lnTo>
                  <a:pt x="600" y="674"/>
                </a:lnTo>
                <a:lnTo>
                  <a:pt x="351" y="569"/>
                </a:lnTo>
                <a:lnTo>
                  <a:pt x="351" y="223"/>
                </a:lnTo>
                <a:lnTo>
                  <a:pt x="433" y="257"/>
                </a:lnTo>
                <a:lnTo>
                  <a:pt x="423" y="234"/>
                </a:lnTo>
                <a:lnTo>
                  <a:pt x="414" y="215"/>
                </a:lnTo>
                <a:lnTo>
                  <a:pt x="405" y="200"/>
                </a:lnTo>
                <a:lnTo>
                  <a:pt x="405" y="200"/>
                </a:lnTo>
                <a:lnTo>
                  <a:pt x="401" y="193"/>
                </a:lnTo>
                <a:lnTo>
                  <a:pt x="397" y="187"/>
                </a:lnTo>
                <a:lnTo>
                  <a:pt x="325" y="157"/>
                </a:lnTo>
                <a:lnTo>
                  <a:pt x="0" y="295"/>
                </a:lnTo>
                <a:lnTo>
                  <a:pt x="0" y="751"/>
                </a:lnTo>
                <a:lnTo>
                  <a:pt x="325" y="613"/>
                </a:lnTo>
                <a:lnTo>
                  <a:pt x="650" y="751"/>
                </a:lnTo>
                <a:lnTo>
                  <a:pt x="650" y="295"/>
                </a:lnTo>
                <a:lnTo>
                  <a:pt x="568" y="260"/>
                </a:lnTo>
                <a:close/>
                <a:moveTo>
                  <a:pt x="299" y="569"/>
                </a:moveTo>
                <a:lnTo>
                  <a:pt x="50" y="674"/>
                </a:lnTo>
                <a:lnTo>
                  <a:pt x="50" y="328"/>
                </a:lnTo>
                <a:lnTo>
                  <a:pt x="299" y="223"/>
                </a:lnTo>
                <a:lnTo>
                  <a:pt x="299" y="569"/>
                </a:lnTo>
                <a:close/>
                <a:moveTo>
                  <a:pt x="606" y="105"/>
                </a:moveTo>
                <a:lnTo>
                  <a:pt x="602" y="77"/>
                </a:lnTo>
                <a:lnTo>
                  <a:pt x="591" y="52"/>
                </a:lnTo>
                <a:lnTo>
                  <a:pt x="575" y="30"/>
                </a:lnTo>
                <a:lnTo>
                  <a:pt x="553" y="15"/>
                </a:lnTo>
                <a:lnTo>
                  <a:pt x="529" y="3"/>
                </a:lnTo>
                <a:lnTo>
                  <a:pt x="501" y="0"/>
                </a:lnTo>
                <a:lnTo>
                  <a:pt x="473" y="3"/>
                </a:lnTo>
                <a:lnTo>
                  <a:pt x="448" y="15"/>
                </a:lnTo>
                <a:lnTo>
                  <a:pt x="426" y="30"/>
                </a:lnTo>
                <a:lnTo>
                  <a:pt x="411" y="52"/>
                </a:lnTo>
                <a:lnTo>
                  <a:pt x="399" y="77"/>
                </a:lnTo>
                <a:lnTo>
                  <a:pt x="397" y="105"/>
                </a:lnTo>
                <a:lnTo>
                  <a:pt x="399" y="127"/>
                </a:lnTo>
                <a:lnTo>
                  <a:pt x="406" y="148"/>
                </a:lnTo>
                <a:lnTo>
                  <a:pt x="416" y="168"/>
                </a:lnTo>
                <a:lnTo>
                  <a:pt x="420" y="175"/>
                </a:lnTo>
                <a:lnTo>
                  <a:pt x="426" y="188"/>
                </a:lnTo>
                <a:lnTo>
                  <a:pt x="434" y="206"/>
                </a:lnTo>
                <a:lnTo>
                  <a:pt x="444" y="227"/>
                </a:lnTo>
                <a:lnTo>
                  <a:pt x="455" y="250"/>
                </a:lnTo>
                <a:lnTo>
                  <a:pt x="466" y="274"/>
                </a:lnTo>
                <a:lnTo>
                  <a:pt x="476" y="298"/>
                </a:lnTo>
                <a:lnTo>
                  <a:pt x="487" y="323"/>
                </a:lnTo>
                <a:lnTo>
                  <a:pt x="494" y="343"/>
                </a:lnTo>
                <a:lnTo>
                  <a:pt x="501" y="363"/>
                </a:lnTo>
                <a:lnTo>
                  <a:pt x="507" y="343"/>
                </a:lnTo>
                <a:lnTo>
                  <a:pt x="515" y="323"/>
                </a:lnTo>
                <a:lnTo>
                  <a:pt x="525" y="298"/>
                </a:lnTo>
                <a:lnTo>
                  <a:pt x="535" y="274"/>
                </a:lnTo>
                <a:lnTo>
                  <a:pt x="547" y="250"/>
                </a:lnTo>
                <a:lnTo>
                  <a:pt x="557" y="227"/>
                </a:lnTo>
                <a:lnTo>
                  <a:pt x="568" y="206"/>
                </a:lnTo>
                <a:lnTo>
                  <a:pt x="575" y="188"/>
                </a:lnTo>
                <a:lnTo>
                  <a:pt x="582" y="175"/>
                </a:lnTo>
                <a:lnTo>
                  <a:pt x="586" y="168"/>
                </a:lnTo>
                <a:lnTo>
                  <a:pt x="596" y="148"/>
                </a:lnTo>
                <a:lnTo>
                  <a:pt x="602" y="127"/>
                </a:lnTo>
                <a:lnTo>
                  <a:pt x="606" y="105"/>
                </a:lnTo>
                <a:close/>
                <a:moveTo>
                  <a:pt x="501" y="160"/>
                </a:moveTo>
                <a:lnTo>
                  <a:pt x="483" y="157"/>
                </a:lnTo>
                <a:lnTo>
                  <a:pt x="467" y="150"/>
                </a:lnTo>
                <a:lnTo>
                  <a:pt x="456" y="138"/>
                </a:lnTo>
                <a:lnTo>
                  <a:pt x="448" y="123"/>
                </a:lnTo>
                <a:lnTo>
                  <a:pt x="446" y="105"/>
                </a:lnTo>
                <a:lnTo>
                  <a:pt x="448" y="87"/>
                </a:lnTo>
                <a:lnTo>
                  <a:pt x="456" y="71"/>
                </a:lnTo>
                <a:lnTo>
                  <a:pt x="467" y="60"/>
                </a:lnTo>
                <a:lnTo>
                  <a:pt x="483" y="52"/>
                </a:lnTo>
                <a:lnTo>
                  <a:pt x="501" y="50"/>
                </a:lnTo>
                <a:lnTo>
                  <a:pt x="519" y="52"/>
                </a:lnTo>
                <a:lnTo>
                  <a:pt x="534" y="60"/>
                </a:lnTo>
                <a:lnTo>
                  <a:pt x="546" y="71"/>
                </a:lnTo>
                <a:lnTo>
                  <a:pt x="553" y="87"/>
                </a:lnTo>
                <a:lnTo>
                  <a:pt x="556" y="105"/>
                </a:lnTo>
                <a:lnTo>
                  <a:pt x="553" y="123"/>
                </a:lnTo>
                <a:lnTo>
                  <a:pt x="546" y="138"/>
                </a:lnTo>
                <a:lnTo>
                  <a:pt x="534" y="150"/>
                </a:lnTo>
                <a:lnTo>
                  <a:pt x="519" y="157"/>
                </a:lnTo>
                <a:lnTo>
                  <a:pt x="501" y="160"/>
                </a:lnTo>
                <a:close/>
                <a:moveTo>
                  <a:pt x="106" y="440"/>
                </a:moveTo>
                <a:lnTo>
                  <a:pt x="112" y="446"/>
                </a:lnTo>
                <a:lnTo>
                  <a:pt x="115" y="451"/>
                </a:lnTo>
                <a:lnTo>
                  <a:pt x="112" y="456"/>
                </a:lnTo>
                <a:lnTo>
                  <a:pt x="106" y="463"/>
                </a:lnTo>
                <a:lnTo>
                  <a:pt x="99" y="469"/>
                </a:lnTo>
                <a:lnTo>
                  <a:pt x="94" y="472"/>
                </a:lnTo>
                <a:lnTo>
                  <a:pt x="89" y="469"/>
                </a:lnTo>
                <a:lnTo>
                  <a:pt x="83" y="463"/>
                </a:lnTo>
                <a:lnTo>
                  <a:pt x="76" y="456"/>
                </a:lnTo>
                <a:lnTo>
                  <a:pt x="74" y="451"/>
                </a:lnTo>
                <a:lnTo>
                  <a:pt x="76" y="446"/>
                </a:lnTo>
                <a:lnTo>
                  <a:pt x="83" y="440"/>
                </a:lnTo>
                <a:lnTo>
                  <a:pt x="89" y="433"/>
                </a:lnTo>
                <a:lnTo>
                  <a:pt x="94" y="431"/>
                </a:lnTo>
                <a:lnTo>
                  <a:pt x="99" y="433"/>
                </a:lnTo>
                <a:lnTo>
                  <a:pt x="106" y="440"/>
                </a:lnTo>
                <a:close/>
                <a:moveTo>
                  <a:pt x="144" y="402"/>
                </a:moveTo>
                <a:lnTo>
                  <a:pt x="138" y="409"/>
                </a:lnTo>
                <a:lnTo>
                  <a:pt x="136" y="415"/>
                </a:lnTo>
                <a:lnTo>
                  <a:pt x="138" y="420"/>
                </a:lnTo>
                <a:lnTo>
                  <a:pt x="144" y="427"/>
                </a:lnTo>
                <a:lnTo>
                  <a:pt x="151" y="433"/>
                </a:lnTo>
                <a:lnTo>
                  <a:pt x="156" y="434"/>
                </a:lnTo>
                <a:lnTo>
                  <a:pt x="161" y="433"/>
                </a:lnTo>
                <a:lnTo>
                  <a:pt x="167" y="427"/>
                </a:lnTo>
                <a:lnTo>
                  <a:pt x="174" y="420"/>
                </a:lnTo>
                <a:lnTo>
                  <a:pt x="176" y="415"/>
                </a:lnTo>
                <a:lnTo>
                  <a:pt x="174" y="409"/>
                </a:lnTo>
                <a:lnTo>
                  <a:pt x="167" y="402"/>
                </a:lnTo>
                <a:lnTo>
                  <a:pt x="161" y="396"/>
                </a:lnTo>
                <a:lnTo>
                  <a:pt x="156" y="395"/>
                </a:lnTo>
                <a:lnTo>
                  <a:pt x="151" y="396"/>
                </a:lnTo>
                <a:lnTo>
                  <a:pt x="144" y="402"/>
                </a:lnTo>
                <a:close/>
                <a:moveTo>
                  <a:pt x="211" y="424"/>
                </a:moveTo>
                <a:lnTo>
                  <a:pt x="204" y="431"/>
                </a:lnTo>
                <a:lnTo>
                  <a:pt x="203" y="436"/>
                </a:lnTo>
                <a:lnTo>
                  <a:pt x="204" y="441"/>
                </a:lnTo>
                <a:lnTo>
                  <a:pt x="211" y="447"/>
                </a:lnTo>
                <a:lnTo>
                  <a:pt x="217" y="454"/>
                </a:lnTo>
                <a:lnTo>
                  <a:pt x="222" y="456"/>
                </a:lnTo>
                <a:lnTo>
                  <a:pt x="228" y="454"/>
                </a:lnTo>
                <a:lnTo>
                  <a:pt x="234" y="447"/>
                </a:lnTo>
                <a:lnTo>
                  <a:pt x="240" y="441"/>
                </a:lnTo>
                <a:lnTo>
                  <a:pt x="243" y="436"/>
                </a:lnTo>
                <a:lnTo>
                  <a:pt x="240" y="431"/>
                </a:lnTo>
                <a:lnTo>
                  <a:pt x="234" y="424"/>
                </a:lnTo>
                <a:lnTo>
                  <a:pt x="228" y="418"/>
                </a:lnTo>
                <a:lnTo>
                  <a:pt x="222" y="415"/>
                </a:lnTo>
                <a:lnTo>
                  <a:pt x="217" y="418"/>
                </a:lnTo>
                <a:lnTo>
                  <a:pt x="211" y="424"/>
                </a:lnTo>
                <a:close/>
                <a:moveTo>
                  <a:pt x="248" y="491"/>
                </a:moveTo>
                <a:lnTo>
                  <a:pt x="242" y="497"/>
                </a:lnTo>
                <a:lnTo>
                  <a:pt x="239" y="502"/>
                </a:lnTo>
                <a:lnTo>
                  <a:pt x="242" y="508"/>
                </a:lnTo>
                <a:lnTo>
                  <a:pt x="248" y="514"/>
                </a:lnTo>
                <a:lnTo>
                  <a:pt x="254" y="520"/>
                </a:lnTo>
                <a:lnTo>
                  <a:pt x="260" y="523"/>
                </a:lnTo>
                <a:lnTo>
                  <a:pt x="265" y="520"/>
                </a:lnTo>
                <a:lnTo>
                  <a:pt x="271" y="514"/>
                </a:lnTo>
                <a:lnTo>
                  <a:pt x="278" y="508"/>
                </a:lnTo>
                <a:lnTo>
                  <a:pt x="280" y="502"/>
                </a:lnTo>
                <a:lnTo>
                  <a:pt x="278" y="497"/>
                </a:lnTo>
                <a:lnTo>
                  <a:pt x="271" y="491"/>
                </a:lnTo>
                <a:lnTo>
                  <a:pt x="265" y="485"/>
                </a:lnTo>
                <a:lnTo>
                  <a:pt x="260" y="482"/>
                </a:lnTo>
                <a:lnTo>
                  <a:pt x="254" y="485"/>
                </a:lnTo>
                <a:lnTo>
                  <a:pt x="248" y="491"/>
                </a:lnTo>
                <a:close/>
                <a:moveTo>
                  <a:pt x="382" y="500"/>
                </a:moveTo>
                <a:lnTo>
                  <a:pt x="375" y="508"/>
                </a:lnTo>
                <a:lnTo>
                  <a:pt x="373" y="513"/>
                </a:lnTo>
                <a:lnTo>
                  <a:pt x="375" y="518"/>
                </a:lnTo>
                <a:lnTo>
                  <a:pt x="382" y="524"/>
                </a:lnTo>
                <a:lnTo>
                  <a:pt x="388" y="531"/>
                </a:lnTo>
                <a:lnTo>
                  <a:pt x="393" y="532"/>
                </a:lnTo>
                <a:lnTo>
                  <a:pt x="398" y="531"/>
                </a:lnTo>
                <a:lnTo>
                  <a:pt x="405" y="524"/>
                </a:lnTo>
                <a:lnTo>
                  <a:pt x="411" y="518"/>
                </a:lnTo>
                <a:lnTo>
                  <a:pt x="414" y="513"/>
                </a:lnTo>
                <a:lnTo>
                  <a:pt x="411" y="508"/>
                </a:lnTo>
                <a:lnTo>
                  <a:pt x="405" y="501"/>
                </a:lnTo>
                <a:lnTo>
                  <a:pt x="398" y="493"/>
                </a:lnTo>
                <a:lnTo>
                  <a:pt x="393" y="492"/>
                </a:lnTo>
                <a:lnTo>
                  <a:pt x="388" y="493"/>
                </a:lnTo>
                <a:lnTo>
                  <a:pt x="382" y="500"/>
                </a:lnTo>
                <a:close/>
                <a:moveTo>
                  <a:pt x="451" y="479"/>
                </a:moveTo>
                <a:lnTo>
                  <a:pt x="444" y="486"/>
                </a:lnTo>
                <a:lnTo>
                  <a:pt x="442" y="492"/>
                </a:lnTo>
                <a:lnTo>
                  <a:pt x="444" y="497"/>
                </a:lnTo>
                <a:lnTo>
                  <a:pt x="451" y="504"/>
                </a:lnTo>
                <a:lnTo>
                  <a:pt x="457" y="510"/>
                </a:lnTo>
                <a:lnTo>
                  <a:pt x="462" y="511"/>
                </a:lnTo>
                <a:lnTo>
                  <a:pt x="467" y="510"/>
                </a:lnTo>
                <a:lnTo>
                  <a:pt x="474" y="504"/>
                </a:lnTo>
                <a:lnTo>
                  <a:pt x="480" y="497"/>
                </a:lnTo>
                <a:lnTo>
                  <a:pt x="483" y="492"/>
                </a:lnTo>
                <a:lnTo>
                  <a:pt x="480" y="486"/>
                </a:lnTo>
                <a:lnTo>
                  <a:pt x="474" y="479"/>
                </a:lnTo>
                <a:lnTo>
                  <a:pt x="467" y="473"/>
                </a:lnTo>
                <a:lnTo>
                  <a:pt x="462" y="472"/>
                </a:lnTo>
                <a:lnTo>
                  <a:pt x="457" y="473"/>
                </a:lnTo>
                <a:lnTo>
                  <a:pt x="451" y="479"/>
                </a:lnTo>
                <a:close/>
                <a:moveTo>
                  <a:pt x="485" y="413"/>
                </a:moveTo>
                <a:lnTo>
                  <a:pt x="479" y="419"/>
                </a:lnTo>
                <a:lnTo>
                  <a:pt x="476" y="424"/>
                </a:lnTo>
                <a:lnTo>
                  <a:pt x="479" y="431"/>
                </a:lnTo>
                <a:lnTo>
                  <a:pt x="485" y="437"/>
                </a:lnTo>
                <a:lnTo>
                  <a:pt x="492" y="442"/>
                </a:lnTo>
                <a:lnTo>
                  <a:pt x="497" y="445"/>
                </a:lnTo>
                <a:lnTo>
                  <a:pt x="502" y="442"/>
                </a:lnTo>
                <a:lnTo>
                  <a:pt x="509" y="436"/>
                </a:lnTo>
                <a:lnTo>
                  <a:pt x="515" y="429"/>
                </a:lnTo>
                <a:lnTo>
                  <a:pt x="518" y="424"/>
                </a:lnTo>
                <a:lnTo>
                  <a:pt x="515" y="419"/>
                </a:lnTo>
                <a:lnTo>
                  <a:pt x="509" y="413"/>
                </a:lnTo>
                <a:lnTo>
                  <a:pt x="502" y="406"/>
                </a:lnTo>
                <a:lnTo>
                  <a:pt x="497" y="405"/>
                </a:lnTo>
                <a:lnTo>
                  <a:pt x="492" y="406"/>
                </a:lnTo>
                <a:lnTo>
                  <a:pt x="485" y="413"/>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00" name="TextBox 99"/>
          <p:cNvSpPr txBox="1"/>
          <p:nvPr/>
        </p:nvSpPr>
        <p:spPr bwMode="gray">
          <a:xfrm>
            <a:off x="436359" y="5738167"/>
            <a:ext cx="1497766" cy="3262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00" b="1" dirty="0">
                <a:solidFill>
                  <a:schemeClr val="tx2"/>
                </a:solidFill>
              </a:rPr>
              <a:t>Market </a:t>
            </a:r>
            <a:r>
              <a:rPr lang="en-US" sz="1000" b="1" dirty="0" smtClean="0">
                <a:solidFill>
                  <a:schemeClr val="tx2"/>
                </a:solidFill>
              </a:rPr>
              <a:t>segments/themes</a:t>
            </a:r>
            <a:endParaRPr lang="en-US" sz="1000" b="1" dirty="0">
              <a:solidFill>
                <a:schemeClr val="tx2"/>
              </a:solidFill>
            </a:endParaRPr>
          </a:p>
        </p:txBody>
      </p:sp>
      <p:grpSp>
        <p:nvGrpSpPr>
          <p:cNvPr id="105" name="Group 104"/>
          <p:cNvGrpSpPr/>
          <p:nvPr/>
        </p:nvGrpSpPr>
        <p:grpSpPr>
          <a:xfrm>
            <a:off x="3259942" y="5708812"/>
            <a:ext cx="291057" cy="330022"/>
            <a:chOff x="15182850" y="531813"/>
            <a:chExt cx="690563" cy="773113"/>
          </a:xfrm>
          <a:solidFill>
            <a:schemeClr val="accent2"/>
          </a:solidFill>
        </p:grpSpPr>
        <p:sp>
          <p:nvSpPr>
            <p:cNvPr id="106" name="Freeform 237"/>
            <p:cNvSpPr>
              <a:spLocks noEditPoints="1"/>
            </p:cNvSpPr>
            <p:nvPr/>
          </p:nvSpPr>
          <p:spPr bwMode="auto">
            <a:xfrm>
              <a:off x="15182850" y="642938"/>
              <a:ext cx="690563" cy="661988"/>
            </a:xfrm>
            <a:custGeom>
              <a:avLst/>
              <a:gdLst>
                <a:gd name="T0" fmla="*/ 368 w 435"/>
                <a:gd name="T1" fmla="*/ 0 h 417"/>
                <a:gd name="T2" fmla="*/ 364 w 435"/>
                <a:gd name="T3" fmla="*/ 46 h 417"/>
                <a:gd name="T4" fmla="*/ 345 w 435"/>
                <a:gd name="T5" fmla="*/ 66 h 417"/>
                <a:gd name="T6" fmla="*/ 316 w 435"/>
                <a:gd name="T7" fmla="*/ 66 h 417"/>
                <a:gd name="T8" fmla="*/ 295 w 435"/>
                <a:gd name="T9" fmla="*/ 46 h 417"/>
                <a:gd name="T10" fmla="*/ 293 w 435"/>
                <a:gd name="T11" fmla="*/ 0 h 417"/>
                <a:gd name="T12" fmla="*/ 144 w 435"/>
                <a:gd name="T13" fmla="*/ 31 h 417"/>
                <a:gd name="T14" fmla="*/ 132 w 435"/>
                <a:gd name="T15" fmla="*/ 58 h 417"/>
                <a:gd name="T16" fmla="*/ 105 w 435"/>
                <a:gd name="T17" fmla="*/ 69 h 417"/>
                <a:gd name="T18" fmla="*/ 78 w 435"/>
                <a:gd name="T19" fmla="*/ 58 h 417"/>
                <a:gd name="T20" fmla="*/ 68 w 435"/>
                <a:gd name="T21" fmla="*/ 31 h 417"/>
                <a:gd name="T22" fmla="*/ 18 w 435"/>
                <a:gd name="T23" fmla="*/ 0 h 417"/>
                <a:gd name="T24" fmla="*/ 9 w 435"/>
                <a:gd name="T25" fmla="*/ 3 h 417"/>
                <a:gd name="T26" fmla="*/ 3 w 435"/>
                <a:gd name="T27" fmla="*/ 10 h 417"/>
                <a:gd name="T28" fmla="*/ 0 w 435"/>
                <a:gd name="T29" fmla="*/ 21 h 417"/>
                <a:gd name="T30" fmla="*/ 1 w 435"/>
                <a:gd name="T31" fmla="*/ 403 h 417"/>
                <a:gd name="T32" fmla="*/ 5 w 435"/>
                <a:gd name="T33" fmla="*/ 412 h 417"/>
                <a:gd name="T34" fmla="*/ 13 w 435"/>
                <a:gd name="T35" fmla="*/ 417 h 417"/>
                <a:gd name="T36" fmla="*/ 417 w 435"/>
                <a:gd name="T37" fmla="*/ 417 h 417"/>
                <a:gd name="T38" fmla="*/ 426 w 435"/>
                <a:gd name="T39" fmla="*/ 415 h 417"/>
                <a:gd name="T40" fmla="*/ 432 w 435"/>
                <a:gd name="T41" fmla="*/ 407 h 417"/>
                <a:gd name="T42" fmla="*/ 435 w 435"/>
                <a:gd name="T43" fmla="*/ 397 h 417"/>
                <a:gd name="T44" fmla="*/ 435 w 435"/>
                <a:gd name="T45" fmla="*/ 16 h 417"/>
                <a:gd name="T46" fmla="*/ 430 w 435"/>
                <a:gd name="T47" fmla="*/ 7 h 417"/>
                <a:gd name="T48" fmla="*/ 422 w 435"/>
                <a:gd name="T49" fmla="*/ 0 h 417"/>
                <a:gd name="T50" fmla="*/ 414 w 435"/>
                <a:gd name="T51" fmla="*/ 371 h 417"/>
                <a:gd name="T52" fmla="*/ 412 w 435"/>
                <a:gd name="T53" fmla="*/ 381 h 417"/>
                <a:gd name="T54" fmla="*/ 405 w 435"/>
                <a:gd name="T55" fmla="*/ 388 h 417"/>
                <a:gd name="T56" fmla="*/ 397 w 435"/>
                <a:gd name="T57" fmla="*/ 392 h 417"/>
                <a:gd name="T58" fmla="*/ 35 w 435"/>
                <a:gd name="T59" fmla="*/ 390 h 417"/>
                <a:gd name="T60" fmla="*/ 26 w 435"/>
                <a:gd name="T61" fmla="*/ 385 h 417"/>
                <a:gd name="T62" fmla="*/ 22 w 435"/>
                <a:gd name="T63" fmla="*/ 376 h 417"/>
                <a:gd name="T64" fmla="*/ 21 w 435"/>
                <a:gd name="T65" fmla="*/ 127 h 417"/>
                <a:gd name="T66" fmla="*/ 23 w 435"/>
                <a:gd name="T67" fmla="*/ 117 h 417"/>
                <a:gd name="T68" fmla="*/ 30 w 435"/>
                <a:gd name="T69" fmla="*/ 109 h 417"/>
                <a:gd name="T70" fmla="*/ 39 w 435"/>
                <a:gd name="T71" fmla="*/ 107 h 417"/>
                <a:gd name="T72" fmla="*/ 402 w 435"/>
                <a:gd name="T73" fmla="*/ 108 h 417"/>
                <a:gd name="T74" fmla="*/ 409 w 435"/>
                <a:gd name="T75" fmla="*/ 113 h 417"/>
                <a:gd name="T76" fmla="*/ 413 w 435"/>
                <a:gd name="T77" fmla="*/ 122 h 417"/>
                <a:gd name="T78" fmla="*/ 414 w 435"/>
                <a:gd name="T79" fmla="*/ 371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5" h="417">
                  <a:moveTo>
                    <a:pt x="417" y="0"/>
                  </a:moveTo>
                  <a:lnTo>
                    <a:pt x="368" y="0"/>
                  </a:lnTo>
                  <a:lnTo>
                    <a:pt x="368" y="31"/>
                  </a:lnTo>
                  <a:lnTo>
                    <a:pt x="364" y="46"/>
                  </a:lnTo>
                  <a:lnTo>
                    <a:pt x="357" y="58"/>
                  </a:lnTo>
                  <a:lnTo>
                    <a:pt x="345" y="66"/>
                  </a:lnTo>
                  <a:lnTo>
                    <a:pt x="330" y="69"/>
                  </a:lnTo>
                  <a:lnTo>
                    <a:pt x="316" y="66"/>
                  </a:lnTo>
                  <a:lnTo>
                    <a:pt x="303" y="58"/>
                  </a:lnTo>
                  <a:lnTo>
                    <a:pt x="295" y="46"/>
                  </a:lnTo>
                  <a:lnTo>
                    <a:pt x="293" y="31"/>
                  </a:lnTo>
                  <a:lnTo>
                    <a:pt x="293" y="0"/>
                  </a:lnTo>
                  <a:lnTo>
                    <a:pt x="144" y="0"/>
                  </a:lnTo>
                  <a:lnTo>
                    <a:pt x="144" y="31"/>
                  </a:lnTo>
                  <a:lnTo>
                    <a:pt x="140" y="46"/>
                  </a:lnTo>
                  <a:lnTo>
                    <a:pt x="132" y="58"/>
                  </a:lnTo>
                  <a:lnTo>
                    <a:pt x="121" y="66"/>
                  </a:lnTo>
                  <a:lnTo>
                    <a:pt x="105" y="69"/>
                  </a:lnTo>
                  <a:lnTo>
                    <a:pt x="91" y="66"/>
                  </a:lnTo>
                  <a:lnTo>
                    <a:pt x="78" y="58"/>
                  </a:lnTo>
                  <a:lnTo>
                    <a:pt x="71" y="46"/>
                  </a:lnTo>
                  <a:lnTo>
                    <a:pt x="68" y="31"/>
                  </a:lnTo>
                  <a:lnTo>
                    <a:pt x="68" y="0"/>
                  </a:lnTo>
                  <a:lnTo>
                    <a:pt x="18" y="0"/>
                  </a:lnTo>
                  <a:lnTo>
                    <a:pt x="13" y="0"/>
                  </a:lnTo>
                  <a:lnTo>
                    <a:pt x="9" y="3"/>
                  </a:lnTo>
                  <a:lnTo>
                    <a:pt x="5" y="7"/>
                  </a:lnTo>
                  <a:lnTo>
                    <a:pt x="3" y="10"/>
                  </a:lnTo>
                  <a:lnTo>
                    <a:pt x="1" y="16"/>
                  </a:lnTo>
                  <a:lnTo>
                    <a:pt x="0" y="21"/>
                  </a:lnTo>
                  <a:lnTo>
                    <a:pt x="0" y="397"/>
                  </a:lnTo>
                  <a:lnTo>
                    <a:pt x="1" y="403"/>
                  </a:lnTo>
                  <a:lnTo>
                    <a:pt x="3" y="407"/>
                  </a:lnTo>
                  <a:lnTo>
                    <a:pt x="5" y="412"/>
                  </a:lnTo>
                  <a:lnTo>
                    <a:pt x="9" y="415"/>
                  </a:lnTo>
                  <a:lnTo>
                    <a:pt x="13" y="417"/>
                  </a:lnTo>
                  <a:lnTo>
                    <a:pt x="18" y="417"/>
                  </a:lnTo>
                  <a:lnTo>
                    <a:pt x="417" y="417"/>
                  </a:lnTo>
                  <a:lnTo>
                    <a:pt x="422" y="417"/>
                  </a:lnTo>
                  <a:lnTo>
                    <a:pt x="426" y="415"/>
                  </a:lnTo>
                  <a:lnTo>
                    <a:pt x="430" y="412"/>
                  </a:lnTo>
                  <a:lnTo>
                    <a:pt x="432" y="407"/>
                  </a:lnTo>
                  <a:lnTo>
                    <a:pt x="435" y="403"/>
                  </a:lnTo>
                  <a:lnTo>
                    <a:pt x="435" y="397"/>
                  </a:lnTo>
                  <a:lnTo>
                    <a:pt x="435" y="21"/>
                  </a:lnTo>
                  <a:lnTo>
                    <a:pt x="435" y="16"/>
                  </a:lnTo>
                  <a:lnTo>
                    <a:pt x="432" y="10"/>
                  </a:lnTo>
                  <a:lnTo>
                    <a:pt x="430" y="7"/>
                  </a:lnTo>
                  <a:lnTo>
                    <a:pt x="426" y="3"/>
                  </a:lnTo>
                  <a:lnTo>
                    <a:pt x="422" y="0"/>
                  </a:lnTo>
                  <a:lnTo>
                    <a:pt x="417" y="0"/>
                  </a:lnTo>
                  <a:close/>
                  <a:moveTo>
                    <a:pt x="414" y="371"/>
                  </a:moveTo>
                  <a:lnTo>
                    <a:pt x="413" y="376"/>
                  </a:lnTo>
                  <a:lnTo>
                    <a:pt x="412" y="381"/>
                  </a:lnTo>
                  <a:lnTo>
                    <a:pt x="409" y="385"/>
                  </a:lnTo>
                  <a:lnTo>
                    <a:pt x="405" y="388"/>
                  </a:lnTo>
                  <a:lnTo>
                    <a:pt x="402" y="390"/>
                  </a:lnTo>
                  <a:lnTo>
                    <a:pt x="397" y="392"/>
                  </a:lnTo>
                  <a:lnTo>
                    <a:pt x="39" y="392"/>
                  </a:lnTo>
                  <a:lnTo>
                    <a:pt x="35" y="390"/>
                  </a:lnTo>
                  <a:lnTo>
                    <a:pt x="30" y="388"/>
                  </a:lnTo>
                  <a:lnTo>
                    <a:pt x="26" y="385"/>
                  </a:lnTo>
                  <a:lnTo>
                    <a:pt x="23" y="381"/>
                  </a:lnTo>
                  <a:lnTo>
                    <a:pt x="22" y="376"/>
                  </a:lnTo>
                  <a:lnTo>
                    <a:pt x="21" y="371"/>
                  </a:lnTo>
                  <a:lnTo>
                    <a:pt x="21" y="127"/>
                  </a:lnTo>
                  <a:lnTo>
                    <a:pt x="22" y="122"/>
                  </a:lnTo>
                  <a:lnTo>
                    <a:pt x="23" y="117"/>
                  </a:lnTo>
                  <a:lnTo>
                    <a:pt x="26" y="113"/>
                  </a:lnTo>
                  <a:lnTo>
                    <a:pt x="30" y="109"/>
                  </a:lnTo>
                  <a:lnTo>
                    <a:pt x="35" y="108"/>
                  </a:lnTo>
                  <a:lnTo>
                    <a:pt x="39" y="107"/>
                  </a:lnTo>
                  <a:lnTo>
                    <a:pt x="397" y="107"/>
                  </a:lnTo>
                  <a:lnTo>
                    <a:pt x="402" y="108"/>
                  </a:lnTo>
                  <a:lnTo>
                    <a:pt x="405" y="109"/>
                  </a:lnTo>
                  <a:lnTo>
                    <a:pt x="409" y="113"/>
                  </a:lnTo>
                  <a:lnTo>
                    <a:pt x="412" y="117"/>
                  </a:lnTo>
                  <a:lnTo>
                    <a:pt x="413" y="122"/>
                  </a:lnTo>
                  <a:lnTo>
                    <a:pt x="414" y="127"/>
                  </a:lnTo>
                  <a:lnTo>
                    <a:pt x="414" y="37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07" name="Freeform 238"/>
            <p:cNvSpPr>
              <a:spLocks/>
            </p:cNvSpPr>
            <p:nvPr/>
          </p:nvSpPr>
          <p:spPr bwMode="auto">
            <a:xfrm>
              <a:off x="15311438" y="531813"/>
              <a:ext cx="77788" cy="203200"/>
            </a:xfrm>
            <a:custGeom>
              <a:avLst/>
              <a:gdLst>
                <a:gd name="T0" fmla="*/ 49 w 49"/>
                <a:gd name="T1" fmla="*/ 104 h 128"/>
                <a:gd name="T2" fmla="*/ 45 w 49"/>
                <a:gd name="T3" fmla="*/ 115 h 128"/>
                <a:gd name="T4" fmla="*/ 37 w 49"/>
                <a:gd name="T5" fmla="*/ 124 h 128"/>
                <a:gd name="T6" fmla="*/ 24 w 49"/>
                <a:gd name="T7" fmla="*/ 128 h 128"/>
                <a:gd name="T8" fmla="*/ 13 w 49"/>
                <a:gd name="T9" fmla="*/ 124 h 128"/>
                <a:gd name="T10" fmla="*/ 4 w 49"/>
                <a:gd name="T11" fmla="*/ 115 h 128"/>
                <a:gd name="T12" fmla="*/ 0 w 49"/>
                <a:gd name="T13" fmla="*/ 104 h 128"/>
                <a:gd name="T14" fmla="*/ 0 w 49"/>
                <a:gd name="T15" fmla="*/ 24 h 128"/>
                <a:gd name="T16" fmla="*/ 4 w 49"/>
                <a:gd name="T17" fmla="*/ 11 h 128"/>
                <a:gd name="T18" fmla="*/ 13 w 49"/>
                <a:gd name="T19" fmla="*/ 2 h 128"/>
                <a:gd name="T20" fmla="*/ 24 w 49"/>
                <a:gd name="T21" fmla="*/ 0 h 128"/>
                <a:gd name="T22" fmla="*/ 37 w 49"/>
                <a:gd name="T23" fmla="*/ 2 h 128"/>
                <a:gd name="T24" fmla="*/ 45 w 49"/>
                <a:gd name="T25" fmla="*/ 11 h 128"/>
                <a:gd name="T26" fmla="*/ 49 w 49"/>
                <a:gd name="T27" fmla="*/ 24 h 128"/>
                <a:gd name="T28" fmla="*/ 49 w 49"/>
                <a:gd name="T29"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128">
                  <a:moveTo>
                    <a:pt x="49" y="104"/>
                  </a:moveTo>
                  <a:lnTo>
                    <a:pt x="45" y="115"/>
                  </a:lnTo>
                  <a:lnTo>
                    <a:pt x="37" y="124"/>
                  </a:lnTo>
                  <a:lnTo>
                    <a:pt x="24" y="128"/>
                  </a:lnTo>
                  <a:lnTo>
                    <a:pt x="13" y="124"/>
                  </a:lnTo>
                  <a:lnTo>
                    <a:pt x="4" y="115"/>
                  </a:lnTo>
                  <a:lnTo>
                    <a:pt x="0" y="104"/>
                  </a:lnTo>
                  <a:lnTo>
                    <a:pt x="0" y="24"/>
                  </a:lnTo>
                  <a:lnTo>
                    <a:pt x="4" y="11"/>
                  </a:lnTo>
                  <a:lnTo>
                    <a:pt x="13" y="2"/>
                  </a:lnTo>
                  <a:lnTo>
                    <a:pt x="24" y="0"/>
                  </a:lnTo>
                  <a:lnTo>
                    <a:pt x="37" y="2"/>
                  </a:lnTo>
                  <a:lnTo>
                    <a:pt x="45" y="11"/>
                  </a:lnTo>
                  <a:lnTo>
                    <a:pt x="49" y="24"/>
                  </a:lnTo>
                  <a:lnTo>
                    <a:pt x="49" y="1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08" name="Freeform 239"/>
            <p:cNvSpPr>
              <a:spLocks/>
            </p:cNvSpPr>
            <p:nvPr/>
          </p:nvSpPr>
          <p:spPr bwMode="auto">
            <a:xfrm>
              <a:off x="15667038" y="531813"/>
              <a:ext cx="77788" cy="203200"/>
            </a:xfrm>
            <a:custGeom>
              <a:avLst/>
              <a:gdLst>
                <a:gd name="T0" fmla="*/ 49 w 49"/>
                <a:gd name="T1" fmla="*/ 104 h 128"/>
                <a:gd name="T2" fmla="*/ 47 w 49"/>
                <a:gd name="T3" fmla="*/ 115 h 128"/>
                <a:gd name="T4" fmla="*/ 38 w 49"/>
                <a:gd name="T5" fmla="*/ 124 h 128"/>
                <a:gd name="T6" fmla="*/ 25 w 49"/>
                <a:gd name="T7" fmla="*/ 128 h 128"/>
                <a:gd name="T8" fmla="*/ 13 w 49"/>
                <a:gd name="T9" fmla="*/ 124 h 128"/>
                <a:gd name="T10" fmla="*/ 4 w 49"/>
                <a:gd name="T11" fmla="*/ 115 h 128"/>
                <a:gd name="T12" fmla="*/ 0 w 49"/>
                <a:gd name="T13" fmla="*/ 104 h 128"/>
                <a:gd name="T14" fmla="*/ 0 w 49"/>
                <a:gd name="T15" fmla="*/ 24 h 128"/>
                <a:gd name="T16" fmla="*/ 4 w 49"/>
                <a:gd name="T17" fmla="*/ 11 h 128"/>
                <a:gd name="T18" fmla="*/ 13 w 49"/>
                <a:gd name="T19" fmla="*/ 2 h 128"/>
                <a:gd name="T20" fmla="*/ 25 w 49"/>
                <a:gd name="T21" fmla="*/ 0 h 128"/>
                <a:gd name="T22" fmla="*/ 38 w 49"/>
                <a:gd name="T23" fmla="*/ 2 h 128"/>
                <a:gd name="T24" fmla="*/ 47 w 49"/>
                <a:gd name="T25" fmla="*/ 11 h 128"/>
                <a:gd name="T26" fmla="*/ 49 w 49"/>
                <a:gd name="T27" fmla="*/ 24 h 128"/>
                <a:gd name="T28" fmla="*/ 49 w 49"/>
                <a:gd name="T29"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128">
                  <a:moveTo>
                    <a:pt x="49" y="104"/>
                  </a:moveTo>
                  <a:lnTo>
                    <a:pt x="47" y="115"/>
                  </a:lnTo>
                  <a:lnTo>
                    <a:pt x="38" y="124"/>
                  </a:lnTo>
                  <a:lnTo>
                    <a:pt x="25" y="128"/>
                  </a:lnTo>
                  <a:lnTo>
                    <a:pt x="13" y="124"/>
                  </a:lnTo>
                  <a:lnTo>
                    <a:pt x="4" y="115"/>
                  </a:lnTo>
                  <a:lnTo>
                    <a:pt x="0" y="104"/>
                  </a:lnTo>
                  <a:lnTo>
                    <a:pt x="0" y="24"/>
                  </a:lnTo>
                  <a:lnTo>
                    <a:pt x="4" y="11"/>
                  </a:lnTo>
                  <a:lnTo>
                    <a:pt x="13" y="2"/>
                  </a:lnTo>
                  <a:lnTo>
                    <a:pt x="25" y="0"/>
                  </a:lnTo>
                  <a:lnTo>
                    <a:pt x="38" y="2"/>
                  </a:lnTo>
                  <a:lnTo>
                    <a:pt x="47" y="11"/>
                  </a:lnTo>
                  <a:lnTo>
                    <a:pt x="49" y="24"/>
                  </a:lnTo>
                  <a:lnTo>
                    <a:pt x="49" y="1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09" name="Freeform 240"/>
            <p:cNvSpPr>
              <a:spLocks/>
            </p:cNvSpPr>
            <p:nvPr/>
          </p:nvSpPr>
          <p:spPr bwMode="auto">
            <a:xfrm>
              <a:off x="15398750" y="835025"/>
              <a:ext cx="114300" cy="114300"/>
            </a:xfrm>
            <a:custGeom>
              <a:avLst/>
              <a:gdLst>
                <a:gd name="T0" fmla="*/ 72 w 72"/>
                <a:gd name="T1" fmla="*/ 64 h 72"/>
                <a:gd name="T2" fmla="*/ 72 w 72"/>
                <a:gd name="T3" fmla="*/ 68 h 72"/>
                <a:gd name="T4" fmla="*/ 71 w 72"/>
                <a:gd name="T5" fmla="*/ 69 h 72"/>
                <a:gd name="T6" fmla="*/ 68 w 72"/>
                <a:gd name="T7" fmla="*/ 72 h 72"/>
                <a:gd name="T8" fmla="*/ 64 w 72"/>
                <a:gd name="T9" fmla="*/ 72 h 72"/>
                <a:gd name="T10" fmla="*/ 8 w 72"/>
                <a:gd name="T11" fmla="*/ 72 h 72"/>
                <a:gd name="T12" fmla="*/ 5 w 72"/>
                <a:gd name="T13" fmla="*/ 72 h 72"/>
                <a:gd name="T14" fmla="*/ 3 w 72"/>
                <a:gd name="T15" fmla="*/ 69 h 72"/>
                <a:gd name="T16" fmla="*/ 1 w 72"/>
                <a:gd name="T17" fmla="*/ 68 h 72"/>
                <a:gd name="T18" fmla="*/ 0 w 72"/>
                <a:gd name="T19" fmla="*/ 64 h 72"/>
                <a:gd name="T20" fmla="*/ 0 w 72"/>
                <a:gd name="T21" fmla="*/ 8 h 72"/>
                <a:gd name="T22" fmla="*/ 1 w 72"/>
                <a:gd name="T23" fmla="*/ 5 h 72"/>
                <a:gd name="T24" fmla="*/ 3 w 72"/>
                <a:gd name="T25" fmla="*/ 2 h 72"/>
                <a:gd name="T26" fmla="*/ 5 w 72"/>
                <a:gd name="T27" fmla="*/ 1 h 72"/>
                <a:gd name="T28" fmla="*/ 8 w 72"/>
                <a:gd name="T29" fmla="*/ 0 h 72"/>
                <a:gd name="T30" fmla="*/ 64 w 72"/>
                <a:gd name="T31" fmla="*/ 0 h 72"/>
                <a:gd name="T32" fmla="*/ 68 w 72"/>
                <a:gd name="T33" fmla="*/ 1 h 72"/>
                <a:gd name="T34" fmla="*/ 71 w 72"/>
                <a:gd name="T35" fmla="*/ 2 h 72"/>
                <a:gd name="T36" fmla="*/ 72 w 72"/>
                <a:gd name="T37" fmla="*/ 5 h 72"/>
                <a:gd name="T38" fmla="*/ 72 w 72"/>
                <a:gd name="T39" fmla="*/ 8 h 72"/>
                <a:gd name="T40" fmla="*/ 72 w 72"/>
                <a:gd name="T41"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2">
                  <a:moveTo>
                    <a:pt x="72" y="64"/>
                  </a:moveTo>
                  <a:lnTo>
                    <a:pt x="72" y="68"/>
                  </a:lnTo>
                  <a:lnTo>
                    <a:pt x="71" y="69"/>
                  </a:lnTo>
                  <a:lnTo>
                    <a:pt x="68" y="72"/>
                  </a:lnTo>
                  <a:lnTo>
                    <a:pt x="64" y="72"/>
                  </a:lnTo>
                  <a:lnTo>
                    <a:pt x="8" y="72"/>
                  </a:lnTo>
                  <a:lnTo>
                    <a:pt x="5" y="72"/>
                  </a:lnTo>
                  <a:lnTo>
                    <a:pt x="3" y="69"/>
                  </a:lnTo>
                  <a:lnTo>
                    <a:pt x="1" y="68"/>
                  </a:lnTo>
                  <a:lnTo>
                    <a:pt x="0" y="64"/>
                  </a:lnTo>
                  <a:lnTo>
                    <a:pt x="0" y="8"/>
                  </a:lnTo>
                  <a:lnTo>
                    <a:pt x="1" y="5"/>
                  </a:lnTo>
                  <a:lnTo>
                    <a:pt x="3" y="2"/>
                  </a:lnTo>
                  <a:lnTo>
                    <a:pt x="5" y="1"/>
                  </a:lnTo>
                  <a:lnTo>
                    <a:pt x="8" y="0"/>
                  </a:lnTo>
                  <a:lnTo>
                    <a:pt x="64" y="0"/>
                  </a:lnTo>
                  <a:lnTo>
                    <a:pt x="68" y="1"/>
                  </a:lnTo>
                  <a:lnTo>
                    <a:pt x="71" y="2"/>
                  </a:lnTo>
                  <a:lnTo>
                    <a:pt x="72" y="5"/>
                  </a:lnTo>
                  <a:lnTo>
                    <a:pt x="72" y="8"/>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10" name="Freeform 241"/>
            <p:cNvSpPr>
              <a:spLocks/>
            </p:cNvSpPr>
            <p:nvPr/>
          </p:nvSpPr>
          <p:spPr bwMode="auto">
            <a:xfrm>
              <a:off x="15544800" y="835025"/>
              <a:ext cx="114300" cy="114300"/>
            </a:xfrm>
            <a:custGeom>
              <a:avLst/>
              <a:gdLst>
                <a:gd name="T0" fmla="*/ 72 w 72"/>
                <a:gd name="T1" fmla="*/ 64 h 72"/>
                <a:gd name="T2" fmla="*/ 72 w 72"/>
                <a:gd name="T3" fmla="*/ 68 h 72"/>
                <a:gd name="T4" fmla="*/ 70 w 72"/>
                <a:gd name="T5" fmla="*/ 69 h 72"/>
                <a:gd name="T6" fmla="*/ 67 w 72"/>
                <a:gd name="T7" fmla="*/ 72 h 72"/>
                <a:gd name="T8" fmla="*/ 65 w 72"/>
                <a:gd name="T9" fmla="*/ 72 h 72"/>
                <a:gd name="T10" fmla="*/ 8 w 72"/>
                <a:gd name="T11" fmla="*/ 72 h 72"/>
                <a:gd name="T12" fmla="*/ 6 w 72"/>
                <a:gd name="T13" fmla="*/ 72 h 72"/>
                <a:gd name="T14" fmla="*/ 3 w 72"/>
                <a:gd name="T15" fmla="*/ 69 h 72"/>
                <a:gd name="T16" fmla="*/ 2 w 72"/>
                <a:gd name="T17" fmla="*/ 68 h 72"/>
                <a:gd name="T18" fmla="*/ 0 w 72"/>
                <a:gd name="T19" fmla="*/ 64 h 72"/>
                <a:gd name="T20" fmla="*/ 0 w 72"/>
                <a:gd name="T21" fmla="*/ 8 h 72"/>
                <a:gd name="T22" fmla="*/ 2 w 72"/>
                <a:gd name="T23" fmla="*/ 5 h 72"/>
                <a:gd name="T24" fmla="*/ 3 w 72"/>
                <a:gd name="T25" fmla="*/ 2 h 72"/>
                <a:gd name="T26" fmla="*/ 6 w 72"/>
                <a:gd name="T27" fmla="*/ 1 h 72"/>
                <a:gd name="T28" fmla="*/ 8 w 72"/>
                <a:gd name="T29" fmla="*/ 0 h 72"/>
                <a:gd name="T30" fmla="*/ 65 w 72"/>
                <a:gd name="T31" fmla="*/ 0 h 72"/>
                <a:gd name="T32" fmla="*/ 67 w 72"/>
                <a:gd name="T33" fmla="*/ 1 h 72"/>
                <a:gd name="T34" fmla="*/ 70 w 72"/>
                <a:gd name="T35" fmla="*/ 2 h 72"/>
                <a:gd name="T36" fmla="*/ 72 w 72"/>
                <a:gd name="T37" fmla="*/ 5 h 72"/>
                <a:gd name="T38" fmla="*/ 72 w 72"/>
                <a:gd name="T39" fmla="*/ 8 h 72"/>
                <a:gd name="T40" fmla="*/ 72 w 72"/>
                <a:gd name="T41"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2">
                  <a:moveTo>
                    <a:pt x="72" y="64"/>
                  </a:moveTo>
                  <a:lnTo>
                    <a:pt x="72" y="68"/>
                  </a:lnTo>
                  <a:lnTo>
                    <a:pt x="70" y="69"/>
                  </a:lnTo>
                  <a:lnTo>
                    <a:pt x="67" y="72"/>
                  </a:lnTo>
                  <a:lnTo>
                    <a:pt x="65" y="72"/>
                  </a:lnTo>
                  <a:lnTo>
                    <a:pt x="8" y="72"/>
                  </a:lnTo>
                  <a:lnTo>
                    <a:pt x="6" y="72"/>
                  </a:lnTo>
                  <a:lnTo>
                    <a:pt x="3" y="69"/>
                  </a:lnTo>
                  <a:lnTo>
                    <a:pt x="2" y="68"/>
                  </a:lnTo>
                  <a:lnTo>
                    <a:pt x="0" y="64"/>
                  </a:lnTo>
                  <a:lnTo>
                    <a:pt x="0" y="8"/>
                  </a:lnTo>
                  <a:lnTo>
                    <a:pt x="2" y="5"/>
                  </a:lnTo>
                  <a:lnTo>
                    <a:pt x="3" y="2"/>
                  </a:lnTo>
                  <a:lnTo>
                    <a:pt x="6" y="1"/>
                  </a:lnTo>
                  <a:lnTo>
                    <a:pt x="8" y="0"/>
                  </a:lnTo>
                  <a:lnTo>
                    <a:pt x="65" y="0"/>
                  </a:lnTo>
                  <a:lnTo>
                    <a:pt x="67" y="1"/>
                  </a:lnTo>
                  <a:lnTo>
                    <a:pt x="70" y="2"/>
                  </a:lnTo>
                  <a:lnTo>
                    <a:pt x="72" y="5"/>
                  </a:lnTo>
                  <a:lnTo>
                    <a:pt x="72" y="8"/>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11" name="Freeform 242"/>
            <p:cNvSpPr>
              <a:spLocks/>
            </p:cNvSpPr>
            <p:nvPr/>
          </p:nvSpPr>
          <p:spPr bwMode="auto">
            <a:xfrm>
              <a:off x="15692438" y="835025"/>
              <a:ext cx="114300" cy="114300"/>
            </a:xfrm>
            <a:custGeom>
              <a:avLst/>
              <a:gdLst>
                <a:gd name="T0" fmla="*/ 72 w 72"/>
                <a:gd name="T1" fmla="*/ 64 h 72"/>
                <a:gd name="T2" fmla="*/ 70 w 72"/>
                <a:gd name="T3" fmla="*/ 68 h 72"/>
                <a:gd name="T4" fmla="*/ 69 w 72"/>
                <a:gd name="T5" fmla="*/ 69 h 72"/>
                <a:gd name="T6" fmla="*/ 67 w 72"/>
                <a:gd name="T7" fmla="*/ 72 h 72"/>
                <a:gd name="T8" fmla="*/ 64 w 72"/>
                <a:gd name="T9" fmla="*/ 72 h 72"/>
                <a:gd name="T10" fmla="*/ 8 w 72"/>
                <a:gd name="T11" fmla="*/ 72 h 72"/>
                <a:gd name="T12" fmla="*/ 4 w 72"/>
                <a:gd name="T13" fmla="*/ 72 h 72"/>
                <a:gd name="T14" fmla="*/ 2 w 72"/>
                <a:gd name="T15" fmla="*/ 69 h 72"/>
                <a:gd name="T16" fmla="*/ 0 w 72"/>
                <a:gd name="T17" fmla="*/ 68 h 72"/>
                <a:gd name="T18" fmla="*/ 0 w 72"/>
                <a:gd name="T19" fmla="*/ 64 h 72"/>
                <a:gd name="T20" fmla="*/ 0 w 72"/>
                <a:gd name="T21" fmla="*/ 8 h 72"/>
                <a:gd name="T22" fmla="*/ 0 w 72"/>
                <a:gd name="T23" fmla="*/ 5 h 72"/>
                <a:gd name="T24" fmla="*/ 2 w 72"/>
                <a:gd name="T25" fmla="*/ 2 h 72"/>
                <a:gd name="T26" fmla="*/ 4 w 72"/>
                <a:gd name="T27" fmla="*/ 1 h 72"/>
                <a:gd name="T28" fmla="*/ 8 w 72"/>
                <a:gd name="T29" fmla="*/ 0 h 72"/>
                <a:gd name="T30" fmla="*/ 64 w 72"/>
                <a:gd name="T31" fmla="*/ 0 h 72"/>
                <a:gd name="T32" fmla="*/ 67 w 72"/>
                <a:gd name="T33" fmla="*/ 1 h 72"/>
                <a:gd name="T34" fmla="*/ 69 w 72"/>
                <a:gd name="T35" fmla="*/ 2 h 72"/>
                <a:gd name="T36" fmla="*/ 70 w 72"/>
                <a:gd name="T37" fmla="*/ 5 h 72"/>
                <a:gd name="T38" fmla="*/ 72 w 72"/>
                <a:gd name="T39" fmla="*/ 8 h 72"/>
                <a:gd name="T40" fmla="*/ 72 w 72"/>
                <a:gd name="T41"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2">
                  <a:moveTo>
                    <a:pt x="72" y="64"/>
                  </a:moveTo>
                  <a:lnTo>
                    <a:pt x="70" y="68"/>
                  </a:lnTo>
                  <a:lnTo>
                    <a:pt x="69" y="69"/>
                  </a:lnTo>
                  <a:lnTo>
                    <a:pt x="67" y="72"/>
                  </a:lnTo>
                  <a:lnTo>
                    <a:pt x="64" y="72"/>
                  </a:lnTo>
                  <a:lnTo>
                    <a:pt x="8" y="72"/>
                  </a:lnTo>
                  <a:lnTo>
                    <a:pt x="4" y="72"/>
                  </a:lnTo>
                  <a:lnTo>
                    <a:pt x="2" y="69"/>
                  </a:lnTo>
                  <a:lnTo>
                    <a:pt x="0" y="68"/>
                  </a:lnTo>
                  <a:lnTo>
                    <a:pt x="0" y="64"/>
                  </a:lnTo>
                  <a:lnTo>
                    <a:pt x="0" y="8"/>
                  </a:lnTo>
                  <a:lnTo>
                    <a:pt x="0" y="5"/>
                  </a:lnTo>
                  <a:lnTo>
                    <a:pt x="2" y="2"/>
                  </a:lnTo>
                  <a:lnTo>
                    <a:pt x="4" y="1"/>
                  </a:lnTo>
                  <a:lnTo>
                    <a:pt x="8" y="0"/>
                  </a:lnTo>
                  <a:lnTo>
                    <a:pt x="64" y="0"/>
                  </a:lnTo>
                  <a:lnTo>
                    <a:pt x="67" y="1"/>
                  </a:lnTo>
                  <a:lnTo>
                    <a:pt x="69" y="2"/>
                  </a:lnTo>
                  <a:lnTo>
                    <a:pt x="70" y="5"/>
                  </a:lnTo>
                  <a:lnTo>
                    <a:pt x="72" y="8"/>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12" name="Freeform 243"/>
            <p:cNvSpPr>
              <a:spLocks/>
            </p:cNvSpPr>
            <p:nvPr/>
          </p:nvSpPr>
          <p:spPr bwMode="auto">
            <a:xfrm>
              <a:off x="15254288" y="981075"/>
              <a:ext cx="114300" cy="114300"/>
            </a:xfrm>
            <a:custGeom>
              <a:avLst/>
              <a:gdLst>
                <a:gd name="T0" fmla="*/ 72 w 72"/>
                <a:gd name="T1" fmla="*/ 64 h 72"/>
                <a:gd name="T2" fmla="*/ 71 w 72"/>
                <a:gd name="T3" fmla="*/ 67 h 72"/>
                <a:gd name="T4" fmla="*/ 69 w 72"/>
                <a:gd name="T5" fmla="*/ 69 h 72"/>
                <a:gd name="T6" fmla="*/ 67 w 72"/>
                <a:gd name="T7" fmla="*/ 71 h 72"/>
                <a:gd name="T8" fmla="*/ 64 w 72"/>
                <a:gd name="T9" fmla="*/ 72 h 72"/>
                <a:gd name="T10" fmla="*/ 6 w 72"/>
                <a:gd name="T11" fmla="*/ 72 h 72"/>
                <a:gd name="T12" fmla="*/ 4 w 72"/>
                <a:gd name="T13" fmla="*/ 71 h 72"/>
                <a:gd name="T14" fmla="*/ 1 w 72"/>
                <a:gd name="T15" fmla="*/ 69 h 72"/>
                <a:gd name="T16" fmla="*/ 0 w 72"/>
                <a:gd name="T17" fmla="*/ 67 h 72"/>
                <a:gd name="T18" fmla="*/ 0 w 72"/>
                <a:gd name="T19" fmla="*/ 64 h 72"/>
                <a:gd name="T20" fmla="*/ 0 w 72"/>
                <a:gd name="T21" fmla="*/ 8 h 72"/>
                <a:gd name="T22" fmla="*/ 0 w 72"/>
                <a:gd name="T23" fmla="*/ 5 h 72"/>
                <a:gd name="T24" fmla="*/ 1 w 72"/>
                <a:gd name="T25" fmla="*/ 3 h 72"/>
                <a:gd name="T26" fmla="*/ 4 w 72"/>
                <a:gd name="T27" fmla="*/ 1 h 72"/>
                <a:gd name="T28" fmla="*/ 6 w 72"/>
                <a:gd name="T29" fmla="*/ 0 h 72"/>
                <a:gd name="T30" fmla="*/ 64 w 72"/>
                <a:gd name="T31" fmla="*/ 0 h 72"/>
                <a:gd name="T32" fmla="*/ 67 w 72"/>
                <a:gd name="T33" fmla="*/ 1 h 72"/>
                <a:gd name="T34" fmla="*/ 69 w 72"/>
                <a:gd name="T35" fmla="*/ 3 h 72"/>
                <a:gd name="T36" fmla="*/ 71 w 72"/>
                <a:gd name="T37" fmla="*/ 5 h 72"/>
                <a:gd name="T38" fmla="*/ 72 w 72"/>
                <a:gd name="T39" fmla="*/ 8 h 72"/>
                <a:gd name="T40" fmla="*/ 72 w 72"/>
                <a:gd name="T41"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2">
                  <a:moveTo>
                    <a:pt x="72" y="64"/>
                  </a:moveTo>
                  <a:lnTo>
                    <a:pt x="71" y="67"/>
                  </a:lnTo>
                  <a:lnTo>
                    <a:pt x="69" y="69"/>
                  </a:lnTo>
                  <a:lnTo>
                    <a:pt x="67" y="71"/>
                  </a:lnTo>
                  <a:lnTo>
                    <a:pt x="64" y="72"/>
                  </a:lnTo>
                  <a:lnTo>
                    <a:pt x="6" y="72"/>
                  </a:lnTo>
                  <a:lnTo>
                    <a:pt x="4" y="71"/>
                  </a:lnTo>
                  <a:lnTo>
                    <a:pt x="1" y="69"/>
                  </a:lnTo>
                  <a:lnTo>
                    <a:pt x="0" y="67"/>
                  </a:lnTo>
                  <a:lnTo>
                    <a:pt x="0" y="64"/>
                  </a:lnTo>
                  <a:lnTo>
                    <a:pt x="0" y="8"/>
                  </a:lnTo>
                  <a:lnTo>
                    <a:pt x="0" y="5"/>
                  </a:lnTo>
                  <a:lnTo>
                    <a:pt x="1" y="3"/>
                  </a:lnTo>
                  <a:lnTo>
                    <a:pt x="4" y="1"/>
                  </a:lnTo>
                  <a:lnTo>
                    <a:pt x="6" y="0"/>
                  </a:lnTo>
                  <a:lnTo>
                    <a:pt x="64" y="0"/>
                  </a:lnTo>
                  <a:lnTo>
                    <a:pt x="67" y="1"/>
                  </a:lnTo>
                  <a:lnTo>
                    <a:pt x="69" y="3"/>
                  </a:lnTo>
                  <a:lnTo>
                    <a:pt x="71" y="5"/>
                  </a:lnTo>
                  <a:lnTo>
                    <a:pt x="72" y="8"/>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13" name="Freeform 244"/>
            <p:cNvSpPr>
              <a:spLocks/>
            </p:cNvSpPr>
            <p:nvPr/>
          </p:nvSpPr>
          <p:spPr bwMode="auto">
            <a:xfrm>
              <a:off x="15398750" y="981075"/>
              <a:ext cx="114300" cy="114300"/>
            </a:xfrm>
            <a:custGeom>
              <a:avLst/>
              <a:gdLst>
                <a:gd name="T0" fmla="*/ 72 w 72"/>
                <a:gd name="T1" fmla="*/ 64 h 72"/>
                <a:gd name="T2" fmla="*/ 72 w 72"/>
                <a:gd name="T3" fmla="*/ 67 h 72"/>
                <a:gd name="T4" fmla="*/ 71 w 72"/>
                <a:gd name="T5" fmla="*/ 69 h 72"/>
                <a:gd name="T6" fmla="*/ 68 w 72"/>
                <a:gd name="T7" fmla="*/ 71 h 72"/>
                <a:gd name="T8" fmla="*/ 64 w 72"/>
                <a:gd name="T9" fmla="*/ 72 h 72"/>
                <a:gd name="T10" fmla="*/ 8 w 72"/>
                <a:gd name="T11" fmla="*/ 72 h 72"/>
                <a:gd name="T12" fmla="*/ 5 w 72"/>
                <a:gd name="T13" fmla="*/ 71 h 72"/>
                <a:gd name="T14" fmla="*/ 3 w 72"/>
                <a:gd name="T15" fmla="*/ 69 h 72"/>
                <a:gd name="T16" fmla="*/ 1 w 72"/>
                <a:gd name="T17" fmla="*/ 67 h 72"/>
                <a:gd name="T18" fmla="*/ 0 w 72"/>
                <a:gd name="T19" fmla="*/ 64 h 72"/>
                <a:gd name="T20" fmla="*/ 0 w 72"/>
                <a:gd name="T21" fmla="*/ 8 h 72"/>
                <a:gd name="T22" fmla="*/ 1 w 72"/>
                <a:gd name="T23" fmla="*/ 5 h 72"/>
                <a:gd name="T24" fmla="*/ 3 w 72"/>
                <a:gd name="T25" fmla="*/ 3 h 72"/>
                <a:gd name="T26" fmla="*/ 5 w 72"/>
                <a:gd name="T27" fmla="*/ 1 h 72"/>
                <a:gd name="T28" fmla="*/ 8 w 72"/>
                <a:gd name="T29" fmla="*/ 0 h 72"/>
                <a:gd name="T30" fmla="*/ 64 w 72"/>
                <a:gd name="T31" fmla="*/ 0 h 72"/>
                <a:gd name="T32" fmla="*/ 68 w 72"/>
                <a:gd name="T33" fmla="*/ 1 h 72"/>
                <a:gd name="T34" fmla="*/ 71 w 72"/>
                <a:gd name="T35" fmla="*/ 3 h 72"/>
                <a:gd name="T36" fmla="*/ 72 w 72"/>
                <a:gd name="T37" fmla="*/ 5 h 72"/>
                <a:gd name="T38" fmla="*/ 72 w 72"/>
                <a:gd name="T39" fmla="*/ 8 h 72"/>
                <a:gd name="T40" fmla="*/ 72 w 72"/>
                <a:gd name="T41"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2">
                  <a:moveTo>
                    <a:pt x="72" y="64"/>
                  </a:moveTo>
                  <a:lnTo>
                    <a:pt x="72" y="67"/>
                  </a:lnTo>
                  <a:lnTo>
                    <a:pt x="71" y="69"/>
                  </a:lnTo>
                  <a:lnTo>
                    <a:pt x="68" y="71"/>
                  </a:lnTo>
                  <a:lnTo>
                    <a:pt x="64" y="72"/>
                  </a:lnTo>
                  <a:lnTo>
                    <a:pt x="8" y="72"/>
                  </a:lnTo>
                  <a:lnTo>
                    <a:pt x="5" y="71"/>
                  </a:lnTo>
                  <a:lnTo>
                    <a:pt x="3" y="69"/>
                  </a:lnTo>
                  <a:lnTo>
                    <a:pt x="1" y="67"/>
                  </a:lnTo>
                  <a:lnTo>
                    <a:pt x="0" y="64"/>
                  </a:lnTo>
                  <a:lnTo>
                    <a:pt x="0" y="8"/>
                  </a:lnTo>
                  <a:lnTo>
                    <a:pt x="1" y="5"/>
                  </a:lnTo>
                  <a:lnTo>
                    <a:pt x="3" y="3"/>
                  </a:lnTo>
                  <a:lnTo>
                    <a:pt x="5" y="1"/>
                  </a:lnTo>
                  <a:lnTo>
                    <a:pt x="8" y="0"/>
                  </a:lnTo>
                  <a:lnTo>
                    <a:pt x="64" y="0"/>
                  </a:lnTo>
                  <a:lnTo>
                    <a:pt x="68" y="1"/>
                  </a:lnTo>
                  <a:lnTo>
                    <a:pt x="71" y="3"/>
                  </a:lnTo>
                  <a:lnTo>
                    <a:pt x="72" y="5"/>
                  </a:lnTo>
                  <a:lnTo>
                    <a:pt x="72" y="8"/>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14" name="Freeform 245"/>
            <p:cNvSpPr>
              <a:spLocks noEditPoints="1"/>
            </p:cNvSpPr>
            <p:nvPr/>
          </p:nvSpPr>
          <p:spPr bwMode="auto">
            <a:xfrm>
              <a:off x="15544800" y="981075"/>
              <a:ext cx="114300" cy="114300"/>
            </a:xfrm>
            <a:custGeom>
              <a:avLst/>
              <a:gdLst>
                <a:gd name="T0" fmla="*/ 65 w 72"/>
                <a:gd name="T1" fmla="*/ 0 h 72"/>
                <a:gd name="T2" fmla="*/ 8 w 72"/>
                <a:gd name="T3" fmla="*/ 0 h 72"/>
                <a:gd name="T4" fmla="*/ 6 w 72"/>
                <a:gd name="T5" fmla="*/ 1 h 72"/>
                <a:gd name="T6" fmla="*/ 3 w 72"/>
                <a:gd name="T7" fmla="*/ 3 h 72"/>
                <a:gd name="T8" fmla="*/ 2 w 72"/>
                <a:gd name="T9" fmla="*/ 5 h 72"/>
                <a:gd name="T10" fmla="*/ 0 w 72"/>
                <a:gd name="T11" fmla="*/ 8 h 72"/>
                <a:gd name="T12" fmla="*/ 0 w 72"/>
                <a:gd name="T13" fmla="*/ 64 h 72"/>
                <a:gd name="T14" fmla="*/ 2 w 72"/>
                <a:gd name="T15" fmla="*/ 67 h 72"/>
                <a:gd name="T16" fmla="*/ 3 w 72"/>
                <a:gd name="T17" fmla="*/ 69 h 72"/>
                <a:gd name="T18" fmla="*/ 6 w 72"/>
                <a:gd name="T19" fmla="*/ 71 h 72"/>
                <a:gd name="T20" fmla="*/ 8 w 72"/>
                <a:gd name="T21" fmla="*/ 72 h 72"/>
                <a:gd name="T22" fmla="*/ 65 w 72"/>
                <a:gd name="T23" fmla="*/ 72 h 72"/>
                <a:gd name="T24" fmla="*/ 67 w 72"/>
                <a:gd name="T25" fmla="*/ 71 h 72"/>
                <a:gd name="T26" fmla="*/ 70 w 72"/>
                <a:gd name="T27" fmla="*/ 69 h 72"/>
                <a:gd name="T28" fmla="*/ 72 w 72"/>
                <a:gd name="T29" fmla="*/ 67 h 72"/>
                <a:gd name="T30" fmla="*/ 72 w 72"/>
                <a:gd name="T31" fmla="*/ 64 h 72"/>
                <a:gd name="T32" fmla="*/ 72 w 72"/>
                <a:gd name="T33" fmla="*/ 8 h 72"/>
                <a:gd name="T34" fmla="*/ 72 w 72"/>
                <a:gd name="T35" fmla="*/ 5 h 72"/>
                <a:gd name="T36" fmla="*/ 70 w 72"/>
                <a:gd name="T37" fmla="*/ 3 h 72"/>
                <a:gd name="T38" fmla="*/ 67 w 72"/>
                <a:gd name="T39" fmla="*/ 1 h 72"/>
                <a:gd name="T40" fmla="*/ 65 w 72"/>
                <a:gd name="T41" fmla="*/ 0 h 72"/>
                <a:gd name="T42" fmla="*/ 53 w 72"/>
                <a:gd name="T43" fmla="*/ 53 h 72"/>
                <a:gd name="T44" fmla="*/ 20 w 72"/>
                <a:gd name="T45" fmla="*/ 53 h 72"/>
                <a:gd name="T46" fmla="*/ 20 w 72"/>
                <a:gd name="T47" fmla="*/ 19 h 72"/>
                <a:gd name="T48" fmla="*/ 53 w 72"/>
                <a:gd name="T49" fmla="*/ 19 h 72"/>
                <a:gd name="T50" fmla="*/ 53 w 72"/>
                <a:gd name="T51" fmla="*/ 5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72">
                  <a:moveTo>
                    <a:pt x="65" y="0"/>
                  </a:moveTo>
                  <a:lnTo>
                    <a:pt x="8" y="0"/>
                  </a:lnTo>
                  <a:lnTo>
                    <a:pt x="6" y="1"/>
                  </a:lnTo>
                  <a:lnTo>
                    <a:pt x="3" y="3"/>
                  </a:lnTo>
                  <a:lnTo>
                    <a:pt x="2" y="5"/>
                  </a:lnTo>
                  <a:lnTo>
                    <a:pt x="0" y="8"/>
                  </a:lnTo>
                  <a:lnTo>
                    <a:pt x="0" y="64"/>
                  </a:lnTo>
                  <a:lnTo>
                    <a:pt x="2" y="67"/>
                  </a:lnTo>
                  <a:lnTo>
                    <a:pt x="3" y="69"/>
                  </a:lnTo>
                  <a:lnTo>
                    <a:pt x="6" y="71"/>
                  </a:lnTo>
                  <a:lnTo>
                    <a:pt x="8" y="72"/>
                  </a:lnTo>
                  <a:lnTo>
                    <a:pt x="65" y="72"/>
                  </a:lnTo>
                  <a:lnTo>
                    <a:pt x="67" y="71"/>
                  </a:lnTo>
                  <a:lnTo>
                    <a:pt x="70" y="69"/>
                  </a:lnTo>
                  <a:lnTo>
                    <a:pt x="72" y="67"/>
                  </a:lnTo>
                  <a:lnTo>
                    <a:pt x="72" y="64"/>
                  </a:lnTo>
                  <a:lnTo>
                    <a:pt x="72" y="8"/>
                  </a:lnTo>
                  <a:lnTo>
                    <a:pt x="72" y="5"/>
                  </a:lnTo>
                  <a:lnTo>
                    <a:pt x="70" y="3"/>
                  </a:lnTo>
                  <a:lnTo>
                    <a:pt x="67" y="1"/>
                  </a:lnTo>
                  <a:lnTo>
                    <a:pt x="65" y="0"/>
                  </a:lnTo>
                  <a:close/>
                  <a:moveTo>
                    <a:pt x="53" y="53"/>
                  </a:moveTo>
                  <a:lnTo>
                    <a:pt x="20" y="53"/>
                  </a:lnTo>
                  <a:lnTo>
                    <a:pt x="20" y="19"/>
                  </a:lnTo>
                  <a:lnTo>
                    <a:pt x="53" y="19"/>
                  </a:lnTo>
                  <a:lnTo>
                    <a:pt x="53" y="5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15" name="Freeform 246"/>
            <p:cNvSpPr>
              <a:spLocks/>
            </p:cNvSpPr>
            <p:nvPr/>
          </p:nvSpPr>
          <p:spPr bwMode="auto">
            <a:xfrm>
              <a:off x="15692438" y="981075"/>
              <a:ext cx="114300" cy="114300"/>
            </a:xfrm>
            <a:custGeom>
              <a:avLst/>
              <a:gdLst>
                <a:gd name="T0" fmla="*/ 72 w 72"/>
                <a:gd name="T1" fmla="*/ 64 h 72"/>
                <a:gd name="T2" fmla="*/ 70 w 72"/>
                <a:gd name="T3" fmla="*/ 67 h 72"/>
                <a:gd name="T4" fmla="*/ 69 w 72"/>
                <a:gd name="T5" fmla="*/ 69 h 72"/>
                <a:gd name="T6" fmla="*/ 67 w 72"/>
                <a:gd name="T7" fmla="*/ 71 h 72"/>
                <a:gd name="T8" fmla="*/ 64 w 72"/>
                <a:gd name="T9" fmla="*/ 72 h 72"/>
                <a:gd name="T10" fmla="*/ 8 w 72"/>
                <a:gd name="T11" fmla="*/ 72 h 72"/>
                <a:gd name="T12" fmla="*/ 4 w 72"/>
                <a:gd name="T13" fmla="*/ 71 h 72"/>
                <a:gd name="T14" fmla="*/ 2 w 72"/>
                <a:gd name="T15" fmla="*/ 69 h 72"/>
                <a:gd name="T16" fmla="*/ 0 w 72"/>
                <a:gd name="T17" fmla="*/ 67 h 72"/>
                <a:gd name="T18" fmla="*/ 0 w 72"/>
                <a:gd name="T19" fmla="*/ 64 h 72"/>
                <a:gd name="T20" fmla="*/ 0 w 72"/>
                <a:gd name="T21" fmla="*/ 8 h 72"/>
                <a:gd name="T22" fmla="*/ 0 w 72"/>
                <a:gd name="T23" fmla="*/ 5 h 72"/>
                <a:gd name="T24" fmla="*/ 2 w 72"/>
                <a:gd name="T25" fmla="*/ 3 h 72"/>
                <a:gd name="T26" fmla="*/ 4 w 72"/>
                <a:gd name="T27" fmla="*/ 1 h 72"/>
                <a:gd name="T28" fmla="*/ 8 w 72"/>
                <a:gd name="T29" fmla="*/ 0 h 72"/>
                <a:gd name="T30" fmla="*/ 64 w 72"/>
                <a:gd name="T31" fmla="*/ 0 h 72"/>
                <a:gd name="T32" fmla="*/ 67 w 72"/>
                <a:gd name="T33" fmla="*/ 1 h 72"/>
                <a:gd name="T34" fmla="*/ 69 w 72"/>
                <a:gd name="T35" fmla="*/ 3 h 72"/>
                <a:gd name="T36" fmla="*/ 70 w 72"/>
                <a:gd name="T37" fmla="*/ 5 h 72"/>
                <a:gd name="T38" fmla="*/ 72 w 72"/>
                <a:gd name="T39" fmla="*/ 8 h 72"/>
                <a:gd name="T40" fmla="*/ 72 w 72"/>
                <a:gd name="T41"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2">
                  <a:moveTo>
                    <a:pt x="72" y="64"/>
                  </a:moveTo>
                  <a:lnTo>
                    <a:pt x="70" y="67"/>
                  </a:lnTo>
                  <a:lnTo>
                    <a:pt x="69" y="69"/>
                  </a:lnTo>
                  <a:lnTo>
                    <a:pt x="67" y="71"/>
                  </a:lnTo>
                  <a:lnTo>
                    <a:pt x="64" y="72"/>
                  </a:lnTo>
                  <a:lnTo>
                    <a:pt x="8" y="72"/>
                  </a:lnTo>
                  <a:lnTo>
                    <a:pt x="4" y="71"/>
                  </a:lnTo>
                  <a:lnTo>
                    <a:pt x="2" y="69"/>
                  </a:lnTo>
                  <a:lnTo>
                    <a:pt x="0" y="67"/>
                  </a:lnTo>
                  <a:lnTo>
                    <a:pt x="0" y="64"/>
                  </a:lnTo>
                  <a:lnTo>
                    <a:pt x="0" y="8"/>
                  </a:lnTo>
                  <a:lnTo>
                    <a:pt x="0" y="5"/>
                  </a:lnTo>
                  <a:lnTo>
                    <a:pt x="2" y="3"/>
                  </a:lnTo>
                  <a:lnTo>
                    <a:pt x="4" y="1"/>
                  </a:lnTo>
                  <a:lnTo>
                    <a:pt x="8" y="0"/>
                  </a:lnTo>
                  <a:lnTo>
                    <a:pt x="64" y="0"/>
                  </a:lnTo>
                  <a:lnTo>
                    <a:pt x="67" y="1"/>
                  </a:lnTo>
                  <a:lnTo>
                    <a:pt x="69" y="3"/>
                  </a:lnTo>
                  <a:lnTo>
                    <a:pt x="70" y="5"/>
                  </a:lnTo>
                  <a:lnTo>
                    <a:pt x="72" y="8"/>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16" name="Freeform 247"/>
            <p:cNvSpPr>
              <a:spLocks/>
            </p:cNvSpPr>
            <p:nvPr/>
          </p:nvSpPr>
          <p:spPr bwMode="auto">
            <a:xfrm>
              <a:off x="15254288" y="1128713"/>
              <a:ext cx="114300" cy="112713"/>
            </a:xfrm>
            <a:custGeom>
              <a:avLst/>
              <a:gdLst>
                <a:gd name="T0" fmla="*/ 72 w 72"/>
                <a:gd name="T1" fmla="*/ 64 h 71"/>
                <a:gd name="T2" fmla="*/ 71 w 72"/>
                <a:gd name="T3" fmla="*/ 66 h 71"/>
                <a:gd name="T4" fmla="*/ 69 w 72"/>
                <a:gd name="T5" fmla="*/ 69 h 71"/>
                <a:gd name="T6" fmla="*/ 67 w 72"/>
                <a:gd name="T7" fmla="*/ 70 h 71"/>
                <a:gd name="T8" fmla="*/ 64 w 72"/>
                <a:gd name="T9" fmla="*/ 71 h 71"/>
                <a:gd name="T10" fmla="*/ 6 w 72"/>
                <a:gd name="T11" fmla="*/ 71 h 71"/>
                <a:gd name="T12" fmla="*/ 4 w 72"/>
                <a:gd name="T13" fmla="*/ 70 h 71"/>
                <a:gd name="T14" fmla="*/ 1 w 72"/>
                <a:gd name="T15" fmla="*/ 69 h 71"/>
                <a:gd name="T16" fmla="*/ 0 w 72"/>
                <a:gd name="T17" fmla="*/ 66 h 71"/>
                <a:gd name="T18" fmla="*/ 0 w 72"/>
                <a:gd name="T19" fmla="*/ 64 h 71"/>
                <a:gd name="T20" fmla="*/ 0 w 72"/>
                <a:gd name="T21" fmla="*/ 7 h 71"/>
                <a:gd name="T22" fmla="*/ 0 w 72"/>
                <a:gd name="T23" fmla="*/ 3 h 71"/>
                <a:gd name="T24" fmla="*/ 1 w 72"/>
                <a:gd name="T25" fmla="*/ 1 h 71"/>
                <a:gd name="T26" fmla="*/ 4 w 72"/>
                <a:gd name="T27" fmla="*/ 0 h 71"/>
                <a:gd name="T28" fmla="*/ 6 w 72"/>
                <a:gd name="T29" fmla="*/ 0 h 71"/>
                <a:gd name="T30" fmla="*/ 64 w 72"/>
                <a:gd name="T31" fmla="*/ 0 h 71"/>
                <a:gd name="T32" fmla="*/ 67 w 72"/>
                <a:gd name="T33" fmla="*/ 0 h 71"/>
                <a:gd name="T34" fmla="*/ 69 w 72"/>
                <a:gd name="T35" fmla="*/ 1 h 71"/>
                <a:gd name="T36" fmla="*/ 71 w 72"/>
                <a:gd name="T37" fmla="*/ 3 h 71"/>
                <a:gd name="T38" fmla="*/ 72 w 72"/>
                <a:gd name="T39" fmla="*/ 7 h 71"/>
                <a:gd name="T40" fmla="*/ 72 w 72"/>
                <a:gd name="T41" fmla="*/ 6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1">
                  <a:moveTo>
                    <a:pt x="72" y="64"/>
                  </a:moveTo>
                  <a:lnTo>
                    <a:pt x="71" y="66"/>
                  </a:lnTo>
                  <a:lnTo>
                    <a:pt x="69" y="69"/>
                  </a:lnTo>
                  <a:lnTo>
                    <a:pt x="67" y="70"/>
                  </a:lnTo>
                  <a:lnTo>
                    <a:pt x="64" y="71"/>
                  </a:lnTo>
                  <a:lnTo>
                    <a:pt x="6" y="71"/>
                  </a:lnTo>
                  <a:lnTo>
                    <a:pt x="4" y="70"/>
                  </a:lnTo>
                  <a:lnTo>
                    <a:pt x="1" y="69"/>
                  </a:lnTo>
                  <a:lnTo>
                    <a:pt x="0" y="66"/>
                  </a:lnTo>
                  <a:lnTo>
                    <a:pt x="0" y="64"/>
                  </a:lnTo>
                  <a:lnTo>
                    <a:pt x="0" y="7"/>
                  </a:lnTo>
                  <a:lnTo>
                    <a:pt x="0" y="3"/>
                  </a:lnTo>
                  <a:lnTo>
                    <a:pt x="1" y="1"/>
                  </a:lnTo>
                  <a:lnTo>
                    <a:pt x="4" y="0"/>
                  </a:lnTo>
                  <a:lnTo>
                    <a:pt x="6" y="0"/>
                  </a:lnTo>
                  <a:lnTo>
                    <a:pt x="64" y="0"/>
                  </a:lnTo>
                  <a:lnTo>
                    <a:pt x="67" y="0"/>
                  </a:lnTo>
                  <a:lnTo>
                    <a:pt x="69" y="1"/>
                  </a:lnTo>
                  <a:lnTo>
                    <a:pt x="71" y="3"/>
                  </a:lnTo>
                  <a:lnTo>
                    <a:pt x="72" y="7"/>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17" name="Freeform 248"/>
            <p:cNvSpPr>
              <a:spLocks/>
            </p:cNvSpPr>
            <p:nvPr/>
          </p:nvSpPr>
          <p:spPr bwMode="auto">
            <a:xfrm>
              <a:off x="15398750" y="1128713"/>
              <a:ext cx="114300" cy="112713"/>
            </a:xfrm>
            <a:custGeom>
              <a:avLst/>
              <a:gdLst>
                <a:gd name="T0" fmla="*/ 72 w 72"/>
                <a:gd name="T1" fmla="*/ 64 h 71"/>
                <a:gd name="T2" fmla="*/ 72 w 72"/>
                <a:gd name="T3" fmla="*/ 66 h 71"/>
                <a:gd name="T4" fmla="*/ 71 w 72"/>
                <a:gd name="T5" fmla="*/ 69 h 71"/>
                <a:gd name="T6" fmla="*/ 68 w 72"/>
                <a:gd name="T7" fmla="*/ 70 h 71"/>
                <a:gd name="T8" fmla="*/ 64 w 72"/>
                <a:gd name="T9" fmla="*/ 71 h 71"/>
                <a:gd name="T10" fmla="*/ 8 w 72"/>
                <a:gd name="T11" fmla="*/ 71 h 71"/>
                <a:gd name="T12" fmla="*/ 5 w 72"/>
                <a:gd name="T13" fmla="*/ 70 h 71"/>
                <a:gd name="T14" fmla="*/ 3 w 72"/>
                <a:gd name="T15" fmla="*/ 69 h 71"/>
                <a:gd name="T16" fmla="*/ 1 w 72"/>
                <a:gd name="T17" fmla="*/ 66 h 71"/>
                <a:gd name="T18" fmla="*/ 0 w 72"/>
                <a:gd name="T19" fmla="*/ 64 h 71"/>
                <a:gd name="T20" fmla="*/ 0 w 72"/>
                <a:gd name="T21" fmla="*/ 7 h 71"/>
                <a:gd name="T22" fmla="*/ 1 w 72"/>
                <a:gd name="T23" fmla="*/ 3 h 71"/>
                <a:gd name="T24" fmla="*/ 3 w 72"/>
                <a:gd name="T25" fmla="*/ 1 h 71"/>
                <a:gd name="T26" fmla="*/ 5 w 72"/>
                <a:gd name="T27" fmla="*/ 0 h 71"/>
                <a:gd name="T28" fmla="*/ 8 w 72"/>
                <a:gd name="T29" fmla="*/ 0 h 71"/>
                <a:gd name="T30" fmla="*/ 64 w 72"/>
                <a:gd name="T31" fmla="*/ 0 h 71"/>
                <a:gd name="T32" fmla="*/ 68 w 72"/>
                <a:gd name="T33" fmla="*/ 0 h 71"/>
                <a:gd name="T34" fmla="*/ 71 w 72"/>
                <a:gd name="T35" fmla="*/ 1 h 71"/>
                <a:gd name="T36" fmla="*/ 72 w 72"/>
                <a:gd name="T37" fmla="*/ 3 h 71"/>
                <a:gd name="T38" fmla="*/ 72 w 72"/>
                <a:gd name="T39" fmla="*/ 7 h 71"/>
                <a:gd name="T40" fmla="*/ 72 w 72"/>
                <a:gd name="T41" fmla="*/ 6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1">
                  <a:moveTo>
                    <a:pt x="72" y="64"/>
                  </a:moveTo>
                  <a:lnTo>
                    <a:pt x="72" y="66"/>
                  </a:lnTo>
                  <a:lnTo>
                    <a:pt x="71" y="69"/>
                  </a:lnTo>
                  <a:lnTo>
                    <a:pt x="68" y="70"/>
                  </a:lnTo>
                  <a:lnTo>
                    <a:pt x="64" y="71"/>
                  </a:lnTo>
                  <a:lnTo>
                    <a:pt x="8" y="71"/>
                  </a:lnTo>
                  <a:lnTo>
                    <a:pt x="5" y="70"/>
                  </a:lnTo>
                  <a:lnTo>
                    <a:pt x="3" y="69"/>
                  </a:lnTo>
                  <a:lnTo>
                    <a:pt x="1" y="66"/>
                  </a:lnTo>
                  <a:lnTo>
                    <a:pt x="0" y="64"/>
                  </a:lnTo>
                  <a:lnTo>
                    <a:pt x="0" y="7"/>
                  </a:lnTo>
                  <a:lnTo>
                    <a:pt x="1" y="3"/>
                  </a:lnTo>
                  <a:lnTo>
                    <a:pt x="3" y="1"/>
                  </a:lnTo>
                  <a:lnTo>
                    <a:pt x="5" y="0"/>
                  </a:lnTo>
                  <a:lnTo>
                    <a:pt x="8" y="0"/>
                  </a:lnTo>
                  <a:lnTo>
                    <a:pt x="64" y="0"/>
                  </a:lnTo>
                  <a:lnTo>
                    <a:pt x="68" y="0"/>
                  </a:lnTo>
                  <a:lnTo>
                    <a:pt x="71" y="1"/>
                  </a:lnTo>
                  <a:lnTo>
                    <a:pt x="72" y="3"/>
                  </a:lnTo>
                  <a:lnTo>
                    <a:pt x="72" y="7"/>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18" name="Freeform 249"/>
            <p:cNvSpPr>
              <a:spLocks/>
            </p:cNvSpPr>
            <p:nvPr/>
          </p:nvSpPr>
          <p:spPr bwMode="auto">
            <a:xfrm>
              <a:off x="15544800" y="1128713"/>
              <a:ext cx="114300" cy="112713"/>
            </a:xfrm>
            <a:custGeom>
              <a:avLst/>
              <a:gdLst>
                <a:gd name="T0" fmla="*/ 72 w 72"/>
                <a:gd name="T1" fmla="*/ 64 h 71"/>
                <a:gd name="T2" fmla="*/ 72 w 72"/>
                <a:gd name="T3" fmla="*/ 66 h 71"/>
                <a:gd name="T4" fmla="*/ 70 w 72"/>
                <a:gd name="T5" fmla="*/ 69 h 71"/>
                <a:gd name="T6" fmla="*/ 67 w 72"/>
                <a:gd name="T7" fmla="*/ 70 h 71"/>
                <a:gd name="T8" fmla="*/ 65 w 72"/>
                <a:gd name="T9" fmla="*/ 71 h 71"/>
                <a:gd name="T10" fmla="*/ 8 w 72"/>
                <a:gd name="T11" fmla="*/ 71 h 71"/>
                <a:gd name="T12" fmla="*/ 6 w 72"/>
                <a:gd name="T13" fmla="*/ 70 h 71"/>
                <a:gd name="T14" fmla="*/ 3 w 72"/>
                <a:gd name="T15" fmla="*/ 69 h 71"/>
                <a:gd name="T16" fmla="*/ 2 w 72"/>
                <a:gd name="T17" fmla="*/ 66 h 71"/>
                <a:gd name="T18" fmla="*/ 0 w 72"/>
                <a:gd name="T19" fmla="*/ 64 h 71"/>
                <a:gd name="T20" fmla="*/ 0 w 72"/>
                <a:gd name="T21" fmla="*/ 7 h 71"/>
                <a:gd name="T22" fmla="*/ 2 w 72"/>
                <a:gd name="T23" fmla="*/ 3 h 71"/>
                <a:gd name="T24" fmla="*/ 3 w 72"/>
                <a:gd name="T25" fmla="*/ 1 h 71"/>
                <a:gd name="T26" fmla="*/ 6 w 72"/>
                <a:gd name="T27" fmla="*/ 0 h 71"/>
                <a:gd name="T28" fmla="*/ 8 w 72"/>
                <a:gd name="T29" fmla="*/ 0 h 71"/>
                <a:gd name="T30" fmla="*/ 65 w 72"/>
                <a:gd name="T31" fmla="*/ 0 h 71"/>
                <a:gd name="T32" fmla="*/ 67 w 72"/>
                <a:gd name="T33" fmla="*/ 0 h 71"/>
                <a:gd name="T34" fmla="*/ 70 w 72"/>
                <a:gd name="T35" fmla="*/ 1 h 71"/>
                <a:gd name="T36" fmla="*/ 72 w 72"/>
                <a:gd name="T37" fmla="*/ 3 h 71"/>
                <a:gd name="T38" fmla="*/ 72 w 72"/>
                <a:gd name="T39" fmla="*/ 7 h 71"/>
                <a:gd name="T40" fmla="*/ 72 w 72"/>
                <a:gd name="T41" fmla="*/ 6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1">
                  <a:moveTo>
                    <a:pt x="72" y="64"/>
                  </a:moveTo>
                  <a:lnTo>
                    <a:pt x="72" y="66"/>
                  </a:lnTo>
                  <a:lnTo>
                    <a:pt x="70" y="69"/>
                  </a:lnTo>
                  <a:lnTo>
                    <a:pt x="67" y="70"/>
                  </a:lnTo>
                  <a:lnTo>
                    <a:pt x="65" y="71"/>
                  </a:lnTo>
                  <a:lnTo>
                    <a:pt x="8" y="71"/>
                  </a:lnTo>
                  <a:lnTo>
                    <a:pt x="6" y="70"/>
                  </a:lnTo>
                  <a:lnTo>
                    <a:pt x="3" y="69"/>
                  </a:lnTo>
                  <a:lnTo>
                    <a:pt x="2" y="66"/>
                  </a:lnTo>
                  <a:lnTo>
                    <a:pt x="0" y="64"/>
                  </a:lnTo>
                  <a:lnTo>
                    <a:pt x="0" y="7"/>
                  </a:lnTo>
                  <a:lnTo>
                    <a:pt x="2" y="3"/>
                  </a:lnTo>
                  <a:lnTo>
                    <a:pt x="3" y="1"/>
                  </a:lnTo>
                  <a:lnTo>
                    <a:pt x="6" y="0"/>
                  </a:lnTo>
                  <a:lnTo>
                    <a:pt x="8" y="0"/>
                  </a:lnTo>
                  <a:lnTo>
                    <a:pt x="65" y="0"/>
                  </a:lnTo>
                  <a:lnTo>
                    <a:pt x="67" y="0"/>
                  </a:lnTo>
                  <a:lnTo>
                    <a:pt x="70" y="1"/>
                  </a:lnTo>
                  <a:lnTo>
                    <a:pt x="72" y="3"/>
                  </a:lnTo>
                  <a:lnTo>
                    <a:pt x="72" y="7"/>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19" name="Freeform 250"/>
            <p:cNvSpPr>
              <a:spLocks/>
            </p:cNvSpPr>
            <p:nvPr/>
          </p:nvSpPr>
          <p:spPr bwMode="auto">
            <a:xfrm>
              <a:off x="15692438" y="1128713"/>
              <a:ext cx="114300" cy="112713"/>
            </a:xfrm>
            <a:custGeom>
              <a:avLst/>
              <a:gdLst>
                <a:gd name="T0" fmla="*/ 72 w 72"/>
                <a:gd name="T1" fmla="*/ 64 h 71"/>
                <a:gd name="T2" fmla="*/ 70 w 72"/>
                <a:gd name="T3" fmla="*/ 66 h 71"/>
                <a:gd name="T4" fmla="*/ 69 w 72"/>
                <a:gd name="T5" fmla="*/ 69 h 71"/>
                <a:gd name="T6" fmla="*/ 67 w 72"/>
                <a:gd name="T7" fmla="*/ 70 h 71"/>
                <a:gd name="T8" fmla="*/ 64 w 72"/>
                <a:gd name="T9" fmla="*/ 71 h 71"/>
                <a:gd name="T10" fmla="*/ 8 w 72"/>
                <a:gd name="T11" fmla="*/ 71 h 71"/>
                <a:gd name="T12" fmla="*/ 4 w 72"/>
                <a:gd name="T13" fmla="*/ 70 h 71"/>
                <a:gd name="T14" fmla="*/ 2 w 72"/>
                <a:gd name="T15" fmla="*/ 69 h 71"/>
                <a:gd name="T16" fmla="*/ 0 w 72"/>
                <a:gd name="T17" fmla="*/ 66 h 71"/>
                <a:gd name="T18" fmla="*/ 0 w 72"/>
                <a:gd name="T19" fmla="*/ 64 h 71"/>
                <a:gd name="T20" fmla="*/ 0 w 72"/>
                <a:gd name="T21" fmla="*/ 7 h 71"/>
                <a:gd name="T22" fmla="*/ 0 w 72"/>
                <a:gd name="T23" fmla="*/ 3 h 71"/>
                <a:gd name="T24" fmla="*/ 2 w 72"/>
                <a:gd name="T25" fmla="*/ 1 h 71"/>
                <a:gd name="T26" fmla="*/ 4 w 72"/>
                <a:gd name="T27" fmla="*/ 0 h 71"/>
                <a:gd name="T28" fmla="*/ 8 w 72"/>
                <a:gd name="T29" fmla="*/ 0 h 71"/>
                <a:gd name="T30" fmla="*/ 64 w 72"/>
                <a:gd name="T31" fmla="*/ 0 h 71"/>
                <a:gd name="T32" fmla="*/ 67 w 72"/>
                <a:gd name="T33" fmla="*/ 0 h 71"/>
                <a:gd name="T34" fmla="*/ 69 w 72"/>
                <a:gd name="T35" fmla="*/ 1 h 71"/>
                <a:gd name="T36" fmla="*/ 70 w 72"/>
                <a:gd name="T37" fmla="*/ 3 h 71"/>
                <a:gd name="T38" fmla="*/ 72 w 72"/>
                <a:gd name="T39" fmla="*/ 7 h 71"/>
                <a:gd name="T40" fmla="*/ 72 w 72"/>
                <a:gd name="T41" fmla="*/ 6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1">
                  <a:moveTo>
                    <a:pt x="72" y="64"/>
                  </a:moveTo>
                  <a:lnTo>
                    <a:pt x="70" y="66"/>
                  </a:lnTo>
                  <a:lnTo>
                    <a:pt x="69" y="69"/>
                  </a:lnTo>
                  <a:lnTo>
                    <a:pt x="67" y="70"/>
                  </a:lnTo>
                  <a:lnTo>
                    <a:pt x="64" y="71"/>
                  </a:lnTo>
                  <a:lnTo>
                    <a:pt x="8" y="71"/>
                  </a:lnTo>
                  <a:lnTo>
                    <a:pt x="4" y="70"/>
                  </a:lnTo>
                  <a:lnTo>
                    <a:pt x="2" y="69"/>
                  </a:lnTo>
                  <a:lnTo>
                    <a:pt x="0" y="66"/>
                  </a:lnTo>
                  <a:lnTo>
                    <a:pt x="0" y="64"/>
                  </a:lnTo>
                  <a:lnTo>
                    <a:pt x="0" y="7"/>
                  </a:lnTo>
                  <a:lnTo>
                    <a:pt x="0" y="3"/>
                  </a:lnTo>
                  <a:lnTo>
                    <a:pt x="2" y="1"/>
                  </a:lnTo>
                  <a:lnTo>
                    <a:pt x="4" y="0"/>
                  </a:lnTo>
                  <a:lnTo>
                    <a:pt x="8" y="0"/>
                  </a:lnTo>
                  <a:lnTo>
                    <a:pt x="64" y="0"/>
                  </a:lnTo>
                  <a:lnTo>
                    <a:pt x="67" y="0"/>
                  </a:lnTo>
                  <a:lnTo>
                    <a:pt x="69" y="1"/>
                  </a:lnTo>
                  <a:lnTo>
                    <a:pt x="70" y="3"/>
                  </a:lnTo>
                  <a:lnTo>
                    <a:pt x="72" y="7"/>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grpSp>
      <p:sp>
        <p:nvSpPr>
          <p:cNvPr id="122" name="TextBox 121"/>
          <p:cNvSpPr txBox="1">
            <a:spLocks/>
          </p:cNvSpPr>
          <p:nvPr/>
        </p:nvSpPr>
        <p:spPr bwMode="gray">
          <a:xfrm>
            <a:off x="448968" y="3607706"/>
            <a:ext cx="1497766" cy="331510"/>
          </a:xfrm>
          <a:prstGeom prst="rect">
            <a:avLst/>
          </a:prstGeom>
          <a:solidFill>
            <a:schemeClr val="accent1">
              <a:lumMod val="75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r>
              <a:rPr lang="en-US" sz="1000" b="1" dirty="0" smtClean="0">
                <a:solidFill>
                  <a:schemeClr val="bg1"/>
                </a:solidFill>
              </a:rPr>
              <a:t>Cultural/Spiritual</a:t>
            </a:r>
            <a:endParaRPr lang="en-US" sz="1000" b="1" dirty="0">
              <a:solidFill>
                <a:schemeClr val="bg1"/>
              </a:solidFill>
            </a:endParaRPr>
          </a:p>
        </p:txBody>
      </p:sp>
      <p:sp>
        <p:nvSpPr>
          <p:cNvPr id="124" name="TextBox 123"/>
          <p:cNvSpPr txBox="1">
            <a:spLocks/>
          </p:cNvSpPr>
          <p:nvPr/>
        </p:nvSpPr>
        <p:spPr bwMode="gray">
          <a:xfrm>
            <a:off x="448968" y="3996893"/>
            <a:ext cx="1497766" cy="331510"/>
          </a:xfrm>
          <a:prstGeom prst="rect">
            <a:avLst/>
          </a:prstGeom>
          <a:solidFill>
            <a:schemeClr val="accent1">
              <a:lumMod val="75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000" dirty="0" err="1">
                <a:solidFill>
                  <a:schemeClr val="bg1"/>
                </a:solidFill>
              </a:rPr>
              <a:t>BLeisure</a:t>
            </a:r>
            <a:endParaRPr lang="en-US" sz="1000" dirty="0">
              <a:solidFill>
                <a:schemeClr val="bg1"/>
              </a:solidFill>
            </a:endParaRPr>
          </a:p>
        </p:txBody>
      </p:sp>
      <p:sp>
        <p:nvSpPr>
          <p:cNvPr id="127" name="TextBox 126"/>
          <p:cNvSpPr txBox="1">
            <a:spLocks/>
          </p:cNvSpPr>
          <p:nvPr/>
        </p:nvSpPr>
        <p:spPr bwMode="gray">
          <a:xfrm>
            <a:off x="448968" y="4386080"/>
            <a:ext cx="1497766" cy="373174"/>
          </a:xfrm>
          <a:prstGeom prst="rect">
            <a:avLst/>
          </a:prstGeom>
          <a:solidFill>
            <a:schemeClr val="accent1">
              <a:lumMod val="75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000" dirty="0">
                <a:solidFill>
                  <a:schemeClr val="bg1"/>
                </a:solidFill>
              </a:rPr>
              <a:t>Adventure</a:t>
            </a:r>
          </a:p>
        </p:txBody>
      </p:sp>
      <p:sp>
        <p:nvSpPr>
          <p:cNvPr id="129" name="TextBox 128"/>
          <p:cNvSpPr txBox="1">
            <a:spLocks/>
          </p:cNvSpPr>
          <p:nvPr/>
        </p:nvSpPr>
        <p:spPr bwMode="gray">
          <a:xfrm>
            <a:off x="448968" y="4816931"/>
            <a:ext cx="1497766" cy="331510"/>
          </a:xfrm>
          <a:prstGeom prst="rect">
            <a:avLst/>
          </a:prstGeom>
          <a:solidFill>
            <a:schemeClr val="accent1">
              <a:lumMod val="75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000" dirty="0">
                <a:solidFill>
                  <a:schemeClr val="bg1"/>
                </a:solidFill>
              </a:rPr>
              <a:t>Lifestyle</a:t>
            </a:r>
          </a:p>
        </p:txBody>
      </p:sp>
      <p:sp>
        <p:nvSpPr>
          <p:cNvPr id="131" name="TextBox 130"/>
          <p:cNvSpPr txBox="1">
            <a:spLocks/>
          </p:cNvSpPr>
          <p:nvPr/>
        </p:nvSpPr>
        <p:spPr bwMode="gray">
          <a:xfrm>
            <a:off x="448968" y="5206117"/>
            <a:ext cx="1497766" cy="331510"/>
          </a:xfrm>
          <a:prstGeom prst="rect">
            <a:avLst/>
          </a:prstGeom>
          <a:solidFill>
            <a:schemeClr val="accent1">
              <a:lumMod val="75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000" dirty="0" smtClean="0">
                <a:solidFill>
                  <a:schemeClr val="bg1"/>
                </a:solidFill>
              </a:rPr>
              <a:t>Beach</a:t>
            </a:r>
            <a:endParaRPr lang="en-US" sz="1000" dirty="0">
              <a:solidFill>
                <a:schemeClr val="bg1"/>
              </a:solidFill>
            </a:endParaRPr>
          </a:p>
        </p:txBody>
      </p:sp>
      <p:sp>
        <p:nvSpPr>
          <p:cNvPr id="132" name="Marvin tracker circle"/>
          <p:cNvSpPr>
            <a:spLocks/>
          </p:cNvSpPr>
          <p:nvPr/>
        </p:nvSpPr>
        <p:spPr>
          <a:xfrm>
            <a:off x="2068235" y="5718451"/>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000" dirty="0">
                <a:solidFill>
                  <a:schemeClr val="bg1"/>
                </a:solidFill>
              </a:rPr>
              <a:t>6</a:t>
            </a:r>
            <a:endParaRPr lang="en-US" sz="1000" dirty="0" smtClean="0">
              <a:solidFill>
                <a:schemeClr val="bg1"/>
              </a:solidFill>
            </a:endParaRPr>
          </a:p>
        </p:txBody>
      </p:sp>
      <p:sp>
        <p:nvSpPr>
          <p:cNvPr id="133" name="Marvin tracker circle"/>
          <p:cNvSpPr>
            <a:spLocks/>
          </p:cNvSpPr>
          <p:nvPr/>
        </p:nvSpPr>
        <p:spPr>
          <a:xfrm>
            <a:off x="3713201" y="5727688"/>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000" dirty="0">
                <a:solidFill>
                  <a:schemeClr val="bg1"/>
                </a:solidFill>
              </a:rPr>
              <a:t>7</a:t>
            </a:r>
            <a:endParaRPr lang="en-US" sz="1000" dirty="0" smtClean="0">
              <a:solidFill>
                <a:schemeClr val="bg1"/>
              </a:solidFill>
            </a:endParaRPr>
          </a:p>
        </p:txBody>
      </p:sp>
      <p:sp>
        <p:nvSpPr>
          <p:cNvPr id="135" name="Marvin tracker circle"/>
          <p:cNvSpPr>
            <a:spLocks/>
          </p:cNvSpPr>
          <p:nvPr/>
        </p:nvSpPr>
        <p:spPr>
          <a:xfrm>
            <a:off x="5383405" y="5703832"/>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000" dirty="0" err="1">
                <a:solidFill>
                  <a:schemeClr val="bg1"/>
                </a:solidFill>
              </a:rPr>
              <a:t>8</a:t>
            </a:r>
            <a:endParaRPr lang="en-US" sz="1000" dirty="0" smtClean="0">
              <a:solidFill>
                <a:schemeClr val="bg1"/>
              </a:solidFill>
            </a:endParaRPr>
          </a:p>
        </p:txBody>
      </p:sp>
      <p:sp>
        <p:nvSpPr>
          <p:cNvPr id="83" name="Rectangle 82"/>
          <p:cNvSpPr>
            <a:spLocks/>
          </p:cNvSpPr>
          <p:nvPr/>
        </p:nvSpPr>
        <p:spPr>
          <a:xfrm>
            <a:off x="7022813" y="1184925"/>
            <a:ext cx="1574465" cy="4962486"/>
          </a:xfrm>
          <a:prstGeom prst="rect">
            <a:avLst/>
          </a:prstGeom>
          <a:solidFill>
            <a:schemeClr val="accent1">
              <a:lumMod val="20000"/>
              <a:lumOff val="80000"/>
            </a:schemeClr>
          </a:soli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err="1" smtClean="0">
              <a:solidFill>
                <a:schemeClr val="tx1"/>
              </a:solidFill>
            </a:endParaRPr>
          </a:p>
        </p:txBody>
      </p:sp>
      <p:sp>
        <p:nvSpPr>
          <p:cNvPr id="141" name="TextBox 140"/>
          <p:cNvSpPr txBox="1">
            <a:spLocks/>
          </p:cNvSpPr>
          <p:nvPr/>
        </p:nvSpPr>
        <p:spPr bwMode="gray">
          <a:xfrm>
            <a:off x="436358" y="1294471"/>
            <a:ext cx="8214655" cy="388735"/>
          </a:xfrm>
          <a:prstGeom prst="rect">
            <a:avLst/>
          </a:prstGeom>
          <a:solidFill>
            <a:schemeClr val="accent1">
              <a:lumMod val="20000"/>
              <a:lumOff val="80000"/>
              <a:alpha val="59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100" b="1">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000" dirty="0" smtClean="0"/>
              <a:t>Marketing: </a:t>
            </a:r>
            <a:r>
              <a:rPr lang="en-US" sz="1000" b="0" dirty="0" smtClean="0"/>
              <a:t>Integrate </a:t>
            </a:r>
            <a:r>
              <a:rPr lang="en-US" sz="1000" b="0" dirty="0" err="1" smtClean="0"/>
              <a:t>CMT</a:t>
            </a:r>
            <a:r>
              <a:rPr lang="en-US" sz="1000" b="0" dirty="0" smtClean="0"/>
              <a:t> into </a:t>
            </a:r>
            <a:r>
              <a:rPr lang="en-US" sz="1000" b="0" dirty="0" err="1" smtClean="0"/>
              <a:t>SA’s</a:t>
            </a:r>
            <a:r>
              <a:rPr lang="en-US" sz="1000" b="0" dirty="0" smtClean="0"/>
              <a:t> brand pillars and increase the share of space of </a:t>
            </a:r>
            <a:r>
              <a:rPr lang="en-US" sz="1000" b="0" dirty="0" err="1" smtClean="0"/>
              <a:t>CMT</a:t>
            </a:r>
            <a:r>
              <a:rPr lang="en-US" sz="1000" b="0" dirty="0" smtClean="0"/>
              <a:t> on the internet</a:t>
            </a:r>
            <a:endParaRPr lang="en-US" sz="1000" dirty="0"/>
          </a:p>
        </p:txBody>
      </p:sp>
      <p:sp>
        <p:nvSpPr>
          <p:cNvPr id="142" name="TextBox 141"/>
          <p:cNvSpPr txBox="1">
            <a:spLocks/>
          </p:cNvSpPr>
          <p:nvPr/>
        </p:nvSpPr>
        <p:spPr bwMode="gray">
          <a:xfrm>
            <a:off x="436358" y="1726175"/>
            <a:ext cx="8214655" cy="388735"/>
          </a:xfrm>
          <a:prstGeom prst="rect">
            <a:avLst/>
          </a:prstGeom>
          <a:solidFill>
            <a:schemeClr val="accent1">
              <a:lumMod val="20000"/>
              <a:lumOff val="80000"/>
              <a:alpha val="59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bg1"/>
                </a:solidFill>
              </a:defRPr>
            </a:lvl1pPr>
          </a:lstStyle>
          <a:p>
            <a:r>
              <a:rPr lang="en-US" sz="1000" dirty="0">
                <a:solidFill>
                  <a:schemeClr val="tx2"/>
                </a:solidFill>
              </a:rPr>
              <a:t>Safety and </a:t>
            </a:r>
            <a:r>
              <a:rPr lang="en-US" sz="1000" dirty="0" smtClean="0">
                <a:solidFill>
                  <a:schemeClr val="tx2"/>
                </a:solidFill>
              </a:rPr>
              <a:t>Security: </a:t>
            </a:r>
            <a:r>
              <a:rPr lang="en-US" sz="1000" b="0" dirty="0" smtClean="0">
                <a:solidFill>
                  <a:schemeClr val="tx2"/>
                </a:solidFill>
              </a:rPr>
              <a:t>Increase security measures (e.g. </a:t>
            </a:r>
            <a:r>
              <a:rPr lang="en-US" sz="1000" b="0" dirty="0" err="1" smtClean="0">
                <a:solidFill>
                  <a:schemeClr val="tx2"/>
                </a:solidFill>
              </a:rPr>
              <a:t>EPWP</a:t>
            </a:r>
            <a:r>
              <a:rPr lang="en-US" sz="1000" b="0" dirty="0" smtClean="0">
                <a:solidFill>
                  <a:schemeClr val="tx2"/>
                </a:solidFill>
              </a:rPr>
              <a:t>) in coastal cities, beach areas and coastal attractions, while increasing and sustaining international accreditation standards for water quality, safety and environmental responsibilities </a:t>
            </a:r>
            <a:endParaRPr lang="en-US" sz="1000" dirty="0">
              <a:solidFill>
                <a:schemeClr val="tx2"/>
              </a:solidFill>
            </a:endParaRPr>
          </a:p>
        </p:txBody>
      </p:sp>
      <p:sp>
        <p:nvSpPr>
          <p:cNvPr id="143" name="TextBox 142"/>
          <p:cNvSpPr txBox="1">
            <a:spLocks/>
          </p:cNvSpPr>
          <p:nvPr/>
        </p:nvSpPr>
        <p:spPr bwMode="gray">
          <a:xfrm>
            <a:off x="436358" y="2157879"/>
            <a:ext cx="8214655" cy="484911"/>
          </a:xfrm>
          <a:prstGeom prst="rect">
            <a:avLst/>
          </a:prstGeom>
          <a:solidFill>
            <a:schemeClr val="accent1">
              <a:lumMod val="20000"/>
              <a:lumOff val="80000"/>
              <a:alpha val="59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100" b="1">
                <a:solidFill>
                  <a:schemeClr val="bg1"/>
                </a:solidFill>
              </a:defRPr>
            </a:lvl1pPr>
          </a:lstStyle>
          <a:p>
            <a:r>
              <a:rPr lang="en-US" sz="1000" dirty="0">
                <a:solidFill>
                  <a:schemeClr val="tx2"/>
                </a:solidFill>
              </a:rPr>
              <a:t>Regulations </a:t>
            </a:r>
            <a:r>
              <a:rPr lang="en-US" sz="1000" dirty="0" smtClean="0">
                <a:solidFill>
                  <a:schemeClr val="tx2"/>
                </a:solidFill>
              </a:rPr>
              <a:t>and permitting: </a:t>
            </a:r>
            <a:r>
              <a:rPr lang="en-US" sz="1000" b="0" dirty="0" smtClean="0">
                <a:solidFill>
                  <a:schemeClr val="tx2"/>
                </a:solidFill>
              </a:rPr>
              <a:t>Review legislative framework and incentives to increase participation of </a:t>
            </a:r>
            <a:r>
              <a:rPr lang="en-US" sz="1000" b="0" dirty="0" err="1" smtClean="0">
                <a:solidFill>
                  <a:schemeClr val="tx2"/>
                </a:solidFill>
              </a:rPr>
              <a:t>HDIs</a:t>
            </a:r>
            <a:r>
              <a:rPr lang="en-US" sz="1000" b="0" dirty="0" smtClean="0">
                <a:solidFill>
                  <a:schemeClr val="tx2"/>
                </a:solidFill>
              </a:rPr>
              <a:t>, integrate/coordinate permitting application processes and approvals for events</a:t>
            </a:r>
            <a:r>
              <a:rPr lang="en-US" sz="1000" dirty="0" smtClean="0">
                <a:solidFill>
                  <a:schemeClr val="tx2"/>
                </a:solidFill>
              </a:rPr>
              <a:t>, </a:t>
            </a:r>
            <a:r>
              <a:rPr lang="en-US" sz="1000" b="0" dirty="0" smtClean="0">
                <a:solidFill>
                  <a:schemeClr val="tx2"/>
                </a:solidFill>
              </a:rPr>
              <a:t>and coordinate processes to reduce the timelines for developers</a:t>
            </a:r>
            <a:r>
              <a:rPr lang="en-US" sz="1000" dirty="0" smtClean="0">
                <a:solidFill>
                  <a:schemeClr val="tx2"/>
                </a:solidFill>
              </a:rPr>
              <a:t>                   </a:t>
            </a:r>
            <a:endParaRPr lang="en-US" sz="1000" dirty="0">
              <a:solidFill>
                <a:schemeClr val="tx2"/>
              </a:solidFill>
            </a:endParaRPr>
          </a:p>
        </p:txBody>
      </p:sp>
      <p:sp>
        <p:nvSpPr>
          <p:cNvPr id="148" name="TextBox 147"/>
          <p:cNvSpPr txBox="1">
            <a:spLocks/>
          </p:cNvSpPr>
          <p:nvPr/>
        </p:nvSpPr>
        <p:spPr bwMode="gray">
          <a:xfrm>
            <a:off x="436358" y="2685759"/>
            <a:ext cx="8214655" cy="388735"/>
          </a:xfrm>
          <a:prstGeom prst="rect">
            <a:avLst/>
          </a:prstGeom>
          <a:solidFill>
            <a:schemeClr val="accent1">
              <a:lumMod val="20000"/>
              <a:lumOff val="80000"/>
              <a:alpha val="59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bg1"/>
                </a:solidFill>
              </a:defRPr>
            </a:lvl1pPr>
          </a:lstStyle>
          <a:p>
            <a:r>
              <a:rPr lang="en-US" sz="1000" dirty="0" smtClean="0">
                <a:solidFill>
                  <a:schemeClr val="tx2"/>
                </a:solidFill>
              </a:rPr>
              <a:t>Skills and transformation: </a:t>
            </a:r>
            <a:r>
              <a:rPr lang="en-US" sz="1000" b="0" dirty="0" smtClean="0">
                <a:solidFill>
                  <a:schemeClr val="tx2"/>
                </a:solidFill>
              </a:rPr>
              <a:t>Establish a National Customer Service Index and service excellence </a:t>
            </a:r>
            <a:r>
              <a:rPr lang="en-US" sz="1000" b="0" dirty="0" err="1" smtClean="0">
                <a:solidFill>
                  <a:schemeClr val="tx2"/>
                </a:solidFill>
              </a:rPr>
              <a:t>programme</a:t>
            </a:r>
            <a:r>
              <a:rPr lang="en-US" sz="1000" b="0" dirty="0" smtClean="0">
                <a:solidFill>
                  <a:schemeClr val="tx2"/>
                </a:solidFill>
              </a:rPr>
              <a:t>, and develop targeted intervention for scarce skills (e.g. cruise) and entrepreneurship in coastal areas </a:t>
            </a:r>
            <a:r>
              <a:rPr lang="en-US" sz="1000" dirty="0" smtClean="0">
                <a:solidFill>
                  <a:schemeClr val="tx2"/>
                </a:solidFill>
              </a:rPr>
              <a:t>  </a:t>
            </a:r>
            <a:endParaRPr lang="en-US" sz="1000" dirty="0">
              <a:solidFill>
                <a:schemeClr val="tx2"/>
              </a:solidFill>
            </a:endParaRPr>
          </a:p>
        </p:txBody>
      </p:sp>
      <p:sp>
        <p:nvSpPr>
          <p:cNvPr id="150" name="TextBox 149"/>
          <p:cNvSpPr txBox="1">
            <a:spLocks/>
          </p:cNvSpPr>
          <p:nvPr/>
        </p:nvSpPr>
        <p:spPr bwMode="gray">
          <a:xfrm>
            <a:off x="436358" y="3117464"/>
            <a:ext cx="8214655" cy="388735"/>
          </a:xfrm>
          <a:prstGeom prst="rect">
            <a:avLst/>
          </a:prstGeom>
          <a:solidFill>
            <a:schemeClr val="accent1">
              <a:lumMod val="20000"/>
              <a:lumOff val="80000"/>
              <a:alpha val="59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bg1"/>
                </a:solidFill>
              </a:defRPr>
            </a:lvl1pPr>
          </a:lstStyle>
          <a:p>
            <a:r>
              <a:rPr lang="en-US" sz="1000" dirty="0" smtClean="0">
                <a:solidFill>
                  <a:schemeClr val="tx2"/>
                </a:solidFill>
              </a:rPr>
              <a:t>Sustainability/ spatial</a:t>
            </a:r>
            <a:r>
              <a:rPr lang="en-US" sz="1000" dirty="0">
                <a:solidFill>
                  <a:schemeClr val="tx2"/>
                </a:solidFill>
              </a:rPr>
              <a:t> </a:t>
            </a:r>
            <a:r>
              <a:rPr lang="en-US" sz="1000" dirty="0" smtClean="0">
                <a:solidFill>
                  <a:schemeClr val="tx2"/>
                </a:solidFill>
              </a:rPr>
              <a:t>planning: </a:t>
            </a:r>
            <a:r>
              <a:rPr lang="en-US" sz="1000" b="0" dirty="0" smtClean="0">
                <a:solidFill>
                  <a:schemeClr val="tx2"/>
                </a:solidFill>
              </a:rPr>
              <a:t>Create a central data repository (socio-economic and environmental information) and develop decision making tools for sustainable use of CM resources </a:t>
            </a:r>
            <a:endParaRPr lang="en-US" sz="1000" dirty="0" smtClean="0">
              <a:solidFill>
                <a:schemeClr val="tx2"/>
              </a:solidFill>
            </a:endParaRPr>
          </a:p>
        </p:txBody>
      </p:sp>
      <p:sp>
        <p:nvSpPr>
          <p:cNvPr id="153" name="TextBox 152"/>
          <p:cNvSpPr txBox="1">
            <a:spLocks/>
          </p:cNvSpPr>
          <p:nvPr/>
        </p:nvSpPr>
        <p:spPr bwMode="gray">
          <a:xfrm>
            <a:off x="7092537" y="5784347"/>
            <a:ext cx="1343732" cy="326243"/>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230188"/>
            <a:r>
              <a:rPr lang="en-US" sz="1000" b="1" dirty="0" smtClean="0">
                <a:solidFill>
                  <a:schemeClr val="tx2"/>
                </a:solidFill>
              </a:rPr>
              <a:t>Hidden</a:t>
            </a:r>
          </a:p>
          <a:p>
            <a:pPr marL="230188"/>
            <a:r>
              <a:rPr lang="en-US" sz="1000" b="1" dirty="0" smtClean="0">
                <a:solidFill>
                  <a:schemeClr val="tx2"/>
                </a:solidFill>
              </a:rPr>
              <a:t>Gems</a:t>
            </a:r>
            <a:endParaRPr lang="en-US" sz="1000" b="1" dirty="0">
              <a:solidFill>
                <a:schemeClr val="tx2"/>
              </a:solidFill>
            </a:endParaRPr>
          </a:p>
        </p:txBody>
      </p:sp>
      <p:sp>
        <p:nvSpPr>
          <p:cNvPr id="154" name="5-Point Star 153"/>
          <p:cNvSpPr/>
          <p:nvPr/>
        </p:nvSpPr>
        <p:spPr>
          <a:xfrm>
            <a:off x="8109527" y="5736245"/>
            <a:ext cx="353609" cy="296045"/>
          </a:xfrm>
          <a:prstGeom prst="star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err="1" smtClean="0">
              <a:solidFill>
                <a:schemeClr val="tx1"/>
              </a:solidFill>
            </a:endParaRPr>
          </a:p>
        </p:txBody>
      </p:sp>
      <p:sp>
        <p:nvSpPr>
          <p:cNvPr id="144" name="Marvin tracker circle"/>
          <p:cNvSpPr>
            <a:spLocks/>
          </p:cNvSpPr>
          <p:nvPr/>
        </p:nvSpPr>
        <p:spPr>
          <a:xfrm>
            <a:off x="317214" y="1360271"/>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000" dirty="0" smtClean="0">
                <a:solidFill>
                  <a:schemeClr val="bg1"/>
                </a:solidFill>
              </a:rPr>
              <a:t>1</a:t>
            </a:r>
          </a:p>
        </p:txBody>
      </p:sp>
      <p:sp>
        <p:nvSpPr>
          <p:cNvPr id="145" name="Marvin tracker circle"/>
          <p:cNvSpPr>
            <a:spLocks/>
          </p:cNvSpPr>
          <p:nvPr/>
        </p:nvSpPr>
        <p:spPr>
          <a:xfrm>
            <a:off x="317214" y="1830279"/>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000" dirty="0" smtClean="0">
                <a:solidFill>
                  <a:schemeClr val="bg1"/>
                </a:solidFill>
              </a:rPr>
              <a:t>2</a:t>
            </a:r>
          </a:p>
        </p:txBody>
      </p:sp>
      <p:sp>
        <p:nvSpPr>
          <p:cNvPr id="147" name="Marvin tracker circle"/>
          <p:cNvSpPr>
            <a:spLocks/>
          </p:cNvSpPr>
          <p:nvPr/>
        </p:nvSpPr>
        <p:spPr>
          <a:xfrm>
            <a:off x="317214" y="2300287"/>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000" dirty="0" smtClean="0">
                <a:solidFill>
                  <a:schemeClr val="bg1"/>
                </a:solidFill>
              </a:rPr>
              <a:t>3</a:t>
            </a:r>
          </a:p>
        </p:txBody>
      </p:sp>
      <p:sp>
        <p:nvSpPr>
          <p:cNvPr id="149" name="Marvin tracker circle"/>
          <p:cNvSpPr>
            <a:spLocks/>
          </p:cNvSpPr>
          <p:nvPr/>
        </p:nvSpPr>
        <p:spPr>
          <a:xfrm>
            <a:off x="317214" y="2770295"/>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000" dirty="0" smtClean="0">
                <a:solidFill>
                  <a:schemeClr val="bg1"/>
                </a:solidFill>
              </a:rPr>
              <a:t>4</a:t>
            </a:r>
          </a:p>
        </p:txBody>
      </p:sp>
      <p:sp>
        <p:nvSpPr>
          <p:cNvPr id="151" name="Marvin tracker circle"/>
          <p:cNvSpPr>
            <a:spLocks/>
          </p:cNvSpPr>
          <p:nvPr/>
        </p:nvSpPr>
        <p:spPr>
          <a:xfrm>
            <a:off x="317214" y="3240304"/>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000" dirty="0" smtClean="0">
                <a:solidFill>
                  <a:schemeClr val="bg1"/>
                </a:solidFill>
              </a:rPr>
              <a:t>5</a:t>
            </a:r>
          </a:p>
        </p:txBody>
      </p:sp>
      <p:grpSp>
        <p:nvGrpSpPr>
          <p:cNvPr id="101" name="Group 100"/>
          <p:cNvGrpSpPr>
            <a:grpSpLocks/>
          </p:cNvGrpSpPr>
          <p:nvPr/>
        </p:nvGrpSpPr>
        <p:grpSpPr>
          <a:xfrm>
            <a:off x="2008662" y="956689"/>
            <a:ext cx="6548803" cy="4282649"/>
            <a:chOff x="1871716" y="992646"/>
            <a:chExt cx="6814077" cy="4282649"/>
          </a:xfrm>
        </p:grpSpPr>
        <p:sp>
          <p:nvSpPr>
            <p:cNvPr id="103" name="TextBox 102"/>
            <p:cNvSpPr txBox="1">
              <a:spLocks/>
            </p:cNvSpPr>
            <p:nvPr/>
          </p:nvSpPr>
          <p:spPr bwMode="gray">
            <a:xfrm>
              <a:off x="1871716" y="992646"/>
              <a:ext cx="6814077" cy="1723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00" b="1" dirty="0" smtClean="0">
                  <a:solidFill>
                    <a:schemeClr val="tx2"/>
                  </a:solidFill>
                </a:rPr>
                <a:t>Proposed initiatives</a:t>
              </a:r>
              <a:endParaRPr lang="en-US" sz="1000" b="1" dirty="0">
                <a:solidFill>
                  <a:schemeClr val="tx2"/>
                </a:solidFill>
              </a:endParaRPr>
            </a:p>
          </p:txBody>
        </p:sp>
        <p:cxnSp>
          <p:nvCxnSpPr>
            <p:cNvPr id="104" name="Straight Connector 103"/>
            <p:cNvCxnSpPr>
              <a:cxnSpLocks/>
            </p:cNvCxnSpPr>
            <p:nvPr/>
          </p:nvCxnSpPr>
          <p:spPr bwMode="gray">
            <a:xfrm>
              <a:off x="1871716" y="1165001"/>
              <a:ext cx="681407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3" name="TextBox 62"/>
            <p:cNvSpPr txBox="1">
              <a:spLocks/>
            </p:cNvSpPr>
            <p:nvPr/>
          </p:nvSpPr>
          <p:spPr bwMode="gray">
            <a:xfrm>
              <a:off x="2042269" y="3871834"/>
              <a:ext cx="1412159" cy="9417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00" dirty="0" smtClean="0">
                  <a:solidFill>
                    <a:schemeClr val="tx2"/>
                  </a:solidFill>
                </a:rPr>
                <a:t>Identify and </a:t>
              </a:r>
              <a:r>
                <a:rPr lang="en-US" sz="1000" b="1" dirty="0" smtClean="0">
                  <a:solidFill>
                    <a:schemeClr val="accent3"/>
                  </a:solidFill>
                </a:rPr>
                <a:t>elevate events</a:t>
              </a:r>
              <a:r>
                <a:rPr lang="en-US" sz="1000" dirty="0" smtClean="0">
                  <a:solidFill>
                    <a:schemeClr val="tx2"/>
                  </a:solidFill>
                </a:rPr>
                <a:t> that would attract domestic and international tourist, with a special focus on </a:t>
              </a:r>
              <a:r>
                <a:rPr lang="en-US" sz="1000" b="1" dirty="0" smtClean="0">
                  <a:solidFill>
                    <a:schemeClr val="accent3"/>
                  </a:solidFill>
                </a:rPr>
                <a:t>off-peak season</a:t>
              </a:r>
              <a:endParaRPr lang="en-US" sz="1000" b="1" dirty="0">
                <a:solidFill>
                  <a:schemeClr val="accent3"/>
                </a:solidFill>
              </a:endParaRPr>
            </a:p>
          </p:txBody>
        </p:sp>
        <p:sp>
          <p:nvSpPr>
            <p:cNvPr id="64" name="TextBox 63"/>
            <p:cNvSpPr txBox="1">
              <a:spLocks/>
            </p:cNvSpPr>
            <p:nvPr/>
          </p:nvSpPr>
          <p:spPr bwMode="gray">
            <a:xfrm>
              <a:off x="3749949" y="3871834"/>
              <a:ext cx="1412159" cy="14034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00" b="1" dirty="0" smtClean="0">
                  <a:solidFill>
                    <a:schemeClr val="accent3"/>
                  </a:solidFill>
                </a:rPr>
                <a:t>Unify</a:t>
              </a:r>
              <a:r>
                <a:rPr lang="en-US" sz="1000" dirty="0" smtClean="0">
                  <a:solidFill>
                    <a:schemeClr val="tx2"/>
                  </a:solidFill>
                </a:rPr>
                <a:t> and market together </a:t>
              </a:r>
              <a:r>
                <a:rPr lang="en-US" sz="1000" b="1" dirty="0" smtClean="0">
                  <a:solidFill>
                    <a:schemeClr val="accent3"/>
                  </a:solidFill>
                </a:rPr>
                <a:t>attractions</a:t>
              </a:r>
              <a:r>
                <a:rPr lang="en-US" sz="1000" dirty="0" smtClean="0">
                  <a:solidFill>
                    <a:schemeClr val="tx2"/>
                  </a:solidFill>
                </a:rPr>
                <a:t> and </a:t>
              </a:r>
              <a:r>
                <a:rPr lang="en-US" sz="1000" b="1" dirty="0" smtClean="0">
                  <a:solidFill>
                    <a:schemeClr val="accent3"/>
                  </a:solidFill>
                </a:rPr>
                <a:t>individual routes </a:t>
              </a:r>
              <a:r>
                <a:rPr lang="en-US" sz="1000" dirty="0" smtClean="0">
                  <a:solidFill>
                    <a:schemeClr val="tx2"/>
                  </a:solidFill>
                </a:rPr>
                <a:t>across the coastline to provide a </a:t>
              </a:r>
              <a:r>
                <a:rPr lang="en-US" sz="1000" b="1" dirty="0" smtClean="0">
                  <a:solidFill>
                    <a:schemeClr val="accent3"/>
                  </a:solidFill>
                </a:rPr>
                <a:t>variety of experiences </a:t>
              </a:r>
              <a:r>
                <a:rPr lang="en-US" sz="1000" dirty="0" smtClean="0">
                  <a:solidFill>
                    <a:schemeClr val="tx2"/>
                  </a:solidFill>
                </a:rPr>
                <a:t>and stimulate entrepreneurial opportunities </a:t>
              </a:r>
              <a:endParaRPr lang="en-US" sz="1000" dirty="0">
                <a:solidFill>
                  <a:schemeClr val="tx2"/>
                </a:solidFill>
              </a:endParaRPr>
            </a:p>
          </p:txBody>
        </p:sp>
        <p:sp>
          <p:nvSpPr>
            <p:cNvPr id="65" name="TextBox 64"/>
            <p:cNvSpPr txBox="1">
              <a:spLocks/>
            </p:cNvSpPr>
            <p:nvPr/>
          </p:nvSpPr>
          <p:spPr bwMode="gray">
            <a:xfrm>
              <a:off x="5450665" y="3871834"/>
              <a:ext cx="1412159" cy="140346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00" b="1" dirty="0" smtClean="0">
                  <a:solidFill>
                    <a:schemeClr val="accent3"/>
                  </a:solidFill>
                </a:rPr>
                <a:t>Unlock</a:t>
              </a:r>
              <a:r>
                <a:rPr lang="en-US" sz="1000" dirty="0" smtClean="0">
                  <a:solidFill>
                    <a:schemeClr val="tx2"/>
                  </a:solidFill>
                </a:rPr>
                <a:t> the </a:t>
              </a:r>
              <a:r>
                <a:rPr lang="en-US" sz="1000" b="1" dirty="0" smtClean="0">
                  <a:solidFill>
                    <a:schemeClr val="accent3"/>
                  </a:solidFill>
                </a:rPr>
                <a:t>challenges</a:t>
              </a:r>
              <a:r>
                <a:rPr lang="en-US" sz="1000" dirty="0" smtClean="0">
                  <a:solidFill>
                    <a:schemeClr val="tx2"/>
                  </a:solidFill>
                </a:rPr>
                <a:t> affecting selected </a:t>
              </a:r>
              <a:r>
                <a:rPr lang="en-US" sz="1000" b="1" dirty="0" smtClean="0">
                  <a:solidFill>
                    <a:schemeClr val="accent3"/>
                  </a:solidFill>
                </a:rPr>
                <a:t>capital intensive projects </a:t>
              </a:r>
              <a:r>
                <a:rPr lang="en-US" sz="1000" dirty="0" smtClean="0">
                  <a:solidFill>
                    <a:schemeClr val="tx2"/>
                  </a:solidFill>
                </a:rPr>
                <a:t>with great potential for economic development, and develop a framework to deal with future opportunities</a:t>
              </a:r>
              <a:endParaRPr lang="en-US" sz="1000" dirty="0">
                <a:solidFill>
                  <a:schemeClr val="tx2"/>
                </a:solidFill>
              </a:endParaRPr>
            </a:p>
          </p:txBody>
        </p:sp>
        <p:sp>
          <p:nvSpPr>
            <p:cNvPr id="66" name="TextBox 65"/>
            <p:cNvSpPr txBox="1">
              <a:spLocks/>
            </p:cNvSpPr>
            <p:nvPr/>
          </p:nvSpPr>
          <p:spPr bwMode="gray">
            <a:xfrm>
              <a:off x="7207609" y="3871834"/>
              <a:ext cx="1290147" cy="9417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00" b="1" dirty="0" smtClean="0">
                  <a:solidFill>
                    <a:schemeClr val="accent3"/>
                  </a:solidFill>
                </a:rPr>
                <a:t>Identify</a:t>
              </a:r>
              <a:r>
                <a:rPr lang="en-US" sz="1000" dirty="0" smtClean="0">
                  <a:solidFill>
                    <a:schemeClr val="tx2"/>
                  </a:solidFill>
                </a:rPr>
                <a:t> and </a:t>
              </a:r>
              <a:r>
                <a:rPr lang="en-US" sz="1000" b="1" dirty="0" smtClean="0">
                  <a:solidFill>
                    <a:schemeClr val="accent3"/>
                  </a:solidFill>
                </a:rPr>
                <a:t>market</a:t>
              </a:r>
              <a:r>
                <a:rPr lang="en-US" sz="1000" dirty="0" smtClean="0">
                  <a:solidFill>
                    <a:schemeClr val="tx2"/>
                  </a:solidFill>
                </a:rPr>
                <a:t> attractions along the coastline that are </a:t>
              </a:r>
              <a:r>
                <a:rPr lang="en-US" sz="1000" b="1" dirty="0" smtClean="0">
                  <a:solidFill>
                    <a:schemeClr val="accent3"/>
                  </a:solidFill>
                </a:rPr>
                <a:t>not well known</a:t>
              </a:r>
              <a:r>
                <a:rPr lang="en-US" sz="1000" dirty="0" smtClean="0">
                  <a:solidFill>
                    <a:schemeClr val="tx2"/>
                  </a:solidFill>
                </a:rPr>
                <a:t> but have potential attract visitors </a:t>
              </a:r>
              <a:endParaRPr lang="en-US" sz="1000" dirty="0">
                <a:solidFill>
                  <a:schemeClr val="tx2"/>
                </a:solidFill>
              </a:endParaRPr>
            </a:p>
          </p:txBody>
        </p:sp>
      </p:grpSp>
      <p:sp>
        <p:nvSpPr>
          <p:cNvPr id="68" name="Marvin tracker circle"/>
          <p:cNvSpPr>
            <a:spLocks/>
          </p:cNvSpPr>
          <p:nvPr/>
        </p:nvSpPr>
        <p:spPr>
          <a:xfrm>
            <a:off x="7103054" y="5703832"/>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000" dirty="0" smtClean="0">
                <a:solidFill>
                  <a:schemeClr val="bg1"/>
                </a:solidFill>
              </a:rPr>
              <a:t>9</a:t>
            </a:r>
          </a:p>
        </p:txBody>
      </p:sp>
    </p:spTree>
    <p:extLst>
      <p:ext uri="{BB962C8B-B14F-4D97-AF65-F5344CB8AC3E}">
        <p14:creationId xmlns:p14="http://schemas.microsoft.com/office/powerpoint/2010/main" val="406011898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17"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The initiatives developed address the identified market segments </a:t>
            </a:r>
            <a:br>
              <a:rPr lang="en-US" dirty="0"/>
            </a:br>
            <a:r>
              <a:rPr lang="en-US" dirty="0"/>
              <a:t>and enabling environment </a:t>
            </a:r>
            <a:r>
              <a:rPr lang="en-US" dirty="0" smtClean="0"/>
              <a:t>(2/2)</a:t>
            </a:r>
            <a:endParaRPr lang="en-US" dirty="0"/>
          </a:p>
        </p:txBody>
      </p:sp>
      <p:sp>
        <p:nvSpPr>
          <p:cNvPr id="73" name="Rectangle 72"/>
          <p:cNvSpPr/>
          <p:nvPr/>
        </p:nvSpPr>
        <p:spPr>
          <a:xfrm>
            <a:off x="263426" y="892961"/>
            <a:ext cx="8457952" cy="5287454"/>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err="1" smtClean="0">
              <a:solidFill>
                <a:schemeClr val="tx1"/>
              </a:solidFill>
            </a:endParaRPr>
          </a:p>
        </p:txBody>
      </p:sp>
      <p:sp>
        <p:nvSpPr>
          <p:cNvPr id="74" name="Rectangle 73"/>
          <p:cNvSpPr>
            <a:spLocks/>
          </p:cNvSpPr>
          <p:nvPr/>
        </p:nvSpPr>
        <p:spPr>
          <a:xfrm>
            <a:off x="6475903" y="1169233"/>
            <a:ext cx="2095613" cy="4962486"/>
          </a:xfrm>
          <a:prstGeom prst="rect">
            <a:avLst/>
          </a:prstGeom>
          <a:solidFill>
            <a:schemeClr val="accent1">
              <a:lumMod val="20000"/>
              <a:lumOff val="80000"/>
            </a:schemeClr>
          </a:soli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sp>
        <p:nvSpPr>
          <p:cNvPr id="88" name="Rectangle 87"/>
          <p:cNvSpPr>
            <a:spLocks/>
          </p:cNvSpPr>
          <p:nvPr/>
        </p:nvSpPr>
        <p:spPr>
          <a:xfrm>
            <a:off x="2008662" y="1169233"/>
            <a:ext cx="2095613" cy="4962486"/>
          </a:xfrm>
          <a:prstGeom prst="rect">
            <a:avLst/>
          </a:prstGeom>
          <a:solidFill>
            <a:schemeClr val="accent1">
              <a:lumMod val="20000"/>
              <a:lumOff val="80000"/>
            </a:schemeClr>
          </a:soli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sp>
        <p:nvSpPr>
          <p:cNvPr id="92" name="Rectangle 91"/>
          <p:cNvSpPr>
            <a:spLocks/>
          </p:cNvSpPr>
          <p:nvPr/>
        </p:nvSpPr>
        <p:spPr>
          <a:xfrm>
            <a:off x="4242283" y="1169233"/>
            <a:ext cx="2095613" cy="4962486"/>
          </a:xfrm>
          <a:prstGeom prst="rect">
            <a:avLst/>
          </a:prstGeom>
          <a:solidFill>
            <a:schemeClr val="accent1">
              <a:lumMod val="20000"/>
              <a:lumOff val="80000"/>
            </a:schemeClr>
          </a:solidFill>
          <a:ln w="9525">
            <a:noFill/>
          </a:ln>
          <a:effectLst>
            <a:innerShdw blurRad="63500" dist="50800" dir="16200000">
              <a:schemeClr val="accent2">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err="1" smtClean="0">
              <a:solidFill>
                <a:schemeClr val="tx1"/>
              </a:solidFill>
            </a:endParaRPr>
          </a:p>
        </p:txBody>
      </p:sp>
      <p:grpSp>
        <p:nvGrpSpPr>
          <p:cNvPr id="101" name="Group 100"/>
          <p:cNvGrpSpPr>
            <a:grpSpLocks/>
          </p:cNvGrpSpPr>
          <p:nvPr/>
        </p:nvGrpSpPr>
        <p:grpSpPr>
          <a:xfrm>
            <a:off x="2008662" y="941300"/>
            <a:ext cx="6548803" cy="187744"/>
            <a:chOff x="1871716" y="977257"/>
            <a:chExt cx="6814077" cy="187744"/>
          </a:xfrm>
        </p:grpSpPr>
        <p:sp>
          <p:nvSpPr>
            <p:cNvPr id="103" name="TextBox 102"/>
            <p:cNvSpPr txBox="1">
              <a:spLocks/>
            </p:cNvSpPr>
            <p:nvPr/>
          </p:nvSpPr>
          <p:spPr bwMode="gray">
            <a:xfrm>
              <a:off x="1871716" y="977257"/>
              <a:ext cx="6814077" cy="1877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100" b="1" dirty="0" smtClean="0">
                  <a:solidFill>
                    <a:schemeClr val="tx2"/>
                  </a:solidFill>
                </a:rPr>
                <a:t>Proposed initiatives</a:t>
              </a:r>
              <a:endParaRPr lang="en-US" sz="1100" b="1" dirty="0">
                <a:solidFill>
                  <a:schemeClr val="tx2"/>
                </a:solidFill>
              </a:endParaRPr>
            </a:p>
          </p:txBody>
        </p:sp>
        <p:cxnSp>
          <p:nvCxnSpPr>
            <p:cNvPr id="104" name="Straight Connector 103"/>
            <p:cNvCxnSpPr>
              <a:cxnSpLocks/>
            </p:cNvCxnSpPr>
            <p:nvPr/>
          </p:nvCxnSpPr>
          <p:spPr bwMode="gray">
            <a:xfrm>
              <a:off x="1871716" y="1165001"/>
              <a:ext cx="681407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43" name="TextBox 142"/>
          <p:cNvSpPr txBox="1">
            <a:spLocks/>
          </p:cNvSpPr>
          <p:nvPr/>
        </p:nvSpPr>
        <p:spPr bwMode="gray">
          <a:xfrm>
            <a:off x="436358" y="2106815"/>
            <a:ext cx="8214655" cy="387950"/>
          </a:xfrm>
          <a:prstGeom prst="rect">
            <a:avLst/>
          </a:prstGeom>
          <a:solidFill>
            <a:schemeClr val="accent1">
              <a:lumMod val="20000"/>
              <a:lumOff val="80000"/>
              <a:alpha val="59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bg1"/>
                </a:solidFill>
              </a:defRPr>
            </a:lvl1pPr>
          </a:lstStyle>
          <a:p>
            <a:pPr marL="31750"/>
            <a:r>
              <a:rPr lang="en-US" dirty="0">
                <a:solidFill>
                  <a:schemeClr val="tx2"/>
                </a:solidFill>
              </a:rPr>
              <a:t>Regulations </a:t>
            </a:r>
            <a:r>
              <a:rPr lang="en-US" dirty="0" smtClean="0">
                <a:solidFill>
                  <a:schemeClr val="tx2"/>
                </a:solidFill>
              </a:rPr>
              <a:t/>
            </a:r>
            <a:br>
              <a:rPr lang="en-US" dirty="0" smtClean="0">
                <a:solidFill>
                  <a:schemeClr val="tx2"/>
                </a:solidFill>
              </a:rPr>
            </a:br>
            <a:r>
              <a:rPr lang="en-US" dirty="0" smtClean="0">
                <a:solidFill>
                  <a:schemeClr val="tx2"/>
                </a:solidFill>
              </a:rPr>
              <a:t>and permitting                   </a:t>
            </a:r>
            <a:endParaRPr lang="en-US" dirty="0">
              <a:solidFill>
                <a:schemeClr val="tx2"/>
              </a:solidFill>
            </a:endParaRPr>
          </a:p>
        </p:txBody>
      </p:sp>
      <p:sp>
        <p:nvSpPr>
          <p:cNvPr id="147" name="Marvin tracker circle"/>
          <p:cNvSpPr>
            <a:spLocks/>
          </p:cNvSpPr>
          <p:nvPr/>
        </p:nvSpPr>
        <p:spPr>
          <a:xfrm>
            <a:off x="332980" y="2207108"/>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100" dirty="0" smtClean="0">
                <a:solidFill>
                  <a:schemeClr val="bg1"/>
                </a:solidFill>
              </a:rPr>
              <a:t>3</a:t>
            </a:r>
          </a:p>
        </p:txBody>
      </p:sp>
      <p:sp>
        <p:nvSpPr>
          <p:cNvPr id="72" name="TextBox 71"/>
          <p:cNvSpPr txBox="1">
            <a:spLocks/>
          </p:cNvSpPr>
          <p:nvPr/>
        </p:nvSpPr>
        <p:spPr>
          <a:xfrm>
            <a:off x="2068234" y="2216152"/>
            <a:ext cx="643244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Integrated permitting system, Inter-governmental coordinating committee, Scaling up BBBEE in CMT</a:t>
            </a:r>
            <a:endParaRPr lang="en-US" sz="1100" dirty="0"/>
          </a:p>
        </p:txBody>
      </p:sp>
      <p:sp>
        <p:nvSpPr>
          <p:cNvPr id="141" name="TextBox 140"/>
          <p:cNvSpPr txBox="1">
            <a:spLocks/>
          </p:cNvSpPr>
          <p:nvPr/>
        </p:nvSpPr>
        <p:spPr bwMode="gray">
          <a:xfrm>
            <a:off x="436358" y="1292767"/>
            <a:ext cx="8214655" cy="387950"/>
          </a:xfrm>
          <a:prstGeom prst="rect">
            <a:avLst/>
          </a:prstGeom>
          <a:solidFill>
            <a:schemeClr val="accent1">
              <a:lumMod val="20000"/>
              <a:lumOff val="80000"/>
              <a:alpha val="59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100" b="1">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31750"/>
            <a:r>
              <a:rPr lang="en-US" dirty="0"/>
              <a:t>Marketing</a:t>
            </a:r>
          </a:p>
        </p:txBody>
      </p:sp>
      <p:sp>
        <p:nvSpPr>
          <p:cNvPr id="144" name="Marvin tracker circle"/>
          <p:cNvSpPr>
            <a:spLocks/>
          </p:cNvSpPr>
          <p:nvPr/>
        </p:nvSpPr>
        <p:spPr>
          <a:xfrm>
            <a:off x="332980" y="1393060"/>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100" dirty="0" smtClean="0">
                <a:solidFill>
                  <a:schemeClr val="bg1"/>
                </a:solidFill>
              </a:rPr>
              <a:t>1</a:t>
            </a:r>
          </a:p>
        </p:txBody>
      </p:sp>
      <p:sp>
        <p:nvSpPr>
          <p:cNvPr id="76" name="TextBox 75"/>
          <p:cNvSpPr txBox="1">
            <a:spLocks/>
          </p:cNvSpPr>
          <p:nvPr/>
        </p:nvSpPr>
        <p:spPr>
          <a:xfrm>
            <a:off x="2068234" y="1317465"/>
            <a:ext cx="6432440"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Integrate CMT into Deep Blue Plus campaign, Promote events and packages, Identify CMT brand influencers/ ambassadors</a:t>
            </a:r>
            <a:endParaRPr lang="en-US" sz="1100" dirty="0"/>
          </a:p>
        </p:txBody>
      </p:sp>
      <p:sp>
        <p:nvSpPr>
          <p:cNvPr id="142" name="TextBox 141"/>
          <p:cNvSpPr txBox="1">
            <a:spLocks/>
          </p:cNvSpPr>
          <p:nvPr/>
        </p:nvSpPr>
        <p:spPr bwMode="gray">
          <a:xfrm>
            <a:off x="436358" y="1699791"/>
            <a:ext cx="8214655" cy="387950"/>
          </a:xfrm>
          <a:prstGeom prst="rect">
            <a:avLst/>
          </a:prstGeom>
          <a:solidFill>
            <a:schemeClr val="accent1">
              <a:lumMod val="20000"/>
              <a:lumOff val="80000"/>
              <a:alpha val="59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bg1"/>
                </a:solidFill>
              </a:defRPr>
            </a:lvl1pPr>
          </a:lstStyle>
          <a:p>
            <a:pPr marL="31750"/>
            <a:r>
              <a:rPr lang="en-US" dirty="0">
                <a:solidFill>
                  <a:schemeClr val="tx2"/>
                </a:solidFill>
              </a:rPr>
              <a:t>Safety and Security</a:t>
            </a:r>
          </a:p>
        </p:txBody>
      </p:sp>
      <p:sp>
        <p:nvSpPr>
          <p:cNvPr id="145" name="Marvin tracker circle"/>
          <p:cNvSpPr>
            <a:spLocks/>
          </p:cNvSpPr>
          <p:nvPr/>
        </p:nvSpPr>
        <p:spPr>
          <a:xfrm>
            <a:off x="332980" y="1800084"/>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100" dirty="0" smtClean="0">
                <a:solidFill>
                  <a:schemeClr val="bg1"/>
                </a:solidFill>
              </a:rPr>
              <a:t>2</a:t>
            </a:r>
          </a:p>
        </p:txBody>
      </p:sp>
      <p:sp>
        <p:nvSpPr>
          <p:cNvPr id="77" name="TextBox 76"/>
          <p:cNvSpPr txBox="1">
            <a:spLocks/>
          </p:cNvSpPr>
          <p:nvPr/>
        </p:nvSpPr>
        <p:spPr>
          <a:xfrm>
            <a:off x="2068234" y="1724489"/>
            <a:ext cx="6432440"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Increased security presence on the beaches (</a:t>
            </a:r>
            <a:r>
              <a:rPr lang="en-US" sz="1100" dirty="0" err="1" smtClean="0"/>
              <a:t>EPWP</a:t>
            </a:r>
            <a:r>
              <a:rPr lang="en-US" sz="1100" dirty="0" smtClean="0"/>
              <a:t>, MK reservists), Online security rating system, International safety accreditation</a:t>
            </a:r>
            <a:endParaRPr lang="en-US" sz="1100" dirty="0"/>
          </a:p>
        </p:txBody>
      </p:sp>
      <p:sp>
        <p:nvSpPr>
          <p:cNvPr id="148" name="TextBox 147"/>
          <p:cNvSpPr txBox="1">
            <a:spLocks/>
          </p:cNvSpPr>
          <p:nvPr/>
        </p:nvSpPr>
        <p:spPr bwMode="gray">
          <a:xfrm>
            <a:off x="436358" y="2513839"/>
            <a:ext cx="8214655" cy="387950"/>
          </a:xfrm>
          <a:prstGeom prst="rect">
            <a:avLst/>
          </a:prstGeom>
          <a:solidFill>
            <a:schemeClr val="accent1">
              <a:lumMod val="20000"/>
              <a:lumOff val="80000"/>
              <a:alpha val="59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bg1"/>
                </a:solidFill>
              </a:defRPr>
            </a:lvl1pPr>
          </a:lstStyle>
          <a:p>
            <a:pPr marL="31750"/>
            <a:r>
              <a:rPr lang="en-US" dirty="0" smtClean="0">
                <a:solidFill>
                  <a:schemeClr val="tx2"/>
                </a:solidFill>
              </a:rPr>
              <a:t>Skills and</a:t>
            </a:r>
          </a:p>
          <a:p>
            <a:pPr marL="31750"/>
            <a:r>
              <a:rPr lang="en-US" dirty="0" smtClean="0">
                <a:solidFill>
                  <a:schemeClr val="tx2"/>
                </a:solidFill>
              </a:rPr>
              <a:t>transformation</a:t>
            </a:r>
            <a:endParaRPr lang="en-US" dirty="0">
              <a:solidFill>
                <a:schemeClr val="tx2"/>
              </a:solidFill>
            </a:endParaRPr>
          </a:p>
        </p:txBody>
      </p:sp>
      <p:sp>
        <p:nvSpPr>
          <p:cNvPr id="149" name="Marvin tracker circle"/>
          <p:cNvSpPr>
            <a:spLocks/>
          </p:cNvSpPr>
          <p:nvPr/>
        </p:nvSpPr>
        <p:spPr>
          <a:xfrm>
            <a:off x="332980" y="2614132"/>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100" dirty="0" smtClean="0">
                <a:solidFill>
                  <a:schemeClr val="bg1"/>
                </a:solidFill>
              </a:rPr>
              <a:t>4</a:t>
            </a:r>
          </a:p>
        </p:txBody>
      </p:sp>
      <p:sp>
        <p:nvSpPr>
          <p:cNvPr id="78" name="TextBox 77"/>
          <p:cNvSpPr txBox="1">
            <a:spLocks/>
          </p:cNvSpPr>
          <p:nvPr/>
        </p:nvSpPr>
        <p:spPr>
          <a:xfrm>
            <a:off x="2068234" y="2538537"/>
            <a:ext cx="6432440"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Maritime Youth Development </a:t>
            </a:r>
            <a:r>
              <a:rPr lang="en-US" sz="1100" dirty="0" err="1" smtClean="0"/>
              <a:t>programmes</a:t>
            </a:r>
            <a:r>
              <a:rPr lang="en-US" sz="1100" dirty="0" smtClean="0"/>
              <a:t>, Customer Service Index, </a:t>
            </a:r>
            <a:r>
              <a:rPr lang="en-US" sz="1100" dirty="0" err="1" smtClean="0"/>
              <a:t>Lilizela</a:t>
            </a:r>
            <a:r>
              <a:rPr lang="en-US" sz="1100" dirty="0" smtClean="0"/>
              <a:t> Awards, School awareness </a:t>
            </a:r>
            <a:r>
              <a:rPr lang="en-US" sz="1100" dirty="0" err="1" smtClean="0"/>
              <a:t>programmes</a:t>
            </a:r>
            <a:r>
              <a:rPr lang="en-US" sz="1100" dirty="0" smtClean="0"/>
              <a:t>, Industry round table, Incentive </a:t>
            </a:r>
            <a:r>
              <a:rPr lang="en-US" sz="1100" dirty="0" err="1" smtClean="0"/>
              <a:t>programmes</a:t>
            </a:r>
            <a:endParaRPr lang="en-US" sz="1100" dirty="0"/>
          </a:p>
        </p:txBody>
      </p:sp>
      <p:sp>
        <p:nvSpPr>
          <p:cNvPr id="150" name="TextBox 149"/>
          <p:cNvSpPr txBox="1">
            <a:spLocks/>
          </p:cNvSpPr>
          <p:nvPr/>
        </p:nvSpPr>
        <p:spPr bwMode="gray">
          <a:xfrm>
            <a:off x="436358" y="2920863"/>
            <a:ext cx="8214655" cy="387950"/>
          </a:xfrm>
          <a:prstGeom prst="rect">
            <a:avLst/>
          </a:prstGeom>
          <a:solidFill>
            <a:schemeClr val="accent1">
              <a:lumMod val="20000"/>
              <a:lumOff val="80000"/>
              <a:alpha val="59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bg1"/>
                </a:solidFill>
              </a:defRPr>
            </a:lvl1pPr>
          </a:lstStyle>
          <a:p>
            <a:pPr marL="31750"/>
            <a:r>
              <a:rPr lang="en-US" dirty="0" smtClean="0">
                <a:solidFill>
                  <a:schemeClr val="tx2"/>
                </a:solidFill>
              </a:rPr>
              <a:t>Sustainability/ </a:t>
            </a:r>
            <a:br>
              <a:rPr lang="en-US" dirty="0" smtClean="0">
                <a:solidFill>
                  <a:schemeClr val="tx2"/>
                </a:solidFill>
              </a:rPr>
            </a:br>
            <a:r>
              <a:rPr lang="en-US" dirty="0" smtClean="0">
                <a:solidFill>
                  <a:schemeClr val="tx2"/>
                </a:solidFill>
              </a:rPr>
              <a:t>spatial Planning</a:t>
            </a:r>
            <a:endParaRPr lang="en-US" dirty="0">
              <a:solidFill>
                <a:schemeClr val="tx2"/>
              </a:solidFill>
            </a:endParaRPr>
          </a:p>
        </p:txBody>
      </p:sp>
      <p:sp>
        <p:nvSpPr>
          <p:cNvPr id="151" name="Marvin tracker circle"/>
          <p:cNvSpPr>
            <a:spLocks/>
          </p:cNvSpPr>
          <p:nvPr/>
        </p:nvSpPr>
        <p:spPr>
          <a:xfrm>
            <a:off x="332980" y="3021156"/>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100" dirty="0" smtClean="0">
                <a:solidFill>
                  <a:schemeClr val="bg1"/>
                </a:solidFill>
              </a:rPr>
              <a:t>5</a:t>
            </a:r>
          </a:p>
        </p:txBody>
      </p:sp>
      <p:sp>
        <p:nvSpPr>
          <p:cNvPr id="80" name="TextBox 79"/>
          <p:cNvSpPr txBox="1">
            <a:spLocks/>
          </p:cNvSpPr>
          <p:nvPr/>
        </p:nvSpPr>
        <p:spPr>
          <a:xfrm>
            <a:off x="2068234" y="2945561"/>
            <a:ext cx="6432440"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Baseline data establishment, Spatial planning and asset registers, Socio-economic and environmental impact assessments</a:t>
            </a:r>
            <a:endParaRPr lang="en-US" sz="1100" dirty="0"/>
          </a:p>
        </p:txBody>
      </p:sp>
      <p:sp>
        <p:nvSpPr>
          <p:cNvPr id="126" name="TextBox 125"/>
          <p:cNvSpPr txBox="1"/>
          <p:nvPr/>
        </p:nvSpPr>
        <p:spPr bwMode="gray">
          <a:xfrm>
            <a:off x="436359" y="5755014"/>
            <a:ext cx="1497766" cy="3570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100" b="1" dirty="0">
                <a:solidFill>
                  <a:schemeClr val="tx2"/>
                </a:solidFill>
              </a:rPr>
              <a:t>Market </a:t>
            </a:r>
            <a:r>
              <a:rPr lang="en-US" sz="1100" b="1" dirty="0" smtClean="0">
                <a:solidFill>
                  <a:schemeClr val="tx2"/>
                </a:solidFill>
              </a:rPr>
              <a:t>segments/themes</a:t>
            </a:r>
            <a:endParaRPr lang="en-US" sz="1100" b="1" dirty="0">
              <a:solidFill>
                <a:schemeClr val="tx2"/>
              </a:solidFill>
            </a:endParaRPr>
          </a:p>
        </p:txBody>
      </p:sp>
      <p:sp>
        <p:nvSpPr>
          <p:cNvPr id="121" name="TextBox 120"/>
          <p:cNvSpPr txBox="1">
            <a:spLocks/>
          </p:cNvSpPr>
          <p:nvPr/>
        </p:nvSpPr>
        <p:spPr bwMode="gray">
          <a:xfrm>
            <a:off x="2089408" y="5769625"/>
            <a:ext cx="1953929" cy="3570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207963"/>
            <a:r>
              <a:rPr lang="en-US" sz="1100" b="1" dirty="0" smtClean="0">
                <a:solidFill>
                  <a:schemeClr val="tx2"/>
                </a:solidFill>
              </a:rPr>
              <a:t>Events</a:t>
            </a:r>
          </a:p>
          <a:p>
            <a:pPr marL="207963"/>
            <a:endParaRPr lang="en-US" sz="1100" b="1" dirty="0">
              <a:solidFill>
                <a:schemeClr val="tx2"/>
              </a:solidFill>
            </a:endParaRPr>
          </a:p>
        </p:txBody>
      </p:sp>
      <p:sp>
        <p:nvSpPr>
          <p:cNvPr id="158" name="Marvin tracker circle"/>
          <p:cNvSpPr>
            <a:spLocks/>
          </p:cNvSpPr>
          <p:nvPr/>
        </p:nvSpPr>
        <p:spPr>
          <a:xfrm>
            <a:off x="2069600" y="5766076"/>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100" dirty="0">
                <a:solidFill>
                  <a:schemeClr val="bg1"/>
                </a:solidFill>
              </a:rPr>
              <a:t>6</a:t>
            </a:r>
            <a:endParaRPr lang="en-US" sz="1100" dirty="0" smtClean="0">
              <a:solidFill>
                <a:schemeClr val="bg1"/>
              </a:solidFill>
            </a:endParaRPr>
          </a:p>
        </p:txBody>
      </p:sp>
      <p:sp>
        <p:nvSpPr>
          <p:cNvPr id="123" name="TextBox 122"/>
          <p:cNvSpPr txBox="1">
            <a:spLocks/>
          </p:cNvSpPr>
          <p:nvPr/>
        </p:nvSpPr>
        <p:spPr bwMode="gray">
          <a:xfrm>
            <a:off x="4322362" y="5784388"/>
            <a:ext cx="1953929" cy="357021"/>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230188"/>
            <a:r>
              <a:rPr lang="en-US" sz="1100" b="1" dirty="0" smtClean="0">
                <a:solidFill>
                  <a:schemeClr val="tx2"/>
                </a:solidFill>
              </a:rPr>
              <a:t>Routes</a:t>
            </a:r>
          </a:p>
          <a:p>
            <a:pPr marL="230188"/>
            <a:endParaRPr lang="en-US" sz="1100" b="1" dirty="0">
              <a:solidFill>
                <a:schemeClr val="tx2"/>
              </a:solidFill>
            </a:endParaRPr>
          </a:p>
        </p:txBody>
      </p:sp>
      <p:sp>
        <p:nvSpPr>
          <p:cNvPr id="159" name="Marvin tracker circle"/>
          <p:cNvSpPr>
            <a:spLocks/>
          </p:cNvSpPr>
          <p:nvPr/>
        </p:nvSpPr>
        <p:spPr>
          <a:xfrm>
            <a:off x="4303888" y="5775313"/>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100" dirty="0">
                <a:solidFill>
                  <a:schemeClr val="bg1"/>
                </a:solidFill>
              </a:rPr>
              <a:t>7</a:t>
            </a:r>
            <a:endParaRPr lang="en-US" sz="1100" dirty="0" smtClean="0">
              <a:solidFill>
                <a:schemeClr val="bg1"/>
              </a:solidFill>
            </a:endParaRPr>
          </a:p>
        </p:txBody>
      </p:sp>
      <p:sp>
        <p:nvSpPr>
          <p:cNvPr id="97" name="TextBox 96"/>
          <p:cNvSpPr txBox="1">
            <a:spLocks/>
          </p:cNvSpPr>
          <p:nvPr/>
        </p:nvSpPr>
        <p:spPr bwMode="gray">
          <a:xfrm>
            <a:off x="6546745" y="5755014"/>
            <a:ext cx="1953929" cy="357021"/>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230188"/>
            <a:r>
              <a:rPr lang="en-US" sz="1100" b="1" dirty="0">
                <a:solidFill>
                  <a:schemeClr val="tx2"/>
                </a:solidFill>
              </a:rPr>
              <a:t>Infrastructural </a:t>
            </a:r>
            <a:r>
              <a:rPr lang="en-US" sz="1100" b="1" dirty="0" smtClean="0">
                <a:solidFill>
                  <a:schemeClr val="tx2"/>
                </a:solidFill>
              </a:rPr>
              <a:t/>
            </a:r>
            <a:br>
              <a:rPr lang="en-US" sz="1100" b="1" dirty="0" smtClean="0">
                <a:solidFill>
                  <a:schemeClr val="tx2"/>
                </a:solidFill>
              </a:rPr>
            </a:br>
            <a:r>
              <a:rPr lang="en-US" sz="1100" b="1" dirty="0" smtClean="0">
                <a:solidFill>
                  <a:schemeClr val="tx2"/>
                </a:solidFill>
              </a:rPr>
              <a:t>developments</a:t>
            </a:r>
            <a:endParaRPr lang="en-US" sz="1100" b="1" dirty="0">
              <a:solidFill>
                <a:schemeClr val="tx2"/>
              </a:solidFill>
            </a:endParaRPr>
          </a:p>
        </p:txBody>
      </p:sp>
      <p:sp>
        <p:nvSpPr>
          <p:cNvPr id="160" name="Marvin tracker circle"/>
          <p:cNvSpPr>
            <a:spLocks/>
          </p:cNvSpPr>
          <p:nvPr/>
        </p:nvSpPr>
        <p:spPr>
          <a:xfrm>
            <a:off x="6556418" y="5751457"/>
            <a:ext cx="187365" cy="187365"/>
          </a:xfrm>
          <a:prstGeom prst="ellipse">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100" dirty="0" err="1">
                <a:solidFill>
                  <a:schemeClr val="bg1"/>
                </a:solidFill>
              </a:rPr>
              <a:t>8</a:t>
            </a:r>
            <a:endParaRPr lang="en-US" sz="1100" dirty="0" smtClean="0">
              <a:solidFill>
                <a:schemeClr val="bg1"/>
              </a:solidFill>
            </a:endParaRPr>
          </a:p>
        </p:txBody>
      </p:sp>
      <p:grpSp>
        <p:nvGrpSpPr>
          <p:cNvPr id="161" name="Group 160"/>
          <p:cNvGrpSpPr>
            <a:grpSpLocks noChangeAspect="1"/>
          </p:cNvGrpSpPr>
          <p:nvPr/>
        </p:nvGrpSpPr>
        <p:grpSpPr>
          <a:xfrm>
            <a:off x="8105477" y="5757275"/>
            <a:ext cx="395197" cy="329184"/>
            <a:chOff x="15938500" y="3508375"/>
            <a:chExt cx="849313" cy="698501"/>
          </a:xfrm>
          <a:solidFill>
            <a:schemeClr val="accent2"/>
          </a:solidFill>
        </p:grpSpPr>
        <p:sp>
          <p:nvSpPr>
            <p:cNvPr id="162" name="Freeform 35"/>
            <p:cNvSpPr>
              <a:spLocks noEditPoints="1"/>
            </p:cNvSpPr>
            <p:nvPr/>
          </p:nvSpPr>
          <p:spPr bwMode="auto">
            <a:xfrm>
              <a:off x="15938500" y="3843338"/>
              <a:ext cx="849313" cy="363538"/>
            </a:xfrm>
            <a:custGeom>
              <a:avLst/>
              <a:gdLst>
                <a:gd name="T0" fmla="*/ 87 w 535"/>
                <a:gd name="T1" fmla="*/ 198 h 229"/>
                <a:gd name="T2" fmla="*/ 95 w 535"/>
                <a:gd name="T3" fmla="*/ 222 h 229"/>
                <a:gd name="T4" fmla="*/ 106 w 535"/>
                <a:gd name="T5" fmla="*/ 175 h 229"/>
                <a:gd name="T6" fmla="*/ 127 w 535"/>
                <a:gd name="T7" fmla="*/ 150 h 229"/>
                <a:gd name="T8" fmla="*/ 177 w 535"/>
                <a:gd name="T9" fmla="*/ 117 h 229"/>
                <a:gd name="T10" fmla="*/ 220 w 535"/>
                <a:gd name="T11" fmla="*/ 68 h 229"/>
                <a:gd name="T12" fmla="*/ 201 w 535"/>
                <a:gd name="T13" fmla="*/ 97 h 229"/>
                <a:gd name="T14" fmla="*/ 220 w 535"/>
                <a:gd name="T15" fmla="*/ 68 h 229"/>
                <a:gd name="T16" fmla="*/ 268 w 535"/>
                <a:gd name="T17" fmla="*/ 42 h 229"/>
                <a:gd name="T18" fmla="*/ 257 w 535"/>
                <a:gd name="T19" fmla="*/ 58 h 229"/>
                <a:gd name="T20" fmla="*/ 301 w 535"/>
                <a:gd name="T21" fmla="*/ 36 h 229"/>
                <a:gd name="T22" fmla="*/ 349 w 535"/>
                <a:gd name="T23" fmla="*/ 19 h 229"/>
                <a:gd name="T24" fmla="*/ 330 w 535"/>
                <a:gd name="T25" fmla="*/ 27 h 229"/>
                <a:gd name="T26" fmla="*/ 349 w 535"/>
                <a:gd name="T27" fmla="*/ 19 h 229"/>
                <a:gd name="T28" fmla="*/ 462 w 535"/>
                <a:gd name="T29" fmla="*/ 1 h 229"/>
                <a:gd name="T30" fmla="*/ 507 w 535"/>
                <a:gd name="T31" fmla="*/ 6 h 229"/>
                <a:gd name="T32" fmla="*/ 532 w 535"/>
                <a:gd name="T33" fmla="*/ 10 h 229"/>
                <a:gd name="T34" fmla="*/ 490 w 535"/>
                <a:gd name="T35" fmla="*/ 9 h 229"/>
                <a:gd name="T36" fmla="*/ 411 w 535"/>
                <a:gd name="T37" fmla="*/ 19 h 229"/>
                <a:gd name="T38" fmla="*/ 347 w 535"/>
                <a:gd name="T39" fmla="*/ 44 h 229"/>
                <a:gd name="T40" fmla="*/ 294 w 535"/>
                <a:gd name="T41" fmla="*/ 79 h 229"/>
                <a:gd name="T42" fmla="*/ 253 w 535"/>
                <a:gd name="T43" fmla="*/ 119 h 229"/>
                <a:gd name="T44" fmla="*/ 223 w 535"/>
                <a:gd name="T45" fmla="*/ 160 h 229"/>
                <a:gd name="T46" fmla="*/ 202 w 535"/>
                <a:gd name="T47" fmla="*/ 195 h 229"/>
                <a:gd name="T48" fmla="*/ 190 w 535"/>
                <a:gd name="T49" fmla="*/ 220 h 229"/>
                <a:gd name="T50" fmla="*/ 187 w 535"/>
                <a:gd name="T51" fmla="*/ 229 h 229"/>
                <a:gd name="T52" fmla="*/ 39 w 535"/>
                <a:gd name="T53" fmla="*/ 179 h 229"/>
                <a:gd name="T54" fmla="*/ 122 w 535"/>
                <a:gd name="T55" fmla="*/ 101 h 229"/>
                <a:gd name="T56" fmla="*/ 206 w 535"/>
                <a:gd name="T57" fmla="*/ 50 h 229"/>
                <a:gd name="T58" fmla="*/ 289 w 535"/>
                <a:gd name="T59" fmla="*/ 18 h 229"/>
                <a:gd name="T60" fmla="*/ 366 w 535"/>
                <a:gd name="T61" fmla="*/ 4 h 229"/>
                <a:gd name="T62" fmla="*/ 433 w 535"/>
                <a:gd name="T63" fmla="*/ 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5" h="229">
                  <a:moveTo>
                    <a:pt x="106" y="175"/>
                  </a:moveTo>
                  <a:lnTo>
                    <a:pt x="87" y="198"/>
                  </a:lnTo>
                  <a:lnTo>
                    <a:pt x="74" y="218"/>
                  </a:lnTo>
                  <a:lnTo>
                    <a:pt x="95" y="222"/>
                  </a:lnTo>
                  <a:lnTo>
                    <a:pt x="123" y="179"/>
                  </a:lnTo>
                  <a:lnTo>
                    <a:pt x="106" y="175"/>
                  </a:lnTo>
                  <a:close/>
                  <a:moveTo>
                    <a:pt x="162" y="113"/>
                  </a:moveTo>
                  <a:lnTo>
                    <a:pt x="127" y="150"/>
                  </a:lnTo>
                  <a:lnTo>
                    <a:pt x="144" y="154"/>
                  </a:lnTo>
                  <a:lnTo>
                    <a:pt x="177" y="117"/>
                  </a:lnTo>
                  <a:lnTo>
                    <a:pt x="162" y="113"/>
                  </a:lnTo>
                  <a:close/>
                  <a:moveTo>
                    <a:pt x="220" y="68"/>
                  </a:moveTo>
                  <a:lnTo>
                    <a:pt x="186" y="94"/>
                  </a:lnTo>
                  <a:lnTo>
                    <a:pt x="201" y="97"/>
                  </a:lnTo>
                  <a:lnTo>
                    <a:pt x="232" y="73"/>
                  </a:lnTo>
                  <a:lnTo>
                    <a:pt x="220" y="68"/>
                  </a:lnTo>
                  <a:close/>
                  <a:moveTo>
                    <a:pt x="291" y="33"/>
                  </a:moveTo>
                  <a:lnTo>
                    <a:pt x="268" y="42"/>
                  </a:lnTo>
                  <a:lnTo>
                    <a:pt x="247" y="52"/>
                  </a:lnTo>
                  <a:lnTo>
                    <a:pt x="257" y="58"/>
                  </a:lnTo>
                  <a:lnTo>
                    <a:pt x="279" y="46"/>
                  </a:lnTo>
                  <a:lnTo>
                    <a:pt x="301" y="36"/>
                  </a:lnTo>
                  <a:lnTo>
                    <a:pt x="291" y="33"/>
                  </a:lnTo>
                  <a:close/>
                  <a:moveTo>
                    <a:pt x="349" y="19"/>
                  </a:moveTo>
                  <a:lnTo>
                    <a:pt x="323" y="23"/>
                  </a:lnTo>
                  <a:lnTo>
                    <a:pt x="330" y="27"/>
                  </a:lnTo>
                  <a:lnTo>
                    <a:pt x="353" y="22"/>
                  </a:lnTo>
                  <a:lnTo>
                    <a:pt x="349" y="19"/>
                  </a:lnTo>
                  <a:close/>
                  <a:moveTo>
                    <a:pt x="433" y="0"/>
                  </a:moveTo>
                  <a:lnTo>
                    <a:pt x="462" y="1"/>
                  </a:lnTo>
                  <a:lnTo>
                    <a:pt x="487" y="4"/>
                  </a:lnTo>
                  <a:lnTo>
                    <a:pt x="507" y="6"/>
                  </a:lnTo>
                  <a:lnTo>
                    <a:pt x="523" y="9"/>
                  </a:lnTo>
                  <a:lnTo>
                    <a:pt x="532" y="10"/>
                  </a:lnTo>
                  <a:lnTo>
                    <a:pt x="535" y="11"/>
                  </a:lnTo>
                  <a:lnTo>
                    <a:pt x="490" y="9"/>
                  </a:lnTo>
                  <a:lnTo>
                    <a:pt x="449" y="11"/>
                  </a:lnTo>
                  <a:lnTo>
                    <a:pt x="411" y="19"/>
                  </a:lnTo>
                  <a:lnTo>
                    <a:pt x="377" y="30"/>
                  </a:lnTo>
                  <a:lnTo>
                    <a:pt x="347" y="44"/>
                  </a:lnTo>
                  <a:lnTo>
                    <a:pt x="318" y="60"/>
                  </a:lnTo>
                  <a:lnTo>
                    <a:pt x="294" y="79"/>
                  </a:lnTo>
                  <a:lnTo>
                    <a:pt x="272" y="100"/>
                  </a:lnTo>
                  <a:lnTo>
                    <a:pt x="253" y="119"/>
                  </a:lnTo>
                  <a:lnTo>
                    <a:pt x="236" y="141"/>
                  </a:lnTo>
                  <a:lnTo>
                    <a:pt x="223" y="160"/>
                  </a:lnTo>
                  <a:lnTo>
                    <a:pt x="211" y="179"/>
                  </a:lnTo>
                  <a:lnTo>
                    <a:pt x="202" y="195"/>
                  </a:lnTo>
                  <a:lnTo>
                    <a:pt x="195" y="209"/>
                  </a:lnTo>
                  <a:lnTo>
                    <a:pt x="190" y="220"/>
                  </a:lnTo>
                  <a:lnTo>
                    <a:pt x="187" y="226"/>
                  </a:lnTo>
                  <a:lnTo>
                    <a:pt x="187" y="229"/>
                  </a:lnTo>
                  <a:lnTo>
                    <a:pt x="0" y="229"/>
                  </a:lnTo>
                  <a:lnTo>
                    <a:pt x="39" y="179"/>
                  </a:lnTo>
                  <a:lnTo>
                    <a:pt x="79" y="137"/>
                  </a:lnTo>
                  <a:lnTo>
                    <a:pt x="122" y="101"/>
                  </a:lnTo>
                  <a:lnTo>
                    <a:pt x="164" y="72"/>
                  </a:lnTo>
                  <a:lnTo>
                    <a:pt x="206" y="50"/>
                  </a:lnTo>
                  <a:lnTo>
                    <a:pt x="248" y="31"/>
                  </a:lnTo>
                  <a:lnTo>
                    <a:pt x="289" y="18"/>
                  </a:lnTo>
                  <a:lnTo>
                    <a:pt x="328" y="9"/>
                  </a:lnTo>
                  <a:lnTo>
                    <a:pt x="366" y="4"/>
                  </a:lnTo>
                  <a:lnTo>
                    <a:pt x="402" y="1"/>
                  </a:lnTo>
                  <a:lnTo>
                    <a:pt x="4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sp>
          <p:nvSpPr>
            <p:cNvPr id="163" name="Freeform 36"/>
            <p:cNvSpPr>
              <a:spLocks/>
            </p:cNvSpPr>
            <p:nvPr/>
          </p:nvSpPr>
          <p:spPr bwMode="auto">
            <a:xfrm>
              <a:off x="16252825" y="3508375"/>
              <a:ext cx="284163" cy="608013"/>
            </a:xfrm>
            <a:custGeom>
              <a:avLst/>
              <a:gdLst>
                <a:gd name="T0" fmla="*/ 114 w 179"/>
                <a:gd name="T1" fmla="*/ 0 h 383"/>
                <a:gd name="T2" fmla="*/ 179 w 179"/>
                <a:gd name="T3" fmla="*/ 383 h 383"/>
                <a:gd name="T4" fmla="*/ 141 w 179"/>
                <a:gd name="T5" fmla="*/ 383 h 383"/>
                <a:gd name="T6" fmla="*/ 109 w 179"/>
                <a:gd name="T7" fmla="*/ 35 h 383"/>
                <a:gd name="T8" fmla="*/ 41 w 179"/>
                <a:gd name="T9" fmla="*/ 257 h 383"/>
                <a:gd name="T10" fmla="*/ 0 w 179"/>
                <a:gd name="T11" fmla="*/ 271 h 383"/>
                <a:gd name="T12" fmla="*/ 114 w 179"/>
                <a:gd name="T13" fmla="*/ 0 h 383"/>
              </a:gdLst>
              <a:ahLst/>
              <a:cxnLst>
                <a:cxn ang="0">
                  <a:pos x="T0" y="T1"/>
                </a:cxn>
                <a:cxn ang="0">
                  <a:pos x="T2" y="T3"/>
                </a:cxn>
                <a:cxn ang="0">
                  <a:pos x="T4" y="T5"/>
                </a:cxn>
                <a:cxn ang="0">
                  <a:pos x="T6" y="T7"/>
                </a:cxn>
                <a:cxn ang="0">
                  <a:pos x="T8" y="T9"/>
                </a:cxn>
                <a:cxn ang="0">
                  <a:pos x="T10" y="T11"/>
                </a:cxn>
                <a:cxn ang="0">
                  <a:pos x="T12" y="T13"/>
                </a:cxn>
              </a:cxnLst>
              <a:rect l="0" t="0" r="r" b="b"/>
              <a:pathLst>
                <a:path w="179" h="383">
                  <a:moveTo>
                    <a:pt x="114" y="0"/>
                  </a:moveTo>
                  <a:lnTo>
                    <a:pt x="179" y="383"/>
                  </a:lnTo>
                  <a:lnTo>
                    <a:pt x="141" y="383"/>
                  </a:lnTo>
                  <a:lnTo>
                    <a:pt x="109" y="35"/>
                  </a:lnTo>
                  <a:lnTo>
                    <a:pt x="41" y="257"/>
                  </a:lnTo>
                  <a:lnTo>
                    <a:pt x="0" y="271"/>
                  </a:lnTo>
                  <a:lnTo>
                    <a:pt x="1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sp>
          <p:nvSpPr>
            <p:cNvPr id="164" name="Freeform 37"/>
            <p:cNvSpPr>
              <a:spLocks/>
            </p:cNvSpPr>
            <p:nvPr/>
          </p:nvSpPr>
          <p:spPr bwMode="auto">
            <a:xfrm>
              <a:off x="16592550" y="3619500"/>
              <a:ext cx="182563" cy="476250"/>
            </a:xfrm>
            <a:custGeom>
              <a:avLst/>
              <a:gdLst>
                <a:gd name="T0" fmla="*/ 65 w 115"/>
                <a:gd name="T1" fmla="*/ 0 h 300"/>
                <a:gd name="T2" fmla="*/ 115 w 115"/>
                <a:gd name="T3" fmla="*/ 300 h 300"/>
                <a:gd name="T4" fmla="*/ 85 w 115"/>
                <a:gd name="T5" fmla="*/ 300 h 300"/>
                <a:gd name="T6" fmla="*/ 60 w 115"/>
                <a:gd name="T7" fmla="*/ 27 h 300"/>
                <a:gd name="T8" fmla="*/ 21 w 115"/>
                <a:gd name="T9" fmla="*/ 151 h 300"/>
                <a:gd name="T10" fmla="*/ 0 w 115"/>
                <a:gd name="T11" fmla="*/ 151 h 300"/>
                <a:gd name="T12" fmla="*/ 65 w 115"/>
                <a:gd name="T13" fmla="*/ 0 h 300"/>
              </a:gdLst>
              <a:ahLst/>
              <a:cxnLst>
                <a:cxn ang="0">
                  <a:pos x="T0" y="T1"/>
                </a:cxn>
                <a:cxn ang="0">
                  <a:pos x="T2" y="T3"/>
                </a:cxn>
                <a:cxn ang="0">
                  <a:pos x="T4" y="T5"/>
                </a:cxn>
                <a:cxn ang="0">
                  <a:pos x="T6" y="T7"/>
                </a:cxn>
                <a:cxn ang="0">
                  <a:pos x="T8" y="T9"/>
                </a:cxn>
                <a:cxn ang="0">
                  <a:pos x="T10" y="T11"/>
                </a:cxn>
                <a:cxn ang="0">
                  <a:pos x="T12" y="T13"/>
                </a:cxn>
              </a:cxnLst>
              <a:rect l="0" t="0" r="r" b="b"/>
              <a:pathLst>
                <a:path w="115" h="300">
                  <a:moveTo>
                    <a:pt x="65" y="0"/>
                  </a:moveTo>
                  <a:lnTo>
                    <a:pt x="115" y="300"/>
                  </a:lnTo>
                  <a:lnTo>
                    <a:pt x="85" y="300"/>
                  </a:lnTo>
                  <a:lnTo>
                    <a:pt x="60" y="27"/>
                  </a:lnTo>
                  <a:lnTo>
                    <a:pt x="21" y="151"/>
                  </a:lnTo>
                  <a:lnTo>
                    <a:pt x="0" y="151"/>
                  </a:lnTo>
                  <a:lnTo>
                    <a:pt x="6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p>
          </p:txBody>
        </p:sp>
      </p:grpSp>
      <p:sp>
        <p:nvSpPr>
          <p:cNvPr id="165" name="Freeform 2853"/>
          <p:cNvSpPr>
            <a:spLocks noChangeAspect="1" noEditPoints="1"/>
          </p:cNvSpPr>
          <p:nvPr/>
        </p:nvSpPr>
        <p:spPr bwMode="auto">
          <a:xfrm>
            <a:off x="5994980" y="5757275"/>
            <a:ext cx="281311" cy="329184"/>
          </a:xfrm>
          <a:custGeom>
            <a:avLst/>
            <a:gdLst>
              <a:gd name="T0" fmla="*/ 600 w 650"/>
              <a:gd name="T1" fmla="*/ 674 h 751"/>
              <a:gd name="T2" fmla="*/ 423 w 650"/>
              <a:gd name="T3" fmla="*/ 234 h 751"/>
              <a:gd name="T4" fmla="*/ 401 w 650"/>
              <a:gd name="T5" fmla="*/ 193 h 751"/>
              <a:gd name="T6" fmla="*/ 0 w 650"/>
              <a:gd name="T7" fmla="*/ 751 h 751"/>
              <a:gd name="T8" fmla="*/ 568 w 650"/>
              <a:gd name="T9" fmla="*/ 260 h 751"/>
              <a:gd name="T10" fmla="*/ 299 w 650"/>
              <a:gd name="T11" fmla="*/ 223 h 751"/>
              <a:gd name="T12" fmla="*/ 591 w 650"/>
              <a:gd name="T13" fmla="*/ 52 h 751"/>
              <a:gd name="T14" fmla="*/ 501 w 650"/>
              <a:gd name="T15" fmla="*/ 0 h 751"/>
              <a:gd name="T16" fmla="*/ 411 w 650"/>
              <a:gd name="T17" fmla="*/ 52 h 751"/>
              <a:gd name="T18" fmla="*/ 406 w 650"/>
              <a:gd name="T19" fmla="*/ 148 h 751"/>
              <a:gd name="T20" fmla="*/ 434 w 650"/>
              <a:gd name="T21" fmla="*/ 206 h 751"/>
              <a:gd name="T22" fmla="*/ 476 w 650"/>
              <a:gd name="T23" fmla="*/ 298 h 751"/>
              <a:gd name="T24" fmla="*/ 507 w 650"/>
              <a:gd name="T25" fmla="*/ 343 h 751"/>
              <a:gd name="T26" fmla="*/ 547 w 650"/>
              <a:gd name="T27" fmla="*/ 250 h 751"/>
              <a:gd name="T28" fmla="*/ 582 w 650"/>
              <a:gd name="T29" fmla="*/ 175 h 751"/>
              <a:gd name="T30" fmla="*/ 606 w 650"/>
              <a:gd name="T31" fmla="*/ 105 h 751"/>
              <a:gd name="T32" fmla="*/ 456 w 650"/>
              <a:gd name="T33" fmla="*/ 138 h 751"/>
              <a:gd name="T34" fmla="*/ 456 w 650"/>
              <a:gd name="T35" fmla="*/ 71 h 751"/>
              <a:gd name="T36" fmla="*/ 519 w 650"/>
              <a:gd name="T37" fmla="*/ 52 h 751"/>
              <a:gd name="T38" fmla="*/ 556 w 650"/>
              <a:gd name="T39" fmla="*/ 105 h 751"/>
              <a:gd name="T40" fmla="*/ 519 w 650"/>
              <a:gd name="T41" fmla="*/ 157 h 751"/>
              <a:gd name="T42" fmla="*/ 115 w 650"/>
              <a:gd name="T43" fmla="*/ 451 h 751"/>
              <a:gd name="T44" fmla="*/ 94 w 650"/>
              <a:gd name="T45" fmla="*/ 472 h 751"/>
              <a:gd name="T46" fmla="*/ 74 w 650"/>
              <a:gd name="T47" fmla="*/ 451 h 751"/>
              <a:gd name="T48" fmla="*/ 94 w 650"/>
              <a:gd name="T49" fmla="*/ 431 h 751"/>
              <a:gd name="T50" fmla="*/ 138 w 650"/>
              <a:gd name="T51" fmla="*/ 409 h 751"/>
              <a:gd name="T52" fmla="*/ 151 w 650"/>
              <a:gd name="T53" fmla="*/ 433 h 751"/>
              <a:gd name="T54" fmla="*/ 174 w 650"/>
              <a:gd name="T55" fmla="*/ 420 h 751"/>
              <a:gd name="T56" fmla="*/ 161 w 650"/>
              <a:gd name="T57" fmla="*/ 396 h 751"/>
              <a:gd name="T58" fmla="*/ 211 w 650"/>
              <a:gd name="T59" fmla="*/ 424 h 751"/>
              <a:gd name="T60" fmla="*/ 211 w 650"/>
              <a:gd name="T61" fmla="*/ 447 h 751"/>
              <a:gd name="T62" fmla="*/ 234 w 650"/>
              <a:gd name="T63" fmla="*/ 447 h 751"/>
              <a:gd name="T64" fmla="*/ 234 w 650"/>
              <a:gd name="T65" fmla="*/ 424 h 751"/>
              <a:gd name="T66" fmla="*/ 211 w 650"/>
              <a:gd name="T67" fmla="*/ 424 h 751"/>
              <a:gd name="T68" fmla="*/ 242 w 650"/>
              <a:gd name="T69" fmla="*/ 508 h 751"/>
              <a:gd name="T70" fmla="*/ 265 w 650"/>
              <a:gd name="T71" fmla="*/ 520 h 751"/>
              <a:gd name="T72" fmla="*/ 278 w 650"/>
              <a:gd name="T73" fmla="*/ 497 h 751"/>
              <a:gd name="T74" fmla="*/ 254 w 650"/>
              <a:gd name="T75" fmla="*/ 485 h 751"/>
              <a:gd name="T76" fmla="*/ 373 w 650"/>
              <a:gd name="T77" fmla="*/ 513 h 751"/>
              <a:gd name="T78" fmla="*/ 393 w 650"/>
              <a:gd name="T79" fmla="*/ 532 h 751"/>
              <a:gd name="T80" fmla="*/ 414 w 650"/>
              <a:gd name="T81" fmla="*/ 513 h 751"/>
              <a:gd name="T82" fmla="*/ 393 w 650"/>
              <a:gd name="T83" fmla="*/ 492 h 751"/>
              <a:gd name="T84" fmla="*/ 444 w 650"/>
              <a:gd name="T85" fmla="*/ 486 h 751"/>
              <a:gd name="T86" fmla="*/ 457 w 650"/>
              <a:gd name="T87" fmla="*/ 510 h 751"/>
              <a:gd name="T88" fmla="*/ 480 w 650"/>
              <a:gd name="T89" fmla="*/ 497 h 751"/>
              <a:gd name="T90" fmla="*/ 467 w 650"/>
              <a:gd name="T91" fmla="*/ 473 h 751"/>
              <a:gd name="T92" fmla="*/ 485 w 650"/>
              <a:gd name="T93" fmla="*/ 413 h 751"/>
              <a:gd name="T94" fmla="*/ 485 w 650"/>
              <a:gd name="T95" fmla="*/ 437 h 751"/>
              <a:gd name="T96" fmla="*/ 509 w 650"/>
              <a:gd name="T97" fmla="*/ 436 h 751"/>
              <a:gd name="T98" fmla="*/ 509 w 650"/>
              <a:gd name="T99" fmla="*/ 413 h 751"/>
              <a:gd name="T100" fmla="*/ 485 w 650"/>
              <a:gd name="T101" fmla="*/ 413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0" h="751">
                <a:moveTo>
                  <a:pt x="568" y="260"/>
                </a:moveTo>
                <a:lnTo>
                  <a:pt x="548" y="307"/>
                </a:lnTo>
                <a:lnTo>
                  <a:pt x="600" y="328"/>
                </a:lnTo>
                <a:lnTo>
                  <a:pt x="600" y="674"/>
                </a:lnTo>
                <a:lnTo>
                  <a:pt x="351" y="569"/>
                </a:lnTo>
                <a:lnTo>
                  <a:pt x="351" y="223"/>
                </a:lnTo>
                <a:lnTo>
                  <a:pt x="433" y="257"/>
                </a:lnTo>
                <a:lnTo>
                  <a:pt x="423" y="234"/>
                </a:lnTo>
                <a:lnTo>
                  <a:pt x="414" y="215"/>
                </a:lnTo>
                <a:lnTo>
                  <a:pt x="405" y="200"/>
                </a:lnTo>
                <a:lnTo>
                  <a:pt x="405" y="200"/>
                </a:lnTo>
                <a:lnTo>
                  <a:pt x="401" y="193"/>
                </a:lnTo>
                <a:lnTo>
                  <a:pt x="397" y="187"/>
                </a:lnTo>
                <a:lnTo>
                  <a:pt x="325" y="157"/>
                </a:lnTo>
                <a:lnTo>
                  <a:pt x="0" y="295"/>
                </a:lnTo>
                <a:lnTo>
                  <a:pt x="0" y="751"/>
                </a:lnTo>
                <a:lnTo>
                  <a:pt x="325" y="613"/>
                </a:lnTo>
                <a:lnTo>
                  <a:pt x="650" y="751"/>
                </a:lnTo>
                <a:lnTo>
                  <a:pt x="650" y="295"/>
                </a:lnTo>
                <a:lnTo>
                  <a:pt x="568" y="260"/>
                </a:lnTo>
                <a:close/>
                <a:moveTo>
                  <a:pt x="299" y="569"/>
                </a:moveTo>
                <a:lnTo>
                  <a:pt x="50" y="674"/>
                </a:lnTo>
                <a:lnTo>
                  <a:pt x="50" y="328"/>
                </a:lnTo>
                <a:lnTo>
                  <a:pt x="299" y="223"/>
                </a:lnTo>
                <a:lnTo>
                  <a:pt x="299" y="569"/>
                </a:lnTo>
                <a:close/>
                <a:moveTo>
                  <a:pt x="606" y="105"/>
                </a:moveTo>
                <a:lnTo>
                  <a:pt x="602" y="77"/>
                </a:lnTo>
                <a:lnTo>
                  <a:pt x="591" y="52"/>
                </a:lnTo>
                <a:lnTo>
                  <a:pt x="575" y="30"/>
                </a:lnTo>
                <a:lnTo>
                  <a:pt x="553" y="15"/>
                </a:lnTo>
                <a:lnTo>
                  <a:pt x="529" y="3"/>
                </a:lnTo>
                <a:lnTo>
                  <a:pt x="501" y="0"/>
                </a:lnTo>
                <a:lnTo>
                  <a:pt x="473" y="3"/>
                </a:lnTo>
                <a:lnTo>
                  <a:pt x="448" y="15"/>
                </a:lnTo>
                <a:lnTo>
                  <a:pt x="426" y="30"/>
                </a:lnTo>
                <a:lnTo>
                  <a:pt x="411" y="52"/>
                </a:lnTo>
                <a:lnTo>
                  <a:pt x="399" y="77"/>
                </a:lnTo>
                <a:lnTo>
                  <a:pt x="397" y="105"/>
                </a:lnTo>
                <a:lnTo>
                  <a:pt x="399" y="127"/>
                </a:lnTo>
                <a:lnTo>
                  <a:pt x="406" y="148"/>
                </a:lnTo>
                <a:lnTo>
                  <a:pt x="416" y="168"/>
                </a:lnTo>
                <a:lnTo>
                  <a:pt x="420" y="175"/>
                </a:lnTo>
                <a:lnTo>
                  <a:pt x="426" y="188"/>
                </a:lnTo>
                <a:lnTo>
                  <a:pt x="434" y="206"/>
                </a:lnTo>
                <a:lnTo>
                  <a:pt x="444" y="227"/>
                </a:lnTo>
                <a:lnTo>
                  <a:pt x="455" y="250"/>
                </a:lnTo>
                <a:lnTo>
                  <a:pt x="466" y="274"/>
                </a:lnTo>
                <a:lnTo>
                  <a:pt x="476" y="298"/>
                </a:lnTo>
                <a:lnTo>
                  <a:pt x="487" y="323"/>
                </a:lnTo>
                <a:lnTo>
                  <a:pt x="494" y="343"/>
                </a:lnTo>
                <a:lnTo>
                  <a:pt x="501" y="363"/>
                </a:lnTo>
                <a:lnTo>
                  <a:pt x="507" y="343"/>
                </a:lnTo>
                <a:lnTo>
                  <a:pt x="515" y="323"/>
                </a:lnTo>
                <a:lnTo>
                  <a:pt x="525" y="298"/>
                </a:lnTo>
                <a:lnTo>
                  <a:pt x="535" y="274"/>
                </a:lnTo>
                <a:lnTo>
                  <a:pt x="547" y="250"/>
                </a:lnTo>
                <a:lnTo>
                  <a:pt x="557" y="227"/>
                </a:lnTo>
                <a:lnTo>
                  <a:pt x="568" y="206"/>
                </a:lnTo>
                <a:lnTo>
                  <a:pt x="575" y="188"/>
                </a:lnTo>
                <a:lnTo>
                  <a:pt x="582" y="175"/>
                </a:lnTo>
                <a:lnTo>
                  <a:pt x="586" y="168"/>
                </a:lnTo>
                <a:lnTo>
                  <a:pt x="596" y="148"/>
                </a:lnTo>
                <a:lnTo>
                  <a:pt x="602" y="127"/>
                </a:lnTo>
                <a:lnTo>
                  <a:pt x="606" y="105"/>
                </a:lnTo>
                <a:close/>
                <a:moveTo>
                  <a:pt x="501" y="160"/>
                </a:moveTo>
                <a:lnTo>
                  <a:pt x="483" y="157"/>
                </a:lnTo>
                <a:lnTo>
                  <a:pt x="467" y="150"/>
                </a:lnTo>
                <a:lnTo>
                  <a:pt x="456" y="138"/>
                </a:lnTo>
                <a:lnTo>
                  <a:pt x="448" y="123"/>
                </a:lnTo>
                <a:lnTo>
                  <a:pt x="446" y="105"/>
                </a:lnTo>
                <a:lnTo>
                  <a:pt x="448" y="87"/>
                </a:lnTo>
                <a:lnTo>
                  <a:pt x="456" y="71"/>
                </a:lnTo>
                <a:lnTo>
                  <a:pt x="467" y="60"/>
                </a:lnTo>
                <a:lnTo>
                  <a:pt x="483" y="52"/>
                </a:lnTo>
                <a:lnTo>
                  <a:pt x="501" y="50"/>
                </a:lnTo>
                <a:lnTo>
                  <a:pt x="519" y="52"/>
                </a:lnTo>
                <a:lnTo>
                  <a:pt x="534" y="60"/>
                </a:lnTo>
                <a:lnTo>
                  <a:pt x="546" y="71"/>
                </a:lnTo>
                <a:lnTo>
                  <a:pt x="553" y="87"/>
                </a:lnTo>
                <a:lnTo>
                  <a:pt x="556" y="105"/>
                </a:lnTo>
                <a:lnTo>
                  <a:pt x="553" y="123"/>
                </a:lnTo>
                <a:lnTo>
                  <a:pt x="546" y="138"/>
                </a:lnTo>
                <a:lnTo>
                  <a:pt x="534" y="150"/>
                </a:lnTo>
                <a:lnTo>
                  <a:pt x="519" y="157"/>
                </a:lnTo>
                <a:lnTo>
                  <a:pt x="501" y="160"/>
                </a:lnTo>
                <a:close/>
                <a:moveTo>
                  <a:pt x="106" y="440"/>
                </a:moveTo>
                <a:lnTo>
                  <a:pt x="112" y="446"/>
                </a:lnTo>
                <a:lnTo>
                  <a:pt x="115" y="451"/>
                </a:lnTo>
                <a:lnTo>
                  <a:pt x="112" y="456"/>
                </a:lnTo>
                <a:lnTo>
                  <a:pt x="106" y="463"/>
                </a:lnTo>
                <a:lnTo>
                  <a:pt x="99" y="469"/>
                </a:lnTo>
                <a:lnTo>
                  <a:pt x="94" y="472"/>
                </a:lnTo>
                <a:lnTo>
                  <a:pt x="89" y="469"/>
                </a:lnTo>
                <a:lnTo>
                  <a:pt x="83" y="463"/>
                </a:lnTo>
                <a:lnTo>
                  <a:pt x="76" y="456"/>
                </a:lnTo>
                <a:lnTo>
                  <a:pt x="74" y="451"/>
                </a:lnTo>
                <a:lnTo>
                  <a:pt x="76" y="446"/>
                </a:lnTo>
                <a:lnTo>
                  <a:pt x="83" y="440"/>
                </a:lnTo>
                <a:lnTo>
                  <a:pt x="89" y="433"/>
                </a:lnTo>
                <a:lnTo>
                  <a:pt x="94" y="431"/>
                </a:lnTo>
                <a:lnTo>
                  <a:pt x="99" y="433"/>
                </a:lnTo>
                <a:lnTo>
                  <a:pt x="106" y="440"/>
                </a:lnTo>
                <a:close/>
                <a:moveTo>
                  <a:pt x="144" y="402"/>
                </a:moveTo>
                <a:lnTo>
                  <a:pt x="138" y="409"/>
                </a:lnTo>
                <a:lnTo>
                  <a:pt x="136" y="415"/>
                </a:lnTo>
                <a:lnTo>
                  <a:pt x="138" y="420"/>
                </a:lnTo>
                <a:lnTo>
                  <a:pt x="144" y="427"/>
                </a:lnTo>
                <a:lnTo>
                  <a:pt x="151" y="433"/>
                </a:lnTo>
                <a:lnTo>
                  <a:pt x="156" y="434"/>
                </a:lnTo>
                <a:lnTo>
                  <a:pt x="161" y="433"/>
                </a:lnTo>
                <a:lnTo>
                  <a:pt x="167" y="427"/>
                </a:lnTo>
                <a:lnTo>
                  <a:pt x="174" y="420"/>
                </a:lnTo>
                <a:lnTo>
                  <a:pt x="176" y="415"/>
                </a:lnTo>
                <a:lnTo>
                  <a:pt x="174" y="409"/>
                </a:lnTo>
                <a:lnTo>
                  <a:pt x="167" y="402"/>
                </a:lnTo>
                <a:lnTo>
                  <a:pt x="161" y="396"/>
                </a:lnTo>
                <a:lnTo>
                  <a:pt x="156" y="395"/>
                </a:lnTo>
                <a:lnTo>
                  <a:pt x="151" y="396"/>
                </a:lnTo>
                <a:lnTo>
                  <a:pt x="144" y="402"/>
                </a:lnTo>
                <a:close/>
                <a:moveTo>
                  <a:pt x="211" y="424"/>
                </a:moveTo>
                <a:lnTo>
                  <a:pt x="204" y="431"/>
                </a:lnTo>
                <a:lnTo>
                  <a:pt x="203" y="436"/>
                </a:lnTo>
                <a:lnTo>
                  <a:pt x="204" y="441"/>
                </a:lnTo>
                <a:lnTo>
                  <a:pt x="211" y="447"/>
                </a:lnTo>
                <a:lnTo>
                  <a:pt x="217" y="454"/>
                </a:lnTo>
                <a:lnTo>
                  <a:pt x="222" y="456"/>
                </a:lnTo>
                <a:lnTo>
                  <a:pt x="228" y="454"/>
                </a:lnTo>
                <a:lnTo>
                  <a:pt x="234" y="447"/>
                </a:lnTo>
                <a:lnTo>
                  <a:pt x="240" y="441"/>
                </a:lnTo>
                <a:lnTo>
                  <a:pt x="243" y="436"/>
                </a:lnTo>
                <a:lnTo>
                  <a:pt x="240" y="431"/>
                </a:lnTo>
                <a:lnTo>
                  <a:pt x="234" y="424"/>
                </a:lnTo>
                <a:lnTo>
                  <a:pt x="228" y="418"/>
                </a:lnTo>
                <a:lnTo>
                  <a:pt x="222" y="415"/>
                </a:lnTo>
                <a:lnTo>
                  <a:pt x="217" y="418"/>
                </a:lnTo>
                <a:lnTo>
                  <a:pt x="211" y="424"/>
                </a:lnTo>
                <a:close/>
                <a:moveTo>
                  <a:pt x="248" y="491"/>
                </a:moveTo>
                <a:lnTo>
                  <a:pt x="242" y="497"/>
                </a:lnTo>
                <a:lnTo>
                  <a:pt x="239" y="502"/>
                </a:lnTo>
                <a:lnTo>
                  <a:pt x="242" y="508"/>
                </a:lnTo>
                <a:lnTo>
                  <a:pt x="248" y="514"/>
                </a:lnTo>
                <a:lnTo>
                  <a:pt x="254" y="520"/>
                </a:lnTo>
                <a:lnTo>
                  <a:pt x="260" y="523"/>
                </a:lnTo>
                <a:lnTo>
                  <a:pt x="265" y="520"/>
                </a:lnTo>
                <a:lnTo>
                  <a:pt x="271" y="514"/>
                </a:lnTo>
                <a:lnTo>
                  <a:pt x="278" y="508"/>
                </a:lnTo>
                <a:lnTo>
                  <a:pt x="280" y="502"/>
                </a:lnTo>
                <a:lnTo>
                  <a:pt x="278" y="497"/>
                </a:lnTo>
                <a:lnTo>
                  <a:pt x="271" y="491"/>
                </a:lnTo>
                <a:lnTo>
                  <a:pt x="265" y="485"/>
                </a:lnTo>
                <a:lnTo>
                  <a:pt x="260" y="482"/>
                </a:lnTo>
                <a:lnTo>
                  <a:pt x="254" y="485"/>
                </a:lnTo>
                <a:lnTo>
                  <a:pt x="248" y="491"/>
                </a:lnTo>
                <a:close/>
                <a:moveTo>
                  <a:pt x="382" y="500"/>
                </a:moveTo>
                <a:lnTo>
                  <a:pt x="375" y="508"/>
                </a:lnTo>
                <a:lnTo>
                  <a:pt x="373" y="513"/>
                </a:lnTo>
                <a:lnTo>
                  <a:pt x="375" y="518"/>
                </a:lnTo>
                <a:lnTo>
                  <a:pt x="382" y="524"/>
                </a:lnTo>
                <a:lnTo>
                  <a:pt x="388" y="531"/>
                </a:lnTo>
                <a:lnTo>
                  <a:pt x="393" y="532"/>
                </a:lnTo>
                <a:lnTo>
                  <a:pt x="398" y="531"/>
                </a:lnTo>
                <a:lnTo>
                  <a:pt x="405" y="524"/>
                </a:lnTo>
                <a:lnTo>
                  <a:pt x="411" y="518"/>
                </a:lnTo>
                <a:lnTo>
                  <a:pt x="414" y="513"/>
                </a:lnTo>
                <a:lnTo>
                  <a:pt x="411" y="508"/>
                </a:lnTo>
                <a:lnTo>
                  <a:pt x="405" y="501"/>
                </a:lnTo>
                <a:lnTo>
                  <a:pt x="398" y="493"/>
                </a:lnTo>
                <a:lnTo>
                  <a:pt x="393" y="492"/>
                </a:lnTo>
                <a:lnTo>
                  <a:pt x="388" y="493"/>
                </a:lnTo>
                <a:lnTo>
                  <a:pt x="382" y="500"/>
                </a:lnTo>
                <a:close/>
                <a:moveTo>
                  <a:pt x="451" y="479"/>
                </a:moveTo>
                <a:lnTo>
                  <a:pt x="444" y="486"/>
                </a:lnTo>
                <a:lnTo>
                  <a:pt x="442" y="492"/>
                </a:lnTo>
                <a:lnTo>
                  <a:pt x="444" y="497"/>
                </a:lnTo>
                <a:lnTo>
                  <a:pt x="451" y="504"/>
                </a:lnTo>
                <a:lnTo>
                  <a:pt x="457" y="510"/>
                </a:lnTo>
                <a:lnTo>
                  <a:pt x="462" y="511"/>
                </a:lnTo>
                <a:lnTo>
                  <a:pt x="467" y="510"/>
                </a:lnTo>
                <a:lnTo>
                  <a:pt x="474" y="504"/>
                </a:lnTo>
                <a:lnTo>
                  <a:pt x="480" y="497"/>
                </a:lnTo>
                <a:lnTo>
                  <a:pt x="483" y="492"/>
                </a:lnTo>
                <a:lnTo>
                  <a:pt x="480" y="486"/>
                </a:lnTo>
                <a:lnTo>
                  <a:pt x="474" y="479"/>
                </a:lnTo>
                <a:lnTo>
                  <a:pt x="467" y="473"/>
                </a:lnTo>
                <a:lnTo>
                  <a:pt x="462" y="472"/>
                </a:lnTo>
                <a:lnTo>
                  <a:pt x="457" y="473"/>
                </a:lnTo>
                <a:lnTo>
                  <a:pt x="451" y="479"/>
                </a:lnTo>
                <a:close/>
                <a:moveTo>
                  <a:pt x="485" y="413"/>
                </a:moveTo>
                <a:lnTo>
                  <a:pt x="479" y="419"/>
                </a:lnTo>
                <a:lnTo>
                  <a:pt x="476" y="424"/>
                </a:lnTo>
                <a:lnTo>
                  <a:pt x="479" y="431"/>
                </a:lnTo>
                <a:lnTo>
                  <a:pt x="485" y="437"/>
                </a:lnTo>
                <a:lnTo>
                  <a:pt x="492" y="442"/>
                </a:lnTo>
                <a:lnTo>
                  <a:pt x="497" y="445"/>
                </a:lnTo>
                <a:lnTo>
                  <a:pt x="502" y="442"/>
                </a:lnTo>
                <a:lnTo>
                  <a:pt x="509" y="436"/>
                </a:lnTo>
                <a:lnTo>
                  <a:pt x="515" y="429"/>
                </a:lnTo>
                <a:lnTo>
                  <a:pt x="518" y="424"/>
                </a:lnTo>
                <a:lnTo>
                  <a:pt x="515" y="419"/>
                </a:lnTo>
                <a:lnTo>
                  <a:pt x="509" y="413"/>
                </a:lnTo>
                <a:lnTo>
                  <a:pt x="502" y="406"/>
                </a:lnTo>
                <a:lnTo>
                  <a:pt x="497" y="405"/>
                </a:lnTo>
                <a:lnTo>
                  <a:pt x="492" y="406"/>
                </a:lnTo>
                <a:lnTo>
                  <a:pt x="485" y="413"/>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grpSp>
        <p:nvGrpSpPr>
          <p:cNvPr id="166" name="Group 165"/>
          <p:cNvGrpSpPr/>
          <p:nvPr/>
        </p:nvGrpSpPr>
        <p:grpSpPr>
          <a:xfrm>
            <a:off x="3752280" y="5756437"/>
            <a:ext cx="291057" cy="330022"/>
            <a:chOff x="15182850" y="531813"/>
            <a:chExt cx="690563" cy="773113"/>
          </a:xfrm>
          <a:solidFill>
            <a:schemeClr val="accent2"/>
          </a:solidFill>
        </p:grpSpPr>
        <p:sp>
          <p:nvSpPr>
            <p:cNvPr id="167" name="Freeform 237"/>
            <p:cNvSpPr>
              <a:spLocks noEditPoints="1"/>
            </p:cNvSpPr>
            <p:nvPr/>
          </p:nvSpPr>
          <p:spPr bwMode="auto">
            <a:xfrm>
              <a:off x="15182850" y="642938"/>
              <a:ext cx="690563" cy="661988"/>
            </a:xfrm>
            <a:custGeom>
              <a:avLst/>
              <a:gdLst>
                <a:gd name="T0" fmla="*/ 368 w 435"/>
                <a:gd name="T1" fmla="*/ 0 h 417"/>
                <a:gd name="T2" fmla="*/ 364 w 435"/>
                <a:gd name="T3" fmla="*/ 46 h 417"/>
                <a:gd name="T4" fmla="*/ 345 w 435"/>
                <a:gd name="T5" fmla="*/ 66 h 417"/>
                <a:gd name="T6" fmla="*/ 316 w 435"/>
                <a:gd name="T7" fmla="*/ 66 h 417"/>
                <a:gd name="T8" fmla="*/ 295 w 435"/>
                <a:gd name="T9" fmla="*/ 46 h 417"/>
                <a:gd name="T10" fmla="*/ 293 w 435"/>
                <a:gd name="T11" fmla="*/ 0 h 417"/>
                <a:gd name="T12" fmla="*/ 144 w 435"/>
                <a:gd name="T13" fmla="*/ 31 h 417"/>
                <a:gd name="T14" fmla="*/ 132 w 435"/>
                <a:gd name="T15" fmla="*/ 58 h 417"/>
                <a:gd name="T16" fmla="*/ 105 w 435"/>
                <a:gd name="T17" fmla="*/ 69 h 417"/>
                <a:gd name="T18" fmla="*/ 78 w 435"/>
                <a:gd name="T19" fmla="*/ 58 h 417"/>
                <a:gd name="T20" fmla="*/ 68 w 435"/>
                <a:gd name="T21" fmla="*/ 31 h 417"/>
                <a:gd name="T22" fmla="*/ 18 w 435"/>
                <a:gd name="T23" fmla="*/ 0 h 417"/>
                <a:gd name="T24" fmla="*/ 9 w 435"/>
                <a:gd name="T25" fmla="*/ 3 h 417"/>
                <a:gd name="T26" fmla="*/ 3 w 435"/>
                <a:gd name="T27" fmla="*/ 10 h 417"/>
                <a:gd name="T28" fmla="*/ 0 w 435"/>
                <a:gd name="T29" fmla="*/ 21 h 417"/>
                <a:gd name="T30" fmla="*/ 1 w 435"/>
                <a:gd name="T31" fmla="*/ 403 h 417"/>
                <a:gd name="T32" fmla="*/ 5 w 435"/>
                <a:gd name="T33" fmla="*/ 412 h 417"/>
                <a:gd name="T34" fmla="*/ 13 w 435"/>
                <a:gd name="T35" fmla="*/ 417 h 417"/>
                <a:gd name="T36" fmla="*/ 417 w 435"/>
                <a:gd name="T37" fmla="*/ 417 h 417"/>
                <a:gd name="T38" fmla="*/ 426 w 435"/>
                <a:gd name="T39" fmla="*/ 415 h 417"/>
                <a:gd name="T40" fmla="*/ 432 w 435"/>
                <a:gd name="T41" fmla="*/ 407 h 417"/>
                <a:gd name="T42" fmla="*/ 435 w 435"/>
                <a:gd name="T43" fmla="*/ 397 h 417"/>
                <a:gd name="T44" fmla="*/ 435 w 435"/>
                <a:gd name="T45" fmla="*/ 16 h 417"/>
                <a:gd name="T46" fmla="*/ 430 w 435"/>
                <a:gd name="T47" fmla="*/ 7 h 417"/>
                <a:gd name="T48" fmla="*/ 422 w 435"/>
                <a:gd name="T49" fmla="*/ 0 h 417"/>
                <a:gd name="T50" fmla="*/ 414 w 435"/>
                <a:gd name="T51" fmla="*/ 371 h 417"/>
                <a:gd name="T52" fmla="*/ 412 w 435"/>
                <a:gd name="T53" fmla="*/ 381 h 417"/>
                <a:gd name="T54" fmla="*/ 405 w 435"/>
                <a:gd name="T55" fmla="*/ 388 h 417"/>
                <a:gd name="T56" fmla="*/ 397 w 435"/>
                <a:gd name="T57" fmla="*/ 392 h 417"/>
                <a:gd name="T58" fmla="*/ 35 w 435"/>
                <a:gd name="T59" fmla="*/ 390 h 417"/>
                <a:gd name="T60" fmla="*/ 26 w 435"/>
                <a:gd name="T61" fmla="*/ 385 h 417"/>
                <a:gd name="T62" fmla="*/ 22 w 435"/>
                <a:gd name="T63" fmla="*/ 376 h 417"/>
                <a:gd name="T64" fmla="*/ 21 w 435"/>
                <a:gd name="T65" fmla="*/ 127 h 417"/>
                <a:gd name="T66" fmla="*/ 23 w 435"/>
                <a:gd name="T67" fmla="*/ 117 h 417"/>
                <a:gd name="T68" fmla="*/ 30 w 435"/>
                <a:gd name="T69" fmla="*/ 109 h 417"/>
                <a:gd name="T70" fmla="*/ 39 w 435"/>
                <a:gd name="T71" fmla="*/ 107 h 417"/>
                <a:gd name="T72" fmla="*/ 402 w 435"/>
                <a:gd name="T73" fmla="*/ 108 h 417"/>
                <a:gd name="T74" fmla="*/ 409 w 435"/>
                <a:gd name="T75" fmla="*/ 113 h 417"/>
                <a:gd name="T76" fmla="*/ 413 w 435"/>
                <a:gd name="T77" fmla="*/ 122 h 417"/>
                <a:gd name="T78" fmla="*/ 414 w 435"/>
                <a:gd name="T79" fmla="*/ 371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5" h="417">
                  <a:moveTo>
                    <a:pt x="417" y="0"/>
                  </a:moveTo>
                  <a:lnTo>
                    <a:pt x="368" y="0"/>
                  </a:lnTo>
                  <a:lnTo>
                    <a:pt x="368" y="31"/>
                  </a:lnTo>
                  <a:lnTo>
                    <a:pt x="364" y="46"/>
                  </a:lnTo>
                  <a:lnTo>
                    <a:pt x="357" y="58"/>
                  </a:lnTo>
                  <a:lnTo>
                    <a:pt x="345" y="66"/>
                  </a:lnTo>
                  <a:lnTo>
                    <a:pt x="330" y="69"/>
                  </a:lnTo>
                  <a:lnTo>
                    <a:pt x="316" y="66"/>
                  </a:lnTo>
                  <a:lnTo>
                    <a:pt x="303" y="58"/>
                  </a:lnTo>
                  <a:lnTo>
                    <a:pt x="295" y="46"/>
                  </a:lnTo>
                  <a:lnTo>
                    <a:pt x="293" y="31"/>
                  </a:lnTo>
                  <a:lnTo>
                    <a:pt x="293" y="0"/>
                  </a:lnTo>
                  <a:lnTo>
                    <a:pt x="144" y="0"/>
                  </a:lnTo>
                  <a:lnTo>
                    <a:pt x="144" y="31"/>
                  </a:lnTo>
                  <a:lnTo>
                    <a:pt x="140" y="46"/>
                  </a:lnTo>
                  <a:lnTo>
                    <a:pt x="132" y="58"/>
                  </a:lnTo>
                  <a:lnTo>
                    <a:pt x="121" y="66"/>
                  </a:lnTo>
                  <a:lnTo>
                    <a:pt x="105" y="69"/>
                  </a:lnTo>
                  <a:lnTo>
                    <a:pt x="91" y="66"/>
                  </a:lnTo>
                  <a:lnTo>
                    <a:pt x="78" y="58"/>
                  </a:lnTo>
                  <a:lnTo>
                    <a:pt x="71" y="46"/>
                  </a:lnTo>
                  <a:lnTo>
                    <a:pt x="68" y="31"/>
                  </a:lnTo>
                  <a:lnTo>
                    <a:pt x="68" y="0"/>
                  </a:lnTo>
                  <a:lnTo>
                    <a:pt x="18" y="0"/>
                  </a:lnTo>
                  <a:lnTo>
                    <a:pt x="13" y="0"/>
                  </a:lnTo>
                  <a:lnTo>
                    <a:pt x="9" y="3"/>
                  </a:lnTo>
                  <a:lnTo>
                    <a:pt x="5" y="7"/>
                  </a:lnTo>
                  <a:lnTo>
                    <a:pt x="3" y="10"/>
                  </a:lnTo>
                  <a:lnTo>
                    <a:pt x="1" y="16"/>
                  </a:lnTo>
                  <a:lnTo>
                    <a:pt x="0" y="21"/>
                  </a:lnTo>
                  <a:lnTo>
                    <a:pt x="0" y="397"/>
                  </a:lnTo>
                  <a:lnTo>
                    <a:pt x="1" y="403"/>
                  </a:lnTo>
                  <a:lnTo>
                    <a:pt x="3" y="407"/>
                  </a:lnTo>
                  <a:lnTo>
                    <a:pt x="5" y="412"/>
                  </a:lnTo>
                  <a:lnTo>
                    <a:pt x="9" y="415"/>
                  </a:lnTo>
                  <a:lnTo>
                    <a:pt x="13" y="417"/>
                  </a:lnTo>
                  <a:lnTo>
                    <a:pt x="18" y="417"/>
                  </a:lnTo>
                  <a:lnTo>
                    <a:pt x="417" y="417"/>
                  </a:lnTo>
                  <a:lnTo>
                    <a:pt x="422" y="417"/>
                  </a:lnTo>
                  <a:lnTo>
                    <a:pt x="426" y="415"/>
                  </a:lnTo>
                  <a:lnTo>
                    <a:pt x="430" y="412"/>
                  </a:lnTo>
                  <a:lnTo>
                    <a:pt x="432" y="407"/>
                  </a:lnTo>
                  <a:lnTo>
                    <a:pt x="435" y="403"/>
                  </a:lnTo>
                  <a:lnTo>
                    <a:pt x="435" y="397"/>
                  </a:lnTo>
                  <a:lnTo>
                    <a:pt x="435" y="21"/>
                  </a:lnTo>
                  <a:lnTo>
                    <a:pt x="435" y="16"/>
                  </a:lnTo>
                  <a:lnTo>
                    <a:pt x="432" y="10"/>
                  </a:lnTo>
                  <a:lnTo>
                    <a:pt x="430" y="7"/>
                  </a:lnTo>
                  <a:lnTo>
                    <a:pt x="426" y="3"/>
                  </a:lnTo>
                  <a:lnTo>
                    <a:pt x="422" y="0"/>
                  </a:lnTo>
                  <a:lnTo>
                    <a:pt x="417" y="0"/>
                  </a:lnTo>
                  <a:close/>
                  <a:moveTo>
                    <a:pt x="414" y="371"/>
                  </a:moveTo>
                  <a:lnTo>
                    <a:pt x="413" y="376"/>
                  </a:lnTo>
                  <a:lnTo>
                    <a:pt x="412" y="381"/>
                  </a:lnTo>
                  <a:lnTo>
                    <a:pt x="409" y="385"/>
                  </a:lnTo>
                  <a:lnTo>
                    <a:pt x="405" y="388"/>
                  </a:lnTo>
                  <a:lnTo>
                    <a:pt x="402" y="390"/>
                  </a:lnTo>
                  <a:lnTo>
                    <a:pt x="397" y="392"/>
                  </a:lnTo>
                  <a:lnTo>
                    <a:pt x="39" y="392"/>
                  </a:lnTo>
                  <a:lnTo>
                    <a:pt x="35" y="390"/>
                  </a:lnTo>
                  <a:lnTo>
                    <a:pt x="30" y="388"/>
                  </a:lnTo>
                  <a:lnTo>
                    <a:pt x="26" y="385"/>
                  </a:lnTo>
                  <a:lnTo>
                    <a:pt x="23" y="381"/>
                  </a:lnTo>
                  <a:lnTo>
                    <a:pt x="22" y="376"/>
                  </a:lnTo>
                  <a:lnTo>
                    <a:pt x="21" y="371"/>
                  </a:lnTo>
                  <a:lnTo>
                    <a:pt x="21" y="127"/>
                  </a:lnTo>
                  <a:lnTo>
                    <a:pt x="22" y="122"/>
                  </a:lnTo>
                  <a:lnTo>
                    <a:pt x="23" y="117"/>
                  </a:lnTo>
                  <a:lnTo>
                    <a:pt x="26" y="113"/>
                  </a:lnTo>
                  <a:lnTo>
                    <a:pt x="30" y="109"/>
                  </a:lnTo>
                  <a:lnTo>
                    <a:pt x="35" y="108"/>
                  </a:lnTo>
                  <a:lnTo>
                    <a:pt x="39" y="107"/>
                  </a:lnTo>
                  <a:lnTo>
                    <a:pt x="397" y="107"/>
                  </a:lnTo>
                  <a:lnTo>
                    <a:pt x="402" y="108"/>
                  </a:lnTo>
                  <a:lnTo>
                    <a:pt x="405" y="109"/>
                  </a:lnTo>
                  <a:lnTo>
                    <a:pt x="409" y="113"/>
                  </a:lnTo>
                  <a:lnTo>
                    <a:pt x="412" y="117"/>
                  </a:lnTo>
                  <a:lnTo>
                    <a:pt x="413" y="122"/>
                  </a:lnTo>
                  <a:lnTo>
                    <a:pt x="414" y="127"/>
                  </a:lnTo>
                  <a:lnTo>
                    <a:pt x="414" y="37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68" name="Freeform 238"/>
            <p:cNvSpPr>
              <a:spLocks/>
            </p:cNvSpPr>
            <p:nvPr/>
          </p:nvSpPr>
          <p:spPr bwMode="auto">
            <a:xfrm>
              <a:off x="15311438" y="531813"/>
              <a:ext cx="77788" cy="203200"/>
            </a:xfrm>
            <a:custGeom>
              <a:avLst/>
              <a:gdLst>
                <a:gd name="T0" fmla="*/ 49 w 49"/>
                <a:gd name="T1" fmla="*/ 104 h 128"/>
                <a:gd name="T2" fmla="*/ 45 w 49"/>
                <a:gd name="T3" fmla="*/ 115 h 128"/>
                <a:gd name="T4" fmla="*/ 37 w 49"/>
                <a:gd name="T5" fmla="*/ 124 h 128"/>
                <a:gd name="T6" fmla="*/ 24 w 49"/>
                <a:gd name="T7" fmla="*/ 128 h 128"/>
                <a:gd name="T8" fmla="*/ 13 w 49"/>
                <a:gd name="T9" fmla="*/ 124 h 128"/>
                <a:gd name="T10" fmla="*/ 4 w 49"/>
                <a:gd name="T11" fmla="*/ 115 h 128"/>
                <a:gd name="T12" fmla="*/ 0 w 49"/>
                <a:gd name="T13" fmla="*/ 104 h 128"/>
                <a:gd name="T14" fmla="*/ 0 w 49"/>
                <a:gd name="T15" fmla="*/ 24 h 128"/>
                <a:gd name="T16" fmla="*/ 4 w 49"/>
                <a:gd name="T17" fmla="*/ 11 h 128"/>
                <a:gd name="T18" fmla="*/ 13 w 49"/>
                <a:gd name="T19" fmla="*/ 2 h 128"/>
                <a:gd name="T20" fmla="*/ 24 w 49"/>
                <a:gd name="T21" fmla="*/ 0 h 128"/>
                <a:gd name="T22" fmla="*/ 37 w 49"/>
                <a:gd name="T23" fmla="*/ 2 h 128"/>
                <a:gd name="T24" fmla="*/ 45 w 49"/>
                <a:gd name="T25" fmla="*/ 11 h 128"/>
                <a:gd name="T26" fmla="*/ 49 w 49"/>
                <a:gd name="T27" fmla="*/ 24 h 128"/>
                <a:gd name="T28" fmla="*/ 49 w 49"/>
                <a:gd name="T29"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128">
                  <a:moveTo>
                    <a:pt x="49" y="104"/>
                  </a:moveTo>
                  <a:lnTo>
                    <a:pt x="45" y="115"/>
                  </a:lnTo>
                  <a:lnTo>
                    <a:pt x="37" y="124"/>
                  </a:lnTo>
                  <a:lnTo>
                    <a:pt x="24" y="128"/>
                  </a:lnTo>
                  <a:lnTo>
                    <a:pt x="13" y="124"/>
                  </a:lnTo>
                  <a:lnTo>
                    <a:pt x="4" y="115"/>
                  </a:lnTo>
                  <a:lnTo>
                    <a:pt x="0" y="104"/>
                  </a:lnTo>
                  <a:lnTo>
                    <a:pt x="0" y="24"/>
                  </a:lnTo>
                  <a:lnTo>
                    <a:pt x="4" y="11"/>
                  </a:lnTo>
                  <a:lnTo>
                    <a:pt x="13" y="2"/>
                  </a:lnTo>
                  <a:lnTo>
                    <a:pt x="24" y="0"/>
                  </a:lnTo>
                  <a:lnTo>
                    <a:pt x="37" y="2"/>
                  </a:lnTo>
                  <a:lnTo>
                    <a:pt x="45" y="11"/>
                  </a:lnTo>
                  <a:lnTo>
                    <a:pt x="49" y="24"/>
                  </a:lnTo>
                  <a:lnTo>
                    <a:pt x="49" y="1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69" name="Freeform 239"/>
            <p:cNvSpPr>
              <a:spLocks/>
            </p:cNvSpPr>
            <p:nvPr/>
          </p:nvSpPr>
          <p:spPr bwMode="auto">
            <a:xfrm>
              <a:off x="15667038" y="531813"/>
              <a:ext cx="77788" cy="203200"/>
            </a:xfrm>
            <a:custGeom>
              <a:avLst/>
              <a:gdLst>
                <a:gd name="T0" fmla="*/ 49 w 49"/>
                <a:gd name="T1" fmla="*/ 104 h 128"/>
                <a:gd name="T2" fmla="*/ 47 w 49"/>
                <a:gd name="T3" fmla="*/ 115 h 128"/>
                <a:gd name="T4" fmla="*/ 38 w 49"/>
                <a:gd name="T5" fmla="*/ 124 h 128"/>
                <a:gd name="T6" fmla="*/ 25 w 49"/>
                <a:gd name="T7" fmla="*/ 128 h 128"/>
                <a:gd name="T8" fmla="*/ 13 w 49"/>
                <a:gd name="T9" fmla="*/ 124 h 128"/>
                <a:gd name="T10" fmla="*/ 4 w 49"/>
                <a:gd name="T11" fmla="*/ 115 h 128"/>
                <a:gd name="T12" fmla="*/ 0 w 49"/>
                <a:gd name="T13" fmla="*/ 104 h 128"/>
                <a:gd name="T14" fmla="*/ 0 w 49"/>
                <a:gd name="T15" fmla="*/ 24 h 128"/>
                <a:gd name="T16" fmla="*/ 4 w 49"/>
                <a:gd name="T17" fmla="*/ 11 h 128"/>
                <a:gd name="T18" fmla="*/ 13 w 49"/>
                <a:gd name="T19" fmla="*/ 2 h 128"/>
                <a:gd name="T20" fmla="*/ 25 w 49"/>
                <a:gd name="T21" fmla="*/ 0 h 128"/>
                <a:gd name="T22" fmla="*/ 38 w 49"/>
                <a:gd name="T23" fmla="*/ 2 h 128"/>
                <a:gd name="T24" fmla="*/ 47 w 49"/>
                <a:gd name="T25" fmla="*/ 11 h 128"/>
                <a:gd name="T26" fmla="*/ 49 w 49"/>
                <a:gd name="T27" fmla="*/ 24 h 128"/>
                <a:gd name="T28" fmla="*/ 49 w 49"/>
                <a:gd name="T29"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128">
                  <a:moveTo>
                    <a:pt x="49" y="104"/>
                  </a:moveTo>
                  <a:lnTo>
                    <a:pt x="47" y="115"/>
                  </a:lnTo>
                  <a:lnTo>
                    <a:pt x="38" y="124"/>
                  </a:lnTo>
                  <a:lnTo>
                    <a:pt x="25" y="128"/>
                  </a:lnTo>
                  <a:lnTo>
                    <a:pt x="13" y="124"/>
                  </a:lnTo>
                  <a:lnTo>
                    <a:pt x="4" y="115"/>
                  </a:lnTo>
                  <a:lnTo>
                    <a:pt x="0" y="104"/>
                  </a:lnTo>
                  <a:lnTo>
                    <a:pt x="0" y="24"/>
                  </a:lnTo>
                  <a:lnTo>
                    <a:pt x="4" y="11"/>
                  </a:lnTo>
                  <a:lnTo>
                    <a:pt x="13" y="2"/>
                  </a:lnTo>
                  <a:lnTo>
                    <a:pt x="25" y="0"/>
                  </a:lnTo>
                  <a:lnTo>
                    <a:pt x="38" y="2"/>
                  </a:lnTo>
                  <a:lnTo>
                    <a:pt x="47" y="11"/>
                  </a:lnTo>
                  <a:lnTo>
                    <a:pt x="49" y="24"/>
                  </a:lnTo>
                  <a:lnTo>
                    <a:pt x="49" y="10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70" name="Freeform 240"/>
            <p:cNvSpPr>
              <a:spLocks/>
            </p:cNvSpPr>
            <p:nvPr/>
          </p:nvSpPr>
          <p:spPr bwMode="auto">
            <a:xfrm>
              <a:off x="15398750" y="835025"/>
              <a:ext cx="114300" cy="114300"/>
            </a:xfrm>
            <a:custGeom>
              <a:avLst/>
              <a:gdLst>
                <a:gd name="T0" fmla="*/ 72 w 72"/>
                <a:gd name="T1" fmla="*/ 64 h 72"/>
                <a:gd name="T2" fmla="*/ 72 w 72"/>
                <a:gd name="T3" fmla="*/ 68 h 72"/>
                <a:gd name="T4" fmla="*/ 71 w 72"/>
                <a:gd name="T5" fmla="*/ 69 h 72"/>
                <a:gd name="T6" fmla="*/ 68 w 72"/>
                <a:gd name="T7" fmla="*/ 72 h 72"/>
                <a:gd name="T8" fmla="*/ 64 w 72"/>
                <a:gd name="T9" fmla="*/ 72 h 72"/>
                <a:gd name="T10" fmla="*/ 8 w 72"/>
                <a:gd name="T11" fmla="*/ 72 h 72"/>
                <a:gd name="T12" fmla="*/ 5 w 72"/>
                <a:gd name="T13" fmla="*/ 72 h 72"/>
                <a:gd name="T14" fmla="*/ 3 w 72"/>
                <a:gd name="T15" fmla="*/ 69 h 72"/>
                <a:gd name="T16" fmla="*/ 1 w 72"/>
                <a:gd name="T17" fmla="*/ 68 h 72"/>
                <a:gd name="T18" fmla="*/ 0 w 72"/>
                <a:gd name="T19" fmla="*/ 64 h 72"/>
                <a:gd name="T20" fmla="*/ 0 w 72"/>
                <a:gd name="T21" fmla="*/ 8 h 72"/>
                <a:gd name="T22" fmla="*/ 1 w 72"/>
                <a:gd name="T23" fmla="*/ 5 h 72"/>
                <a:gd name="T24" fmla="*/ 3 w 72"/>
                <a:gd name="T25" fmla="*/ 2 h 72"/>
                <a:gd name="T26" fmla="*/ 5 w 72"/>
                <a:gd name="T27" fmla="*/ 1 h 72"/>
                <a:gd name="T28" fmla="*/ 8 w 72"/>
                <a:gd name="T29" fmla="*/ 0 h 72"/>
                <a:gd name="T30" fmla="*/ 64 w 72"/>
                <a:gd name="T31" fmla="*/ 0 h 72"/>
                <a:gd name="T32" fmla="*/ 68 w 72"/>
                <a:gd name="T33" fmla="*/ 1 h 72"/>
                <a:gd name="T34" fmla="*/ 71 w 72"/>
                <a:gd name="T35" fmla="*/ 2 h 72"/>
                <a:gd name="T36" fmla="*/ 72 w 72"/>
                <a:gd name="T37" fmla="*/ 5 h 72"/>
                <a:gd name="T38" fmla="*/ 72 w 72"/>
                <a:gd name="T39" fmla="*/ 8 h 72"/>
                <a:gd name="T40" fmla="*/ 72 w 72"/>
                <a:gd name="T41"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2">
                  <a:moveTo>
                    <a:pt x="72" y="64"/>
                  </a:moveTo>
                  <a:lnTo>
                    <a:pt x="72" y="68"/>
                  </a:lnTo>
                  <a:lnTo>
                    <a:pt x="71" y="69"/>
                  </a:lnTo>
                  <a:lnTo>
                    <a:pt x="68" y="72"/>
                  </a:lnTo>
                  <a:lnTo>
                    <a:pt x="64" y="72"/>
                  </a:lnTo>
                  <a:lnTo>
                    <a:pt x="8" y="72"/>
                  </a:lnTo>
                  <a:lnTo>
                    <a:pt x="5" y="72"/>
                  </a:lnTo>
                  <a:lnTo>
                    <a:pt x="3" y="69"/>
                  </a:lnTo>
                  <a:lnTo>
                    <a:pt x="1" y="68"/>
                  </a:lnTo>
                  <a:lnTo>
                    <a:pt x="0" y="64"/>
                  </a:lnTo>
                  <a:lnTo>
                    <a:pt x="0" y="8"/>
                  </a:lnTo>
                  <a:lnTo>
                    <a:pt x="1" y="5"/>
                  </a:lnTo>
                  <a:lnTo>
                    <a:pt x="3" y="2"/>
                  </a:lnTo>
                  <a:lnTo>
                    <a:pt x="5" y="1"/>
                  </a:lnTo>
                  <a:lnTo>
                    <a:pt x="8" y="0"/>
                  </a:lnTo>
                  <a:lnTo>
                    <a:pt x="64" y="0"/>
                  </a:lnTo>
                  <a:lnTo>
                    <a:pt x="68" y="1"/>
                  </a:lnTo>
                  <a:lnTo>
                    <a:pt x="71" y="2"/>
                  </a:lnTo>
                  <a:lnTo>
                    <a:pt x="72" y="5"/>
                  </a:lnTo>
                  <a:lnTo>
                    <a:pt x="72" y="8"/>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71" name="Freeform 241"/>
            <p:cNvSpPr>
              <a:spLocks/>
            </p:cNvSpPr>
            <p:nvPr/>
          </p:nvSpPr>
          <p:spPr bwMode="auto">
            <a:xfrm>
              <a:off x="15544800" y="835025"/>
              <a:ext cx="114300" cy="114300"/>
            </a:xfrm>
            <a:custGeom>
              <a:avLst/>
              <a:gdLst>
                <a:gd name="T0" fmla="*/ 72 w 72"/>
                <a:gd name="T1" fmla="*/ 64 h 72"/>
                <a:gd name="T2" fmla="*/ 72 w 72"/>
                <a:gd name="T3" fmla="*/ 68 h 72"/>
                <a:gd name="T4" fmla="*/ 70 w 72"/>
                <a:gd name="T5" fmla="*/ 69 h 72"/>
                <a:gd name="T6" fmla="*/ 67 w 72"/>
                <a:gd name="T7" fmla="*/ 72 h 72"/>
                <a:gd name="T8" fmla="*/ 65 w 72"/>
                <a:gd name="T9" fmla="*/ 72 h 72"/>
                <a:gd name="T10" fmla="*/ 8 w 72"/>
                <a:gd name="T11" fmla="*/ 72 h 72"/>
                <a:gd name="T12" fmla="*/ 6 w 72"/>
                <a:gd name="T13" fmla="*/ 72 h 72"/>
                <a:gd name="T14" fmla="*/ 3 w 72"/>
                <a:gd name="T15" fmla="*/ 69 h 72"/>
                <a:gd name="T16" fmla="*/ 2 w 72"/>
                <a:gd name="T17" fmla="*/ 68 h 72"/>
                <a:gd name="T18" fmla="*/ 0 w 72"/>
                <a:gd name="T19" fmla="*/ 64 h 72"/>
                <a:gd name="T20" fmla="*/ 0 w 72"/>
                <a:gd name="T21" fmla="*/ 8 h 72"/>
                <a:gd name="T22" fmla="*/ 2 w 72"/>
                <a:gd name="T23" fmla="*/ 5 h 72"/>
                <a:gd name="T24" fmla="*/ 3 w 72"/>
                <a:gd name="T25" fmla="*/ 2 h 72"/>
                <a:gd name="T26" fmla="*/ 6 w 72"/>
                <a:gd name="T27" fmla="*/ 1 h 72"/>
                <a:gd name="T28" fmla="*/ 8 w 72"/>
                <a:gd name="T29" fmla="*/ 0 h 72"/>
                <a:gd name="T30" fmla="*/ 65 w 72"/>
                <a:gd name="T31" fmla="*/ 0 h 72"/>
                <a:gd name="T32" fmla="*/ 67 w 72"/>
                <a:gd name="T33" fmla="*/ 1 h 72"/>
                <a:gd name="T34" fmla="*/ 70 w 72"/>
                <a:gd name="T35" fmla="*/ 2 h 72"/>
                <a:gd name="T36" fmla="*/ 72 w 72"/>
                <a:gd name="T37" fmla="*/ 5 h 72"/>
                <a:gd name="T38" fmla="*/ 72 w 72"/>
                <a:gd name="T39" fmla="*/ 8 h 72"/>
                <a:gd name="T40" fmla="*/ 72 w 72"/>
                <a:gd name="T41"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2">
                  <a:moveTo>
                    <a:pt x="72" y="64"/>
                  </a:moveTo>
                  <a:lnTo>
                    <a:pt x="72" y="68"/>
                  </a:lnTo>
                  <a:lnTo>
                    <a:pt x="70" y="69"/>
                  </a:lnTo>
                  <a:lnTo>
                    <a:pt x="67" y="72"/>
                  </a:lnTo>
                  <a:lnTo>
                    <a:pt x="65" y="72"/>
                  </a:lnTo>
                  <a:lnTo>
                    <a:pt x="8" y="72"/>
                  </a:lnTo>
                  <a:lnTo>
                    <a:pt x="6" y="72"/>
                  </a:lnTo>
                  <a:lnTo>
                    <a:pt x="3" y="69"/>
                  </a:lnTo>
                  <a:lnTo>
                    <a:pt x="2" y="68"/>
                  </a:lnTo>
                  <a:lnTo>
                    <a:pt x="0" y="64"/>
                  </a:lnTo>
                  <a:lnTo>
                    <a:pt x="0" y="8"/>
                  </a:lnTo>
                  <a:lnTo>
                    <a:pt x="2" y="5"/>
                  </a:lnTo>
                  <a:lnTo>
                    <a:pt x="3" y="2"/>
                  </a:lnTo>
                  <a:lnTo>
                    <a:pt x="6" y="1"/>
                  </a:lnTo>
                  <a:lnTo>
                    <a:pt x="8" y="0"/>
                  </a:lnTo>
                  <a:lnTo>
                    <a:pt x="65" y="0"/>
                  </a:lnTo>
                  <a:lnTo>
                    <a:pt x="67" y="1"/>
                  </a:lnTo>
                  <a:lnTo>
                    <a:pt x="70" y="2"/>
                  </a:lnTo>
                  <a:lnTo>
                    <a:pt x="72" y="5"/>
                  </a:lnTo>
                  <a:lnTo>
                    <a:pt x="72" y="8"/>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72" name="Freeform 242"/>
            <p:cNvSpPr>
              <a:spLocks/>
            </p:cNvSpPr>
            <p:nvPr/>
          </p:nvSpPr>
          <p:spPr bwMode="auto">
            <a:xfrm>
              <a:off x="15692438" y="835025"/>
              <a:ext cx="114300" cy="114300"/>
            </a:xfrm>
            <a:custGeom>
              <a:avLst/>
              <a:gdLst>
                <a:gd name="T0" fmla="*/ 72 w 72"/>
                <a:gd name="T1" fmla="*/ 64 h 72"/>
                <a:gd name="T2" fmla="*/ 70 w 72"/>
                <a:gd name="T3" fmla="*/ 68 h 72"/>
                <a:gd name="T4" fmla="*/ 69 w 72"/>
                <a:gd name="T5" fmla="*/ 69 h 72"/>
                <a:gd name="T6" fmla="*/ 67 w 72"/>
                <a:gd name="T7" fmla="*/ 72 h 72"/>
                <a:gd name="T8" fmla="*/ 64 w 72"/>
                <a:gd name="T9" fmla="*/ 72 h 72"/>
                <a:gd name="T10" fmla="*/ 8 w 72"/>
                <a:gd name="T11" fmla="*/ 72 h 72"/>
                <a:gd name="T12" fmla="*/ 4 w 72"/>
                <a:gd name="T13" fmla="*/ 72 h 72"/>
                <a:gd name="T14" fmla="*/ 2 w 72"/>
                <a:gd name="T15" fmla="*/ 69 h 72"/>
                <a:gd name="T16" fmla="*/ 0 w 72"/>
                <a:gd name="T17" fmla="*/ 68 h 72"/>
                <a:gd name="T18" fmla="*/ 0 w 72"/>
                <a:gd name="T19" fmla="*/ 64 h 72"/>
                <a:gd name="T20" fmla="*/ 0 w 72"/>
                <a:gd name="T21" fmla="*/ 8 h 72"/>
                <a:gd name="T22" fmla="*/ 0 w 72"/>
                <a:gd name="T23" fmla="*/ 5 h 72"/>
                <a:gd name="T24" fmla="*/ 2 w 72"/>
                <a:gd name="T25" fmla="*/ 2 h 72"/>
                <a:gd name="T26" fmla="*/ 4 w 72"/>
                <a:gd name="T27" fmla="*/ 1 h 72"/>
                <a:gd name="T28" fmla="*/ 8 w 72"/>
                <a:gd name="T29" fmla="*/ 0 h 72"/>
                <a:gd name="T30" fmla="*/ 64 w 72"/>
                <a:gd name="T31" fmla="*/ 0 h 72"/>
                <a:gd name="T32" fmla="*/ 67 w 72"/>
                <a:gd name="T33" fmla="*/ 1 h 72"/>
                <a:gd name="T34" fmla="*/ 69 w 72"/>
                <a:gd name="T35" fmla="*/ 2 h 72"/>
                <a:gd name="T36" fmla="*/ 70 w 72"/>
                <a:gd name="T37" fmla="*/ 5 h 72"/>
                <a:gd name="T38" fmla="*/ 72 w 72"/>
                <a:gd name="T39" fmla="*/ 8 h 72"/>
                <a:gd name="T40" fmla="*/ 72 w 72"/>
                <a:gd name="T41"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2">
                  <a:moveTo>
                    <a:pt x="72" y="64"/>
                  </a:moveTo>
                  <a:lnTo>
                    <a:pt x="70" y="68"/>
                  </a:lnTo>
                  <a:lnTo>
                    <a:pt x="69" y="69"/>
                  </a:lnTo>
                  <a:lnTo>
                    <a:pt x="67" y="72"/>
                  </a:lnTo>
                  <a:lnTo>
                    <a:pt x="64" y="72"/>
                  </a:lnTo>
                  <a:lnTo>
                    <a:pt x="8" y="72"/>
                  </a:lnTo>
                  <a:lnTo>
                    <a:pt x="4" y="72"/>
                  </a:lnTo>
                  <a:lnTo>
                    <a:pt x="2" y="69"/>
                  </a:lnTo>
                  <a:lnTo>
                    <a:pt x="0" y="68"/>
                  </a:lnTo>
                  <a:lnTo>
                    <a:pt x="0" y="64"/>
                  </a:lnTo>
                  <a:lnTo>
                    <a:pt x="0" y="8"/>
                  </a:lnTo>
                  <a:lnTo>
                    <a:pt x="0" y="5"/>
                  </a:lnTo>
                  <a:lnTo>
                    <a:pt x="2" y="2"/>
                  </a:lnTo>
                  <a:lnTo>
                    <a:pt x="4" y="1"/>
                  </a:lnTo>
                  <a:lnTo>
                    <a:pt x="8" y="0"/>
                  </a:lnTo>
                  <a:lnTo>
                    <a:pt x="64" y="0"/>
                  </a:lnTo>
                  <a:lnTo>
                    <a:pt x="67" y="1"/>
                  </a:lnTo>
                  <a:lnTo>
                    <a:pt x="69" y="2"/>
                  </a:lnTo>
                  <a:lnTo>
                    <a:pt x="70" y="5"/>
                  </a:lnTo>
                  <a:lnTo>
                    <a:pt x="72" y="8"/>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73" name="Freeform 243"/>
            <p:cNvSpPr>
              <a:spLocks/>
            </p:cNvSpPr>
            <p:nvPr/>
          </p:nvSpPr>
          <p:spPr bwMode="auto">
            <a:xfrm>
              <a:off x="15254288" y="981075"/>
              <a:ext cx="114300" cy="114300"/>
            </a:xfrm>
            <a:custGeom>
              <a:avLst/>
              <a:gdLst>
                <a:gd name="T0" fmla="*/ 72 w 72"/>
                <a:gd name="T1" fmla="*/ 64 h 72"/>
                <a:gd name="T2" fmla="*/ 71 w 72"/>
                <a:gd name="T3" fmla="*/ 67 h 72"/>
                <a:gd name="T4" fmla="*/ 69 w 72"/>
                <a:gd name="T5" fmla="*/ 69 h 72"/>
                <a:gd name="T6" fmla="*/ 67 w 72"/>
                <a:gd name="T7" fmla="*/ 71 h 72"/>
                <a:gd name="T8" fmla="*/ 64 w 72"/>
                <a:gd name="T9" fmla="*/ 72 h 72"/>
                <a:gd name="T10" fmla="*/ 6 w 72"/>
                <a:gd name="T11" fmla="*/ 72 h 72"/>
                <a:gd name="T12" fmla="*/ 4 w 72"/>
                <a:gd name="T13" fmla="*/ 71 h 72"/>
                <a:gd name="T14" fmla="*/ 1 w 72"/>
                <a:gd name="T15" fmla="*/ 69 h 72"/>
                <a:gd name="T16" fmla="*/ 0 w 72"/>
                <a:gd name="T17" fmla="*/ 67 h 72"/>
                <a:gd name="T18" fmla="*/ 0 w 72"/>
                <a:gd name="T19" fmla="*/ 64 h 72"/>
                <a:gd name="T20" fmla="*/ 0 w 72"/>
                <a:gd name="T21" fmla="*/ 8 h 72"/>
                <a:gd name="T22" fmla="*/ 0 w 72"/>
                <a:gd name="T23" fmla="*/ 5 h 72"/>
                <a:gd name="T24" fmla="*/ 1 w 72"/>
                <a:gd name="T25" fmla="*/ 3 h 72"/>
                <a:gd name="T26" fmla="*/ 4 w 72"/>
                <a:gd name="T27" fmla="*/ 1 h 72"/>
                <a:gd name="T28" fmla="*/ 6 w 72"/>
                <a:gd name="T29" fmla="*/ 0 h 72"/>
                <a:gd name="T30" fmla="*/ 64 w 72"/>
                <a:gd name="T31" fmla="*/ 0 h 72"/>
                <a:gd name="T32" fmla="*/ 67 w 72"/>
                <a:gd name="T33" fmla="*/ 1 h 72"/>
                <a:gd name="T34" fmla="*/ 69 w 72"/>
                <a:gd name="T35" fmla="*/ 3 h 72"/>
                <a:gd name="T36" fmla="*/ 71 w 72"/>
                <a:gd name="T37" fmla="*/ 5 h 72"/>
                <a:gd name="T38" fmla="*/ 72 w 72"/>
                <a:gd name="T39" fmla="*/ 8 h 72"/>
                <a:gd name="T40" fmla="*/ 72 w 72"/>
                <a:gd name="T41"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2">
                  <a:moveTo>
                    <a:pt x="72" y="64"/>
                  </a:moveTo>
                  <a:lnTo>
                    <a:pt x="71" y="67"/>
                  </a:lnTo>
                  <a:lnTo>
                    <a:pt x="69" y="69"/>
                  </a:lnTo>
                  <a:lnTo>
                    <a:pt x="67" y="71"/>
                  </a:lnTo>
                  <a:lnTo>
                    <a:pt x="64" y="72"/>
                  </a:lnTo>
                  <a:lnTo>
                    <a:pt x="6" y="72"/>
                  </a:lnTo>
                  <a:lnTo>
                    <a:pt x="4" y="71"/>
                  </a:lnTo>
                  <a:lnTo>
                    <a:pt x="1" y="69"/>
                  </a:lnTo>
                  <a:lnTo>
                    <a:pt x="0" y="67"/>
                  </a:lnTo>
                  <a:lnTo>
                    <a:pt x="0" y="64"/>
                  </a:lnTo>
                  <a:lnTo>
                    <a:pt x="0" y="8"/>
                  </a:lnTo>
                  <a:lnTo>
                    <a:pt x="0" y="5"/>
                  </a:lnTo>
                  <a:lnTo>
                    <a:pt x="1" y="3"/>
                  </a:lnTo>
                  <a:lnTo>
                    <a:pt x="4" y="1"/>
                  </a:lnTo>
                  <a:lnTo>
                    <a:pt x="6" y="0"/>
                  </a:lnTo>
                  <a:lnTo>
                    <a:pt x="64" y="0"/>
                  </a:lnTo>
                  <a:lnTo>
                    <a:pt x="67" y="1"/>
                  </a:lnTo>
                  <a:lnTo>
                    <a:pt x="69" y="3"/>
                  </a:lnTo>
                  <a:lnTo>
                    <a:pt x="71" y="5"/>
                  </a:lnTo>
                  <a:lnTo>
                    <a:pt x="72" y="8"/>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74" name="Freeform 244"/>
            <p:cNvSpPr>
              <a:spLocks/>
            </p:cNvSpPr>
            <p:nvPr/>
          </p:nvSpPr>
          <p:spPr bwMode="auto">
            <a:xfrm>
              <a:off x="15398750" y="981075"/>
              <a:ext cx="114300" cy="114300"/>
            </a:xfrm>
            <a:custGeom>
              <a:avLst/>
              <a:gdLst>
                <a:gd name="T0" fmla="*/ 72 w 72"/>
                <a:gd name="T1" fmla="*/ 64 h 72"/>
                <a:gd name="T2" fmla="*/ 72 w 72"/>
                <a:gd name="T3" fmla="*/ 67 h 72"/>
                <a:gd name="T4" fmla="*/ 71 w 72"/>
                <a:gd name="T5" fmla="*/ 69 h 72"/>
                <a:gd name="T6" fmla="*/ 68 w 72"/>
                <a:gd name="T7" fmla="*/ 71 h 72"/>
                <a:gd name="T8" fmla="*/ 64 w 72"/>
                <a:gd name="T9" fmla="*/ 72 h 72"/>
                <a:gd name="T10" fmla="*/ 8 w 72"/>
                <a:gd name="T11" fmla="*/ 72 h 72"/>
                <a:gd name="T12" fmla="*/ 5 w 72"/>
                <a:gd name="T13" fmla="*/ 71 h 72"/>
                <a:gd name="T14" fmla="*/ 3 w 72"/>
                <a:gd name="T15" fmla="*/ 69 h 72"/>
                <a:gd name="T16" fmla="*/ 1 w 72"/>
                <a:gd name="T17" fmla="*/ 67 h 72"/>
                <a:gd name="T18" fmla="*/ 0 w 72"/>
                <a:gd name="T19" fmla="*/ 64 h 72"/>
                <a:gd name="T20" fmla="*/ 0 w 72"/>
                <a:gd name="T21" fmla="*/ 8 h 72"/>
                <a:gd name="T22" fmla="*/ 1 w 72"/>
                <a:gd name="T23" fmla="*/ 5 h 72"/>
                <a:gd name="T24" fmla="*/ 3 w 72"/>
                <a:gd name="T25" fmla="*/ 3 h 72"/>
                <a:gd name="T26" fmla="*/ 5 w 72"/>
                <a:gd name="T27" fmla="*/ 1 h 72"/>
                <a:gd name="T28" fmla="*/ 8 w 72"/>
                <a:gd name="T29" fmla="*/ 0 h 72"/>
                <a:gd name="T30" fmla="*/ 64 w 72"/>
                <a:gd name="T31" fmla="*/ 0 h 72"/>
                <a:gd name="T32" fmla="*/ 68 w 72"/>
                <a:gd name="T33" fmla="*/ 1 h 72"/>
                <a:gd name="T34" fmla="*/ 71 w 72"/>
                <a:gd name="T35" fmla="*/ 3 h 72"/>
                <a:gd name="T36" fmla="*/ 72 w 72"/>
                <a:gd name="T37" fmla="*/ 5 h 72"/>
                <a:gd name="T38" fmla="*/ 72 w 72"/>
                <a:gd name="T39" fmla="*/ 8 h 72"/>
                <a:gd name="T40" fmla="*/ 72 w 72"/>
                <a:gd name="T41"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2">
                  <a:moveTo>
                    <a:pt x="72" y="64"/>
                  </a:moveTo>
                  <a:lnTo>
                    <a:pt x="72" y="67"/>
                  </a:lnTo>
                  <a:lnTo>
                    <a:pt x="71" y="69"/>
                  </a:lnTo>
                  <a:lnTo>
                    <a:pt x="68" y="71"/>
                  </a:lnTo>
                  <a:lnTo>
                    <a:pt x="64" y="72"/>
                  </a:lnTo>
                  <a:lnTo>
                    <a:pt x="8" y="72"/>
                  </a:lnTo>
                  <a:lnTo>
                    <a:pt x="5" y="71"/>
                  </a:lnTo>
                  <a:lnTo>
                    <a:pt x="3" y="69"/>
                  </a:lnTo>
                  <a:lnTo>
                    <a:pt x="1" y="67"/>
                  </a:lnTo>
                  <a:lnTo>
                    <a:pt x="0" y="64"/>
                  </a:lnTo>
                  <a:lnTo>
                    <a:pt x="0" y="8"/>
                  </a:lnTo>
                  <a:lnTo>
                    <a:pt x="1" y="5"/>
                  </a:lnTo>
                  <a:lnTo>
                    <a:pt x="3" y="3"/>
                  </a:lnTo>
                  <a:lnTo>
                    <a:pt x="5" y="1"/>
                  </a:lnTo>
                  <a:lnTo>
                    <a:pt x="8" y="0"/>
                  </a:lnTo>
                  <a:lnTo>
                    <a:pt x="64" y="0"/>
                  </a:lnTo>
                  <a:lnTo>
                    <a:pt x="68" y="1"/>
                  </a:lnTo>
                  <a:lnTo>
                    <a:pt x="71" y="3"/>
                  </a:lnTo>
                  <a:lnTo>
                    <a:pt x="72" y="5"/>
                  </a:lnTo>
                  <a:lnTo>
                    <a:pt x="72" y="8"/>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75" name="Freeform 245"/>
            <p:cNvSpPr>
              <a:spLocks noEditPoints="1"/>
            </p:cNvSpPr>
            <p:nvPr/>
          </p:nvSpPr>
          <p:spPr bwMode="auto">
            <a:xfrm>
              <a:off x="15544800" y="981075"/>
              <a:ext cx="114300" cy="114300"/>
            </a:xfrm>
            <a:custGeom>
              <a:avLst/>
              <a:gdLst>
                <a:gd name="T0" fmla="*/ 65 w 72"/>
                <a:gd name="T1" fmla="*/ 0 h 72"/>
                <a:gd name="T2" fmla="*/ 8 w 72"/>
                <a:gd name="T3" fmla="*/ 0 h 72"/>
                <a:gd name="T4" fmla="*/ 6 w 72"/>
                <a:gd name="T5" fmla="*/ 1 h 72"/>
                <a:gd name="T6" fmla="*/ 3 w 72"/>
                <a:gd name="T7" fmla="*/ 3 h 72"/>
                <a:gd name="T8" fmla="*/ 2 w 72"/>
                <a:gd name="T9" fmla="*/ 5 h 72"/>
                <a:gd name="T10" fmla="*/ 0 w 72"/>
                <a:gd name="T11" fmla="*/ 8 h 72"/>
                <a:gd name="T12" fmla="*/ 0 w 72"/>
                <a:gd name="T13" fmla="*/ 64 h 72"/>
                <a:gd name="T14" fmla="*/ 2 w 72"/>
                <a:gd name="T15" fmla="*/ 67 h 72"/>
                <a:gd name="T16" fmla="*/ 3 w 72"/>
                <a:gd name="T17" fmla="*/ 69 h 72"/>
                <a:gd name="T18" fmla="*/ 6 w 72"/>
                <a:gd name="T19" fmla="*/ 71 h 72"/>
                <a:gd name="T20" fmla="*/ 8 w 72"/>
                <a:gd name="T21" fmla="*/ 72 h 72"/>
                <a:gd name="T22" fmla="*/ 65 w 72"/>
                <a:gd name="T23" fmla="*/ 72 h 72"/>
                <a:gd name="T24" fmla="*/ 67 w 72"/>
                <a:gd name="T25" fmla="*/ 71 h 72"/>
                <a:gd name="T26" fmla="*/ 70 w 72"/>
                <a:gd name="T27" fmla="*/ 69 h 72"/>
                <a:gd name="T28" fmla="*/ 72 w 72"/>
                <a:gd name="T29" fmla="*/ 67 h 72"/>
                <a:gd name="T30" fmla="*/ 72 w 72"/>
                <a:gd name="T31" fmla="*/ 64 h 72"/>
                <a:gd name="T32" fmla="*/ 72 w 72"/>
                <a:gd name="T33" fmla="*/ 8 h 72"/>
                <a:gd name="T34" fmla="*/ 72 w 72"/>
                <a:gd name="T35" fmla="*/ 5 h 72"/>
                <a:gd name="T36" fmla="*/ 70 w 72"/>
                <a:gd name="T37" fmla="*/ 3 h 72"/>
                <a:gd name="T38" fmla="*/ 67 w 72"/>
                <a:gd name="T39" fmla="*/ 1 h 72"/>
                <a:gd name="T40" fmla="*/ 65 w 72"/>
                <a:gd name="T41" fmla="*/ 0 h 72"/>
                <a:gd name="T42" fmla="*/ 53 w 72"/>
                <a:gd name="T43" fmla="*/ 53 h 72"/>
                <a:gd name="T44" fmla="*/ 20 w 72"/>
                <a:gd name="T45" fmla="*/ 53 h 72"/>
                <a:gd name="T46" fmla="*/ 20 w 72"/>
                <a:gd name="T47" fmla="*/ 19 h 72"/>
                <a:gd name="T48" fmla="*/ 53 w 72"/>
                <a:gd name="T49" fmla="*/ 19 h 72"/>
                <a:gd name="T50" fmla="*/ 53 w 72"/>
                <a:gd name="T51" fmla="*/ 5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 h="72">
                  <a:moveTo>
                    <a:pt x="65" y="0"/>
                  </a:moveTo>
                  <a:lnTo>
                    <a:pt x="8" y="0"/>
                  </a:lnTo>
                  <a:lnTo>
                    <a:pt x="6" y="1"/>
                  </a:lnTo>
                  <a:lnTo>
                    <a:pt x="3" y="3"/>
                  </a:lnTo>
                  <a:lnTo>
                    <a:pt x="2" y="5"/>
                  </a:lnTo>
                  <a:lnTo>
                    <a:pt x="0" y="8"/>
                  </a:lnTo>
                  <a:lnTo>
                    <a:pt x="0" y="64"/>
                  </a:lnTo>
                  <a:lnTo>
                    <a:pt x="2" y="67"/>
                  </a:lnTo>
                  <a:lnTo>
                    <a:pt x="3" y="69"/>
                  </a:lnTo>
                  <a:lnTo>
                    <a:pt x="6" y="71"/>
                  </a:lnTo>
                  <a:lnTo>
                    <a:pt x="8" y="72"/>
                  </a:lnTo>
                  <a:lnTo>
                    <a:pt x="65" y="72"/>
                  </a:lnTo>
                  <a:lnTo>
                    <a:pt x="67" y="71"/>
                  </a:lnTo>
                  <a:lnTo>
                    <a:pt x="70" y="69"/>
                  </a:lnTo>
                  <a:lnTo>
                    <a:pt x="72" y="67"/>
                  </a:lnTo>
                  <a:lnTo>
                    <a:pt x="72" y="64"/>
                  </a:lnTo>
                  <a:lnTo>
                    <a:pt x="72" y="8"/>
                  </a:lnTo>
                  <a:lnTo>
                    <a:pt x="72" y="5"/>
                  </a:lnTo>
                  <a:lnTo>
                    <a:pt x="70" y="3"/>
                  </a:lnTo>
                  <a:lnTo>
                    <a:pt x="67" y="1"/>
                  </a:lnTo>
                  <a:lnTo>
                    <a:pt x="65" y="0"/>
                  </a:lnTo>
                  <a:close/>
                  <a:moveTo>
                    <a:pt x="53" y="53"/>
                  </a:moveTo>
                  <a:lnTo>
                    <a:pt x="20" y="53"/>
                  </a:lnTo>
                  <a:lnTo>
                    <a:pt x="20" y="19"/>
                  </a:lnTo>
                  <a:lnTo>
                    <a:pt x="53" y="19"/>
                  </a:lnTo>
                  <a:lnTo>
                    <a:pt x="53" y="5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76" name="Freeform 246"/>
            <p:cNvSpPr>
              <a:spLocks/>
            </p:cNvSpPr>
            <p:nvPr/>
          </p:nvSpPr>
          <p:spPr bwMode="auto">
            <a:xfrm>
              <a:off x="15692438" y="981075"/>
              <a:ext cx="114300" cy="114300"/>
            </a:xfrm>
            <a:custGeom>
              <a:avLst/>
              <a:gdLst>
                <a:gd name="T0" fmla="*/ 72 w 72"/>
                <a:gd name="T1" fmla="*/ 64 h 72"/>
                <a:gd name="T2" fmla="*/ 70 w 72"/>
                <a:gd name="T3" fmla="*/ 67 h 72"/>
                <a:gd name="T4" fmla="*/ 69 w 72"/>
                <a:gd name="T5" fmla="*/ 69 h 72"/>
                <a:gd name="T6" fmla="*/ 67 w 72"/>
                <a:gd name="T7" fmla="*/ 71 h 72"/>
                <a:gd name="T8" fmla="*/ 64 w 72"/>
                <a:gd name="T9" fmla="*/ 72 h 72"/>
                <a:gd name="T10" fmla="*/ 8 w 72"/>
                <a:gd name="T11" fmla="*/ 72 h 72"/>
                <a:gd name="T12" fmla="*/ 4 w 72"/>
                <a:gd name="T13" fmla="*/ 71 h 72"/>
                <a:gd name="T14" fmla="*/ 2 w 72"/>
                <a:gd name="T15" fmla="*/ 69 h 72"/>
                <a:gd name="T16" fmla="*/ 0 w 72"/>
                <a:gd name="T17" fmla="*/ 67 h 72"/>
                <a:gd name="T18" fmla="*/ 0 w 72"/>
                <a:gd name="T19" fmla="*/ 64 h 72"/>
                <a:gd name="T20" fmla="*/ 0 w 72"/>
                <a:gd name="T21" fmla="*/ 8 h 72"/>
                <a:gd name="T22" fmla="*/ 0 w 72"/>
                <a:gd name="T23" fmla="*/ 5 h 72"/>
                <a:gd name="T24" fmla="*/ 2 w 72"/>
                <a:gd name="T25" fmla="*/ 3 h 72"/>
                <a:gd name="T26" fmla="*/ 4 w 72"/>
                <a:gd name="T27" fmla="*/ 1 h 72"/>
                <a:gd name="T28" fmla="*/ 8 w 72"/>
                <a:gd name="T29" fmla="*/ 0 h 72"/>
                <a:gd name="T30" fmla="*/ 64 w 72"/>
                <a:gd name="T31" fmla="*/ 0 h 72"/>
                <a:gd name="T32" fmla="*/ 67 w 72"/>
                <a:gd name="T33" fmla="*/ 1 h 72"/>
                <a:gd name="T34" fmla="*/ 69 w 72"/>
                <a:gd name="T35" fmla="*/ 3 h 72"/>
                <a:gd name="T36" fmla="*/ 70 w 72"/>
                <a:gd name="T37" fmla="*/ 5 h 72"/>
                <a:gd name="T38" fmla="*/ 72 w 72"/>
                <a:gd name="T39" fmla="*/ 8 h 72"/>
                <a:gd name="T40" fmla="*/ 72 w 72"/>
                <a:gd name="T41"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2">
                  <a:moveTo>
                    <a:pt x="72" y="64"/>
                  </a:moveTo>
                  <a:lnTo>
                    <a:pt x="70" y="67"/>
                  </a:lnTo>
                  <a:lnTo>
                    <a:pt x="69" y="69"/>
                  </a:lnTo>
                  <a:lnTo>
                    <a:pt x="67" y="71"/>
                  </a:lnTo>
                  <a:lnTo>
                    <a:pt x="64" y="72"/>
                  </a:lnTo>
                  <a:lnTo>
                    <a:pt x="8" y="72"/>
                  </a:lnTo>
                  <a:lnTo>
                    <a:pt x="4" y="71"/>
                  </a:lnTo>
                  <a:lnTo>
                    <a:pt x="2" y="69"/>
                  </a:lnTo>
                  <a:lnTo>
                    <a:pt x="0" y="67"/>
                  </a:lnTo>
                  <a:lnTo>
                    <a:pt x="0" y="64"/>
                  </a:lnTo>
                  <a:lnTo>
                    <a:pt x="0" y="8"/>
                  </a:lnTo>
                  <a:lnTo>
                    <a:pt x="0" y="5"/>
                  </a:lnTo>
                  <a:lnTo>
                    <a:pt x="2" y="3"/>
                  </a:lnTo>
                  <a:lnTo>
                    <a:pt x="4" y="1"/>
                  </a:lnTo>
                  <a:lnTo>
                    <a:pt x="8" y="0"/>
                  </a:lnTo>
                  <a:lnTo>
                    <a:pt x="64" y="0"/>
                  </a:lnTo>
                  <a:lnTo>
                    <a:pt x="67" y="1"/>
                  </a:lnTo>
                  <a:lnTo>
                    <a:pt x="69" y="3"/>
                  </a:lnTo>
                  <a:lnTo>
                    <a:pt x="70" y="5"/>
                  </a:lnTo>
                  <a:lnTo>
                    <a:pt x="72" y="8"/>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77" name="Freeform 247"/>
            <p:cNvSpPr>
              <a:spLocks/>
            </p:cNvSpPr>
            <p:nvPr/>
          </p:nvSpPr>
          <p:spPr bwMode="auto">
            <a:xfrm>
              <a:off x="15254288" y="1128713"/>
              <a:ext cx="114300" cy="112713"/>
            </a:xfrm>
            <a:custGeom>
              <a:avLst/>
              <a:gdLst>
                <a:gd name="T0" fmla="*/ 72 w 72"/>
                <a:gd name="T1" fmla="*/ 64 h 71"/>
                <a:gd name="T2" fmla="*/ 71 w 72"/>
                <a:gd name="T3" fmla="*/ 66 h 71"/>
                <a:gd name="T4" fmla="*/ 69 w 72"/>
                <a:gd name="T5" fmla="*/ 69 h 71"/>
                <a:gd name="T6" fmla="*/ 67 w 72"/>
                <a:gd name="T7" fmla="*/ 70 h 71"/>
                <a:gd name="T8" fmla="*/ 64 w 72"/>
                <a:gd name="T9" fmla="*/ 71 h 71"/>
                <a:gd name="T10" fmla="*/ 6 w 72"/>
                <a:gd name="T11" fmla="*/ 71 h 71"/>
                <a:gd name="T12" fmla="*/ 4 w 72"/>
                <a:gd name="T13" fmla="*/ 70 h 71"/>
                <a:gd name="T14" fmla="*/ 1 w 72"/>
                <a:gd name="T15" fmla="*/ 69 h 71"/>
                <a:gd name="T16" fmla="*/ 0 w 72"/>
                <a:gd name="T17" fmla="*/ 66 h 71"/>
                <a:gd name="T18" fmla="*/ 0 w 72"/>
                <a:gd name="T19" fmla="*/ 64 h 71"/>
                <a:gd name="T20" fmla="*/ 0 w 72"/>
                <a:gd name="T21" fmla="*/ 7 h 71"/>
                <a:gd name="T22" fmla="*/ 0 w 72"/>
                <a:gd name="T23" fmla="*/ 3 h 71"/>
                <a:gd name="T24" fmla="*/ 1 w 72"/>
                <a:gd name="T25" fmla="*/ 1 h 71"/>
                <a:gd name="T26" fmla="*/ 4 w 72"/>
                <a:gd name="T27" fmla="*/ 0 h 71"/>
                <a:gd name="T28" fmla="*/ 6 w 72"/>
                <a:gd name="T29" fmla="*/ 0 h 71"/>
                <a:gd name="T30" fmla="*/ 64 w 72"/>
                <a:gd name="T31" fmla="*/ 0 h 71"/>
                <a:gd name="T32" fmla="*/ 67 w 72"/>
                <a:gd name="T33" fmla="*/ 0 h 71"/>
                <a:gd name="T34" fmla="*/ 69 w 72"/>
                <a:gd name="T35" fmla="*/ 1 h 71"/>
                <a:gd name="T36" fmla="*/ 71 w 72"/>
                <a:gd name="T37" fmla="*/ 3 h 71"/>
                <a:gd name="T38" fmla="*/ 72 w 72"/>
                <a:gd name="T39" fmla="*/ 7 h 71"/>
                <a:gd name="T40" fmla="*/ 72 w 72"/>
                <a:gd name="T41" fmla="*/ 6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1">
                  <a:moveTo>
                    <a:pt x="72" y="64"/>
                  </a:moveTo>
                  <a:lnTo>
                    <a:pt x="71" y="66"/>
                  </a:lnTo>
                  <a:lnTo>
                    <a:pt x="69" y="69"/>
                  </a:lnTo>
                  <a:lnTo>
                    <a:pt x="67" y="70"/>
                  </a:lnTo>
                  <a:lnTo>
                    <a:pt x="64" y="71"/>
                  </a:lnTo>
                  <a:lnTo>
                    <a:pt x="6" y="71"/>
                  </a:lnTo>
                  <a:lnTo>
                    <a:pt x="4" y="70"/>
                  </a:lnTo>
                  <a:lnTo>
                    <a:pt x="1" y="69"/>
                  </a:lnTo>
                  <a:lnTo>
                    <a:pt x="0" y="66"/>
                  </a:lnTo>
                  <a:lnTo>
                    <a:pt x="0" y="64"/>
                  </a:lnTo>
                  <a:lnTo>
                    <a:pt x="0" y="7"/>
                  </a:lnTo>
                  <a:lnTo>
                    <a:pt x="0" y="3"/>
                  </a:lnTo>
                  <a:lnTo>
                    <a:pt x="1" y="1"/>
                  </a:lnTo>
                  <a:lnTo>
                    <a:pt x="4" y="0"/>
                  </a:lnTo>
                  <a:lnTo>
                    <a:pt x="6" y="0"/>
                  </a:lnTo>
                  <a:lnTo>
                    <a:pt x="64" y="0"/>
                  </a:lnTo>
                  <a:lnTo>
                    <a:pt x="67" y="0"/>
                  </a:lnTo>
                  <a:lnTo>
                    <a:pt x="69" y="1"/>
                  </a:lnTo>
                  <a:lnTo>
                    <a:pt x="71" y="3"/>
                  </a:lnTo>
                  <a:lnTo>
                    <a:pt x="72" y="7"/>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78" name="Freeform 248"/>
            <p:cNvSpPr>
              <a:spLocks/>
            </p:cNvSpPr>
            <p:nvPr/>
          </p:nvSpPr>
          <p:spPr bwMode="auto">
            <a:xfrm>
              <a:off x="15398750" y="1128713"/>
              <a:ext cx="114300" cy="112713"/>
            </a:xfrm>
            <a:custGeom>
              <a:avLst/>
              <a:gdLst>
                <a:gd name="T0" fmla="*/ 72 w 72"/>
                <a:gd name="T1" fmla="*/ 64 h 71"/>
                <a:gd name="T2" fmla="*/ 72 w 72"/>
                <a:gd name="T3" fmla="*/ 66 h 71"/>
                <a:gd name="T4" fmla="*/ 71 w 72"/>
                <a:gd name="T5" fmla="*/ 69 h 71"/>
                <a:gd name="T6" fmla="*/ 68 w 72"/>
                <a:gd name="T7" fmla="*/ 70 h 71"/>
                <a:gd name="T8" fmla="*/ 64 w 72"/>
                <a:gd name="T9" fmla="*/ 71 h 71"/>
                <a:gd name="T10" fmla="*/ 8 w 72"/>
                <a:gd name="T11" fmla="*/ 71 h 71"/>
                <a:gd name="T12" fmla="*/ 5 w 72"/>
                <a:gd name="T13" fmla="*/ 70 h 71"/>
                <a:gd name="T14" fmla="*/ 3 w 72"/>
                <a:gd name="T15" fmla="*/ 69 h 71"/>
                <a:gd name="T16" fmla="*/ 1 w 72"/>
                <a:gd name="T17" fmla="*/ 66 h 71"/>
                <a:gd name="T18" fmla="*/ 0 w 72"/>
                <a:gd name="T19" fmla="*/ 64 h 71"/>
                <a:gd name="T20" fmla="*/ 0 w 72"/>
                <a:gd name="T21" fmla="*/ 7 h 71"/>
                <a:gd name="T22" fmla="*/ 1 w 72"/>
                <a:gd name="T23" fmla="*/ 3 h 71"/>
                <a:gd name="T24" fmla="*/ 3 w 72"/>
                <a:gd name="T25" fmla="*/ 1 h 71"/>
                <a:gd name="T26" fmla="*/ 5 w 72"/>
                <a:gd name="T27" fmla="*/ 0 h 71"/>
                <a:gd name="T28" fmla="*/ 8 w 72"/>
                <a:gd name="T29" fmla="*/ 0 h 71"/>
                <a:gd name="T30" fmla="*/ 64 w 72"/>
                <a:gd name="T31" fmla="*/ 0 h 71"/>
                <a:gd name="T32" fmla="*/ 68 w 72"/>
                <a:gd name="T33" fmla="*/ 0 h 71"/>
                <a:gd name="T34" fmla="*/ 71 w 72"/>
                <a:gd name="T35" fmla="*/ 1 h 71"/>
                <a:gd name="T36" fmla="*/ 72 w 72"/>
                <a:gd name="T37" fmla="*/ 3 h 71"/>
                <a:gd name="T38" fmla="*/ 72 w 72"/>
                <a:gd name="T39" fmla="*/ 7 h 71"/>
                <a:gd name="T40" fmla="*/ 72 w 72"/>
                <a:gd name="T41" fmla="*/ 6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1">
                  <a:moveTo>
                    <a:pt x="72" y="64"/>
                  </a:moveTo>
                  <a:lnTo>
                    <a:pt x="72" y="66"/>
                  </a:lnTo>
                  <a:lnTo>
                    <a:pt x="71" y="69"/>
                  </a:lnTo>
                  <a:lnTo>
                    <a:pt x="68" y="70"/>
                  </a:lnTo>
                  <a:lnTo>
                    <a:pt x="64" y="71"/>
                  </a:lnTo>
                  <a:lnTo>
                    <a:pt x="8" y="71"/>
                  </a:lnTo>
                  <a:lnTo>
                    <a:pt x="5" y="70"/>
                  </a:lnTo>
                  <a:lnTo>
                    <a:pt x="3" y="69"/>
                  </a:lnTo>
                  <a:lnTo>
                    <a:pt x="1" y="66"/>
                  </a:lnTo>
                  <a:lnTo>
                    <a:pt x="0" y="64"/>
                  </a:lnTo>
                  <a:lnTo>
                    <a:pt x="0" y="7"/>
                  </a:lnTo>
                  <a:lnTo>
                    <a:pt x="1" y="3"/>
                  </a:lnTo>
                  <a:lnTo>
                    <a:pt x="3" y="1"/>
                  </a:lnTo>
                  <a:lnTo>
                    <a:pt x="5" y="0"/>
                  </a:lnTo>
                  <a:lnTo>
                    <a:pt x="8" y="0"/>
                  </a:lnTo>
                  <a:lnTo>
                    <a:pt x="64" y="0"/>
                  </a:lnTo>
                  <a:lnTo>
                    <a:pt x="68" y="0"/>
                  </a:lnTo>
                  <a:lnTo>
                    <a:pt x="71" y="1"/>
                  </a:lnTo>
                  <a:lnTo>
                    <a:pt x="72" y="3"/>
                  </a:lnTo>
                  <a:lnTo>
                    <a:pt x="72" y="7"/>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79" name="Freeform 249"/>
            <p:cNvSpPr>
              <a:spLocks/>
            </p:cNvSpPr>
            <p:nvPr/>
          </p:nvSpPr>
          <p:spPr bwMode="auto">
            <a:xfrm>
              <a:off x="15544800" y="1128713"/>
              <a:ext cx="114300" cy="112713"/>
            </a:xfrm>
            <a:custGeom>
              <a:avLst/>
              <a:gdLst>
                <a:gd name="T0" fmla="*/ 72 w 72"/>
                <a:gd name="T1" fmla="*/ 64 h 71"/>
                <a:gd name="T2" fmla="*/ 72 w 72"/>
                <a:gd name="T3" fmla="*/ 66 h 71"/>
                <a:gd name="T4" fmla="*/ 70 w 72"/>
                <a:gd name="T5" fmla="*/ 69 h 71"/>
                <a:gd name="T6" fmla="*/ 67 w 72"/>
                <a:gd name="T7" fmla="*/ 70 h 71"/>
                <a:gd name="T8" fmla="*/ 65 w 72"/>
                <a:gd name="T9" fmla="*/ 71 h 71"/>
                <a:gd name="T10" fmla="*/ 8 w 72"/>
                <a:gd name="T11" fmla="*/ 71 h 71"/>
                <a:gd name="T12" fmla="*/ 6 w 72"/>
                <a:gd name="T13" fmla="*/ 70 h 71"/>
                <a:gd name="T14" fmla="*/ 3 w 72"/>
                <a:gd name="T15" fmla="*/ 69 h 71"/>
                <a:gd name="T16" fmla="*/ 2 w 72"/>
                <a:gd name="T17" fmla="*/ 66 h 71"/>
                <a:gd name="T18" fmla="*/ 0 w 72"/>
                <a:gd name="T19" fmla="*/ 64 h 71"/>
                <a:gd name="T20" fmla="*/ 0 w 72"/>
                <a:gd name="T21" fmla="*/ 7 h 71"/>
                <a:gd name="T22" fmla="*/ 2 w 72"/>
                <a:gd name="T23" fmla="*/ 3 h 71"/>
                <a:gd name="T24" fmla="*/ 3 w 72"/>
                <a:gd name="T25" fmla="*/ 1 h 71"/>
                <a:gd name="T26" fmla="*/ 6 w 72"/>
                <a:gd name="T27" fmla="*/ 0 h 71"/>
                <a:gd name="T28" fmla="*/ 8 w 72"/>
                <a:gd name="T29" fmla="*/ 0 h 71"/>
                <a:gd name="T30" fmla="*/ 65 w 72"/>
                <a:gd name="T31" fmla="*/ 0 h 71"/>
                <a:gd name="T32" fmla="*/ 67 w 72"/>
                <a:gd name="T33" fmla="*/ 0 h 71"/>
                <a:gd name="T34" fmla="*/ 70 w 72"/>
                <a:gd name="T35" fmla="*/ 1 h 71"/>
                <a:gd name="T36" fmla="*/ 72 w 72"/>
                <a:gd name="T37" fmla="*/ 3 h 71"/>
                <a:gd name="T38" fmla="*/ 72 w 72"/>
                <a:gd name="T39" fmla="*/ 7 h 71"/>
                <a:gd name="T40" fmla="*/ 72 w 72"/>
                <a:gd name="T41" fmla="*/ 6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1">
                  <a:moveTo>
                    <a:pt x="72" y="64"/>
                  </a:moveTo>
                  <a:lnTo>
                    <a:pt x="72" y="66"/>
                  </a:lnTo>
                  <a:lnTo>
                    <a:pt x="70" y="69"/>
                  </a:lnTo>
                  <a:lnTo>
                    <a:pt x="67" y="70"/>
                  </a:lnTo>
                  <a:lnTo>
                    <a:pt x="65" y="71"/>
                  </a:lnTo>
                  <a:lnTo>
                    <a:pt x="8" y="71"/>
                  </a:lnTo>
                  <a:lnTo>
                    <a:pt x="6" y="70"/>
                  </a:lnTo>
                  <a:lnTo>
                    <a:pt x="3" y="69"/>
                  </a:lnTo>
                  <a:lnTo>
                    <a:pt x="2" y="66"/>
                  </a:lnTo>
                  <a:lnTo>
                    <a:pt x="0" y="64"/>
                  </a:lnTo>
                  <a:lnTo>
                    <a:pt x="0" y="7"/>
                  </a:lnTo>
                  <a:lnTo>
                    <a:pt x="2" y="3"/>
                  </a:lnTo>
                  <a:lnTo>
                    <a:pt x="3" y="1"/>
                  </a:lnTo>
                  <a:lnTo>
                    <a:pt x="6" y="0"/>
                  </a:lnTo>
                  <a:lnTo>
                    <a:pt x="8" y="0"/>
                  </a:lnTo>
                  <a:lnTo>
                    <a:pt x="65" y="0"/>
                  </a:lnTo>
                  <a:lnTo>
                    <a:pt x="67" y="0"/>
                  </a:lnTo>
                  <a:lnTo>
                    <a:pt x="70" y="1"/>
                  </a:lnTo>
                  <a:lnTo>
                    <a:pt x="72" y="3"/>
                  </a:lnTo>
                  <a:lnTo>
                    <a:pt x="72" y="7"/>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sp>
          <p:nvSpPr>
            <p:cNvPr id="180" name="Freeform 250"/>
            <p:cNvSpPr>
              <a:spLocks/>
            </p:cNvSpPr>
            <p:nvPr/>
          </p:nvSpPr>
          <p:spPr bwMode="auto">
            <a:xfrm>
              <a:off x="15692438" y="1128713"/>
              <a:ext cx="114300" cy="112713"/>
            </a:xfrm>
            <a:custGeom>
              <a:avLst/>
              <a:gdLst>
                <a:gd name="T0" fmla="*/ 72 w 72"/>
                <a:gd name="T1" fmla="*/ 64 h 71"/>
                <a:gd name="T2" fmla="*/ 70 w 72"/>
                <a:gd name="T3" fmla="*/ 66 h 71"/>
                <a:gd name="T4" fmla="*/ 69 w 72"/>
                <a:gd name="T5" fmla="*/ 69 h 71"/>
                <a:gd name="T6" fmla="*/ 67 w 72"/>
                <a:gd name="T7" fmla="*/ 70 h 71"/>
                <a:gd name="T8" fmla="*/ 64 w 72"/>
                <a:gd name="T9" fmla="*/ 71 h 71"/>
                <a:gd name="T10" fmla="*/ 8 w 72"/>
                <a:gd name="T11" fmla="*/ 71 h 71"/>
                <a:gd name="T12" fmla="*/ 4 w 72"/>
                <a:gd name="T13" fmla="*/ 70 h 71"/>
                <a:gd name="T14" fmla="*/ 2 w 72"/>
                <a:gd name="T15" fmla="*/ 69 h 71"/>
                <a:gd name="T16" fmla="*/ 0 w 72"/>
                <a:gd name="T17" fmla="*/ 66 h 71"/>
                <a:gd name="T18" fmla="*/ 0 w 72"/>
                <a:gd name="T19" fmla="*/ 64 h 71"/>
                <a:gd name="T20" fmla="*/ 0 w 72"/>
                <a:gd name="T21" fmla="*/ 7 h 71"/>
                <a:gd name="T22" fmla="*/ 0 w 72"/>
                <a:gd name="T23" fmla="*/ 3 h 71"/>
                <a:gd name="T24" fmla="*/ 2 w 72"/>
                <a:gd name="T25" fmla="*/ 1 h 71"/>
                <a:gd name="T26" fmla="*/ 4 w 72"/>
                <a:gd name="T27" fmla="*/ 0 h 71"/>
                <a:gd name="T28" fmla="*/ 8 w 72"/>
                <a:gd name="T29" fmla="*/ 0 h 71"/>
                <a:gd name="T30" fmla="*/ 64 w 72"/>
                <a:gd name="T31" fmla="*/ 0 h 71"/>
                <a:gd name="T32" fmla="*/ 67 w 72"/>
                <a:gd name="T33" fmla="*/ 0 h 71"/>
                <a:gd name="T34" fmla="*/ 69 w 72"/>
                <a:gd name="T35" fmla="*/ 1 h 71"/>
                <a:gd name="T36" fmla="*/ 70 w 72"/>
                <a:gd name="T37" fmla="*/ 3 h 71"/>
                <a:gd name="T38" fmla="*/ 72 w 72"/>
                <a:gd name="T39" fmla="*/ 7 h 71"/>
                <a:gd name="T40" fmla="*/ 72 w 72"/>
                <a:gd name="T41" fmla="*/ 6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71">
                  <a:moveTo>
                    <a:pt x="72" y="64"/>
                  </a:moveTo>
                  <a:lnTo>
                    <a:pt x="70" y="66"/>
                  </a:lnTo>
                  <a:lnTo>
                    <a:pt x="69" y="69"/>
                  </a:lnTo>
                  <a:lnTo>
                    <a:pt x="67" y="70"/>
                  </a:lnTo>
                  <a:lnTo>
                    <a:pt x="64" y="71"/>
                  </a:lnTo>
                  <a:lnTo>
                    <a:pt x="8" y="71"/>
                  </a:lnTo>
                  <a:lnTo>
                    <a:pt x="4" y="70"/>
                  </a:lnTo>
                  <a:lnTo>
                    <a:pt x="2" y="69"/>
                  </a:lnTo>
                  <a:lnTo>
                    <a:pt x="0" y="66"/>
                  </a:lnTo>
                  <a:lnTo>
                    <a:pt x="0" y="64"/>
                  </a:lnTo>
                  <a:lnTo>
                    <a:pt x="0" y="7"/>
                  </a:lnTo>
                  <a:lnTo>
                    <a:pt x="0" y="3"/>
                  </a:lnTo>
                  <a:lnTo>
                    <a:pt x="2" y="1"/>
                  </a:lnTo>
                  <a:lnTo>
                    <a:pt x="4" y="0"/>
                  </a:lnTo>
                  <a:lnTo>
                    <a:pt x="8" y="0"/>
                  </a:lnTo>
                  <a:lnTo>
                    <a:pt x="64" y="0"/>
                  </a:lnTo>
                  <a:lnTo>
                    <a:pt x="67" y="0"/>
                  </a:lnTo>
                  <a:lnTo>
                    <a:pt x="69" y="1"/>
                  </a:lnTo>
                  <a:lnTo>
                    <a:pt x="70" y="3"/>
                  </a:lnTo>
                  <a:lnTo>
                    <a:pt x="72" y="7"/>
                  </a:lnTo>
                  <a:lnTo>
                    <a:pt x="72"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00">
                <a:solidFill>
                  <a:schemeClr val="bg1"/>
                </a:solidFill>
              </a:endParaRPr>
            </a:p>
          </p:txBody>
        </p:sp>
      </p:grpSp>
      <p:cxnSp>
        <p:nvCxnSpPr>
          <p:cNvPr id="182" name="Straight Connector 181"/>
          <p:cNvCxnSpPr>
            <a:cxnSpLocks/>
          </p:cNvCxnSpPr>
          <p:nvPr/>
        </p:nvCxnSpPr>
        <p:spPr>
          <a:xfrm>
            <a:off x="5290089" y="3383826"/>
            <a:ext cx="0" cy="2360119"/>
          </a:xfrm>
          <a:prstGeom prst="line">
            <a:avLst/>
          </a:prstGeom>
          <a:ln w="12700">
            <a:solidFill>
              <a:schemeClr val="accent6"/>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7" name="TextBox 206"/>
          <p:cNvSpPr txBox="1">
            <a:spLocks/>
          </p:cNvSpPr>
          <p:nvPr/>
        </p:nvSpPr>
        <p:spPr bwMode="gray">
          <a:xfrm>
            <a:off x="436359" y="3327887"/>
            <a:ext cx="1497766" cy="415934"/>
          </a:xfrm>
          <a:prstGeom prst="rect">
            <a:avLst/>
          </a:prstGeom>
          <a:solidFill>
            <a:schemeClr val="accent1">
              <a:lumMod val="75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lgn="ctr">
              <a:defRPr>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l"/>
            <a:r>
              <a:rPr lang="en-US" sz="1100" b="1" dirty="0">
                <a:solidFill>
                  <a:schemeClr val="bg1"/>
                </a:solidFill>
              </a:rPr>
              <a:t>Cultural</a:t>
            </a:r>
          </a:p>
        </p:txBody>
      </p:sp>
      <p:sp>
        <p:nvSpPr>
          <p:cNvPr id="208" name="TextBox 207"/>
          <p:cNvSpPr txBox="1">
            <a:spLocks/>
          </p:cNvSpPr>
          <p:nvPr/>
        </p:nvSpPr>
        <p:spPr>
          <a:xfrm>
            <a:off x="6546745" y="3327887"/>
            <a:ext cx="1953929"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100" dirty="0" err="1" smtClean="0"/>
              <a:t>Monwabisi</a:t>
            </a:r>
            <a:r>
              <a:rPr lang="en-US" sz="1100" dirty="0" smtClean="0"/>
              <a:t> recreational node</a:t>
            </a:r>
            <a:endParaRPr lang="en-US" sz="1100" dirty="0"/>
          </a:p>
        </p:txBody>
      </p:sp>
      <p:sp>
        <p:nvSpPr>
          <p:cNvPr id="209" name="TextBox 208"/>
          <p:cNvSpPr txBox="1">
            <a:spLocks/>
          </p:cNvSpPr>
          <p:nvPr/>
        </p:nvSpPr>
        <p:spPr>
          <a:xfrm>
            <a:off x="2089177" y="3327887"/>
            <a:ext cx="1934583"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National Heritage Festival</a:t>
            </a:r>
            <a:endParaRPr lang="en-US" sz="1100" dirty="0"/>
          </a:p>
        </p:txBody>
      </p:sp>
      <p:sp>
        <p:nvSpPr>
          <p:cNvPr id="205" name="TextBox 204"/>
          <p:cNvSpPr txBox="1">
            <a:spLocks/>
          </p:cNvSpPr>
          <p:nvPr/>
        </p:nvSpPr>
        <p:spPr bwMode="gray">
          <a:xfrm>
            <a:off x="436359" y="3781969"/>
            <a:ext cx="1497766" cy="415934"/>
          </a:xfrm>
          <a:prstGeom prst="rect">
            <a:avLst/>
          </a:prstGeom>
          <a:solidFill>
            <a:schemeClr val="accent1">
              <a:lumMod val="75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err="1">
                <a:solidFill>
                  <a:schemeClr val="bg1"/>
                </a:solidFill>
              </a:rPr>
              <a:t>BLeisure</a:t>
            </a:r>
            <a:endParaRPr lang="en-US" dirty="0">
              <a:solidFill>
                <a:schemeClr val="bg1"/>
              </a:solidFill>
            </a:endParaRPr>
          </a:p>
        </p:txBody>
      </p:sp>
      <p:sp>
        <p:nvSpPr>
          <p:cNvPr id="206" name="TextBox 205"/>
          <p:cNvSpPr txBox="1">
            <a:spLocks/>
          </p:cNvSpPr>
          <p:nvPr/>
        </p:nvSpPr>
        <p:spPr>
          <a:xfrm>
            <a:off x="6546745" y="3781969"/>
            <a:ext cx="1953929"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100" dirty="0" err="1" smtClean="0"/>
              <a:t>Nonoti</a:t>
            </a:r>
            <a:r>
              <a:rPr lang="en-US" sz="1100" dirty="0" smtClean="0"/>
              <a:t> Resort</a:t>
            </a:r>
            <a:endParaRPr lang="en-US" sz="1100" dirty="0"/>
          </a:p>
        </p:txBody>
      </p:sp>
      <p:sp>
        <p:nvSpPr>
          <p:cNvPr id="186" name="TextBox 185"/>
          <p:cNvSpPr txBox="1">
            <a:spLocks/>
          </p:cNvSpPr>
          <p:nvPr/>
        </p:nvSpPr>
        <p:spPr>
          <a:xfrm>
            <a:off x="4322798" y="4479247"/>
            <a:ext cx="1934583" cy="169277"/>
          </a:xfrm>
          <a:prstGeom prst="rect">
            <a:avLst/>
          </a:prstGeom>
          <a:solidFill>
            <a:schemeClr val="accent1">
              <a:lumMod val="20000"/>
              <a:lumOff val="80000"/>
            </a:schemeClr>
          </a:solid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100" dirty="0" smtClean="0"/>
              <a:t>Indi-Atlantic route</a:t>
            </a:r>
            <a:endParaRPr lang="en-US" sz="1100" dirty="0"/>
          </a:p>
        </p:txBody>
      </p:sp>
      <p:sp>
        <p:nvSpPr>
          <p:cNvPr id="185" name="TextBox 184"/>
          <p:cNvSpPr txBox="1">
            <a:spLocks/>
          </p:cNvSpPr>
          <p:nvPr/>
        </p:nvSpPr>
        <p:spPr bwMode="gray">
          <a:xfrm>
            <a:off x="436359" y="4236051"/>
            <a:ext cx="1497766" cy="507831"/>
          </a:xfrm>
          <a:prstGeom prst="rect">
            <a:avLst/>
          </a:prstGeom>
          <a:solidFill>
            <a:schemeClr val="accent1">
              <a:lumMod val="75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a:solidFill>
                  <a:schemeClr val="bg1"/>
                </a:solidFill>
              </a:rPr>
              <a:t>Adventure</a:t>
            </a:r>
          </a:p>
        </p:txBody>
      </p:sp>
      <p:sp>
        <p:nvSpPr>
          <p:cNvPr id="187" name="TextBox 186"/>
          <p:cNvSpPr txBox="1">
            <a:spLocks/>
          </p:cNvSpPr>
          <p:nvPr/>
        </p:nvSpPr>
        <p:spPr>
          <a:xfrm>
            <a:off x="6546745" y="4236051"/>
            <a:ext cx="1953929"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Alexander Bay airport </a:t>
            </a:r>
            <a:endParaRPr lang="en-US" sz="1100" dirty="0"/>
          </a:p>
        </p:txBody>
      </p:sp>
      <p:sp>
        <p:nvSpPr>
          <p:cNvPr id="188" name="TextBox 187"/>
          <p:cNvSpPr txBox="1">
            <a:spLocks/>
          </p:cNvSpPr>
          <p:nvPr/>
        </p:nvSpPr>
        <p:spPr>
          <a:xfrm>
            <a:off x="2089177" y="4236051"/>
            <a:ext cx="1934583" cy="5078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100" smtClean="0"/>
              <a:t>Durban City marathon</a:t>
            </a:r>
            <a:endParaRPr lang="en-US" sz="1100" dirty="0" smtClean="0"/>
          </a:p>
          <a:p>
            <a:pPr lvl="1"/>
            <a:r>
              <a:rPr lang="en-US" sz="1100" dirty="0" smtClean="0"/>
              <a:t>Volvo Ocean race</a:t>
            </a:r>
          </a:p>
          <a:p>
            <a:pPr lvl="1"/>
            <a:r>
              <a:rPr lang="en-US" sz="1100" dirty="0" smtClean="0"/>
              <a:t>Diamond Coast Triathlon</a:t>
            </a:r>
            <a:endParaRPr lang="en-US" sz="1100" dirty="0"/>
          </a:p>
        </p:txBody>
      </p:sp>
      <p:sp>
        <p:nvSpPr>
          <p:cNvPr id="203" name="TextBox 202"/>
          <p:cNvSpPr txBox="1">
            <a:spLocks/>
          </p:cNvSpPr>
          <p:nvPr/>
        </p:nvSpPr>
        <p:spPr bwMode="gray">
          <a:xfrm>
            <a:off x="436359" y="4782030"/>
            <a:ext cx="1497766" cy="507831"/>
          </a:xfrm>
          <a:prstGeom prst="rect">
            <a:avLst/>
          </a:prstGeom>
          <a:solidFill>
            <a:schemeClr val="accent1">
              <a:lumMod val="75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a:solidFill>
                  <a:schemeClr val="bg1"/>
                </a:solidFill>
              </a:rPr>
              <a:t>Lifestyle</a:t>
            </a:r>
          </a:p>
        </p:txBody>
      </p:sp>
      <p:sp>
        <p:nvSpPr>
          <p:cNvPr id="204" name="TextBox 203"/>
          <p:cNvSpPr txBox="1">
            <a:spLocks/>
          </p:cNvSpPr>
          <p:nvPr/>
        </p:nvSpPr>
        <p:spPr>
          <a:xfrm>
            <a:off x="6546745" y="4782030"/>
            <a:ext cx="1953929" cy="5078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Ports St Johns waterfront</a:t>
            </a:r>
          </a:p>
          <a:p>
            <a:pPr lvl="1"/>
            <a:r>
              <a:rPr lang="en-US" sz="1100" dirty="0" smtClean="0"/>
              <a:t>Cruise terminals and cruise liner</a:t>
            </a:r>
            <a:endParaRPr lang="en-US" sz="1100" dirty="0"/>
          </a:p>
        </p:txBody>
      </p:sp>
      <p:sp>
        <p:nvSpPr>
          <p:cNvPr id="201" name="TextBox 200"/>
          <p:cNvSpPr txBox="1">
            <a:spLocks/>
          </p:cNvSpPr>
          <p:nvPr/>
        </p:nvSpPr>
        <p:spPr bwMode="gray">
          <a:xfrm>
            <a:off x="436359" y="5328011"/>
            <a:ext cx="1497766" cy="415934"/>
          </a:xfrm>
          <a:prstGeom prst="rect">
            <a:avLst/>
          </a:prstGeom>
          <a:solidFill>
            <a:schemeClr val="accent1">
              <a:lumMod val="75000"/>
            </a:schemeClr>
          </a:solidFill>
          <a:ln w="9525">
            <a:noFill/>
          </a:ln>
          <a:effectLst>
            <a:innerShdw blurRad="63500" dist="50800" dir="16200000">
              <a:schemeClr val="accent2">
                <a:alpha val="50000"/>
              </a:schemeClr>
            </a:inn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defPPr>
              <a:defRPr lang="en-US"/>
            </a:defPPr>
            <a:lvl1pPr>
              <a:defRPr sz="1100" b="1">
                <a:solidFill>
                  <a:schemeClr val="tx2"/>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smtClean="0">
                <a:solidFill>
                  <a:schemeClr val="bg1"/>
                </a:solidFill>
              </a:rPr>
              <a:t>Beach</a:t>
            </a:r>
            <a:endParaRPr lang="en-US" dirty="0">
              <a:solidFill>
                <a:schemeClr val="bg1"/>
              </a:solidFill>
            </a:endParaRPr>
          </a:p>
        </p:txBody>
      </p:sp>
      <p:sp>
        <p:nvSpPr>
          <p:cNvPr id="202" name="TextBox 201"/>
          <p:cNvSpPr txBox="1">
            <a:spLocks/>
          </p:cNvSpPr>
          <p:nvPr/>
        </p:nvSpPr>
        <p:spPr>
          <a:xfrm>
            <a:off x="6546745" y="5328011"/>
            <a:ext cx="1953929"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100" dirty="0" smtClean="0"/>
              <a:t>Blue flag beaches</a:t>
            </a:r>
            <a:endParaRPr lang="en-US" sz="1100" dirty="0"/>
          </a:p>
        </p:txBody>
      </p:sp>
      <p:cxnSp>
        <p:nvCxnSpPr>
          <p:cNvPr id="197" name="Straight Connector 196"/>
          <p:cNvCxnSpPr>
            <a:cxnSpLocks/>
          </p:cNvCxnSpPr>
          <p:nvPr/>
        </p:nvCxnSpPr>
        <p:spPr>
          <a:xfrm flipV="1">
            <a:off x="2089176" y="3762895"/>
            <a:ext cx="193458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a:cxnSpLocks/>
          </p:cNvCxnSpPr>
          <p:nvPr/>
        </p:nvCxnSpPr>
        <p:spPr>
          <a:xfrm flipV="1">
            <a:off x="6556418" y="3762895"/>
            <a:ext cx="193458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cxnSpLocks/>
          </p:cNvCxnSpPr>
          <p:nvPr/>
        </p:nvCxnSpPr>
        <p:spPr>
          <a:xfrm>
            <a:off x="2089176" y="4216977"/>
            <a:ext cx="193458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a:cxnSpLocks/>
          </p:cNvCxnSpPr>
          <p:nvPr/>
        </p:nvCxnSpPr>
        <p:spPr>
          <a:xfrm>
            <a:off x="6556418" y="4216977"/>
            <a:ext cx="193458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a:cxnSpLocks/>
          </p:cNvCxnSpPr>
          <p:nvPr/>
        </p:nvCxnSpPr>
        <p:spPr>
          <a:xfrm flipV="1">
            <a:off x="2089176" y="4762956"/>
            <a:ext cx="193458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a:cxnSpLocks/>
          </p:cNvCxnSpPr>
          <p:nvPr/>
        </p:nvCxnSpPr>
        <p:spPr>
          <a:xfrm flipV="1">
            <a:off x="6556418" y="4762956"/>
            <a:ext cx="193458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a:cxnSpLocks/>
          </p:cNvCxnSpPr>
          <p:nvPr/>
        </p:nvCxnSpPr>
        <p:spPr>
          <a:xfrm>
            <a:off x="2089176" y="5308935"/>
            <a:ext cx="193458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cxnSpLocks/>
          </p:cNvCxnSpPr>
          <p:nvPr/>
        </p:nvCxnSpPr>
        <p:spPr>
          <a:xfrm>
            <a:off x="6556418" y="5308935"/>
            <a:ext cx="193458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599430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4059" y="230188"/>
            <a:ext cx="8325929" cy="584775"/>
          </a:xfrm>
        </p:spPr>
        <p:txBody>
          <a:bodyPr/>
          <a:lstStyle/>
          <a:p>
            <a:r>
              <a:rPr lang="en-US" dirty="0" smtClean="0"/>
              <a:t>The goal of regulation initiative is to create an institutional support to unlock growth in </a:t>
            </a:r>
            <a:r>
              <a:rPr lang="en-US" dirty="0" err="1" smtClean="0"/>
              <a:t>C&amp;M</a:t>
            </a:r>
            <a:r>
              <a:rPr lang="en-US" dirty="0" smtClean="0"/>
              <a:t> tourism (2/2)</a:t>
            </a:r>
            <a:endParaRPr lang="en-US" dirty="0"/>
          </a:p>
        </p:txBody>
      </p:sp>
      <p:sp>
        <p:nvSpPr>
          <p:cNvPr id="8" name="1. On-page tracker"/>
          <p:cNvSpPr>
            <a:spLocks noChangeArrowheads="1"/>
          </p:cNvSpPr>
          <p:nvPr/>
        </p:nvSpPr>
        <p:spPr bwMode="auto">
          <a:xfrm>
            <a:off x="171451" y="26988"/>
            <a:ext cx="762644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77825"/>
            <a:r>
              <a:rPr lang="en-US" sz="1400" dirty="0">
                <a:solidFill>
                  <a:srgbClr val="808080"/>
                </a:solidFill>
                <a:latin typeface="+mn-lt"/>
              </a:rPr>
              <a:t>PROPOSED INITIATIVES: INSTITUTIONAL SUPPORT, REGULATION AND PERMITTING</a:t>
            </a:r>
          </a:p>
        </p:txBody>
      </p:sp>
      <p:sp>
        <p:nvSpPr>
          <p:cNvPr id="9" name="4. Footnote"/>
          <p:cNvSpPr txBox="1">
            <a:spLocks noChangeArrowheads="1"/>
          </p:cNvSpPr>
          <p:nvPr/>
        </p:nvSpPr>
        <p:spPr bwMode="auto">
          <a:xfrm>
            <a:off x="171752" y="5806050"/>
            <a:ext cx="861823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104775" indent="-104775" defTabSz="895350">
              <a:defRPr sz="9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800" dirty="0"/>
              <a:t>1 Initial fee R8,300 , annual fee R12,000-R36,000, launch permit R2,000-R5,000, vessel permit </a:t>
            </a:r>
            <a:r>
              <a:rPr lang="en-US" sz="800" dirty="0" smtClean="0"/>
              <a:t>R1,200-R4,000		2 </a:t>
            </a:r>
            <a:r>
              <a:rPr lang="en-US" sz="800" dirty="0"/>
              <a:t>For a new permit</a:t>
            </a:r>
          </a:p>
          <a:p>
            <a:r>
              <a:rPr lang="en-US" sz="800" dirty="0"/>
              <a:t>3 Mean days are 126.3. Suitability based on sea, weather conditions and availability of </a:t>
            </a:r>
            <a:r>
              <a:rPr lang="en-US" sz="800" dirty="0" smtClean="0"/>
              <a:t>whales</a:t>
            </a:r>
          </a:p>
          <a:p>
            <a:r>
              <a:rPr lang="en-US" sz="800" dirty="0" smtClean="0"/>
              <a:t>4 </a:t>
            </a:r>
            <a:r>
              <a:rPr lang="en-US" sz="800" dirty="0" err="1" smtClean="0"/>
              <a:t>SAMSA</a:t>
            </a:r>
            <a:r>
              <a:rPr lang="en-US" sz="800" dirty="0" smtClean="0"/>
              <a:t>- </a:t>
            </a:r>
            <a:r>
              <a:rPr lang="en-US" sz="800" dirty="0"/>
              <a:t>South African Maritime Safety Authority, </a:t>
            </a:r>
            <a:r>
              <a:rPr lang="en-US" sz="800" dirty="0" err="1"/>
              <a:t>DAFF</a:t>
            </a:r>
            <a:r>
              <a:rPr lang="en-US" sz="800" dirty="0"/>
              <a:t> – Department of Agriculture, Forestry and Fisheries, </a:t>
            </a:r>
            <a:r>
              <a:rPr lang="en-US" sz="800" dirty="0" err="1"/>
              <a:t>CIPC</a:t>
            </a:r>
            <a:r>
              <a:rPr lang="en-US" sz="800" dirty="0"/>
              <a:t> – Companies and Intellectual Property Commission. </a:t>
            </a:r>
          </a:p>
        </p:txBody>
      </p:sp>
      <p:sp>
        <p:nvSpPr>
          <p:cNvPr id="11" name="Rectangle 10"/>
          <p:cNvSpPr>
            <a:spLocks/>
          </p:cNvSpPr>
          <p:nvPr/>
        </p:nvSpPr>
        <p:spPr>
          <a:xfrm>
            <a:off x="171451" y="901051"/>
            <a:ext cx="2997419" cy="4818910"/>
          </a:xfrm>
          <a:prstGeom prst="rect">
            <a:avLst/>
          </a:prstGeom>
          <a:solidFill>
            <a:schemeClr val="bg1"/>
          </a:solidFill>
          <a:ln w="9525" algn="ctr">
            <a:noFill/>
            <a:miter lim="800000"/>
            <a:headEnd/>
            <a:tailEnd/>
          </a:ln>
          <a:effectLst>
            <a:outerShdw blurRad="63500" dist="12700" dir="5400000" sx="101000" sy="101000" algn="t" rotWithShape="0">
              <a:schemeClr val="tx1">
                <a:lumMod val="75000"/>
                <a:lumOff val="25000"/>
                <a:alpha val="25000"/>
              </a:schemeClr>
            </a:outerShdw>
          </a:effectLst>
        </p:spPr>
        <p:txBody>
          <a:bodyPr wrap="none" anchor="ctr"/>
          <a:lstStyle/>
          <a:p>
            <a:endParaRPr lang="en-US" sz="1000" dirty="0" err="1">
              <a:solidFill>
                <a:schemeClr val="tx1"/>
              </a:solidFill>
            </a:endParaRPr>
          </a:p>
        </p:txBody>
      </p:sp>
      <p:sp>
        <p:nvSpPr>
          <p:cNvPr id="13" name="Rectangle 286"/>
          <p:cNvSpPr txBox="1">
            <a:spLocks noChangeArrowheads="1"/>
          </p:cNvSpPr>
          <p:nvPr/>
        </p:nvSpPr>
        <p:spPr bwMode="auto">
          <a:xfrm>
            <a:off x="171450" y="901052"/>
            <a:ext cx="2997419" cy="348992"/>
          </a:xfrm>
          <a:prstGeom prst="rect">
            <a:avLst/>
          </a:prstGeom>
          <a:solidFill>
            <a:schemeClr val="accent1"/>
          </a:solidFill>
          <a:ln w="9525">
            <a:noFill/>
            <a:miter lim="800000"/>
            <a:headEnd/>
            <a:tailEnd/>
          </a:ln>
          <a:effectLst/>
          <a:extLst/>
        </p:spPr>
        <p:txBody>
          <a:bodyPr vert="horz" wrap="square" lIns="72009" tIns="72009" rIns="72009" bIns="72009"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2427C"/>
              </a:buClr>
            </a:pPr>
            <a:r>
              <a:rPr lang="en-US" sz="1000" b="1" dirty="0" smtClean="0">
                <a:solidFill>
                  <a:schemeClr val="accent3"/>
                </a:solidFill>
              </a:rPr>
              <a:t>The challenge</a:t>
            </a:r>
            <a:endParaRPr lang="en-US" sz="1000" b="1" dirty="0">
              <a:solidFill>
                <a:schemeClr val="accent3"/>
              </a:solidFill>
            </a:endParaRPr>
          </a:p>
        </p:txBody>
      </p:sp>
      <p:grpSp>
        <p:nvGrpSpPr>
          <p:cNvPr id="14" name="Group 13"/>
          <p:cNvGrpSpPr/>
          <p:nvPr/>
        </p:nvGrpSpPr>
        <p:grpSpPr>
          <a:xfrm>
            <a:off x="2813952" y="943654"/>
            <a:ext cx="308516" cy="263788"/>
            <a:chOff x="1924667" y="3832555"/>
            <a:chExt cx="309294" cy="264453"/>
          </a:xfrm>
          <a:solidFill>
            <a:schemeClr val="accent3"/>
          </a:solidFill>
        </p:grpSpPr>
        <p:sp>
          <p:nvSpPr>
            <p:cNvPr id="15" name="Chevron 14"/>
            <p:cNvSpPr>
              <a:spLocks/>
            </p:cNvSpPr>
            <p:nvPr/>
          </p:nvSpPr>
          <p:spPr>
            <a:xfrm>
              <a:off x="1924667" y="3832555"/>
              <a:ext cx="185168" cy="264453"/>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err="1" smtClean="0">
                <a:solidFill>
                  <a:schemeClr val="tx1"/>
                </a:solidFill>
              </a:endParaRPr>
            </a:p>
          </p:txBody>
        </p:sp>
        <p:sp>
          <p:nvSpPr>
            <p:cNvPr id="16" name="Chevron 15"/>
            <p:cNvSpPr>
              <a:spLocks/>
            </p:cNvSpPr>
            <p:nvPr/>
          </p:nvSpPr>
          <p:spPr>
            <a:xfrm>
              <a:off x="2048793" y="3832555"/>
              <a:ext cx="185168" cy="264453"/>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00" dirty="0" err="1" smtClean="0">
                <a:solidFill>
                  <a:schemeClr val="tx1"/>
                </a:solidFill>
              </a:endParaRPr>
            </a:p>
          </p:txBody>
        </p:sp>
      </p:grpSp>
      <p:pic>
        <p:nvPicPr>
          <p:cNvPr id="17" name="Picture 16"/>
          <p:cNvPicPr>
            <a:picLocks/>
          </p:cNvPicPr>
          <p:nvPr/>
        </p:nvPicPr>
        <p:blipFill rotWithShape="1">
          <a:blip r:embed="rId3" cstate="email">
            <a:extLst>
              <a:ext uri="{28A0092B-C50C-407E-A947-70E740481C1C}">
                <a14:useLocalDpi xmlns:a14="http://schemas.microsoft.com/office/drawing/2010/main"/>
              </a:ext>
            </a:extLst>
          </a:blip>
          <a:srcRect/>
          <a:stretch/>
        </p:blipFill>
        <p:spPr>
          <a:xfrm>
            <a:off x="278084" y="1382544"/>
            <a:ext cx="2784150" cy="2122622"/>
          </a:xfrm>
          <a:prstGeom prst="rect">
            <a:avLst/>
          </a:prstGeom>
        </p:spPr>
      </p:pic>
      <p:sp>
        <p:nvSpPr>
          <p:cNvPr id="18" name="Rectangular Callout 17"/>
          <p:cNvSpPr>
            <a:spLocks/>
          </p:cNvSpPr>
          <p:nvPr/>
        </p:nvSpPr>
        <p:spPr>
          <a:xfrm>
            <a:off x="278084" y="4879574"/>
            <a:ext cx="2784150" cy="707886"/>
          </a:xfrm>
          <a:prstGeom prst="wedgeRectCallout">
            <a:avLst>
              <a:gd name="adj1" fmla="val -5976"/>
              <a:gd name="adj2" fmla="val -64054"/>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spcBef>
                <a:spcPct val="20000"/>
              </a:spcBef>
              <a:buClr>
                <a:srgbClr val="02427C"/>
              </a:buClr>
            </a:pPr>
            <a:r>
              <a:rPr lang="en-US" sz="1000" dirty="0" smtClean="0">
                <a:solidFill>
                  <a:srgbClr val="000000"/>
                </a:solidFill>
              </a:rPr>
              <a:t>The committee will </a:t>
            </a:r>
            <a:r>
              <a:rPr lang="en-US" sz="1000" b="1" dirty="0" smtClean="0">
                <a:solidFill>
                  <a:schemeClr val="accent3"/>
                </a:solidFill>
              </a:rPr>
              <a:t>reduce</a:t>
            </a:r>
            <a:r>
              <a:rPr lang="en-US" sz="1000" dirty="0" smtClean="0">
                <a:solidFill>
                  <a:srgbClr val="000000"/>
                </a:solidFill>
              </a:rPr>
              <a:t> number of </a:t>
            </a:r>
            <a:r>
              <a:rPr lang="en-US" sz="1000" b="1" dirty="0" smtClean="0">
                <a:solidFill>
                  <a:schemeClr val="accent3"/>
                </a:solidFill>
              </a:rPr>
              <a:t>separate</a:t>
            </a:r>
            <a:r>
              <a:rPr lang="en-US" sz="1000" dirty="0" smtClean="0">
                <a:solidFill>
                  <a:srgbClr val="000000"/>
                </a:solidFill>
              </a:rPr>
              <a:t> </a:t>
            </a:r>
            <a:r>
              <a:rPr lang="en-US" sz="1000" b="1" dirty="0" smtClean="0">
                <a:solidFill>
                  <a:schemeClr val="accent3"/>
                </a:solidFill>
              </a:rPr>
              <a:t>permits</a:t>
            </a:r>
            <a:r>
              <a:rPr lang="en-US" sz="1000" dirty="0" smtClean="0">
                <a:solidFill>
                  <a:srgbClr val="000000"/>
                </a:solidFill>
              </a:rPr>
              <a:t> applied and </a:t>
            </a:r>
            <a:r>
              <a:rPr lang="en-US" sz="1000" dirty="0" smtClean="0">
                <a:solidFill>
                  <a:schemeClr val="tx1"/>
                </a:solidFill>
              </a:rPr>
              <a:t>application waiting time </a:t>
            </a:r>
            <a:r>
              <a:rPr lang="en-US" sz="1000" dirty="0" smtClean="0">
                <a:solidFill>
                  <a:srgbClr val="000000"/>
                </a:solidFill>
              </a:rPr>
              <a:t>to </a:t>
            </a:r>
            <a:r>
              <a:rPr lang="en-US" sz="1000" b="1" dirty="0" smtClean="0">
                <a:solidFill>
                  <a:schemeClr val="accent3"/>
                </a:solidFill>
              </a:rPr>
              <a:t>&lt;90 days. </a:t>
            </a:r>
            <a:r>
              <a:rPr lang="en-US" sz="1000" dirty="0" smtClean="0">
                <a:solidFill>
                  <a:schemeClr val="tx1"/>
                </a:solidFill>
              </a:rPr>
              <a:t>This will increase issued permits to</a:t>
            </a:r>
            <a:r>
              <a:rPr lang="en-US" sz="1000" b="1" dirty="0" smtClean="0">
                <a:solidFill>
                  <a:schemeClr val="accent3"/>
                </a:solidFill>
              </a:rPr>
              <a:t> &gt;70</a:t>
            </a:r>
            <a:r>
              <a:rPr lang="en-US" sz="1000" dirty="0" smtClean="0">
                <a:solidFill>
                  <a:srgbClr val="000000"/>
                </a:solidFill>
              </a:rPr>
              <a:t> </a:t>
            </a:r>
            <a:endParaRPr lang="en-US" sz="1000" dirty="0">
              <a:solidFill>
                <a:srgbClr val="000000"/>
              </a:solidFill>
            </a:endParaRPr>
          </a:p>
        </p:txBody>
      </p:sp>
      <p:sp>
        <p:nvSpPr>
          <p:cNvPr id="19" name="TextBox 18"/>
          <p:cNvSpPr txBox="1">
            <a:spLocks/>
          </p:cNvSpPr>
          <p:nvPr/>
        </p:nvSpPr>
        <p:spPr>
          <a:xfrm>
            <a:off x="278084" y="3590514"/>
            <a:ext cx="2784150"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000" dirty="0" smtClean="0"/>
              <a:t>Requirements for  whale watching or a shark cage diving </a:t>
            </a:r>
            <a:r>
              <a:rPr lang="en-US" sz="1000" b="1" dirty="0" smtClean="0">
                <a:solidFill>
                  <a:schemeClr val="tx2"/>
                </a:solidFill>
              </a:rPr>
              <a:t>permit</a:t>
            </a:r>
          </a:p>
          <a:p>
            <a:pPr lvl="2"/>
            <a:r>
              <a:rPr lang="en-US" sz="1000" b="1" dirty="0">
                <a:solidFill>
                  <a:schemeClr val="tx2"/>
                </a:solidFill>
              </a:rPr>
              <a:t>R53,300</a:t>
            </a:r>
            <a:r>
              <a:rPr lang="en-US" sz="1000" baseline="30000" dirty="0" smtClean="0"/>
              <a:t>1</a:t>
            </a:r>
            <a:r>
              <a:rPr lang="en-US" sz="1000" dirty="0" smtClean="0"/>
              <a:t> obtain at least </a:t>
            </a:r>
            <a:r>
              <a:rPr lang="en-US" sz="1000" b="1" dirty="0">
                <a:solidFill>
                  <a:schemeClr val="tx2"/>
                </a:solidFill>
              </a:rPr>
              <a:t>8 separate permits </a:t>
            </a:r>
            <a:r>
              <a:rPr lang="en-US" sz="1000" dirty="0" smtClean="0"/>
              <a:t>from</a:t>
            </a:r>
            <a:r>
              <a:rPr lang="en-US" sz="1000" b="1" dirty="0" smtClean="0">
                <a:solidFill>
                  <a:schemeClr val="accent4"/>
                </a:solidFill>
              </a:rPr>
              <a:t> </a:t>
            </a:r>
          </a:p>
          <a:p>
            <a:pPr lvl="2"/>
            <a:r>
              <a:rPr lang="en-US" sz="1000" b="1" dirty="0">
                <a:solidFill>
                  <a:schemeClr val="tx2"/>
                </a:solidFill>
              </a:rPr>
              <a:t>6</a:t>
            </a:r>
            <a:r>
              <a:rPr lang="en-US" sz="1000" b="1" dirty="0" smtClean="0">
                <a:solidFill>
                  <a:schemeClr val="accent4"/>
                </a:solidFill>
              </a:rPr>
              <a:t> </a:t>
            </a:r>
            <a:r>
              <a:rPr lang="en-US" sz="1000" dirty="0" smtClean="0"/>
              <a:t>different </a:t>
            </a:r>
            <a:r>
              <a:rPr lang="en-US" sz="1000" b="1" dirty="0">
                <a:solidFill>
                  <a:schemeClr val="tx2"/>
                </a:solidFill>
              </a:rPr>
              <a:t>government offices </a:t>
            </a:r>
            <a:r>
              <a:rPr lang="en-US" sz="1000" dirty="0" smtClean="0"/>
              <a:t>and wait up to </a:t>
            </a:r>
            <a:r>
              <a:rPr lang="en-US" sz="1000" b="1" dirty="0" smtClean="0">
                <a:solidFill>
                  <a:schemeClr val="tx2"/>
                </a:solidFill>
              </a:rPr>
              <a:t>365 days</a:t>
            </a:r>
            <a:r>
              <a:rPr lang="en-US" sz="1000" b="1" baseline="30000" dirty="0" smtClean="0">
                <a:solidFill>
                  <a:schemeClr val="tx2"/>
                </a:solidFill>
              </a:rPr>
              <a:t>2</a:t>
            </a:r>
            <a:r>
              <a:rPr lang="en-US" sz="1000" dirty="0" smtClean="0">
                <a:solidFill>
                  <a:schemeClr val="tx2"/>
                </a:solidFill>
              </a:rPr>
              <a:t> </a:t>
            </a:r>
            <a:endParaRPr lang="en-US" sz="1000" dirty="0">
              <a:solidFill>
                <a:schemeClr val="tx2"/>
              </a:solidFill>
            </a:endParaRPr>
          </a:p>
        </p:txBody>
      </p:sp>
      <p:sp>
        <p:nvSpPr>
          <p:cNvPr id="22" name="Rectangle 21"/>
          <p:cNvSpPr>
            <a:spLocks/>
          </p:cNvSpPr>
          <p:nvPr/>
        </p:nvSpPr>
        <p:spPr>
          <a:xfrm>
            <a:off x="3246282" y="1218433"/>
            <a:ext cx="5543707" cy="4181258"/>
          </a:xfrm>
          <a:prstGeom prst="rect">
            <a:avLst/>
          </a:prstGeom>
          <a:solidFill>
            <a:schemeClr val="bg1"/>
          </a:solidFill>
          <a:ln w="9525" algn="ctr">
            <a:noFill/>
            <a:miter lim="800000"/>
            <a:headEnd/>
            <a:tailEnd/>
          </a:ln>
          <a:effectLst>
            <a:outerShdw blurRad="63500" dist="12700" dir="5400000" sx="101000" sy="101000" algn="t" rotWithShape="0">
              <a:schemeClr val="tx1">
                <a:lumMod val="75000"/>
                <a:lumOff val="25000"/>
                <a:alpha val="25000"/>
              </a:schemeClr>
            </a:outerShdw>
          </a:effectLst>
        </p:spPr>
        <p:txBody>
          <a:bodyPr wrap="none" anchor="ctr"/>
          <a:lstStyle/>
          <a:p>
            <a:endParaRPr lang="en-US" sz="1100" dirty="0" err="1">
              <a:solidFill>
                <a:schemeClr val="tx1"/>
              </a:solidFill>
            </a:endParaRPr>
          </a:p>
        </p:txBody>
      </p:sp>
      <p:sp>
        <p:nvSpPr>
          <p:cNvPr id="23" name="Rectangle 286"/>
          <p:cNvSpPr txBox="1">
            <a:spLocks noChangeArrowheads="1"/>
          </p:cNvSpPr>
          <p:nvPr/>
        </p:nvSpPr>
        <p:spPr bwMode="auto">
          <a:xfrm>
            <a:off x="3246282" y="901052"/>
            <a:ext cx="5543707" cy="348992"/>
          </a:xfrm>
          <a:prstGeom prst="rect">
            <a:avLst/>
          </a:prstGeom>
          <a:gradFill flip="none" rotWithShape="1">
            <a:gsLst>
              <a:gs pos="0">
                <a:schemeClr val="accent2"/>
              </a:gs>
              <a:gs pos="100000">
                <a:schemeClr val="accent3"/>
              </a:gs>
            </a:gsLst>
            <a:lin ang="5400000" scaled="1"/>
            <a:tileRect/>
          </a:gradFill>
          <a:ln>
            <a:noFill/>
          </a:ln>
          <a:effectLst/>
          <a:extLst/>
        </p:spPr>
        <p:txBody>
          <a:bodyPr lIns="72009" tIns="72009" rIns="72009" bIns="72009" anchor="ctr">
            <a:noAutofit/>
          </a:bodyPr>
          <a:lstStyle>
            <a:defPPr>
              <a:defRPr lang="en-US"/>
            </a:defPPr>
            <a:lvl1pPr>
              <a:defRPr sz="1400" b="1">
                <a:solidFill>
                  <a:schemeClr val="bg1"/>
                </a:solidFill>
              </a:defRPr>
            </a:lvl1pPr>
          </a:lstStyle>
          <a:p>
            <a:r>
              <a:rPr lang="en-US" sz="1100" dirty="0" err="1"/>
              <a:t>C&amp;M</a:t>
            </a:r>
            <a:r>
              <a:rPr lang="en-US" sz="1100" dirty="0"/>
              <a:t> lab </a:t>
            </a:r>
            <a:r>
              <a:rPr lang="en-US" sz="1100" dirty="0" smtClean="0"/>
              <a:t>proposal for marine activities and events</a:t>
            </a:r>
            <a:endParaRPr lang="en-US" sz="1100" dirty="0"/>
          </a:p>
        </p:txBody>
      </p:sp>
      <p:sp>
        <p:nvSpPr>
          <p:cNvPr id="29" name="AutoShape 250"/>
          <p:cNvSpPr>
            <a:spLocks noChangeArrowheads="1"/>
          </p:cNvSpPr>
          <p:nvPr/>
        </p:nvSpPr>
        <p:spPr bwMode="auto">
          <a:xfrm>
            <a:off x="3307353" y="1323041"/>
            <a:ext cx="972980" cy="822533"/>
          </a:xfrm>
          <a:prstGeom prst="leftRightArrow">
            <a:avLst>
              <a:gd name="adj1" fmla="val 100000"/>
              <a:gd name="adj2" fmla="val 0"/>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2009" tIns="72009" rIns="72009" bIns="72009" anchor="ctr" anchorCtr="0">
            <a:spAutoFit/>
          </a:bodyPr>
          <a:lstStyle/>
          <a:p>
            <a:r>
              <a:rPr lang="en-US" sz="1100" b="1" dirty="0">
                <a:solidFill>
                  <a:schemeClr val="tx2"/>
                </a:solidFill>
                <a:latin typeface="+mn-lt"/>
              </a:rPr>
              <a:t>Coastal and Marine Tourism- </a:t>
            </a:r>
            <a:r>
              <a:rPr lang="en-US" sz="1100" b="1" dirty="0" err="1">
                <a:solidFill>
                  <a:schemeClr val="tx2"/>
                </a:solidFill>
                <a:latin typeface="+mn-lt"/>
              </a:rPr>
              <a:t>PANZA</a:t>
            </a:r>
            <a:endParaRPr lang="en-US" sz="1100" baseline="0" noProof="0" dirty="0">
              <a:solidFill>
                <a:schemeClr val="tx2"/>
              </a:solidFill>
              <a:latin typeface="+mn-lt"/>
            </a:endParaRPr>
          </a:p>
        </p:txBody>
      </p:sp>
      <p:sp>
        <p:nvSpPr>
          <p:cNvPr id="44" name="TextBox 43"/>
          <p:cNvSpPr txBox="1"/>
          <p:nvPr/>
        </p:nvSpPr>
        <p:spPr>
          <a:xfrm>
            <a:off x="4162026" y="4805095"/>
            <a:ext cx="3712219" cy="914866"/>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9525">
            <a:solidFill>
              <a:schemeClr val="accent6"/>
            </a:solidFill>
            <a:miter lim="800000"/>
            <a:headEnd/>
            <a:tailEnd/>
          </a:ln>
          <a:effectLst/>
        </p:spPr>
        <p:txBody>
          <a:bodyPr vert="horz" wrap="square" lIns="72009"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chemeClr val="lt1"/>
              </a:buClr>
            </a:pPr>
            <a:r>
              <a:rPr lang="en-US" sz="1000" b="1" dirty="0" smtClean="0">
                <a:solidFill>
                  <a:schemeClr val="lt1"/>
                </a:solidFill>
              </a:rPr>
              <a:t>Responsibilities</a:t>
            </a:r>
            <a:r>
              <a:rPr lang="en-US" sz="1000" dirty="0" smtClean="0">
                <a:solidFill>
                  <a:schemeClr val="lt1"/>
                </a:solidFill>
              </a:rPr>
              <a:t> </a:t>
            </a:r>
          </a:p>
          <a:p>
            <a:pPr lvl="1">
              <a:buClr>
                <a:schemeClr val="lt1"/>
              </a:buClr>
            </a:pPr>
            <a:r>
              <a:rPr lang="en-US" sz="1000" dirty="0" smtClean="0">
                <a:solidFill>
                  <a:schemeClr val="lt1"/>
                </a:solidFill>
              </a:rPr>
              <a:t>The </a:t>
            </a:r>
            <a:r>
              <a:rPr lang="en-US" sz="1000" dirty="0">
                <a:solidFill>
                  <a:schemeClr val="lt1"/>
                </a:solidFill>
              </a:rPr>
              <a:t>committee will;</a:t>
            </a:r>
          </a:p>
          <a:p>
            <a:pPr lvl="2">
              <a:buClr>
                <a:schemeClr val="lt1"/>
              </a:buClr>
            </a:pPr>
            <a:r>
              <a:rPr lang="en-US" sz="1000" b="1" dirty="0">
                <a:solidFill>
                  <a:schemeClr val="lt1"/>
                </a:solidFill>
              </a:rPr>
              <a:t>Coordinate</a:t>
            </a:r>
            <a:r>
              <a:rPr lang="en-US" sz="1000" dirty="0">
                <a:solidFill>
                  <a:schemeClr val="lt1"/>
                </a:solidFill>
              </a:rPr>
              <a:t> the permit application process</a:t>
            </a:r>
          </a:p>
          <a:p>
            <a:pPr lvl="2">
              <a:buClr>
                <a:schemeClr val="lt1"/>
              </a:buClr>
            </a:pPr>
            <a:r>
              <a:rPr lang="en-US" sz="1000" dirty="0">
                <a:solidFill>
                  <a:schemeClr val="lt1"/>
                </a:solidFill>
              </a:rPr>
              <a:t>Be responsible for implementing the </a:t>
            </a:r>
            <a:r>
              <a:rPr lang="en-US" sz="1000" b="1" dirty="0" err="1">
                <a:solidFill>
                  <a:schemeClr val="lt1"/>
                </a:solidFill>
              </a:rPr>
              <a:t>BBBEE</a:t>
            </a:r>
            <a:r>
              <a:rPr lang="en-US" sz="1000" b="1" dirty="0">
                <a:solidFill>
                  <a:schemeClr val="lt1"/>
                </a:solidFill>
              </a:rPr>
              <a:t> Act</a:t>
            </a:r>
          </a:p>
          <a:p>
            <a:pPr lvl="2">
              <a:buClr>
                <a:schemeClr val="lt1"/>
              </a:buClr>
            </a:pPr>
            <a:r>
              <a:rPr lang="en-US" sz="1000" dirty="0">
                <a:solidFill>
                  <a:schemeClr val="lt1"/>
                </a:solidFill>
              </a:rPr>
              <a:t>Review and </a:t>
            </a:r>
            <a:r>
              <a:rPr lang="en-US" sz="1000" b="1" dirty="0">
                <a:solidFill>
                  <a:schemeClr val="lt1"/>
                </a:solidFill>
              </a:rPr>
              <a:t>amend</a:t>
            </a:r>
            <a:r>
              <a:rPr lang="en-US" sz="1000" dirty="0" smtClean="0">
                <a:solidFill>
                  <a:schemeClr val="lt1"/>
                </a:solidFill>
              </a:rPr>
              <a:t> restrictive </a:t>
            </a:r>
            <a:r>
              <a:rPr lang="en-US" sz="1000" b="1" dirty="0">
                <a:solidFill>
                  <a:schemeClr val="lt1"/>
                </a:solidFill>
              </a:rPr>
              <a:t>legislation</a:t>
            </a:r>
          </a:p>
        </p:txBody>
      </p:sp>
      <p:sp>
        <p:nvSpPr>
          <p:cNvPr id="50" name="Freeform 49"/>
          <p:cNvSpPr/>
          <p:nvPr/>
        </p:nvSpPr>
        <p:spPr>
          <a:xfrm>
            <a:off x="5548405" y="2642397"/>
            <a:ext cx="792045" cy="788844"/>
          </a:xfrm>
          <a:custGeom>
            <a:avLst/>
            <a:gdLst>
              <a:gd name="connsiteX0" fmla="*/ 0 w 904311"/>
              <a:gd name="connsiteY0" fmla="*/ 452156 h 904311"/>
              <a:gd name="connsiteX1" fmla="*/ 452156 w 904311"/>
              <a:gd name="connsiteY1" fmla="*/ 0 h 904311"/>
              <a:gd name="connsiteX2" fmla="*/ 904312 w 904311"/>
              <a:gd name="connsiteY2" fmla="*/ 452156 h 904311"/>
              <a:gd name="connsiteX3" fmla="*/ 452156 w 904311"/>
              <a:gd name="connsiteY3" fmla="*/ 904312 h 904311"/>
              <a:gd name="connsiteX4" fmla="*/ 0 w 904311"/>
              <a:gd name="connsiteY4" fmla="*/ 452156 h 904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311" h="904311">
                <a:moveTo>
                  <a:pt x="0" y="452156"/>
                </a:moveTo>
                <a:cubicBezTo>
                  <a:pt x="0" y="202437"/>
                  <a:pt x="202437" y="0"/>
                  <a:pt x="452156" y="0"/>
                </a:cubicBezTo>
                <a:cubicBezTo>
                  <a:pt x="701875" y="0"/>
                  <a:pt x="904312" y="202437"/>
                  <a:pt x="904312" y="452156"/>
                </a:cubicBezTo>
                <a:cubicBezTo>
                  <a:pt x="904312" y="701875"/>
                  <a:pt x="701875" y="904312"/>
                  <a:pt x="452156" y="904312"/>
                </a:cubicBezTo>
                <a:cubicBezTo>
                  <a:pt x="202437" y="904312"/>
                  <a:pt x="0" y="701875"/>
                  <a:pt x="0" y="452156"/>
                </a:cubicBezTo>
                <a:close/>
              </a:path>
            </a:pathLst>
          </a:cu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chemeClr val="tx2"/>
              </a:buClr>
            </a:pPr>
            <a:r>
              <a:rPr lang="en-US" sz="1000" dirty="0" smtClean="0">
                <a:solidFill>
                  <a:schemeClr val="bg1"/>
                </a:solidFill>
              </a:rPr>
              <a:t>Inter govt.</a:t>
            </a:r>
            <a:br>
              <a:rPr lang="en-US" sz="1000" dirty="0" smtClean="0">
                <a:solidFill>
                  <a:schemeClr val="bg1"/>
                </a:solidFill>
              </a:rPr>
            </a:br>
            <a:r>
              <a:rPr lang="en-US" sz="1000" dirty="0" smtClean="0">
                <a:solidFill>
                  <a:schemeClr val="bg1"/>
                </a:solidFill>
              </a:rPr>
              <a:t>coordinating </a:t>
            </a:r>
            <a:br>
              <a:rPr lang="en-US" sz="1000" dirty="0" smtClean="0">
                <a:solidFill>
                  <a:schemeClr val="bg1"/>
                </a:solidFill>
              </a:rPr>
            </a:br>
            <a:r>
              <a:rPr lang="en-US" sz="1000" dirty="0" smtClean="0">
                <a:solidFill>
                  <a:schemeClr val="bg1"/>
                </a:solidFill>
              </a:rPr>
              <a:t>committee</a:t>
            </a:r>
            <a:endParaRPr lang="en-US" sz="1000" dirty="0">
              <a:solidFill>
                <a:schemeClr val="bg1"/>
              </a:solidFill>
            </a:endParaRPr>
          </a:p>
        </p:txBody>
      </p:sp>
      <p:sp>
        <p:nvSpPr>
          <p:cNvPr id="51" name="Freeform 50"/>
          <p:cNvSpPr/>
          <p:nvPr/>
        </p:nvSpPr>
        <p:spPr>
          <a:xfrm rot="16200000">
            <a:off x="5668579" y="2354616"/>
            <a:ext cx="551697" cy="23864"/>
          </a:xfrm>
          <a:custGeom>
            <a:avLst/>
            <a:gdLst>
              <a:gd name="connsiteX0" fmla="*/ 0 w 632452"/>
              <a:gd name="connsiteY0" fmla="*/ 13623 h 27246"/>
              <a:gd name="connsiteX1" fmla="*/ 632452 w 632452"/>
              <a:gd name="connsiteY1" fmla="*/ 13623 h 27246"/>
            </a:gdLst>
            <a:ahLst/>
            <a:cxnLst>
              <a:cxn ang="0">
                <a:pos x="connsiteX0" y="connsiteY0"/>
              </a:cxn>
              <a:cxn ang="0">
                <a:pos x="connsiteX1" y="connsiteY1"/>
              </a:cxn>
            </a:cxnLst>
            <a:rect l="l" t="t" r="r" b="b"/>
            <a:pathLst>
              <a:path w="632452" h="27246">
                <a:moveTo>
                  <a:pt x="0" y="13623"/>
                </a:moveTo>
                <a:lnTo>
                  <a:pt x="632452" y="13623"/>
                </a:lnTo>
              </a:path>
            </a:pathLst>
          </a:custGeom>
          <a:noFill/>
          <a:ln>
            <a:solidFill>
              <a:schemeClr val="accent6"/>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13116" tIns="-2188" rIns="313113" bIns="-2188" numCol="1" spcCol="1270" anchor="ctr" anchorCtr="0">
            <a:noAutofit/>
          </a:bodyPr>
          <a:lstStyle/>
          <a:p>
            <a:pPr algn="ctr" defTabSz="222250">
              <a:lnSpc>
                <a:spcPct val="90000"/>
              </a:lnSpc>
              <a:spcAft>
                <a:spcPct val="35000"/>
              </a:spcAft>
            </a:pPr>
            <a:endParaRPr lang="en-US" sz="1000"/>
          </a:p>
        </p:txBody>
      </p:sp>
      <p:sp>
        <p:nvSpPr>
          <p:cNvPr id="52" name="Freeform 51"/>
          <p:cNvSpPr/>
          <p:nvPr/>
        </p:nvSpPr>
        <p:spPr>
          <a:xfrm>
            <a:off x="5548405" y="1301854"/>
            <a:ext cx="792045" cy="788844"/>
          </a:xfrm>
          <a:custGeom>
            <a:avLst/>
            <a:gdLst>
              <a:gd name="connsiteX0" fmla="*/ 0 w 904311"/>
              <a:gd name="connsiteY0" fmla="*/ 452156 h 904311"/>
              <a:gd name="connsiteX1" fmla="*/ 452156 w 904311"/>
              <a:gd name="connsiteY1" fmla="*/ 0 h 904311"/>
              <a:gd name="connsiteX2" fmla="*/ 904312 w 904311"/>
              <a:gd name="connsiteY2" fmla="*/ 452156 h 904311"/>
              <a:gd name="connsiteX3" fmla="*/ 452156 w 904311"/>
              <a:gd name="connsiteY3" fmla="*/ 904312 h 904311"/>
              <a:gd name="connsiteX4" fmla="*/ 0 w 904311"/>
              <a:gd name="connsiteY4" fmla="*/ 452156 h 904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311" h="904311">
                <a:moveTo>
                  <a:pt x="0" y="452156"/>
                </a:moveTo>
                <a:cubicBezTo>
                  <a:pt x="0" y="202437"/>
                  <a:pt x="202437" y="0"/>
                  <a:pt x="452156" y="0"/>
                </a:cubicBezTo>
                <a:cubicBezTo>
                  <a:pt x="701875" y="0"/>
                  <a:pt x="904312" y="202437"/>
                  <a:pt x="904312" y="452156"/>
                </a:cubicBezTo>
                <a:cubicBezTo>
                  <a:pt x="904312" y="701875"/>
                  <a:pt x="701875" y="904312"/>
                  <a:pt x="452156" y="904312"/>
                </a:cubicBezTo>
                <a:cubicBezTo>
                  <a:pt x="202437" y="904312"/>
                  <a:pt x="0" y="701875"/>
                  <a:pt x="0" y="452156"/>
                </a:cubicBezTo>
                <a:close/>
              </a:path>
            </a:pathLst>
          </a:custGeom>
          <a:solidFill>
            <a:schemeClr val="bg1"/>
          </a:solidFill>
          <a:ln w="19050">
            <a:solidFill>
              <a:srgbClr val="8BBC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err="1" smtClean="0">
                <a:solidFill>
                  <a:schemeClr val="tx1"/>
                </a:solidFill>
              </a:rPr>
              <a:t>DAFF</a:t>
            </a:r>
            <a:endParaRPr lang="en-US" sz="1000" dirty="0">
              <a:solidFill>
                <a:schemeClr val="tx1"/>
              </a:solidFill>
            </a:endParaRPr>
          </a:p>
        </p:txBody>
      </p:sp>
      <p:sp>
        <p:nvSpPr>
          <p:cNvPr id="53" name="Freeform 52"/>
          <p:cNvSpPr/>
          <p:nvPr/>
        </p:nvSpPr>
        <p:spPr>
          <a:xfrm rot="18900000">
            <a:off x="6143336" y="2550983"/>
            <a:ext cx="553937" cy="23767"/>
          </a:xfrm>
          <a:custGeom>
            <a:avLst/>
            <a:gdLst>
              <a:gd name="connsiteX0" fmla="*/ 0 w 632452"/>
              <a:gd name="connsiteY0" fmla="*/ 13623 h 27246"/>
              <a:gd name="connsiteX1" fmla="*/ 632452 w 632452"/>
              <a:gd name="connsiteY1" fmla="*/ 13623 h 27246"/>
            </a:gdLst>
            <a:ahLst/>
            <a:cxnLst>
              <a:cxn ang="0">
                <a:pos x="connsiteX0" y="connsiteY0"/>
              </a:cxn>
              <a:cxn ang="0">
                <a:pos x="connsiteX1" y="connsiteY1"/>
              </a:cxn>
            </a:cxnLst>
            <a:rect l="l" t="t" r="r" b="b"/>
            <a:pathLst>
              <a:path w="632452" h="27246">
                <a:moveTo>
                  <a:pt x="0" y="13623"/>
                </a:moveTo>
                <a:lnTo>
                  <a:pt x="632452" y="13623"/>
                </a:lnTo>
              </a:path>
            </a:pathLst>
          </a:custGeom>
          <a:noFill/>
          <a:ln>
            <a:solidFill>
              <a:schemeClr val="accent6"/>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13116" tIns="-2188" rIns="313113" bIns="-2188" numCol="1" spcCol="1270" anchor="ctr" anchorCtr="0">
            <a:noAutofit/>
          </a:bodyPr>
          <a:lstStyle/>
          <a:p>
            <a:pPr algn="ctr" defTabSz="222250">
              <a:lnSpc>
                <a:spcPct val="90000"/>
              </a:lnSpc>
              <a:spcAft>
                <a:spcPct val="35000"/>
              </a:spcAft>
            </a:pPr>
            <a:endParaRPr lang="en-US" sz="1000"/>
          </a:p>
        </p:txBody>
      </p:sp>
      <p:sp>
        <p:nvSpPr>
          <p:cNvPr id="54" name="Freeform 53"/>
          <p:cNvSpPr/>
          <p:nvPr/>
        </p:nvSpPr>
        <p:spPr>
          <a:xfrm>
            <a:off x="6500158" y="1694489"/>
            <a:ext cx="792045" cy="788844"/>
          </a:xfrm>
          <a:custGeom>
            <a:avLst/>
            <a:gdLst>
              <a:gd name="connsiteX0" fmla="*/ 0 w 904311"/>
              <a:gd name="connsiteY0" fmla="*/ 452156 h 904311"/>
              <a:gd name="connsiteX1" fmla="*/ 452156 w 904311"/>
              <a:gd name="connsiteY1" fmla="*/ 0 h 904311"/>
              <a:gd name="connsiteX2" fmla="*/ 904312 w 904311"/>
              <a:gd name="connsiteY2" fmla="*/ 452156 h 904311"/>
              <a:gd name="connsiteX3" fmla="*/ 452156 w 904311"/>
              <a:gd name="connsiteY3" fmla="*/ 904312 h 904311"/>
              <a:gd name="connsiteX4" fmla="*/ 0 w 904311"/>
              <a:gd name="connsiteY4" fmla="*/ 452156 h 904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311" h="904311">
                <a:moveTo>
                  <a:pt x="0" y="452156"/>
                </a:moveTo>
                <a:cubicBezTo>
                  <a:pt x="0" y="202437"/>
                  <a:pt x="202437" y="0"/>
                  <a:pt x="452156" y="0"/>
                </a:cubicBezTo>
                <a:cubicBezTo>
                  <a:pt x="701875" y="0"/>
                  <a:pt x="904312" y="202437"/>
                  <a:pt x="904312" y="452156"/>
                </a:cubicBezTo>
                <a:cubicBezTo>
                  <a:pt x="904312" y="701875"/>
                  <a:pt x="701875" y="904312"/>
                  <a:pt x="452156" y="904312"/>
                </a:cubicBezTo>
                <a:cubicBezTo>
                  <a:pt x="202437" y="904312"/>
                  <a:pt x="0" y="701875"/>
                  <a:pt x="0" y="452156"/>
                </a:cubicBezTo>
                <a:close/>
              </a:path>
            </a:pathLst>
          </a:custGeom>
          <a:solidFill>
            <a:schemeClr val="bg1"/>
          </a:solidFill>
          <a:ln w="19050">
            <a:solidFill>
              <a:srgbClr val="8BBC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smtClean="0">
                <a:solidFill>
                  <a:schemeClr val="tx1"/>
                </a:solidFill>
              </a:rPr>
              <a:t>Traditional</a:t>
            </a:r>
            <a:br>
              <a:rPr lang="en-US" sz="1000" dirty="0" smtClean="0">
                <a:solidFill>
                  <a:schemeClr val="tx1"/>
                </a:solidFill>
              </a:rPr>
            </a:br>
            <a:r>
              <a:rPr lang="en-US" sz="1000" dirty="0" smtClean="0">
                <a:solidFill>
                  <a:schemeClr val="tx1"/>
                </a:solidFill>
              </a:rPr>
              <a:t>Chiefs</a:t>
            </a:r>
            <a:endParaRPr lang="en-US" sz="1000" dirty="0">
              <a:solidFill>
                <a:schemeClr val="tx1"/>
              </a:solidFill>
            </a:endParaRPr>
          </a:p>
        </p:txBody>
      </p:sp>
      <p:sp>
        <p:nvSpPr>
          <p:cNvPr id="55" name="Freeform 54"/>
          <p:cNvSpPr/>
          <p:nvPr/>
        </p:nvSpPr>
        <p:spPr>
          <a:xfrm>
            <a:off x="6340450" y="3024936"/>
            <a:ext cx="553937" cy="23767"/>
          </a:xfrm>
          <a:custGeom>
            <a:avLst/>
            <a:gdLst>
              <a:gd name="connsiteX0" fmla="*/ 0 w 632452"/>
              <a:gd name="connsiteY0" fmla="*/ 13623 h 27246"/>
              <a:gd name="connsiteX1" fmla="*/ 632452 w 632452"/>
              <a:gd name="connsiteY1" fmla="*/ 13623 h 27246"/>
            </a:gdLst>
            <a:ahLst/>
            <a:cxnLst>
              <a:cxn ang="0">
                <a:pos x="connsiteX0" y="connsiteY0"/>
              </a:cxn>
              <a:cxn ang="0">
                <a:pos x="connsiteX1" y="connsiteY1"/>
              </a:cxn>
            </a:cxnLst>
            <a:rect l="l" t="t" r="r" b="b"/>
            <a:pathLst>
              <a:path w="632452" h="27246">
                <a:moveTo>
                  <a:pt x="0" y="13623"/>
                </a:moveTo>
                <a:lnTo>
                  <a:pt x="632452" y="13623"/>
                </a:lnTo>
              </a:path>
            </a:pathLst>
          </a:custGeom>
          <a:noFill/>
          <a:ln>
            <a:solidFill>
              <a:schemeClr val="accent6"/>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13116" tIns="-2188" rIns="313113" bIns="-2188" numCol="1" spcCol="1270" anchor="ctr" anchorCtr="0">
            <a:noAutofit/>
          </a:bodyPr>
          <a:lstStyle/>
          <a:p>
            <a:pPr algn="ctr" defTabSz="222250">
              <a:lnSpc>
                <a:spcPct val="90000"/>
              </a:lnSpc>
              <a:spcAft>
                <a:spcPct val="35000"/>
              </a:spcAft>
            </a:pPr>
            <a:endParaRPr lang="en-US" sz="1000"/>
          </a:p>
        </p:txBody>
      </p:sp>
      <p:sp>
        <p:nvSpPr>
          <p:cNvPr id="56" name="Freeform 55"/>
          <p:cNvSpPr/>
          <p:nvPr/>
        </p:nvSpPr>
        <p:spPr>
          <a:xfrm>
            <a:off x="6894388" y="2642397"/>
            <a:ext cx="792045" cy="788844"/>
          </a:xfrm>
          <a:custGeom>
            <a:avLst/>
            <a:gdLst>
              <a:gd name="connsiteX0" fmla="*/ 0 w 904311"/>
              <a:gd name="connsiteY0" fmla="*/ 452156 h 904311"/>
              <a:gd name="connsiteX1" fmla="*/ 452156 w 904311"/>
              <a:gd name="connsiteY1" fmla="*/ 0 h 904311"/>
              <a:gd name="connsiteX2" fmla="*/ 904312 w 904311"/>
              <a:gd name="connsiteY2" fmla="*/ 452156 h 904311"/>
              <a:gd name="connsiteX3" fmla="*/ 452156 w 904311"/>
              <a:gd name="connsiteY3" fmla="*/ 904312 h 904311"/>
              <a:gd name="connsiteX4" fmla="*/ 0 w 904311"/>
              <a:gd name="connsiteY4" fmla="*/ 452156 h 904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311" h="904311">
                <a:moveTo>
                  <a:pt x="0" y="452156"/>
                </a:moveTo>
                <a:cubicBezTo>
                  <a:pt x="0" y="202437"/>
                  <a:pt x="202437" y="0"/>
                  <a:pt x="452156" y="0"/>
                </a:cubicBezTo>
                <a:cubicBezTo>
                  <a:pt x="701875" y="0"/>
                  <a:pt x="904312" y="202437"/>
                  <a:pt x="904312" y="452156"/>
                </a:cubicBezTo>
                <a:cubicBezTo>
                  <a:pt x="904312" y="701875"/>
                  <a:pt x="701875" y="904312"/>
                  <a:pt x="452156" y="904312"/>
                </a:cubicBezTo>
                <a:cubicBezTo>
                  <a:pt x="202437" y="904312"/>
                  <a:pt x="0" y="701875"/>
                  <a:pt x="0" y="452156"/>
                </a:cubicBezTo>
                <a:close/>
              </a:path>
            </a:pathLst>
          </a:custGeom>
          <a:solidFill>
            <a:schemeClr val="bg1"/>
          </a:solidFill>
          <a:ln w="19050">
            <a:solidFill>
              <a:srgbClr val="8BBC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err="1" smtClean="0">
                <a:solidFill>
                  <a:schemeClr val="tx1"/>
                </a:solidFill>
              </a:rPr>
              <a:t>CIPC</a:t>
            </a:r>
            <a:endParaRPr lang="en-US" sz="1000" dirty="0">
              <a:solidFill>
                <a:schemeClr val="tx1"/>
              </a:solidFill>
            </a:endParaRPr>
          </a:p>
        </p:txBody>
      </p:sp>
      <p:sp>
        <p:nvSpPr>
          <p:cNvPr id="57" name="Freeform 56"/>
          <p:cNvSpPr/>
          <p:nvPr/>
        </p:nvSpPr>
        <p:spPr>
          <a:xfrm rot="2700000">
            <a:off x="6144455" y="3498841"/>
            <a:ext cx="551697" cy="23864"/>
          </a:xfrm>
          <a:custGeom>
            <a:avLst/>
            <a:gdLst>
              <a:gd name="connsiteX0" fmla="*/ 0 w 632452"/>
              <a:gd name="connsiteY0" fmla="*/ 13623 h 27246"/>
              <a:gd name="connsiteX1" fmla="*/ 632452 w 632452"/>
              <a:gd name="connsiteY1" fmla="*/ 13623 h 27246"/>
            </a:gdLst>
            <a:ahLst/>
            <a:cxnLst>
              <a:cxn ang="0">
                <a:pos x="connsiteX0" y="connsiteY0"/>
              </a:cxn>
              <a:cxn ang="0">
                <a:pos x="connsiteX1" y="connsiteY1"/>
              </a:cxn>
            </a:cxnLst>
            <a:rect l="l" t="t" r="r" b="b"/>
            <a:pathLst>
              <a:path w="632452" h="27246">
                <a:moveTo>
                  <a:pt x="0" y="13623"/>
                </a:moveTo>
                <a:lnTo>
                  <a:pt x="632452" y="13623"/>
                </a:lnTo>
              </a:path>
            </a:pathLst>
          </a:custGeom>
          <a:noFill/>
          <a:ln>
            <a:solidFill>
              <a:schemeClr val="accent6"/>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13116" tIns="-2188" rIns="313113" bIns="-2188" numCol="1" spcCol="1270" anchor="ctr" anchorCtr="0">
            <a:noAutofit/>
          </a:bodyPr>
          <a:lstStyle/>
          <a:p>
            <a:pPr algn="ctr" defTabSz="222250">
              <a:lnSpc>
                <a:spcPct val="90000"/>
              </a:lnSpc>
              <a:spcAft>
                <a:spcPct val="35000"/>
              </a:spcAft>
            </a:pPr>
            <a:endParaRPr lang="en-US" sz="1000"/>
          </a:p>
        </p:txBody>
      </p:sp>
      <p:sp>
        <p:nvSpPr>
          <p:cNvPr id="58" name="Freeform 57"/>
          <p:cNvSpPr/>
          <p:nvPr/>
        </p:nvSpPr>
        <p:spPr>
          <a:xfrm>
            <a:off x="6500158" y="3590304"/>
            <a:ext cx="792045" cy="788844"/>
          </a:xfrm>
          <a:custGeom>
            <a:avLst/>
            <a:gdLst>
              <a:gd name="connsiteX0" fmla="*/ 0 w 904311"/>
              <a:gd name="connsiteY0" fmla="*/ 452156 h 904311"/>
              <a:gd name="connsiteX1" fmla="*/ 452156 w 904311"/>
              <a:gd name="connsiteY1" fmla="*/ 0 h 904311"/>
              <a:gd name="connsiteX2" fmla="*/ 904312 w 904311"/>
              <a:gd name="connsiteY2" fmla="*/ 452156 h 904311"/>
              <a:gd name="connsiteX3" fmla="*/ 452156 w 904311"/>
              <a:gd name="connsiteY3" fmla="*/ 904312 h 904311"/>
              <a:gd name="connsiteX4" fmla="*/ 0 w 904311"/>
              <a:gd name="connsiteY4" fmla="*/ 452156 h 904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311" h="904311">
                <a:moveTo>
                  <a:pt x="0" y="452156"/>
                </a:moveTo>
                <a:cubicBezTo>
                  <a:pt x="0" y="202437"/>
                  <a:pt x="202437" y="0"/>
                  <a:pt x="452156" y="0"/>
                </a:cubicBezTo>
                <a:cubicBezTo>
                  <a:pt x="701875" y="0"/>
                  <a:pt x="904312" y="202437"/>
                  <a:pt x="904312" y="452156"/>
                </a:cubicBezTo>
                <a:cubicBezTo>
                  <a:pt x="904312" y="701875"/>
                  <a:pt x="701875" y="904312"/>
                  <a:pt x="452156" y="904312"/>
                </a:cubicBezTo>
                <a:cubicBezTo>
                  <a:pt x="202437" y="904312"/>
                  <a:pt x="0" y="701875"/>
                  <a:pt x="0" y="452156"/>
                </a:cubicBezTo>
                <a:close/>
              </a:path>
            </a:pathLst>
          </a:custGeom>
          <a:solidFill>
            <a:schemeClr val="bg1"/>
          </a:solidFill>
          <a:ln w="19050">
            <a:solidFill>
              <a:srgbClr val="8BBC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smtClean="0">
                <a:solidFill>
                  <a:schemeClr val="tx1"/>
                </a:solidFill>
              </a:rPr>
              <a:t>DEA</a:t>
            </a:r>
            <a:endParaRPr lang="en-US" sz="1000" dirty="0">
              <a:solidFill>
                <a:schemeClr val="tx1"/>
              </a:solidFill>
            </a:endParaRPr>
          </a:p>
        </p:txBody>
      </p:sp>
      <p:sp>
        <p:nvSpPr>
          <p:cNvPr id="59" name="Freeform 58"/>
          <p:cNvSpPr/>
          <p:nvPr/>
        </p:nvSpPr>
        <p:spPr>
          <a:xfrm rot="5400000">
            <a:off x="5668579" y="3695158"/>
            <a:ext cx="551697" cy="23864"/>
          </a:xfrm>
          <a:custGeom>
            <a:avLst/>
            <a:gdLst>
              <a:gd name="connsiteX0" fmla="*/ 0 w 632452"/>
              <a:gd name="connsiteY0" fmla="*/ 13623 h 27246"/>
              <a:gd name="connsiteX1" fmla="*/ 632452 w 632452"/>
              <a:gd name="connsiteY1" fmla="*/ 13623 h 27246"/>
            </a:gdLst>
            <a:ahLst/>
            <a:cxnLst>
              <a:cxn ang="0">
                <a:pos x="connsiteX0" y="connsiteY0"/>
              </a:cxn>
              <a:cxn ang="0">
                <a:pos x="connsiteX1" y="connsiteY1"/>
              </a:cxn>
            </a:cxnLst>
            <a:rect l="l" t="t" r="r" b="b"/>
            <a:pathLst>
              <a:path w="632452" h="27246">
                <a:moveTo>
                  <a:pt x="0" y="13623"/>
                </a:moveTo>
                <a:lnTo>
                  <a:pt x="632452" y="13623"/>
                </a:lnTo>
              </a:path>
            </a:pathLst>
          </a:custGeom>
          <a:noFill/>
          <a:ln>
            <a:solidFill>
              <a:schemeClr val="accent6"/>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13116" tIns="-2188" rIns="313113" bIns="-2188" numCol="1" spcCol="1270" anchor="ctr" anchorCtr="0">
            <a:noAutofit/>
          </a:bodyPr>
          <a:lstStyle/>
          <a:p>
            <a:pPr algn="ctr" defTabSz="222250">
              <a:lnSpc>
                <a:spcPct val="90000"/>
              </a:lnSpc>
              <a:spcAft>
                <a:spcPct val="35000"/>
              </a:spcAft>
            </a:pPr>
            <a:endParaRPr lang="en-US" sz="1000"/>
          </a:p>
        </p:txBody>
      </p:sp>
      <p:sp>
        <p:nvSpPr>
          <p:cNvPr id="60" name="Freeform 59"/>
          <p:cNvSpPr/>
          <p:nvPr/>
        </p:nvSpPr>
        <p:spPr>
          <a:xfrm>
            <a:off x="5548405" y="3982940"/>
            <a:ext cx="792045" cy="788844"/>
          </a:xfrm>
          <a:custGeom>
            <a:avLst/>
            <a:gdLst>
              <a:gd name="connsiteX0" fmla="*/ 0 w 904311"/>
              <a:gd name="connsiteY0" fmla="*/ 452156 h 904311"/>
              <a:gd name="connsiteX1" fmla="*/ 452156 w 904311"/>
              <a:gd name="connsiteY1" fmla="*/ 0 h 904311"/>
              <a:gd name="connsiteX2" fmla="*/ 904312 w 904311"/>
              <a:gd name="connsiteY2" fmla="*/ 452156 h 904311"/>
              <a:gd name="connsiteX3" fmla="*/ 452156 w 904311"/>
              <a:gd name="connsiteY3" fmla="*/ 904312 h 904311"/>
              <a:gd name="connsiteX4" fmla="*/ 0 w 904311"/>
              <a:gd name="connsiteY4" fmla="*/ 452156 h 904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311" h="904311">
                <a:moveTo>
                  <a:pt x="0" y="452156"/>
                </a:moveTo>
                <a:cubicBezTo>
                  <a:pt x="0" y="202437"/>
                  <a:pt x="202437" y="0"/>
                  <a:pt x="452156" y="0"/>
                </a:cubicBezTo>
                <a:cubicBezTo>
                  <a:pt x="701875" y="0"/>
                  <a:pt x="904312" y="202437"/>
                  <a:pt x="904312" y="452156"/>
                </a:cubicBezTo>
                <a:cubicBezTo>
                  <a:pt x="904312" y="701875"/>
                  <a:pt x="701875" y="904312"/>
                  <a:pt x="452156" y="904312"/>
                </a:cubicBezTo>
                <a:cubicBezTo>
                  <a:pt x="202437" y="904312"/>
                  <a:pt x="0" y="701875"/>
                  <a:pt x="0" y="452156"/>
                </a:cubicBezTo>
                <a:close/>
              </a:path>
            </a:pathLst>
          </a:custGeom>
          <a:solidFill>
            <a:schemeClr val="bg1"/>
          </a:solidFill>
          <a:ln w="19050">
            <a:solidFill>
              <a:srgbClr val="8BBC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smtClean="0">
                <a:solidFill>
                  <a:schemeClr val="tx1"/>
                </a:solidFill>
              </a:rPr>
              <a:t>SAMSA</a:t>
            </a:r>
            <a:r>
              <a:rPr lang="en-US" sz="1000" baseline="30000" dirty="0" smtClean="0">
                <a:solidFill>
                  <a:schemeClr val="tx1"/>
                </a:solidFill>
              </a:rPr>
              <a:t>4</a:t>
            </a:r>
            <a:endParaRPr lang="en-US" sz="1000" dirty="0">
              <a:solidFill>
                <a:schemeClr val="tx1"/>
              </a:solidFill>
            </a:endParaRPr>
          </a:p>
        </p:txBody>
      </p:sp>
      <p:sp>
        <p:nvSpPr>
          <p:cNvPr id="61" name="Freeform 60"/>
          <p:cNvSpPr/>
          <p:nvPr/>
        </p:nvSpPr>
        <p:spPr>
          <a:xfrm rot="18900000">
            <a:off x="5191582" y="3498888"/>
            <a:ext cx="553937" cy="23768"/>
          </a:xfrm>
          <a:custGeom>
            <a:avLst/>
            <a:gdLst>
              <a:gd name="connsiteX0" fmla="*/ 0 w 632452"/>
              <a:gd name="connsiteY0" fmla="*/ 13623 h 27246"/>
              <a:gd name="connsiteX1" fmla="*/ 632452 w 632452"/>
              <a:gd name="connsiteY1" fmla="*/ 13623 h 27246"/>
            </a:gdLst>
            <a:ahLst/>
            <a:cxnLst>
              <a:cxn ang="0">
                <a:pos x="connsiteX0" y="connsiteY0"/>
              </a:cxn>
              <a:cxn ang="0">
                <a:pos x="connsiteX1" y="connsiteY1"/>
              </a:cxn>
            </a:cxnLst>
            <a:rect l="l" t="t" r="r" b="b"/>
            <a:pathLst>
              <a:path w="632452" h="27246">
                <a:moveTo>
                  <a:pt x="632452" y="13623"/>
                </a:moveTo>
                <a:lnTo>
                  <a:pt x="0" y="13623"/>
                </a:lnTo>
              </a:path>
            </a:pathLst>
          </a:custGeom>
          <a:noFill/>
          <a:ln>
            <a:solidFill>
              <a:schemeClr val="accent6"/>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13116" tIns="-2188" rIns="313113" bIns="-2188" numCol="1" spcCol="1270" anchor="ctr" anchorCtr="0">
            <a:noAutofit/>
          </a:bodyPr>
          <a:lstStyle/>
          <a:p>
            <a:pPr algn="ctr" defTabSz="222250">
              <a:lnSpc>
                <a:spcPct val="90000"/>
              </a:lnSpc>
              <a:spcAft>
                <a:spcPct val="35000"/>
              </a:spcAft>
            </a:pPr>
            <a:endParaRPr lang="en-US" sz="1000"/>
          </a:p>
        </p:txBody>
      </p:sp>
      <p:sp>
        <p:nvSpPr>
          <p:cNvPr id="62" name="Freeform 61"/>
          <p:cNvSpPr/>
          <p:nvPr/>
        </p:nvSpPr>
        <p:spPr>
          <a:xfrm>
            <a:off x="4596650" y="3590304"/>
            <a:ext cx="792045" cy="788844"/>
          </a:xfrm>
          <a:custGeom>
            <a:avLst/>
            <a:gdLst>
              <a:gd name="connsiteX0" fmla="*/ 0 w 904311"/>
              <a:gd name="connsiteY0" fmla="*/ 452156 h 904311"/>
              <a:gd name="connsiteX1" fmla="*/ 452156 w 904311"/>
              <a:gd name="connsiteY1" fmla="*/ 0 h 904311"/>
              <a:gd name="connsiteX2" fmla="*/ 904312 w 904311"/>
              <a:gd name="connsiteY2" fmla="*/ 452156 h 904311"/>
              <a:gd name="connsiteX3" fmla="*/ 452156 w 904311"/>
              <a:gd name="connsiteY3" fmla="*/ 904312 h 904311"/>
              <a:gd name="connsiteX4" fmla="*/ 0 w 904311"/>
              <a:gd name="connsiteY4" fmla="*/ 452156 h 904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311" h="904311">
                <a:moveTo>
                  <a:pt x="0" y="452156"/>
                </a:moveTo>
                <a:cubicBezTo>
                  <a:pt x="0" y="202437"/>
                  <a:pt x="202437" y="0"/>
                  <a:pt x="452156" y="0"/>
                </a:cubicBezTo>
                <a:cubicBezTo>
                  <a:pt x="701875" y="0"/>
                  <a:pt x="904312" y="202437"/>
                  <a:pt x="904312" y="452156"/>
                </a:cubicBezTo>
                <a:cubicBezTo>
                  <a:pt x="904312" y="701875"/>
                  <a:pt x="701875" y="904312"/>
                  <a:pt x="452156" y="904312"/>
                </a:cubicBezTo>
                <a:cubicBezTo>
                  <a:pt x="202437" y="904312"/>
                  <a:pt x="0" y="701875"/>
                  <a:pt x="0" y="452156"/>
                </a:cubicBezTo>
                <a:close/>
              </a:path>
            </a:pathLst>
          </a:custGeom>
          <a:solidFill>
            <a:schemeClr val="bg1"/>
          </a:solidFill>
          <a:ln w="19050">
            <a:solidFill>
              <a:srgbClr val="8BBC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smtClean="0">
                <a:solidFill>
                  <a:schemeClr val="tx1"/>
                </a:solidFill>
              </a:rPr>
              <a:t>Tourism office</a:t>
            </a:r>
            <a:endParaRPr lang="en-US" sz="1000" dirty="0">
              <a:solidFill>
                <a:schemeClr val="tx1"/>
              </a:solidFill>
            </a:endParaRPr>
          </a:p>
        </p:txBody>
      </p:sp>
      <p:sp>
        <p:nvSpPr>
          <p:cNvPr id="63" name="Freeform 62"/>
          <p:cNvSpPr/>
          <p:nvPr/>
        </p:nvSpPr>
        <p:spPr>
          <a:xfrm>
            <a:off x="4994467" y="3024936"/>
            <a:ext cx="553937" cy="23768"/>
          </a:xfrm>
          <a:custGeom>
            <a:avLst/>
            <a:gdLst>
              <a:gd name="connsiteX0" fmla="*/ 0 w 632452"/>
              <a:gd name="connsiteY0" fmla="*/ 13623 h 27246"/>
              <a:gd name="connsiteX1" fmla="*/ 632452 w 632452"/>
              <a:gd name="connsiteY1" fmla="*/ 13623 h 27246"/>
            </a:gdLst>
            <a:ahLst/>
            <a:cxnLst>
              <a:cxn ang="0">
                <a:pos x="connsiteX0" y="connsiteY0"/>
              </a:cxn>
              <a:cxn ang="0">
                <a:pos x="connsiteX1" y="connsiteY1"/>
              </a:cxn>
            </a:cxnLst>
            <a:rect l="l" t="t" r="r" b="b"/>
            <a:pathLst>
              <a:path w="632452" h="27246">
                <a:moveTo>
                  <a:pt x="632452" y="13623"/>
                </a:moveTo>
                <a:lnTo>
                  <a:pt x="0" y="13623"/>
                </a:lnTo>
              </a:path>
            </a:pathLst>
          </a:custGeom>
          <a:noFill/>
          <a:ln>
            <a:solidFill>
              <a:schemeClr val="accent6"/>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13116" tIns="-2188" rIns="313113" bIns="-2188" numCol="1" spcCol="1270" anchor="ctr" anchorCtr="0">
            <a:noAutofit/>
          </a:bodyPr>
          <a:lstStyle/>
          <a:p>
            <a:pPr algn="ctr" defTabSz="222250">
              <a:lnSpc>
                <a:spcPct val="90000"/>
              </a:lnSpc>
              <a:spcAft>
                <a:spcPct val="35000"/>
              </a:spcAft>
            </a:pPr>
            <a:endParaRPr lang="en-US" sz="1000"/>
          </a:p>
        </p:txBody>
      </p:sp>
      <p:sp>
        <p:nvSpPr>
          <p:cNvPr id="64" name="Freeform 63"/>
          <p:cNvSpPr/>
          <p:nvPr/>
        </p:nvSpPr>
        <p:spPr>
          <a:xfrm>
            <a:off x="4202421" y="2642397"/>
            <a:ext cx="792045" cy="788844"/>
          </a:xfrm>
          <a:custGeom>
            <a:avLst/>
            <a:gdLst>
              <a:gd name="connsiteX0" fmla="*/ 0 w 904311"/>
              <a:gd name="connsiteY0" fmla="*/ 452156 h 904311"/>
              <a:gd name="connsiteX1" fmla="*/ 452156 w 904311"/>
              <a:gd name="connsiteY1" fmla="*/ 0 h 904311"/>
              <a:gd name="connsiteX2" fmla="*/ 904312 w 904311"/>
              <a:gd name="connsiteY2" fmla="*/ 452156 h 904311"/>
              <a:gd name="connsiteX3" fmla="*/ 452156 w 904311"/>
              <a:gd name="connsiteY3" fmla="*/ 904312 h 904311"/>
              <a:gd name="connsiteX4" fmla="*/ 0 w 904311"/>
              <a:gd name="connsiteY4" fmla="*/ 452156 h 904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311" h="904311">
                <a:moveTo>
                  <a:pt x="0" y="452156"/>
                </a:moveTo>
                <a:cubicBezTo>
                  <a:pt x="0" y="202437"/>
                  <a:pt x="202437" y="0"/>
                  <a:pt x="452156" y="0"/>
                </a:cubicBezTo>
                <a:cubicBezTo>
                  <a:pt x="701875" y="0"/>
                  <a:pt x="904312" y="202437"/>
                  <a:pt x="904312" y="452156"/>
                </a:cubicBezTo>
                <a:cubicBezTo>
                  <a:pt x="904312" y="701875"/>
                  <a:pt x="701875" y="904312"/>
                  <a:pt x="452156" y="904312"/>
                </a:cubicBezTo>
                <a:cubicBezTo>
                  <a:pt x="202437" y="904312"/>
                  <a:pt x="0" y="701875"/>
                  <a:pt x="0" y="452156"/>
                </a:cubicBezTo>
                <a:close/>
              </a:path>
            </a:pathLst>
          </a:custGeom>
          <a:solidFill>
            <a:schemeClr val="bg1"/>
          </a:solidFill>
          <a:ln w="19050">
            <a:solidFill>
              <a:srgbClr val="8BBC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dirty="0" err="1" smtClean="0">
                <a:solidFill>
                  <a:schemeClr val="tx1"/>
                </a:solidFill>
              </a:rPr>
              <a:t>DRDLR</a:t>
            </a:r>
            <a:endParaRPr lang="en-US" sz="1000" dirty="0">
              <a:solidFill>
                <a:schemeClr val="tx1"/>
              </a:solidFill>
            </a:endParaRPr>
          </a:p>
        </p:txBody>
      </p:sp>
      <p:sp>
        <p:nvSpPr>
          <p:cNvPr id="65" name="Freeform 64"/>
          <p:cNvSpPr/>
          <p:nvPr/>
        </p:nvSpPr>
        <p:spPr>
          <a:xfrm rot="2700000">
            <a:off x="5192702" y="2550933"/>
            <a:ext cx="551697" cy="23865"/>
          </a:xfrm>
          <a:custGeom>
            <a:avLst/>
            <a:gdLst>
              <a:gd name="connsiteX0" fmla="*/ 0 w 632452"/>
              <a:gd name="connsiteY0" fmla="*/ 13623 h 27246"/>
              <a:gd name="connsiteX1" fmla="*/ 632452 w 632452"/>
              <a:gd name="connsiteY1" fmla="*/ 13623 h 27246"/>
            </a:gdLst>
            <a:ahLst/>
            <a:cxnLst>
              <a:cxn ang="0">
                <a:pos x="connsiteX0" y="connsiteY0"/>
              </a:cxn>
              <a:cxn ang="0">
                <a:pos x="connsiteX1" y="connsiteY1"/>
              </a:cxn>
            </a:cxnLst>
            <a:rect l="l" t="t" r="r" b="b"/>
            <a:pathLst>
              <a:path w="632452" h="27246">
                <a:moveTo>
                  <a:pt x="632452" y="13623"/>
                </a:moveTo>
                <a:lnTo>
                  <a:pt x="0" y="13623"/>
                </a:lnTo>
              </a:path>
            </a:pathLst>
          </a:custGeom>
          <a:noFill/>
          <a:ln>
            <a:solidFill>
              <a:schemeClr val="accent6"/>
            </a:solidFill>
          </a:ln>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313116" tIns="-2188" rIns="313113" bIns="-2188" numCol="1" spcCol="1270" anchor="ctr" anchorCtr="0">
            <a:noAutofit/>
          </a:bodyPr>
          <a:lstStyle/>
          <a:p>
            <a:pPr algn="ctr" defTabSz="222250">
              <a:lnSpc>
                <a:spcPct val="90000"/>
              </a:lnSpc>
              <a:spcAft>
                <a:spcPct val="35000"/>
              </a:spcAft>
            </a:pPr>
            <a:endParaRPr lang="en-US" sz="1000"/>
          </a:p>
        </p:txBody>
      </p:sp>
      <p:sp>
        <p:nvSpPr>
          <p:cNvPr id="66" name="Freeform 65"/>
          <p:cNvSpPr/>
          <p:nvPr/>
        </p:nvSpPr>
        <p:spPr>
          <a:xfrm>
            <a:off x="4596650" y="1694489"/>
            <a:ext cx="792045" cy="788844"/>
          </a:xfrm>
          <a:custGeom>
            <a:avLst/>
            <a:gdLst>
              <a:gd name="connsiteX0" fmla="*/ 0 w 904311"/>
              <a:gd name="connsiteY0" fmla="*/ 452156 h 904311"/>
              <a:gd name="connsiteX1" fmla="*/ 452156 w 904311"/>
              <a:gd name="connsiteY1" fmla="*/ 0 h 904311"/>
              <a:gd name="connsiteX2" fmla="*/ 904312 w 904311"/>
              <a:gd name="connsiteY2" fmla="*/ 452156 h 904311"/>
              <a:gd name="connsiteX3" fmla="*/ 452156 w 904311"/>
              <a:gd name="connsiteY3" fmla="*/ 904312 h 904311"/>
              <a:gd name="connsiteX4" fmla="*/ 0 w 904311"/>
              <a:gd name="connsiteY4" fmla="*/ 452156 h 9043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311" h="904311">
                <a:moveTo>
                  <a:pt x="0" y="452156"/>
                </a:moveTo>
                <a:cubicBezTo>
                  <a:pt x="0" y="202437"/>
                  <a:pt x="202437" y="0"/>
                  <a:pt x="452156" y="0"/>
                </a:cubicBezTo>
                <a:cubicBezTo>
                  <a:pt x="701875" y="0"/>
                  <a:pt x="904312" y="202437"/>
                  <a:pt x="904312" y="452156"/>
                </a:cubicBezTo>
                <a:cubicBezTo>
                  <a:pt x="904312" y="701875"/>
                  <a:pt x="701875" y="904312"/>
                  <a:pt x="452156" y="904312"/>
                </a:cubicBezTo>
                <a:cubicBezTo>
                  <a:pt x="202437" y="904312"/>
                  <a:pt x="0" y="701875"/>
                  <a:pt x="0" y="452156"/>
                </a:cubicBezTo>
                <a:close/>
              </a:path>
            </a:pathLst>
          </a:custGeom>
          <a:solidFill>
            <a:schemeClr val="bg1"/>
          </a:solidFill>
          <a:ln w="19050">
            <a:solidFill>
              <a:srgbClr val="8BBC9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000">
                <a:solidFill>
                  <a:schemeClr val="tx1"/>
                </a:solidFill>
              </a:rPr>
              <a:t>Local government</a:t>
            </a:r>
          </a:p>
        </p:txBody>
      </p:sp>
      <p:sp>
        <p:nvSpPr>
          <p:cNvPr id="72" name="TextBox 71"/>
          <p:cNvSpPr txBox="1"/>
          <p:nvPr/>
        </p:nvSpPr>
        <p:spPr>
          <a:xfrm>
            <a:off x="7634222" y="1309198"/>
            <a:ext cx="1073083" cy="453201"/>
          </a:xfrm>
          <a:prstGeom prst="rect">
            <a:avLst/>
          </a:prstGeom>
          <a:solidFill>
            <a:schemeClr val="bg1"/>
          </a:solidFill>
          <a:ln w="9525">
            <a:solidFill>
              <a:schemeClr val="accent6"/>
            </a:solidFill>
            <a:miter lim="800000"/>
            <a:headEnd/>
            <a:tailEnd/>
          </a:ln>
          <a:effectLst/>
        </p:spPr>
        <p:txBody>
          <a:bodyPr vert="horz" wrap="square" lIns="72009"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00" dirty="0"/>
              <a:t>VMS and GPS coordination</a:t>
            </a:r>
          </a:p>
        </p:txBody>
      </p:sp>
      <p:sp>
        <p:nvSpPr>
          <p:cNvPr id="38" name="TextBox 37"/>
          <p:cNvSpPr txBox="1"/>
          <p:nvPr/>
        </p:nvSpPr>
        <p:spPr>
          <a:xfrm>
            <a:off x="8005851" y="2767116"/>
            <a:ext cx="701454" cy="914866"/>
          </a:xfrm>
          <a:prstGeom prst="rect">
            <a:avLst/>
          </a:prstGeom>
          <a:solidFill>
            <a:schemeClr val="bg1"/>
          </a:solidFill>
          <a:ln w="9525">
            <a:solidFill>
              <a:schemeClr val="accent6"/>
            </a:solidFill>
            <a:miter lim="800000"/>
            <a:headEnd/>
            <a:tailEnd/>
          </a:ln>
          <a:effectLst/>
        </p:spPr>
        <p:txBody>
          <a:bodyPr vert="horz" wrap="square" lIns="72009"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00" dirty="0"/>
              <a:t>Business </a:t>
            </a:r>
            <a:r>
              <a:rPr lang="en-US" sz="1000" dirty="0" smtClean="0"/>
              <a:t>area </a:t>
            </a:r>
            <a:r>
              <a:rPr lang="en-US" sz="1000" dirty="0"/>
              <a:t>operation site license</a:t>
            </a:r>
          </a:p>
        </p:txBody>
      </p:sp>
      <p:sp>
        <p:nvSpPr>
          <p:cNvPr id="39" name="TextBox 38"/>
          <p:cNvSpPr txBox="1"/>
          <p:nvPr/>
        </p:nvSpPr>
        <p:spPr>
          <a:xfrm>
            <a:off x="7541617" y="3912251"/>
            <a:ext cx="1165688" cy="760978"/>
          </a:xfrm>
          <a:prstGeom prst="rect">
            <a:avLst/>
          </a:prstGeom>
          <a:solidFill>
            <a:schemeClr val="bg1"/>
          </a:solidFill>
          <a:ln w="9525">
            <a:solidFill>
              <a:schemeClr val="accent6"/>
            </a:solidFill>
            <a:miter lim="800000"/>
            <a:headEnd/>
            <a:tailEnd/>
          </a:ln>
          <a:effectLst/>
        </p:spPr>
        <p:txBody>
          <a:bodyPr vert="horz" wrap="square" lIns="72009"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00" dirty="0"/>
              <a:t>Issues permit for vehicle on coastal zone, permits for marine activity</a:t>
            </a:r>
          </a:p>
        </p:txBody>
      </p:sp>
      <p:sp>
        <p:nvSpPr>
          <p:cNvPr id="40" name="TextBox 39"/>
          <p:cNvSpPr txBox="1"/>
          <p:nvPr/>
        </p:nvSpPr>
        <p:spPr>
          <a:xfrm>
            <a:off x="3307353" y="3513360"/>
            <a:ext cx="837979" cy="607089"/>
          </a:xfrm>
          <a:prstGeom prst="rect">
            <a:avLst/>
          </a:prstGeom>
          <a:solidFill>
            <a:schemeClr val="bg1"/>
          </a:solidFill>
          <a:ln w="9525">
            <a:solidFill>
              <a:schemeClr val="accent6"/>
            </a:solidFill>
            <a:miter lim="800000"/>
            <a:headEnd/>
            <a:tailEnd/>
          </a:ln>
          <a:effectLst/>
        </p:spPr>
        <p:txBody>
          <a:bodyPr vert="horz" wrap="square" lIns="72009"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00" dirty="0"/>
              <a:t>Registration for tour guides</a:t>
            </a:r>
          </a:p>
        </p:txBody>
      </p:sp>
      <p:sp>
        <p:nvSpPr>
          <p:cNvPr id="42" name="TextBox 41"/>
          <p:cNvSpPr txBox="1"/>
          <p:nvPr/>
        </p:nvSpPr>
        <p:spPr>
          <a:xfrm>
            <a:off x="3307353" y="2331993"/>
            <a:ext cx="743267" cy="453201"/>
          </a:xfrm>
          <a:prstGeom prst="rect">
            <a:avLst/>
          </a:prstGeom>
          <a:solidFill>
            <a:schemeClr val="bg1"/>
          </a:solidFill>
          <a:ln w="9525">
            <a:solidFill>
              <a:schemeClr val="accent6"/>
            </a:solidFill>
            <a:miter lim="800000"/>
            <a:headEnd/>
            <a:tailEnd/>
          </a:ln>
          <a:effectLst/>
        </p:spPr>
        <p:txBody>
          <a:bodyPr vert="horz" wrap="square" lIns="72009"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00" dirty="0"/>
              <a:t>Launching site lease</a:t>
            </a:r>
          </a:p>
        </p:txBody>
      </p:sp>
      <p:sp>
        <p:nvSpPr>
          <p:cNvPr id="43" name="TextBox 42"/>
          <p:cNvSpPr txBox="1"/>
          <p:nvPr/>
        </p:nvSpPr>
        <p:spPr>
          <a:xfrm>
            <a:off x="3307353" y="4275390"/>
            <a:ext cx="972980" cy="453201"/>
          </a:xfrm>
          <a:prstGeom prst="rect">
            <a:avLst/>
          </a:prstGeom>
          <a:solidFill>
            <a:schemeClr val="bg1"/>
          </a:solidFill>
          <a:ln w="9525">
            <a:solidFill>
              <a:schemeClr val="accent6"/>
            </a:solidFill>
            <a:miter lim="800000"/>
            <a:headEnd/>
            <a:tailEnd/>
          </a:ln>
          <a:effectLst/>
        </p:spPr>
        <p:txBody>
          <a:bodyPr vert="horz" wrap="square" lIns="72009"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000" dirty="0"/>
              <a:t>Skipper and vessel license</a:t>
            </a:r>
          </a:p>
        </p:txBody>
      </p:sp>
      <p:sp>
        <p:nvSpPr>
          <p:cNvPr id="4" name="Freeform 3"/>
          <p:cNvSpPr/>
          <p:nvPr/>
        </p:nvSpPr>
        <p:spPr>
          <a:xfrm>
            <a:off x="4272455" y="4493172"/>
            <a:ext cx="1292773" cy="0"/>
          </a:xfrm>
          <a:custGeom>
            <a:avLst/>
            <a:gdLst>
              <a:gd name="connsiteX0" fmla="*/ 0 w 1292773"/>
              <a:gd name="connsiteY0" fmla="*/ 0 h 0"/>
              <a:gd name="connsiteX1" fmla="*/ 1292773 w 1292773"/>
              <a:gd name="connsiteY1" fmla="*/ 0 h 0"/>
            </a:gdLst>
            <a:ahLst/>
            <a:cxnLst>
              <a:cxn ang="0">
                <a:pos x="connsiteX0" y="connsiteY0"/>
              </a:cxn>
              <a:cxn ang="0">
                <a:pos x="connsiteX1" y="connsiteY1"/>
              </a:cxn>
            </a:cxnLst>
            <a:rect l="l" t="t" r="r" b="b"/>
            <a:pathLst>
              <a:path w="1292773">
                <a:moveTo>
                  <a:pt x="0" y="0"/>
                </a:moveTo>
                <a:lnTo>
                  <a:pt x="1292773"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4"/>
          <p:cNvSpPr/>
          <p:nvPr/>
        </p:nvSpPr>
        <p:spPr>
          <a:xfrm>
            <a:off x="4146331" y="3862552"/>
            <a:ext cx="441435" cy="0"/>
          </a:xfrm>
          <a:custGeom>
            <a:avLst/>
            <a:gdLst>
              <a:gd name="connsiteX0" fmla="*/ 0 w 441435"/>
              <a:gd name="connsiteY0" fmla="*/ 0 h 0"/>
              <a:gd name="connsiteX1" fmla="*/ 441435 w 441435"/>
              <a:gd name="connsiteY1" fmla="*/ 0 h 0"/>
            </a:gdLst>
            <a:ahLst/>
            <a:cxnLst>
              <a:cxn ang="0">
                <a:pos x="connsiteX0" y="connsiteY0"/>
              </a:cxn>
              <a:cxn ang="0">
                <a:pos x="connsiteX1" y="connsiteY1"/>
              </a:cxn>
            </a:cxnLst>
            <a:rect l="l" t="t" r="r" b="b"/>
            <a:pathLst>
              <a:path w="441435">
                <a:moveTo>
                  <a:pt x="0" y="0"/>
                </a:moveTo>
                <a:lnTo>
                  <a:pt x="441435"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p:cNvSpPr/>
          <p:nvPr/>
        </p:nvSpPr>
        <p:spPr>
          <a:xfrm>
            <a:off x="4051738" y="2435772"/>
            <a:ext cx="725214" cy="0"/>
          </a:xfrm>
          <a:custGeom>
            <a:avLst/>
            <a:gdLst>
              <a:gd name="connsiteX0" fmla="*/ 0 w 725214"/>
              <a:gd name="connsiteY0" fmla="*/ 0 h 0"/>
              <a:gd name="connsiteX1" fmla="*/ 725214 w 725214"/>
              <a:gd name="connsiteY1" fmla="*/ 0 h 0"/>
            </a:gdLst>
            <a:ahLst/>
            <a:cxnLst>
              <a:cxn ang="0">
                <a:pos x="connsiteX0" y="connsiteY0"/>
              </a:cxn>
              <a:cxn ang="0">
                <a:pos x="connsiteX1" y="connsiteY1"/>
              </a:cxn>
            </a:cxnLst>
            <a:rect l="l" t="t" r="r" b="b"/>
            <a:pathLst>
              <a:path w="725214">
                <a:moveTo>
                  <a:pt x="0" y="0"/>
                </a:moveTo>
                <a:lnTo>
                  <a:pt x="725214"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6337738" y="1529255"/>
            <a:ext cx="1292772" cy="0"/>
          </a:xfrm>
          <a:custGeom>
            <a:avLst/>
            <a:gdLst>
              <a:gd name="connsiteX0" fmla="*/ 1292772 w 1292772"/>
              <a:gd name="connsiteY0" fmla="*/ 0 h 0"/>
              <a:gd name="connsiteX1" fmla="*/ 0 w 1292772"/>
              <a:gd name="connsiteY1" fmla="*/ 0 h 0"/>
            </a:gdLst>
            <a:ahLst/>
            <a:cxnLst>
              <a:cxn ang="0">
                <a:pos x="connsiteX0" y="connsiteY0"/>
              </a:cxn>
              <a:cxn ang="0">
                <a:pos x="connsiteX1" y="connsiteY1"/>
              </a:cxn>
            </a:cxnLst>
            <a:rect l="l" t="t" r="r" b="b"/>
            <a:pathLst>
              <a:path w="1292772">
                <a:moveTo>
                  <a:pt x="1292772" y="0"/>
                </a:moveTo>
                <a:lnTo>
                  <a:pt x="0"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p:nvPr/>
        </p:nvSpPr>
        <p:spPr>
          <a:xfrm>
            <a:off x="7717221" y="3003331"/>
            <a:ext cx="299545" cy="0"/>
          </a:xfrm>
          <a:custGeom>
            <a:avLst/>
            <a:gdLst>
              <a:gd name="connsiteX0" fmla="*/ 299545 w 299545"/>
              <a:gd name="connsiteY0" fmla="*/ 0 h 0"/>
              <a:gd name="connsiteX1" fmla="*/ 0 w 299545"/>
              <a:gd name="connsiteY1" fmla="*/ 0 h 0"/>
            </a:gdLst>
            <a:ahLst/>
            <a:cxnLst>
              <a:cxn ang="0">
                <a:pos x="connsiteX0" y="connsiteY0"/>
              </a:cxn>
              <a:cxn ang="0">
                <a:pos x="connsiteX1" y="connsiteY1"/>
              </a:cxn>
            </a:cxnLst>
            <a:rect l="l" t="t" r="r" b="b"/>
            <a:pathLst>
              <a:path w="299545">
                <a:moveTo>
                  <a:pt x="299545" y="0"/>
                </a:moveTo>
                <a:lnTo>
                  <a:pt x="0"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19"/>
          <p:cNvSpPr/>
          <p:nvPr/>
        </p:nvSpPr>
        <p:spPr>
          <a:xfrm>
            <a:off x="7307317" y="4114800"/>
            <a:ext cx="252249" cy="0"/>
          </a:xfrm>
          <a:custGeom>
            <a:avLst/>
            <a:gdLst>
              <a:gd name="connsiteX0" fmla="*/ 252249 w 252249"/>
              <a:gd name="connsiteY0" fmla="*/ 0 h 0"/>
              <a:gd name="connsiteX1" fmla="*/ 0 w 252249"/>
              <a:gd name="connsiteY1" fmla="*/ 0 h 0"/>
            </a:gdLst>
            <a:ahLst/>
            <a:cxnLst>
              <a:cxn ang="0">
                <a:pos x="connsiteX0" y="connsiteY0"/>
              </a:cxn>
              <a:cxn ang="0">
                <a:pos x="connsiteX1" y="connsiteY1"/>
              </a:cxn>
            </a:cxnLst>
            <a:rect l="l" t="t" r="r" b="b"/>
            <a:pathLst>
              <a:path w="252249">
                <a:moveTo>
                  <a:pt x="252249" y="0"/>
                </a:moveTo>
                <a:lnTo>
                  <a:pt x="0" y="0"/>
                </a:lnTo>
              </a:path>
            </a:pathLst>
          </a:custGeom>
          <a:noFill/>
          <a:ln w="9525">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Marvin tracker circle"/>
          <p:cNvSpPr/>
          <p:nvPr/>
        </p:nvSpPr>
        <p:spPr>
          <a:xfrm>
            <a:off x="171451" y="230188"/>
            <a:ext cx="274320" cy="2743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400" dirty="0">
                <a:solidFill>
                  <a:schemeClr val="bg1"/>
                </a:solidFill>
              </a:rPr>
              <a:t>3</a:t>
            </a:r>
            <a:endParaRPr lang="en-US" sz="1400" dirty="0" smtClean="0">
              <a:solidFill>
                <a:schemeClr val="bg1"/>
              </a:solidFill>
            </a:endParaRPr>
          </a:p>
        </p:txBody>
      </p:sp>
    </p:spTree>
    <p:custDataLst>
      <p:tags r:id="rId1"/>
    </p:custDataLst>
    <p:extLst>
      <p:ext uri="{BB962C8B-B14F-4D97-AF65-F5344CB8AC3E}">
        <p14:creationId xmlns:p14="http://schemas.microsoft.com/office/powerpoint/2010/main" val="2615104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13" name="think-cell Slide" r:id="rId5" imgW="353" imgH="353" progId="TCLayout.ActiveDocument.1">
                  <p:embed/>
                </p:oleObj>
              </mc:Choice>
              <mc:Fallback>
                <p:oleObj name="think-cell Slide" r:id="rId5" imgW="353" imgH="35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Box 7"/>
          <p:cNvSpPr txBox="1">
            <a:spLocks/>
          </p:cNvSpPr>
          <p:nvPr/>
        </p:nvSpPr>
        <p:spPr>
          <a:xfrm>
            <a:off x="7030002" y="1377500"/>
            <a:ext cx="1719470" cy="457279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9525">
            <a:noFill/>
            <a:miter lim="800000"/>
            <a:headEnd/>
            <a:tailEnd/>
          </a:ln>
          <a:effectLst/>
        </p:spPr>
        <p:txBody>
          <a:bodyPr vert="horz" wrap="square" lIns="72009" tIns="72009" rIns="72009" bIns="72009"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30000"/>
              </a:spcBef>
              <a:buClr>
                <a:schemeClr val="lt1"/>
              </a:buClr>
            </a:pPr>
            <a:r>
              <a:rPr lang="en-GB" sz="1050" b="1" dirty="0">
                <a:solidFill>
                  <a:schemeClr val="bg1"/>
                </a:solidFill>
              </a:rPr>
              <a:t>The </a:t>
            </a:r>
            <a:r>
              <a:rPr lang="en-GB" sz="1050" b="1" dirty="0" smtClean="0">
                <a:solidFill>
                  <a:schemeClr val="bg1"/>
                </a:solidFill>
              </a:rPr>
              <a:t>national  Indi- Atlantic route links </a:t>
            </a:r>
            <a:r>
              <a:rPr lang="en-GB" sz="1050" b="1" dirty="0">
                <a:solidFill>
                  <a:schemeClr val="bg1"/>
                </a:solidFill>
              </a:rPr>
              <a:t>a variety of attractions and activities that are found in existing and established routes </a:t>
            </a:r>
            <a:r>
              <a:rPr lang="en-GB" sz="1050" b="1" dirty="0" smtClean="0">
                <a:solidFill>
                  <a:schemeClr val="bg1"/>
                </a:solidFill>
              </a:rPr>
              <a:t>across different </a:t>
            </a:r>
            <a:r>
              <a:rPr lang="en-GB" sz="1050" b="1" dirty="0">
                <a:solidFill>
                  <a:schemeClr val="bg1"/>
                </a:solidFill>
              </a:rPr>
              <a:t>coastal regions namely </a:t>
            </a:r>
            <a:r>
              <a:rPr lang="en-GB" sz="1050" b="1" dirty="0" smtClean="0">
                <a:solidFill>
                  <a:schemeClr val="bg1"/>
                </a:solidFill>
              </a:rPr>
              <a:t>;</a:t>
            </a:r>
          </a:p>
          <a:p>
            <a:pPr lvl="2">
              <a:spcBef>
                <a:spcPct val="30000"/>
              </a:spcBef>
              <a:buClr>
                <a:schemeClr val="lt1"/>
              </a:buClr>
            </a:pPr>
            <a:r>
              <a:rPr lang="en-GB" sz="1050" b="1" dirty="0" smtClean="0">
                <a:solidFill>
                  <a:schemeClr val="bg1"/>
                </a:solidFill>
              </a:rPr>
              <a:t>Diamond Coast</a:t>
            </a:r>
          </a:p>
          <a:p>
            <a:pPr lvl="2">
              <a:spcBef>
                <a:spcPct val="30000"/>
              </a:spcBef>
              <a:buClr>
                <a:schemeClr val="lt1"/>
              </a:buClr>
            </a:pPr>
            <a:r>
              <a:rPr lang="en-GB" sz="1050" b="1" dirty="0" smtClean="0">
                <a:solidFill>
                  <a:schemeClr val="bg1"/>
                </a:solidFill>
              </a:rPr>
              <a:t>West Coast</a:t>
            </a:r>
          </a:p>
          <a:p>
            <a:pPr lvl="2">
              <a:spcBef>
                <a:spcPct val="30000"/>
              </a:spcBef>
              <a:buClr>
                <a:schemeClr val="lt1"/>
              </a:buClr>
            </a:pPr>
            <a:r>
              <a:rPr lang="en-GB" sz="1050" b="1" dirty="0" smtClean="0">
                <a:solidFill>
                  <a:schemeClr val="bg1"/>
                </a:solidFill>
              </a:rPr>
              <a:t>Coastal route</a:t>
            </a:r>
          </a:p>
          <a:p>
            <a:pPr lvl="2">
              <a:spcBef>
                <a:spcPct val="30000"/>
              </a:spcBef>
              <a:buClr>
                <a:schemeClr val="lt1"/>
              </a:buClr>
            </a:pPr>
            <a:r>
              <a:rPr lang="en-GB" sz="1050" b="1" dirty="0" smtClean="0">
                <a:solidFill>
                  <a:schemeClr val="bg1"/>
                </a:solidFill>
              </a:rPr>
              <a:t>Garden route</a:t>
            </a:r>
          </a:p>
          <a:p>
            <a:pPr lvl="2">
              <a:spcBef>
                <a:spcPct val="30000"/>
              </a:spcBef>
              <a:buClr>
                <a:schemeClr val="lt1"/>
              </a:buClr>
            </a:pPr>
            <a:r>
              <a:rPr lang="en-GB" sz="1050" b="1" dirty="0" smtClean="0">
                <a:solidFill>
                  <a:schemeClr val="bg1"/>
                </a:solidFill>
              </a:rPr>
              <a:t>Eastern Cape coastal tour</a:t>
            </a:r>
          </a:p>
          <a:p>
            <a:pPr lvl="2">
              <a:spcBef>
                <a:spcPct val="30000"/>
              </a:spcBef>
              <a:buClr>
                <a:schemeClr val="lt1"/>
              </a:buClr>
            </a:pPr>
            <a:r>
              <a:rPr lang="en-GB" sz="1050" b="1" dirty="0" smtClean="0">
                <a:solidFill>
                  <a:schemeClr val="bg1"/>
                </a:solidFill>
              </a:rPr>
              <a:t>South Coast experience</a:t>
            </a:r>
          </a:p>
          <a:p>
            <a:pPr lvl="2">
              <a:spcBef>
                <a:spcPct val="30000"/>
              </a:spcBef>
              <a:buClr>
                <a:schemeClr val="lt1"/>
              </a:buClr>
            </a:pPr>
            <a:r>
              <a:rPr lang="en-GB" sz="1050" b="1" dirty="0" smtClean="0">
                <a:solidFill>
                  <a:schemeClr val="bg1"/>
                </a:solidFill>
              </a:rPr>
              <a:t>East 3 route</a:t>
            </a:r>
          </a:p>
          <a:p>
            <a:pPr lvl="1">
              <a:spcBef>
                <a:spcPct val="30000"/>
              </a:spcBef>
              <a:buClr>
                <a:schemeClr val="lt1"/>
              </a:buClr>
            </a:pPr>
            <a:r>
              <a:rPr lang="en-GB" sz="1050" b="1" dirty="0" smtClean="0">
                <a:solidFill>
                  <a:schemeClr val="bg1"/>
                </a:solidFill>
              </a:rPr>
              <a:t>The route unifies the coastline while celebrating its’ diversity in pristine beaches, marine activities and cultural experiences</a:t>
            </a:r>
            <a:endParaRPr lang="en-GB" sz="1050" dirty="0" smtClean="0"/>
          </a:p>
        </p:txBody>
      </p:sp>
      <p:sp>
        <p:nvSpPr>
          <p:cNvPr id="17" name="1. On-page tracker"/>
          <p:cNvSpPr>
            <a:spLocks noChangeArrowheads="1"/>
          </p:cNvSpPr>
          <p:nvPr/>
        </p:nvSpPr>
        <p:spPr bwMode="auto">
          <a:xfrm>
            <a:off x="171451" y="26988"/>
            <a:ext cx="5176674"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61950"/>
            <a:r>
              <a:rPr lang="en-US" sz="1400" dirty="0">
                <a:solidFill>
                  <a:srgbClr val="808080"/>
                </a:solidFill>
                <a:latin typeface="+mn-lt"/>
              </a:rPr>
              <a:t>PROPOSED ROUTES INITIATIVE: INDI-ATLANTIC ROUTE</a:t>
            </a:r>
          </a:p>
        </p:txBody>
      </p:sp>
      <p:grpSp>
        <p:nvGrpSpPr>
          <p:cNvPr id="25" name="Group 24"/>
          <p:cNvGrpSpPr/>
          <p:nvPr/>
        </p:nvGrpSpPr>
        <p:grpSpPr>
          <a:xfrm>
            <a:off x="109575" y="831737"/>
            <a:ext cx="6786154" cy="5183847"/>
            <a:chOff x="109575" y="813265"/>
            <a:chExt cx="6786154" cy="5183847"/>
          </a:xfrm>
        </p:grpSpPr>
        <p:grpSp>
          <p:nvGrpSpPr>
            <p:cNvPr id="36" name="Group 35"/>
            <p:cNvGrpSpPr/>
            <p:nvPr/>
          </p:nvGrpSpPr>
          <p:grpSpPr>
            <a:xfrm>
              <a:off x="470930" y="813265"/>
              <a:ext cx="5868874" cy="5183847"/>
              <a:chOff x="1093788" y="446088"/>
              <a:chExt cx="6664325" cy="5886451"/>
            </a:xfrm>
            <a:solidFill>
              <a:srgbClr val="70BB65"/>
            </a:solidFill>
          </p:grpSpPr>
          <p:sp>
            <p:nvSpPr>
              <p:cNvPr id="47" name="Freeform 31"/>
              <p:cNvSpPr>
                <a:spLocks/>
              </p:cNvSpPr>
              <p:nvPr/>
            </p:nvSpPr>
            <p:spPr bwMode="auto">
              <a:xfrm>
                <a:off x="6127750" y="2533650"/>
                <a:ext cx="1630363" cy="1985963"/>
              </a:xfrm>
              <a:custGeom>
                <a:avLst/>
                <a:gdLst>
                  <a:gd name="T0" fmla="*/ 325 w 1027"/>
                  <a:gd name="T1" fmla="*/ 1217 h 1251"/>
                  <a:gd name="T2" fmla="*/ 310 w 1027"/>
                  <a:gd name="T3" fmla="*/ 1188 h 1251"/>
                  <a:gd name="T4" fmla="*/ 290 w 1027"/>
                  <a:gd name="T5" fmla="*/ 1175 h 1251"/>
                  <a:gd name="T6" fmla="*/ 271 w 1027"/>
                  <a:gd name="T7" fmla="*/ 1156 h 1251"/>
                  <a:gd name="T8" fmla="*/ 250 w 1027"/>
                  <a:gd name="T9" fmla="*/ 1155 h 1251"/>
                  <a:gd name="T10" fmla="*/ 231 w 1027"/>
                  <a:gd name="T11" fmla="*/ 1139 h 1251"/>
                  <a:gd name="T12" fmla="*/ 209 w 1027"/>
                  <a:gd name="T13" fmla="*/ 1132 h 1251"/>
                  <a:gd name="T14" fmla="*/ 173 w 1027"/>
                  <a:gd name="T15" fmla="*/ 1121 h 1251"/>
                  <a:gd name="T16" fmla="*/ 81 w 1027"/>
                  <a:gd name="T17" fmla="*/ 1111 h 1251"/>
                  <a:gd name="T18" fmla="*/ 85 w 1027"/>
                  <a:gd name="T19" fmla="*/ 1066 h 1251"/>
                  <a:gd name="T20" fmla="*/ 73 w 1027"/>
                  <a:gd name="T21" fmla="*/ 1010 h 1251"/>
                  <a:gd name="T22" fmla="*/ 60 w 1027"/>
                  <a:gd name="T23" fmla="*/ 983 h 1251"/>
                  <a:gd name="T24" fmla="*/ 56 w 1027"/>
                  <a:gd name="T25" fmla="*/ 946 h 1251"/>
                  <a:gd name="T26" fmla="*/ 75 w 1027"/>
                  <a:gd name="T27" fmla="*/ 906 h 1251"/>
                  <a:gd name="T28" fmla="*/ 66 w 1027"/>
                  <a:gd name="T29" fmla="*/ 878 h 1251"/>
                  <a:gd name="T30" fmla="*/ 71 w 1027"/>
                  <a:gd name="T31" fmla="*/ 842 h 1251"/>
                  <a:gd name="T32" fmla="*/ 107 w 1027"/>
                  <a:gd name="T33" fmla="*/ 819 h 1251"/>
                  <a:gd name="T34" fmla="*/ 111 w 1027"/>
                  <a:gd name="T35" fmla="*/ 786 h 1251"/>
                  <a:gd name="T36" fmla="*/ 137 w 1027"/>
                  <a:gd name="T37" fmla="*/ 759 h 1251"/>
                  <a:gd name="T38" fmla="*/ 145 w 1027"/>
                  <a:gd name="T39" fmla="*/ 720 h 1251"/>
                  <a:gd name="T40" fmla="*/ 122 w 1027"/>
                  <a:gd name="T41" fmla="*/ 690 h 1251"/>
                  <a:gd name="T42" fmla="*/ 98 w 1027"/>
                  <a:gd name="T43" fmla="*/ 661 h 1251"/>
                  <a:gd name="T44" fmla="*/ 71 w 1027"/>
                  <a:gd name="T45" fmla="*/ 631 h 1251"/>
                  <a:gd name="T46" fmla="*/ 47 w 1027"/>
                  <a:gd name="T47" fmla="*/ 612 h 1251"/>
                  <a:gd name="T48" fmla="*/ 19 w 1027"/>
                  <a:gd name="T49" fmla="*/ 595 h 1251"/>
                  <a:gd name="T50" fmla="*/ 13 w 1027"/>
                  <a:gd name="T51" fmla="*/ 569 h 1251"/>
                  <a:gd name="T52" fmla="*/ 19 w 1027"/>
                  <a:gd name="T53" fmla="*/ 528 h 1251"/>
                  <a:gd name="T54" fmla="*/ 150 w 1027"/>
                  <a:gd name="T55" fmla="*/ 433 h 1251"/>
                  <a:gd name="T56" fmla="*/ 203 w 1027"/>
                  <a:gd name="T57" fmla="*/ 324 h 1251"/>
                  <a:gd name="T58" fmla="*/ 216 w 1027"/>
                  <a:gd name="T59" fmla="*/ 285 h 1251"/>
                  <a:gd name="T60" fmla="*/ 218 w 1027"/>
                  <a:gd name="T61" fmla="*/ 236 h 1251"/>
                  <a:gd name="T62" fmla="*/ 212 w 1027"/>
                  <a:gd name="T63" fmla="*/ 193 h 1251"/>
                  <a:gd name="T64" fmla="*/ 265 w 1027"/>
                  <a:gd name="T65" fmla="*/ 162 h 1251"/>
                  <a:gd name="T66" fmla="*/ 352 w 1027"/>
                  <a:gd name="T67" fmla="*/ 164 h 1251"/>
                  <a:gd name="T68" fmla="*/ 421 w 1027"/>
                  <a:gd name="T69" fmla="*/ 145 h 1251"/>
                  <a:gd name="T70" fmla="*/ 487 w 1027"/>
                  <a:gd name="T71" fmla="*/ 149 h 1251"/>
                  <a:gd name="T72" fmla="*/ 508 w 1027"/>
                  <a:gd name="T73" fmla="*/ 153 h 1251"/>
                  <a:gd name="T74" fmla="*/ 538 w 1027"/>
                  <a:gd name="T75" fmla="*/ 161 h 1251"/>
                  <a:gd name="T76" fmla="*/ 592 w 1027"/>
                  <a:gd name="T77" fmla="*/ 153 h 1251"/>
                  <a:gd name="T78" fmla="*/ 794 w 1027"/>
                  <a:gd name="T79" fmla="*/ 104 h 1251"/>
                  <a:gd name="T80" fmla="*/ 827 w 1027"/>
                  <a:gd name="T81" fmla="*/ 2 h 1251"/>
                  <a:gd name="T82" fmla="*/ 869 w 1027"/>
                  <a:gd name="T83" fmla="*/ 14 h 1251"/>
                  <a:gd name="T84" fmla="*/ 965 w 1027"/>
                  <a:gd name="T85" fmla="*/ 17 h 1251"/>
                  <a:gd name="T86" fmla="*/ 1023 w 1027"/>
                  <a:gd name="T87" fmla="*/ 44 h 1251"/>
                  <a:gd name="T88" fmla="*/ 1008 w 1027"/>
                  <a:gd name="T89" fmla="*/ 102 h 1251"/>
                  <a:gd name="T90" fmla="*/ 980 w 1027"/>
                  <a:gd name="T91" fmla="*/ 185 h 1251"/>
                  <a:gd name="T92" fmla="*/ 952 w 1027"/>
                  <a:gd name="T93" fmla="*/ 294 h 1251"/>
                  <a:gd name="T94" fmla="*/ 908 w 1027"/>
                  <a:gd name="T95" fmla="*/ 454 h 1251"/>
                  <a:gd name="T96" fmla="*/ 858 w 1027"/>
                  <a:gd name="T97" fmla="*/ 543 h 1251"/>
                  <a:gd name="T98" fmla="*/ 760 w 1027"/>
                  <a:gd name="T99" fmla="*/ 618 h 1251"/>
                  <a:gd name="T100" fmla="*/ 692 w 1027"/>
                  <a:gd name="T101" fmla="*/ 680 h 1251"/>
                  <a:gd name="T102" fmla="*/ 653 w 1027"/>
                  <a:gd name="T103" fmla="*/ 725 h 1251"/>
                  <a:gd name="T104" fmla="*/ 613 w 1027"/>
                  <a:gd name="T105" fmla="*/ 772 h 1251"/>
                  <a:gd name="T106" fmla="*/ 583 w 1027"/>
                  <a:gd name="T107" fmla="*/ 816 h 1251"/>
                  <a:gd name="T108" fmla="*/ 558 w 1027"/>
                  <a:gd name="T109" fmla="*/ 891 h 1251"/>
                  <a:gd name="T110" fmla="*/ 517 w 1027"/>
                  <a:gd name="T111" fmla="*/ 942 h 1251"/>
                  <a:gd name="T112" fmla="*/ 489 w 1027"/>
                  <a:gd name="T113" fmla="*/ 1000 h 1251"/>
                  <a:gd name="T114" fmla="*/ 461 w 1027"/>
                  <a:gd name="T115" fmla="*/ 1057 h 1251"/>
                  <a:gd name="T116" fmla="*/ 431 w 1027"/>
                  <a:gd name="T117" fmla="*/ 1107 h 1251"/>
                  <a:gd name="T118" fmla="*/ 402 w 1027"/>
                  <a:gd name="T119" fmla="*/ 1155 h 1251"/>
                  <a:gd name="T120" fmla="*/ 376 w 1027"/>
                  <a:gd name="T121" fmla="*/ 1198 h 1251"/>
                  <a:gd name="T122" fmla="*/ 348 w 1027"/>
                  <a:gd name="T123" fmla="*/ 1239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7" h="1251">
                    <a:moveTo>
                      <a:pt x="338" y="1251"/>
                    </a:moveTo>
                    <a:lnTo>
                      <a:pt x="338" y="1249"/>
                    </a:lnTo>
                    <a:lnTo>
                      <a:pt x="337" y="1247"/>
                    </a:lnTo>
                    <a:lnTo>
                      <a:pt x="335" y="1245"/>
                    </a:lnTo>
                    <a:lnTo>
                      <a:pt x="333" y="1245"/>
                    </a:lnTo>
                    <a:lnTo>
                      <a:pt x="333" y="1243"/>
                    </a:lnTo>
                    <a:lnTo>
                      <a:pt x="331" y="1243"/>
                    </a:lnTo>
                    <a:lnTo>
                      <a:pt x="331" y="1241"/>
                    </a:lnTo>
                    <a:lnTo>
                      <a:pt x="331" y="1239"/>
                    </a:lnTo>
                    <a:lnTo>
                      <a:pt x="331" y="1237"/>
                    </a:lnTo>
                    <a:lnTo>
                      <a:pt x="331" y="1235"/>
                    </a:lnTo>
                    <a:lnTo>
                      <a:pt x="331" y="1234"/>
                    </a:lnTo>
                    <a:lnTo>
                      <a:pt x="333" y="1234"/>
                    </a:lnTo>
                    <a:lnTo>
                      <a:pt x="331" y="1234"/>
                    </a:lnTo>
                    <a:lnTo>
                      <a:pt x="329" y="1234"/>
                    </a:lnTo>
                    <a:lnTo>
                      <a:pt x="329" y="1232"/>
                    </a:lnTo>
                    <a:lnTo>
                      <a:pt x="327" y="1232"/>
                    </a:lnTo>
                    <a:lnTo>
                      <a:pt x="327" y="1230"/>
                    </a:lnTo>
                    <a:lnTo>
                      <a:pt x="325" y="1230"/>
                    </a:lnTo>
                    <a:lnTo>
                      <a:pt x="325" y="1232"/>
                    </a:lnTo>
                    <a:lnTo>
                      <a:pt x="323" y="1232"/>
                    </a:lnTo>
                    <a:lnTo>
                      <a:pt x="325" y="1230"/>
                    </a:lnTo>
                    <a:lnTo>
                      <a:pt x="323" y="1230"/>
                    </a:lnTo>
                    <a:lnTo>
                      <a:pt x="323" y="1228"/>
                    </a:lnTo>
                    <a:lnTo>
                      <a:pt x="325" y="1228"/>
                    </a:lnTo>
                    <a:lnTo>
                      <a:pt x="325" y="1226"/>
                    </a:lnTo>
                    <a:lnTo>
                      <a:pt x="325" y="1224"/>
                    </a:lnTo>
                    <a:lnTo>
                      <a:pt x="325" y="1222"/>
                    </a:lnTo>
                    <a:lnTo>
                      <a:pt x="327" y="1222"/>
                    </a:lnTo>
                    <a:lnTo>
                      <a:pt x="327" y="1220"/>
                    </a:lnTo>
                    <a:lnTo>
                      <a:pt x="329" y="1220"/>
                    </a:lnTo>
                    <a:lnTo>
                      <a:pt x="329" y="1219"/>
                    </a:lnTo>
                    <a:lnTo>
                      <a:pt x="327" y="1219"/>
                    </a:lnTo>
                    <a:lnTo>
                      <a:pt x="327" y="1217"/>
                    </a:lnTo>
                    <a:lnTo>
                      <a:pt x="325" y="1217"/>
                    </a:lnTo>
                    <a:lnTo>
                      <a:pt x="325" y="1215"/>
                    </a:lnTo>
                    <a:lnTo>
                      <a:pt x="323" y="1215"/>
                    </a:lnTo>
                    <a:lnTo>
                      <a:pt x="323" y="1213"/>
                    </a:lnTo>
                    <a:lnTo>
                      <a:pt x="325" y="1211"/>
                    </a:lnTo>
                    <a:lnTo>
                      <a:pt x="325" y="1209"/>
                    </a:lnTo>
                    <a:lnTo>
                      <a:pt x="323" y="1209"/>
                    </a:lnTo>
                    <a:lnTo>
                      <a:pt x="323" y="1207"/>
                    </a:lnTo>
                    <a:lnTo>
                      <a:pt x="325" y="1207"/>
                    </a:lnTo>
                    <a:lnTo>
                      <a:pt x="325" y="1205"/>
                    </a:lnTo>
                    <a:lnTo>
                      <a:pt x="325" y="1203"/>
                    </a:lnTo>
                    <a:lnTo>
                      <a:pt x="325" y="1202"/>
                    </a:lnTo>
                    <a:lnTo>
                      <a:pt x="323" y="1202"/>
                    </a:lnTo>
                    <a:lnTo>
                      <a:pt x="323" y="1200"/>
                    </a:lnTo>
                    <a:lnTo>
                      <a:pt x="322" y="1198"/>
                    </a:lnTo>
                    <a:lnTo>
                      <a:pt x="320" y="1200"/>
                    </a:lnTo>
                    <a:lnTo>
                      <a:pt x="320" y="1198"/>
                    </a:lnTo>
                    <a:lnTo>
                      <a:pt x="322" y="1198"/>
                    </a:lnTo>
                    <a:lnTo>
                      <a:pt x="320" y="1198"/>
                    </a:lnTo>
                    <a:lnTo>
                      <a:pt x="320" y="1196"/>
                    </a:lnTo>
                    <a:lnTo>
                      <a:pt x="318" y="1196"/>
                    </a:lnTo>
                    <a:lnTo>
                      <a:pt x="318" y="1194"/>
                    </a:lnTo>
                    <a:lnTo>
                      <a:pt x="320" y="1194"/>
                    </a:lnTo>
                    <a:lnTo>
                      <a:pt x="320" y="1192"/>
                    </a:lnTo>
                    <a:lnTo>
                      <a:pt x="318" y="1192"/>
                    </a:lnTo>
                    <a:lnTo>
                      <a:pt x="316" y="1192"/>
                    </a:lnTo>
                    <a:lnTo>
                      <a:pt x="314" y="1192"/>
                    </a:lnTo>
                    <a:lnTo>
                      <a:pt x="312" y="1190"/>
                    </a:lnTo>
                    <a:lnTo>
                      <a:pt x="310" y="1190"/>
                    </a:lnTo>
                    <a:lnTo>
                      <a:pt x="310" y="1192"/>
                    </a:lnTo>
                    <a:lnTo>
                      <a:pt x="308" y="1192"/>
                    </a:lnTo>
                    <a:lnTo>
                      <a:pt x="308" y="1190"/>
                    </a:lnTo>
                    <a:lnTo>
                      <a:pt x="306" y="1188"/>
                    </a:lnTo>
                    <a:lnTo>
                      <a:pt x="306" y="1187"/>
                    </a:lnTo>
                    <a:lnTo>
                      <a:pt x="308" y="1188"/>
                    </a:lnTo>
                    <a:lnTo>
                      <a:pt x="310" y="1188"/>
                    </a:lnTo>
                    <a:lnTo>
                      <a:pt x="312" y="1188"/>
                    </a:lnTo>
                    <a:lnTo>
                      <a:pt x="312" y="1190"/>
                    </a:lnTo>
                    <a:lnTo>
                      <a:pt x="312" y="1188"/>
                    </a:lnTo>
                    <a:lnTo>
                      <a:pt x="312" y="1187"/>
                    </a:lnTo>
                    <a:lnTo>
                      <a:pt x="312" y="1185"/>
                    </a:lnTo>
                    <a:lnTo>
                      <a:pt x="310" y="1185"/>
                    </a:lnTo>
                    <a:lnTo>
                      <a:pt x="310" y="1187"/>
                    </a:lnTo>
                    <a:lnTo>
                      <a:pt x="308" y="1187"/>
                    </a:lnTo>
                    <a:lnTo>
                      <a:pt x="306" y="1187"/>
                    </a:lnTo>
                    <a:lnTo>
                      <a:pt x="306" y="1185"/>
                    </a:lnTo>
                    <a:lnTo>
                      <a:pt x="308" y="1183"/>
                    </a:lnTo>
                    <a:lnTo>
                      <a:pt x="306" y="1183"/>
                    </a:lnTo>
                    <a:lnTo>
                      <a:pt x="306" y="1181"/>
                    </a:lnTo>
                    <a:lnTo>
                      <a:pt x="305" y="1181"/>
                    </a:lnTo>
                    <a:lnTo>
                      <a:pt x="303" y="1181"/>
                    </a:lnTo>
                    <a:lnTo>
                      <a:pt x="301" y="1181"/>
                    </a:lnTo>
                    <a:lnTo>
                      <a:pt x="299" y="1181"/>
                    </a:lnTo>
                    <a:lnTo>
                      <a:pt x="299" y="1179"/>
                    </a:lnTo>
                    <a:lnTo>
                      <a:pt x="297" y="1179"/>
                    </a:lnTo>
                    <a:lnTo>
                      <a:pt x="297" y="1181"/>
                    </a:lnTo>
                    <a:lnTo>
                      <a:pt x="295" y="1181"/>
                    </a:lnTo>
                    <a:lnTo>
                      <a:pt x="295" y="1183"/>
                    </a:lnTo>
                    <a:lnTo>
                      <a:pt x="293" y="1183"/>
                    </a:lnTo>
                    <a:lnTo>
                      <a:pt x="293" y="1181"/>
                    </a:lnTo>
                    <a:lnTo>
                      <a:pt x="295" y="1179"/>
                    </a:lnTo>
                    <a:lnTo>
                      <a:pt x="293" y="1179"/>
                    </a:lnTo>
                    <a:lnTo>
                      <a:pt x="293" y="1177"/>
                    </a:lnTo>
                    <a:lnTo>
                      <a:pt x="291" y="1179"/>
                    </a:lnTo>
                    <a:lnTo>
                      <a:pt x="290" y="1179"/>
                    </a:lnTo>
                    <a:lnTo>
                      <a:pt x="290" y="1177"/>
                    </a:lnTo>
                    <a:lnTo>
                      <a:pt x="291" y="1177"/>
                    </a:lnTo>
                    <a:lnTo>
                      <a:pt x="291" y="1175"/>
                    </a:lnTo>
                    <a:lnTo>
                      <a:pt x="291" y="1173"/>
                    </a:lnTo>
                    <a:lnTo>
                      <a:pt x="290" y="1173"/>
                    </a:lnTo>
                    <a:lnTo>
                      <a:pt x="290" y="1175"/>
                    </a:lnTo>
                    <a:lnTo>
                      <a:pt x="290" y="1177"/>
                    </a:lnTo>
                    <a:lnTo>
                      <a:pt x="288" y="1177"/>
                    </a:lnTo>
                    <a:lnTo>
                      <a:pt x="286" y="1177"/>
                    </a:lnTo>
                    <a:lnTo>
                      <a:pt x="284" y="1177"/>
                    </a:lnTo>
                    <a:lnTo>
                      <a:pt x="282" y="1177"/>
                    </a:lnTo>
                    <a:lnTo>
                      <a:pt x="280" y="1177"/>
                    </a:lnTo>
                    <a:lnTo>
                      <a:pt x="280" y="1175"/>
                    </a:lnTo>
                    <a:lnTo>
                      <a:pt x="278" y="1175"/>
                    </a:lnTo>
                    <a:lnTo>
                      <a:pt x="278" y="1173"/>
                    </a:lnTo>
                    <a:lnTo>
                      <a:pt x="280" y="1173"/>
                    </a:lnTo>
                    <a:lnTo>
                      <a:pt x="280" y="1171"/>
                    </a:lnTo>
                    <a:lnTo>
                      <a:pt x="280" y="1170"/>
                    </a:lnTo>
                    <a:lnTo>
                      <a:pt x="282" y="1170"/>
                    </a:lnTo>
                    <a:lnTo>
                      <a:pt x="282" y="1168"/>
                    </a:lnTo>
                    <a:lnTo>
                      <a:pt x="280" y="1168"/>
                    </a:lnTo>
                    <a:lnTo>
                      <a:pt x="278" y="1168"/>
                    </a:lnTo>
                    <a:lnTo>
                      <a:pt x="278" y="1170"/>
                    </a:lnTo>
                    <a:lnTo>
                      <a:pt x="278" y="1168"/>
                    </a:lnTo>
                    <a:lnTo>
                      <a:pt x="276" y="1170"/>
                    </a:lnTo>
                    <a:lnTo>
                      <a:pt x="274" y="1170"/>
                    </a:lnTo>
                    <a:lnTo>
                      <a:pt x="273" y="1170"/>
                    </a:lnTo>
                    <a:lnTo>
                      <a:pt x="273" y="1168"/>
                    </a:lnTo>
                    <a:lnTo>
                      <a:pt x="271" y="1168"/>
                    </a:lnTo>
                    <a:lnTo>
                      <a:pt x="271" y="1166"/>
                    </a:lnTo>
                    <a:lnTo>
                      <a:pt x="273" y="1166"/>
                    </a:lnTo>
                    <a:lnTo>
                      <a:pt x="273" y="1164"/>
                    </a:lnTo>
                    <a:lnTo>
                      <a:pt x="274" y="1164"/>
                    </a:lnTo>
                    <a:lnTo>
                      <a:pt x="276" y="1164"/>
                    </a:lnTo>
                    <a:lnTo>
                      <a:pt x="276" y="1162"/>
                    </a:lnTo>
                    <a:lnTo>
                      <a:pt x="276" y="1160"/>
                    </a:lnTo>
                    <a:lnTo>
                      <a:pt x="276" y="1158"/>
                    </a:lnTo>
                    <a:lnTo>
                      <a:pt x="274" y="1158"/>
                    </a:lnTo>
                    <a:lnTo>
                      <a:pt x="274" y="1156"/>
                    </a:lnTo>
                    <a:lnTo>
                      <a:pt x="273" y="1156"/>
                    </a:lnTo>
                    <a:lnTo>
                      <a:pt x="271" y="1156"/>
                    </a:lnTo>
                    <a:lnTo>
                      <a:pt x="269" y="1156"/>
                    </a:lnTo>
                    <a:lnTo>
                      <a:pt x="269" y="1158"/>
                    </a:lnTo>
                    <a:lnTo>
                      <a:pt x="271" y="1158"/>
                    </a:lnTo>
                    <a:lnTo>
                      <a:pt x="271" y="1160"/>
                    </a:lnTo>
                    <a:lnTo>
                      <a:pt x="271" y="1162"/>
                    </a:lnTo>
                    <a:lnTo>
                      <a:pt x="271" y="1164"/>
                    </a:lnTo>
                    <a:lnTo>
                      <a:pt x="269" y="1164"/>
                    </a:lnTo>
                    <a:lnTo>
                      <a:pt x="267" y="1164"/>
                    </a:lnTo>
                    <a:lnTo>
                      <a:pt x="265" y="1164"/>
                    </a:lnTo>
                    <a:lnTo>
                      <a:pt x="265" y="1166"/>
                    </a:lnTo>
                    <a:lnTo>
                      <a:pt x="265" y="1164"/>
                    </a:lnTo>
                    <a:lnTo>
                      <a:pt x="265" y="1162"/>
                    </a:lnTo>
                    <a:lnTo>
                      <a:pt x="265" y="1160"/>
                    </a:lnTo>
                    <a:lnTo>
                      <a:pt x="267" y="1160"/>
                    </a:lnTo>
                    <a:lnTo>
                      <a:pt x="267" y="1158"/>
                    </a:lnTo>
                    <a:lnTo>
                      <a:pt x="267" y="1156"/>
                    </a:lnTo>
                    <a:lnTo>
                      <a:pt x="265" y="1156"/>
                    </a:lnTo>
                    <a:lnTo>
                      <a:pt x="265" y="1158"/>
                    </a:lnTo>
                    <a:lnTo>
                      <a:pt x="263" y="1158"/>
                    </a:lnTo>
                    <a:lnTo>
                      <a:pt x="261" y="1158"/>
                    </a:lnTo>
                    <a:lnTo>
                      <a:pt x="261" y="1160"/>
                    </a:lnTo>
                    <a:lnTo>
                      <a:pt x="259" y="1160"/>
                    </a:lnTo>
                    <a:lnTo>
                      <a:pt x="259" y="1162"/>
                    </a:lnTo>
                    <a:lnTo>
                      <a:pt x="259" y="1160"/>
                    </a:lnTo>
                    <a:lnTo>
                      <a:pt x="259" y="1158"/>
                    </a:lnTo>
                    <a:lnTo>
                      <a:pt x="261" y="1156"/>
                    </a:lnTo>
                    <a:lnTo>
                      <a:pt x="261" y="1155"/>
                    </a:lnTo>
                    <a:lnTo>
                      <a:pt x="259" y="1155"/>
                    </a:lnTo>
                    <a:lnTo>
                      <a:pt x="258" y="1155"/>
                    </a:lnTo>
                    <a:lnTo>
                      <a:pt x="256" y="1155"/>
                    </a:lnTo>
                    <a:lnTo>
                      <a:pt x="256" y="1153"/>
                    </a:lnTo>
                    <a:lnTo>
                      <a:pt x="254" y="1153"/>
                    </a:lnTo>
                    <a:lnTo>
                      <a:pt x="252" y="1153"/>
                    </a:lnTo>
                    <a:lnTo>
                      <a:pt x="252" y="1155"/>
                    </a:lnTo>
                    <a:lnTo>
                      <a:pt x="250" y="1155"/>
                    </a:lnTo>
                    <a:lnTo>
                      <a:pt x="250" y="1153"/>
                    </a:lnTo>
                    <a:lnTo>
                      <a:pt x="250" y="1151"/>
                    </a:lnTo>
                    <a:lnTo>
                      <a:pt x="250" y="1149"/>
                    </a:lnTo>
                    <a:lnTo>
                      <a:pt x="250" y="1147"/>
                    </a:lnTo>
                    <a:lnTo>
                      <a:pt x="248" y="1147"/>
                    </a:lnTo>
                    <a:lnTo>
                      <a:pt x="248" y="1149"/>
                    </a:lnTo>
                    <a:lnTo>
                      <a:pt x="246" y="1149"/>
                    </a:lnTo>
                    <a:lnTo>
                      <a:pt x="244" y="1149"/>
                    </a:lnTo>
                    <a:lnTo>
                      <a:pt x="246" y="1149"/>
                    </a:lnTo>
                    <a:lnTo>
                      <a:pt x="246" y="1147"/>
                    </a:lnTo>
                    <a:lnTo>
                      <a:pt x="244" y="1147"/>
                    </a:lnTo>
                    <a:lnTo>
                      <a:pt x="244" y="1145"/>
                    </a:lnTo>
                    <a:lnTo>
                      <a:pt x="244" y="1143"/>
                    </a:lnTo>
                    <a:lnTo>
                      <a:pt x="243" y="1143"/>
                    </a:lnTo>
                    <a:lnTo>
                      <a:pt x="243" y="1145"/>
                    </a:lnTo>
                    <a:lnTo>
                      <a:pt x="241" y="1145"/>
                    </a:lnTo>
                    <a:lnTo>
                      <a:pt x="239" y="1145"/>
                    </a:lnTo>
                    <a:lnTo>
                      <a:pt x="239" y="1143"/>
                    </a:lnTo>
                    <a:lnTo>
                      <a:pt x="239" y="1141"/>
                    </a:lnTo>
                    <a:lnTo>
                      <a:pt x="241" y="1139"/>
                    </a:lnTo>
                    <a:lnTo>
                      <a:pt x="241" y="1138"/>
                    </a:lnTo>
                    <a:lnTo>
                      <a:pt x="241" y="1136"/>
                    </a:lnTo>
                    <a:lnTo>
                      <a:pt x="239" y="1136"/>
                    </a:lnTo>
                    <a:lnTo>
                      <a:pt x="239" y="1138"/>
                    </a:lnTo>
                    <a:lnTo>
                      <a:pt x="239" y="1139"/>
                    </a:lnTo>
                    <a:lnTo>
                      <a:pt x="237" y="1139"/>
                    </a:lnTo>
                    <a:lnTo>
                      <a:pt x="237" y="1138"/>
                    </a:lnTo>
                    <a:lnTo>
                      <a:pt x="235" y="1138"/>
                    </a:lnTo>
                    <a:lnTo>
                      <a:pt x="235" y="1136"/>
                    </a:lnTo>
                    <a:lnTo>
                      <a:pt x="233" y="1136"/>
                    </a:lnTo>
                    <a:lnTo>
                      <a:pt x="231" y="1136"/>
                    </a:lnTo>
                    <a:lnTo>
                      <a:pt x="231" y="1138"/>
                    </a:lnTo>
                    <a:lnTo>
                      <a:pt x="233" y="1138"/>
                    </a:lnTo>
                    <a:lnTo>
                      <a:pt x="233" y="1139"/>
                    </a:lnTo>
                    <a:lnTo>
                      <a:pt x="231" y="1139"/>
                    </a:lnTo>
                    <a:lnTo>
                      <a:pt x="231" y="1138"/>
                    </a:lnTo>
                    <a:lnTo>
                      <a:pt x="229" y="1138"/>
                    </a:lnTo>
                    <a:lnTo>
                      <a:pt x="229" y="1139"/>
                    </a:lnTo>
                    <a:lnTo>
                      <a:pt x="229" y="1141"/>
                    </a:lnTo>
                    <a:lnTo>
                      <a:pt x="229" y="1139"/>
                    </a:lnTo>
                    <a:lnTo>
                      <a:pt x="229" y="1141"/>
                    </a:lnTo>
                    <a:lnTo>
                      <a:pt x="227" y="1141"/>
                    </a:lnTo>
                    <a:lnTo>
                      <a:pt x="226" y="1141"/>
                    </a:lnTo>
                    <a:lnTo>
                      <a:pt x="226" y="1139"/>
                    </a:lnTo>
                    <a:lnTo>
                      <a:pt x="226" y="1138"/>
                    </a:lnTo>
                    <a:lnTo>
                      <a:pt x="226" y="1139"/>
                    </a:lnTo>
                    <a:lnTo>
                      <a:pt x="224" y="1139"/>
                    </a:lnTo>
                    <a:lnTo>
                      <a:pt x="226" y="1141"/>
                    </a:lnTo>
                    <a:lnTo>
                      <a:pt x="224" y="1141"/>
                    </a:lnTo>
                    <a:lnTo>
                      <a:pt x="224" y="1143"/>
                    </a:lnTo>
                    <a:lnTo>
                      <a:pt x="222" y="1143"/>
                    </a:lnTo>
                    <a:lnTo>
                      <a:pt x="222" y="1141"/>
                    </a:lnTo>
                    <a:lnTo>
                      <a:pt x="220" y="1141"/>
                    </a:lnTo>
                    <a:lnTo>
                      <a:pt x="220" y="1139"/>
                    </a:lnTo>
                    <a:lnTo>
                      <a:pt x="218" y="1139"/>
                    </a:lnTo>
                    <a:lnTo>
                      <a:pt x="216" y="1139"/>
                    </a:lnTo>
                    <a:lnTo>
                      <a:pt x="216" y="1138"/>
                    </a:lnTo>
                    <a:lnTo>
                      <a:pt x="214" y="1138"/>
                    </a:lnTo>
                    <a:lnTo>
                      <a:pt x="212" y="1138"/>
                    </a:lnTo>
                    <a:lnTo>
                      <a:pt x="212" y="1136"/>
                    </a:lnTo>
                    <a:lnTo>
                      <a:pt x="211" y="1136"/>
                    </a:lnTo>
                    <a:lnTo>
                      <a:pt x="211" y="1134"/>
                    </a:lnTo>
                    <a:lnTo>
                      <a:pt x="211" y="1132"/>
                    </a:lnTo>
                    <a:lnTo>
                      <a:pt x="209" y="1132"/>
                    </a:lnTo>
                    <a:lnTo>
                      <a:pt x="209" y="1134"/>
                    </a:lnTo>
                    <a:lnTo>
                      <a:pt x="209" y="1132"/>
                    </a:lnTo>
                    <a:lnTo>
                      <a:pt x="207" y="1132"/>
                    </a:lnTo>
                    <a:lnTo>
                      <a:pt x="209" y="1132"/>
                    </a:lnTo>
                    <a:lnTo>
                      <a:pt x="207" y="1132"/>
                    </a:lnTo>
                    <a:lnTo>
                      <a:pt x="209" y="1132"/>
                    </a:lnTo>
                    <a:lnTo>
                      <a:pt x="209" y="1130"/>
                    </a:lnTo>
                    <a:lnTo>
                      <a:pt x="207" y="1130"/>
                    </a:lnTo>
                    <a:lnTo>
                      <a:pt x="207" y="1128"/>
                    </a:lnTo>
                    <a:lnTo>
                      <a:pt x="205" y="1128"/>
                    </a:lnTo>
                    <a:lnTo>
                      <a:pt x="207" y="1128"/>
                    </a:lnTo>
                    <a:lnTo>
                      <a:pt x="205" y="1128"/>
                    </a:lnTo>
                    <a:lnTo>
                      <a:pt x="203" y="1128"/>
                    </a:lnTo>
                    <a:lnTo>
                      <a:pt x="203" y="1130"/>
                    </a:lnTo>
                    <a:lnTo>
                      <a:pt x="201" y="1130"/>
                    </a:lnTo>
                    <a:lnTo>
                      <a:pt x="201" y="1132"/>
                    </a:lnTo>
                    <a:lnTo>
                      <a:pt x="199" y="1132"/>
                    </a:lnTo>
                    <a:lnTo>
                      <a:pt x="197" y="1132"/>
                    </a:lnTo>
                    <a:lnTo>
                      <a:pt x="195" y="1132"/>
                    </a:lnTo>
                    <a:lnTo>
                      <a:pt x="194" y="1132"/>
                    </a:lnTo>
                    <a:lnTo>
                      <a:pt x="192" y="1132"/>
                    </a:lnTo>
                    <a:lnTo>
                      <a:pt x="192" y="1134"/>
                    </a:lnTo>
                    <a:lnTo>
                      <a:pt x="192" y="1132"/>
                    </a:lnTo>
                    <a:lnTo>
                      <a:pt x="192" y="1134"/>
                    </a:lnTo>
                    <a:lnTo>
                      <a:pt x="190" y="1134"/>
                    </a:lnTo>
                    <a:lnTo>
                      <a:pt x="190" y="1132"/>
                    </a:lnTo>
                    <a:lnTo>
                      <a:pt x="188" y="1132"/>
                    </a:lnTo>
                    <a:lnTo>
                      <a:pt x="188" y="1134"/>
                    </a:lnTo>
                    <a:lnTo>
                      <a:pt x="186" y="1134"/>
                    </a:lnTo>
                    <a:lnTo>
                      <a:pt x="186" y="1132"/>
                    </a:lnTo>
                    <a:lnTo>
                      <a:pt x="186" y="1130"/>
                    </a:lnTo>
                    <a:lnTo>
                      <a:pt x="184" y="1130"/>
                    </a:lnTo>
                    <a:lnTo>
                      <a:pt x="184" y="1128"/>
                    </a:lnTo>
                    <a:lnTo>
                      <a:pt x="184" y="1126"/>
                    </a:lnTo>
                    <a:lnTo>
                      <a:pt x="184" y="1124"/>
                    </a:lnTo>
                    <a:lnTo>
                      <a:pt x="182" y="1124"/>
                    </a:lnTo>
                    <a:lnTo>
                      <a:pt x="182" y="1123"/>
                    </a:lnTo>
                    <a:lnTo>
                      <a:pt x="180" y="1123"/>
                    </a:lnTo>
                    <a:lnTo>
                      <a:pt x="179" y="1124"/>
                    </a:lnTo>
                    <a:lnTo>
                      <a:pt x="179" y="1123"/>
                    </a:lnTo>
                    <a:lnTo>
                      <a:pt x="173" y="1121"/>
                    </a:lnTo>
                    <a:lnTo>
                      <a:pt x="169" y="1119"/>
                    </a:lnTo>
                    <a:lnTo>
                      <a:pt x="167" y="1119"/>
                    </a:lnTo>
                    <a:lnTo>
                      <a:pt x="164" y="1111"/>
                    </a:lnTo>
                    <a:lnTo>
                      <a:pt x="154" y="1113"/>
                    </a:lnTo>
                    <a:lnTo>
                      <a:pt x="152" y="1113"/>
                    </a:lnTo>
                    <a:lnTo>
                      <a:pt x="150" y="1115"/>
                    </a:lnTo>
                    <a:lnTo>
                      <a:pt x="147" y="1119"/>
                    </a:lnTo>
                    <a:lnTo>
                      <a:pt x="145" y="1119"/>
                    </a:lnTo>
                    <a:lnTo>
                      <a:pt x="141" y="1119"/>
                    </a:lnTo>
                    <a:lnTo>
                      <a:pt x="135" y="1119"/>
                    </a:lnTo>
                    <a:lnTo>
                      <a:pt x="132" y="1123"/>
                    </a:lnTo>
                    <a:lnTo>
                      <a:pt x="128" y="1121"/>
                    </a:lnTo>
                    <a:lnTo>
                      <a:pt x="122" y="1128"/>
                    </a:lnTo>
                    <a:lnTo>
                      <a:pt x="115" y="1121"/>
                    </a:lnTo>
                    <a:lnTo>
                      <a:pt x="111" y="1119"/>
                    </a:lnTo>
                    <a:lnTo>
                      <a:pt x="103" y="1117"/>
                    </a:lnTo>
                    <a:lnTo>
                      <a:pt x="100" y="1113"/>
                    </a:lnTo>
                    <a:lnTo>
                      <a:pt x="92" y="1113"/>
                    </a:lnTo>
                    <a:lnTo>
                      <a:pt x="90" y="1113"/>
                    </a:lnTo>
                    <a:lnTo>
                      <a:pt x="88" y="1113"/>
                    </a:lnTo>
                    <a:lnTo>
                      <a:pt x="86" y="1113"/>
                    </a:lnTo>
                    <a:lnTo>
                      <a:pt x="85" y="1113"/>
                    </a:lnTo>
                    <a:lnTo>
                      <a:pt x="83" y="1113"/>
                    </a:lnTo>
                    <a:lnTo>
                      <a:pt x="83" y="1115"/>
                    </a:lnTo>
                    <a:lnTo>
                      <a:pt x="85" y="1115"/>
                    </a:lnTo>
                    <a:lnTo>
                      <a:pt x="85" y="1117"/>
                    </a:lnTo>
                    <a:lnTo>
                      <a:pt x="83" y="1117"/>
                    </a:lnTo>
                    <a:lnTo>
                      <a:pt x="81" y="1117"/>
                    </a:lnTo>
                    <a:lnTo>
                      <a:pt x="81" y="1119"/>
                    </a:lnTo>
                    <a:lnTo>
                      <a:pt x="79" y="1119"/>
                    </a:lnTo>
                    <a:lnTo>
                      <a:pt x="79" y="1117"/>
                    </a:lnTo>
                    <a:lnTo>
                      <a:pt x="79" y="1115"/>
                    </a:lnTo>
                    <a:lnTo>
                      <a:pt x="79" y="1113"/>
                    </a:lnTo>
                    <a:lnTo>
                      <a:pt x="81" y="1113"/>
                    </a:lnTo>
                    <a:lnTo>
                      <a:pt x="81" y="1111"/>
                    </a:lnTo>
                    <a:lnTo>
                      <a:pt x="79" y="1111"/>
                    </a:lnTo>
                    <a:lnTo>
                      <a:pt x="79" y="1113"/>
                    </a:lnTo>
                    <a:lnTo>
                      <a:pt x="77" y="1113"/>
                    </a:lnTo>
                    <a:lnTo>
                      <a:pt x="75" y="1111"/>
                    </a:lnTo>
                    <a:lnTo>
                      <a:pt x="68" y="1107"/>
                    </a:lnTo>
                    <a:lnTo>
                      <a:pt x="69" y="1106"/>
                    </a:lnTo>
                    <a:lnTo>
                      <a:pt x="64" y="1104"/>
                    </a:lnTo>
                    <a:lnTo>
                      <a:pt x="62" y="1100"/>
                    </a:lnTo>
                    <a:lnTo>
                      <a:pt x="71" y="1094"/>
                    </a:lnTo>
                    <a:lnTo>
                      <a:pt x="73" y="1094"/>
                    </a:lnTo>
                    <a:lnTo>
                      <a:pt x="75" y="1094"/>
                    </a:lnTo>
                    <a:lnTo>
                      <a:pt x="77" y="1092"/>
                    </a:lnTo>
                    <a:lnTo>
                      <a:pt x="77" y="1091"/>
                    </a:lnTo>
                    <a:lnTo>
                      <a:pt x="75" y="1091"/>
                    </a:lnTo>
                    <a:lnTo>
                      <a:pt x="75" y="1089"/>
                    </a:lnTo>
                    <a:lnTo>
                      <a:pt x="75" y="1091"/>
                    </a:lnTo>
                    <a:lnTo>
                      <a:pt x="75" y="1089"/>
                    </a:lnTo>
                    <a:lnTo>
                      <a:pt x="73" y="1089"/>
                    </a:lnTo>
                    <a:lnTo>
                      <a:pt x="73" y="1091"/>
                    </a:lnTo>
                    <a:lnTo>
                      <a:pt x="75" y="1091"/>
                    </a:lnTo>
                    <a:lnTo>
                      <a:pt x="73" y="1092"/>
                    </a:lnTo>
                    <a:lnTo>
                      <a:pt x="73" y="1094"/>
                    </a:lnTo>
                    <a:lnTo>
                      <a:pt x="73" y="1092"/>
                    </a:lnTo>
                    <a:lnTo>
                      <a:pt x="71" y="1092"/>
                    </a:lnTo>
                    <a:lnTo>
                      <a:pt x="71" y="1091"/>
                    </a:lnTo>
                    <a:lnTo>
                      <a:pt x="71" y="1089"/>
                    </a:lnTo>
                    <a:lnTo>
                      <a:pt x="71" y="1087"/>
                    </a:lnTo>
                    <a:lnTo>
                      <a:pt x="69" y="1087"/>
                    </a:lnTo>
                    <a:lnTo>
                      <a:pt x="71" y="1087"/>
                    </a:lnTo>
                    <a:lnTo>
                      <a:pt x="69" y="1087"/>
                    </a:lnTo>
                    <a:lnTo>
                      <a:pt x="69" y="1083"/>
                    </a:lnTo>
                    <a:lnTo>
                      <a:pt x="71" y="1079"/>
                    </a:lnTo>
                    <a:lnTo>
                      <a:pt x="79" y="1081"/>
                    </a:lnTo>
                    <a:lnTo>
                      <a:pt x="81" y="1072"/>
                    </a:lnTo>
                    <a:lnTo>
                      <a:pt x="85" y="1066"/>
                    </a:lnTo>
                    <a:lnTo>
                      <a:pt x="83" y="1060"/>
                    </a:lnTo>
                    <a:lnTo>
                      <a:pt x="83" y="1057"/>
                    </a:lnTo>
                    <a:lnTo>
                      <a:pt x="86" y="1055"/>
                    </a:lnTo>
                    <a:lnTo>
                      <a:pt x="88" y="1053"/>
                    </a:lnTo>
                    <a:lnTo>
                      <a:pt x="92" y="1055"/>
                    </a:lnTo>
                    <a:lnTo>
                      <a:pt x="92" y="1051"/>
                    </a:lnTo>
                    <a:lnTo>
                      <a:pt x="94" y="1049"/>
                    </a:lnTo>
                    <a:lnTo>
                      <a:pt x="105" y="1045"/>
                    </a:lnTo>
                    <a:lnTo>
                      <a:pt x="103" y="1040"/>
                    </a:lnTo>
                    <a:lnTo>
                      <a:pt x="107" y="1042"/>
                    </a:lnTo>
                    <a:lnTo>
                      <a:pt x="111" y="1042"/>
                    </a:lnTo>
                    <a:lnTo>
                      <a:pt x="109" y="1034"/>
                    </a:lnTo>
                    <a:lnTo>
                      <a:pt x="107" y="1032"/>
                    </a:lnTo>
                    <a:lnTo>
                      <a:pt x="109" y="1028"/>
                    </a:lnTo>
                    <a:lnTo>
                      <a:pt x="111" y="1023"/>
                    </a:lnTo>
                    <a:lnTo>
                      <a:pt x="105" y="1017"/>
                    </a:lnTo>
                    <a:lnTo>
                      <a:pt x="100" y="1011"/>
                    </a:lnTo>
                    <a:lnTo>
                      <a:pt x="94" y="1008"/>
                    </a:lnTo>
                    <a:lnTo>
                      <a:pt x="92" y="1008"/>
                    </a:lnTo>
                    <a:lnTo>
                      <a:pt x="94" y="1011"/>
                    </a:lnTo>
                    <a:lnTo>
                      <a:pt x="98" y="1019"/>
                    </a:lnTo>
                    <a:lnTo>
                      <a:pt x="92" y="1019"/>
                    </a:lnTo>
                    <a:lnTo>
                      <a:pt x="92" y="1017"/>
                    </a:lnTo>
                    <a:lnTo>
                      <a:pt x="81" y="1015"/>
                    </a:lnTo>
                    <a:lnTo>
                      <a:pt x="79" y="1013"/>
                    </a:lnTo>
                    <a:lnTo>
                      <a:pt x="77" y="1013"/>
                    </a:lnTo>
                    <a:lnTo>
                      <a:pt x="79" y="1013"/>
                    </a:lnTo>
                    <a:lnTo>
                      <a:pt x="77" y="1011"/>
                    </a:lnTo>
                    <a:lnTo>
                      <a:pt x="75" y="1011"/>
                    </a:lnTo>
                    <a:lnTo>
                      <a:pt x="73" y="1011"/>
                    </a:lnTo>
                    <a:lnTo>
                      <a:pt x="73" y="1010"/>
                    </a:lnTo>
                    <a:lnTo>
                      <a:pt x="73" y="1011"/>
                    </a:lnTo>
                    <a:lnTo>
                      <a:pt x="75" y="1011"/>
                    </a:lnTo>
                    <a:lnTo>
                      <a:pt x="75" y="1010"/>
                    </a:lnTo>
                    <a:lnTo>
                      <a:pt x="73" y="1010"/>
                    </a:lnTo>
                    <a:lnTo>
                      <a:pt x="75" y="1010"/>
                    </a:lnTo>
                    <a:lnTo>
                      <a:pt x="73" y="1010"/>
                    </a:lnTo>
                    <a:lnTo>
                      <a:pt x="73" y="1008"/>
                    </a:lnTo>
                    <a:lnTo>
                      <a:pt x="75" y="1008"/>
                    </a:lnTo>
                    <a:lnTo>
                      <a:pt x="73" y="1008"/>
                    </a:lnTo>
                    <a:lnTo>
                      <a:pt x="73" y="1006"/>
                    </a:lnTo>
                    <a:lnTo>
                      <a:pt x="73" y="1008"/>
                    </a:lnTo>
                    <a:lnTo>
                      <a:pt x="71" y="1008"/>
                    </a:lnTo>
                    <a:lnTo>
                      <a:pt x="71" y="1006"/>
                    </a:lnTo>
                    <a:lnTo>
                      <a:pt x="73" y="1006"/>
                    </a:lnTo>
                    <a:lnTo>
                      <a:pt x="71" y="1006"/>
                    </a:lnTo>
                    <a:lnTo>
                      <a:pt x="69" y="1006"/>
                    </a:lnTo>
                    <a:lnTo>
                      <a:pt x="68" y="1006"/>
                    </a:lnTo>
                    <a:lnTo>
                      <a:pt x="68" y="1004"/>
                    </a:lnTo>
                    <a:lnTo>
                      <a:pt x="68" y="1002"/>
                    </a:lnTo>
                    <a:lnTo>
                      <a:pt x="66" y="1002"/>
                    </a:lnTo>
                    <a:lnTo>
                      <a:pt x="66" y="1000"/>
                    </a:lnTo>
                    <a:lnTo>
                      <a:pt x="66" y="998"/>
                    </a:lnTo>
                    <a:lnTo>
                      <a:pt x="66" y="996"/>
                    </a:lnTo>
                    <a:lnTo>
                      <a:pt x="66" y="995"/>
                    </a:lnTo>
                    <a:lnTo>
                      <a:pt x="64" y="995"/>
                    </a:lnTo>
                    <a:lnTo>
                      <a:pt x="64" y="993"/>
                    </a:lnTo>
                    <a:lnTo>
                      <a:pt x="66" y="993"/>
                    </a:lnTo>
                    <a:lnTo>
                      <a:pt x="68" y="993"/>
                    </a:lnTo>
                    <a:lnTo>
                      <a:pt x="66" y="993"/>
                    </a:lnTo>
                    <a:lnTo>
                      <a:pt x="66" y="991"/>
                    </a:lnTo>
                    <a:lnTo>
                      <a:pt x="64" y="991"/>
                    </a:lnTo>
                    <a:lnTo>
                      <a:pt x="62" y="991"/>
                    </a:lnTo>
                    <a:lnTo>
                      <a:pt x="62" y="989"/>
                    </a:lnTo>
                    <a:lnTo>
                      <a:pt x="62" y="987"/>
                    </a:lnTo>
                    <a:lnTo>
                      <a:pt x="64" y="987"/>
                    </a:lnTo>
                    <a:lnTo>
                      <a:pt x="64" y="985"/>
                    </a:lnTo>
                    <a:lnTo>
                      <a:pt x="62" y="985"/>
                    </a:lnTo>
                    <a:lnTo>
                      <a:pt x="62" y="983"/>
                    </a:lnTo>
                    <a:lnTo>
                      <a:pt x="60" y="983"/>
                    </a:lnTo>
                    <a:lnTo>
                      <a:pt x="60" y="981"/>
                    </a:lnTo>
                    <a:lnTo>
                      <a:pt x="60" y="979"/>
                    </a:lnTo>
                    <a:lnTo>
                      <a:pt x="62" y="979"/>
                    </a:lnTo>
                    <a:lnTo>
                      <a:pt x="62" y="978"/>
                    </a:lnTo>
                    <a:lnTo>
                      <a:pt x="64" y="978"/>
                    </a:lnTo>
                    <a:lnTo>
                      <a:pt x="64" y="976"/>
                    </a:lnTo>
                    <a:lnTo>
                      <a:pt x="62" y="976"/>
                    </a:lnTo>
                    <a:lnTo>
                      <a:pt x="62" y="974"/>
                    </a:lnTo>
                    <a:lnTo>
                      <a:pt x="64" y="974"/>
                    </a:lnTo>
                    <a:lnTo>
                      <a:pt x="64" y="972"/>
                    </a:lnTo>
                    <a:lnTo>
                      <a:pt x="62" y="972"/>
                    </a:lnTo>
                    <a:lnTo>
                      <a:pt x="62" y="970"/>
                    </a:lnTo>
                    <a:lnTo>
                      <a:pt x="64" y="970"/>
                    </a:lnTo>
                    <a:lnTo>
                      <a:pt x="62" y="970"/>
                    </a:lnTo>
                    <a:lnTo>
                      <a:pt x="62" y="968"/>
                    </a:lnTo>
                    <a:lnTo>
                      <a:pt x="62" y="966"/>
                    </a:lnTo>
                    <a:lnTo>
                      <a:pt x="64" y="966"/>
                    </a:lnTo>
                    <a:lnTo>
                      <a:pt x="62" y="966"/>
                    </a:lnTo>
                    <a:lnTo>
                      <a:pt x="64" y="966"/>
                    </a:lnTo>
                    <a:lnTo>
                      <a:pt x="64" y="964"/>
                    </a:lnTo>
                    <a:lnTo>
                      <a:pt x="64" y="966"/>
                    </a:lnTo>
                    <a:lnTo>
                      <a:pt x="64" y="964"/>
                    </a:lnTo>
                    <a:lnTo>
                      <a:pt x="64" y="963"/>
                    </a:lnTo>
                    <a:lnTo>
                      <a:pt x="62" y="963"/>
                    </a:lnTo>
                    <a:lnTo>
                      <a:pt x="64" y="963"/>
                    </a:lnTo>
                    <a:lnTo>
                      <a:pt x="64" y="961"/>
                    </a:lnTo>
                    <a:lnTo>
                      <a:pt x="62" y="963"/>
                    </a:lnTo>
                    <a:lnTo>
                      <a:pt x="62" y="961"/>
                    </a:lnTo>
                    <a:lnTo>
                      <a:pt x="62" y="959"/>
                    </a:lnTo>
                    <a:lnTo>
                      <a:pt x="64" y="961"/>
                    </a:lnTo>
                    <a:lnTo>
                      <a:pt x="64" y="959"/>
                    </a:lnTo>
                    <a:lnTo>
                      <a:pt x="62" y="959"/>
                    </a:lnTo>
                    <a:lnTo>
                      <a:pt x="62" y="957"/>
                    </a:lnTo>
                    <a:lnTo>
                      <a:pt x="60" y="953"/>
                    </a:lnTo>
                    <a:lnTo>
                      <a:pt x="56" y="946"/>
                    </a:lnTo>
                    <a:lnTo>
                      <a:pt x="51" y="942"/>
                    </a:lnTo>
                    <a:lnTo>
                      <a:pt x="45" y="932"/>
                    </a:lnTo>
                    <a:lnTo>
                      <a:pt x="39" y="930"/>
                    </a:lnTo>
                    <a:lnTo>
                      <a:pt x="37" y="929"/>
                    </a:lnTo>
                    <a:lnTo>
                      <a:pt x="39" y="929"/>
                    </a:lnTo>
                    <a:lnTo>
                      <a:pt x="41" y="929"/>
                    </a:lnTo>
                    <a:lnTo>
                      <a:pt x="41" y="927"/>
                    </a:lnTo>
                    <a:lnTo>
                      <a:pt x="41" y="925"/>
                    </a:lnTo>
                    <a:lnTo>
                      <a:pt x="43" y="925"/>
                    </a:lnTo>
                    <a:lnTo>
                      <a:pt x="45" y="925"/>
                    </a:lnTo>
                    <a:lnTo>
                      <a:pt x="45" y="923"/>
                    </a:lnTo>
                    <a:lnTo>
                      <a:pt x="47" y="923"/>
                    </a:lnTo>
                    <a:lnTo>
                      <a:pt x="49" y="923"/>
                    </a:lnTo>
                    <a:lnTo>
                      <a:pt x="49" y="921"/>
                    </a:lnTo>
                    <a:lnTo>
                      <a:pt x="51" y="921"/>
                    </a:lnTo>
                    <a:lnTo>
                      <a:pt x="54" y="915"/>
                    </a:lnTo>
                    <a:lnTo>
                      <a:pt x="60" y="919"/>
                    </a:lnTo>
                    <a:lnTo>
                      <a:pt x="60" y="917"/>
                    </a:lnTo>
                    <a:lnTo>
                      <a:pt x="60" y="915"/>
                    </a:lnTo>
                    <a:lnTo>
                      <a:pt x="60" y="914"/>
                    </a:lnTo>
                    <a:lnTo>
                      <a:pt x="60" y="912"/>
                    </a:lnTo>
                    <a:lnTo>
                      <a:pt x="62" y="912"/>
                    </a:lnTo>
                    <a:lnTo>
                      <a:pt x="60" y="912"/>
                    </a:lnTo>
                    <a:lnTo>
                      <a:pt x="60" y="910"/>
                    </a:lnTo>
                    <a:lnTo>
                      <a:pt x="62" y="910"/>
                    </a:lnTo>
                    <a:lnTo>
                      <a:pt x="64" y="910"/>
                    </a:lnTo>
                    <a:lnTo>
                      <a:pt x="64" y="908"/>
                    </a:lnTo>
                    <a:lnTo>
                      <a:pt x="66" y="908"/>
                    </a:lnTo>
                    <a:lnTo>
                      <a:pt x="68" y="908"/>
                    </a:lnTo>
                    <a:lnTo>
                      <a:pt x="69" y="908"/>
                    </a:lnTo>
                    <a:lnTo>
                      <a:pt x="71" y="908"/>
                    </a:lnTo>
                    <a:lnTo>
                      <a:pt x="71" y="906"/>
                    </a:lnTo>
                    <a:lnTo>
                      <a:pt x="73" y="908"/>
                    </a:lnTo>
                    <a:lnTo>
                      <a:pt x="73" y="906"/>
                    </a:lnTo>
                    <a:lnTo>
                      <a:pt x="75" y="906"/>
                    </a:lnTo>
                    <a:lnTo>
                      <a:pt x="75" y="904"/>
                    </a:lnTo>
                    <a:lnTo>
                      <a:pt x="77" y="904"/>
                    </a:lnTo>
                    <a:lnTo>
                      <a:pt x="77" y="902"/>
                    </a:lnTo>
                    <a:lnTo>
                      <a:pt x="75" y="902"/>
                    </a:lnTo>
                    <a:lnTo>
                      <a:pt x="73" y="902"/>
                    </a:lnTo>
                    <a:lnTo>
                      <a:pt x="73" y="900"/>
                    </a:lnTo>
                    <a:lnTo>
                      <a:pt x="75" y="900"/>
                    </a:lnTo>
                    <a:lnTo>
                      <a:pt x="75" y="898"/>
                    </a:lnTo>
                    <a:lnTo>
                      <a:pt x="73" y="898"/>
                    </a:lnTo>
                    <a:lnTo>
                      <a:pt x="75" y="898"/>
                    </a:lnTo>
                    <a:lnTo>
                      <a:pt x="75" y="897"/>
                    </a:lnTo>
                    <a:lnTo>
                      <a:pt x="75" y="895"/>
                    </a:lnTo>
                    <a:lnTo>
                      <a:pt x="73" y="895"/>
                    </a:lnTo>
                    <a:lnTo>
                      <a:pt x="71" y="895"/>
                    </a:lnTo>
                    <a:lnTo>
                      <a:pt x="71" y="893"/>
                    </a:lnTo>
                    <a:lnTo>
                      <a:pt x="69" y="893"/>
                    </a:lnTo>
                    <a:lnTo>
                      <a:pt x="69" y="891"/>
                    </a:lnTo>
                    <a:lnTo>
                      <a:pt x="69" y="889"/>
                    </a:lnTo>
                    <a:lnTo>
                      <a:pt x="69" y="887"/>
                    </a:lnTo>
                    <a:lnTo>
                      <a:pt x="68" y="887"/>
                    </a:lnTo>
                    <a:lnTo>
                      <a:pt x="66" y="887"/>
                    </a:lnTo>
                    <a:lnTo>
                      <a:pt x="64" y="887"/>
                    </a:lnTo>
                    <a:lnTo>
                      <a:pt x="64" y="885"/>
                    </a:lnTo>
                    <a:lnTo>
                      <a:pt x="62" y="885"/>
                    </a:lnTo>
                    <a:lnTo>
                      <a:pt x="60" y="885"/>
                    </a:lnTo>
                    <a:lnTo>
                      <a:pt x="58" y="885"/>
                    </a:lnTo>
                    <a:lnTo>
                      <a:pt x="58" y="883"/>
                    </a:lnTo>
                    <a:lnTo>
                      <a:pt x="60" y="883"/>
                    </a:lnTo>
                    <a:lnTo>
                      <a:pt x="62" y="883"/>
                    </a:lnTo>
                    <a:lnTo>
                      <a:pt x="62" y="882"/>
                    </a:lnTo>
                    <a:lnTo>
                      <a:pt x="64" y="880"/>
                    </a:lnTo>
                    <a:lnTo>
                      <a:pt x="66" y="880"/>
                    </a:lnTo>
                    <a:lnTo>
                      <a:pt x="66" y="878"/>
                    </a:lnTo>
                    <a:lnTo>
                      <a:pt x="68" y="878"/>
                    </a:lnTo>
                    <a:lnTo>
                      <a:pt x="66" y="878"/>
                    </a:lnTo>
                    <a:lnTo>
                      <a:pt x="66" y="876"/>
                    </a:lnTo>
                    <a:lnTo>
                      <a:pt x="68" y="876"/>
                    </a:lnTo>
                    <a:lnTo>
                      <a:pt x="68" y="874"/>
                    </a:lnTo>
                    <a:lnTo>
                      <a:pt x="66" y="874"/>
                    </a:lnTo>
                    <a:lnTo>
                      <a:pt x="66" y="872"/>
                    </a:lnTo>
                    <a:lnTo>
                      <a:pt x="64" y="872"/>
                    </a:lnTo>
                    <a:lnTo>
                      <a:pt x="64" y="870"/>
                    </a:lnTo>
                    <a:lnTo>
                      <a:pt x="66" y="870"/>
                    </a:lnTo>
                    <a:lnTo>
                      <a:pt x="66" y="868"/>
                    </a:lnTo>
                    <a:lnTo>
                      <a:pt x="66" y="866"/>
                    </a:lnTo>
                    <a:lnTo>
                      <a:pt x="66" y="865"/>
                    </a:lnTo>
                    <a:lnTo>
                      <a:pt x="66" y="863"/>
                    </a:lnTo>
                    <a:lnTo>
                      <a:pt x="66" y="861"/>
                    </a:lnTo>
                    <a:lnTo>
                      <a:pt x="64" y="861"/>
                    </a:lnTo>
                    <a:lnTo>
                      <a:pt x="66" y="861"/>
                    </a:lnTo>
                    <a:lnTo>
                      <a:pt x="66" y="859"/>
                    </a:lnTo>
                    <a:lnTo>
                      <a:pt x="68" y="859"/>
                    </a:lnTo>
                    <a:lnTo>
                      <a:pt x="69" y="859"/>
                    </a:lnTo>
                    <a:lnTo>
                      <a:pt x="69" y="857"/>
                    </a:lnTo>
                    <a:lnTo>
                      <a:pt x="69" y="855"/>
                    </a:lnTo>
                    <a:lnTo>
                      <a:pt x="68" y="855"/>
                    </a:lnTo>
                    <a:lnTo>
                      <a:pt x="68" y="853"/>
                    </a:lnTo>
                    <a:lnTo>
                      <a:pt x="68" y="851"/>
                    </a:lnTo>
                    <a:lnTo>
                      <a:pt x="69" y="851"/>
                    </a:lnTo>
                    <a:lnTo>
                      <a:pt x="69" y="853"/>
                    </a:lnTo>
                    <a:lnTo>
                      <a:pt x="71" y="853"/>
                    </a:lnTo>
                    <a:lnTo>
                      <a:pt x="69" y="851"/>
                    </a:lnTo>
                    <a:lnTo>
                      <a:pt x="71" y="851"/>
                    </a:lnTo>
                    <a:lnTo>
                      <a:pt x="71" y="850"/>
                    </a:lnTo>
                    <a:lnTo>
                      <a:pt x="71" y="848"/>
                    </a:lnTo>
                    <a:lnTo>
                      <a:pt x="71" y="846"/>
                    </a:lnTo>
                    <a:lnTo>
                      <a:pt x="69" y="846"/>
                    </a:lnTo>
                    <a:lnTo>
                      <a:pt x="71" y="846"/>
                    </a:lnTo>
                    <a:lnTo>
                      <a:pt x="71" y="844"/>
                    </a:lnTo>
                    <a:lnTo>
                      <a:pt x="71" y="842"/>
                    </a:lnTo>
                    <a:lnTo>
                      <a:pt x="73" y="842"/>
                    </a:lnTo>
                    <a:lnTo>
                      <a:pt x="73" y="840"/>
                    </a:lnTo>
                    <a:lnTo>
                      <a:pt x="75" y="840"/>
                    </a:lnTo>
                    <a:lnTo>
                      <a:pt x="75" y="838"/>
                    </a:lnTo>
                    <a:lnTo>
                      <a:pt x="75" y="836"/>
                    </a:lnTo>
                    <a:lnTo>
                      <a:pt x="73" y="836"/>
                    </a:lnTo>
                    <a:lnTo>
                      <a:pt x="73" y="834"/>
                    </a:lnTo>
                    <a:lnTo>
                      <a:pt x="75" y="834"/>
                    </a:lnTo>
                    <a:lnTo>
                      <a:pt x="77" y="834"/>
                    </a:lnTo>
                    <a:lnTo>
                      <a:pt x="79" y="834"/>
                    </a:lnTo>
                    <a:lnTo>
                      <a:pt x="79" y="833"/>
                    </a:lnTo>
                    <a:lnTo>
                      <a:pt x="79" y="831"/>
                    </a:lnTo>
                    <a:lnTo>
                      <a:pt x="81" y="831"/>
                    </a:lnTo>
                    <a:lnTo>
                      <a:pt x="81" y="833"/>
                    </a:lnTo>
                    <a:lnTo>
                      <a:pt x="83" y="833"/>
                    </a:lnTo>
                    <a:lnTo>
                      <a:pt x="83" y="831"/>
                    </a:lnTo>
                    <a:lnTo>
                      <a:pt x="85" y="829"/>
                    </a:lnTo>
                    <a:lnTo>
                      <a:pt x="86" y="829"/>
                    </a:lnTo>
                    <a:lnTo>
                      <a:pt x="86" y="827"/>
                    </a:lnTo>
                    <a:lnTo>
                      <a:pt x="88" y="827"/>
                    </a:lnTo>
                    <a:lnTo>
                      <a:pt x="88" y="825"/>
                    </a:lnTo>
                    <a:lnTo>
                      <a:pt x="90" y="825"/>
                    </a:lnTo>
                    <a:lnTo>
                      <a:pt x="92" y="825"/>
                    </a:lnTo>
                    <a:lnTo>
                      <a:pt x="92" y="823"/>
                    </a:lnTo>
                    <a:lnTo>
                      <a:pt x="94" y="823"/>
                    </a:lnTo>
                    <a:lnTo>
                      <a:pt x="96" y="823"/>
                    </a:lnTo>
                    <a:lnTo>
                      <a:pt x="98" y="823"/>
                    </a:lnTo>
                    <a:lnTo>
                      <a:pt x="100" y="823"/>
                    </a:lnTo>
                    <a:lnTo>
                      <a:pt x="101" y="823"/>
                    </a:lnTo>
                    <a:lnTo>
                      <a:pt x="103" y="823"/>
                    </a:lnTo>
                    <a:lnTo>
                      <a:pt x="103" y="825"/>
                    </a:lnTo>
                    <a:lnTo>
                      <a:pt x="105" y="825"/>
                    </a:lnTo>
                    <a:lnTo>
                      <a:pt x="105" y="823"/>
                    </a:lnTo>
                    <a:lnTo>
                      <a:pt x="105" y="821"/>
                    </a:lnTo>
                    <a:lnTo>
                      <a:pt x="107" y="819"/>
                    </a:lnTo>
                    <a:lnTo>
                      <a:pt x="105" y="818"/>
                    </a:lnTo>
                    <a:lnTo>
                      <a:pt x="107" y="818"/>
                    </a:lnTo>
                    <a:lnTo>
                      <a:pt x="107" y="816"/>
                    </a:lnTo>
                    <a:lnTo>
                      <a:pt x="107" y="814"/>
                    </a:lnTo>
                    <a:lnTo>
                      <a:pt x="107" y="812"/>
                    </a:lnTo>
                    <a:lnTo>
                      <a:pt x="107" y="810"/>
                    </a:lnTo>
                    <a:lnTo>
                      <a:pt x="107" y="808"/>
                    </a:lnTo>
                    <a:lnTo>
                      <a:pt x="105" y="808"/>
                    </a:lnTo>
                    <a:lnTo>
                      <a:pt x="105" y="806"/>
                    </a:lnTo>
                    <a:lnTo>
                      <a:pt x="107" y="806"/>
                    </a:lnTo>
                    <a:lnTo>
                      <a:pt x="109" y="806"/>
                    </a:lnTo>
                    <a:lnTo>
                      <a:pt x="111" y="806"/>
                    </a:lnTo>
                    <a:lnTo>
                      <a:pt x="113" y="806"/>
                    </a:lnTo>
                    <a:lnTo>
                      <a:pt x="115" y="806"/>
                    </a:lnTo>
                    <a:lnTo>
                      <a:pt x="115" y="804"/>
                    </a:lnTo>
                    <a:lnTo>
                      <a:pt x="116" y="802"/>
                    </a:lnTo>
                    <a:lnTo>
                      <a:pt x="116" y="801"/>
                    </a:lnTo>
                    <a:lnTo>
                      <a:pt x="115" y="801"/>
                    </a:lnTo>
                    <a:lnTo>
                      <a:pt x="113" y="799"/>
                    </a:lnTo>
                    <a:lnTo>
                      <a:pt x="111" y="799"/>
                    </a:lnTo>
                    <a:lnTo>
                      <a:pt x="111" y="797"/>
                    </a:lnTo>
                    <a:lnTo>
                      <a:pt x="113" y="797"/>
                    </a:lnTo>
                    <a:lnTo>
                      <a:pt x="113" y="795"/>
                    </a:lnTo>
                    <a:lnTo>
                      <a:pt x="113" y="793"/>
                    </a:lnTo>
                    <a:lnTo>
                      <a:pt x="113" y="791"/>
                    </a:lnTo>
                    <a:lnTo>
                      <a:pt x="113" y="793"/>
                    </a:lnTo>
                    <a:lnTo>
                      <a:pt x="113" y="791"/>
                    </a:lnTo>
                    <a:lnTo>
                      <a:pt x="111" y="791"/>
                    </a:lnTo>
                    <a:lnTo>
                      <a:pt x="111" y="789"/>
                    </a:lnTo>
                    <a:lnTo>
                      <a:pt x="109" y="789"/>
                    </a:lnTo>
                    <a:lnTo>
                      <a:pt x="109" y="787"/>
                    </a:lnTo>
                    <a:lnTo>
                      <a:pt x="107" y="787"/>
                    </a:lnTo>
                    <a:lnTo>
                      <a:pt x="109" y="787"/>
                    </a:lnTo>
                    <a:lnTo>
                      <a:pt x="111" y="787"/>
                    </a:lnTo>
                    <a:lnTo>
                      <a:pt x="111" y="786"/>
                    </a:lnTo>
                    <a:lnTo>
                      <a:pt x="111" y="784"/>
                    </a:lnTo>
                    <a:lnTo>
                      <a:pt x="111" y="782"/>
                    </a:lnTo>
                    <a:lnTo>
                      <a:pt x="109" y="782"/>
                    </a:lnTo>
                    <a:lnTo>
                      <a:pt x="109" y="780"/>
                    </a:lnTo>
                    <a:lnTo>
                      <a:pt x="107" y="780"/>
                    </a:lnTo>
                    <a:lnTo>
                      <a:pt x="107" y="778"/>
                    </a:lnTo>
                    <a:lnTo>
                      <a:pt x="109" y="778"/>
                    </a:lnTo>
                    <a:lnTo>
                      <a:pt x="111" y="778"/>
                    </a:lnTo>
                    <a:lnTo>
                      <a:pt x="111" y="776"/>
                    </a:lnTo>
                    <a:lnTo>
                      <a:pt x="113" y="778"/>
                    </a:lnTo>
                    <a:lnTo>
                      <a:pt x="115" y="778"/>
                    </a:lnTo>
                    <a:lnTo>
                      <a:pt x="116" y="778"/>
                    </a:lnTo>
                    <a:lnTo>
                      <a:pt x="116" y="776"/>
                    </a:lnTo>
                    <a:lnTo>
                      <a:pt x="115" y="776"/>
                    </a:lnTo>
                    <a:lnTo>
                      <a:pt x="115" y="774"/>
                    </a:lnTo>
                    <a:lnTo>
                      <a:pt x="116" y="774"/>
                    </a:lnTo>
                    <a:lnTo>
                      <a:pt x="116" y="772"/>
                    </a:lnTo>
                    <a:lnTo>
                      <a:pt x="118" y="772"/>
                    </a:lnTo>
                    <a:lnTo>
                      <a:pt x="118" y="774"/>
                    </a:lnTo>
                    <a:lnTo>
                      <a:pt x="120" y="774"/>
                    </a:lnTo>
                    <a:lnTo>
                      <a:pt x="120" y="772"/>
                    </a:lnTo>
                    <a:lnTo>
                      <a:pt x="122" y="772"/>
                    </a:lnTo>
                    <a:lnTo>
                      <a:pt x="124" y="772"/>
                    </a:lnTo>
                    <a:lnTo>
                      <a:pt x="126" y="772"/>
                    </a:lnTo>
                    <a:lnTo>
                      <a:pt x="128" y="770"/>
                    </a:lnTo>
                    <a:lnTo>
                      <a:pt x="130" y="770"/>
                    </a:lnTo>
                    <a:lnTo>
                      <a:pt x="130" y="769"/>
                    </a:lnTo>
                    <a:lnTo>
                      <a:pt x="132" y="769"/>
                    </a:lnTo>
                    <a:lnTo>
                      <a:pt x="133" y="767"/>
                    </a:lnTo>
                    <a:lnTo>
                      <a:pt x="135" y="767"/>
                    </a:lnTo>
                    <a:lnTo>
                      <a:pt x="135" y="765"/>
                    </a:lnTo>
                    <a:lnTo>
                      <a:pt x="135" y="763"/>
                    </a:lnTo>
                    <a:lnTo>
                      <a:pt x="135" y="761"/>
                    </a:lnTo>
                    <a:lnTo>
                      <a:pt x="137" y="761"/>
                    </a:lnTo>
                    <a:lnTo>
                      <a:pt x="137" y="759"/>
                    </a:lnTo>
                    <a:lnTo>
                      <a:pt x="137" y="757"/>
                    </a:lnTo>
                    <a:lnTo>
                      <a:pt x="139" y="757"/>
                    </a:lnTo>
                    <a:lnTo>
                      <a:pt x="141" y="757"/>
                    </a:lnTo>
                    <a:lnTo>
                      <a:pt x="141" y="755"/>
                    </a:lnTo>
                    <a:lnTo>
                      <a:pt x="139" y="754"/>
                    </a:lnTo>
                    <a:lnTo>
                      <a:pt x="141" y="754"/>
                    </a:lnTo>
                    <a:lnTo>
                      <a:pt x="141" y="752"/>
                    </a:lnTo>
                    <a:lnTo>
                      <a:pt x="143" y="752"/>
                    </a:lnTo>
                    <a:lnTo>
                      <a:pt x="145" y="752"/>
                    </a:lnTo>
                    <a:lnTo>
                      <a:pt x="145" y="750"/>
                    </a:lnTo>
                    <a:lnTo>
                      <a:pt x="145" y="748"/>
                    </a:lnTo>
                    <a:lnTo>
                      <a:pt x="147" y="746"/>
                    </a:lnTo>
                    <a:lnTo>
                      <a:pt x="147" y="744"/>
                    </a:lnTo>
                    <a:lnTo>
                      <a:pt x="148" y="744"/>
                    </a:lnTo>
                    <a:lnTo>
                      <a:pt x="148" y="742"/>
                    </a:lnTo>
                    <a:lnTo>
                      <a:pt x="147" y="742"/>
                    </a:lnTo>
                    <a:lnTo>
                      <a:pt x="147" y="740"/>
                    </a:lnTo>
                    <a:lnTo>
                      <a:pt x="147" y="738"/>
                    </a:lnTo>
                    <a:lnTo>
                      <a:pt x="147" y="737"/>
                    </a:lnTo>
                    <a:lnTo>
                      <a:pt x="148" y="737"/>
                    </a:lnTo>
                    <a:lnTo>
                      <a:pt x="148" y="735"/>
                    </a:lnTo>
                    <a:lnTo>
                      <a:pt x="150" y="735"/>
                    </a:lnTo>
                    <a:lnTo>
                      <a:pt x="148" y="735"/>
                    </a:lnTo>
                    <a:lnTo>
                      <a:pt x="150" y="733"/>
                    </a:lnTo>
                    <a:lnTo>
                      <a:pt x="148" y="733"/>
                    </a:lnTo>
                    <a:lnTo>
                      <a:pt x="148" y="731"/>
                    </a:lnTo>
                    <a:lnTo>
                      <a:pt x="148" y="729"/>
                    </a:lnTo>
                    <a:lnTo>
                      <a:pt x="147" y="729"/>
                    </a:lnTo>
                    <a:lnTo>
                      <a:pt x="147" y="727"/>
                    </a:lnTo>
                    <a:lnTo>
                      <a:pt x="145" y="725"/>
                    </a:lnTo>
                    <a:lnTo>
                      <a:pt x="145" y="723"/>
                    </a:lnTo>
                    <a:lnTo>
                      <a:pt x="147" y="723"/>
                    </a:lnTo>
                    <a:lnTo>
                      <a:pt x="147" y="722"/>
                    </a:lnTo>
                    <a:lnTo>
                      <a:pt x="145" y="722"/>
                    </a:lnTo>
                    <a:lnTo>
                      <a:pt x="145" y="720"/>
                    </a:lnTo>
                    <a:lnTo>
                      <a:pt x="145" y="718"/>
                    </a:lnTo>
                    <a:lnTo>
                      <a:pt x="145" y="716"/>
                    </a:lnTo>
                    <a:lnTo>
                      <a:pt x="147" y="716"/>
                    </a:lnTo>
                    <a:lnTo>
                      <a:pt x="145" y="714"/>
                    </a:lnTo>
                    <a:lnTo>
                      <a:pt x="145" y="712"/>
                    </a:lnTo>
                    <a:lnTo>
                      <a:pt x="143" y="712"/>
                    </a:lnTo>
                    <a:lnTo>
                      <a:pt x="141" y="712"/>
                    </a:lnTo>
                    <a:lnTo>
                      <a:pt x="139" y="710"/>
                    </a:lnTo>
                    <a:lnTo>
                      <a:pt x="141" y="710"/>
                    </a:lnTo>
                    <a:lnTo>
                      <a:pt x="141" y="708"/>
                    </a:lnTo>
                    <a:lnTo>
                      <a:pt x="143" y="708"/>
                    </a:lnTo>
                    <a:lnTo>
                      <a:pt x="141" y="708"/>
                    </a:lnTo>
                    <a:lnTo>
                      <a:pt x="141" y="706"/>
                    </a:lnTo>
                    <a:lnTo>
                      <a:pt x="141" y="705"/>
                    </a:lnTo>
                    <a:lnTo>
                      <a:pt x="139" y="705"/>
                    </a:lnTo>
                    <a:lnTo>
                      <a:pt x="139" y="703"/>
                    </a:lnTo>
                    <a:lnTo>
                      <a:pt x="137" y="703"/>
                    </a:lnTo>
                    <a:lnTo>
                      <a:pt x="137" y="701"/>
                    </a:lnTo>
                    <a:lnTo>
                      <a:pt x="139" y="701"/>
                    </a:lnTo>
                    <a:lnTo>
                      <a:pt x="139" y="699"/>
                    </a:lnTo>
                    <a:lnTo>
                      <a:pt x="137" y="699"/>
                    </a:lnTo>
                    <a:lnTo>
                      <a:pt x="137" y="697"/>
                    </a:lnTo>
                    <a:lnTo>
                      <a:pt x="135" y="697"/>
                    </a:lnTo>
                    <a:lnTo>
                      <a:pt x="135" y="695"/>
                    </a:lnTo>
                    <a:lnTo>
                      <a:pt x="133" y="695"/>
                    </a:lnTo>
                    <a:lnTo>
                      <a:pt x="132" y="695"/>
                    </a:lnTo>
                    <a:lnTo>
                      <a:pt x="130" y="693"/>
                    </a:lnTo>
                    <a:lnTo>
                      <a:pt x="130" y="695"/>
                    </a:lnTo>
                    <a:lnTo>
                      <a:pt x="128" y="695"/>
                    </a:lnTo>
                    <a:lnTo>
                      <a:pt x="126" y="695"/>
                    </a:lnTo>
                    <a:lnTo>
                      <a:pt x="124" y="695"/>
                    </a:lnTo>
                    <a:lnTo>
                      <a:pt x="124" y="693"/>
                    </a:lnTo>
                    <a:lnTo>
                      <a:pt x="124" y="691"/>
                    </a:lnTo>
                    <a:lnTo>
                      <a:pt x="122" y="691"/>
                    </a:lnTo>
                    <a:lnTo>
                      <a:pt x="122" y="690"/>
                    </a:lnTo>
                    <a:lnTo>
                      <a:pt x="120" y="690"/>
                    </a:lnTo>
                    <a:lnTo>
                      <a:pt x="120" y="688"/>
                    </a:lnTo>
                    <a:lnTo>
                      <a:pt x="122" y="686"/>
                    </a:lnTo>
                    <a:lnTo>
                      <a:pt x="122" y="684"/>
                    </a:lnTo>
                    <a:lnTo>
                      <a:pt x="122" y="682"/>
                    </a:lnTo>
                    <a:lnTo>
                      <a:pt x="120" y="680"/>
                    </a:lnTo>
                    <a:lnTo>
                      <a:pt x="122" y="680"/>
                    </a:lnTo>
                    <a:lnTo>
                      <a:pt x="122" y="678"/>
                    </a:lnTo>
                    <a:lnTo>
                      <a:pt x="124" y="678"/>
                    </a:lnTo>
                    <a:lnTo>
                      <a:pt x="122" y="678"/>
                    </a:lnTo>
                    <a:lnTo>
                      <a:pt x="122" y="676"/>
                    </a:lnTo>
                    <a:lnTo>
                      <a:pt x="124" y="676"/>
                    </a:lnTo>
                    <a:lnTo>
                      <a:pt x="124" y="674"/>
                    </a:lnTo>
                    <a:lnTo>
                      <a:pt x="124" y="673"/>
                    </a:lnTo>
                    <a:lnTo>
                      <a:pt x="122" y="671"/>
                    </a:lnTo>
                    <a:lnTo>
                      <a:pt x="122" y="669"/>
                    </a:lnTo>
                    <a:lnTo>
                      <a:pt x="120" y="669"/>
                    </a:lnTo>
                    <a:lnTo>
                      <a:pt x="120" y="667"/>
                    </a:lnTo>
                    <a:lnTo>
                      <a:pt x="118" y="665"/>
                    </a:lnTo>
                    <a:lnTo>
                      <a:pt x="116" y="665"/>
                    </a:lnTo>
                    <a:lnTo>
                      <a:pt x="116" y="663"/>
                    </a:lnTo>
                    <a:lnTo>
                      <a:pt x="115" y="663"/>
                    </a:lnTo>
                    <a:lnTo>
                      <a:pt x="115" y="661"/>
                    </a:lnTo>
                    <a:lnTo>
                      <a:pt x="113" y="659"/>
                    </a:lnTo>
                    <a:lnTo>
                      <a:pt x="113" y="658"/>
                    </a:lnTo>
                    <a:lnTo>
                      <a:pt x="111" y="658"/>
                    </a:lnTo>
                    <a:lnTo>
                      <a:pt x="109" y="658"/>
                    </a:lnTo>
                    <a:lnTo>
                      <a:pt x="107" y="658"/>
                    </a:lnTo>
                    <a:lnTo>
                      <a:pt x="105" y="658"/>
                    </a:lnTo>
                    <a:lnTo>
                      <a:pt x="103" y="658"/>
                    </a:lnTo>
                    <a:lnTo>
                      <a:pt x="103" y="659"/>
                    </a:lnTo>
                    <a:lnTo>
                      <a:pt x="101" y="659"/>
                    </a:lnTo>
                    <a:lnTo>
                      <a:pt x="100" y="659"/>
                    </a:lnTo>
                    <a:lnTo>
                      <a:pt x="100" y="661"/>
                    </a:lnTo>
                    <a:lnTo>
                      <a:pt x="98" y="661"/>
                    </a:lnTo>
                    <a:lnTo>
                      <a:pt x="98" y="659"/>
                    </a:lnTo>
                    <a:lnTo>
                      <a:pt x="96" y="659"/>
                    </a:lnTo>
                    <a:lnTo>
                      <a:pt x="96" y="658"/>
                    </a:lnTo>
                    <a:lnTo>
                      <a:pt x="94" y="658"/>
                    </a:lnTo>
                    <a:lnTo>
                      <a:pt x="94" y="656"/>
                    </a:lnTo>
                    <a:lnTo>
                      <a:pt x="92" y="656"/>
                    </a:lnTo>
                    <a:lnTo>
                      <a:pt x="92" y="654"/>
                    </a:lnTo>
                    <a:lnTo>
                      <a:pt x="92" y="652"/>
                    </a:lnTo>
                    <a:lnTo>
                      <a:pt x="90" y="650"/>
                    </a:lnTo>
                    <a:lnTo>
                      <a:pt x="88" y="650"/>
                    </a:lnTo>
                    <a:lnTo>
                      <a:pt x="88" y="648"/>
                    </a:lnTo>
                    <a:lnTo>
                      <a:pt x="86" y="648"/>
                    </a:lnTo>
                    <a:lnTo>
                      <a:pt x="88" y="648"/>
                    </a:lnTo>
                    <a:lnTo>
                      <a:pt x="88" y="646"/>
                    </a:lnTo>
                    <a:lnTo>
                      <a:pt x="86" y="646"/>
                    </a:lnTo>
                    <a:lnTo>
                      <a:pt x="88" y="646"/>
                    </a:lnTo>
                    <a:lnTo>
                      <a:pt x="88" y="644"/>
                    </a:lnTo>
                    <a:lnTo>
                      <a:pt x="88" y="642"/>
                    </a:lnTo>
                    <a:lnTo>
                      <a:pt x="86" y="642"/>
                    </a:lnTo>
                    <a:lnTo>
                      <a:pt x="86" y="641"/>
                    </a:lnTo>
                    <a:lnTo>
                      <a:pt x="85" y="641"/>
                    </a:lnTo>
                    <a:lnTo>
                      <a:pt x="85" y="639"/>
                    </a:lnTo>
                    <a:lnTo>
                      <a:pt x="83" y="641"/>
                    </a:lnTo>
                    <a:lnTo>
                      <a:pt x="83" y="639"/>
                    </a:lnTo>
                    <a:lnTo>
                      <a:pt x="81" y="639"/>
                    </a:lnTo>
                    <a:lnTo>
                      <a:pt x="79" y="639"/>
                    </a:lnTo>
                    <a:lnTo>
                      <a:pt x="79" y="637"/>
                    </a:lnTo>
                    <a:lnTo>
                      <a:pt x="77" y="637"/>
                    </a:lnTo>
                    <a:lnTo>
                      <a:pt x="75" y="635"/>
                    </a:lnTo>
                    <a:lnTo>
                      <a:pt x="75" y="637"/>
                    </a:lnTo>
                    <a:lnTo>
                      <a:pt x="73" y="637"/>
                    </a:lnTo>
                    <a:lnTo>
                      <a:pt x="73" y="635"/>
                    </a:lnTo>
                    <a:lnTo>
                      <a:pt x="73" y="633"/>
                    </a:lnTo>
                    <a:lnTo>
                      <a:pt x="71" y="633"/>
                    </a:lnTo>
                    <a:lnTo>
                      <a:pt x="71" y="631"/>
                    </a:lnTo>
                    <a:lnTo>
                      <a:pt x="69" y="631"/>
                    </a:lnTo>
                    <a:lnTo>
                      <a:pt x="69" y="629"/>
                    </a:lnTo>
                    <a:lnTo>
                      <a:pt x="68" y="629"/>
                    </a:lnTo>
                    <a:lnTo>
                      <a:pt x="68" y="631"/>
                    </a:lnTo>
                    <a:lnTo>
                      <a:pt x="66" y="631"/>
                    </a:lnTo>
                    <a:lnTo>
                      <a:pt x="66" y="629"/>
                    </a:lnTo>
                    <a:lnTo>
                      <a:pt x="64" y="627"/>
                    </a:lnTo>
                    <a:lnTo>
                      <a:pt x="66" y="627"/>
                    </a:lnTo>
                    <a:lnTo>
                      <a:pt x="64" y="627"/>
                    </a:lnTo>
                    <a:lnTo>
                      <a:pt x="66" y="627"/>
                    </a:lnTo>
                    <a:lnTo>
                      <a:pt x="66" y="626"/>
                    </a:lnTo>
                    <a:lnTo>
                      <a:pt x="64" y="624"/>
                    </a:lnTo>
                    <a:lnTo>
                      <a:pt x="62" y="624"/>
                    </a:lnTo>
                    <a:lnTo>
                      <a:pt x="62" y="622"/>
                    </a:lnTo>
                    <a:lnTo>
                      <a:pt x="62" y="620"/>
                    </a:lnTo>
                    <a:lnTo>
                      <a:pt x="60" y="620"/>
                    </a:lnTo>
                    <a:lnTo>
                      <a:pt x="58" y="620"/>
                    </a:lnTo>
                    <a:lnTo>
                      <a:pt x="58" y="618"/>
                    </a:lnTo>
                    <a:lnTo>
                      <a:pt x="56" y="618"/>
                    </a:lnTo>
                    <a:lnTo>
                      <a:pt x="56" y="616"/>
                    </a:lnTo>
                    <a:lnTo>
                      <a:pt x="54" y="616"/>
                    </a:lnTo>
                    <a:lnTo>
                      <a:pt x="54" y="618"/>
                    </a:lnTo>
                    <a:lnTo>
                      <a:pt x="53" y="618"/>
                    </a:lnTo>
                    <a:lnTo>
                      <a:pt x="53" y="616"/>
                    </a:lnTo>
                    <a:lnTo>
                      <a:pt x="53" y="614"/>
                    </a:lnTo>
                    <a:lnTo>
                      <a:pt x="53" y="612"/>
                    </a:lnTo>
                    <a:lnTo>
                      <a:pt x="51" y="612"/>
                    </a:lnTo>
                    <a:lnTo>
                      <a:pt x="53" y="612"/>
                    </a:lnTo>
                    <a:lnTo>
                      <a:pt x="53" y="610"/>
                    </a:lnTo>
                    <a:lnTo>
                      <a:pt x="53" y="612"/>
                    </a:lnTo>
                    <a:lnTo>
                      <a:pt x="51" y="612"/>
                    </a:lnTo>
                    <a:lnTo>
                      <a:pt x="51" y="610"/>
                    </a:lnTo>
                    <a:lnTo>
                      <a:pt x="49" y="610"/>
                    </a:lnTo>
                    <a:lnTo>
                      <a:pt x="49" y="612"/>
                    </a:lnTo>
                    <a:lnTo>
                      <a:pt x="47" y="612"/>
                    </a:lnTo>
                    <a:lnTo>
                      <a:pt x="47" y="610"/>
                    </a:lnTo>
                    <a:lnTo>
                      <a:pt x="45" y="610"/>
                    </a:lnTo>
                    <a:lnTo>
                      <a:pt x="43" y="610"/>
                    </a:lnTo>
                    <a:lnTo>
                      <a:pt x="43" y="609"/>
                    </a:lnTo>
                    <a:lnTo>
                      <a:pt x="43" y="607"/>
                    </a:lnTo>
                    <a:lnTo>
                      <a:pt x="41" y="607"/>
                    </a:lnTo>
                    <a:lnTo>
                      <a:pt x="41" y="605"/>
                    </a:lnTo>
                    <a:lnTo>
                      <a:pt x="41" y="603"/>
                    </a:lnTo>
                    <a:lnTo>
                      <a:pt x="39" y="603"/>
                    </a:lnTo>
                    <a:lnTo>
                      <a:pt x="39" y="601"/>
                    </a:lnTo>
                    <a:lnTo>
                      <a:pt x="37" y="601"/>
                    </a:lnTo>
                    <a:lnTo>
                      <a:pt x="36" y="601"/>
                    </a:lnTo>
                    <a:lnTo>
                      <a:pt x="36" y="603"/>
                    </a:lnTo>
                    <a:lnTo>
                      <a:pt x="36" y="605"/>
                    </a:lnTo>
                    <a:lnTo>
                      <a:pt x="34" y="605"/>
                    </a:lnTo>
                    <a:lnTo>
                      <a:pt x="34" y="607"/>
                    </a:lnTo>
                    <a:lnTo>
                      <a:pt x="32" y="607"/>
                    </a:lnTo>
                    <a:lnTo>
                      <a:pt x="32" y="609"/>
                    </a:lnTo>
                    <a:lnTo>
                      <a:pt x="32" y="610"/>
                    </a:lnTo>
                    <a:lnTo>
                      <a:pt x="30" y="610"/>
                    </a:lnTo>
                    <a:lnTo>
                      <a:pt x="28" y="610"/>
                    </a:lnTo>
                    <a:lnTo>
                      <a:pt x="28" y="609"/>
                    </a:lnTo>
                    <a:lnTo>
                      <a:pt x="26" y="609"/>
                    </a:lnTo>
                    <a:lnTo>
                      <a:pt x="26" y="607"/>
                    </a:lnTo>
                    <a:lnTo>
                      <a:pt x="26" y="605"/>
                    </a:lnTo>
                    <a:lnTo>
                      <a:pt x="26" y="603"/>
                    </a:lnTo>
                    <a:lnTo>
                      <a:pt x="24" y="603"/>
                    </a:lnTo>
                    <a:lnTo>
                      <a:pt x="24" y="601"/>
                    </a:lnTo>
                    <a:lnTo>
                      <a:pt x="22" y="601"/>
                    </a:lnTo>
                    <a:lnTo>
                      <a:pt x="22" y="599"/>
                    </a:lnTo>
                    <a:lnTo>
                      <a:pt x="24" y="597"/>
                    </a:lnTo>
                    <a:lnTo>
                      <a:pt x="22" y="597"/>
                    </a:lnTo>
                    <a:lnTo>
                      <a:pt x="21" y="597"/>
                    </a:lnTo>
                    <a:lnTo>
                      <a:pt x="19" y="597"/>
                    </a:lnTo>
                    <a:lnTo>
                      <a:pt x="19" y="595"/>
                    </a:lnTo>
                    <a:lnTo>
                      <a:pt x="17" y="595"/>
                    </a:lnTo>
                    <a:lnTo>
                      <a:pt x="17" y="594"/>
                    </a:lnTo>
                    <a:lnTo>
                      <a:pt x="19" y="594"/>
                    </a:lnTo>
                    <a:lnTo>
                      <a:pt x="21" y="594"/>
                    </a:lnTo>
                    <a:lnTo>
                      <a:pt x="21" y="592"/>
                    </a:lnTo>
                    <a:lnTo>
                      <a:pt x="19" y="590"/>
                    </a:lnTo>
                    <a:lnTo>
                      <a:pt x="21" y="590"/>
                    </a:lnTo>
                    <a:lnTo>
                      <a:pt x="21" y="588"/>
                    </a:lnTo>
                    <a:lnTo>
                      <a:pt x="19" y="588"/>
                    </a:lnTo>
                    <a:lnTo>
                      <a:pt x="19" y="586"/>
                    </a:lnTo>
                    <a:lnTo>
                      <a:pt x="21" y="586"/>
                    </a:lnTo>
                    <a:lnTo>
                      <a:pt x="19" y="584"/>
                    </a:lnTo>
                    <a:lnTo>
                      <a:pt x="17" y="584"/>
                    </a:lnTo>
                    <a:lnTo>
                      <a:pt x="17" y="582"/>
                    </a:lnTo>
                    <a:lnTo>
                      <a:pt x="15" y="582"/>
                    </a:lnTo>
                    <a:lnTo>
                      <a:pt x="13" y="582"/>
                    </a:lnTo>
                    <a:lnTo>
                      <a:pt x="13" y="580"/>
                    </a:lnTo>
                    <a:lnTo>
                      <a:pt x="15" y="580"/>
                    </a:lnTo>
                    <a:lnTo>
                      <a:pt x="17" y="580"/>
                    </a:lnTo>
                    <a:lnTo>
                      <a:pt x="17" y="578"/>
                    </a:lnTo>
                    <a:lnTo>
                      <a:pt x="19" y="578"/>
                    </a:lnTo>
                    <a:lnTo>
                      <a:pt x="21" y="578"/>
                    </a:lnTo>
                    <a:lnTo>
                      <a:pt x="21" y="577"/>
                    </a:lnTo>
                    <a:lnTo>
                      <a:pt x="19" y="577"/>
                    </a:lnTo>
                    <a:lnTo>
                      <a:pt x="19" y="575"/>
                    </a:lnTo>
                    <a:lnTo>
                      <a:pt x="17" y="575"/>
                    </a:lnTo>
                    <a:lnTo>
                      <a:pt x="15" y="575"/>
                    </a:lnTo>
                    <a:lnTo>
                      <a:pt x="17" y="575"/>
                    </a:lnTo>
                    <a:lnTo>
                      <a:pt x="17" y="573"/>
                    </a:lnTo>
                    <a:lnTo>
                      <a:pt x="19" y="573"/>
                    </a:lnTo>
                    <a:lnTo>
                      <a:pt x="19" y="571"/>
                    </a:lnTo>
                    <a:lnTo>
                      <a:pt x="17" y="571"/>
                    </a:lnTo>
                    <a:lnTo>
                      <a:pt x="17" y="569"/>
                    </a:lnTo>
                    <a:lnTo>
                      <a:pt x="15" y="569"/>
                    </a:lnTo>
                    <a:lnTo>
                      <a:pt x="13" y="569"/>
                    </a:lnTo>
                    <a:lnTo>
                      <a:pt x="11" y="569"/>
                    </a:lnTo>
                    <a:lnTo>
                      <a:pt x="11" y="567"/>
                    </a:lnTo>
                    <a:lnTo>
                      <a:pt x="11" y="565"/>
                    </a:lnTo>
                    <a:lnTo>
                      <a:pt x="9" y="565"/>
                    </a:lnTo>
                    <a:lnTo>
                      <a:pt x="7" y="565"/>
                    </a:lnTo>
                    <a:lnTo>
                      <a:pt x="7" y="567"/>
                    </a:lnTo>
                    <a:lnTo>
                      <a:pt x="6" y="567"/>
                    </a:lnTo>
                    <a:lnTo>
                      <a:pt x="6" y="569"/>
                    </a:lnTo>
                    <a:lnTo>
                      <a:pt x="4" y="569"/>
                    </a:lnTo>
                    <a:lnTo>
                      <a:pt x="2" y="569"/>
                    </a:lnTo>
                    <a:lnTo>
                      <a:pt x="0" y="569"/>
                    </a:lnTo>
                    <a:lnTo>
                      <a:pt x="2" y="567"/>
                    </a:lnTo>
                    <a:lnTo>
                      <a:pt x="2" y="565"/>
                    </a:lnTo>
                    <a:lnTo>
                      <a:pt x="2" y="563"/>
                    </a:lnTo>
                    <a:lnTo>
                      <a:pt x="4" y="563"/>
                    </a:lnTo>
                    <a:lnTo>
                      <a:pt x="4" y="562"/>
                    </a:lnTo>
                    <a:lnTo>
                      <a:pt x="6" y="562"/>
                    </a:lnTo>
                    <a:lnTo>
                      <a:pt x="6" y="560"/>
                    </a:lnTo>
                    <a:lnTo>
                      <a:pt x="7" y="554"/>
                    </a:lnTo>
                    <a:lnTo>
                      <a:pt x="7" y="548"/>
                    </a:lnTo>
                    <a:lnTo>
                      <a:pt x="7" y="546"/>
                    </a:lnTo>
                    <a:lnTo>
                      <a:pt x="7" y="545"/>
                    </a:lnTo>
                    <a:lnTo>
                      <a:pt x="9" y="545"/>
                    </a:lnTo>
                    <a:lnTo>
                      <a:pt x="9" y="543"/>
                    </a:lnTo>
                    <a:lnTo>
                      <a:pt x="11" y="541"/>
                    </a:lnTo>
                    <a:lnTo>
                      <a:pt x="11" y="539"/>
                    </a:lnTo>
                    <a:lnTo>
                      <a:pt x="13" y="537"/>
                    </a:lnTo>
                    <a:lnTo>
                      <a:pt x="15" y="537"/>
                    </a:lnTo>
                    <a:lnTo>
                      <a:pt x="15" y="535"/>
                    </a:lnTo>
                    <a:lnTo>
                      <a:pt x="17" y="535"/>
                    </a:lnTo>
                    <a:lnTo>
                      <a:pt x="17" y="533"/>
                    </a:lnTo>
                    <a:lnTo>
                      <a:pt x="19" y="533"/>
                    </a:lnTo>
                    <a:lnTo>
                      <a:pt x="19" y="531"/>
                    </a:lnTo>
                    <a:lnTo>
                      <a:pt x="19" y="530"/>
                    </a:lnTo>
                    <a:lnTo>
                      <a:pt x="19" y="528"/>
                    </a:lnTo>
                    <a:lnTo>
                      <a:pt x="19" y="526"/>
                    </a:lnTo>
                    <a:lnTo>
                      <a:pt x="19" y="524"/>
                    </a:lnTo>
                    <a:lnTo>
                      <a:pt x="21" y="522"/>
                    </a:lnTo>
                    <a:lnTo>
                      <a:pt x="22" y="520"/>
                    </a:lnTo>
                    <a:lnTo>
                      <a:pt x="24" y="520"/>
                    </a:lnTo>
                    <a:lnTo>
                      <a:pt x="22" y="518"/>
                    </a:lnTo>
                    <a:lnTo>
                      <a:pt x="26" y="511"/>
                    </a:lnTo>
                    <a:lnTo>
                      <a:pt x="53" y="503"/>
                    </a:lnTo>
                    <a:lnTo>
                      <a:pt x="58" y="503"/>
                    </a:lnTo>
                    <a:lnTo>
                      <a:pt x="68" y="509"/>
                    </a:lnTo>
                    <a:lnTo>
                      <a:pt x="75" y="501"/>
                    </a:lnTo>
                    <a:lnTo>
                      <a:pt x="77" y="497"/>
                    </a:lnTo>
                    <a:lnTo>
                      <a:pt x="79" y="501"/>
                    </a:lnTo>
                    <a:lnTo>
                      <a:pt x="83" y="503"/>
                    </a:lnTo>
                    <a:lnTo>
                      <a:pt x="85" y="501"/>
                    </a:lnTo>
                    <a:lnTo>
                      <a:pt x="88" y="496"/>
                    </a:lnTo>
                    <a:lnTo>
                      <a:pt x="83" y="488"/>
                    </a:lnTo>
                    <a:lnTo>
                      <a:pt x="88" y="481"/>
                    </a:lnTo>
                    <a:lnTo>
                      <a:pt x="92" y="477"/>
                    </a:lnTo>
                    <a:lnTo>
                      <a:pt x="96" y="467"/>
                    </a:lnTo>
                    <a:lnTo>
                      <a:pt x="100" y="469"/>
                    </a:lnTo>
                    <a:lnTo>
                      <a:pt x="101" y="469"/>
                    </a:lnTo>
                    <a:lnTo>
                      <a:pt x="107" y="471"/>
                    </a:lnTo>
                    <a:lnTo>
                      <a:pt x="115" y="467"/>
                    </a:lnTo>
                    <a:lnTo>
                      <a:pt x="115" y="462"/>
                    </a:lnTo>
                    <a:lnTo>
                      <a:pt x="116" y="462"/>
                    </a:lnTo>
                    <a:lnTo>
                      <a:pt x="120" y="460"/>
                    </a:lnTo>
                    <a:lnTo>
                      <a:pt x="124" y="456"/>
                    </a:lnTo>
                    <a:lnTo>
                      <a:pt x="128" y="452"/>
                    </a:lnTo>
                    <a:lnTo>
                      <a:pt x="130" y="452"/>
                    </a:lnTo>
                    <a:lnTo>
                      <a:pt x="139" y="454"/>
                    </a:lnTo>
                    <a:lnTo>
                      <a:pt x="143" y="443"/>
                    </a:lnTo>
                    <a:lnTo>
                      <a:pt x="145" y="441"/>
                    </a:lnTo>
                    <a:lnTo>
                      <a:pt x="145" y="437"/>
                    </a:lnTo>
                    <a:lnTo>
                      <a:pt x="150" y="433"/>
                    </a:lnTo>
                    <a:lnTo>
                      <a:pt x="156" y="428"/>
                    </a:lnTo>
                    <a:lnTo>
                      <a:pt x="156" y="424"/>
                    </a:lnTo>
                    <a:lnTo>
                      <a:pt x="164" y="422"/>
                    </a:lnTo>
                    <a:lnTo>
                      <a:pt x="173" y="417"/>
                    </a:lnTo>
                    <a:lnTo>
                      <a:pt x="177" y="418"/>
                    </a:lnTo>
                    <a:lnTo>
                      <a:pt x="190" y="415"/>
                    </a:lnTo>
                    <a:lnTo>
                      <a:pt x="192" y="415"/>
                    </a:lnTo>
                    <a:lnTo>
                      <a:pt x="192" y="411"/>
                    </a:lnTo>
                    <a:lnTo>
                      <a:pt x="192" y="409"/>
                    </a:lnTo>
                    <a:lnTo>
                      <a:pt x="188" y="407"/>
                    </a:lnTo>
                    <a:lnTo>
                      <a:pt x="190" y="405"/>
                    </a:lnTo>
                    <a:lnTo>
                      <a:pt x="194" y="398"/>
                    </a:lnTo>
                    <a:lnTo>
                      <a:pt x="203" y="396"/>
                    </a:lnTo>
                    <a:lnTo>
                      <a:pt x="203" y="392"/>
                    </a:lnTo>
                    <a:lnTo>
                      <a:pt x="203" y="386"/>
                    </a:lnTo>
                    <a:lnTo>
                      <a:pt x="199" y="385"/>
                    </a:lnTo>
                    <a:lnTo>
                      <a:pt x="201" y="381"/>
                    </a:lnTo>
                    <a:lnTo>
                      <a:pt x="199" y="373"/>
                    </a:lnTo>
                    <a:lnTo>
                      <a:pt x="201" y="369"/>
                    </a:lnTo>
                    <a:lnTo>
                      <a:pt x="194" y="364"/>
                    </a:lnTo>
                    <a:lnTo>
                      <a:pt x="190" y="358"/>
                    </a:lnTo>
                    <a:lnTo>
                      <a:pt x="195" y="349"/>
                    </a:lnTo>
                    <a:lnTo>
                      <a:pt x="195" y="345"/>
                    </a:lnTo>
                    <a:lnTo>
                      <a:pt x="195" y="343"/>
                    </a:lnTo>
                    <a:lnTo>
                      <a:pt x="197" y="339"/>
                    </a:lnTo>
                    <a:lnTo>
                      <a:pt x="199" y="336"/>
                    </a:lnTo>
                    <a:lnTo>
                      <a:pt x="201" y="334"/>
                    </a:lnTo>
                    <a:lnTo>
                      <a:pt x="203" y="332"/>
                    </a:lnTo>
                    <a:lnTo>
                      <a:pt x="205" y="332"/>
                    </a:lnTo>
                    <a:lnTo>
                      <a:pt x="207" y="332"/>
                    </a:lnTo>
                    <a:lnTo>
                      <a:pt x="205" y="330"/>
                    </a:lnTo>
                    <a:lnTo>
                      <a:pt x="205" y="328"/>
                    </a:lnTo>
                    <a:lnTo>
                      <a:pt x="203" y="328"/>
                    </a:lnTo>
                    <a:lnTo>
                      <a:pt x="201" y="326"/>
                    </a:lnTo>
                    <a:lnTo>
                      <a:pt x="203" y="324"/>
                    </a:lnTo>
                    <a:lnTo>
                      <a:pt x="201" y="322"/>
                    </a:lnTo>
                    <a:lnTo>
                      <a:pt x="199" y="322"/>
                    </a:lnTo>
                    <a:lnTo>
                      <a:pt x="201" y="321"/>
                    </a:lnTo>
                    <a:lnTo>
                      <a:pt x="203" y="322"/>
                    </a:lnTo>
                    <a:lnTo>
                      <a:pt x="205" y="321"/>
                    </a:lnTo>
                    <a:lnTo>
                      <a:pt x="207" y="319"/>
                    </a:lnTo>
                    <a:lnTo>
                      <a:pt x="207" y="317"/>
                    </a:lnTo>
                    <a:lnTo>
                      <a:pt x="209" y="317"/>
                    </a:lnTo>
                    <a:lnTo>
                      <a:pt x="209" y="315"/>
                    </a:lnTo>
                    <a:lnTo>
                      <a:pt x="209" y="313"/>
                    </a:lnTo>
                    <a:lnTo>
                      <a:pt x="207" y="311"/>
                    </a:lnTo>
                    <a:lnTo>
                      <a:pt x="209" y="311"/>
                    </a:lnTo>
                    <a:lnTo>
                      <a:pt x="209" y="309"/>
                    </a:lnTo>
                    <a:lnTo>
                      <a:pt x="209" y="307"/>
                    </a:lnTo>
                    <a:lnTo>
                      <a:pt x="209" y="305"/>
                    </a:lnTo>
                    <a:lnTo>
                      <a:pt x="209" y="304"/>
                    </a:lnTo>
                    <a:lnTo>
                      <a:pt x="211" y="304"/>
                    </a:lnTo>
                    <a:lnTo>
                      <a:pt x="212" y="304"/>
                    </a:lnTo>
                    <a:lnTo>
                      <a:pt x="212" y="302"/>
                    </a:lnTo>
                    <a:lnTo>
                      <a:pt x="212" y="300"/>
                    </a:lnTo>
                    <a:lnTo>
                      <a:pt x="211" y="300"/>
                    </a:lnTo>
                    <a:lnTo>
                      <a:pt x="211" y="298"/>
                    </a:lnTo>
                    <a:lnTo>
                      <a:pt x="211" y="296"/>
                    </a:lnTo>
                    <a:lnTo>
                      <a:pt x="211" y="294"/>
                    </a:lnTo>
                    <a:lnTo>
                      <a:pt x="212" y="292"/>
                    </a:lnTo>
                    <a:lnTo>
                      <a:pt x="214" y="290"/>
                    </a:lnTo>
                    <a:lnTo>
                      <a:pt x="216" y="292"/>
                    </a:lnTo>
                    <a:lnTo>
                      <a:pt x="216" y="290"/>
                    </a:lnTo>
                    <a:lnTo>
                      <a:pt x="218" y="290"/>
                    </a:lnTo>
                    <a:lnTo>
                      <a:pt x="220" y="290"/>
                    </a:lnTo>
                    <a:lnTo>
                      <a:pt x="220" y="289"/>
                    </a:lnTo>
                    <a:lnTo>
                      <a:pt x="220" y="287"/>
                    </a:lnTo>
                    <a:lnTo>
                      <a:pt x="218" y="287"/>
                    </a:lnTo>
                    <a:lnTo>
                      <a:pt x="218" y="285"/>
                    </a:lnTo>
                    <a:lnTo>
                      <a:pt x="216" y="285"/>
                    </a:lnTo>
                    <a:lnTo>
                      <a:pt x="214" y="285"/>
                    </a:lnTo>
                    <a:lnTo>
                      <a:pt x="216" y="283"/>
                    </a:lnTo>
                    <a:lnTo>
                      <a:pt x="214" y="281"/>
                    </a:lnTo>
                    <a:lnTo>
                      <a:pt x="214" y="279"/>
                    </a:lnTo>
                    <a:lnTo>
                      <a:pt x="214" y="277"/>
                    </a:lnTo>
                    <a:lnTo>
                      <a:pt x="212" y="277"/>
                    </a:lnTo>
                    <a:lnTo>
                      <a:pt x="212" y="275"/>
                    </a:lnTo>
                    <a:lnTo>
                      <a:pt x="214" y="273"/>
                    </a:lnTo>
                    <a:lnTo>
                      <a:pt x="212" y="272"/>
                    </a:lnTo>
                    <a:lnTo>
                      <a:pt x="214" y="270"/>
                    </a:lnTo>
                    <a:lnTo>
                      <a:pt x="214" y="266"/>
                    </a:lnTo>
                    <a:lnTo>
                      <a:pt x="214" y="264"/>
                    </a:lnTo>
                    <a:lnTo>
                      <a:pt x="214" y="262"/>
                    </a:lnTo>
                    <a:lnTo>
                      <a:pt x="214" y="260"/>
                    </a:lnTo>
                    <a:lnTo>
                      <a:pt x="214" y="257"/>
                    </a:lnTo>
                    <a:lnTo>
                      <a:pt x="212" y="257"/>
                    </a:lnTo>
                    <a:lnTo>
                      <a:pt x="211" y="257"/>
                    </a:lnTo>
                    <a:lnTo>
                      <a:pt x="211" y="255"/>
                    </a:lnTo>
                    <a:lnTo>
                      <a:pt x="209" y="255"/>
                    </a:lnTo>
                    <a:lnTo>
                      <a:pt x="209" y="253"/>
                    </a:lnTo>
                    <a:lnTo>
                      <a:pt x="209" y="251"/>
                    </a:lnTo>
                    <a:lnTo>
                      <a:pt x="207" y="251"/>
                    </a:lnTo>
                    <a:lnTo>
                      <a:pt x="205" y="249"/>
                    </a:lnTo>
                    <a:lnTo>
                      <a:pt x="205" y="245"/>
                    </a:lnTo>
                    <a:lnTo>
                      <a:pt x="205" y="243"/>
                    </a:lnTo>
                    <a:lnTo>
                      <a:pt x="207" y="240"/>
                    </a:lnTo>
                    <a:lnTo>
                      <a:pt x="209" y="240"/>
                    </a:lnTo>
                    <a:lnTo>
                      <a:pt x="211" y="240"/>
                    </a:lnTo>
                    <a:lnTo>
                      <a:pt x="212" y="240"/>
                    </a:lnTo>
                    <a:lnTo>
                      <a:pt x="214" y="240"/>
                    </a:lnTo>
                    <a:lnTo>
                      <a:pt x="214" y="238"/>
                    </a:lnTo>
                    <a:lnTo>
                      <a:pt x="216" y="238"/>
                    </a:lnTo>
                    <a:lnTo>
                      <a:pt x="218" y="236"/>
                    </a:lnTo>
                    <a:lnTo>
                      <a:pt x="216" y="236"/>
                    </a:lnTo>
                    <a:lnTo>
                      <a:pt x="218" y="236"/>
                    </a:lnTo>
                    <a:lnTo>
                      <a:pt x="218" y="234"/>
                    </a:lnTo>
                    <a:lnTo>
                      <a:pt x="220" y="234"/>
                    </a:lnTo>
                    <a:lnTo>
                      <a:pt x="220" y="232"/>
                    </a:lnTo>
                    <a:lnTo>
                      <a:pt x="220" y="230"/>
                    </a:lnTo>
                    <a:lnTo>
                      <a:pt x="222" y="230"/>
                    </a:lnTo>
                    <a:lnTo>
                      <a:pt x="224" y="232"/>
                    </a:lnTo>
                    <a:lnTo>
                      <a:pt x="226" y="232"/>
                    </a:lnTo>
                    <a:lnTo>
                      <a:pt x="226" y="230"/>
                    </a:lnTo>
                    <a:lnTo>
                      <a:pt x="227" y="228"/>
                    </a:lnTo>
                    <a:lnTo>
                      <a:pt x="229" y="228"/>
                    </a:lnTo>
                    <a:lnTo>
                      <a:pt x="231" y="226"/>
                    </a:lnTo>
                    <a:lnTo>
                      <a:pt x="233" y="228"/>
                    </a:lnTo>
                    <a:lnTo>
                      <a:pt x="233" y="225"/>
                    </a:lnTo>
                    <a:lnTo>
                      <a:pt x="233" y="223"/>
                    </a:lnTo>
                    <a:lnTo>
                      <a:pt x="233" y="221"/>
                    </a:lnTo>
                    <a:lnTo>
                      <a:pt x="233" y="219"/>
                    </a:lnTo>
                    <a:lnTo>
                      <a:pt x="233" y="217"/>
                    </a:lnTo>
                    <a:lnTo>
                      <a:pt x="231" y="217"/>
                    </a:lnTo>
                    <a:lnTo>
                      <a:pt x="231" y="215"/>
                    </a:lnTo>
                    <a:lnTo>
                      <a:pt x="229" y="213"/>
                    </a:lnTo>
                    <a:lnTo>
                      <a:pt x="229" y="211"/>
                    </a:lnTo>
                    <a:lnTo>
                      <a:pt x="227" y="208"/>
                    </a:lnTo>
                    <a:lnTo>
                      <a:pt x="224" y="208"/>
                    </a:lnTo>
                    <a:lnTo>
                      <a:pt x="224" y="206"/>
                    </a:lnTo>
                    <a:lnTo>
                      <a:pt x="222" y="206"/>
                    </a:lnTo>
                    <a:lnTo>
                      <a:pt x="218" y="208"/>
                    </a:lnTo>
                    <a:lnTo>
                      <a:pt x="214" y="206"/>
                    </a:lnTo>
                    <a:lnTo>
                      <a:pt x="214" y="204"/>
                    </a:lnTo>
                    <a:lnTo>
                      <a:pt x="214" y="202"/>
                    </a:lnTo>
                    <a:lnTo>
                      <a:pt x="214" y="200"/>
                    </a:lnTo>
                    <a:lnTo>
                      <a:pt x="218" y="196"/>
                    </a:lnTo>
                    <a:lnTo>
                      <a:pt x="220" y="196"/>
                    </a:lnTo>
                    <a:lnTo>
                      <a:pt x="216" y="194"/>
                    </a:lnTo>
                    <a:lnTo>
                      <a:pt x="214" y="193"/>
                    </a:lnTo>
                    <a:lnTo>
                      <a:pt x="212" y="193"/>
                    </a:lnTo>
                    <a:lnTo>
                      <a:pt x="214" y="189"/>
                    </a:lnTo>
                    <a:lnTo>
                      <a:pt x="216" y="191"/>
                    </a:lnTo>
                    <a:lnTo>
                      <a:pt x="218" y="189"/>
                    </a:lnTo>
                    <a:lnTo>
                      <a:pt x="220" y="185"/>
                    </a:lnTo>
                    <a:lnTo>
                      <a:pt x="227" y="183"/>
                    </a:lnTo>
                    <a:lnTo>
                      <a:pt x="231" y="187"/>
                    </a:lnTo>
                    <a:lnTo>
                      <a:pt x="233" y="187"/>
                    </a:lnTo>
                    <a:lnTo>
                      <a:pt x="235" y="189"/>
                    </a:lnTo>
                    <a:lnTo>
                      <a:pt x="237" y="187"/>
                    </a:lnTo>
                    <a:lnTo>
                      <a:pt x="237" y="185"/>
                    </a:lnTo>
                    <a:lnTo>
                      <a:pt x="239" y="185"/>
                    </a:lnTo>
                    <a:lnTo>
                      <a:pt x="241" y="185"/>
                    </a:lnTo>
                    <a:lnTo>
                      <a:pt x="241" y="183"/>
                    </a:lnTo>
                    <a:lnTo>
                      <a:pt x="241" y="181"/>
                    </a:lnTo>
                    <a:lnTo>
                      <a:pt x="241" y="179"/>
                    </a:lnTo>
                    <a:lnTo>
                      <a:pt x="243" y="179"/>
                    </a:lnTo>
                    <a:lnTo>
                      <a:pt x="243" y="174"/>
                    </a:lnTo>
                    <a:lnTo>
                      <a:pt x="244" y="174"/>
                    </a:lnTo>
                    <a:lnTo>
                      <a:pt x="246" y="172"/>
                    </a:lnTo>
                    <a:lnTo>
                      <a:pt x="246" y="170"/>
                    </a:lnTo>
                    <a:lnTo>
                      <a:pt x="246" y="168"/>
                    </a:lnTo>
                    <a:lnTo>
                      <a:pt x="248" y="164"/>
                    </a:lnTo>
                    <a:lnTo>
                      <a:pt x="250" y="164"/>
                    </a:lnTo>
                    <a:lnTo>
                      <a:pt x="250" y="166"/>
                    </a:lnTo>
                    <a:lnTo>
                      <a:pt x="252" y="166"/>
                    </a:lnTo>
                    <a:lnTo>
                      <a:pt x="254" y="166"/>
                    </a:lnTo>
                    <a:lnTo>
                      <a:pt x="256" y="166"/>
                    </a:lnTo>
                    <a:lnTo>
                      <a:pt x="258" y="166"/>
                    </a:lnTo>
                    <a:lnTo>
                      <a:pt x="258" y="164"/>
                    </a:lnTo>
                    <a:lnTo>
                      <a:pt x="259" y="164"/>
                    </a:lnTo>
                    <a:lnTo>
                      <a:pt x="259" y="166"/>
                    </a:lnTo>
                    <a:lnTo>
                      <a:pt x="261" y="166"/>
                    </a:lnTo>
                    <a:lnTo>
                      <a:pt x="263" y="166"/>
                    </a:lnTo>
                    <a:lnTo>
                      <a:pt x="265" y="164"/>
                    </a:lnTo>
                    <a:lnTo>
                      <a:pt x="265" y="162"/>
                    </a:lnTo>
                    <a:lnTo>
                      <a:pt x="267" y="159"/>
                    </a:lnTo>
                    <a:lnTo>
                      <a:pt x="276" y="161"/>
                    </a:lnTo>
                    <a:lnTo>
                      <a:pt x="282" y="162"/>
                    </a:lnTo>
                    <a:lnTo>
                      <a:pt x="284" y="162"/>
                    </a:lnTo>
                    <a:lnTo>
                      <a:pt x="288" y="168"/>
                    </a:lnTo>
                    <a:lnTo>
                      <a:pt x="290" y="168"/>
                    </a:lnTo>
                    <a:lnTo>
                      <a:pt x="290" y="170"/>
                    </a:lnTo>
                    <a:lnTo>
                      <a:pt x="291" y="170"/>
                    </a:lnTo>
                    <a:lnTo>
                      <a:pt x="293" y="170"/>
                    </a:lnTo>
                    <a:lnTo>
                      <a:pt x="295" y="170"/>
                    </a:lnTo>
                    <a:lnTo>
                      <a:pt x="297" y="168"/>
                    </a:lnTo>
                    <a:lnTo>
                      <a:pt x="299" y="168"/>
                    </a:lnTo>
                    <a:lnTo>
                      <a:pt x="301" y="168"/>
                    </a:lnTo>
                    <a:lnTo>
                      <a:pt x="301" y="166"/>
                    </a:lnTo>
                    <a:lnTo>
                      <a:pt x="303" y="164"/>
                    </a:lnTo>
                    <a:lnTo>
                      <a:pt x="306" y="161"/>
                    </a:lnTo>
                    <a:lnTo>
                      <a:pt x="308" y="162"/>
                    </a:lnTo>
                    <a:lnTo>
                      <a:pt x="310" y="162"/>
                    </a:lnTo>
                    <a:lnTo>
                      <a:pt x="316" y="166"/>
                    </a:lnTo>
                    <a:lnTo>
                      <a:pt x="318" y="168"/>
                    </a:lnTo>
                    <a:lnTo>
                      <a:pt x="320" y="170"/>
                    </a:lnTo>
                    <a:lnTo>
                      <a:pt x="325" y="176"/>
                    </a:lnTo>
                    <a:lnTo>
                      <a:pt x="327" y="174"/>
                    </a:lnTo>
                    <a:lnTo>
                      <a:pt x="327" y="172"/>
                    </a:lnTo>
                    <a:lnTo>
                      <a:pt x="327" y="170"/>
                    </a:lnTo>
                    <a:lnTo>
                      <a:pt x="327" y="168"/>
                    </a:lnTo>
                    <a:lnTo>
                      <a:pt x="329" y="168"/>
                    </a:lnTo>
                    <a:lnTo>
                      <a:pt x="331" y="168"/>
                    </a:lnTo>
                    <a:lnTo>
                      <a:pt x="335" y="164"/>
                    </a:lnTo>
                    <a:lnTo>
                      <a:pt x="337" y="162"/>
                    </a:lnTo>
                    <a:lnTo>
                      <a:pt x="338" y="159"/>
                    </a:lnTo>
                    <a:lnTo>
                      <a:pt x="348" y="161"/>
                    </a:lnTo>
                    <a:lnTo>
                      <a:pt x="348" y="166"/>
                    </a:lnTo>
                    <a:lnTo>
                      <a:pt x="350" y="164"/>
                    </a:lnTo>
                    <a:lnTo>
                      <a:pt x="352" y="164"/>
                    </a:lnTo>
                    <a:lnTo>
                      <a:pt x="352" y="162"/>
                    </a:lnTo>
                    <a:lnTo>
                      <a:pt x="353" y="162"/>
                    </a:lnTo>
                    <a:lnTo>
                      <a:pt x="359" y="162"/>
                    </a:lnTo>
                    <a:lnTo>
                      <a:pt x="361" y="157"/>
                    </a:lnTo>
                    <a:lnTo>
                      <a:pt x="359" y="151"/>
                    </a:lnTo>
                    <a:lnTo>
                      <a:pt x="361" y="151"/>
                    </a:lnTo>
                    <a:lnTo>
                      <a:pt x="361" y="147"/>
                    </a:lnTo>
                    <a:lnTo>
                      <a:pt x="365" y="147"/>
                    </a:lnTo>
                    <a:lnTo>
                      <a:pt x="370" y="144"/>
                    </a:lnTo>
                    <a:lnTo>
                      <a:pt x="372" y="142"/>
                    </a:lnTo>
                    <a:lnTo>
                      <a:pt x="376" y="144"/>
                    </a:lnTo>
                    <a:lnTo>
                      <a:pt x="382" y="145"/>
                    </a:lnTo>
                    <a:lnTo>
                      <a:pt x="382" y="138"/>
                    </a:lnTo>
                    <a:lnTo>
                      <a:pt x="382" y="134"/>
                    </a:lnTo>
                    <a:lnTo>
                      <a:pt x="382" y="132"/>
                    </a:lnTo>
                    <a:lnTo>
                      <a:pt x="389" y="134"/>
                    </a:lnTo>
                    <a:lnTo>
                      <a:pt x="397" y="134"/>
                    </a:lnTo>
                    <a:lnTo>
                      <a:pt x="397" y="138"/>
                    </a:lnTo>
                    <a:lnTo>
                      <a:pt x="397" y="140"/>
                    </a:lnTo>
                    <a:lnTo>
                      <a:pt x="397" y="147"/>
                    </a:lnTo>
                    <a:lnTo>
                      <a:pt x="399" y="149"/>
                    </a:lnTo>
                    <a:lnTo>
                      <a:pt x="402" y="149"/>
                    </a:lnTo>
                    <a:lnTo>
                      <a:pt x="402" y="151"/>
                    </a:lnTo>
                    <a:lnTo>
                      <a:pt x="402" y="149"/>
                    </a:lnTo>
                    <a:lnTo>
                      <a:pt x="404" y="149"/>
                    </a:lnTo>
                    <a:lnTo>
                      <a:pt x="406" y="149"/>
                    </a:lnTo>
                    <a:lnTo>
                      <a:pt x="408" y="149"/>
                    </a:lnTo>
                    <a:lnTo>
                      <a:pt x="410" y="147"/>
                    </a:lnTo>
                    <a:lnTo>
                      <a:pt x="412" y="147"/>
                    </a:lnTo>
                    <a:lnTo>
                      <a:pt x="414" y="147"/>
                    </a:lnTo>
                    <a:lnTo>
                      <a:pt x="414" y="145"/>
                    </a:lnTo>
                    <a:lnTo>
                      <a:pt x="416" y="145"/>
                    </a:lnTo>
                    <a:lnTo>
                      <a:pt x="417" y="145"/>
                    </a:lnTo>
                    <a:lnTo>
                      <a:pt x="419" y="145"/>
                    </a:lnTo>
                    <a:lnTo>
                      <a:pt x="421" y="145"/>
                    </a:lnTo>
                    <a:lnTo>
                      <a:pt x="421" y="147"/>
                    </a:lnTo>
                    <a:lnTo>
                      <a:pt x="423" y="147"/>
                    </a:lnTo>
                    <a:lnTo>
                      <a:pt x="425" y="147"/>
                    </a:lnTo>
                    <a:lnTo>
                      <a:pt x="427" y="147"/>
                    </a:lnTo>
                    <a:lnTo>
                      <a:pt x="427" y="149"/>
                    </a:lnTo>
                    <a:lnTo>
                      <a:pt x="429" y="149"/>
                    </a:lnTo>
                    <a:lnTo>
                      <a:pt x="431" y="149"/>
                    </a:lnTo>
                    <a:lnTo>
                      <a:pt x="431" y="151"/>
                    </a:lnTo>
                    <a:lnTo>
                      <a:pt x="432" y="149"/>
                    </a:lnTo>
                    <a:lnTo>
                      <a:pt x="434" y="149"/>
                    </a:lnTo>
                    <a:lnTo>
                      <a:pt x="436" y="149"/>
                    </a:lnTo>
                    <a:lnTo>
                      <a:pt x="438" y="149"/>
                    </a:lnTo>
                    <a:lnTo>
                      <a:pt x="440" y="149"/>
                    </a:lnTo>
                    <a:lnTo>
                      <a:pt x="448" y="144"/>
                    </a:lnTo>
                    <a:lnTo>
                      <a:pt x="457" y="138"/>
                    </a:lnTo>
                    <a:lnTo>
                      <a:pt x="468" y="138"/>
                    </a:lnTo>
                    <a:lnTo>
                      <a:pt x="470" y="138"/>
                    </a:lnTo>
                    <a:lnTo>
                      <a:pt x="472" y="138"/>
                    </a:lnTo>
                    <a:lnTo>
                      <a:pt x="472" y="140"/>
                    </a:lnTo>
                    <a:lnTo>
                      <a:pt x="474" y="140"/>
                    </a:lnTo>
                    <a:lnTo>
                      <a:pt x="474" y="142"/>
                    </a:lnTo>
                    <a:lnTo>
                      <a:pt x="476" y="142"/>
                    </a:lnTo>
                    <a:lnTo>
                      <a:pt x="478" y="140"/>
                    </a:lnTo>
                    <a:lnTo>
                      <a:pt x="478" y="142"/>
                    </a:lnTo>
                    <a:lnTo>
                      <a:pt x="478" y="144"/>
                    </a:lnTo>
                    <a:lnTo>
                      <a:pt x="479" y="144"/>
                    </a:lnTo>
                    <a:lnTo>
                      <a:pt x="479" y="142"/>
                    </a:lnTo>
                    <a:lnTo>
                      <a:pt x="481" y="142"/>
                    </a:lnTo>
                    <a:lnTo>
                      <a:pt x="481" y="144"/>
                    </a:lnTo>
                    <a:lnTo>
                      <a:pt x="483" y="144"/>
                    </a:lnTo>
                    <a:lnTo>
                      <a:pt x="483" y="145"/>
                    </a:lnTo>
                    <a:lnTo>
                      <a:pt x="483" y="147"/>
                    </a:lnTo>
                    <a:lnTo>
                      <a:pt x="485" y="147"/>
                    </a:lnTo>
                    <a:lnTo>
                      <a:pt x="485" y="149"/>
                    </a:lnTo>
                    <a:lnTo>
                      <a:pt x="487" y="149"/>
                    </a:lnTo>
                    <a:lnTo>
                      <a:pt x="489" y="149"/>
                    </a:lnTo>
                    <a:lnTo>
                      <a:pt x="489" y="147"/>
                    </a:lnTo>
                    <a:lnTo>
                      <a:pt x="487" y="147"/>
                    </a:lnTo>
                    <a:lnTo>
                      <a:pt x="487" y="145"/>
                    </a:lnTo>
                    <a:lnTo>
                      <a:pt x="487" y="147"/>
                    </a:lnTo>
                    <a:lnTo>
                      <a:pt x="489" y="147"/>
                    </a:lnTo>
                    <a:lnTo>
                      <a:pt x="489" y="145"/>
                    </a:lnTo>
                    <a:lnTo>
                      <a:pt x="491" y="145"/>
                    </a:lnTo>
                    <a:lnTo>
                      <a:pt x="491" y="147"/>
                    </a:lnTo>
                    <a:lnTo>
                      <a:pt x="491" y="149"/>
                    </a:lnTo>
                    <a:lnTo>
                      <a:pt x="493" y="149"/>
                    </a:lnTo>
                    <a:lnTo>
                      <a:pt x="495" y="149"/>
                    </a:lnTo>
                    <a:lnTo>
                      <a:pt x="495" y="151"/>
                    </a:lnTo>
                    <a:lnTo>
                      <a:pt x="493" y="151"/>
                    </a:lnTo>
                    <a:lnTo>
                      <a:pt x="495" y="153"/>
                    </a:lnTo>
                    <a:lnTo>
                      <a:pt x="495" y="151"/>
                    </a:lnTo>
                    <a:lnTo>
                      <a:pt x="496" y="151"/>
                    </a:lnTo>
                    <a:lnTo>
                      <a:pt x="496" y="153"/>
                    </a:lnTo>
                    <a:lnTo>
                      <a:pt x="495" y="153"/>
                    </a:lnTo>
                    <a:lnTo>
                      <a:pt x="496" y="153"/>
                    </a:lnTo>
                    <a:lnTo>
                      <a:pt x="498" y="153"/>
                    </a:lnTo>
                    <a:lnTo>
                      <a:pt x="500" y="155"/>
                    </a:lnTo>
                    <a:lnTo>
                      <a:pt x="498" y="155"/>
                    </a:lnTo>
                    <a:lnTo>
                      <a:pt x="498" y="157"/>
                    </a:lnTo>
                    <a:lnTo>
                      <a:pt x="498" y="159"/>
                    </a:lnTo>
                    <a:lnTo>
                      <a:pt x="498" y="157"/>
                    </a:lnTo>
                    <a:lnTo>
                      <a:pt x="500" y="157"/>
                    </a:lnTo>
                    <a:lnTo>
                      <a:pt x="502" y="157"/>
                    </a:lnTo>
                    <a:lnTo>
                      <a:pt x="504" y="157"/>
                    </a:lnTo>
                    <a:lnTo>
                      <a:pt x="504" y="155"/>
                    </a:lnTo>
                    <a:lnTo>
                      <a:pt x="506" y="155"/>
                    </a:lnTo>
                    <a:lnTo>
                      <a:pt x="508" y="155"/>
                    </a:lnTo>
                    <a:lnTo>
                      <a:pt x="508" y="153"/>
                    </a:lnTo>
                    <a:lnTo>
                      <a:pt x="510" y="153"/>
                    </a:lnTo>
                    <a:lnTo>
                      <a:pt x="508" y="153"/>
                    </a:lnTo>
                    <a:lnTo>
                      <a:pt x="510" y="151"/>
                    </a:lnTo>
                    <a:lnTo>
                      <a:pt x="510" y="149"/>
                    </a:lnTo>
                    <a:lnTo>
                      <a:pt x="510" y="147"/>
                    </a:lnTo>
                    <a:lnTo>
                      <a:pt x="510" y="145"/>
                    </a:lnTo>
                    <a:lnTo>
                      <a:pt x="511" y="145"/>
                    </a:lnTo>
                    <a:lnTo>
                      <a:pt x="511" y="147"/>
                    </a:lnTo>
                    <a:lnTo>
                      <a:pt x="513" y="145"/>
                    </a:lnTo>
                    <a:lnTo>
                      <a:pt x="515" y="145"/>
                    </a:lnTo>
                    <a:lnTo>
                      <a:pt x="517" y="145"/>
                    </a:lnTo>
                    <a:lnTo>
                      <a:pt x="519" y="145"/>
                    </a:lnTo>
                    <a:lnTo>
                      <a:pt x="519" y="144"/>
                    </a:lnTo>
                    <a:lnTo>
                      <a:pt x="521" y="144"/>
                    </a:lnTo>
                    <a:lnTo>
                      <a:pt x="521" y="145"/>
                    </a:lnTo>
                    <a:lnTo>
                      <a:pt x="521" y="144"/>
                    </a:lnTo>
                    <a:lnTo>
                      <a:pt x="523" y="144"/>
                    </a:lnTo>
                    <a:lnTo>
                      <a:pt x="525" y="144"/>
                    </a:lnTo>
                    <a:lnTo>
                      <a:pt x="525" y="145"/>
                    </a:lnTo>
                    <a:lnTo>
                      <a:pt x="525" y="147"/>
                    </a:lnTo>
                    <a:lnTo>
                      <a:pt x="525" y="149"/>
                    </a:lnTo>
                    <a:lnTo>
                      <a:pt x="525" y="151"/>
                    </a:lnTo>
                    <a:lnTo>
                      <a:pt x="525" y="153"/>
                    </a:lnTo>
                    <a:lnTo>
                      <a:pt x="527" y="153"/>
                    </a:lnTo>
                    <a:lnTo>
                      <a:pt x="527" y="155"/>
                    </a:lnTo>
                    <a:lnTo>
                      <a:pt x="528" y="155"/>
                    </a:lnTo>
                    <a:lnTo>
                      <a:pt x="528" y="157"/>
                    </a:lnTo>
                    <a:lnTo>
                      <a:pt x="528" y="159"/>
                    </a:lnTo>
                    <a:lnTo>
                      <a:pt x="528" y="161"/>
                    </a:lnTo>
                    <a:lnTo>
                      <a:pt x="528" y="162"/>
                    </a:lnTo>
                    <a:lnTo>
                      <a:pt x="530" y="162"/>
                    </a:lnTo>
                    <a:lnTo>
                      <a:pt x="530" y="161"/>
                    </a:lnTo>
                    <a:lnTo>
                      <a:pt x="532" y="161"/>
                    </a:lnTo>
                    <a:lnTo>
                      <a:pt x="532" y="159"/>
                    </a:lnTo>
                    <a:lnTo>
                      <a:pt x="534" y="161"/>
                    </a:lnTo>
                    <a:lnTo>
                      <a:pt x="536" y="161"/>
                    </a:lnTo>
                    <a:lnTo>
                      <a:pt x="538" y="161"/>
                    </a:lnTo>
                    <a:lnTo>
                      <a:pt x="538" y="159"/>
                    </a:lnTo>
                    <a:lnTo>
                      <a:pt x="540" y="159"/>
                    </a:lnTo>
                    <a:lnTo>
                      <a:pt x="542" y="159"/>
                    </a:lnTo>
                    <a:lnTo>
                      <a:pt x="543" y="159"/>
                    </a:lnTo>
                    <a:lnTo>
                      <a:pt x="545" y="159"/>
                    </a:lnTo>
                    <a:lnTo>
                      <a:pt x="545" y="157"/>
                    </a:lnTo>
                    <a:lnTo>
                      <a:pt x="547" y="157"/>
                    </a:lnTo>
                    <a:lnTo>
                      <a:pt x="547" y="159"/>
                    </a:lnTo>
                    <a:lnTo>
                      <a:pt x="549" y="159"/>
                    </a:lnTo>
                    <a:lnTo>
                      <a:pt x="549" y="161"/>
                    </a:lnTo>
                    <a:lnTo>
                      <a:pt x="549" y="159"/>
                    </a:lnTo>
                    <a:lnTo>
                      <a:pt x="549" y="157"/>
                    </a:lnTo>
                    <a:lnTo>
                      <a:pt x="551" y="157"/>
                    </a:lnTo>
                    <a:lnTo>
                      <a:pt x="551" y="155"/>
                    </a:lnTo>
                    <a:lnTo>
                      <a:pt x="553" y="155"/>
                    </a:lnTo>
                    <a:lnTo>
                      <a:pt x="553" y="157"/>
                    </a:lnTo>
                    <a:lnTo>
                      <a:pt x="555" y="157"/>
                    </a:lnTo>
                    <a:lnTo>
                      <a:pt x="557" y="157"/>
                    </a:lnTo>
                    <a:lnTo>
                      <a:pt x="557" y="155"/>
                    </a:lnTo>
                    <a:lnTo>
                      <a:pt x="558" y="153"/>
                    </a:lnTo>
                    <a:lnTo>
                      <a:pt x="560" y="153"/>
                    </a:lnTo>
                    <a:lnTo>
                      <a:pt x="562" y="153"/>
                    </a:lnTo>
                    <a:lnTo>
                      <a:pt x="562" y="155"/>
                    </a:lnTo>
                    <a:lnTo>
                      <a:pt x="564" y="155"/>
                    </a:lnTo>
                    <a:lnTo>
                      <a:pt x="564" y="153"/>
                    </a:lnTo>
                    <a:lnTo>
                      <a:pt x="566" y="153"/>
                    </a:lnTo>
                    <a:lnTo>
                      <a:pt x="566" y="151"/>
                    </a:lnTo>
                    <a:lnTo>
                      <a:pt x="568" y="151"/>
                    </a:lnTo>
                    <a:lnTo>
                      <a:pt x="570" y="151"/>
                    </a:lnTo>
                    <a:lnTo>
                      <a:pt x="570" y="153"/>
                    </a:lnTo>
                    <a:lnTo>
                      <a:pt x="572" y="155"/>
                    </a:lnTo>
                    <a:lnTo>
                      <a:pt x="577" y="159"/>
                    </a:lnTo>
                    <a:lnTo>
                      <a:pt x="579" y="161"/>
                    </a:lnTo>
                    <a:lnTo>
                      <a:pt x="587" y="162"/>
                    </a:lnTo>
                    <a:lnTo>
                      <a:pt x="592" y="153"/>
                    </a:lnTo>
                    <a:lnTo>
                      <a:pt x="594" y="151"/>
                    </a:lnTo>
                    <a:lnTo>
                      <a:pt x="596" y="147"/>
                    </a:lnTo>
                    <a:lnTo>
                      <a:pt x="604" y="140"/>
                    </a:lnTo>
                    <a:lnTo>
                      <a:pt x="606" y="136"/>
                    </a:lnTo>
                    <a:lnTo>
                      <a:pt x="607" y="134"/>
                    </a:lnTo>
                    <a:lnTo>
                      <a:pt x="609" y="132"/>
                    </a:lnTo>
                    <a:lnTo>
                      <a:pt x="613" y="129"/>
                    </a:lnTo>
                    <a:lnTo>
                      <a:pt x="615" y="127"/>
                    </a:lnTo>
                    <a:lnTo>
                      <a:pt x="619" y="129"/>
                    </a:lnTo>
                    <a:lnTo>
                      <a:pt x="626" y="130"/>
                    </a:lnTo>
                    <a:lnTo>
                      <a:pt x="637" y="134"/>
                    </a:lnTo>
                    <a:lnTo>
                      <a:pt x="643" y="136"/>
                    </a:lnTo>
                    <a:lnTo>
                      <a:pt x="645" y="138"/>
                    </a:lnTo>
                    <a:lnTo>
                      <a:pt x="656" y="142"/>
                    </a:lnTo>
                    <a:lnTo>
                      <a:pt x="668" y="145"/>
                    </a:lnTo>
                    <a:lnTo>
                      <a:pt x="669" y="147"/>
                    </a:lnTo>
                    <a:lnTo>
                      <a:pt x="671" y="147"/>
                    </a:lnTo>
                    <a:lnTo>
                      <a:pt x="675" y="147"/>
                    </a:lnTo>
                    <a:lnTo>
                      <a:pt x="686" y="147"/>
                    </a:lnTo>
                    <a:lnTo>
                      <a:pt x="688" y="147"/>
                    </a:lnTo>
                    <a:lnTo>
                      <a:pt x="694" y="147"/>
                    </a:lnTo>
                    <a:lnTo>
                      <a:pt x="700" y="147"/>
                    </a:lnTo>
                    <a:lnTo>
                      <a:pt x="724" y="147"/>
                    </a:lnTo>
                    <a:lnTo>
                      <a:pt x="735" y="147"/>
                    </a:lnTo>
                    <a:lnTo>
                      <a:pt x="750" y="147"/>
                    </a:lnTo>
                    <a:lnTo>
                      <a:pt x="771" y="147"/>
                    </a:lnTo>
                    <a:lnTo>
                      <a:pt x="782" y="147"/>
                    </a:lnTo>
                    <a:lnTo>
                      <a:pt x="788" y="147"/>
                    </a:lnTo>
                    <a:lnTo>
                      <a:pt x="794" y="147"/>
                    </a:lnTo>
                    <a:lnTo>
                      <a:pt x="794" y="145"/>
                    </a:lnTo>
                    <a:lnTo>
                      <a:pt x="794" y="144"/>
                    </a:lnTo>
                    <a:lnTo>
                      <a:pt x="794" y="129"/>
                    </a:lnTo>
                    <a:lnTo>
                      <a:pt x="794" y="121"/>
                    </a:lnTo>
                    <a:lnTo>
                      <a:pt x="794" y="112"/>
                    </a:lnTo>
                    <a:lnTo>
                      <a:pt x="794" y="104"/>
                    </a:lnTo>
                    <a:lnTo>
                      <a:pt x="794" y="98"/>
                    </a:lnTo>
                    <a:lnTo>
                      <a:pt x="794" y="93"/>
                    </a:lnTo>
                    <a:lnTo>
                      <a:pt x="794" y="91"/>
                    </a:lnTo>
                    <a:lnTo>
                      <a:pt x="794" y="89"/>
                    </a:lnTo>
                    <a:lnTo>
                      <a:pt x="794" y="81"/>
                    </a:lnTo>
                    <a:lnTo>
                      <a:pt x="795" y="72"/>
                    </a:lnTo>
                    <a:lnTo>
                      <a:pt x="795" y="68"/>
                    </a:lnTo>
                    <a:lnTo>
                      <a:pt x="795" y="57"/>
                    </a:lnTo>
                    <a:lnTo>
                      <a:pt x="797" y="46"/>
                    </a:lnTo>
                    <a:lnTo>
                      <a:pt x="799" y="42"/>
                    </a:lnTo>
                    <a:lnTo>
                      <a:pt x="799" y="38"/>
                    </a:lnTo>
                    <a:lnTo>
                      <a:pt x="799" y="34"/>
                    </a:lnTo>
                    <a:lnTo>
                      <a:pt x="799" y="29"/>
                    </a:lnTo>
                    <a:lnTo>
                      <a:pt x="803" y="10"/>
                    </a:lnTo>
                    <a:lnTo>
                      <a:pt x="803" y="4"/>
                    </a:lnTo>
                    <a:lnTo>
                      <a:pt x="803" y="2"/>
                    </a:lnTo>
                    <a:lnTo>
                      <a:pt x="803" y="0"/>
                    </a:lnTo>
                    <a:lnTo>
                      <a:pt x="805" y="0"/>
                    </a:lnTo>
                    <a:lnTo>
                      <a:pt x="807" y="0"/>
                    </a:lnTo>
                    <a:lnTo>
                      <a:pt x="809" y="0"/>
                    </a:lnTo>
                    <a:lnTo>
                      <a:pt x="809" y="2"/>
                    </a:lnTo>
                    <a:lnTo>
                      <a:pt x="811" y="2"/>
                    </a:lnTo>
                    <a:lnTo>
                      <a:pt x="811" y="4"/>
                    </a:lnTo>
                    <a:lnTo>
                      <a:pt x="812" y="4"/>
                    </a:lnTo>
                    <a:lnTo>
                      <a:pt x="814" y="4"/>
                    </a:lnTo>
                    <a:lnTo>
                      <a:pt x="814" y="2"/>
                    </a:lnTo>
                    <a:lnTo>
                      <a:pt x="816" y="2"/>
                    </a:lnTo>
                    <a:lnTo>
                      <a:pt x="818" y="2"/>
                    </a:lnTo>
                    <a:lnTo>
                      <a:pt x="818" y="0"/>
                    </a:lnTo>
                    <a:lnTo>
                      <a:pt x="820" y="0"/>
                    </a:lnTo>
                    <a:lnTo>
                      <a:pt x="822" y="0"/>
                    </a:lnTo>
                    <a:lnTo>
                      <a:pt x="824" y="0"/>
                    </a:lnTo>
                    <a:lnTo>
                      <a:pt x="826" y="0"/>
                    </a:lnTo>
                    <a:lnTo>
                      <a:pt x="826" y="2"/>
                    </a:lnTo>
                    <a:lnTo>
                      <a:pt x="827" y="2"/>
                    </a:lnTo>
                    <a:lnTo>
                      <a:pt x="827" y="4"/>
                    </a:lnTo>
                    <a:lnTo>
                      <a:pt x="827" y="6"/>
                    </a:lnTo>
                    <a:lnTo>
                      <a:pt x="829" y="8"/>
                    </a:lnTo>
                    <a:lnTo>
                      <a:pt x="829" y="10"/>
                    </a:lnTo>
                    <a:lnTo>
                      <a:pt x="831" y="10"/>
                    </a:lnTo>
                    <a:lnTo>
                      <a:pt x="833" y="10"/>
                    </a:lnTo>
                    <a:lnTo>
                      <a:pt x="835" y="10"/>
                    </a:lnTo>
                    <a:lnTo>
                      <a:pt x="835" y="12"/>
                    </a:lnTo>
                    <a:lnTo>
                      <a:pt x="837" y="12"/>
                    </a:lnTo>
                    <a:lnTo>
                      <a:pt x="837" y="14"/>
                    </a:lnTo>
                    <a:lnTo>
                      <a:pt x="839" y="14"/>
                    </a:lnTo>
                    <a:lnTo>
                      <a:pt x="839" y="16"/>
                    </a:lnTo>
                    <a:lnTo>
                      <a:pt x="841" y="16"/>
                    </a:lnTo>
                    <a:lnTo>
                      <a:pt x="843" y="16"/>
                    </a:lnTo>
                    <a:lnTo>
                      <a:pt x="844" y="16"/>
                    </a:lnTo>
                    <a:lnTo>
                      <a:pt x="844" y="17"/>
                    </a:lnTo>
                    <a:lnTo>
                      <a:pt x="846" y="17"/>
                    </a:lnTo>
                    <a:lnTo>
                      <a:pt x="848" y="16"/>
                    </a:lnTo>
                    <a:lnTo>
                      <a:pt x="850" y="16"/>
                    </a:lnTo>
                    <a:lnTo>
                      <a:pt x="852" y="16"/>
                    </a:lnTo>
                    <a:lnTo>
                      <a:pt x="852" y="14"/>
                    </a:lnTo>
                    <a:lnTo>
                      <a:pt x="852" y="12"/>
                    </a:lnTo>
                    <a:lnTo>
                      <a:pt x="852" y="10"/>
                    </a:lnTo>
                    <a:lnTo>
                      <a:pt x="854" y="10"/>
                    </a:lnTo>
                    <a:lnTo>
                      <a:pt x="854" y="8"/>
                    </a:lnTo>
                    <a:lnTo>
                      <a:pt x="856" y="8"/>
                    </a:lnTo>
                    <a:lnTo>
                      <a:pt x="858" y="8"/>
                    </a:lnTo>
                    <a:lnTo>
                      <a:pt x="858" y="10"/>
                    </a:lnTo>
                    <a:lnTo>
                      <a:pt x="859" y="10"/>
                    </a:lnTo>
                    <a:lnTo>
                      <a:pt x="861" y="10"/>
                    </a:lnTo>
                    <a:lnTo>
                      <a:pt x="863" y="10"/>
                    </a:lnTo>
                    <a:lnTo>
                      <a:pt x="863" y="12"/>
                    </a:lnTo>
                    <a:lnTo>
                      <a:pt x="865" y="12"/>
                    </a:lnTo>
                    <a:lnTo>
                      <a:pt x="867" y="12"/>
                    </a:lnTo>
                    <a:lnTo>
                      <a:pt x="869" y="14"/>
                    </a:lnTo>
                    <a:lnTo>
                      <a:pt x="871" y="14"/>
                    </a:lnTo>
                    <a:lnTo>
                      <a:pt x="871" y="12"/>
                    </a:lnTo>
                    <a:lnTo>
                      <a:pt x="871" y="14"/>
                    </a:lnTo>
                    <a:lnTo>
                      <a:pt x="873" y="14"/>
                    </a:lnTo>
                    <a:lnTo>
                      <a:pt x="874" y="14"/>
                    </a:lnTo>
                    <a:lnTo>
                      <a:pt x="876" y="14"/>
                    </a:lnTo>
                    <a:lnTo>
                      <a:pt x="876" y="16"/>
                    </a:lnTo>
                    <a:lnTo>
                      <a:pt x="878" y="16"/>
                    </a:lnTo>
                    <a:lnTo>
                      <a:pt x="880" y="14"/>
                    </a:lnTo>
                    <a:lnTo>
                      <a:pt x="882" y="14"/>
                    </a:lnTo>
                    <a:lnTo>
                      <a:pt x="882" y="16"/>
                    </a:lnTo>
                    <a:lnTo>
                      <a:pt x="884" y="16"/>
                    </a:lnTo>
                    <a:lnTo>
                      <a:pt x="884" y="17"/>
                    </a:lnTo>
                    <a:lnTo>
                      <a:pt x="886" y="17"/>
                    </a:lnTo>
                    <a:lnTo>
                      <a:pt x="886" y="16"/>
                    </a:lnTo>
                    <a:lnTo>
                      <a:pt x="888" y="16"/>
                    </a:lnTo>
                    <a:lnTo>
                      <a:pt x="888" y="14"/>
                    </a:lnTo>
                    <a:lnTo>
                      <a:pt x="888" y="16"/>
                    </a:lnTo>
                    <a:lnTo>
                      <a:pt x="888" y="17"/>
                    </a:lnTo>
                    <a:lnTo>
                      <a:pt x="903" y="17"/>
                    </a:lnTo>
                    <a:lnTo>
                      <a:pt x="920" y="17"/>
                    </a:lnTo>
                    <a:lnTo>
                      <a:pt x="922" y="17"/>
                    </a:lnTo>
                    <a:lnTo>
                      <a:pt x="925" y="17"/>
                    </a:lnTo>
                    <a:lnTo>
                      <a:pt x="927" y="17"/>
                    </a:lnTo>
                    <a:lnTo>
                      <a:pt x="931" y="17"/>
                    </a:lnTo>
                    <a:lnTo>
                      <a:pt x="937" y="17"/>
                    </a:lnTo>
                    <a:lnTo>
                      <a:pt x="942" y="17"/>
                    </a:lnTo>
                    <a:lnTo>
                      <a:pt x="944" y="17"/>
                    </a:lnTo>
                    <a:lnTo>
                      <a:pt x="946" y="17"/>
                    </a:lnTo>
                    <a:lnTo>
                      <a:pt x="950" y="17"/>
                    </a:lnTo>
                    <a:lnTo>
                      <a:pt x="952" y="17"/>
                    </a:lnTo>
                    <a:lnTo>
                      <a:pt x="953" y="17"/>
                    </a:lnTo>
                    <a:lnTo>
                      <a:pt x="957" y="17"/>
                    </a:lnTo>
                    <a:lnTo>
                      <a:pt x="959" y="17"/>
                    </a:lnTo>
                    <a:lnTo>
                      <a:pt x="965" y="17"/>
                    </a:lnTo>
                    <a:lnTo>
                      <a:pt x="969" y="17"/>
                    </a:lnTo>
                    <a:lnTo>
                      <a:pt x="972" y="17"/>
                    </a:lnTo>
                    <a:lnTo>
                      <a:pt x="974" y="17"/>
                    </a:lnTo>
                    <a:lnTo>
                      <a:pt x="976" y="17"/>
                    </a:lnTo>
                    <a:lnTo>
                      <a:pt x="978" y="17"/>
                    </a:lnTo>
                    <a:lnTo>
                      <a:pt x="982" y="17"/>
                    </a:lnTo>
                    <a:lnTo>
                      <a:pt x="985" y="17"/>
                    </a:lnTo>
                    <a:lnTo>
                      <a:pt x="991" y="17"/>
                    </a:lnTo>
                    <a:lnTo>
                      <a:pt x="997" y="17"/>
                    </a:lnTo>
                    <a:lnTo>
                      <a:pt x="999" y="17"/>
                    </a:lnTo>
                    <a:lnTo>
                      <a:pt x="1002" y="17"/>
                    </a:lnTo>
                    <a:lnTo>
                      <a:pt x="1004" y="17"/>
                    </a:lnTo>
                    <a:lnTo>
                      <a:pt x="1006" y="17"/>
                    </a:lnTo>
                    <a:lnTo>
                      <a:pt x="1008" y="17"/>
                    </a:lnTo>
                    <a:lnTo>
                      <a:pt x="1010" y="17"/>
                    </a:lnTo>
                    <a:lnTo>
                      <a:pt x="1012" y="17"/>
                    </a:lnTo>
                    <a:lnTo>
                      <a:pt x="1014" y="17"/>
                    </a:lnTo>
                    <a:lnTo>
                      <a:pt x="1016" y="17"/>
                    </a:lnTo>
                    <a:lnTo>
                      <a:pt x="1017" y="17"/>
                    </a:lnTo>
                    <a:lnTo>
                      <a:pt x="1019" y="17"/>
                    </a:lnTo>
                    <a:lnTo>
                      <a:pt x="1027" y="16"/>
                    </a:lnTo>
                    <a:lnTo>
                      <a:pt x="1025" y="19"/>
                    </a:lnTo>
                    <a:lnTo>
                      <a:pt x="1025" y="21"/>
                    </a:lnTo>
                    <a:lnTo>
                      <a:pt x="1025" y="25"/>
                    </a:lnTo>
                    <a:lnTo>
                      <a:pt x="1025" y="27"/>
                    </a:lnTo>
                    <a:lnTo>
                      <a:pt x="1025" y="29"/>
                    </a:lnTo>
                    <a:lnTo>
                      <a:pt x="1025" y="31"/>
                    </a:lnTo>
                    <a:lnTo>
                      <a:pt x="1023" y="32"/>
                    </a:lnTo>
                    <a:lnTo>
                      <a:pt x="1023" y="34"/>
                    </a:lnTo>
                    <a:lnTo>
                      <a:pt x="1023" y="36"/>
                    </a:lnTo>
                    <a:lnTo>
                      <a:pt x="1023" y="38"/>
                    </a:lnTo>
                    <a:lnTo>
                      <a:pt x="1023" y="40"/>
                    </a:lnTo>
                    <a:lnTo>
                      <a:pt x="1021" y="42"/>
                    </a:lnTo>
                    <a:lnTo>
                      <a:pt x="1021" y="44"/>
                    </a:lnTo>
                    <a:lnTo>
                      <a:pt x="1023" y="44"/>
                    </a:lnTo>
                    <a:lnTo>
                      <a:pt x="1023" y="46"/>
                    </a:lnTo>
                    <a:lnTo>
                      <a:pt x="1023" y="48"/>
                    </a:lnTo>
                    <a:lnTo>
                      <a:pt x="1023" y="49"/>
                    </a:lnTo>
                    <a:lnTo>
                      <a:pt x="1021" y="49"/>
                    </a:lnTo>
                    <a:lnTo>
                      <a:pt x="1021" y="51"/>
                    </a:lnTo>
                    <a:lnTo>
                      <a:pt x="1021" y="53"/>
                    </a:lnTo>
                    <a:lnTo>
                      <a:pt x="1021" y="55"/>
                    </a:lnTo>
                    <a:lnTo>
                      <a:pt x="1019" y="57"/>
                    </a:lnTo>
                    <a:lnTo>
                      <a:pt x="1021" y="57"/>
                    </a:lnTo>
                    <a:lnTo>
                      <a:pt x="1021" y="59"/>
                    </a:lnTo>
                    <a:lnTo>
                      <a:pt x="1021" y="63"/>
                    </a:lnTo>
                    <a:lnTo>
                      <a:pt x="1019" y="63"/>
                    </a:lnTo>
                    <a:lnTo>
                      <a:pt x="1019" y="64"/>
                    </a:lnTo>
                    <a:lnTo>
                      <a:pt x="1019" y="66"/>
                    </a:lnTo>
                    <a:lnTo>
                      <a:pt x="1019" y="68"/>
                    </a:lnTo>
                    <a:lnTo>
                      <a:pt x="1019" y="70"/>
                    </a:lnTo>
                    <a:lnTo>
                      <a:pt x="1017" y="72"/>
                    </a:lnTo>
                    <a:lnTo>
                      <a:pt x="1017" y="74"/>
                    </a:lnTo>
                    <a:lnTo>
                      <a:pt x="1016" y="74"/>
                    </a:lnTo>
                    <a:lnTo>
                      <a:pt x="1016" y="76"/>
                    </a:lnTo>
                    <a:lnTo>
                      <a:pt x="1016" y="78"/>
                    </a:lnTo>
                    <a:lnTo>
                      <a:pt x="1016" y="80"/>
                    </a:lnTo>
                    <a:lnTo>
                      <a:pt x="1016" y="81"/>
                    </a:lnTo>
                    <a:lnTo>
                      <a:pt x="1016" y="83"/>
                    </a:lnTo>
                    <a:lnTo>
                      <a:pt x="1014" y="85"/>
                    </a:lnTo>
                    <a:lnTo>
                      <a:pt x="1014" y="87"/>
                    </a:lnTo>
                    <a:lnTo>
                      <a:pt x="1014" y="89"/>
                    </a:lnTo>
                    <a:lnTo>
                      <a:pt x="1014" y="91"/>
                    </a:lnTo>
                    <a:lnTo>
                      <a:pt x="1012" y="91"/>
                    </a:lnTo>
                    <a:lnTo>
                      <a:pt x="1012" y="93"/>
                    </a:lnTo>
                    <a:lnTo>
                      <a:pt x="1012" y="95"/>
                    </a:lnTo>
                    <a:lnTo>
                      <a:pt x="1010" y="97"/>
                    </a:lnTo>
                    <a:lnTo>
                      <a:pt x="1010" y="98"/>
                    </a:lnTo>
                    <a:lnTo>
                      <a:pt x="1010" y="100"/>
                    </a:lnTo>
                    <a:lnTo>
                      <a:pt x="1008" y="102"/>
                    </a:lnTo>
                    <a:lnTo>
                      <a:pt x="1006" y="106"/>
                    </a:lnTo>
                    <a:lnTo>
                      <a:pt x="1004" y="110"/>
                    </a:lnTo>
                    <a:lnTo>
                      <a:pt x="1004" y="112"/>
                    </a:lnTo>
                    <a:lnTo>
                      <a:pt x="1004" y="113"/>
                    </a:lnTo>
                    <a:lnTo>
                      <a:pt x="1004" y="115"/>
                    </a:lnTo>
                    <a:lnTo>
                      <a:pt x="1002" y="119"/>
                    </a:lnTo>
                    <a:lnTo>
                      <a:pt x="1001" y="123"/>
                    </a:lnTo>
                    <a:lnTo>
                      <a:pt x="1001" y="125"/>
                    </a:lnTo>
                    <a:lnTo>
                      <a:pt x="1001" y="127"/>
                    </a:lnTo>
                    <a:lnTo>
                      <a:pt x="1001" y="129"/>
                    </a:lnTo>
                    <a:lnTo>
                      <a:pt x="997" y="136"/>
                    </a:lnTo>
                    <a:lnTo>
                      <a:pt x="995" y="136"/>
                    </a:lnTo>
                    <a:lnTo>
                      <a:pt x="995" y="138"/>
                    </a:lnTo>
                    <a:lnTo>
                      <a:pt x="995" y="140"/>
                    </a:lnTo>
                    <a:lnTo>
                      <a:pt x="995" y="142"/>
                    </a:lnTo>
                    <a:lnTo>
                      <a:pt x="995" y="144"/>
                    </a:lnTo>
                    <a:lnTo>
                      <a:pt x="993" y="145"/>
                    </a:lnTo>
                    <a:lnTo>
                      <a:pt x="993" y="147"/>
                    </a:lnTo>
                    <a:lnTo>
                      <a:pt x="993" y="149"/>
                    </a:lnTo>
                    <a:lnTo>
                      <a:pt x="991" y="149"/>
                    </a:lnTo>
                    <a:lnTo>
                      <a:pt x="989" y="153"/>
                    </a:lnTo>
                    <a:lnTo>
                      <a:pt x="989" y="155"/>
                    </a:lnTo>
                    <a:lnTo>
                      <a:pt x="989" y="157"/>
                    </a:lnTo>
                    <a:lnTo>
                      <a:pt x="987" y="161"/>
                    </a:lnTo>
                    <a:lnTo>
                      <a:pt x="987" y="164"/>
                    </a:lnTo>
                    <a:lnTo>
                      <a:pt x="985" y="164"/>
                    </a:lnTo>
                    <a:lnTo>
                      <a:pt x="985" y="170"/>
                    </a:lnTo>
                    <a:lnTo>
                      <a:pt x="985" y="172"/>
                    </a:lnTo>
                    <a:lnTo>
                      <a:pt x="984" y="174"/>
                    </a:lnTo>
                    <a:lnTo>
                      <a:pt x="982" y="176"/>
                    </a:lnTo>
                    <a:lnTo>
                      <a:pt x="982" y="177"/>
                    </a:lnTo>
                    <a:lnTo>
                      <a:pt x="982" y="179"/>
                    </a:lnTo>
                    <a:lnTo>
                      <a:pt x="982" y="181"/>
                    </a:lnTo>
                    <a:lnTo>
                      <a:pt x="980" y="183"/>
                    </a:lnTo>
                    <a:lnTo>
                      <a:pt x="980" y="185"/>
                    </a:lnTo>
                    <a:lnTo>
                      <a:pt x="978" y="187"/>
                    </a:lnTo>
                    <a:lnTo>
                      <a:pt x="976" y="191"/>
                    </a:lnTo>
                    <a:lnTo>
                      <a:pt x="974" y="194"/>
                    </a:lnTo>
                    <a:lnTo>
                      <a:pt x="972" y="198"/>
                    </a:lnTo>
                    <a:lnTo>
                      <a:pt x="972" y="200"/>
                    </a:lnTo>
                    <a:lnTo>
                      <a:pt x="972" y="202"/>
                    </a:lnTo>
                    <a:lnTo>
                      <a:pt x="972" y="204"/>
                    </a:lnTo>
                    <a:lnTo>
                      <a:pt x="972" y="206"/>
                    </a:lnTo>
                    <a:lnTo>
                      <a:pt x="972" y="208"/>
                    </a:lnTo>
                    <a:lnTo>
                      <a:pt x="972" y="209"/>
                    </a:lnTo>
                    <a:lnTo>
                      <a:pt x="972" y="211"/>
                    </a:lnTo>
                    <a:lnTo>
                      <a:pt x="972" y="213"/>
                    </a:lnTo>
                    <a:lnTo>
                      <a:pt x="970" y="219"/>
                    </a:lnTo>
                    <a:lnTo>
                      <a:pt x="969" y="223"/>
                    </a:lnTo>
                    <a:lnTo>
                      <a:pt x="969" y="225"/>
                    </a:lnTo>
                    <a:lnTo>
                      <a:pt x="969" y="228"/>
                    </a:lnTo>
                    <a:lnTo>
                      <a:pt x="967" y="230"/>
                    </a:lnTo>
                    <a:lnTo>
                      <a:pt x="967" y="234"/>
                    </a:lnTo>
                    <a:lnTo>
                      <a:pt x="967" y="236"/>
                    </a:lnTo>
                    <a:lnTo>
                      <a:pt x="967" y="238"/>
                    </a:lnTo>
                    <a:lnTo>
                      <a:pt x="967" y="240"/>
                    </a:lnTo>
                    <a:lnTo>
                      <a:pt x="965" y="245"/>
                    </a:lnTo>
                    <a:lnTo>
                      <a:pt x="965" y="247"/>
                    </a:lnTo>
                    <a:lnTo>
                      <a:pt x="963" y="251"/>
                    </a:lnTo>
                    <a:lnTo>
                      <a:pt x="963" y="255"/>
                    </a:lnTo>
                    <a:lnTo>
                      <a:pt x="961" y="257"/>
                    </a:lnTo>
                    <a:lnTo>
                      <a:pt x="961" y="258"/>
                    </a:lnTo>
                    <a:lnTo>
                      <a:pt x="961" y="260"/>
                    </a:lnTo>
                    <a:lnTo>
                      <a:pt x="959" y="266"/>
                    </a:lnTo>
                    <a:lnTo>
                      <a:pt x="957" y="272"/>
                    </a:lnTo>
                    <a:lnTo>
                      <a:pt x="955" y="281"/>
                    </a:lnTo>
                    <a:lnTo>
                      <a:pt x="953" y="285"/>
                    </a:lnTo>
                    <a:lnTo>
                      <a:pt x="953" y="292"/>
                    </a:lnTo>
                    <a:lnTo>
                      <a:pt x="953" y="294"/>
                    </a:lnTo>
                    <a:lnTo>
                      <a:pt x="952" y="294"/>
                    </a:lnTo>
                    <a:lnTo>
                      <a:pt x="952" y="296"/>
                    </a:lnTo>
                    <a:lnTo>
                      <a:pt x="952" y="298"/>
                    </a:lnTo>
                    <a:lnTo>
                      <a:pt x="952" y="300"/>
                    </a:lnTo>
                    <a:lnTo>
                      <a:pt x="950" y="309"/>
                    </a:lnTo>
                    <a:lnTo>
                      <a:pt x="950" y="313"/>
                    </a:lnTo>
                    <a:lnTo>
                      <a:pt x="952" y="319"/>
                    </a:lnTo>
                    <a:lnTo>
                      <a:pt x="952" y="321"/>
                    </a:lnTo>
                    <a:lnTo>
                      <a:pt x="952" y="324"/>
                    </a:lnTo>
                    <a:lnTo>
                      <a:pt x="950" y="337"/>
                    </a:lnTo>
                    <a:lnTo>
                      <a:pt x="946" y="347"/>
                    </a:lnTo>
                    <a:lnTo>
                      <a:pt x="942" y="369"/>
                    </a:lnTo>
                    <a:lnTo>
                      <a:pt x="942" y="375"/>
                    </a:lnTo>
                    <a:lnTo>
                      <a:pt x="942" y="379"/>
                    </a:lnTo>
                    <a:lnTo>
                      <a:pt x="942" y="381"/>
                    </a:lnTo>
                    <a:lnTo>
                      <a:pt x="942" y="383"/>
                    </a:lnTo>
                    <a:lnTo>
                      <a:pt x="940" y="386"/>
                    </a:lnTo>
                    <a:lnTo>
                      <a:pt x="940" y="390"/>
                    </a:lnTo>
                    <a:lnTo>
                      <a:pt x="938" y="396"/>
                    </a:lnTo>
                    <a:lnTo>
                      <a:pt x="937" y="401"/>
                    </a:lnTo>
                    <a:lnTo>
                      <a:pt x="935" y="403"/>
                    </a:lnTo>
                    <a:lnTo>
                      <a:pt x="933" y="407"/>
                    </a:lnTo>
                    <a:lnTo>
                      <a:pt x="931" y="413"/>
                    </a:lnTo>
                    <a:lnTo>
                      <a:pt x="929" y="415"/>
                    </a:lnTo>
                    <a:lnTo>
                      <a:pt x="929" y="417"/>
                    </a:lnTo>
                    <a:lnTo>
                      <a:pt x="927" y="418"/>
                    </a:lnTo>
                    <a:lnTo>
                      <a:pt x="925" y="422"/>
                    </a:lnTo>
                    <a:lnTo>
                      <a:pt x="923" y="424"/>
                    </a:lnTo>
                    <a:lnTo>
                      <a:pt x="922" y="432"/>
                    </a:lnTo>
                    <a:lnTo>
                      <a:pt x="920" y="433"/>
                    </a:lnTo>
                    <a:lnTo>
                      <a:pt x="916" y="441"/>
                    </a:lnTo>
                    <a:lnTo>
                      <a:pt x="914" y="443"/>
                    </a:lnTo>
                    <a:lnTo>
                      <a:pt x="914" y="445"/>
                    </a:lnTo>
                    <a:lnTo>
                      <a:pt x="912" y="449"/>
                    </a:lnTo>
                    <a:lnTo>
                      <a:pt x="910" y="454"/>
                    </a:lnTo>
                    <a:lnTo>
                      <a:pt x="908" y="454"/>
                    </a:lnTo>
                    <a:lnTo>
                      <a:pt x="908" y="456"/>
                    </a:lnTo>
                    <a:lnTo>
                      <a:pt x="908" y="458"/>
                    </a:lnTo>
                    <a:lnTo>
                      <a:pt x="908" y="460"/>
                    </a:lnTo>
                    <a:lnTo>
                      <a:pt x="908" y="464"/>
                    </a:lnTo>
                    <a:lnTo>
                      <a:pt x="908" y="465"/>
                    </a:lnTo>
                    <a:lnTo>
                      <a:pt x="908" y="469"/>
                    </a:lnTo>
                    <a:lnTo>
                      <a:pt x="906" y="473"/>
                    </a:lnTo>
                    <a:lnTo>
                      <a:pt x="906" y="477"/>
                    </a:lnTo>
                    <a:lnTo>
                      <a:pt x="905" y="482"/>
                    </a:lnTo>
                    <a:lnTo>
                      <a:pt x="905" y="484"/>
                    </a:lnTo>
                    <a:lnTo>
                      <a:pt x="905" y="486"/>
                    </a:lnTo>
                    <a:lnTo>
                      <a:pt x="905" y="488"/>
                    </a:lnTo>
                    <a:lnTo>
                      <a:pt x="905" y="490"/>
                    </a:lnTo>
                    <a:lnTo>
                      <a:pt x="903" y="494"/>
                    </a:lnTo>
                    <a:lnTo>
                      <a:pt x="903" y="496"/>
                    </a:lnTo>
                    <a:lnTo>
                      <a:pt x="901" y="497"/>
                    </a:lnTo>
                    <a:lnTo>
                      <a:pt x="899" y="501"/>
                    </a:lnTo>
                    <a:lnTo>
                      <a:pt x="897" y="505"/>
                    </a:lnTo>
                    <a:lnTo>
                      <a:pt x="893" y="509"/>
                    </a:lnTo>
                    <a:lnTo>
                      <a:pt x="891" y="513"/>
                    </a:lnTo>
                    <a:lnTo>
                      <a:pt x="888" y="514"/>
                    </a:lnTo>
                    <a:lnTo>
                      <a:pt x="886" y="518"/>
                    </a:lnTo>
                    <a:lnTo>
                      <a:pt x="882" y="520"/>
                    </a:lnTo>
                    <a:lnTo>
                      <a:pt x="878" y="522"/>
                    </a:lnTo>
                    <a:lnTo>
                      <a:pt x="878" y="524"/>
                    </a:lnTo>
                    <a:lnTo>
                      <a:pt x="876" y="526"/>
                    </a:lnTo>
                    <a:lnTo>
                      <a:pt x="876" y="528"/>
                    </a:lnTo>
                    <a:lnTo>
                      <a:pt x="874" y="528"/>
                    </a:lnTo>
                    <a:lnTo>
                      <a:pt x="874" y="530"/>
                    </a:lnTo>
                    <a:lnTo>
                      <a:pt x="873" y="530"/>
                    </a:lnTo>
                    <a:lnTo>
                      <a:pt x="873" y="531"/>
                    </a:lnTo>
                    <a:lnTo>
                      <a:pt x="869" y="533"/>
                    </a:lnTo>
                    <a:lnTo>
                      <a:pt x="865" y="537"/>
                    </a:lnTo>
                    <a:lnTo>
                      <a:pt x="863" y="537"/>
                    </a:lnTo>
                    <a:lnTo>
                      <a:pt x="858" y="543"/>
                    </a:lnTo>
                    <a:lnTo>
                      <a:pt x="854" y="546"/>
                    </a:lnTo>
                    <a:lnTo>
                      <a:pt x="854" y="548"/>
                    </a:lnTo>
                    <a:lnTo>
                      <a:pt x="852" y="548"/>
                    </a:lnTo>
                    <a:lnTo>
                      <a:pt x="852" y="550"/>
                    </a:lnTo>
                    <a:lnTo>
                      <a:pt x="850" y="552"/>
                    </a:lnTo>
                    <a:lnTo>
                      <a:pt x="848" y="554"/>
                    </a:lnTo>
                    <a:lnTo>
                      <a:pt x="846" y="556"/>
                    </a:lnTo>
                    <a:lnTo>
                      <a:pt x="841" y="562"/>
                    </a:lnTo>
                    <a:lnTo>
                      <a:pt x="839" y="562"/>
                    </a:lnTo>
                    <a:lnTo>
                      <a:pt x="839" y="563"/>
                    </a:lnTo>
                    <a:lnTo>
                      <a:pt x="837" y="565"/>
                    </a:lnTo>
                    <a:lnTo>
                      <a:pt x="833" y="569"/>
                    </a:lnTo>
                    <a:lnTo>
                      <a:pt x="831" y="571"/>
                    </a:lnTo>
                    <a:lnTo>
                      <a:pt x="827" y="575"/>
                    </a:lnTo>
                    <a:lnTo>
                      <a:pt x="826" y="577"/>
                    </a:lnTo>
                    <a:lnTo>
                      <a:pt x="824" y="578"/>
                    </a:lnTo>
                    <a:lnTo>
                      <a:pt x="822" y="580"/>
                    </a:lnTo>
                    <a:lnTo>
                      <a:pt x="816" y="586"/>
                    </a:lnTo>
                    <a:lnTo>
                      <a:pt x="814" y="588"/>
                    </a:lnTo>
                    <a:lnTo>
                      <a:pt x="814" y="590"/>
                    </a:lnTo>
                    <a:lnTo>
                      <a:pt x="812" y="590"/>
                    </a:lnTo>
                    <a:lnTo>
                      <a:pt x="812" y="592"/>
                    </a:lnTo>
                    <a:lnTo>
                      <a:pt x="807" y="595"/>
                    </a:lnTo>
                    <a:lnTo>
                      <a:pt x="803" y="599"/>
                    </a:lnTo>
                    <a:lnTo>
                      <a:pt x="801" y="601"/>
                    </a:lnTo>
                    <a:lnTo>
                      <a:pt x="790" y="607"/>
                    </a:lnTo>
                    <a:lnTo>
                      <a:pt x="784" y="607"/>
                    </a:lnTo>
                    <a:lnTo>
                      <a:pt x="784" y="609"/>
                    </a:lnTo>
                    <a:lnTo>
                      <a:pt x="782" y="609"/>
                    </a:lnTo>
                    <a:lnTo>
                      <a:pt x="780" y="610"/>
                    </a:lnTo>
                    <a:lnTo>
                      <a:pt x="779" y="610"/>
                    </a:lnTo>
                    <a:lnTo>
                      <a:pt x="773" y="612"/>
                    </a:lnTo>
                    <a:lnTo>
                      <a:pt x="769" y="614"/>
                    </a:lnTo>
                    <a:lnTo>
                      <a:pt x="764" y="616"/>
                    </a:lnTo>
                    <a:lnTo>
                      <a:pt x="760" y="618"/>
                    </a:lnTo>
                    <a:lnTo>
                      <a:pt x="758" y="618"/>
                    </a:lnTo>
                    <a:lnTo>
                      <a:pt x="754" y="618"/>
                    </a:lnTo>
                    <a:lnTo>
                      <a:pt x="752" y="620"/>
                    </a:lnTo>
                    <a:lnTo>
                      <a:pt x="748" y="622"/>
                    </a:lnTo>
                    <a:lnTo>
                      <a:pt x="747" y="622"/>
                    </a:lnTo>
                    <a:lnTo>
                      <a:pt x="743" y="624"/>
                    </a:lnTo>
                    <a:lnTo>
                      <a:pt x="741" y="626"/>
                    </a:lnTo>
                    <a:lnTo>
                      <a:pt x="737" y="627"/>
                    </a:lnTo>
                    <a:lnTo>
                      <a:pt x="733" y="631"/>
                    </a:lnTo>
                    <a:lnTo>
                      <a:pt x="732" y="635"/>
                    </a:lnTo>
                    <a:lnTo>
                      <a:pt x="730" y="635"/>
                    </a:lnTo>
                    <a:lnTo>
                      <a:pt x="728" y="639"/>
                    </a:lnTo>
                    <a:lnTo>
                      <a:pt x="726" y="642"/>
                    </a:lnTo>
                    <a:lnTo>
                      <a:pt x="720" y="646"/>
                    </a:lnTo>
                    <a:lnTo>
                      <a:pt x="716" y="650"/>
                    </a:lnTo>
                    <a:lnTo>
                      <a:pt x="716" y="652"/>
                    </a:lnTo>
                    <a:lnTo>
                      <a:pt x="713" y="654"/>
                    </a:lnTo>
                    <a:lnTo>
                      <a:pt x="713" y="656"/>
                    </a:lnTo>
                    <a:lnTo>
                      <a:pt x="713" y="658"/>
                    </a:lnTo>
                    <a:lnTo>
                      <a:pt x="711" y="658"/>
                    </a:lnTo>
                    <a:lnTo>
                      <a:pt x="709" y="658"/>
                    </a:lnTo>
                    <a:lnTo>
                      <a:pt x="709" y="659"/>
                    </a:lnTo>
                    <a:lnTo>
                      <a:pt x="707" y="661"/>
                    </a:lnTo>
                    <a:lnTo>
                      <a:pt x="705" y="663"/>
                    </a:lnTo>
                    <a:lnTo>
                      <a:pt x="705" y="665"/>
                    </a:lnTo>
                    <a:lnTo>
                      <a:pt x="703" y="667"/>
                    </a:lnTo>
                    <a:lnTo>
                      <a:pt x="701" y="667"/>
                    </a:lnTo>
                    <a:lnTo>
                      <a:pt x="701" y="669"/>
                    </a:lnTo>
                    <a:lnTo>
                      <a:pt x="700" y="671"/>
                    </a:lnTo>
                    <a:lnTo>
                      <a:pt x="700" y="673"/>
                    </a:lnTo>
                    <a:lnTo>
                      <a:pt x="698" y="673"/>
                    </a:lnTo>
                    <a:lnTo>
                      <a:pt x="698" y="674"/>
                    </a:lnTo>
                    <a:lnTo>
                      <a:pt x="696" y="676"/>
                    </a:lnTo>
                    <a:lnTo>
                      <a:pt x="694" y="680"/>
                    </a:lnTo>
                    <a:lnTo>
                      <a:pt x="692" y="680"/>
                    </a:lnTo>
                    <a:lnTo>
                      <a:pt x="692" y="682"/>
                    </a:lnTo>
                    <a:lnTo>
                      <a:pt x="690" y="684"/>
                    </a:lnTo>
                    <a:lnTo>
                      <a:pt x="688" y="686"/>
                    </a:lnTo>
                    <a:lnTo>
                      <a:pt x="686" y="688"/>
                    </a:lnTo>
                    <a:lnTo>
                      <a:pt x="686" y="690"/>
                    </a:lnTo>
                    <a:lnTo>
                      <a:pt x="685" y="690"/>
                    </a:lnTo>
                    <a:lnTo>
                      <a:pt x="683" y="690"/>
                    </a:lnTo>
                    <a:lnTo>
                      <a:pt x="683" y="691"/>
                    </a:lnTo>
                    <a:lnTo>
                      <a:pt x="681" y="693"/>
                    </a:lnTo>
                    <a:lnTo>
                      <a:pt x="679" y="695"/>
                    </a:lnTo>
                    <a:lnTo>
                      <a:pt x="679" y="697"/>
                    </a:lnTo>
                    <a:lnTo>
                      <a:pt x="677" y="697"/>
                    </a:lnTo>
                    <a:lnTo>
                      <a:pt x="677" y="699"/>
                    </a:lnTo>
                    <a:lnTo>
                      <a:pt x="675" y="699"/>
                    </a:lnTo>
                    <a:lnTo>
                      <a:pt x="673" y="701"/>
                    </a:lnTo>
                    <a:lnTo>
                      <a:pt x="673" y="703"/>
                    </a:lnTo>
                    <a:lnTo>
                      <a:pt x="671" y="703"/>
                    </a:lnTo>
                    <a:lnTo>
                      <a:pt x="669" y="705"/>
                    </a:lnTo>
                    <a:lnTo>
                      <a:pt x="668" y="705"/>
                    </a:lnTo>
                    <a:lnTo>
                      <a:pt x="668" y="706"/>
                    </a:lnTo>
                    <a:lnTo>
                      <a:pt x="668" y="708"/>
                    </a:lnTo>
                    <a:lnTo>
                      <a:pt x="666" y="708"/>
                    </a:lnTo>
                    <a:lnTo>
                      <a:pt x="664" y="708"/>
                    </a:lnTo>
                    <a:lnTo>
                      <a:pt x="664" y="710"/>
                    </a:lnTo>
                    <a:lnTo>
                      <a:pt x="662" y="712"/>
                    </a:lnTo>
                    <a:lnTo>
                      <a:pt x="660" y="714"/>
                    </a:lnTo>
                    <a:lnTo>
                      <a:pt x="658" y="714"/>
                    </a:lnTo>
                    <a:lnTo>
                      <a:pt x="658" y="716"/>
                    </a:lnTo>
                    <a:lnTo>
                      <a:pt x="656" y="718"/>
                    </a:lnTo>
                    <a:lnTo>
                      <a:pt x="656" y="720"/>
                    </a:lnTo>
                    <a:lnTo>
                      <a:pt x="656" y="722"/>
                    </a:lnTo>
                    <a:lnTo>
                      <a:pt x="654" y="722"/>
                    </a:lnTo>
                    <a:lnTo>
                      <a:pt x="654" y="723"/>
                    </a:lnTo>
                    <a:lnTo>
                      <a:pt x="653" y="723"/>
                    </a:lnTo>
                    <a:lnTo>
                      <a:pt x="653" y="725"/>
                    </a:lnTo>
                    <a:lnTo>
                      <a:pt x="651" y="727"/>
                    </a:lnTo>
                    <a:lnTo>
                      <a:pt x="649" y="727"/>
                    </a:lnTo>
                    <a:lnTo>
                      <a:pt x="649" y="729"/>
                    </a:lnTo>
                    <a:lnTo>
                      <a:pt x="647" y="729"/>
                    </a:lnTo>
                    <a:lnTo>
                      <a:pt x="647" y="731"/>
                    </a:lnTo>
                    <a:lnTo>
                      <a:pt x="645" y="733"/>
                    </a:lnTo>
                    <a:lnTo>
                      <a:pt x="645" y="735"/>
                    </a:lnTo>
                    <a:lnTo>
                      <a:pt x="643" y="735"/>
                    </a:lnTo>
                    <a:lnTo>
                      <a:pt x="641" y="737"/>
                    </a:lnTo>
                    <a:lnTo>
                      <a:pt x="637" y="740"/>
                    </a:lnTo>
                    <a:lnTo>
                      <a:pt x="636" y="742"/>
                    </a:lnTo>
                    <a:lnTo>
                      <a:pt x="634" y="744"/>
                    </a:lnTo>
                    <a:lnTo>
                      <a:pt x="634" y="746"/>
                    </a:lnTo>
                    <a:lnTo>
                      <a:pt x="632" y="746"/>
                    </a:lnTo>
                    <a:lnTo>
                      <a:pt x="632" y="748"/>
                    </a:lnTo>
                    <a:lnTo>
                      <a:pt x="630" y="748"/>
                    </a:lnTo>
                    <a:lnTo>
                      <a:pt x="630" y="750"/>
                    </a:lnTo>
                    <a:lnTo>
                      <a:pt x="630" y="752"/>
                    </a:lnTo>
                    <a:lnTo>
                      <a:pt x="628" y="754"/>
                    </a:lnTo>
                    <a:lnTo>
                      <a:pt x="626" y="754"/>
                    </a:lnTo>
                    <a:lnTo>
                      <a:pt x="624" y="755"/>
                    </a:lnTo>
                    <a:lnTo>
                      <a:pt x="624" y="757"/>
                    </a:lnTo>
                    <a:lnTo>
                      <a:pt x="624" y="759"/>
                    </a:lnTo>
                    <a:lnTo>
                      <a:pt x="622" y="759"/>
                    </a:lnTo>
                    <a:lnTo>
                      <a:pt x="622" y="761"/>
                    </a:lnTo>
                    <a:lnTo>
                      <a:pt x="621" y="761"/>
                    </a:lnTo>
                    <a:lnTo>
                      <a:pt x="621" y="763"/>
                    </a:lnTo>
                    <a:lnTo>
                      <a:pt x="619" y="763"/>
                    </a:lnTo>
                    <a:lnTo>
                      <a:pt x="619" y="765"/>
                    </a:lnTo>
                    <a:lnTo>
                      <a:pt x="619" y="767"/>
                    </a:lnTo>
                    <a:lnTo>
                      <a:pt x="617" y="767"/>
                    </a:lnTo>
                    <a:lnTo>
                      <a:pt x="617" y="769"/>
                    </a:lnTo>
                    <a:lnTo>
                      <a:pt x="615" y="770"/>
                    </a:lnTo>
                    <a:lnTo>
                      <a:pt x="615" y="772"/>
                    </a:lnTo>
                    <a:lnTo>
                      <a:pt x="613" y="772"/>
                    </a:lnTo>
                    <a:lnTo>
                      <a:pt x="613" y="774"/>
                    </a:lnTo>
                    <a:lnTo>
                      <a:pt x="611" y="774"/>
                    </a:lnTo>
                    <a:lnTo>
                      <a:pt x="611" y="776"/>
                    </a:lnTo>
                    <a:lnTo>
                      <a:pt x="609" y="778"/>
                    </a:lnTo>
                    <a:lnTo>
                      <a:pt x="607" y="778"/>
                    </a:lnTo>
                    <a:lnTo>
                      <a:pt x="607" y="780"/>
                    </a:lnTo>
                    <a:lnTo>
                      <a:pt x="607" y="782"/>
                    </a:lnTo>
                    <a:lnTo>
                      <a:pt x="606" y="782"/>
                    </a:lnTo>
                    <a:lnTo>
                      <a:pt x="606" y="784"/>
                    </a:lnTo>
                    <a:lnTo>
                      <a:pt x="604" y="784"/>
                    </a:lnTo>
                    <a:lnTo>
                      <a:pt x="604" y="786"/>
                    </a:lnTo>
                    <a:lnTo>
                      <a:pt x="604" y="787"/>
                    </a:lnTo>
                    <a:lnTo>
                      <a:pt x="602" y="787"/>
                    </a:lnTo>
                    <a:lnTo>
                      <a:pt x="602" y="789"/>
                    </a:lnTo>
                    <a:lnTo>
                      <a:pt x="602" y="791"/>
                    </a:lnTo>
                    <a:lnTo>
                      <a:pt x="602" y="793"/>
                    </a:lnTo>
                    <a:lnTo>
                      <a:pt x="600" y="793"/>
                    </a:lnTo>
                    <a:lnTo>
                      <a:pt x="600" y="795"/>
                    </a:lnTo>
                    <a:lnTo>
                      <a:pt x="598" y="795"/>
                    </a:lnTo>
                    <a:lnTo>
                      <a:pt x="598" y="797"/>
                    </a:lnTo>
                    <a:lnTo>
                      <a:pt x="596" y="797"/>
                    </a:lnTo>
                    <a:lnTo>
                      <a:pt x="594" y="799"/>
                    </a:lnTo>
                    <a:lnTo>
                      <a:pt x="594" y="801"/>
                    </a:lnTo>
                    <a:lnTo>
                      <a:pt x="592" y="801"/>
                    </a:lnTo>
                    <a:lnTo>
                      <a:pt x="592" y="802"/>
                    </a:lnTo>
                    <a:lnTo>
                      <a:pt x="590" y="802"/>
                    </a:lnTo>
                    <a:lnTo>
                      <a:pt x="590" y="804"/>
                    </a:lnTo>
                    <a:lnTo>
                      <a:pt x="590" y="806"/>
                    </a:lnTo>
                    <a:lnTo>
                      <a:pt x="589" y="806"/>
                    </a:lnTo>
                    <a:lnTo>
                      <a:pt x="589" y="808"/>
                    </a:lnTo>
                    <a:lnTo>
                      <a:pt x="587" y="810"/>
                    </a:lnTo>
                    <a:lnTo>
                      <a:pt x="587" y="812"/>
                    </a:lnTo>
                    <a:lnTo>
                      <a:pt x="585" y="814"/>
                    </a:lnTo>
                    <a:lnTo>
                      <a:pt x="585" y="816"/>
                    </a:lnTo>
                    <a:lnTo>
                      <a:pt x="583" y="816"/>
                    </a:lnTo>
                    <a:lnTo>
                      <a:pt x="581" y="819"/>
                    </a:lnTo>
                    <a:lnTo>
                      <a:pt x="581" y="821"/>
                    </a:lnTo>
                    <a:lnTo>
                      <a:pt x="579" y="821"/>
                    </a:lnTo>
                    <a:lnTo>
                      <a:pt x="579" y="823"/>
                    </a:lnTo>
                    <a:lnTo>
                      <a:pt x="577" y="825"/>
                    </a:lnTo>
                    <a:lnTo>
                      <a:pt x="577" y="827"/>
                    </a:lnTo>
                    <a:lnTo>
                      <a:pt x="575" y="829"/>
                    </a:lnTo>
                    <a:lnTo>
                      <a:pt x="575" y="831"/>
                    </a:lnTo>
                    <a:lnTo>
                      <a:pt x="574" y="833"/>
                    </a:lnTo>
                    <a:lnTo>
                      <a:pt x="574" y="836"/>
                    </a:lnTo>
                    <a:lnTo>
                      <a:pt x="572" y="836"/>
                    </a:lnTo>
                    <a:lnTo>
                      <a:pt x="572" y="840"/>
                    </a:lnTo>
                    <a:lnTo>
                      <a:pt x="570" y="840"/>
                    </a:lnTo>
                    <a:lnTo>
                      <a:pt x="570" y="842"/>
                    </a:lnTo>
                    <a:lnTo>
                      <a:pt x="568" y="844"/>
                    </a:lnTo>
                    <a:lnTo>
                      <a:pt x="566" y="848"/>
                    </a:lnTo>
                    <a:lnTo>
                      <a:pt x="566" y="850"/>
                    </a:lnTo>
                    <a:lnTo>
                      <a:pt x="566" y="851"/>
                    </a:lnTo>
                    <a:lnTo>
                      <a:pt x="564" y="853"/>
                    </a:lnTo>
                    <a:lnTo>
                      <a:pt x="560" y="859"/>
                    </a:lnTo>
                    <a:lnTo>
                      <a:pt x="560" y="861"/>
                    </a:lnTo>
                    <a:lnTo>
                      <a:pt x="558" y="863"/>
                    </a:lnTo>
                    <a:lnTo>
                      <a:pt x="557" y="866"/>
                    </a:lnTo>
                    <a:lnTo>
                      <a:pt x="557" y="868"/>
                    </a:lnTo>
                    <a:lnTo>
                      <a:pt x="555" y="872"/>
                    </a:lnTo>
                    <a:lnTo>
                      <a:pt x="555" y="874"/>
                    </a:lnTo>
                    <a:lnTo>
                      <a:pt x="555" y="876"/>
                    </a:lnTo>
                    <a:lnTo>
                      <a:pt x="553" y="878"/>
                    </a:lnTo>
                    <a:lnTo>
                      <a:pt x="553" y="880"/>
                    </a:lnTo>
                    <a:lnTo>
                      <a:pt x="553" y="882"/>
                    </a:lnTo>
                    <a:lnTo>
                      <a:pt x="555" y="883"/>
                    </a:lnTo>
                    <a:lnTo>
                      <a:pt x="555" y="885"/>
                    </a:lnTo>
                    <a:lnTo>
                      <a:pt x="555" y="887"/>
                    </a:lnTo>
                    <a:lnTo>
                      <a:pt x="557" y="889"/>
                    </a:lnTo>
                    <a:lnTo>
                      <a:pt x="558" y="891"/>
                    </a:lnTo>
                    <a:lnTo>
                      <a:pt x="558" y="889"/>
                    </a:lnTo>
                    <a:lnTo>
                      <a:pt x="560" y="889"/>
                    </a:lnTo>
                    <a:lnTo>
                      <a:pt x="560" y="891"/>
                    </a:lnTo>
                    <a:lnTo>
                      <a:pt x="558" y="891"/>
                    </a:lnTo>
                    <a:lnTo>
                      <a:pt x="560" y="891"/>
                    </a:lnTo>
                    <a:lnTo>
                      <a:pt x="560" y="893"/>
                    </a:lnTo>
                    <a:lnTo>
                      <a:pt x="558" y="893"/>
                    </a:lnTo>
                    <a:lnTo>
                      <a:pt x="555" y="898"/>
                    </a:lnTo>
                    <a:lnTo>
                      <a:pt x="555" y="900"/>
                    </a:lnTo>
                    <a:lnTo>
                      <a:pt x="553" y="902"/>
                    </a:lnTo>
                    <a:lnTo>
                      <a:pt x="551" y="904"/>
                    </a:lnTo>
                    <a:lnTo>
                      <a:pt x="549" y="906"/>
                    </a:lnTo>
                    <a:lnTo>
                      <a:pt x="549" y="908"/>
                    </a:lnTo>
                    <a:lnTo>
                      <a:pt x="547" y="908"/>
                    </a:lnTo>
                    <a:lnTo>
                      <a:pt x="547" y="910"/>
                    </a:lnTo>
                    <a:lnTo>
                      <a:pt x="545" y="912"/>
                    </a:lnTo>
                    <a:lnTo>
                      <a:pt x="542" y="915"/>
                    </a:lnTo>
                    <a:lnTo>
                      <a:pt x="542" y="917"/>
                    </a:lnTo>
                    <a:lnTo>
                      <a:pt x="540" y="919"/>
                    </a:lnTo>
                    <a:lnTo>
                      <a:pt x="538" y="919"/>
                    </a:lnTo>
                    <a:lnTo>
                      <a:pt x="538" y="921"/>
                    </a:lnTo>
                    <a:lnTo>
                      <a:pt x="536" y="923"/>
                    </a:lnTo>
                    <a:lnTo>
                      <a:pt x="536" y="925"/>
                    </a:lnTo>
                    <a:lnTo>
                      <a:pt x="534" y="925"/>
                    </a:lnTo>
                    <a:lnTo>
                      <a:pt x="532" y="927"/>
                    </a:lnTo>
                    <a:lnTo>
                      <a:pt x="532" y="929"/>
                    </a:lnTo>
                    <a:lnTo>
                      <a:pt x="530" y="930"/>
                    </a:lnTo>
                    <a:lnTo>
                      <a:pt x="528" y="930"/>
                    </a:lnTo>
                    <a:lnTo>
                      <a:pt x="528" y="932"/>
                    </a:lnTo>
                    <a:lnTo>
                      <a:pt x="527" y="932"/>
                    </a:lnTo>
                    <a:lnTo>
                      <a:pt x="525" y="934"/>
                    </a:lnTo>
                    <a:lnTo>
                      <a:pt x="523" y="936"/>
                    </a:lnTo>
                    <a:lnTo>
                      <a:pt x="519" y="940"/>
                    </a:lnTo>
                    <a:lnTo>
                      <a:pt x="519" y="942"/>
                    </a:lnTo>
                    <a:lnTo>
                      <a:pt x="517" y="942"/>
                    </a:lnTo>
                    <a:lnTo>
                      <a:pt x="517" y="944"/>
                    </a:lnTo>
                    <a:lnTo>
                      <a:pt x="515" y="944"/>
                    </a:lnTo>
                    <a:lnTo>
                      <a:pt x="515" y="946"/>
                    </a:lnTo>
                    <a:lnTo>
                      <a:pt x="515" y="947"/>
                    </a:lnTo>
                    <a:lnTo>
                      <a:pt x="513" y="947"/>
                    </a:lnTo>
                    <a:lnTo>
                      <a:pt x="513" y="949"/>
                    </a:lnTo>
                    <a:lnTo>
                      <a:pt x="511" y="951"/>
                    </a:lnTo>
                    <a:lnTo>
                      <a:pt x="511" y="953"/>
                    </a:lnTo>
                    <a:lnTo>
                      <a:pt x="510" y="955"/>
                    </a:lnTo>
                    <a:lnTo>
                      <a:pt x="510" y="957"/>
                    </a:lnTo>
                    <a:lnTo>
                      <a:pt x="510" y="959"/>
                    </a:lnTo>
                    <a:lnTo>
                      <a:pt x="508" y="959"/>
                    </a:lnTo>
                    <a:lnTo>
                      <a:pt x="508" y="963"/>
                    </a:lnTo>
                    <a:lnTo>
                      <a:pt x="506" y="963"/>
                    </a:lnTo>
                    <a:lnTo>
                      <a:pt x="506" y="964"/>
                    </a:lnTo>
                    <a:lnTo>
                      <a:pt x="506" y="966"/>
                    </a:lnTo>
                    <a:lnTo>
                      <a:pt x="506" y="968"/>
                    </a:lnTo>
                    <a:lnTo>
                      <a:pt x="504" y="968"/>
                    </a:lnTo>
                    <a:lnTo>
                      <a:pt x="504" y="970"/>
                    </a:lnTo>
                    <a:lnTo>
                      <a:pt x="502" y="972"/>
                    </a:lnTo>
                    <a:lnTo>
                      <a:pt x="500" y="974"/>
                    </a:lnTo>
                    <a:lnTo>
                      <a:pt x="500" y="976"/>
                    </a:lnTo>
                    <a:lnTo>
                      <a:pt x="498" y="979"/>
                    </a:lnTo>
                    <a:lnTo>
                      <a:pt x="496" y="985"/>
                    </a:lnTo>
                    <a:lnTo>
                      <a:pt x="495" y="985"/>
                    </a:lnTo>
                    <a:lnTo>
                      <a:pt x="495" y="987"/>
                    </a:lnTo>
                    <a:lnTo>
                      <a:pt x="495" y="989"/>
                    </a:lnTo>
                    <a:lnTo>
                      <a:pt x="495" y="991"/>
                    </a:lnTo>
                    <a:lnTo>
                      <a:pt x="493" y="991"/>
                    </a:lnTo>
                    <a:lnTo>
                      <a:pt x="493" y="993"/>
                    </a:lnTo>
                    <a:lnTo>
                      <a:pt x="493" y="995"/>
                    </a:lnTo>
                    <a:lnTo>
                      <a:pt x="491" y="996"/>
                    </a:lnTo>
                    <a:lnTo>
                      <a:pt x="491" y="998"/>
                    </a:lnTo>
                    <a:lnTo>
                      <a:pt x="489" y="998"/>
                    </a:lnTo>
                    <a:lnTo>
                      <a:pt x="489" y="1000"/>
                    </a:lnTo>
                    <a:lnTo>
                      <a:pt x="489" y="1002"/>
                    </a:lnTo>
                    <a:lnTo>
                      <a:pt x="489" y="1004"/>
                    </a:lnTo>
                    <a:lnTo>
                      <a:pt x="487" y="1004"/>
                    </a:lnTo>
                    <a:lnTo>
                      <a:pt x="487" y="1006"/>
                    </a:lnTo>
                    <a:lnTo>
                      <a:pt x="485" y="1006"/>
                    </a:lnTo>
                    <a:lnTo>
                      <a:pt x="483" y="1008"/>
                    </a:lnTo>
                    <a:lnTo>
                      <a:pt x="483" y="1010"/>
                    </a:lnTo>
                    <a:lnTo>
                      <a:pt x="483" y="1011"/>
                    </a:lnTo>
                    <a:lnTo>
                      <a:pt x="483" y="1013"/>
                    </a:lnTo>
                    <a:lnTo>
                      <a:pt x="483" y="1015"/>
                    </a:lnTo>
                    <a:lnTo>
                      <a:pt x="481" y="1015"/>
                    </a:lnTo>
                    <a:lnTo>
                      <a:pt x="481" y="1017"/>
                    </a:lnTo>
                    <a:lnTo>
                      <a:pt x="479" y="1019"/>
                    </a:lnTo>
                    <a:lnTo>
                      <a:pt x="479" y="1021"/>
                    </a:lnTo>
                    <a:lnTo>
                      <a:pt x="478" y="1021"/>
                    </a:lnTo>
                    <a:lnTo>
                      <a:pt x="478" y="1025"/>
                    </a:lnTo>
                    <a:lnTo>
                      <a:pt x="478" y="1027"/>
                    </a:lnTo>
                    <a:lnTo>
                      <a:pt x="476" y="1027"/>
                    </a:lnTo>
                    <a:lnTo>
                      <a:pt x="476" y="1028"/>
                    </a:lnTo>
                    <a:lnTo>
                      <a:pt x="476" y="1030"/>
                    </a:lnTo>
                    <a:lnTo>
                      <a:pt x="474" y="1032"/>
                    </a:lnTo>
                    <a:lnTo>
                      <a:pt x="472" y="1034"/>
                    </a:lnTo>
                    <a:lnTo>
                      <a:pt x="472" y="1036"/>
                    </a:lnTo>
                    <a:lnTo>
                      <a:pt x="470" y="1038"/>
                    </a:lnTo>
                    <a:lnTo>
                      <a:pt x="468" y="1040"/>
                    </a:lnTo>
                    <a:lnTo>
                      <a:pt x="468" y="1042"/>
                    </a:lnTo>
                    <a:lnTo>
                      <a:pt x="468" y="1043"/>
                    </a:lnTo>
                    <a:lnTo>
                      <a:pt x="466" y="1043"/>
                    </a:lnTo>
                    <a:lnTo>
                      <a:pt x="466" y="1045"/>
                    </a:lnTo>
                    <a:lnTo>
                      <a:pt x="464" y="1047"/>
                    </a:lnTo>
                    <a:lnTo>
                      <a:pt x="463" y="1049"/>
                    </a:lnTo>
                    <a:lnTo>
                      <a:pt x="463" y="1051"/>
                    </a:lnTo>
                    <a:lnTo>
                      <a:pt x="461" y="1053"/>
                    </a:lnTo>
                    <a:lnTo>
                      <a:pt x="461" y="1055"/>
                    </a:lnTo>
                    <a:lnTo>
                      <a:pt x="461" y="1057"/>
                    </a:lnTo>
                    <a:lnTo>
                      <a:pt x="459" y="1057"/>
                    </a:lnTo>
                    <a:lnTo>
                      <a:pt x="459" y="1059"/>
                    </a:lnTo>
                    <a:lnTo>
                      <a:pt x="457" y="1060"/>
                    </a:lnTo>
                    <a:lnTo>
                      <a:pt x="457" y="1062"/>
                    </a:lnTo>
                    <a:lnTo>
                      <a:pt x="455" y="1064"/>
                    </a:lnTo>
                    <a:lnTo>
                      <a:pt x="455" y="1066"/>
                    </a:lnTo>
                    <a:lnTo>
                      <a:pt x="455" y="1068"/>
                    </a:lnTo>
                    <a:lnTo>
                      <a:pt x="453" y="1068"/>
                    </a:lnTo>
                    <a:lnTo>
                      <a:pt x="453" y="1070"/>
                    </a:lnTo>
                    <a:lnTo>
                      <a:pt x="451" y="1070"/>
                    </a:lnTo>
                    <a:lnTo>
                      <a:pt x="451" y="1072"/>
                    </a:lnTo>
                    <a:lnTo>
                      <a:pt x="451" y="1074"/>
                    </a:lnTo>
                    <a:lnTo>
                      <a:pt x="451" y="1075"/>
                    </a:lnTo>
                    <a:lnTo>
                      <a:pt x="449" y="1075"/>
                    </a:lnTo>
                    <a:lnTo>
                      <a:pt x="449" y="1077"/>
                    </a:lnTo>
                    <a:lnTo>
                      <a:pt x="449" y="1079"/>
                    </a:lnTo>
                    <a:lnTo>
                      <a:pt x="448" y="1079"/>
                    </a:lnTo>
                    <a:lnTo>
                      <a:pt x="448" y="1081"/>
                    </a:lnTo>
                    <a:lnTo>
                      <a:pt x="446" y="1083"/>
                    </a:lnTo>
                    <a:lnTo>
                      <a:pt x="444" y="1085"/>
                    </a:lnTo>
                    <a:lnTo>
                      <a:pt x="444" y="1087"/>
                    </a:lnTo>
                    <a:lnTo>
                      <a:pt x="444" y="1089"/>
                    </a:lnTo>
                    <a:lnTo>
                      <a:pt x="442" y="1091"/>
                    </a:lnTo>
                    <a:lnTo>
                      <a:pt x="440" y="1091"/>
                    </a:lnTo>
                    <a:lnTo>
                      <a:pt x="440" y="1092"/>
                    </a:lnTo>
                    <a:lnTo>
                      <a:pt x="440" y="1094"/>
                    </a:lnTo>
                    <a:lnTo>
                      <a:pt x="438" y="1094"/>
                    </a:lnTo>
                    <a:lnTo>
                      <a:pt x="436" y="1096"/>
                    </a:lnTo>
                    <a:lnTo>
                      <a:pt x="436" y="1098"/>
                    </a:lnTo>
                    <a:lnTo>
                      <a:pt x="436" y="1100"/>
                    </a:lnTo>
                    <a:lnTo>
                      <a:pt x="434" y="1100"/>
                    </a:lnTo>
                    <a:lnTo>
                      <a:pt x="434" y="1102"/>
                    </a:lnTo>
                    <a:lnTo>
                      <a:pt x="434" y="1104"/>
                    </a:lnTo>
                    <a:lnTo>
                      <a:pt x="432" y="1106"/>
                    </a:lnTo>
                    <a:lnTo>
                      <a:pt x="431" y="1107"/>
                    </a:lnTo>
                    <a:lnTo>
                      <a:pt x="429" y="1109"/>
                    </a:lnTo>
                    <a:lnTo>
                      <a:pt x="429" y="1111"/>
                    </a:lnTo>
                    <a:lnTo>
                      <a:pt x="429" y="1113"/>
                    </a:lnTo>
                    <a:lnTo>
                      <a:pt x="427" y="1113"/>
                    </a:lnTo>
                    <a:lnTo>
                      <a:pt x="427" y="1115"/>
                    </a:lnTo>
                    <a:lnTo>
                      <a:pt x="429" y="1115"/>
                    </a:lnTo>
                    <a:lnTo>
                      <a:pt x="427" y="1115"/>
                    </a:lnTo>
                    <a:lnTo>
                      <a:pt x="427" y="1117"/>
                    </a:lnTo>
                    <a:lnTo>
                      <a:pt x="425" y="1117"/>
                    </a:lnTo>
                    <a:lnTo>
                      <a:pt x="425" y="1119"/>
                    </a:lnTo>
                    <a:lnTo>
                      <a:pt x="425" y="1121"/>
                    </a:lnTo>
                    <a:lnTo>
                      <a:pt x="423" y="1121"/>
                    </a:lnTo>
                    <a:lnTo>
                      <a:pt x="423" y="1123"/>
                    </a:lnTo>
                    <a:lnTo>
                      <a:pt x="421" y="1124"/>
                    </a:lnTo>
                    <a:lnTo>
                      <a:pt x="419" y="1126"/>
                    </a:lnTo>
                    <a:lnTo>
                      <a:pt x="419" y="1128"/>
                    </a:lnTo>
                    <a:lnTo>
                      <a:pt x="419" y="1130"/>
                    </a:lnTo>
                    <a:lnTo>
                      <a:pt x="416" y="1132"/>
                    </a:lnTo>
                    <a:lnTo>
                      <a:pt x="416" y="1134"/>
                    </a:lnTo>
                    <a:lnTo>
                      <a:pt x="416" y="1136"/>
                    </a:lnTo>
                    <a:lnTo>
                      <a:pt x="414" y="1136"/>
                    </a:lnTo>
                    <a:lnTo>
                      <a:pt x="414" y="1138"/>
                    </a:lnTo>
                    <a:lnTo>
                      <a:pt x="412" y="1139"/>
                    </a:lnTo>
                    <a:lnTo>
                      <a:pt x="412" y="1141"/>
                    </a:lnTo>
                    <a:lnTo>
                      <a:pt x="410" y="1141"/>
                    </a:lnTo>
                    <a:lnTo>
                      <a:pt x="410" y="1143"/>
                    </a:lnTo>
                    <a:lnTo>
                      <a:pt x="408" y="1145"/>
                    </a:lnTo>
                    <a:lnTo>
                      <a:pt x="406" y="1145"/>
                    </a:lnTo>
                    <a:lnTo>
                      <a:pt x="406" y="1147"/>
                    </a:lnTo>
                    <a:lnTo>
                      <a:pt x="406" y="1149"/>
                    </a:lnTo>
                    <a:lnTo>
                      <a:pt x="406" y="1151"/>
                    </a:lnTo>
                    <a:lnTo>
                      <a:pt x="404" y="1151"/>
                    </a:lnTo>
                    <a:lnTo>
                      <a:pt x="404" y="1153"/>
                    </a:lnTo>
                    <a:lnTo>
                      <a:pt x="402" y="1153"/>
                    </a:lnTo>
                    <a:lnTo>
                      <a:pt x="402" y="1155"/>
                    </a:lnTo>
                    <a:lnTo>
                      <a:pt x="402" y="1156"/>
                    </a:lnTo>
                    <a:lnTo>
                      <a:pt x="401" y="1156"/>
                    </a:lnTo>
                    <a:lnTo>
                      <a:pt x="401" y="1158"/>
                    </a:lnTo>
                    <a:lnTo>
                      <a:pt x="399" y="1158"/>
                    </a:lnTo>
                    <a:lnTo>
                      <a:pt x="399" y="1160"/>
                    </a:lnTo>
                    <a:lnTo>
                      <a:pt x="397" y="1162"/>
                    </a:lnTo>
                    <a:lnTo>
                      <a:pt x="397" y="1164"/>
                    </a:lnTo>
                    <a:lnTo>
                      <a:pt x="395" y="1166"/>
                    </a:lnTo>
                    <a:lnTo>
                      <a:pt x="395" y="1168"/>
                    </a:lnTo>
                    <a:lnTo>
                      <a:pt x="395" y="1170"/>
                    </a:lnTo>
                    <a:lnTo>
                      <a:pt x="393" y="1170"/>
                    </a:lnTo>
                    <a:lnTo>
                      <a:pt x="393" y="1171"/>
                    </a:lnTo>
                    <a:lnTo>
                      <a:pt x="393" y="1173"/>
                    </a:lnTo>
                    <a:lnTo>
                      <a:pt x="391" y="1173"/>
                    </a:lnTo>
                    <a:lnTo>
                      <a:pt x="391" y="1175"/>
                    </a:lnTo>
                    <a:lnTo>
                      <a:pt x="391" y="1177"/>
                    </a:lnTo>
                    <a:lnTo>
                      <a:pt x="389" y="1177"/>
                    </a:lnTo>
                    <a:lnTo>
                      <a:pt x="389" y="1179"/>
                    </a:lnTo>
                    <a:lnTo>
                      <a:pt x="387" y="1181"/>
                    </a:lnTo>
                    <a:lnTo>
                      <a:pt x="387" y="1183"/>
                    </a:lnTo>
                    <a:lnTo>
                      <a:pt x="385" y="1183"/>
                    </a:lnTo>
                    <a:lnTo>
                      <a:pt x="384" y="1185"/>
                    </a:lnTo>
                    <a:lnTo>
                      <a:pt x="384" y="1187"/>
                    </a:lnTo>
                    <a:lnTo>
                      <a:pt x="382" y="1187"/>
                    </a:lnTo>
                    <a:lnTo>
                      <a:pt x="382" y="1188"/>
                    </a:lnTo>
                    <a:lnTo>
                      <a:pt x="380" y="1188"/>
                    </a:lnTo>
                    <a:lnTo>
                      <a:pt x="380" y="1190"/>
                    </a:lnTo>
                    <a:lnTo>
                      <a:pt x="380" y="1192"/>
                    </a:lnTo>
                    <a:lnTo>
                      <a:pt x="378" y="1192"/>
                    </a:lnTo>
                    <a:lnTo>
                      <a:pt x="378" y="1194"/>
                    </a:lnTo>
                    <a:lnTo>
                      <a:pt x="376" y="1194"/>
                    </a:lnTo>
                    <a:lnTo>
                      <a:pt x="378" y="1194"/>
                    </a:lnTo>
                    <a:lnTo>
                      <a:pt x="378" y="1196"/>
                    </a:lnTo>
                    <a:lnTo>
                      <a:pt x="376" y="1196"/>
                    </a:lnTo>
                    <a:lnTo>
                      <a:pt x="376" y="1198"/>
                    </a:lnTo>
                    <a:lnTo>
                      <a:pt x="374" y="1198"/>
                    </a:lnTo>
                    <a:lnTo>
                      <a:pt x="374" y="1200"/>
                    </a:lnTo>
                    <a:lnTo>
                      <a:pt x="372" y="1200"/>
                    </a:lnTo>
                    <a:lnTo>
                      <a:pt x="372" y="1202"/>
                    </a:lnTo>
                    <a:lnTo>
                      <a:pt x="370" y="1203"/>
                    </a:lnTo>
                    <a:lnTo>
                      <a:pt x="369" y="1203"/>
                    </a:lnTo>
                    <a:lnTo>
                      <a:pt x="369" y="1205"/>
                    </a:lnTo>
                    <a:lnTo>
                      <a:pt x="367" y="1207"/>
                    </a:lnTo>
                    <a:lnTo>
                      <a:pt x="367" y="1209"/>
                    </a:lnTo>
                    <a:lnTo>
                      <a:pt x="365" y="1209"/>
                    </a:lnTo>
                    <a:lnTo>
                      <a:pt x="365" y="1211"/>
                    </a:lnTo>
                    <a:lnTo>
                      <a:pt x="367" y="1211"/>
                    </a:lnTo>
                    <a:lnTo>
                      <a:pt x="367" y="1213"/>
                    </a:lnTo>
                    <a:lnTo>
                      <a:pt x="365" y="1213"/>
                    </a:lnTo>
                    <a:lnTo>
                      <a:pt x="365" y="1215"/>
                    </a:lnTo>
                    <a:lnTo>
                      <a:pt x="363" y="1217"/>
                    </a:lnTo>
                    <a:lnTo>
                      <a:pt x="361" y="1217"/>
                    </a:lnTo>
                    <a:lnTo>
                      <a:pt x="361" y="1219"/>
                    </a:lnTo>
                    <a:lnTo>
                      <a:pt x="361" y="1220"/>
                    </a:lnTo>
                    <a:lnTo>
                      <a:pt x="359" y="1220"/>
                    </a:lnTo>
                    <a:lnTo>
                      <a:pt x="359" y="1222"/>
                    </a:lnTo>
                    <a:lnTo>
                      <a:pt x="359" y="1224"/>
                    </a:lnTo>
                    <a:lnTo>
                      <a:pt x="357" y="1224"/>
                    </a:lnTo>
                    <a:lnTo>
                      <a:pt x="357" y="1226"/>
                    </a:lnTo>
                    <a:lnTo>
                      <a:pt x="355" y="1228"/>
                    </a:lnTo>
                    <a:lnTo>
                      <a:pt x="355" y="1230"/>
                    </a:lnTo>
                    <a:lnTo>
                      <a:pt x="353" y="1230"/>
                    </a:lnTo>
                    <a:lnTo>
                      <a:pt x="353" y="1232"/>
                    </a:lnTo>
                    <a:lnTo>
                      <a:pt x="352" y="1232"/>
                    </a:lnTo>
                    <a:lnTo>
                      <a:pt x="352" y="1234"/>
                    </a:lnTo>
                    <a:lnTo>
                      <a:pt x="352" y="1235"/>
                    </a:lnTo>
                    <a:lnTo>
                      <a:pt x="350" y="1235"/>
                    </a:lnTo>
                    <a:lnTo>
                      <a:pt x="350" y="1237"/>
                    </a:lnTo>
                    <a:lnTo>
                      <a:pt x="348" y="1237"/>
                    </a:lnTo>
                    <a:lnTo>
                      <a:pt x="348" y="1239"/>
                    </a:lnTo>
                    <a:lnTo>
                      <a:pt x="346" y="1239"/>
                    </a:lnTo>
                    <a:lnTo>
                      <a:pt x="348" y="1241"/>
                    </a:lnTo>
                    <a:lnTo>
                      <a:pt x="346" y="1243"/>
                    </a:lnTo>
                    <a:lnTo>
                      <a:pt x="346" y="1245"/>
                    </a:lnTo>
                    <a:lnTo>
                      <a:pt x="344" y="1245"/>
                    </a:lnTo>
                    <a:lnTo>
                      <a:pt x="344" y="1247"/>
                    </a:lnTo>
                    <a:lnTo>
                      <a:pt x="342" y="1247"/>
                    </a:lnTo>
                    <a:lnTo>
                      <a:pt x="342" y="1249"/>
                    </a:lnTo>
                    <a:lnTo>
                      <a:pt x="340" y="1249"/>
                    </a:lnTo>
                    <a:lnTo>
                      <a:pt x="338" y="1251"/>
                    </a:lnTo>
                    <a:close/>
                  </a:path>
                </a:pathLst>
              </a:custGeom>
              <a:grp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32"/>
              <p:cNvSpPr>
                <a:spLocks/>
              </p:cNvSpPr>
              <p:nvPr/>
            </p:nvSpPr>
            <p:spPr bwMode="auto">
              <a:xfrm>
                <a:off x="3640138" y="4008438"/>
                <a:ext cx="3024188" cy="2019300"/>
              </a:xfrm>
              <a:custGeom>
                <a:avLst/>
                <a:gdLst>
                  <a:gd name="T0" fmla="*/ 1847 w 1905"/>
                  <a:gd name="T1" fmla="*/ 397 h 1272"/>
                  <a:gd name="T2" fmla="*/ 1781 w 1905"/>
                  <a:gd name="T3" fmla="*/ 448 h 1272"/>
                  <a:gd name="T4" fmla="*/ 1723 w 1905"/>
                  <a:gd name="T5" fmla="*/ 499 h 1272"/>
                  <a:gd name="T6" fmla="*/ 1678 w 1905"/>
                  <a:gd name="T7" fmla="*/ 546 h 1272"/>
                  <a:gd name="T8" fmla="*/ 1635 w 1905"/>
                  <a:gd name="T9" fmla="*/ 596 h 1272"/>
                  <a:gd name="T10" fmla="*/ 1599 w 1905"/>
                  <a:gd name="T11" fmla="*/ 647 h 1272"/>
                  <a:gd name="T12" fmla="*/ 1554 w 1905"/>
                  <a:gd name="T13" fmla="*/ 694 h 1272"/>
                  <a:gd name="T14" fmla="*/ 1505 w 1905"/>
                  <a:gd name="T15" fmla="*/ 745 h 1272"/>
                  <a:gd name="T16" fmla="*/ 1448 w 1905"/>
                  <a:gd name="T17" fmla="*/ 796 h 1272"/>
                  <a:gd name="T18" fmla="*/ 1377 w 1905"/>
                  <a:gd name="T19" fmla="*/ 845 h 1272"/>
                  <a:gd name="T20" fmla="*/ 1332 w 1905"/>
                  <a:gd name="T21" fmla="*/ 896 h 1272"/>
                  <a:gd name="T22" fmla="*/ 1270 w 1905"/>
                  <a:gd name="T23" fmla="*/ 943 h 1272"/>
                  <a:gd name="T24" fmla="*/ 1202 w 1905"/>
                  <a:gd name="T25" fmla="*/ 996 h 1272"/>
                  <a:gd name="T26" fmla="*/ 1125 w 1905"/>
                  <a:gd name="T27" fmla="*/ 1050 h 1272"/>
                  <a:gd name="T28" fmla="*/ 1055 w 1905"/>
                  <a:gd name="T29" fmla="*/ 1092 h 1272"/>
                  <a:gd name="T30" fmla="*/ 967 w 1905"/>
                  <a:gd name="T31" fmla="*/ 1131 h 1272"/>
                  <a:gd name="T32" fmla="*/ 771 w 1905"/>
                  <a:gd name="T33" fmla="*/ 1135 h 1272"/>
                  <a:gd name="T34" fmla="*/ 751 w 1905"/>
                  <a:gd name="T35" fmla="*/ 1201 h 1272"/>
                  <a:gd name="T36" fmla="*/ 702 w 1905"/>
                  <a:gd name="T37" fmla="*/ 1216 h 1272"/>
                  <a:gd name="T38" fmla="*/ 576 w 1905"/>
                  <a:gd name="T39" fmla="*/ 1201 h 1272"/>
                  <a:gd name="T40" fmla="*/ 534 w 1905"/>
                  <a:gd name="T41" fmla="*/ 1272 h 1272"/>
                  <a:gd name="T42" fmla="*/ 463 w 1905"/>
                  <a:gd name="T43" fmla="*/ 1259 h 1272"/>
                  <a:gd name="T44" fmla="*/ 386 w 1905"/>
                  <a:gd name="T45" fmla="*/ 1231 h 1272"/>
                  <a:gd name="T46" fmla="*/ 295 w 1905"/>
                  <a:gd name="T47" fmla="*/ 1214 h 1272"/>
                  <a:gd name="T48" fmla="*/ 231 w 1905"/>
                  <a:gd name="T49" fmla="*/ 1193 h 1272"/>
                  <a:gd name="T50" fmla="*/ 179 w 1905"/>
                  <a:gd name="T51" fmla="*/ 1127 h 1272"/>
                  <a:gd name="T52" fmla="*/ 0 w 1905"/>
                  <a:gd name="T53" fmla="*/ 1011 h 1272"/>
                  <a:gd name="T54" fmla="*/ 130 w 1905"/>
                  <a:gd name="T55" fmla="*/ 738 h 1272"/>
                  <a:gd name="T56" fmla="*/ 310 w 1905"/>
                  <a:gd name="T57" fmla="*/ 662 h 1272"/>
                  <a:gd name="T58" fmla="*/ 361 w 1905"/>
                  <a:gd name="T59" fmla="*/ 568 h 1272"/>
                  <a:gd name="T60" fmla="*/ 461 w 1905"/>
                  <a:gd name="T61" fmla="*/ 442 h 1272"/>
                  <a:gd name="T62" fmla="*/ 623 w 1905"/>
                  <a:gd name="T63" fmla="*/ 367 h 1272"/>
                  <a:gd name="T64" fmla="*/ 707 w 1905"/>
                  <a:gd name="T65" fmla="*/ 267 h 1272"/>
                  <a:gd name="T66" fmla="*/ 726 w 1905"/>
                  <a:gd name="T67" fmla="*/ 178 h 1272"/>
                  <a:gd name="T68" fmla="*/ 777 w 1905"/>
                  <a:gd name="T69" fmla="*/ 201 h 1272"/>
                  <a:gd name="T70" fmla="*/ 814 w 1905"/>
                  <a:gd name="T71" fmla="*/ 169 h 1272"/>
                  <a:gd name="T72" fmla="*/ 871 w 1905"/>
                  <a:gd name="T73" fmla="*/ 150 h 1272"/>
                  <a:gd name="T74" fmla="*/ 925 w 1905"/>
                  <a:gd name="T75" fmla="*/ 177 h 1272"/>
                  <a:gd name="T76" fmla="*/ 986 w 1905"/>
                  <a:gd name="T77" fmla="*/ 197 h 1272"/>
                  <a:gd name="T78" fmla="*/ 1040 w 1905"/>
                  <a:gd name="T79" fmla="*/ 190 h 1272"/>
                  <a:gd name="T80" fmla="*/ 1089 w 1905"/>
                  <a:gd name="T81" fmla="*/ 177 h 1272"/>
                  <a:gd name="T82" fmla="*/ 1121 w 1905"/>
                  <a:gd name="T83" fmla="*/ 160 h 1272"/>
                  <a:gd name="T84" fmla="*/ 1162 w 1905"/>
                  <a:gd name="T85" fmla="*/ 148 h 1272"/>
                  <a:gd name="T86" fmla="*/ 1183 w 1905"/>
                  <a:gd name="T87" fmla="*/ 118 h 1272"/>
                  <a:gd name="T88" fmla="*/ 1206 w 1905"/>
                  <a:gd name="T89" fmla="*/ 92 h 1272"/>
                  <a:gd name="T90" fmla="*/ 1241 w 1905"/>
                  <a:gd name="T91" fmla="*/ 133 h 1272"/>
                  <a:gd name="T92" fmla="*/ 1275 w 1905"/>
                  <a:gd name="T93" fmla="*/ 175 h 1272"/>
                  <a:gd name="T94" fmla="*/ 1330 w 1905"/>
                  <a:gd name="T95" fmla="*/ 192 h 1272"/>
                  <a:gd name="T96" fmla="*/ 1390 w 1905"/>
                  <a:gd name="T97" fmla="*/ 148 h 1272"/>
                  <a:gd name="T98" fmla="*/ 1413 w 1905"/>
                  <a:gd name="T99" fmla="*/ 105 h 1272"/>
                  <a:gd name="T100" fmla="*/ 1433 w 1905"/>
                  <a:gd name="T101" fmla="*/ 67 h 1272"/>
                  <a:gd name="T102" fmla="*/ 1486 w 1905"/>
                  <a:gd name="T103" fmla="*/ 35 h 1272"/>
                  <a:gd name="T104" fmla="*/ 1561 w 1905"/>
                  <a:gd name="T105" fmla="*/ 28 h 1272"/>
                  <a:gd name="T106" fmla="*/ 1629 w 1905"/>
                  <a:gd name="T107" fmla="*/ 30 h 1272"/>
                  <a:gd name="T108" fmla="*/ 1635 w 1905"/>
                  <a:gd name="T109" fmla="*/ 75 h 1272"/>
                  <a:gd name="T110" fmla="*/ 1648 w 1905"/>
                  <a:gd name="T111" fmla="*/ 143 h 1272"/>
                  <a:gd name="T112" fmla="*/ 1657 w 1905"/>
                  <a:gd name="T113" fmla="*/ 184 h 1272"/>
                  <a:gd name="T114" fmla="*/ 1772 w 1905"/>
                  <a:gd name="T115" fmla="*/ 199 h 1272"/>
                  <a:gd name="T116" fmla="*/ 1806 w 1905"/>
                  <a:gd name="T117" fmla="*/ 209 h 1272"/>
                  <a:gd name="T118" fmla="*/ 1832 w 1905"/>
                  <a:gd name="T119" fmla="*/ 235 h 1272"/>
                  <a:gd name="T120" fmla="*/ 1857 w 1905"/>
                  <a:gd name="T121" fmla="*/ 250 h 1272"/>
                  <a:gd name="T122" fmla="*/ 1889 w 1905"/>
                  <a:gd name="T123" fmla="*/ 269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5" h="1272">
                    <a:moveTo>
                      <a:pt x="1905" y="322"/>
                    </a:moveTo>
                    <a:lnTo>
                      <a:pt x="1902" y="327"/>
                    </a:lnTo>
                    <a:lnTo>
                      <a:pt x="1900" y="329"/>
                    </a:lnTo>
                    <a:lnTo>
                      <a:pt x="1900" y="331"/>
                    </a:lnTo>
                    <a:lnTo>
                      <a:pt x="1898" y="333"/>
                    </a:lnTo>
                    <a:lnTo>
                      <a:pt x="1896" y="335"/>
                    </a:lnTo>
                    <a:lnTo>
                      <a:pt x="1896" y="337"/>
                    </a:lnTo>
                    <a:lnTo>
                      <a:pt x="1896" y="338"/>
                    </a:lnTo>
                    <a:lnTo>
                      <a:pt x="1894" y="338"/>
                    </a:lnTo>
                    <a:lnTo>
                      <a:pt x="1892" y="342"/>
                    </a:lnTo>
                    <a:lnTo>
                      <a:pt x="1890" y="342"/>
                    </a:lnTo>
                    <a:lnTo>
                      <a:pt x="1887" y="346"/>
                    </a:lnTo>
                    <a:lnTo>
                      <a:pt x="1889" y="346"/>
                    </a:lnTo>
                    <a:lnTo>
                      <a:pt x="1887" y="348"/>
                    </a:lnTo>
                    <a:lnTo>
                      <a:pt x="1885" y="352"/>
                    </a:lnTo>
                    <a:lnTo>
                      <a:pt x="1881" y="354"/>
                    </a:lnTo>
                    <a:lnTo>
                      <a:pt x="1881" y="355"/>
                    </a:lnTo>
                    <a:lnTo>
                      <a:pt x="1877" y="359"/>
                    </a:lnTo>
                    <a:lnTo>
                      <a:pt x="1875" y="361"/>
                    </a:lnTo>
                    <a:lnTo>
                      <a:pt x="1873" y="361"/>
                    </a:lnTo>
                    <a:lnTo>
                      <a:pt x="1873" y="363"/>
                    </a:lnTo>
                    <a:lnTo>
                      <a:pt x="1873" y="365"/>
                    </a:lnTo>
                    <a:lnTo>
                      <a:pt x="1873" y="367"/>
                    </a:lnTo>
                    <a:lnTo>
                      <a:pt x="1873" y="369"/>
                    </a:lnTo>
                    <a:lnTo>
                      <a:pt x="1870" y="370"/>
                    </a:lnTo>
                    <a:lnTo>
                      <a:pt x="1868" y="370"/>
                    </a:lnTo>
                    <a:lnTo>
                      <a:pt x="1868" y="372"/>
                    </a:lnTo>
                    <a:lnTo>
                      <a:pt x="1868" y="374"/>
                    </a:lnTo>
                    <a:lnTo>
                      <a:pt x="1866" y="374"/>
                    </a:lnTo>
                    <a:lnTo>
                      <a:pt x="1866" y="376"/>
                    </a:lnTo>
                    <a:lnTo>
                      <a:pt x="1864" y="376"/>
                    </a:lnTo>
                    <a:lnTo>
                      <a:pt x="1864" y="378"/>
                    </a:lnTo>
                    <a:lnTo>
                      <a:pt x="1862" y="380"/>
                    </a:lnTo>
                    <a:lnTo>
                      <a:pt x="1860" y="382"/>
                    </a:lnTo>
                    <a:lnTo>
                      <a:pt x="1858" y="382"/>
                    </a:lnTo>
                    <a:lnTo>
                      <a:pt x="1858" y="384"/>
                    </a:lnTo>
                    <a:lnTo>
                      <a:pt x="1858" y="386"/>
                    </a:lnTo>
                    <a:lnTo>
                      <a:pt x="1857" y="386"/>
                    </a:lnTo>
                    <a:lnTo>
                      <a:pt x="1857" y="387"/>
                    </a:lnTo>
                    <a:lnTo>
                      <a:pt x="1855" y="387"/>
                    </a:lnTo>
                    <a:lnTo>
                      <a:pt x="1855" y="389"/>
                    </a:lnTo>
                    <a:lnTo>
                      <a:pt x="1853" y="389"/>
                    </a:lnTo>
                    <a:lnTo>
                      <a:pt x="1851" y="391"/>
                    </a:lnTo>
                    <a:lnTo>
                      <a:pt x="1849" y="391"/>
                    </a:lnTo>
                    <a:lnTo>
                      <a:pt x="1849" y="393"/>
                    </a:lnTo>
                    <a:lnTo>
                      <a:pt x="1849" y="391"/>
                    </a:lnTo>
                    <a:lnTo>
                      <a:pt x="1847" y="391"/>
                    </a:lnTo>
                    <a:lnTo>
                      <a:pt x="1847" y="393"/>
                    </a:lnTo>
                    <a:lnTo>
                      <a:pt x="1847" y="395"/>
                    </a:lnTo>
                    <a:lnTo>
                      <a:pt x="1847" y="397"/>
                    </a:lnTo>
                    <a:lnTo>
                      <a:pt x="1845" y="399"/>
                    </a:lnTo>
                    <a:lnTo>
                      <a:pt x="1845" y="401"/>
                    </a:lnTo>
                    <a:lnTo>
                      <a:pt x="1841" y="402"/>
                    </a:lnTo>
                    <a:lnTo>
                      <a:pt x="1840" y="402"/>
                    </a:lnTo>
                    <a:lnTo>
                      <a:pt x="1840" y="404"/>
                    </a:lnTo>
                    <a:lnTo>
                      <a:pt x="1840" y="406"/>
                    </a:lnTo>
                    <a:lnTo>
                      <a:pt x="1838" y="406"/>
                    </a:lnTo>
                    <a:lnTo>
                      <a:pt x="1836" y="408"/>
                    </a:lnTo>
                    <a:lnTo>
                      <a:pt x="1834" y="408"/>
                    </a:lnTo>
                    <a:lnTo>
                      <a:pt x="1834" y="410"/>
                    </a:lnTo>
                    <a:lnTo>
                      <a:pt x="1832" y="410"/>
                    </a:lnTo>
                    <a:lnTo>
                      <a:pt x="1832" y="412"/>
                    </a:lnTo>
                    <a:lnTo>
                      <a:pt x="1832" y="414"/>
                    </a:lnTo>
                    <a:lnTo>
                      <a:pt x="1830" y="414"/>
                    </a:lnTo>
                    <a:lnTo>
                      <a:pt x="1828" y="416"/>
                    </a:lnTo>
                    <a:lnTo>
                      <a:pt x="1826" y="418"/>
                    </a:lnTo>
                    <a:lnTo>
                      <a:pt x="1825" y="418"/>
                    </a:lnTo>
                    <a:lnTo>
                      <a:pt x="1823" y="419"/>
                    </a:lnTo>
                    <a:lnTo>
                      <a:pt x="1823" y="421"/>
                    </a:lnTo>
                    <a:lnTo>
                      <a:pt x="1823" y="423"/>
                    </a:lnTo>
                    <a:lnTo>
                      <a:pt x="1821" y="423"/>
                    </a:lnTo>
                    <a:lnTo>
                      <a:pt x="1819" y="425"/>
                    </a:lnTo>
                    <a:lnTo>
                      <a:pt x="1817" y="427"/>
                    </a:lnTo>
                    <a:lnTo>
                      <a:pt x="1815" y="427"/>
                    </a:lnTo>
                    <a:lnTo>
                      <a:pt x="1813" y="429"/>
                    </a:lnTo>
                    <a:lnTo>
                      <a:pt x="1811" y="429"/>
                    </a:lnTo>
                    <a:lnTo>
                      <a:pt x="1808" y="429"/>
                    </a:lnTo>
                    <a:lnTo>
                      <a:pt x="1806" y="429"/>
                    </a:lnTo>
                    <a:lnTo>
                      <a:pt x="1802" y="429"/>
                    </a:lnTo>
                    <a:lnTo>
                      <a:pt x="1800" y="429"/>
                    </a:lnTo>
                    <a:lnTo>
                      <a:pt x="1800" y="431"/>
                    </a:lnTo>
                    <a:lnTo>
                      <a:pt x="1798" y="431"/>
                    </a:lnTo>
                    <a:lnTo>
                      <a:pt x="1796" y="431"/>
                    </a:lnTo>
                    <a:lnTo>
                      <a:pt x="1794" y="431"/>
                    </a:lnTo>
                    <a:lnTo>
                      <a:pt x="1796" y="431"/>
                    </a:lnTo>
                    <a:lnTo>
                      <a:pt x="1796" y="433"/>
                    </a:lnTo>
                    <a:lnTo>
                      <a:pt x="1794" y="433"/>
                    </a:lnTo>
                    <a:lnTo>
                      <a:pt x="1791" y="435"/>
                    </a:lnTo>
                    <a:lnTo>
                      <a:pt x="1789" y="436"/>
                    </a:lnTo>
                    <a:lnTo>
                      <a:pt x="1787" y="436"/>
                    </a:lnTo>
                    <a:lnTo>
                      <a:pt x="1787" y="438"/>
                    </a:lnTo>
                    <a:lnTo>
                      <a:pt x="1787" y="440"/>
                    </a:lnTo>
                    <a:lnTo>
                      <a:pt x="1787" y="442"/>
                    </a:lnTo>
                    <a:lnTo>
                      <a:pt x="1785" y="442"/>
                    </a:lnTo>
                    <a:lnTo>
                      <a:pt x="1785" y="440"/>
                    </a:lnTo>
                    <a:lnTo>
                      <a:pt x="1785" y="442"/>
                    </a:lnTo>
                    <a:lnTo>
                      <a:pt x="1785" y="444"/>
                    </a:lnTo>
                    <a:lnTo>
                      <a:pt x="1785" y="446"/>
                    </a:lnTo>
                    <a:lnTo>
                      <a:pt x="1783" y="446"/>
                    </a:lnTo>
                    <a:lnTo>
                      <a:pt x="1781" y="448"/>
                    </a:lnTo>
                    <a:lnTo>
                      <a:pt x="1781" y="450"/>
                    </a:lnTo>
                    <a:lnTo>
                      <a:pt x="1778" y="453"/>
                    </a:lnTo>
                    <a:lnTo>
                      <a:pt x="1778" y="455"/>
                    </a:lnTo>
                    <a:lnTo>
                      <a:pt x="1776" y="455"/>
                    </a:lnTo>
                    <a:lnTo>
                      <a:pt x="1776" y="457"/>
                    </a:lnTo>
                    <a:lnTo>
                      <a:pt x="1774" y="457"/>
                    </a:lnTo>
                    <a:lnTo>
                      <a:pt x="1774" y="459"/>
                    </a:lnTo>
                    <a:lnTo>
                      <a:pt x="1772" y="461"/>
                    </a:lnTo>
                    <a:lnTo>
                      <a:pt x="1770" y="461"/>
                    </a:lnTo>
                    <a:lnTo>
                      <a:pt x="1768" y="461"/>
                    </a:lnTo>
                    <a:lnTo>
                      <a:pt x="1768" y="463"/>
                    </a:lnTo>
                    <a:lnTo>
                      <a:pt x="1766" y="463"/>
                    </a:lnTo>
                    <a:lnTo>
                      <a:pt x="1762" y="465"/>
                    </a:lnTo>
                    <a:lnTo>
                      <a:pt x="1762" y="467"/>
                    </a:lnTo>
                    <a:lnTo>
                      <a:pt x="1762" y="468"/>
                    </a:lnTo>
                    <a:lnTo>
                      <a:pt x="1761" y="468"/>
                    </a:lnTo>
                    <a:lnTo>
                      <a:pt x="1761" y="470"/>
                    </a:lnTo>
                    <a:lnTo>
                      <a:pt x="1761" y="472"/>
                    </a:lnTo>
                    <a:lnTo>
                      <a:pt x="1759" y="472"/>
                    </a:lnTo>
                    <a:lnTo>
                      <a:pt x="1755" y="474"/>
                    </a:lnTo>
                    <a:lnTo>
                      <a:pt x="1755" y="476"/>
                    </a:lnTo>
                    <a:lnTo>
                      <a:pt x="1753" y="476"/>
                    </a:lnTo>
                    <a:lnTo>
                      <a:pt x="1753" y="478"/>
                    </a:lnTo>
                    <a:lnTo>
                      <a:pt x="1751" y="478"/>
                    </a:lnTo>
                    <a:lnTo>
                      <a:pt x="1751" y="480"/>
                    </a:lnTo>
                    <a:lnTo>
                      <a:pt x="1749" y="480"/>
                    </a:lnTo>
                    <a:lnTo>
                      <a:pt x="1747" y="480"/>
                    </a:lnTo>
                    <a:lnTo>
                      <a:pt x="1744" y="482"/>
                    </a:lnTo>
                    <a:lnTo>
                      <a:pt x="1742" y="483"/>
                    </a:lnTo>
                    <a:lnTo>
                      <a:pt x="1740" y="485"/>
                    </a:lnTo>
                    <a:lnTo>
                      <a:pt x="1742" y="485"/>
                    </a:lnTo>
                    <a:lnTo>
                      <a:pt x="1742" y="487"/>
                    </a:lnTo>
                    <a:lnTo>
                      <a:pt x="1740" y="487"/>
                    </a:lnTo>
                    <a:lnTo>
                      <a:pt x="1740" y="489"/>
                    </a:lnTo>
                    <a:lnTo>
                      <a:pt x="1738" y="489"/>
                    </a:lnTo>
                    <a:lnTo>
                      <a:pt x="1738" y="491"/>
                    </a:lnTo>
                    <a:lnTo>
                      <a:pt x="1736" y="491"/>
                    </a:lnTo>
                    <a:lnTo>
                      <a:pt x="1734" y="491"/>
                    </a:lnTo>
                    <a:lnTo>
                      <a:pt x="1732" y="491"/>
                    </a:lnTo>
                    <a:lnTo>
                      <a:pt x="1732" y="493"/>
                    </a:lnTo>
                    <a:lnTo>
                      <a:pt x="1731" y="493"/>
                    </a:lnTo>
                    <a:lnTo>
                      <a:pt x="1729" y="493"/>
                    </a:lnTo>
                    <a:lnTo>
                      <a:pt x="1729" y="495"/>
                    </a:lnTo>
                    <a:lnTo>
                      <a:pt x="1729" y="497"/>
                    </a:lnTo>
                    <a:lnTo>
                      <a:pt x="1727" y="497"/>
                    </a:lnTo>
                    <a:lnTo>
                      <a:pt x="1725" y="497"/>
                    </a:lnTo>
                    <a:lnTo>
                      <a:pt x="1727" y="497"/>
                    </a:lnTo>
                    <a:lnTo>
                      <a:pt x="1725" y="497"/>
                    </a:lnTo>
                    <a:lnTo>
                      <a:pt x="1725" y="499"/>
                    </a:lnTo>
                    <a:lnTo>
                      <a:pt x="1723" y="499"/>
                    </a:lnTo>
                    <a:lnTo>
                      <a:pt x="1721" y="499"/>
                    </a:lnTo>
                    <a:lnTo>
                      <a:pt x="1721" y="500"/>
                    </a:lnTo>
                    <a:lnTo>
                      <a:pt x="1717" y="499"/>
                    </a:lnTo>
                    <a:lnTo>
                      <a:pt x="1717" y="500"/>
                    </a:lnTo>
                    <a:lnTo>
                      <a:pt x="1714" y="500"/>
                    </a:lnTo>
                    <a:lnTo>
                      <a:pt x="1714" y="502"/>
                    </a:lnTo>
                    <a:lnTo>
                      <a:pt x="1712" y="502"/>
                    </a:lnTo>
                    <a:lnTo>
                      <a:pt x="1710" y="502"/>
                    </a:lnTo>
                    <a:lnTo>
                      <a:pt x="1708" y="504"/>
                    </a:lnTo>
                    <a:lnTo>
                      <a:pt x="1708" y="506"/>
                    </a:lnTo>
                    <a:lnTo>
                      <a:pt x="1706" y="506"/>
                    </a:lnTo>
                    <a:lnTo>
                      <a:pt x="1706" y="508"/>
                    </a:lnTo>
                    <a:lnTo>
                      <a:pt x="1706" y="510"/>
                    </a:lnTo>
                    <a:lnTo>
                      <a:pt x="1704" y="510"/>
                    </a:lnTo>
                    <a:lnTo>
                      <a:pt x="1706" y="510"/>
                    </a:lnTo>
                    <a:lnTo>
                      <a:pt x="1704" y="510"/>
                    </a:lnTo>
                    <a:lnTo>
                      <a:pt x="1704" y="512"/>
                    </a:lnTo>
                    <a:lnTo>
                      <a:pt x="1702" y="512"/>
                    </a:lnTo>
                    <a:lnTo>
                      <a:pt x="1702" y="514"/>
                    </a:lnTo>
                    <a:lnTo>
                      <a:pt x="1704" y="514"/>
                    </a:lnTo>
                    <a:lnTo>
                      <a:pt x="1702" y="514"/>
                    </a:lnTo>
                    <a:lnTo>
                      <a:pt x="1704" y="514"/>
                    </a:lnTo>
                    <a:lnTo>
                      <a:pt x="1704" y="515"/>
                    </a:lnTo>
                    <a:lnTo>
                      <a:pt x="1702" y="515"/>
                    </a:lnTo>
                    <a:lnTo>
                      <a:pt x="1702" y="517"/>
                    </a:lnTo>
                    <a:lnTo>
                      <a:pt x="1700" y="517"/>
                    </a:lnTo>
                    <a:lnTo>
                      <a:pt x="1700" y="519"/>
                    </a:lnTo>
                    <a:lnTo>
                      <a:pt x="1699" y="519"/>
                    </a:lnTo>
                    <a:lnTo>
                      <a:pt x="1699" y="521"/>
                    </a:lnTo>
                    <a:lnTo>
                      <a:pt x="1697" y="521"/>
                    </a:lnTo>
                    <a:lnTo>
                      <a:pt x="1695" y="521"/>
                    </a:lnTo>
                    <a:lnTo>
                      <a:pt x="1693" y="523"/>
                    </a:lnTo>
                    <a:lnTo>
                      <a:pt x="1691" y="523"/>
                    </a:lnTo>
                    <a:lnTo>
                      <a:pt x="1691" y="525"/>
                    </a:lnTo>
                    <a:lnTo>
                      <a:pt x="1691" y="529"/>
                    </a:lnTo>
                    <a:lnTo>
                      <a:pt x="1691" y="531"/>
                    </a:lnTo>
                    <a:lnTo>
                      <a:pt x="1691" y="532"/>
                    </a:lnTo>
                    <a:lnTo>
                      <a:pt x="1689" y="534"/>
                    </a:lnTo>
                    <a:lnTo>
                      <a:pt x="1687" y="534"/>
                    </a:lnTo>
                    <a:lnTo>
                      <a:pt x="1689" y="534"/>
                    </a:lnTo>
                    <a:lnTo>
                      <a:pt x="1689" y="536"/>
                    </a:lnTo>
                    <a:lnTo>
                      <a:pt x="1689" y="538"/>
                    </a:lnTo>
                    <a:lnTo>
                      <a:pt x="1687" y="538"/>
                    </a:lnTo>
                    <a:lnTo>
                      <a:pt x="1685" y="538"/>
                    </a:lnTo>
                    <a:lnTo>
                      <a:pt x="1683" y="538"/>
                    </a:lnTo>
                    <a:lnTo>
                      <a:pt x="1682" y="540"/>
                    </a:lnTo>
                    <a:lnTo>
                      <a:pt x="1680" y="542"/>
                    </a:lnTo>
                    <a:lnTo>
                      <a:pt x="1680" y="544"/>
                    </a:lnTo>
                    <a:lnTo>
                      <a:pt x="1678" y="544"/>
                    </a:lnTo>
                    <a:lnTo>
                      <a:pt x="1678" y="546"/>
                    </a:lnTo>
                    <a:lnTo>
                      <a:pt x="1676" y="546"/>
                    </a:lnTo>
                    <a:lnTo>
                      <a:pt x="1676" y="547"/>
                    </a:lnTo>
                    <a:lnTo>
                      <a:pt x="1674" y="547"/>
                    </a:lnTo>
                    <a:lnTo>
                      <a:pt x="1674" y="549"/>
                    </a:lnTo>
                    <a:lnTo>
                      <a:pt x="1672" y="549"/>
                    </a:lnTo>
                    <a:lnTo>
                      <a:pt x="1672" y="551"/>
                    </a:lnTo>
                    <a:lnTo>
                      <a:pt x="1670" y="551"/>
                    </a:lnTo>
                    <a:lnTo>
                      <a:pt x="1670" y="553"/>
                    </a:lnTo>
                    <a:lnTo>
                      <a:pt x="1670" y="555"/>
                    </a:lnTo>
                    <a:lnTo>
                      <a:pt x="1668" y="555"/>
                    </a:lnTo>
                    <a:lnTo>
                      <a:pt x="1667" y="555"/>
                    </a:lnTo>
                    <a:lnTo>
                      <a:pt x="1667" y="557"/>
                    </a:lnTo>
                    <a:lnTo>
                      <a:pt x="1667" y="559"/>
                    </a:lnTo>
                    <a:lnTo>
                      <a:pt x="1667" y="561"/>
                    </a:lnTo>
                    <a:lnTo>
                      <a:pt x="1667" y="563"/>
                    </a:lnTo>
                    <a:lnTo>
                      <a:pt x="1665" y="563"/>
                    </a:lnTo>
                    <a:lnTo>
                      <a:pt x="1663" y="563"/>
                    </a:lnTo>
                    <a:lnTo>
                      <a:pt x="1663" y="564"/>
                    </a:lnTo>
                    <a:lnTo>
                      <a:pt x="1663" y="566"/>
                    </a:lnTo>
                    <a:lnTo>
                      <a:pt x="1661" y="568"/>
                    </a:lnTo>
                    <a:lnTo>
                      <a:pt x="1659" y="568"/>
                    </a:lnTo>
                    <a:lnTo>
                      <a:pt x="1659" y="570"/>
                    </a:lnTo>
                    <a:lnTo>
                      <a:pt x="1659" y="572"/>
                    </a:lnTo>
                    <a:lnTo>
                      <a:pt x="1657" y="572"/>
                    </a:lnTo>
                    <a:lnTo>
                      <a:pt x="1657" y="574"/>
                    </a:lnTo>
                    <a:lnTo>
                      <a:pt x="1655" y="576"/>
                    </a:lnTo>
                    <a:lnTo>
                      <a:pt x="1655" y="578"/>
                    </a:lnTo>
                    <a:lnTo>
                      <a:pt x="1655" y="579"/>
                    </a:lnTo>
                    <a:lnTo>
                      <a:pt x="1653" y="579"/>
                    </a:lnTo>
                    <a:lnTo>
                      <a:pt x="1653" y="581"/>
                    </a:lnTo>
                    <a:lnTo>
                      <a:pt x="1652" y="581"/>
                    </a:lnTo>
                    <a:lnTo>
                      <a:pt x="1650" y="581"/>
                    </a:lnTo>
                    <a:lnTo>
                      <a:pt x="1648" y="581"/>
                    </a:lnTo>
                    <a:lnTo>
                      <a:pt x="1646" y="581"/>
                    </a:lnTo>
                    <a:lnTo>
                      <a:pt x="1646" y="583"/>
                    </a:lnTo>
                    <a:lnTo>
                      <a:pt x="1648" y="583"/>
                    </a:lnTo>
                    <a:lnTo>
                      <a:pt x="1646" y="583"/>
                    </a:lnTo>
                    <a:lnTo>
                      <a:pt x="1646" y="585"/>
                    </a:lnTo>
                    <a:lnTo>
                      <a:pt x="1644" y="585"/>
                    </a:lnTo>
                    <a:lnTo>
                      <a:pt x="1644" y="587"/>
                    </a:lnTo>
                    <a:lnTo>
                      <a:pt x="1642" y="587"/>
                    </a:lnTo>
                    <a:lnTo>
                      <a:pt x="1642" y="589"/>
                    </a:lnTo>
                    <a:lnTo>
                      <a:pt x="1640" y="589"/>
                    </a:lnTo>
                    <a:lnTo>
                      <a:pt x="1640" y="591"/>
                    </a:lnTo>
                    <a:lnTo>
                      <a:pt x="1638" y="591"/>
                    </a:lnTo>
                    <a:lnTo>
                      <a:pt x="1638" y="593"/>
                    </a:lnTo>
                    <a:lnTo>
                      <a:pt x="1638" y="595"/>
                    </a:lnTo>
                    <a:lnTo>
                      <a:pt x="1636" y="595"/>
                    </a:lnTo>
                    <a:lnTo>
                      <a:pt x="1635" y="595"/>
                    </a:lnTo>
                    <a:lnTo>
                      <a:pt x="1635" y="596"/>
                    </a:lnTo>
                    <a:lnTo>
                      <a:pt x="1635" y="598"/>
                    </a:lnTo>
                    <a:lnTo>
                      <a:pt x="1633" y="598"/>
                    </a:lnTo>
                    <a:lnTo>
                      <a:pt x="1633" y="600"/>
                    </a:lnTo>
                    <a:lnTo>
                      <a:pt x="1635" y="600"/>
                    </a:lnTo>
                    <a:lnTo>
                      <a:pt x="1633" y="600"/>
                    </a:lnTo>
                    <a:lnTo>
                      <a:pt x="1633" y="602"/>
                    </a:lnTo>
                    <a:lnTo>
                      <a:pt x="1633" y="604"/>
                    </a:lnTo>
                    <a:lnTo>
                      <a:pt x="1631" y="604"/>
                    </a:lnTo>
                    <a:lnTo>
                      <a:pt x="1631" y="606"/>
                    </a:lnTo>
                    <a:lnTo>
                      <a:pt x="1629" y="606"/>
                    </a:lnTo>
                    <a:lnTo>
                      <a:pt x="1629" y="608"/>
                    </a:lnTo>
                    <a:lnTo>
                      <a:pt x="1627" y="608"/>
                    </a:lnTo>
                    <a:lnTo>
                      <a:pt x="1627" y="610"/>
                    </a:lnTo>
                    <a:lnTo>
                      <a:pt x="1627" y="611"/>
                    </a:lnTo>
                    <a:lnTo>
                      <a:pt x="1625" y="613"/>
                    </a:lnTo>
                    <a:lnTo>
                      <a:pt x="1623" y="615"/>
                    </a:lnTo>
                    <a:lnTo>
                      <a:pt x="1621" y="617"/>
                    </a:lnTo>
                    <a:lnTo>
                      <a:pt x="1623" y="617"/>
                    </a:lnTo>
                    <a:lnTo>
                      <a:pt x="1623" y="619"/>
                    </a:lnTo>
                    <a:lnTo>
                      <a:pt x="1621" y="619"/>
                    </a:lnTo>
                    <a:lnTo>
                      <a:pt x="1623" y="619"/>
                    </a:lnTo>
                    <a:lnTo>
                      <a:pt x="1623" y="621"/>
                    </a:lnTo>
                    <a:lnTo>
                      <a:pt x="1621" y="621"/>
                    </a:lnTo>
                    <a:lnTo>
                      <a:pt x="1620" y="621"/>
                    </a:lnTo>
                    <a:lnTo>
                      <a:pt x="1618" y="623"/>
                    </a:lnTo>
                    <a:lnTo>
                      <a:pt x="1618" y="625"/>
                    </a:lnTo>
                    <a:lnTo>
                      <a:pt x="1618" y="627"/>
                    </a:lnTo>
                    <a:lnTo>
                      <a:pt x="1616" y="627"/>
                    </a:lnTo>
                    <a:lnTo>
                      <a:pt x="1616" y="628"/>
                    </a:lnTo>
                    <a:lnTo>
                      <a:pt x="1614" y="628"/>
                    </a:lnTo>
                    <a:lnTo>
                      <a:pt x="1612" y="628"/>
                    </a:lnTo>
                    <a:lnTo>
                      <a:pt x="1612" y="630"/>
                    </a:lnTo>
                    <a:lnTo>
                      <a:pt x="1610" y="630"/>
                    </a:lnTo>
                    <a:lnTo>
                      <a:pt x="1610" y="632"/>
                    </a:lnTo>
                    <a:lnTo>
                      <a:pt x="1608" y="632"/>
                    </a:lnTo>
                    <a:lnTo>
                      <a:pt x="1608" y="630"/>
                    </a:lnTo>
                    <a:lnTo>
                      <a:pt x="1608" y="632"/>
                    </a:lnTo>
                    <a:lnTo>
                      <a:pt x="1606" y="632"/>
                    </a:lnTo>
                    <a:lnTo>
                      <a:pt x="1606" y="634"/>
                    </a:lnTo>
                    <a:lnTo>
                      <a:pt x="1604" y="634"/>
                    </a:lnTo>
                    <a:lnTo>
                      <a:pt x="1603" y="636"/>
                    </a:lnTo>
                    <a:lnTo>
                      <a:pt x="1603" y="638"/>
                    </a:lnTo>
                    <a:lnTo>
                      <a:pt x="1603" y="640"/>
                    </a:lnTo>
                    <a:lnTo>
                      <a:pt x="1603" y="638"/>
                    </a:lnTo>
                    <a:lnTo>
                      <a:pt x="1603" y="640"/>
                    </a:lnTo>
                    <a:lnTo>
                      <a:pt x="1603" y="642"/>
                    </a:lnTo>
                    <a:lnTo>
                      <a:pt x="1601" y="642"/>
                    </a:lnTo>
                    <a:lnTo>
                      <a:pt x="1599" y="643"/>
                    </a:lnTo>
                    <a:lnTo>
                      <a:pt x="1599" y="645"/>
                    </a:lnTo>
                    <a:lnTo>
                      <a:pt x="1599" y="647"/>
                    </a:lnTo>
                    <a:lnTo>
                      <a:pt x="1597" y="647"/>
                    </a:lnTo>
                    <a:lnTo>
                      <a:pt x="1597" y="649"/>
                    </a:lnTo>
                    <a:lnTo>
                      <a:pt x="1595" y="649"/>
                    </a:lnTo>
                    <a:lnTo>
                      <a:pt x="1595" y="647"/>
                    </a:lnTo>
                    <a:lnTo>
                      <a:pt x="1595" y="649"/>
                    </a:lnTo>
                    <a:lnTo>
                      <a:pt x="1593" y="649"/>
                    </a:lnTo>
                    <a:lnTo>
                      <a:pt x="1593" y="651"/>
                    </a:lnTo>
                    <a:lnTo>
                      <a:pt x="1591" y="653"/>
                    </a:lnTo>
                    <a:lnTo>
                      <a:pt x="1589" y="653"/>
                    </a:lnTo>
                    <a:lnTo>
                      <a:pt x="1589" y="655"/>
                    </a:lnTo>
                    <a:lnTo>
                      <a:pt x="1588" y="655"/>
                    </a:lnTo>
                    <a:lnTo>
                      <a:pt x="1588" y="657"/>
                    </a:lnTo>
                    <a:lnTo>
                      <a:pt x="1588" y="659"/>
                    </a:lnTo>
                    <a:lnTo>
                      <a:pt x="1586" y="659"/>
                    </a:lnTo>
                    <a:lnTo>
                      <a:pt x="1588" y="659"/>
                    </a:lnTo>
                    <a:lnTo>
                      <a:pt x="1588" y="660"/>
                    </a:lnTo>
                    <a:lnTo>
                      <a:pt x="1586" y="660"/>
                    </a:lnTo>
                    <a:lnTo>
                      <a:pt x="1586" y="662"/>
                    </a:lnTo>
                    <a:lnTo>
                      <a:pt x="1584" y="662"/>
                    </a:lnTo>
                    <a:lnTo>
                      <a:pt x="1584" y="664"/>
                    </a:lnTo>
                    <a:lnTo>
                      <a:pt x="1582" y="664"/>
                    </a:lnTo>
                    <a:lnTo>
                      <a:pt x="1582" y="666"/>
                    </a:lnTo>
                    <a:lnTo>
                      <a:pt x="1580" y="666"/>
                    </a:lnTo>
                    <a:lnTo>
                      <a:pt x="1580" y="668"/>
                    </a:lnTo>
                    <a:lnTo>
                      <a:pt x="1580" y="670"/>
                    </a:lnTo>
                    <a:lnTo>
                      <a:pt x="1578" y="670"/>
                    </a:lnTo>
                    <a:lnTo>
                      <a:pt x="1576" y="670"/>
                    </a:lnTo>
                    <a:lnTo>
                      <a:pt x="1576" y="672"/>
                    </a:lnTo>
                    <a:lnTo>
                      <a:pt x="1574" y="672"/>
                    </a:lnTo>
                    <a:lnTo>
                      <a:pt x="1574" y="670"/>
                    </a:lnTo>
                    <a:lnTo>
                      <a:pt x="1574" y="672"/>
                    </a:lnTo>
                    <a:lnTo>
                      <a:pt x="1574" y="674"/>
                    </a:lnTo>
                    <a:lnTo>
                      <a:pt x="1573" y="677"/>
                    </a:lnTo>
                    <a:lnTo>
                      <a:pt x="1571" y="677"/>
                    </a:lnTo>
                    <a:lnTo>
                      <a:pt x="1571" y="679"/>
                    </a:lnTo>
                    <a:lnTo>
                      <a:pt x="1571" y="681"/>
                    </a:lnTo>
                    <a:lnTo>
                      <a:pt x="1569" y="683"/>
                    </a:lnTo>
                    <a:lnTo>
                      <a:pt x="1567" y="683"/>
                    </a:lnTo>
                    <a:lnTo>
                      <a:pt x="1565" y="683"/>
                    </a:lnTo>
                    <a:lnTo>
                      <a:pt x="1565" y="685"/>
                    </a:lnTo>
                    <a:lnTo>
                      <a:pt x="1563" y="685"/>
                    </a:lnTo>
                    <a:lnTo>
                      <a:pt x="1563" y="687"/>
                    </a:lnTo>
                    <a:lnTo>
                      <a:pt x="1561" y="687"/>
                    </a:lnTo>
                    <a:lnTo>
                      <a:pt x="1559" y="687"/>
                    </a:lnTo>
                    <a:lnTo>
                      <a:pt x="1559" y="689"/>
                    </a:lnTo>
                    <a:lnTo>
                      <a:pt x="1557" y="689"/>
                    </a:lnTo>
                    <a:lnTo>
                      <a:pt x="1557" y="691"/>
                    </a:lnTo>
                    <a:lnTo>
                      <a:pt x="1556" y="692"/>
                    </a:lnTo>
                    <a:lnTo>
                      <a:pt x="1554" y="692"/>
                    </a:lnTo>
                    <a:lnTo>
                      <a:pt x="1554" y="694"/>
                    </a:lnTo>
                    <a:lnTo>
                      <a:pt x="1554" y="696"/>
                    </a:lnTo>
                    <a:lnTo>
                      <a:pt x="1552" y="696"/>
                    </a:lnTo>
                    <a:lnTo>
                      <a:pt x="1552" y="698"/>
                    </a:lnTo>
                    <a:lnTo>
                      <a:pt x="1550" y="698"/>
                    </a:lnTo>
                    <a:lnTo>
                      <a:pt x="1548" y="700"/>
                    </a:lnTo>
                    <a:lnTo>
                      <a:pt x="1546" y="700"/>
                    </a:lnTo>
                    <a:lnTo>
                      <a:pt x="1544" y="700"/>
                    </a:lnTo>
                    <a:lnTo>
                      <a:pt x="1544" y="702"/>
                    </a:lnTo>
                    <a:lnTo>
                      <a:pt x="1542" y="704"/>
                    </a:lnTo>
                    <a:lnTo>
                      <a:pt x="1542" y="706"/>
                    </a:lnTo>
                    <a:lnTo>
                      <a:pt x="1541" y="707"/>
                    </a:lnTo>
                    <a:lnTo>
                      <a:pt x="1539" y="707"/>
                    </a:lnTo>
                    <a:lnTo>
                      <a:pt x="1539" y="709"/>
                    </a:lnTo>
                    <a:lnTo>
                      <a:pt x="1537" y="709"/>
                    </a:lnTo>
                    <a:lnTo>
                      <a:pt x="1537" y="711"/>
                    </a:lnTo>
                    <a:lnTo>
                      <a:pt x="1537" y="713"/>
                    </a:lnTo>
                    <a:lnTo>
                      <a:pt x="1535" y="713"/>
                    </a:lnTo>
                    <a:lnTo>
                      <a:pt x="1535" y="715"/>
                    </a:lnTo>
                    <a:lnTo>
                      <a:pt x="1535" y="717"/>
                    </a:lnTo>
                    <a:lnTo>
                      <a:pt x="1533" y="717"/>
                    </a:lnTo>
                    <a:lnTo>
                      <a:pt x="1531" y="717"/>
                    </a:lnTo>
                    <a:lnTo>
                      <a:pt x="1531" y="719"/>
                    </a:lnTo>
                    <a:lnTo>
                      <a:pt x="1529" y="719"/>
                    </a:lnTo>
                    <a:lnTo>
                      <a:pt x="1527" y="721"/>
                    </a:lnTo>
                    <a:lnTo>
                      <a:pt x="1525" y="723"/>
                    </a:lnTo>
                    <a:lnTo>
                      <a:pt x="1525" y="724"/>
                    </a:lnTo>
                    <a:lnTo>
                      <a:pt x="1525" y="726"/>
                    </a:lnTo>
                    <a:lnTo>
                      <a:pt x="1524" y="726"/>
                    </a:lnTo>
                    <a:lnTo>
                      <a:pt x="1524" y="724"/>
                    </a:lnTo>
                    <a:lnTo>
                      <a:pt x="1524" y="726"/>
                    </a:lnTo>
                    <a:lnTo>
                      <a:pt x="1522" y="726"/>
                    </a:lnTo>
                    <a:lnTo>
                      <a:pt x="1522" y="728"/>
                    </a:lnTo>
                    <a:lnTo>
                      <a:pt x="1520" y="728"/>
                    </a:lnTo>
                    <a:lnTo>
                      <a:pt x="1520" y="730"/>
                    </a:lnTo>
                    <a:lnTo>
                      <a:pt x="1518" y="730"/>
                    </a:lnTo>
                    <a:lnTo>
                      <a:pt x="1518" y="732"/>
                    </a:lnTo>
                    <a:lnTo>
                      <a:pt x="1516" y="732"/>
                    </a:lnTo>
                    <a:lnTo>
                      <a:pt x="1516" y="734"/>
                    </a:lnTo>
                    <a:lnTo>
                      <a:pt x="1514" y="734"/>
                    </a:lnTo>
                    <a:lnTo>
                      <a:pt x="1512" y="736"/>
                    </a:lnTo>
                    <a:lnTo>
                      <a:pt x="1512" y="738"/>
                    </a:lnTo>
                    <a:lnTo>
                      <a:pt x="1512" y="739"/>
                    </a:lnTo>
                    <a:lnTo>
                      <a:pt x="1512" y="741"/>
                    </a:lnTo>
                    <a:lnTo>
                      <a:pt x="1510" y="741"/>
                    </a:lnTo>
                    <a:lnTo>
                      <a:pt x="1510" y="743"/>
                    </a:lnTo>
                    <a:lnTo>
                      <a:pt x="1510" y="741"/>
                    </a:lnTo>
                    <a:lnTo>
                      <a:pt x="1509" y="741"/>
                    </a:lnTo>
                    <a:lnTo>
                      <a:pt x="1509" y="743"/>
                    </a:lnTo>
                    <a:lnTo>
                      <a:pt x="1507" y="743"/>
                    </a:lnTo>
                    <a:lnTo>
                      <a:pt x="1505" y="745"/>
                    </a:lnTo>
                    <a:lnTo>
                      <a:pt x="1503" y="745"/>
                    </a:lnTo>
                    <a:lnTo>
                      <a:pt x="1501" y="745"/>
                    </a:lnTo>
                    <a:lnTo>
                      <a:pt x="1501" y="747"/>
                    </a:lnTo>
                    <a:lnTo>
                      <a:pt x="1499" y="747"/>
                    </a:lnTo>
                    <a:lnTo>
                      <a:pt x="1499" y="749"/>
                    </a:lnTo>
                    <a:lnTo>
                      <a:pt x="1499" y="751"/>
                    </a:lnTo>
                    <a:lnTo>
                      <a:pt x="1499" y="753"/>
                    </a:lnTo>
                    <a:lnTo>
                      <a:pt x="1497" y="753"/>
                    </a:lnTo>
                    <a:lnTo>
                      <a:pt x="1495" y="753"/>
                    </a:lnTo>
                    <a:lnTo>
                      <a:pt x="1495" y="755"/>
                    </a:lnTo>
                    <a:lnTo>
                      <a:pt x="1494" y="755"/>
                    </a:lnTo>
                    <a:lnTo>
                      <a:pt x="1494" y="756"/>
                    </a:lnTo>
                    <a:lnTo>
                      <a:pt x="1492" y="756"/>
                    </a:lnTo>
                    <a:lnTo>
                      <a:pt x="1492" y="758"/>
                    </a:lnTo>
                    <a:lnTo>
                      <a:pt x="1492" y="760"/>
                    </a:lnTo>
                    <a:lnTo>
                      <a:pt x="1490" y="760"/>
                    </a:lnTo>
                    <a:lnTo>
                      <a:pt x="1490" y="762"/>
                    </a:lnTo>
                    <a:lnTo>
                      <a:pt x="1488" y="762"/>
                    </a:lnTo>
                    <a:lnTo>
                      <a:pt x="1488" y="764"/>
                    </a:lnTo>
                    <a:lnTo>
                      <a:pt x="1486" y="764"/>
                    </a:lnTo>
                    <a:lnTo>
                      <a:pt x="1486" y="766"/>
                    </a:lnTo>
                    <a:lnTo>
                      <a:pt x="1486" y="768"/>
                    </a:lnTo>
                    <a:lnTo>
                      <a:pt x="1486" y="770"/>
                    </a:lnTo>
                    <a:lnTo>
                      <a:pt x="1482" y="770"/>
                    </a:lnTo>
                    <a:lnTo>
                      <a:pt x="1482" y="771"/>
                    </a:lnTo>
                    <a:lnTo>
                      <a:pt x="1480" y="771"/>
                    </a:lnTo>
                    <a:lnTo>
                      <a:pt x="1480" y="773"/>
                    </a:lnTo>
                    <a:lnTo>
                      <a:pt x="1478" y="773"/>
                    </a:lnTo>
                    <a:lnTo>
                      <a:pt x="1478" y="775"/>
                    </a:lnTo>
                    <a:lnTo>
                      <a:pt x="1477" y="777"/>
                    </a:lnTo>
                    <a:lnTo>
                      <a:pt x="1475" y="779"/>
                    </a:lnTo>
                    <a:lnTo>
                      <a:pt x="1473" y="779"/>
                    </a:lnTo>
                    <a:lnTo>
                      <a:pt x="1469" y="781"/>
                    </a:lnTo>
                    <a:lnTo>
                      <a:pt x="1467" y="783"/>
                    </a:lnTo>
                    <a:lnTo>
                      <a:pt x="1465" y="783"/>
                    </a:lnTo>
                    <a:lnTo>
                      <a:pt x="1465" y="785"/>
                    </a:lnTo>
                    <a:lnTo>
                      <a:pt x="1463" y="785"/>
                    </a:lnTo>
                    <a:lnTo>
                      <a:pt x="1460" y="785"/>
                    </a:lnTo>
                    <a:lnTo>
                      <a:pt x="1460" y="787"/>
                    </a:lnTo>
                    <a:lnTo>
                      <a:pt x="1458" y="787"/>
                    </a:lnTo>
                    <a:lnTo>
                      <a:pt x="1456" y="787"/>
                    </a:lnTo>
                    <a:lnTo>
                      <a:pt x="1456" y="788"/>
                    </a:lnTo>
                    <a:lnTo>
                      <a:pt x="1454" y="788"/>
                    </a:lnTo>
                    <a:lnTo>
                      <a:pt x="1454" y="790"/>
                    </a:lnTo>
                    <a:lnTo>
                      <a:pt x="1454" y="792"/>
                    </a:lnTo>
                    <a:lnTo>
                      <a:pt x="1452" y="794"/>
                    </a:lnTo>
                    <a:lnTo>
                      <a:pt x="1450" y="794"/>
                    </a:lnTo>
                    <a:lnTo>
                      <a:pt x="1452" y="794"/>
                    </a:lnTo>
                    <a:lnTo>
                      <a:pt x="1450" y="796"/>
                    </a:lnTo>
                    <a:lnTo>
                      <a:pt x="1448" y="796"/>
                    </a:lnTo>
                    <a:lnTo>
                      <a:pt x="1448" y="798"/>
                    </a:lnTo>
                    <a:lnTo>
                      <a:pt x="1446" y="798"/>
                    </a:lnTo>
                    <a:lnTo>
                      <a:pt x="1445" y="800"/>
                    </a:lnTo>
                    <a:lnTo>
                      <a:pt x="1445" y="802"/>
                    </a:lnTo>
                    <a:lnTo>
                      <a:pt x="1443" y="803"/>
                    </a:lnTo>
                    <a:lnTo>
                      <a:pt x="1441" y="805"/>
                    </a:lnTo>
                    <a:lnTo>
                      <a:pt x="1441" y="807"/>
                    </a:lnTo>
                    <a:lnTo>
                      <a:pt x="1441" y="809"/>
                    </a:lnTo>
                    <a:lnTo>
                      <a:pt x="1439" y="809"/>
                    </a:lnTo>
                    <a:lnTo>
                      <a:pt x="1439" y="811"/>
                    </a:lnTo>
                    <a:lnTo>
                      <a:pt x="1437" y="811"/>
                    </a:lnTo>
                    <a:lnTo>
                      <a:pt x="1435" y="811"/>
                    </a:lnTo>
                    <a:lnTo>
                      <a:pt x="1433" y="811"/>
                    </a:lnTo>
                    <a:lnTo>
                      <a:pt x="1431" y="811"/>
                    </a:lnTo>
                    <a:lnTo>
                      <a:pt x="1431" y="813"/>
                    </a:lnTo>
                    <a:lnTo>
                      <a:pt x="1430" y="813"/>
                    </a:lnTo>
                    <a:lnTo>
                      <a:pt x="1430" y="815"/>
                    </a:lnTo>
                    <a:lnTo>
                      <a:pt x="1428" y="815"/>
                    </a:lnTo>
                    <a:lnTo>
                      <a:pt x="1428" y="813"/>
                    </a:lnTo>
                    <a:lnTo>
                      <a:pt x="1428" y="815"/>
                    </a:lnTo>
                    <a:lnTo>
                      <a:pt x="1426" y="815"/>
                    </a:lnTo>
                    <a:lnTo>
                      <a:pt x="1426" y="817"/>
                    </a:lnTo>
                    <a:lnTo>
                      <a:pt x="1424" y="817"/>
                    </a:lnTo>
                    <a:lnTo>
                      <a:pt x="1422" y="819"/>
                    </a:lnTo>
                    <a:lnTo>
                      <a:pt x="1420" y="819"/>
                    </a:lnTo>
                    <a:lnTo>
                      <a:pt x="1420" y="820"/>
                    </a:lnTo>
                    <a:lnTo>
                      <a:pt x="1418" y="820"/>
                    </a:lnTo>
                    <a:lnTo>
                      <a:pt x="1418" y="822"/>
                    </a:lnTo>
                    <a:lnTo>
                      <a:pt x="1416" y="822"/>
                    </a:lnTo>
                    <a:lnTo>
                      <a:pt x="1416" y="824"/>
                    </a:lnTo>
                    <a:lnTo>
                      <a:pt x="1415" y="824"/>
                    </a:lnTo>
                    <a:lnTo>
                      <a:pt x="1415" y="826"/>
                    </a:lnTo>
                    <a:lnTo>
                      <a:pt x="1413" y="826"/>
                    </a:lnTo>
                    <a:lnTo>
                      <a:pt x="1411" y="826"/>
                    </a:lnTo>
                    <a:lnTo>
                      <a:pt x="1409" y="826"/>
                    </a:lnTo>
                    <a:lnTo>
                      <a:pt x="1409" y="828"/>
                    </a:lnTo>
                    <a:lnTo>
                      <a:pt x="1407" y="828"/>
                    </a:lnTo>
                    <a:lnTo>
                      <a:pt x="1407" y="830"/>
                    </a:lnTo>
                    <a:lnTo>
                      <a:pt x="1405" y="830"/>
                    </a:lnTo>
                    <a:lnTo>
                      <a:pt x="1403" y="832"/>
                    </a:lnTo>
                    <a:lnTo>
                      <a:pt x="1401" y="832"/>
                    </a:lnTo>
                    <a:lnTo>
                      <a:pt x="1398" y="832"/>
                    </a:lnTo>
                    <a:lnTo>
                      <a:pt x="1398" y="834"/>
                    </a:lnTo>
                    <a:lnTo>
                      <a:pt x="1396" y="834"/>
                    </a:lnTo>
                    <a:lnTo>
                      <a:pt x="1390" y="834"/>
                    </a:lnTo>
                    <a:lnTo>
                      <a:pt x="1388" y="835"/>
                    </a:lnTo>
                    <a:lnTo>
                      <a:pt x="1384" y="837"/>
                    </a:lnTo>
                    <a:lnTo>
                      <a:pt x="1383" y="839"/>
                    </a:lnTo>
                    <a:lnTo>
                      <a:pt x="1381" y="841"/>
                    </a:lnTo>
                    <a:lnTo>
                      <a:pt x="1377" y="845"/>
                    </a:lnTo>
                    <a:lnTo>
                      <a:pt x="1375" y="849"/>
                    </a:lnTo>
                    <a:lnTo>
                      <a:pt x="1375" y="851"/>
                    </a:lnTo>
                    <a:lnTo>
                      <a:pt x="1375" y="852"/>
                    </a:lnTo>
                    <a:lnTo>
                      <a:pt x="1375" y="854"/>
                    </a:lnTo>
                    <a:lnTo>
                      <a:pt x="1375" y="856"/>
                    </a:lnTo>
                    <a:lnTo>
                      <a:pt x="1373" y="856"/>
                    </a:lnTo>
                    <a:lnTo>
                      <a:pt x="1373" y="858"/>
                    </a:lnTo>
                    <a:lnTo>
                      <a:pt x="1373" y="860"/>
                    </a:lnTo>
                    <a:lnTo>
                      <a:pt x="1371" y="860"/>
                    </a:lnTo>
                    <a:lnTo>
                      <a:pt x="1373" y="860"/>
                    </a:lnTo>
                    <a:lnTo>
                      <a:pt x="1371" y="862"/>
                    </a:lnTo>
                    <a:lnTo>
                      <a:pt x="1371" y="864"/>
                    </a:lnTo>
                    <a:lnTo>
                      <a:pt x="1369" y="864"/>
                    </a:lnTo>
                    <a:lnTo>
                      <a:pt x="1371" y="864"/>
                    </a:lnTo>
                    <a:lnTo>
                      <a:pt x="1369" y="864"/>
                    </a:lnTo>
                    <a:lnTo>
                      <a:pt x="1369" y="866"/>
                    </a:lnTo>
                    <a:lnTo>
                      <a:pt x="1369" y="868"/>
                    </a:lnTo>
                    <a:lnTo>
                      <a:pt x="1367" y="868"/>
                    </a:lnTo>
                    <a:lnTo>
                      <a:pt x="1367" y="869"/>
                    </a:lnTo>
                    <a:lnTo>
                      <a:pt x="1366" y="869"/>
                    </a:lnTo>
                    <a:lnTo>
                      <a:pt x="1364" y="871"/>
                    </a:lnTo>
                    <a:lnTo>
                      <a:pt x="1366" y="871"/>
                    </a:lnTo>
                    <a:lnTo>
                      <a:pt x="1366" y="873"/>
                    </a:lnTo>
                    <a:lnTo>
                      <a:pt x="1364" y="873"/>
                    </a:lnTo>
                    <a:lnTo>
                      <a:pt x="1362" y="875"/>
                    </a:lnTo>
                    <a:lnTo>
                      <a:pt x="1360" y="875"/>
                    </a:lnTo>
                    <a:lnTo>
                      <a:pt x="1358" y="875"/>
                    </a:lnTo>
                    <a:lnTo>
                      <a:pt x="1358" y="877"/>
                    </a:lnTo>
                    <a:lnTo>
                      <a:pt x="1356" y="877"/>
                    </a:lnTo>
                    <a:lnTo>
                      <a:pt x="1356" y="879"/>
                    </a:lnTo>
                    <a:lnTo>
                      <a:pt x="1354" y="879"/>
                    </a:lnTo>
                    <a:lnTo>
                      <a:pt x="1352" y="879"/>
                    </a:lnTo>
                    <a:lnTo>
                      <a:pt x="1352" y="881"/>
                    </a:lnTo>
                    <a:lnTo>
                      <a:pt x="1354" y="883"/>
                    </a:lnTo>
                    <a:lnTo>
                      <a:pt x="1352" y="883"/>
                    </a:lnTo>
                    <a:lnTo>
                      <a:pt x="1351" y="883"/>
                    </a:lnTo>
                    <a:lnTo>
                      <a:pt x="1351" y="884"/>
                    </a:lnTo>
                    <a:lnTo>
                      <a:pt x="1349" y="884"/>
                    </a:lnTo>
                    <a:lnTo>
                      <a:pt x="1349" y="886"/>
                    </a:lnTo>
                    <a:lnTo>
                      <a:pt x="1347" y="886"/>
                    </a:lnTo>
                    <a:lnTo>
                      <a:pt x="1345" y="886"/>
                    </a:lnTo>
                    <a:lnTo>
                      <a:pt x="1345" y="888"/>
                    </a:lnTo>
                    <a:lnTo>
                      <a:pt x="1343" y="888"/>
                    </a:lnTo>
                    <a:lnTo>
                      <a:pt x="1341" y="890"/>
                    </a:lnTo>
                    <a:lnTo>
                      <a:pt x="1337" y="892"/>
                    </a:lnTo>
                    <a:lnTo>
                      <a:pt x="1336" y="892"/>
                    </a:lnTo>
                    <a:lnTo>
                      <a:pt x="1336" y="894"/>
                    </a:lnTo>
                    <a:lnTo>
                      <a:pt x="1334" y="894"/>
                    </a:lnTo>
                    <a:lnTo>
                      <a:pt x="1334" y="896"/>
                    </a:lnTo>
                    <a:lnTo>
                      <a:pt x="1332" y="896"/>
                    </a:lnTo>
                    <a:lnTo>
                      <a:pt x="1332" y="898"/>
                    </a:lnTo>
                    <a:lnTo>
                      <a:pt x="1332" y="900"/>
                    </a:lnTo>
                    <a:lnTo>
                      <a:pt x="1330" y="900"/>
                    </a:lnTo>
                    <a:lnTo>
                      <a:pt x="1330" y="901"/>
                    </a:lnTo>
                    <a:lnTo>
                      <a:pt x="1328" y="901"/>
                    </a:lnTo>
                    <a:lnTo>
                      <a:pt x="1326" y="903"/>
                    </a:lnTo>
                    <a:lnTo>
                      <a:pt x="1324" y="903"/>
                    </a:lnTo>
                    <a:lnTo>
                      <a:pt x="1324" y="905"/>
                    </a:lnTo>
                    <a:lnTo>
                      <a:pt x="1324" y="907"/>
                    </a:lnTo>
                    <a:lnTo>
                      <a:pt x="1322" y="907"/>
                    </a:lnTo>
                    <a:lnTo>
                      <a:pt x="1324" y="907"/>
                    </a:lnTo>
                    <a:lnTo>
                      <a:pt x="1326" y="909"/>
                    </a:lnTo>
                    <a:lnTo>
                      <a:pt x="1324" y="909"/>
                    </a:lnTo>
                    <a:lnTo>
                      <a:pt x="1322" y="909"/>
                    </a:lnTo>
                    <a:lnTo>
                      <a:pt x="1322" y="911"/>
                    </a:lnTo>
                    <a:lnTo>
                      <a:pt x="1320" y="911"/>
                    </a:lnTo>
                    <a:lnTo>
                      <a:pt x="1320" y="913"/>
                    </a:lnTo>
                    <a:lnTo>
                      <a:pt x="1319" y="913"/>
                    </a:lnTo>
                    <a:lnTo>
                      <a:pt x="1317" y="913"/>
                    </a:lnTo>
                    <a:lnTo>
                      <a:pt x="1315" y="915"/>
                    </a:lnTo>
                    <a:lnTo>
                      <a:pt x="1313" y="915"/>
                    </a:lnTo>
                    <a:lnTo>
                      <a:pt x="1313" y="916"/>
                    </a:lnTo>
                    <a:lnTo>
                      <a:pt x="1311" y="916"/>
                    </a:lnTo>
                    <a:lnTo>
                      <a:pt x="1309" y="916"/>
                    </a:lnTo>
                    <a:lnTo>
                      <a:pt x="1309" y="918"/>
                    </a:lnTo>
                    <a:lnTo>
                      <a:pt x="1307" y="918"/>
                    </a:lnTo>
                    <a:lnTo>
                      <a:pt x="1307" y="920"/>
                    </a:lnTo>
                    <a:lnTo>
                      <a:pt x="1305" y="920"/>
                    </a:lnTo>
                    <a:lnTo>
                      <a:pt x="1305" y="922"/>
                    </a:lnTo>
                    <a:lnTo>
                      <a:pt x="1304" y="922"/>
                    </a:lnTo>
                    <a:lnTo>
                      <a:pt x="1302" y="922"/>
                    </a:lnTo>
                    <a:lnTo>
                      <a:pt x="1300" y="924"/>
                    </a:lnTo>
                    <a:lnTo>
                      <a:pt x="1300" y="926"/>
                    </a:lnTo>
                    <a:lnTo>
                      <a:pt x="1298" y="926"/>
                    </a:lnTo>
                    <a:lnTo>
                      <a:pt x="1294" y="928"/>
                    </a:lnTo>
                    <a:lnTo>
                      <a:pt x="1292" y="930"/>
                    </a:lnTo>
                    <a:lnTo>
                      <a:pt x="1290" y="930"/>
                    </a:lnTo>
                    <a:lnTo>
                      <a:pt x="1288" y="932"/>
                    </a:lnTo>
                    <a:lnTo>
                      <a:pt x="1287" y="932"/>
                    </a:lnTo>
                    <a:lnTo>
                      <a:pt x="1285" y="932"/>
                    </a:lnTo>
                    <a:lnTo>
                      <a:pt x="1283" y="933"/>
                    </a:lnTo>
                    <a:lnTo>
                      <a:pt x="1281" y="933"/>
                    </a:lnTo>
                    <a:lnTo>
                      <a:pt x="1279" y="933"/>
                    </a:lnTo>
                    <a:lnTo>
                      <a:pt x="1279" y="935"/>
                    </a:lnTo>
                    <a:lnTo>
                      <a:pt x="1277" y="935"/>
                    </a:lnTo>
                    <a:lnTo>
                      <a:pt x="1275" y="937"/>
                    </a:lnTo>
                    <a:lnTo>
                      <a:pt x="1273" y="939"/>
                    </a:lnTo>
                    <a:lnTo>
                      <a:pt x="1272" y="941"/>
                    </a:lnTo>
                    <a:lnTo>
                      <a:pt x="1272" y="943"/>
                    </a:lnTo>
                    <a:lnTo>
                      <a:pt x="1270" y="943"/>
                    </a:lnTo>
                    <a:lnTo>
                      <a:pt x="1270" y="945"/>
                    </a:lnTo>
                    <a:lnTo>
                      <a:pt x="1268" y="945"/>
                    </a:lnTo>
                    <a:lnTo>
                      <a:pt x="1270" y="945"/>
                    </a:lnTo>
                    <a:lnTo>
                      <a:pt x="1268" y="945"/>
                    </a:lnTo>
                    <a:lnTo>
                      <a:pt x="1268" y="947"/>
                    </a:lnTo>
                    <a:lnTo>
                      <a:pt x="1266" y="947"/>
                    </a:lnTo>
                    <a:lnTo>
                      <a:pt x="1266" y="948"/>
                    </a:lnTo>
                    <a:lnTo>
                      <a:pt x="1264" y="948"/>
                    </a:lnTo>
                    <a:lnTo>
                      <a:pt x="1262" y="948"/>
                    </a:lnTo>
                    <a:lnTo>
                      <a:pt x="1262" y="950"/>
                    </a:lnTo>
                    <a:lnTo>
                      <a:pt x="1260" y="950"/>
                    </a:lnTo>
                    <a:lnTo>
                      <a:pt x="1260" y="952"/>
                    </a:lnTo>
                    <a:lnTo>
                      <a:pt x="1258" y="952"/>
                    </a:lnTo>
                    <a:lnTo>
                      <a:pt x="1258" y="954"/>
                    </a:lnTo>
                    <a:lnTo>
                      <a:pt x="1257" y="954"/>
                    </a:lnTo>
                    <a:lnTo>
                      <a:pt x="1257" y="956"/>
                    </a:lnTo>
                    <a:lnTo>
                      <a:pt x="1255" y="956"/>
                    </a:lnTo>
                    <a:lnTo>
                      <a:pt x="1255" y="958"/>
                    </a:lnTo>
                    <a:lnTo>
                      <a:pt x="1253" y="958"/>
                    </a:lnTo>
                    <a:lnTo>
                      <a:pt x="1251" y="960"/>
                    </a:lnTo>
                    <a:lnTo>
                      <a:pt x="1251" y="962"/>
                    </a:lnTo>
                    <a:lnTo>
                      <a:pt x="1247" y="964"/>
                    </a:lnTo>
                    <a:lnTo>
                      <a:pt x="1245" y="964"/>
                    </a:lnTo>
                    <a:lnTo>
                      <a:pt x="1245" y="965"/>
                    </a:lnTo>
                    <a:lnTo>
                      <a:pt x="1245" y="967"/>
                    </a:lnTo>
                    <a:lnTo>
                      <a:pt x="1243" y="967"/>
                    </a:lnTo>
                    <a:lnTo>
                      <a:pt x="1241" y="967"/>
                    </a:lnTo>
                    <a:lnTo>
                      <a:pt x="1240" y="967"/>
                    </a:lnTo>
                    <a:lnTo>
                      <a:pt x="1240" y="969"/>
                    </a:lnTo>
                    <a:lnTo>
                      <a:pt x="1238" y="969"/>
                    </a:lnTo>
                    <a:lnTo>
                      <a:pt x="1236" y="971"/>
                    </a:lnTo>
                    <a:lnTo>
                      <a:pt x="1232" y="975"/>
                    </a:lnTo>
                    <a:lnTo>
                      <a:pt x="1226" y="977"/>
                    </a:lnTo>
                    <a:lnTo>
                      <a:pt x="1225" y="979"/>
                    </a:lnTo>
                    <a:lnTo>
                      <a:pt x="1223" y="979"/>
                    </a:lnTo>
                    <a:lnTo>
                      <a:pt x="1223" y="980"/>
                    </a:lnTo>
                    <a:lnTo>
                      <a:pt x="1221" y="982"/>
                    </a:lnTo>
                    <a:lnTo>
                      <a:pt x="1219" y="984"/>
                    </a:lnTo>
                    <a:lnTo>
                      <a:pt x="1217" y="984"/>
                    </a:lnTo>
                    <a:lnTo>
                      <a:pt x="1217" y="986"/>
                    </a:lnTo>
                    <a:lnTo>
                      <a:pt x="1215" y="986"/>
                    </a:lnTo>
                    <a:lnTo>
                      <a:pt x="1213" y="988"/>
                    </a:lnTo>
                    <a:lnTo>
                      <a:pt x="1211" y="988"/>
                    </a:lnTo>
                    <a:lnTo>
                      <a:pt x="1211" y="990"/>
                    </a:lnTo>
                    <a:lnTo>
                      <a:pt x="1211" y="992"/>
                    </a:lnTo>
                    <a:lnTo>
                      <a:pt x="1209" y="992"/>
                    </a:lnTo>
                    <a:lnTo>
                      <a:pt x="1209" y="994"/>
                    </a:lnTo>
                    <a:lnTo>
                      <a:pt x="1208" y="994"/>
                    </a:lnTo>
                    <a:lnTo>
                      <a:pt x="1206" y="994"/>
                    </a:lnTo>
                    <a:lnTo>
                      <a:pt x="1202" y="996"/>
                    </a:lnTo>
                    <a:lnTo>
                      <a:pt x="1200" y="997"/>
                    </a:lnTo>
                    <a:lnTo>
                      <a:pt x="1198" y="997"/>
                    </a:lnTo>
                    <a:lnTo>
                      <a:pt x="1198" y="999"/>
                    </a:lnTo>
                    <a:lnTo>
                      <a:pt x="1198" y="1001"/>
                    </a:lnTo>
                    <a:lnTo>
                      <a:pt x="1196" y="1001"/>
                    </a:lnTo>
                    <a:lnTo>
                      <a:pt x="1196" y="1003"/>
                    </a:lnTo>
                    <a:lnTo>
                      <a:pt x="1194" y="1003"/>
                    </a:lnTo>
                    <a:lnTo>
                      <a:pt x="1193" y="1005"/>
                    </a:lnTo>
                    <a:lnTo>
                      <a:pt x="1191" y="1007"/>
                    </a:lnTo>
                    <a:lnTo>
                      <a:pt x="1189" y="1007"/>
                    </a:lnTo>
                    <a:lnTo>
                      <a:pt x="1187" y="1007"/>
                    </a:lnTo>
                    <a:lnTo>
                      <a:pt x="1187" y="1009"/>
                    </a:lnTo>
                    <a:lnTo>
                      <a:pt x="1185" y="1009"/>
                    </a:lnTo>
                    <a:lnTo>
                      <a:pt x="1183" y="1009"/>
                    </a:lnTo>
                    <a:lnTo>
                      <a:pt x="1183" y="1011"/>
                    </a:lnTo>
                    <a:lnTo>
                      <a:pt x="1181" y="1011"/>
                    </a:lnTo>
                    <a:lnTo>
                      <a:pt x="1179" y="1011"/>
                    </a:lnTo>
                    <a:lnTo>
                      <a:pt x="1176" y="1016"/>
                    </a:lnTo>
                    <a:lnTo>
                      <a:pt x="1172" y="1016"/>
                    </a:lnTo>
                    <a:lnTo>
                      <a:pt x="1172" y="1018"/>
                    </a:lnTo>
                    <a:lnTo>
                      <a:pt x="1170" y="1018"/>
                    </a:lnTo>
                    <a:lnTo>
                      <a:pt x="1168" y="1020"/>
                    </a:lnTo>
                    <a:lnTo>
                      <a:pt x="1166" y="1022"/>
                    </a:lnTo>
                    <a:lnTo>
                      <a:pt x="1164" y="1022"/>
                    </a:lnTo>
                    <a:lnTo>
                      <a:pt x="1164" y="1024"/>
                    </a:lnTo>
                    <a:lnTo>
                      <a:pt x="1162" y="1024"/>
                    </a:lnTo>
                    <a:lnTo>
                      <a:pt x="1161" y="1026"/>
                    </a:lnTo>
                    <a:lnTo>
                      <a:pt x="1159" y="1026"/>
                    </a:lnTo>
                    <a:lnTo>
                      <a:pt x="1159" y="1028"/>
                    </a:lnTo>
                    <a:lnTo>
                      <a:pt x="1157" y="1029"/>
                    </a:lnTo>
                    <a:lnTo>
                      <a:pt x="1155" y="1029"/>
                    </a:lnTo>
                    <a:lnTo>
                      <a:pt x="1153" y="1031"/>
                    </a:lnTo>
                    <a:lnTo>
                      <a:pt x="1151" y="1031"/>
                    </a:lnTo>
                    <a:lnTo>
                      <a:pt x="1149" y="1033"/>
                    </a:lnTo>
                    <a:lnTo>
                      <a:pt x="1147" y="1035"/>
                    </a:lnTo>
                    <a:lnTo>
                      <a:pt x="1147" y="1037"/>
                    </a:lnTo>
                    <a:lnTo>
                      <a:pt x="1146" y="1039"/>
                    </a:lnTo>
                    <a:lnTo>
                      <a:pt x="1146" y="1041"/>
                    </a:lnTo>
                    <a:lnTo>
                      <a:pt x="1144" y="1041"/>
                    </a:lnTo>
                    <a:lnTo>
                      <a:pt x="1142" y="1041"/>
                    </a:lnTo>
                    <a:lnTo>
                      <a:pt x="1140" y="1041"/>
                    </a:lnTo>
                    <a:lnTo>
                      <a:pt x="1136" y="1043"/>
                    </a:lnTo>
                    <a:lnTo>
                      <a:pt x="1134" y="1043"/>
                    </a:lnTo>
                    <a:lnTo>
                      <a:pt x="1134" y="1044"/>
                    </a:lnTo>
                    <a:lnTo>
                      <a:pt x="1132" y="1044"/>
                    </a:lnTo>
                    <a:lnTo>
                      <a:pt x="1129" y="1046"/>
                    </a:lnTo>
                    <a:lnTo>
                      <a:pt x="1129" y="1048"/>
                    </a:lnTo>
                    <a:lnTo>
                      <a:pt x="1127" y="1048"/>
                    </a:lnTo>
                    <a:lnTo>
                      <a:pt x="1125" y="1048"/>
                    </a:lnTo>
                    <a:lnTo>
                      <a:pt x="1125" y="1050"/>
                    </a:lnTo>
                    <a:lnTo>
                      <a:pt x="1125" y="1052"/>
                    </a:lnTo>
                    <a:lnTo>
                      <a:pt x="1125" y="1050"/>
                    </a:lnTo>
                    <a:lnTo>
                      <a:pt x="1125" y="1052"/>
                    </a:lnTo>
                    <a:lnTo>
                      <a:pt x="1123" y="1052"/>
                    </a:lnTo>
                    <a:lnTo>
                      <a:pt x="1123" y="1054"/>
                    </a:lnTo>
                    <a:lnTo>
                      <a:pt x="1121" y="1056"/>
                    </a:lnTo>
                    <a:lnTo>
                      <a:pt x="1119" y="1058"/>
                    </a:lnTo>
                    <a:lnTo>
                      <a:pt x="1119" y="1060"/>
                    </a:lnTo>
                    <a:lnTo>
                      <a:pt x="1117" y="1060"/>
                    </a:lnTo>
                    <a:lnTo>
                      <a:pt x="1114" y="1061"/>
                    </a:lnTo>
                    <a:lnTo>
                      <a:pt x="1112" y="1061"/>
                    </a:lnTo>
                    <a:lnTo>
                      <a:pt x="1110" y="1061"/>
                    </a:lnTo>
                    <a:lnTo>
                      <a:pt x="1110" y="1063"/>
                    </a:lnTo>
                    <a:lnTo>
                      <a:pt x="1108" y="1063"/>
                    </a:lnTo>
                    <a:lnTo>
                      <a:pt x="1106" y="1063"/>
                    </a:lnTo>
                    <a:lnTo>
                      <a:pt x="1104" y="1063"/>
                    </a:lnTo>
                    <a:lnTo>
                      <a:pt x="1102" y="1065"/>
                    </a:lnTo>
                    <a:lnTo>
                      <a:pt x="1100" y="1065"/>
                    </a:lnTo>
                    <a:lnTo>
                      <a:pt x="1100" y="1067"/>
                    </a:lnTo>
                    <a:lnTo>
                      <a:pt x="1100" y="1069"/>
                    </a:lnTo>
                    <a:lnTo>
                      <a:pt x="1099" y="1069"/>
                    </a:lnTo>
                    <a:lnTo>
                      <a:pt x="1097" y="1071"/>
                    </a:lnTo>
                    <a:lnTo>
                      <a:pt x="1095" y="1071"/>
                    </a:lnTo>
                    <a:lnTo>
                      <a:pt x="1093" y="1071"/>
                    </a:lnTo>
                    <a:lnTo>
                      <a:pt x="1093" y="1073"/>
                    </a:lnTo>
                    <a:lnTo>
                      <a:pt x="1091" y="1073"/>
                    </a:lnTo>
                    <a:lnTo>
                      <a:pt x="1091" y="1075"/>
                    </a:lnTo>
                    <a:lnTo>
                      <a:pt x="1089" y="1075"/>
                    </a:lnTo>
                    <a:lnTo>
                      <a:pt x="1085" y="1075"/>
                    </a:lnTo>
                    <a:lnTo>
                      <a:pt x="1082" y="1075"/>
                    </a:lnTo>
                    <a:lnTo>
                      <a:pt x="1080" y="1076"/>
                    </a:lnTo>
                    <a:lnTo>
                      <a:pt x="1078" y="1076"/>
                    </a:lnTo>
                    <a:lnTo>
                      <a:pt x="1076" y="1076"/>
                    </a:lnTo>
                    <a:lnTo>
                      <a:pt x="1074" y="1078"/>
                    </a:lnTo>
                    <a:lnTo>
                      <a:pt x="1072" y="1078"/>
                    </a:lnTo>
                    <a:lnTo>
                      <a:pt x="1070" y="1078"/>
                    </a:lnTo>
                    <a:lnTo>
                      <a:pt x="1070" y="1080"/>
                    </a:lnTo>
                    <a:lnTo>
                      <a:pt x="1068" y="1080"/>
                    </a:lnTo>
                    <a:lnTo>
                      <a:pt x="1068" y="1082"/>
                    </a:lnTo>
                    <a:lnTo>
                      <a:pt x="1065" y="1082"/>
                    </a:lnTo>
                    <a:lnTo>
                      <a:pt x="1065" y="1084"/>
                    </a:lnTo>
                    <a:lnTo>
                      <a:pt x="1063" y="1084"/>
                    </a:lnTo>
                    <a:lnTo>
                      <a:pt x="1063" y="1086"/>
                    </a:lnTo>
                    <a:lnTo>
                      <a:pt x="1061" y="1086"/>
                    </a:lnTo>
                    <a:lnTo>
                      <a:pt x="1061" y="1088"/>
                    </a:lnTo>
                    <a:lnTo>
                      <a:pt x="1059" y="1088"/>
                    </a:lnTo>
                    <a:lnTo>
                      <a:pt x="1059" y="1090"/>
                    </a:lnTo>
                    <a:lnTo>
                      <a:pt x="1057" y="1090"/>
                    </a:lnTo>
                    <a:lnTo>
                      <a:pt x="1055" y="1090"/>
                    </a:lnTo>
                    <a:lnTo>
                      <a:pt x="1055" y="1092"/>
                    </a:lnTo>
                    <a:lnTo>
                      <a:pt x="1051" y="1092"/>
                    </a:lnTo>
                    <a:lnTo>
                      <a:pt x="1050" y="1093"/>
                    </a:lnTo>
                    <a:lnTo>
                      <a:pt x="1044" y="1093"/>
                    </a:lnTo>
                    <a:lnTo>
                      <a:pt x="1040" y="1095"/>
                    </a:lnTo>
                    <a:lnTo>
                      <a:pt x="1036" y="1095"/>
                    </a:lnTo>
                    <a:lnTo>
                      <a:pt x="1035" y="1097"/>
                    </a:lnTo>
                    <a:lnTo>
                      <a:pt x="1033" y="1097"/>
                    </a:lnTo>
                    <a:lnTo>
                      <a:pt x="1029" y="1097"/>
                    </a:lnTo>
                    <a:lnTo>
                      <a:pt x="1027" y="1099"/>
                    </a:lnTo>
                    <a:lnTo>
                      <a:pt x="1025" y="1099"/>
                    </a:lnTo>
                    <a:lnTo>
                      <a:pt x="1023" y="1099"/>
                    </a:lnTo>
                    <a:lnTo>
                      <a:pt x="1021" y="1101"/>
                    </a:lnTo>
                    <a:lnTo>
                      <a:pt x="1021" y="1103"/>
                    </a:lnTo>
                    <a:lnTo>
                      <a:pt x="1020" y="1103"/>
                    </a:lnTo>
                    <a:lnTo>
                      <a:pt x="1018" y="1103"/>
                    </a:lnTo>
                    <a:lnTo>
                      <a:pt x="1016" y="1105"/>
                    </a:lnTo>
                    <a:lnTo>
                      <a:pt x="1014" y="1105"/>
                    </a:lnTo>
                    <a:lnTo>
                      <a:pt x="1014" y="1107"/>
                    </a:lnTo>
                    <a:lnTo>
                      <a:pt x="1012" y="1107"/>
                    </a:lnTo>
                    <a:lnTo>
                      <a:pt x="1012" y="1108"/>
                    </a:lnTo>
                    <a:lnTo>
                      <a:pt x="1010" y="1108"/>
                    </a:lnTo>
                    <a:lnTo>
                      <a:pt x="1008" y="1108"/>
                    </a:lnTo>
                    <a:lnTo>
                      <a:pt x="1008" y="1110"/>
                    </a:lnTo>
                    <a:lnTo>
                      <a:pt x="1006" y="1112"/>
                    </a:lnTo>
                    <a:lnTo>
                      <a:pt x="1004" y="1112"/>
                    </a:lnTo>
                    <a:lnTo>
                      <a:pt x="1003" y="1112"/>
                    </a:lnTo>
                    <a:lnTo>
                      <a:pt x="1001" y="1112"/>
                    </a:lnTo>
                    <a:lnTo>
                      <a:pt x="999" y="1114"/>
                    </a:lnTo>
                    <a:lnTo>
                      <a:pt x="999" y="1116"/>
                    </a:lnTo>
                    <a:lnTo>
                      <a:pt x="997" y="1116"/>
                    </a:lnTo>
                    <a:lnTo>
                      <a:pt x="995" y="1118"/>
                    </a:lnTo>
                    <a:lnTo>
                      <a:pt x="995" y="1120"/>
                    </a:lnTo>
                    <a:lnTo>
                      <a:pt x="993" y="1120"/>
                    </a:lnTo>
                    <a:lnTo>
                      <a:pt x="991" y="1120"/>
                    </a:lnTo>
                    <a:lnTo>
                      <a:pt x="988" y="1120"/>
                    </a:lnTo>
                    <a:lnTo>
                      <a:pt x="984" y="1122"/>
                    </a:lnTo>
                    <a:lnTo>
                      <a:pt x="984" y="1124"/>
                    </a:lnTo>
                    <a:lnTo>
                      <a:pt x="982" y="1124"/>
                    </a:lnTo>
                    <a:lnTo>
                      <a:pt x="982" y="1125"/>
                    </a:lnTo>
                    <a:lnTo>
                      <a:pt x="980" y="1125"/>
                    </a:lnTo>
                    <a:lnTo>
                      <a:pt x="980" y="1127"/>
                    </a:lnTo>
                    <a:lnTo>
                      <a:pt x="978" y="1127"/>
                    </a:lnTo>
                    <a:lnTo>
                      <a:pt x="976" y="1127"/>
                    </a:lnTo>
                    <a:lnTo>
                      <a:pt x="976" y="1129"/>
                    </a:lnTo>
                    <a:lnTo>
                      <a:pt x="974" y="1129"/>
                    </a:lnTo>
                    <a:lnTo>
                      <a:pt x="972" y="1129"/>
                    </a:lnTo>
                    <a:lnTo>
                      <a:pt x="972" y="1131"/>
                    </a:lnTo>
                    <a:lnTo>
                      <a:pt x="971" y="1131"/>
                    </a:lnTo>
                    <a:lnTo>
                      <a:pt x="969" y="1131"/>
                    </a:lnTo>
                    <a:lnTo>
                      <a:pt x="967" y="1131"/>
                    </a:lnTo>
                    <a:lnTo>
                      <a:pt x="965" y="1133"/>
                    </a:lnTo>
                    <a:lnTo>
                      <a:pt x="963" y="1133"/>
                    </a:lnTo>
                    <a:lnTo>
                      <a:pt x="961" y="1133"/>
                    </a:lnTo>
                    <a:lnTo>
                      <a:pt x="961" y="1135"/>
                    </a:lnTo>
                    <a:lnTo>
                      <a:pt x="959" y="1135"/>
                    </a:lnTo>
                    <a:lnTo>
                      <a:pt x="957" y="1135"/>
                    </a:lnTo>
                    <a:lnTo>
                      <a:pt x="956" y="1135"/>
                    </a:lnTo>
                    <a:lnTo>
                      <a:pt x="954" y="1137"/>
                    </a:lnTo>
                    <a:lnTo>
                      <a:pt x="952" y="1137"/>
                    </a:lnTo>
                    <a:lnTo>
                      <a:pt x="948" y="1135"/>
                    </a:lnTo>
                    <a:lnTo>
                      <a:pt x="946" y="1135"/>
                    </a:lnTo>
                    <a:lnTo>
                      <a:pt x="944" y="1135"/>
                    </a:lnTo>
                    <a:lnTo>
                      <a:pt x="942" y="1133"/>
                    </a:lnTo>
                    <a:lnTo>
                      <a:pt x="931" y="1133"/>
                    </a:lnTo>
                    <a:lnTo>
                      <a:pt x="929" y="1133"/>
                    </a:lnTo>
                    <a:lnTo>
                      <a:pt x="924" y="1133"/>
                    </a:lnTo>
                    <a:lnTo>
                      <a:pt x="922" y="1135"/>
                    </a:lnTo>
                    <a:lnTo>
                      <a:pt x="918" y="1135"/>
                    </a:lnTo>
                    <a:lnTo>
                      <a:pt x="916" y="1135"/>
                    </a:lnTo>
                    <a:lnTo>
                      <a:pt x="907" y="1133"/>
                    </a:lnTo>
                    <a:lnTo>
                      <a:pt x="905" y="1133"/>
                    </a:lnTo>
                    <a:lnTo>
                      <a:pt x="905" y="1131"/>
                    </a:lnTo>
                    <a:lnTo>
                      <a:pt x="901" y="1129"/>
                    </a:lnTo>
                    <a:lnTo>
                      <a:pt x="890" y="1125"/>
                    </a:lnTo>
                    <a:lnTo>
                      <a:pt x="882" y="1122"/>
                    </a:lnTo>
                    <a:lnTo>
                      <a:pt x="877" y="1120"/>
                    </a:lnTo>
                    <a:lnTo>
                      <a:pt x="873" y="1120"/>
                    </a:lnTo>
                    <a:lnTo>
                      <a:pt x="869" y="1118"/>
                    </a:lnTo>
                    <a:lnTo>
                      <a:pt x="860" y="1116"/>
                    </a:lnTo>
                    <a:lnTo>
                      <a:pt x="854" y="1116"/>
                    </a:lnTo>
                    <a:lnTo>
                      <a:pt x="845" y="1116"/>
                    </a:lnTo>
                    <a:lnTo>
                      <a:pt x="837" y="1116"/>
                    </a:lnTo>
                    <a:lnTo>
                      <a:pt x="822" y="1116"/>
                    </a:lnTo>
                    <a:lnTo>
                      <a:pt x="813" y="1118"/>
                    </a:lnTo>
                    <a:lnTo>
                      <a:pt x="805" y="1118"/>
                    </a:lnTo>
                    <a:lnTo>
                      <a:pt x="801" y="1120"/>
                    </a:lnTo>
                    <a:lnTo>
                      <a:pt x="799" y="1120"/>
                    </a:lnTo>
                    <a:lnTo>
                      <a:pt x="798" y="1122"/>
                    </a:lnTo>
                    <a:lnTo>
                      <a:pt x="796" y="1122"/>
                    </a:lnTo>
                    <a:lnTo>
                      <a:pt x="794" y="1122"/>
                    </a:lnTo>
                    <a:lnTo>
                      <a:pt x="788" y="1124"/>
                    </a:lnTo>
                    <a:lnTo>
                      <a:pt x="786" y="1125"/>
                    </a:lnTo>
                    <a:lnTo>
                      <a:pt x="781" y="1127"/>
                    </a:lnTo>
                    <a:lnTo>
                      <a:pt x="779" y="1129"/>
                    </a:lnTo>
                    <a:lnTo>
                      <a:pt x="777" y="1129"/>
                    </a:lnTo>
                    <a:lnTo>
                      <a:pt x="775" y="1129"/>
                    </a:lnTo>
                    <a:lnTo>
                      <a:pt x="775" y="1131"/>
                    </a:lnTo>
                    <a:lnTo>
                      <a:pt x="773" y="1133"/>
                    </a:lnTo>
                    <a:lnTo>
                      <a:pt x="771" y="1133"/>
                    </a:lnTo>
                    <a:lnTo>
                      <a:pt x="771" y="1135"/>
                    </a:lnTo>
                    <a:lnTo>
                      <a:pt x="767" y="1135"/>
                    </a:lnTo>
                    <a:lnTo>
                      <a:pt x="764" y="1139"/>
                    </a:lnTo>
                    <a:lnTo>
                      <a:pt x="762" y="1139"/>
                    </a:lnTo>
                    <a:lnTo>
                      <a:pt x="762" y="1140"/>
                    </a:lnTo>
                    <a:lnTo>
                      <a:pt x="758" y="1142"/>
                    </a:lnTo>
                    <a:lnTo>
                      <a:pt x="756" y="1144"/>
                    </a:lnTo>
                    <a:lnTo>
                      <a:pt x="754" y="1144"/>
                    </a:lnTo>
                    <a:lnTo>
                      <a:pt x="754" y="1146"/>
                    </a:lnTo>
                    <a:lnTo>
                      <a:pt x="751" y="1148"/>
                    </a:lnTo>
                    <a:lnTo>
                      <a:pt x="749" y="1152"/>
                    </a:lnTo>
                    <a:lnTo>
                      <a:pt x="745" y="1156"/>
                    </a:lnTo>
                    <a:lnTo>
                      <a:pt x="743" y="1159"/>
                    </a:lnTo>
                    <a:lnTo>
                      <a:pt x="743" y="1161"/>
                    </a:lnTo>
                    <a:lnTo>
                      <a:pt x="741" y="1163"/>
                    </a:lnTo>
                    <a:lnTo>
                      <a:pt x="741" y="1165"/>
                    </a:lnTo>
                    <a:lnTo>
                      <a:pt x="739" y="1165"/>
                    </a:lnTo>
                    <a:lnTo>
                      <a:pt x="739" y="1167"/>
                    </a:lnTo>
                    <a:lnTo>
                      <a:pt x="739" y="1171"/>
                    </a:lnTo>
                    <a:lnTo>
                      <a:pt x="737" y="1171"/>
                    </a:lnTo>
                    <a:lnTo>
                      <a:pt x="737" y="1172"/>
                    </a:lnTo>
                    <a:lnTo>
                      <a:pt x="737" y="1174"/>
                    </a:lnTo>
                    <a:lnTo>
                      <a:pt x="735" y="1178"/>
                    </a:lnTo>
                    <a:lnTo>
                      <a:pt x="735" y="1180"/>
                    </a:lnTo>
                    <a:lnTo>
                      <a:pt x="735" y="1182"/>
                    </a:lnTo>
                    <a:lnTo>
                      <a:pt x="735" y="1184"/>
                    </a:lnTo>
                    <a:lnTo>
                      <a:pt x="734" y="1186"/>
                    </a:lnTo>
                    <a:lnTo>
                      <a:pt x="734" y="1188"/>
                    </a:lnTo>
                    <a:lnTo>
                      <a:pt x="735" y="1189"/>
                    </a:lnTo>
                    <a:lnTo>
                      <a:pt x="734" y="1189"/>
                    </a:lnTo>
                    <a:lnTo>
                      <a:pt x="735" y="1189"/>
                    </a:lnTo>
                    <a:lnTo>
                      <a:pt x="735" y="1191"/>
                    </a:lnTo>
                    <a:lnTo>
                      <a:pt x="737" y="1191"/>
                    </a:lnTo>
                    <a:lnTo>
                      <a:pt x="737" y="1193"/>
                    </a:lnTo>
                    <a:lnTo>
                      <a:pt x="739" y="1193"/>
                    </a:lnTo>
                    <a:lnTo>
                      <a:pt x="741" y="1193"/>
                    </a:lnTo>
                    <a:lnTo>
                      <a:pt x="739" y="1193"/>
                    </a:lnTo>
                    <a:lnTo>
                      <a:pt x="739" y="1195"/>
                    </a:lnTo>
                    <a:lnTo>
                      <a:pt x="741" y="1195"/>
                    </a:lnTo>
                    <a:lnTo>
                      <a:pt x="739" y="1195"/>
                    </a:lnTo>
                    <a:lnTo>
                      <a:pt x="741" y="1195"/>
                    </a:lnTo>
                    <a:lnTo>
                      <a:pt x="739" y="1195"/>
                    </a:lnTo>
                    <a:lnTo>
                      <a:pt x="739" y="1197"/>
                    </a:lnTo>
                    <a:lnTo>
                      <a:pt x="741" y="1197"/>
                    </a:lnTo>
                    <a:lnTo>
                      <a:pt x="741" y="1195"/>
                    </a:lnTo>
                    <a:lnTo>
                      <a:pt x="743" y="1195"/>
                    </a:lnTo>
                    <a:lnTo>
                      <a:pt x="743" y="1197"/>
                    </a:lnTo>
                    <a:lnTo>
                      <a:pt x="743" y="1199"/>
                    </a:lnTo>
                    <a:lnTo>
                      <a:pt x="745" y="1199"/>
                    </a:lnTo>
                    <a:lnTo>
                      <a:pt x="747" y="1201"/>
                    </a:lnTo>
                    <a:lnTo>
                      <a:pt x="751" y="1201"/>
                    </a:lnTo>
                    <a:lnTo>
                      <a:pt x="751" y="1203"/>
                    </a:lnTo>
                    <a:lnTo>
                      <a:pt x="752" y="1204"/>
                    </a:lnTo>
                    <a:lnTo>
                      <a:pt x="752" y="1206"/>
                    </a:lnTo>
                    <a:lnTo>
                      <a:pt x="754" y="1206"/>
                    </a:lnTo>
                    <a:lnTo>
                      <a:pt x="754" y="1208"/>
                    </a:lnTo>
                    <a:lnTo>
                      <a:pt x="754" y="1210"/>
                    </a:lnTo>
                    <a:lnTo>
                      <a:pt x="756" y="1210"/>
                    </a:lnTo>
                    <a:lnTo>
                      <a:pt x="756" y="1212"/>
                    </a:lnTo>
                    <a:lnTo>
                      <a:pt x="756" y="1214"/>
                    </a:lnTo>
                    <a:lnTo>
                      <a:pt x="758" y="1214"/>
                    </a:lnTo>
                    <a:lnTo>
                      <a:pt x="758" y="1216"/>
                    </a:lnTo>
                    <a:lnTo>
                      <a:pt x="756" y="1216"/>
                    </a:lnTo>
                    <a:lnTo>
                      <a:pt x="754" y="1216"/>
                    </a:lnTo>
                    <a:lnTo>
                      <a:pt x="752" y="1216"/>
                    </a:lnTo>
                    <a:lnTo>
                      <a:pt x="752" y="1214"/>
                    </a:lnTo>
                    <a:lnTo>
                      <a:pt x="751" y="1214"/>
                    </a:lnTo>
                    <a:lnTo>
                      <a:pt x="749" y="1214"/>
                    </a:lnTo>
                    <a:lnTo>
                      <a:pt x="747" y="1214"/>
                    </a:lnTo>
                    <a:lnTo>
                      <a:pt x="745" y="1216"/>
                    </a:lnTo>
                    <a:lnTo>
                      <a:pt x="743" y="1216"/>
                    </a:lnTo>
                    <a:lnTo>
                      <a:pt x="743" y="1218"/>
                    </a:lnTo>
                    <a:lnTo>
                      <a:pt x="741" y="1220"/>
                    </a:lnTo>
                    <a:lnTo>
                      <a:pt x="741" y="1221"/>
                    </a:lnTo>
                    <a:lnTo>
                      <a:pt x="739" y="1221"/>
                    </a:lnTo>
                    <a:lnTo>
                      <a:pt x="737" y="1221"/>
                    </a:lnTo>
                    <a:lnTo>
                      <a:pt x="735" y="1221"/>
                    </a:lnTo>
                    <a:lnTo>
                      <a:pt x="735" y="1220"/>
                    </a:lnTo>
                    <a:lnTo>
                      <a:pt x="734" y="1220"/>
                    </a:lnTo>
                    <a:lnTo>
                      <a:pt x="734" y="1221"/>
                    </a:lnTo>
                    <a:lnTo>
                      <a:pt x="732" y="1221"/>
                    </a:lnTo>
                    <a:lnTo>
                      <a:pt x="730" y="1221"/>
                    </a:lnTo>
                    <a:lnTo>
                      <a:pt x="728" y="1221"/>
                    </a:lnTo>
                    <a:lnTo>
                      <a:pt x="726" y="1221"/>
                    </a:lnTo>
                    <a:lnTo>
                      <a:pt x="724" y="1221"/>
                    </a:lnTo>
                    <a:lnTo>
                      <a:pt x="724" y="1220"/>
                    </a:lnTo>
                    <a:lnTo>
                      <a:pt x="722" y="1220"/>
                    </a:lnTo>
                    <a:lnTo>
                      <a:pt x="722" y="1221"/>
                    </a:lnTo>
                    <a:lnTo>
                      <a:pt x="722" y="1220"/>
                    </a:lnTo>
                    <a:lnTo>
                      <a:pt x="720" y="1220"/>
                    </a:lnTo>
                    <a:lnTo>
                      <a:pt x="719" y="1220"/>
                    </a:lnTo>
                    <a:lnTo>
                      <a:pt x="717" y="1220"/>
                    </a:lnTo>
                    <a:lnTo>
                      <a:pt x="715" y="1220"/>
                    </a:lnTo>
                    <a:lnTo>
                      <a:pt x="713" y="1218"/>
                    </a:lnTo>
                    <a:lnTo>
                      <a:pt x="711" y="1218"/>
                    </a:lnTo>
                    <a:lnTo>
                      <a:pt x="709" y="1218"/>
                    </a:lnTo>
                    <a:lnTo>
                      <a:pt x="707" y="1218"/>
                    </a:lnTo>
                    <a:lnTo>
                      <a:pt x="705" y="1218"/>
                    </a:lnTo>
                    <a:lnTo>
                      <a:pt x="704" y="1218"/>
                    </a:lnTo>
                    <a:lnTo>
                      <a:pt x="702" y="1218"/>
                    </a:lnTo>
                    <a:lnTo>
                      <a:pt x="702" y="1216"/>
                    </a:lnTo>
                    <a:lnTo>
                      <a:pt x="702" y="1218"/>
                    </a:lnTo>
                    <a:lnTo>
                      <a:pt x="702" y="1216"/>
                    </a:lnTo>
                    <a:lnTo>
                      <a:pt x="700" y="1216"/>
                    </a:lnTo>
                    <a:lnTo>
                      <a:pt x="698" y="1216"/>
                    </a:lnTo>
                    <a:lnTo>
                      <a:pt x="696" y="1216"/>
                    </a:lnTo>
                    <a:lnTo>
                      <a:pt x="694" y="1216"/>
                    </a:lnTo>
                    <a:lnTo>
                      <a:pt x="692" y="1216"/>
                    </a:lnTo>
                    <a:lnTo>
                      <a:pt x="692" y="1218"/>
                    </a:lnTo>
                    <a:lnTo>
                      <a:pt x="690" y="1218"/>
                    </a:lnTo>
                    <a:lnTo>
                      <a:pt x="688" y="1218"/>
                    </a:lnTo>
                    <a:lnTo>
                      <a:pt x="687" y="1218"/>
                    </a:lnTo>
                    <a:lnTo>
                      <a:pt x="685" y="1218"/>
                    </a:lnTo>
                    <a:lnTo>
                      <a:pt x="685" y="1216"/>
                    </a:lnTo>
                    <a:lnTo>
                      <a:pt x="685" y="1218"/>
                    </a:lnTo>
                    <a:lnTo>
                      <a:pt x="683" y="1218"/>
                    </a:lnTo>
                    <a:lnTo>
                      <a:pt x="681" y="1218"/>
                    </a:lnTo>
                    <a:lnTo>
                      <a:pt x="681" y="1216"/>
                    </a:lnTo>
                    <a:lnTo>
                      <a:pt x="679" y="1216"/>
                    </a:lnTo>
                    <a:lnTo>
                      <a:pt x="677" y="1214"/>
                    </a:lnTo>
                    <a:lnTo>
                      <a:pt x="675" y="1214"/>
                    </a:lnTo>
                    <a:lnTo>
                      <a:pt x="672" y="1212"/>
                    </a:lnTo>
                    <a:lnTo>
                      <a:pt x="670" y="1212"/>
                    </a:lnTo>
                    <a:lnTo>
                      <a:pt x="668" y="1212"/>
                    </a:lnTo>
                    <a:lnTo>
                      <a:pt x="668" y="1210"/>
                    </a:lnTo>
                    <a:lnTo>
                      <a:pt x="666" y="1210"/>
                    </a:lnTo>
                    <a:lnTo>
                      <a:pt x="664" y="1208"/>
                    </a:lnTo>
                    <a:lnTo>
                      <a:pt x="662" y="1208"/>
                    </a:lnTo>
                    <a:lnTo>
                      <a:pt x="660" y="1206"/>
                    </a:lnTo>
                    <a:lnTo>
                      <a:pt x="658" y="1204"/>
                    </a:lnTo>
                    <a:lnTo>
                      <a:pt x="656" y="1204"/>
                    </a:lnTo>
                    <a:lnTo>
                      <a:pt x="655" y="1204"/>
                    </a:lnTo>
                    <a:lnTo>
                      <a:pt x="653" y="1203"/>
                    </a:lnTo>
                    <a:lnTo>
                      <a:pt x="651" y="1203"/>
                    </a:lnTo>
                    <a:lnTo>
                      <a:pt x="643" y="1199"/>
                    </a:lnTo>
                    <a:lnTo>
                      <a:pt x="641" y="1199"/>
                    </a:lnTo>
                    <a:lnTo>
                      <a:pt x="640" y="1199"/>
                    </a:lnTo>
                    <a:lnTo>
                      <a:pt x="638" y="1199"/>
                    </a:lnTo>
                    <a:lnTo>
                      <a:pt x="636" y="1197"/>
                    </a:lnTo>
                    <a:lnTo>
                      <a:pt x="630" y="1197"/>
                    </a:lnTo>
                    <a:lnTo>
                      <a:pt x="617" y="1195"/>
                    </a:lnTo>
                    <a:lnTo>
                      <a:pt x="606" y="1195"/>
                    </a:lnTo>
                    <a:lnTo>
                      <a:pt x="600" y="1195"/>
                    </a:lnTo>
                    <a:lnTo>
                      <a:pt x="598" y="1195"/>
                    </a:lnTo>
                    <a:lnTo>
                      <a:pt x="589" y="1197"/>
                    </a:lnTo>
                    <a:lnTo>
                      <a:pt x="587" y="1197"/>
                    </a:lnTo>
                    <a:lnTo>
                      <a:pt x="585" y="1199"/>
                    </a:lnTo>
                    <a:lnTo>
                      <a:pt x="583" y="1199"/>
                    </a:lnTo>
                    <a:lnTo>
                      <a:pt x="579" y="1199"/>
                    </a:lnTo>
                    <a:lnTo>
                      <a:pt x="577" y="1199"/>
                    </a:lnTo>
                    <a:lnTo>
                      <a:pt x="576" y="1201"/>
                    </a:lnTo>
                    <a:lnTo>
                      <a:pt x="570" y="1203"/>
                    </a:lnTo>
                    <a:lnTo>
                      <a:pt x="566" y="1206"/>
                    </a:lnTo>
                    <a:lnTo>
                      <a:pt x="564" y="1206"/>
                    </a:lnTo>
                    <a:lnTo>
                      <a:pt x="562" y="1208"/>
                    </a:lnTo>
                    <a:lnTo>
                      <a:pt x="561" y="1210"/>
                    </a:lnTo>
                    <a:lnTo>
                      <a:pt x="561" y="1212"/>
                    </a:lnTo>
                    <a:lnTo>
                      <a:pt x="561" y="1214"/>
                    </a:lnTo>
                    <a:lnTo>
                      <a:pt x="561" y="1216"/>
                    </a:lnTo>
                    <a:lnTo>
                      <a:pt x="561" y="1218"/>
                    </a:lnTo>
                    <a:lnTo>
                      <a:pt x="561" y="1220"/>
                    </a:lnTo>
                    <a:lnTo>
                      <a:pt x="561" y="1221"/>
                    </a:lnTo>
                    <a:lnTo>
                      <a:pt x="559" y="1221"/>
                    </a:lnTo>
                    <a:lnTo>
                      <a:pt x="559" y="1223"/>
                    </a:lnTo>
                    <a:lnTo>
                      <a:pt x="561" y="1225"/>
                    </a:lnTo>
                    <a:lnTo>
                      <a:pt x="559" y="1225"/>
                    </a:lnTo>
                    <a:lnTo>
                      <a:pt x="559" y="1227"/>
                    </a:lnTo>
                    <a:lnTo>
                      <a:pt x="559" y="1231"/>
                    </a:lnTo>
                    <a:lnTo>
                      <a:pt x="557" y="1233"/>
                    </a:lnTo>
                    <a:lnTo>
                      <a:pt x="555" y="1233"/>
                    </a:lnTo>
                    <a:lnTo>
                      <a:pt x="555" y="1235"/>
                    </a:lnTo>
                    <a:lnTo>
                      <a:pt x="553" y="1236"/>
                    </a:lnTo>
                    <a:lnTo>
                      <a:pt x="549" y="1240"/>
                    </a:lnTo>
                    <a:lnTo>
                      <a:pt x="547" y="1242"/>
                    </a:lnTo>
                    <a:lnTo>
                      <a:pt x="546" y="1242"/>
                    </a:lnTo>
                    <a:lnTo>
                      <a:pt x="546" y="1244"/>
                    </a:lnTo>
                    <a:lnTo>
                      <a:pt x="544" y="1244"/>
                    </a:lnTo>
                    <a:lnTo>
                      <a:pt x="542" y="1246"/>
                    </a:lnTo>
                    <a:lnTo>
                      <a:pt x="542" y="1248"/>
                    </a:lnTo>
                    <a:lnTo>
                      <a:pt x="540" y="1250"/>
                    </a:lnTo>
                    <a:lnTo>
                      <a:pt x="538" y="1250"/>
                    </a:lnTo>
                    <a:lnTo>
                      <a:pt x="538" y="1253"/>
                    </a:lnTo>
                    <a:lnTo>
                      <a:pt x="536" y="1255"/>
                    </a:lnTo>
                    <a:lnTo>
                      <a:pt x="536" y="1257"/>
                    </a:lnTo>
                    <a:lnTo>
                      <a:pt x="536" y="1259"/>
                    </a:lnTo>
                    <a:lnTo>
                      <a:pt x="538" y="1261"/>
                    </a:lnTo>
                    <a:lnTo>
                      <a:pt x="540" y="1261"/>
                    </a:lnTo>
                    <a:lnTo>
                      <a:pt x="540" y="1263"/>
                    </a:lnTo>
                    <a:lnTo>
                      <a:pt x="542" y="1263"/>
                    </a:lnTo>
                    <a:lnTo>
                      <a:pt x="542" y="1265"/>
                    </a:lnTo>
                    <a:lnTo>
                      <a:pt x="544" y="1265"/>
                    </a:lnTo>
                    <a:lnTo>
                      <a:pt x="544" y="1267"/>
                    </a:lnTo>
                    <a:lnTo>
                      <a:pt x="546" y="1267"/>
                    </a:lnTo>
                    <a:lnTo>
                      <a:pt x="544" y="1267"/>
                    </a:lnTo>
                    <a:lnTo>
                      <a:pt x="542" y="1267"/>
                    </a:lnTo>
                    <a:lnTo>
                      <a:pt x="540" y="1267"/>
                    </a:lnTo>
                    <a:lnTo>
                      <a:pt x="538" y="1267"/>
                    </a:lnTo>
                    <a:lnTo>
                      <a:pt x="536" y="1268"/>
                    </a:lnTo>
                    <a:lnTo>
                      <a:pt x="536" y="1270"/>
                    </a:lnTo>
                    <a:lnTo>
                      <a:pt x="536" y="1272"/>
                    </a:lnTo>
                    <a:lnTo>
                      <a:pt x="534" y="1272"/>
                    </a:lnTo>
                    <a:lnTo>
                      <a:pt x="534" y="1270"/>
                    </a:lnTo>
                    <a:lnTo>
                      <a:pt x="532" y="1270"/>
                    </a:lnTo>
                    <a:lnTo>
                      <a:pt x="529" y="1268"/>
                    </a:lnTo>
                    <a:lnTo>
                      <a:pt x="527" y="1268"/>
                    </a:lnTo>
                    <a:lnTo>
                      <a:pt x="527" y="1267"/>
                    </a:lnTo>
                    <a:lnTo>
                      <a:pt x="525" y="1267"/>
                    </a:lnTo>
                    <a:lnTo>
                      <a:pt x="525" y="1268"/>
                    </a:lnTo>
                    <a:lnTo>
                      <a:pt x="523" y="1268"/>
                    </a:lnTo>
                    <a:lnTo>
                      <a:pt x="521" y="1268"/>
                    </a:lnTo>
                    <a:lnTo>
                      <a:pt x="521" y="1267"/>
                    </a:lnTo>
                    <a:lnTo>
                      <a:pt x="521" y="1268"/>
                    </a:lnTo>
                    <a:lnTo>
                      <a:pt x="519" y="1268"/>
                    </a:lnTo>
                    <a:lnTo>
                      <a:pt x="519" y="1267"/>
                    </a:lnTo>
                    <a:lnTo>
                      <a:pt x="517" y="1267"/>
                    </a:lnTo>
                    <a:lnTo>
                      <a:pt x="515" y="1267"/>
                    </a:lnTo>
                    <a:lnTo>
                      <a:pt x="515" y="1265"/>
                    </a:lnTo>
                    <a:lnTo>
                      <a:pt x="514" y="1265"/>
                    </a:lnTo>
                    <a:lnTo>
                      <a:pt x="512" y="1265"/>
                    </a:lnTo>
                    <a:lnTo>
                      <a:pt x="510" y="1265"/>
                    </a:lnTo>
                    <a:lnTo>
                      <a:pt x="508" y="1265"/>
                    </a:lnTo>
                    <a:lnTo>
                      <a:pt x="506" y="1265"/>
                    </a:lnTo>
                    <a:lnTo>
                      <a:pt x="506" y="1267"/>
                    </a:lnTo>
                    <a:lnTo>
                      <a:pt x="502" y="1265"/>
                    </a:lnTo>
                    <a:lnTo>
                      <a:pt x="500" y="1265"/>
                    </a:lnTo>
                    <a:lnTo>
                      <a:pt x="498" y="1265"/>
                    </a:lnTo>
                    <a:lnTo>
                      <a:pt x="498" y="1263"/>
                    </a:lnTo>
                    <a:lnTo>
                      <a:pt x="497" y="1263"/>
                    </a:lnTo>
                    <a:lnTo>
                      <a:pt x="495" y="1263"/>
                    </a:lnTo>
                    <a:lnTo>
                      <a:pt x="495" y="1261"/>
                    </a:lnTo>
                    <a:lnTo>
                      <a:pt x="493" y="1261"/>
                    </a:lnTo>
                    <a:lnTo>
                      <a:pt x="491" y="1261"/>
                    </a:lnTo>
                    <a:lnTo>
                      <a:pt x="487" y="1259"/>
                    </a:lnTo>
                    <a:lnTo>
                      <a:pt x="485" y="1259"/>
                    </a:lnTo>
                    <a:lnTo>
                      <a:pt x="483" y="1259"/>
                    </a:lnTo>
                    <a:lnTo>
                      <a:pt x="482" y="1259"/>
                    </a:lnTo>
                    <a:lnTo>
                      <a:pt x="480" y="1261"/>
                    </a:lnTo>
                    <a:lnTo>
                      <a:pt x="478" y="1263"/>
                    </a:lnTo>
                    <a:lnTo>
                      <a:pt x="478" y="1265"/>
                    </a:lnTo>
                    <a:lnTo>
                      <a:pt x="476" y="1265"/>
                    </a:lnTo>
                    <a:lnTo>
                      <a:pt x="474" y="1265"/>
                    </a:lnTo>
                    <a:lnTo>
                      <a:pt x="474" y="1263"/>
                    </a:lnTo>
                    <a:lnTo>
                      <a:pt x="472" y="1263"/>
                    </a:lnTo>
                    <a:lnTo>
                      <a:pt x="472" y="1265"/>
                    </a:lnTo>
                    <a:lnTo>
                      <a:pt x="472" y="1263"/>
                    </a:lnTo>
                    <a:lnTo>
                      <a:pt x="470" y="1263"/>
                    </a:lnTo>
                    <a:lnTo>
                      <a:pt x="468" y="1263"/>
                    </a:lnTo>
                    <a:lnTo>
                      <a:pt x="467" y="1261"/>
                    </a:lnTo>
                    <a:lnTo>
                      <a:pt x="465" y="1261"/>
                    </a:lnTo>
                    <a:lnTo>
                      <a:pt x="463" y="1261"/>
                    </a:lnTo>
                    <a:lnTo>
                      <a:pt x="463" y="1259"/>
                    </a:lnTo>
                    <a:lnTo>
                      <a:pt x="461" y="1259"/>
                    </a:lnTo>
                    <a:lnTo>
                      <a:pt x="461" y="1261"/>
                    </a:lnTo>
                    <a:lnTo>
                      <a:pt x="461" y="1259"/>
                    </a:lnTo>
                    <a:lnTo>
                      <a:pt x="459" y="1259"/>
                    </a:lnTo>
                    <a:lnTo>
                      <a:pt x="455" y="1259"/>
                    </a:lnTo>
                    <a:lnTo>
                      <a:pt x="453" y="1259"/>
                    </a:lnTo>
                    <a:lnTo>
                      <a:pt x="451" y="1259"/>
                    </a:lnTo>
                    <a:lnTo>
                      <a:pt x="451" y="1257"/>
                    </a:lnTo>
                    <a:lnTo>
                      <a:pt x="450" y="1257"/>
                    </a:lnTo>
                    <a:lnTo>
                      <a:pt x="450" y="1259"/>
                    </a:lnTo>
                    <a:lnTo>
                      <a:pt x="448" y="1259"/>
                    </a:lnTo>
                    <a:lnTo>
                      <a:pt x="448" y="1257"/>
                    </a:lnTo>
                    <a:lnTo>
                      <a:pt x="446" y="1257"/>
                    </a:lnTo>
                    <a:lnTo>
                      <a:pt x="444" y="1255"/>
                    </a:lnTo>
                    <a:lnTo>
                      <a:pt x="440" y="1253"/>
                    </a:lnTo>
                    <a:lnTo>
                      <a:pt x="438" y="1253"/>
                    </a:lnTo>
                    <a:lnTo>
                      <a:pt x="438" y="1252"/>
                    </a:lnTo>
                    <a:lnTo>
                      <a:pt x="436" y="1252"/>
                    </a:lnTo>
                    <a:lnTo>
                      <a:pt x="436" y="1250"/>
                    </a:lnTo>
                    <a:lnTo>
                      <a:pt x="435" y="1250"/>
                    </a:lnTo>
                    <a:lnTo>
                      <a:pt x="435" y="1248"/>
                    </a:lnTo>
                    <a:lnTo>
                      <a:pt x="433" y="1246"/>
                    </a:lnTo>
                    <a:lnTo>
                      <a:pt x="429" y="1244"/>
                    </a:lnTo>
                    <a:lnTo>
                      <a:pt x="427" y="1242"/>
                    </a:lnTo>
                    <a:lnTo>
                      <a:pt x="425" y="1242"/>
                    </a:lnTo>
                    <a:lnTo>
                      <a:pt x="425" y="1240"/>
                    </a:lnTo>
                    <a:lnTo>
                      <a:pt x="423" y="1240"/>
                    </a:lnTo>
                    <a:lnTo>
                      <a:pt x="421" y="1240"/>
                    </a:lnTo>
                    <a:lnTo>
                      <a:pt x="421" y="1238"/>
                    </a:lnTo>
                    <a:lnTo>
                      <a:pt x="419" y="1238"/>
                    </a:lnTo>
                    <a:lnTo>
                      <a:pt x="418" y="1238"/>
                    </a:lnTo>
                    <a:lnTo>
                      <a:pt x="416" y="1238"/>
                    </a:lnTo>
                    <a:lnTo>
                      <a:pt x="414" y="1238"/>
                    </a:lnTo>
                    <a:lnTo>
                      <a:pt x="412" y="1238"/>
                    </a:lnTo>
                    <a:lnTo>
                      <a:pt x="410" y="1238"/>
                    </a:lnTo>
                    <a:lnTo>
                      <a:pt x="406" y="1238"/>
                    </a:lnTo>
                    <a:lnTo>
                      <a:pt x="404" y="1238"/>
                    </a:lnTo>
                    <a:lnTo>
                      <a:pt x="403" y="1238"/>
                    </a:lnTo>
                    <a:lnTo>
                      <a:pt x="403" y="1236"/>
                    </a:lnTo>
                    <a:lnTo>
                      <a:pt x="401" y="1236"/>
                    </a:lnTo>
                    <a:lnTo>
                      <a:pt x="399" y="1236"/>
                    </a:lnTo>
                    <a:lnTo>
                      <a:pt x="399" y="1235"/>
                    </a:lnTo>
                    <a:lnTo>
                      <a:pt x="397" y="1235"/>
                    </a:lnTo>
                    <a:lnTo>
                      <a:pt x="395" y="1235"/>
                    </a:lnTo>
                    <a:lnTo>
                      <a:pt x="393" y="1235"/>
                    </a:lnTo>
                    <a:lnTo>
                      <a:pt x="393" y="1233"/>
                    </a:lnTo>
                    <a:lnTo>
                      <a:pt x="391" y="1233"/>
                    </a:lnTo>
                    <a:lnTo>
                      <a:pt x="389" y="1233"/>
                    </a:lnTo>
                    <a:lnTo>
                      <a:pt x="388" y="1233"/>
                    </a:lnTo>
                    <a:lnTo>
                      <a:pt x="386" y="1231"/>
                    </a:lnTo>
                    <a:lnTo>
                      <a:pt x="384" y="1231"/>
                    </a:lnTo>
                    <a:lnTo>
                      <a:pt x="382" y="1231"/>
                    </a:lnTo>
                    <a:lnTo>
                      <a:pt x="380" y="1229"/>
                    </a:lnTo>
                    <a:lnTo>
                      <a:pt x="378" y="1229"/>
                    </a:lnTo>
                    <a:lnTo>
                      <a:pt x="376" y="1227"/>
                    </a:lnTo>
                    <a:lnTo>
                      <a:pt x="374" y="1227"/>
                    </a:lnTo>
                    <a:lnTo>
                      <a:pt x="374" y="1225"/>
                    </a:lnTo>
                    <a:lnTo>
                      <a:pt x="372" y="1225"/>
                    </a:lnTo>
                    <a:lnTo>
                      <a:pt x="371" y="1225"/>
                    </a:lnTo>
                    <a:lnTo>
                      <a:pt x="371" y="1223"/>
                    </a:lnTo>
                    <a:lnTo>
                      <a:pt x="369" y="1223"/>
                    </a:lnTo>
                    <a:lnTo>
                      <a:pt x="363" y="1223"/>
                    </a:lnTo>
                    <a:lnTo>
                      <a:pt x="361" y="1221"/>
                    </a:lnTo>
                    <a:lnTo>
                      <a:pt x="359" y="1221"/>
                    </a:lnTo>
                    <a:lnTo>
                      <a:pt x="357" y="1221"/>
                    </a:lnTo>
                    <a:lnTo>
                      <a:pt x="357" y="1223"/>
                    </a:lnTo>
                    <a:lnTo>
                      <a:pt x="356" y="1221"/>
                    </a:lnTo>
                    <a:lnTo>
                      <a:pt x="356" y="1223"/>
                    </a:lnTo>
                    <a:lnTo>
                      <a:pt x="354" y="1221"/>
                    </a:lnTo>
                    <a:lnTo>
                      <a:pt x="350" y="1220"/>
                    </a:lnTo>
                    <a:lnTo>
                      <a:pt x="348" y="1220"/>
                    </a:lnTo>
                    <a:lnTo>
                      <a:pt x="348" y="1221"/>
                    </a:lnTo>
                    <a:lnTo>
                      <a:pt x="346" y="1221"/>
                    </a:lnTo>
                    <a:lnTo>
                      <a:pt x="344" y="1221"/>
                    </a:lnTo>
                    <a:lnTo>
                      <a:pt x="342" y="1221"/>
                    </a:lnTo>
                    <a:lnTo>
                      <a:pt x="342" y="1220"/>
                    </a:lnTo>
                    <a:lnTo>
                      <a:pt x="342" y="1221"/>
                    </a:lnTo>
                    <a:lnTo>
                      <a:pt x="340" y="1221"/>
                    </a:lnTo>
                    <a:lnTo>
                      <a:pt x="339" y="1220"/>
                    </a:lnTo>
                    <a:lnTo>
                      <a:pt x="335" y="1220"/>
                    </a:lnTo>
                    <a:lnTo>
                      <a:pt x="333" y="1220"/>
                    </a:lnTo>
                    <a:lnTo>
                      <a:pt x="331" y="1220"/>
                    </a:lnTo>
                    <a:lnTo>
                      <a:pt x="331" y="1218"/>
                    </a:lnTo>
                    <a:lnTo>
                      <a:pt x="329" y="1218"/>
                    </a:lnTo>
                    <a:lnTo>
                      <a:pt x="325" y="1218"/>
                    </a:lnTo>
                    <a:lnTo>
                      <a:pt x="324" y="1218"/>
                    </a:lnTo>
                    <a:lnTo>
                      <a:pt x="322" y="1218"/>
                    </a:lnTo>
                    <a:lnTo>
                      <a:pt x="320" y="1218"/>
                    </a:lnTo>
                    <a:lnTo>
                      <a:pt x="318" y="1218"/>
                    </a:lnTo>
                    <a:lnTo>
                      <a:pt x="316" y="1218"/>
                    </a:lnTo>
                    <a:lnTo>
                      <a:pt x="314" y="1216"/>
                    </a:lnTo>
                    <a:lnTo>
                      <a:pt x="310" y="1216"/>
                    </a:lnTo>
                    <a:lnTo>
                      <a:pt x="307" y="1214"/>
                    </a:lnTo>
                    <a:lnTo>
                      <a:pt x="305" y="1214"/>
                    </a:lnTo>
                    <a:lnTo>
                      <a:pt x="303" y="1214"/>
                    </a:lnTo>
                    <a:lnTo>
                      <a:pt x="301" y="1214"/>
                    </a:lnTo>
                    <a:lnTo>
                      <a:pt x="299" y="1214"/>
                    </a:lnTo>
                    <a:lnTo>
                      <a:pt x="297" y="1212"/>
                    </a:lnTo>
                    <a:lnTo>
                      <a:pt x="297" y="1214"/>
                    </a:lnTo>
                    <a:lnTo>
                      <a:pt x="295" y="1214"/>
                    </a:lnTo>
                    <a:lnTo>
                      <a:pt x="293" y="1214"/>
                    </a:lnTo>
                    <a:lnTo>
                      <a:pt x="292" y="1214"/>
                    </a:lnTo>
                    <a:lnTo>
                      <a:pt x="290" y="1212"/>
                    </a:lnTo>
                    <a:lnTo>
                      <a:pt x="286" y="1212"/>
                    </a:lnTo>
                    <a:lnTo>
                      <a:pt x="284" y="1212"/>
                    </a:lnTo>
                    <a:lnTo>
                      <a:pt x="282" y="1212"/>
                    </a:lnTo>
                    <a:lnTo>
                      <a:pt x="280" y="1212"/>
                    </a:lnTo>
                    <a:lnTo>
                      <a:pt x="278" y="1212"/>
                    </a:lnTo>
                    <a:lnTo>
                      <a:pt x="278" y="1210"/>
                    </a:lnTo>
                    <a:lnTo>
                      <a:pt x="277" y="1210"/>
                    </a:lnTo>
                    <a:lnTo>
                      <a:pt x="275" y="1210"/>
                    </a:lnTo>
                    <a:lnTo>
                      <a:pt x="273" y="1210"/>
                    </a:lnTo>
                    <a:lnTo>
                      <a:pt x="271" y="1210"/>
                    </a:lnTo>
                    <a:lnTo>
                      <a:pt x="273" y="1210"/>
                    </a:lnTo>
                    <a:lnTo>
                      <a:pt x="271" y="1210"/>
                    </a:lnTo>
                    <a:lnTo>
                      <a:pt x="271" y="1208"/>
                    </a:lnTo>
                    <a:lnTo>
                      <a:pt x="269" y="1208"/>
                    </a:lnTo>
                    <a:lnTo>
                      <a:pt x="267" y="1208"/>
                    </a:lnTo>
                    <a:lnTo>
                      <a:pt x="265" y="1208"/>
                    </a:lnTo>
                    <a:lnTo>
                      <a:pt x="263" y="1208"/>
                    </a:lnTo>
                    <a:lnTo>
                      <a:pt x="263" y="1206"/>
                    </a:lnTo>
                    <a:lnTo>
                      <a:pt x="263" y="1208"/>
                    </a:lnTo>
                    <a:lnTo>
                      <a:pt x="261" y="1206"/>
                    </a:lnTo>
                    <a:lnTo>
                      <a:pt x="260" y="1206"/>
                    </a:lnTo>
                    <a:lnTo>
                      <a:pt x="258" y="1206"/>
                    </a:lnTo>
                    <a:lnTo>
                      <a:pt x="256" y="1204"/>
                    </a:lnTo>
                    <a:lnTo>
                      <a:pt x="254" y="1204"/>
                    </a:lnTo>
                    <a:lnTo>
                      <a:pt x="252" y="1204"/>
                    </a:lnTo>
                    <a:lnTo>
                      <a:pt x="250" y="1204"/>
                    </a:lnTo>
                    <a:lnTo>
                      <a:pt x="248" y="1204"/>
                    </a:lnTo>
                    <a:lnTo>
                      <a:pt x="248" y="1203"/>
                    </a:lnTo>
                    <a:lnTo>
                      <a:pt x="246" y="1203"/>
                    </a:lnTo>
                    <a:lnTo>
                      <a:pt x="245" y="1203"/>
                    </a:lnTo>
                    <a:lnTo>
                      <a:pt x="243" y="1203"/>
                    </a:lnTo>
                    <a:lnTo>
                      <a:pt x="241" y="1203"/>
                    </a:lnTo>
                    <a:lnTo>
                      <a:pt x="241" y="1201"/>
                    </a:lnTo>
                    <a:lnTo>
                      <a:pt x="241" y="1203"/>
                    </a:lnTo>
                    <a:lnTo>
                      <a:pt x="239" y="1201"/>
                    </a:lnTo>
                    <a:lnTo>
                      <a:pt x="237" y="1201"/>
                    </a:lnTo>
                    <a:lnTo>
                      <a:pt x="235" y="1201"/>
                    </a:lnTo>
                    <a:lnTo>
                      <a:pt x="233" y="1201"/>
                    </a:lnTo>
                    <a:lnTo>
                      <a:pt x="233" y="1199"/>
                    </a:lnTo>
                    <a:lnTo>
                      <a:pt x="231" y="1199"/>
                    </a:lnTo>
                    <a:lnTo>
                      <a:pt x="233" y="1199"/>
                    </a:lnTo>
                    <a:lnTo>
                      <a:pt x="233" y="1197"/>
                    </a:lnTo>
                    <a:lnTo>
                      <a:pt x="231" y="1197"/>
                    </a:lnTo>
                    <a:lnTo>
                      <a:pt x="231" y="1195"/>
                    </a:lnTo>
                    <a:lnTo>
                      <a:pt x="233" y="1195"/>
                    </a:lnTo>
                    <a:lnTo>
                      <a:pt x="231" y="1195"/>
                    </a:lnTo>
                    <a:lnTo>
                      <a:pt x="231" y="1193"/>
                    </a:lnTo>
                    <a:lnTo>
                      <a:pt x="230" y="1193"/>
                    </a:lnTo>
                    <a:lnTo>
                      <a:pt x="230" y="1191"/>
                    </a:lnTo>
                    <a:lnTo>
                      <a:pt x="230" y="1189"/>
                    </a:lnTo>
                    <a:lnTo>
                      <a:pt x="230" y="1188"/>
                    </a:lnTo>
                    <a:lnTo>
                      <a:pt x="231" y="1188"/>
                    </a:lnTo>
                    <a:lnTo>
                      <a:pt x="230" y="1188"/>
                    </a:lnTo>
                    <a:lnTo>
                      <a:pt x="230" y="1186"/>
                    </a:lnTo>
                    <a:lnTo>
                      <a:pt x="231" y="1186"/>
                    </a:lnTo>
                    <a:lnTo>
                      <a:pt x="231" y="1184"/>
                    </a:lnTo>
                    <a:lnTo>
                      <a:pt x="231" y="1182"/>
                    </a:lnTo>
                    <a:lnTo>
                      <a:pt x="231" y="1180"/>
                    </a:lnTo>
                    <a:lnTo>
                      <a:pt x="230" y="1180"/>
                    </a:lnTo>
                    <a:lnTo>
                      <a:pt x="231" y="1178"/>
                    </a:lnTo>
                    <a:lnTo>
                      <a:pt x="233" y="1178"/>
                    </a:lnTo>
                    <a:lnTo>
                      <a:pt x="235" y="1178"/>
                    </a:lnTo>
                    <a:lnTo>
                      <a:pt x="235" y="1176"/>
                    </a:lnTo>
                    <a:lnTo>
                      <a:pt x="233" y="1176"/>
                    </a:lnTo>
                    <a:lnTo>
                      <a:pt x="233" y="1174"/>
                    </a:lnTo>
                    <a:lnTo>
                      <a:pt x="233" y="1172"/>
                    </a:lnTo>
                    <a:lnTo>
                      <a:pt x="235" y="1172"/>
                    </a:lnTo>
                    <a:lnTo>
                      <a:pt x="235" y="1171"/>
                    </a:lnTo>
                    <a:lnTo>
                      <a:pt x="235" y="1172"/>
                    </a:lnTo>
                    <a:lnTo>
                      <a:pt x="237" y="1172"/>
                    </a:lnTo>
                    <a:lnTo>
                      <a:pt x="237" y="1171"/>
                    </a:lnTo>
                    <a:lnTo>
                      <a:pt x="239" y="1171"/>
                    </a:lnTo>
                    <a:lnTo>
                      <a:pt x="241" y="1171"/>
                    </a:lnTo>
                    <a:lnTo>
                      <a:pt x="243" y="1171"/>
                    </a:lnTo>
                    <a:lnTo>
                      <a:pt x="243" y="1169"/>
                    </a:lnTo>
                    <a:lnTo>
                      <a:pt x="245" y="1169"/>
                    </a:lnTo>
                    <a:lnTo>
                      <a:pt x="245" y="1167"/>
                    </a:lnTo>
                    <a:lnTo>
                      <a:pt x="245" y="1165"/>
                    </a:lnTo>
                    <a:lnTo>
                      <a:pt x="246" y="1165"/>
                    </a:lnTo>
                    <a:lnTo>
                      <a:pt x="226" y="1157"/>
                    </a:lnTo>
                    <a:lnTo>
                      <a:pt x="222" y="1156"/>
                    </a:lnTo>
                    <a:lnTo>
                      <a:pt x="211" y="1154"/>
                    </a:lnTo>
                    <a:lnTo>
                      <a:pt x="209" y="1144"/>
                    </a:lnTo>
                    <a:lnTo>
                      <a:pt x="211" y="1142"/>
                    </a:lnTo>
                    <a:lnTo>
                      <a:pt x="199" y="1139"/>
                    </a:lnTo>
                    <a:lnTo>
                      <a:pt x="199" y="1140"/>
                    </a:lnTo>
                    <a:lnTo>
                      <a:pt x="192" y="1142"/>
                    </a:lnTo>
                    <a:lnTo>
                      <a:pt x="192" y="1148"/>
                    </a:lnTo>
                    <a:lnTo>
                      <a:pt x="186" y="1148"/>
                    </a:lnTo>
                    <a:lnTo>
                      <a:pt x="182" y="1146"/>
                    </a:lnTo>
                    <a:lnTo>
                      <a:pt x="177" y="1144"/>
                    </a:lnTo>
                    <a:lnTo>
                      <a:pt x="173" y="1142"/>
                    </a:lnTo>
                    <a:lnTo>
                      <a:pt x="167" y="1142"/>
                    </a:lnTo>
                    <a:lnTo>
                      <a:pt x="173" y="1137"/>
                    </a:lnTo>
                    <a:lnTo>
                      <a:pt x="177" y="1133"/>
                    </a:lnTo>
                    <a:lnTo>
                      <a:pt x="177" y="1131"/>
                    </a:lnTo>
                    <a:lnTo>
                      <a:pt x="179" y="1127"/>
                    </a:lnTo>
                    <a:lnTo>
                      <a:pt x="181" y="1120"/>
                    </a:lnTo>
                    <a:lnTo>
                      <a:pt x="182" y="1120"/>
                    </a:lnTo>
                    <a:lnTo>
                      <a:pt x="188" y="1120"/>
                    </a:lnTo>
                    <a:lnTo>
                      <a:pt x="201" y="1116"/>
                    </a:lnTo>
                    <a:lnTo>
                      <a:pt x="205" y="1114"/>
                    </a:lnTo>
                    <a:lnTo>
                      <a:pt x="205" y="1108"/>
                    </a:lnTo>
                    <a:lnTo>
                      <a:pt x="209" y="1107"/>
                    </a:lnTo>
                    <a:lnTo>
                      <a:pt x="209" y="1099"/>
                    </a:lnTo>
                    <a:lnTo>
                      <a:pt x="216" y="1105"/>
                    </a:lnTo>
                    <a:lnTo>
                      <a:pt x="228" y="1105"/>
                    </a:lnTo>
                    <a:lnTo>
                      <a:pt x="233" y="1105"/>
                    </a:lnTo>
                    <a:lnTo>
                      <a:pt x="239" y="1105"/>
                    </a:lnTo>
                    <a:lnTo>
                      <a:pt x="239" y="1101"/>
                    </a:lnTo>
                    <a:lnTo>
                      <a:pt x="239" y="1092"/>
                    </a:lnTo>
                    <a:lnTo>
                      <a:pt x="226" y="1080"/>
                    </a:lnTo>
                    <a:lnTo>
                      <a:pt x="226" y="1075"/>
                    </a:lnTo>
                    <a:lnTo>
                      <a:pt x="220" y="1075"/>
                    </a:lnTo>
                    <a:lnTo>
                      <a:pt x="220" y="1061"/>
                    </a:lnTo>
                    <a:lnTo>
                      <a:pt x="222" y="1054"/>
                    </a:lnTo>
                    <a:lnTo>
                      <a:pt x="222" y="1052"/>
                    </a:lnTo>
                    <a:lnTo>
                      <a:pt x="214" y="1048"/>
                    </a:lnTo>
                    <a:lnTo>
                      <a:pt x="207" y="1044"/>
                    </a:lnTo>
                    <a:lnTo>
                      <a:pt x="205" y="1044"/>
                    </a:lnTo>
                    <a:lnTo>
                      <a:pt x="199" y="1041"/>
                    </a:lnTo>
                    <a:lnTo>
                      <a:pt x="198" y="1041"/>
                    </a:lnTo>
                    <a:lnTo>
                      <a:pt x="196" y="1037"/>
                    </a:lnTo>
                    <a:lnTo>
                      <a:pt x="194" y="1035"/>
                    </a:lnTo>
                    <a:lnTo>
                      <a:pt x="186" y="1037"/>
                    </a:lnTo>
                    <a:lnTo>
                      <a:pt x="175" y="1035"/>
                    </a:lnTo>
                    <a:lnTo>
                      <a:pt x="167" y="1035"/>
                    </a:lnTo>
                    <a:lnTo>
                      <a:pt x="164" y="1035"/>
                    </a:lnTo>
                    <a:lnTo>
                      <a:pt x="158" y="1035"/>
                    </a:lnTo>
                    <a:lnTo>
                      <a:pt x="160" y="1041"/>
                    </a:lnTo>
                    <a:lnTo>
                      <a:pt x="149" y="1026"/>
                    </a:lnTo>
                    <a:lnTo>
                      <a:pt x="149" y="1024"/>
                    </a:lnTo>
                    <a:lnTo>
                      <a:pt x="143" y="1018"/>
                    </a:lnTo>
                    <a:lnTo>
                      <a:pt x="117" y="1018"/>
                    </a:lnTo>
                    <a:lnTo>
                      <a:pt x="102" y="1018"/>
                    </a:lnTo>
                    <a:lnTo>
                      <a:pt x="96" y="1022"/>
                    </a:lnTo>
                    <a:lnTo>
                      <a:pt x="85" y="1022"/>
                    </a:lnTo>
                    <a:lnTo>
                      <a:pt x="72" y="1026"/>
                    </a:lnTo>
                    <a:lnTo>
                      <a:pt x="60" y="1029"/>
                    </a:lnTo>
                    <a:lnTo>
                      <a:pt x="51" y="1031"/>
                    </a:lnTo>
                    <a:lnTo>
                      <a:pt x="24" y="1028"/>
                    </a:lnTo>
                    <a:lnTo>
                      <a:pt x="13" y="1028"/>
                    </a:lnTo>
                    <a:lnTo>
                      <a:pt x="9" y="1028"/>
                    </a:lnTo>
                    <a:lnTo>
                      <a:pt x="13" y="1028"/>
                    </a:lnTo>
                    <a:lnTo>
                      <a:pt x="0" y="1020"/>
                    </a:lnTo>
                    <a:lnTo>
                      <a:pt x="0" y="1016"/>
                    </a:lnTo>
                    <a:lnTo>
                      <a:pt x="0" y="1011"/>
                    </a:lnTo>
                    <a:lnTo>
                      <a:pt x="0" y="999"/>
                    </a:lnTo>
                    <a:lnTo>
                      <a:pt x="9" y="999"/>
                    </a:lnTo>
                    <a:lnTo>
                      <a:pt x="9" y="994"/>
                    </a:lnTo>
                    <a:lnTo>
                      <a:pt x="13" y="994"/>
                    </a:lnTo>
                    <a:lnTo>
                      <a:pt x="21" y="980"/>
                    </a:lnTo>
                    <a:lnTo>
                      <a:pt x="23" y="975"/>
                    </a:lnTo>
                    <a:lnTo>
                      <a:pt x="24" y="969"/>
                    </a:lnTo>
                    <a:lnTo>
                      <a:pt x="26" y="969"/>
                    </a:lnTo>
                    <a:lnTo>
                      <a:pt x="26" y="967"/>
                    </a:lnTo>
                    <a:lnTo>
                      <a:pt x="30" y="964"/>
                    </a:lnTo>
                    <a:lnTo>
                      <a:pt x="32" y="960"/>
                    </a:lnTo>
                    <a:lnTo>
                      <a:pt x="36" y="956"/>
                    </a:lnTo>
                    <a:lnTo>
                      <a:pt x="40" y="943"/>
                    </a:lnTo>
                    <a:lnTo>
                      <a:pt x="47" y="933"/>
                    </a:lnTo>
                    <a:lnTo>
                      <a:pt x="56" y="922"/>
                    </a:lnTo>
                    <a:lnTo>
                      <a:pt x="56" y="913"/>
                    </a:lnTo>
                    <a:lnTo>
                      <a:pt x="51" y="907"/>
                    </a:lnTo>
                    <a:lnTo>
                      <a:pt x="51" y="903"/>
                    </a:lnTo>
                    <a:lnTo>
                      <a:pt x="60" y="898"/>
                    </a:lnTo>
                    <a:lnTo>
                      <a:pt x="55" y="884"/>
                    </a:lnTo>
                    <a:lnTo>
                      <a:pt x="68" y="869"/>
                    </a:lnTo>
                    <a:lnTo>
                      <a:pt x="70" y="862"/>
                    </a:lnTo>
                    <a:lnTo>
                      <a:pt x="92" y="862"/>
                    </a:lnTo>
                    <a:lnTo>
                      <a:pt x="98" y="856"/>
                    </a:lnTo>
                    <a:lnTo>
                      <a:pt x="96" y="856"/>
                    </a:lnTo>
                    <a:lnTo>
                      <a:pt x="90" y="839"/>
                    </a:lnTo>
                    <a:lnTo>
                      <a:pt x="105" y="828"/>
                    </a:lnTo>
                    <a:lnTo>
                      <a:pt x="115" y="830"/>
                    </a:lnTo>
                    <a:lnTo>
                      <a:pt x="119" y="834"/>
                    </a:lnTo>
                    <a:lnTo>
                      <a:pt x="132" y="835"/>
                    </a:lnTo>
                    <a:lnTo>
                      <a:pt x="145" y="841"/>
                    </a:lnTo>
                    <a:lnTo>
                      <a:pt x="164" y="847"/>
                    </a:lnTo>
                    <a:lnTo>
                      <a:pt x="169" y="828"/>
                    </a:lnTo>
                    <a:lnTo>
                      <a:pt x="158" y="828"/>
                    </a:lnTo>
                    <a:lnTo>
                      <a:pt x="158" y="824"/>
                    </a:lnTo>
                    <a:lnTo>
                      <a:pt x="158" y="819"/>
                    </a:lnTo>
                    <a:lnTo>
                      <a:pt x="158" y="817"/>
                    </a:lnTo>
                    <a:lnTo>
                      <a:pt x="152" y="811"/>
                    </a:lnTo>
                    <a:lnTo>
                      <a:pt x="152" y="809"/>
                    </a:lnTo>
                    <a:lnTo>
                      <a:pt x="137" y="802"/>
                    </a:lnTo>
                    <a:lnTo>
                      <a:pt x="135" y="800"/>
                    </a:lnTo>
                    <a:lnTo>
                      <a:pt x="141" y="796"/>
                    </a:lnTo>
                    <a:lnTo>
                      <a:pt x="145" y="794"/>
                    </a:lnTo>
                    <a:lnTo>
                      <a:pt x="147" y="781"/>
                    </a:lnTo>
                    <a:lnTo>
                      <a:pt x="145" y="781"/>
                    </a:lnTo>
                    <a:lnTo>
                      <a:pt x="143" y="771"/>
                    </a:lnTo>
                    <a:lnTo>
                      <a:pt x="141" y="764"/>
                    </a:lnTo>
                    <a:lnTo>
                      <a:pt x="130" y="753"/>
                    </a:lnTo>
                    <a:lnTo>
                      <a:pt x="130" y="741"/>
                    </a:lnTo>
                    <a:lnTo>
                      <a:pt x="130" y="738"/>
                    </a:lnTo>
                    <a:lnTo>
                      <a:pt x="124" y="724"/>
                    </a:lnTo>
                    <a:lnTo>
                      <a:pt x="137" y="717"/>
                    </a:lnTo>
                    <a:lnTo>
                      <a:pt x="141" y="719"/>
                    </a:lnTo>
                    <a:lnTo>
                      <a:pt x="147" y="717"/>
                    </a:lnTo>
                    <a:lnTo>
                      <a:pt x="147" y="715"/>
                    </a:lnTo>
                    <a:lnTo>
                      <a:pt x="149" y="711"/>
                    </a:lnTo>
                    <a:lnTo>
                      <a:pt x="152" y="702"/>
                    </a:lnTo>
                    <a:lnTo>
                      <a:pt x="156" y="706"/>
                    </a:lnTo>
                    <a:lnTo>
                      <a:pt x="156" y="707"/>
                    </a:lnTo>
                    <a:lnTo>
                      <a:pt x="158" y="707"/>
                    </a:lnTo>
                    <a:lnTo>
                      <a:pt x="162" y="709"/>
                    </a:lnTo>
                    <a:lnTo>
                      <a:pt x="167" y="711"/>
                    </a:lnTo>
                    <a:lnTo>
                      <a:pt x="171" y="715"/>
                    </a:lnTo>
                    <a:lnTo>
                      <a:pt x="175" y="707"/>
                    </a:lnTo>
                    <a:lnTo>
                      <a:pt x="175" y="704"/>
                    </a:lnTo>
                    <a:lnTo>
                      <a:pt x="182" y="694"/>
                    </a:lnTo>
                    <a:lnTo>
                      <a:pt x="196" y="696"/>
                    </a:lnTo>
                    <a:lnTo>
                      <a:pt x="201" y="696"/>
                    </a:lnTo>
                    <a:lnTo>
                      <a:pt x="209" y="698"/>
                    </a:lnTo>
                    <a:lnTo>
                      <a:pt x="218" y="700"/>
                    </a:lnTo>
                    <a:lnTo>
                      <a:pt x="235" y="700"/>
                    </a:lnTo>
                    <a:lnTo>
                      <a:pt x="237" y="700"/>
                    </a:lnTo>
                    <a:lnTo>
                      <a:pt x="241" y="696"/>
                    </a:lnTo>
                    <a:lnTo>
                      <a:pt x="235" y="689"/>
                    </a:lnTo>
                    <a:lnTo>
                      <a:pt x="233" y="687"/>
                    </a:lnTo>
                    <a:lnTo>
                      <a:pt x="237" y="675"/>
                    </a:lnTo>
                    <a:lnTo>
                      <a:pt x="237" y="672"/>
                    </a:lnTo>
                    <a:lnTo>
                      <a:pt x="239" y="670"/>
                    </a:lnTo>
                    <a:lnTo>
                      <a:pt x="239" y="668"/>
                    </a:lnTo>
                    <a:lnTo>
                      <a:pt x="245" y="668"/>
                    </a:lnTo>
                    <a:lnTo>
                      <a:pt x="248" y="662"/>
                    </a:lnTo>
                    <a:lnTo>
                      <a:pt x="250" y="662"/>
                    </a:lnTo>
                    <a:lnTo>
                      <a:pt x="252" y="660"/>
                    </a:lnTo>
                    <a:lnTo>
                      <a:pt x="256" y="659"/>
                    </a:lnTo>
                    <a:lnTo>
                      <a:pt x="258" y="657"/>
                    </a:lnTo>
                    <a:lnTo>
                      <a:pt x="263" y="651"/>
                    </a:lnTo>
                    <a:lnTo>
                      <a:pt x="269" y="655"/>
                    </a:lnTo>
                    <a:lnTo>
                      <a:pt x="271" y="655"/>
                    </a:lnTo>
                    <a:lnTo>
                      <a:pt x="277" y="660"/>
                    </a:lnTo>
                    <a:lnTo>
                      <a:pt x="282" y="666"/>
                    </a:lnTo>
                    <a:lnTo>
                      <a:pt x="282" y="668"/>
                    </a:lnTo>
                    <a:lnTo>
                      <a:pt x="284" y="670"/>
                    </a:lnTo>
                    <a:lnTo>
                      <a:pt x="288" y="672"/>
                    </a:lnTo>
                    <a:lnTo>
                      <a:pt x="293" y="674"/>
                    </a:lnTo>
                    <a:lnTo>
                      <a:pt x="295" y="674"/>
                    </a:lnTo>
                    <a:lnTo>
                      <a:pt x="301" y="668"/>
                    </a:lnTo>
                    <a:lnTo>
                      <a:pt x="303" y="668"/>
                    </a:lnTo>
                    <a:lnTo>
                      <a:pt x="307" y="666"/>
                    </a:lnTo>
                    <a:lnTo>
                      <a:pt x="309" y="664"/>
                    </a:lnTo>
                    <a:lnTo>
                      <a:pt x="310" y="662"/>
                    </a:lnTo>
                    <a:lnTo>
                      <a:pt x="312" y="659"/>
                    </a:lnTo>
                    <a:lnTo>
                      <a:pt x="320" y="657"/>
                    </a:lnTo>
                    <a:lnTo>
                      <a:pt x="331" y="655"/>
                    </a:lnTo>
                    <a:lnTo>
                      <a:pt x="335" y="651"/>
                    </a:lnTo>
                    <a:lnTo>
                      <a:pt x="333" y="649"/>
                    </a:lnTo>
                    <a:lnTo>
                      <a:pt x="333" y="643"/>
                    </a:lnTo>
                    <a:lnTo>
                      <a:pt x="340" y="645"/>
                    </a:lnTo>
                    <a:lnTo>
                      <a:pt x="346" y="645"/>
                    </a:lnTo>
                    <a:lnTo>
                      <a:pt x="348" y="645"/>
                    </a:lnTo>
                    <a:lnTo>
                      <a:pt x="352" y="642"/>
                    </a:lnTo>
                    <a:lnTo>
                      <a:pt x="350" y="642"/>
                    </a:lnTo>
                    <a:lnTo>
                      <a:pt x="354" y="638"/>
                    </a:lnTo>
                    <a:lnTo>
                      <a:pt x="356" y="636"/>
                    </a:lnTo>
                    <a:lnTo>
                      <a:pt x="357" y="634"/>
                    </a:lnTo>
                    <a:lnTo>
                      <a:pt x="357" y="627"/>
                    </a:lnTo>
                    <a:lnTo>
                      <a:pt x="356" y="625"/>
                    </a:lnTo>
                    <a:lnTo>
                      <a:pt x="352" y="623"/>
                    </a:lnTo>
                    <a:lnTo>
                      <a:pt x="348" y="630"/>
                    </a:lnTo>
                    <a:lnTo>
                      <a:pt x="348" y="625"/>
                    </a:lnTo>
                    <a:lnTo>
                      <a:pt x="348" y="623"/>
                    </a:lnTo>
                    <a:lnTo>
                      <a:pt x="350" y="617"/>
                    </a:lnTo>
                    <a:lnTo>
                      <a:pt x="352" y="617"/>
                    </a:lnTo>
                    <a:lnTo>
                      <a:pt x="352" y="615"/>
                    </a:lnTo>
                    <a:lnTo>
                      <a:pt x="354" y="613"/>
                    </a:lnTo>
                    <a:lnTo>
                      <a:pt x="357" y="615"/>
                    </a:lnTo>
                    <a:lnTo>
                      <a:pt x="359" y="611"/>
                    </a:lnTo>
                    <a:lnTo>
                      <a:pt x="356" y="610"/>
                    </a:lnTo>
                    <a:lnTo>
                      <a:pt x="357" y="604"/>
                    </a:lnTo>
                    <a:lnTo>
                      <a:pt x="359" y="600"/>
                    </a:lnTo>
                    <a:lnTo>
                      <a:pt x="361" y="600"/>
                    </a:lnTo>
                    <a:lnTo>
                      <a:pt x="367" y="602"/>
                    </a:lnTo>
                    <a:lnTo>
                      <a:pt x="367" y="600"/>
                    </a:lnTo>
                    <a:lnTo>
                      <a:pt x="371" y="600"/>
                    </a:lnTo>
                    <a:lnTo>
                      <a:pt x="371" y="598"/>
                    </a:lnTo>
                    <a:lnTo>
                      <a:pt x="372" y="598"/>
                    </a:lnTo>
                    <a:lnTo>
                      <a:pt x="371" y="596"/>
                    </a:lnTo>
                    <a:lnTo>
                      <a:pt x="369" y="595"/>
                    </a:lnTo>
                    <a:lnTo>
                      <a:pt x="374" y="589"/>
                    </a:lnTo>
                    <a:lnTo>
                      <a:pt x="380" y="583"/>
                    </a:lnTo>
                    <a:lnTo>
                      <a:pt x="376" y="581"/>
                    </a:lnTo>
                    <a:lnTo>
                      <a:pt x="376" y="579"/>
                    </a:lnTo>
                    <a:lnTo>
                      <a:pt x="374" y="579"/>
                    </a:lnTo>
                    <a:lnTo>
                      <a:pt x="371" y="576"/>
                    </a:lnTo>
                    <a:lnTo>
                      <a:pt x="372" y="574"/>
                    </a:lnTo>
                    <a:lnTo>
                      <a:pt x="372" y="572"/>
                    </a:lnTo>
                    <a:lnTo>
                      <a:pt x="369" y="570"/>
                    </a:lnTo>
                    <a:lnTo>
                      <a:pt x="365" y="566"/>
                    </a:lnTo>
                    <a:lnTo>
                      <a:pt x="363" y="566"/>
                    </a:lnTo>
                    <a:lnTo>
                      <a:pt x="361" y="566"/>
                    </a:lnTo>
                    <a:lnTo>
                      <a:pt x="361" y="568"/>
                    </a:lnTo>
                    <a:lnTo>
                      <a:pt x="357" y="568"/>
                    </a:lnTo>
                    <a:lnTo>
                      <a:pt x="354" y="568"/>
                    </a:lnTo>
                    <a:lnTo>
                      <a:pt x="350" y="568"/>
                    </a:lnTo>
                    <a:lnTo>
                      <a:pt x="350" y="563"/>
                    </a:lnTo>
                    <a:lnTo>
                      <a:pt x="354" y="551"/>
                    </a:lnTo>
                    <a:lnTo>
                      <a:pt x="359" y="553"/>
                    </a:lnTo>
                    <a:lnTo>
                      <a:pt x="361" y="553"/>
                    </a:lnTo>
                    <a:lnTo>
                      <a:pt x="363" y="544"/>
                    </a:lnTo>
                    <a:lnTo>
                      <a:pt x="369" y="542"/>
                    </a:lnTo>
                    <a:lnTo>
                      <a:pt x="371" y="540"/>
                    </a:lnTo>
                    <a:lnTo>
                      <a:pt x="363" y="536"/>
                    </a:lnTo>
                    <a:lnTo>
                      <a:pt x="363" y="534"/>
                    </a:lnTo>
                    <a:lnTo>
                      <a:pt x="361" y="532"/>
                    </a:lnTo>
                    <a:lnTo>
                      <a:pt x="361" y="527"/>
                    </a:lnTo>
                    <a:lnTo>
                      <a:pt x="365" y="519"/>
                    </a:lnTo>
                    <a:lnTo>
                      <a:pt x="376" y="519"/>
                    </a:lnTo>
                    <a:lnTo>
                      <a:pt x="380" y="521"/>
                    </a:lnTo>
                    <a:lnTo>
                      <a:pt x="384" y="521"/>
                    </a:lnTo>
                    <a:lnTo>
                      <a:pt x="386" y="525"/>
                    </a:lnTo>
                    <a:lnTo>
                      <a:pt x="388" y="525"/>
                    </a:lnTo>
                    <a:lnTo>
                      <a:pt x="389" y="525"/>
                    </a:lnTo>
                    <a:lnTo>
                      <a:pt x="391" y="527"/>
                    </a:lnTo>
                    <a:lnTo>
                      <a:pt x="391" y="523"/>
                    </a:lnTo>
                    <a:lnTo>
                      <a:pt x="393" y="525"/>
                    </a:lnTo>
                    <a:lnTo>
                      <a:pt x="395" y="527"/>
                    </a:lnTo>
                    <a:lnTo>
                      <a:pt x="399" y="525"/>
                    </a:lnTo>
                    <a:lnTo>
                      <a:pt x="401" y="523"/>
                    </a:lnTo>
                    <a:lnTo>
                      <a:pt x="403" y="521"/>
                    </a:lnTo>
                    <a:lnTo>
                      <a:pt x="404" y="519"/>
                    </a:lnTo>
                    <a:lnTo>
                      <a:pt x="406" y="514"/>
                    </a:lnTo>
                    <a:lnTo>
                      <a:pt x="410" y="510"/>
                    </a:lnTo>
                    <a:lnTo>
                      <a:pt x="412" y="510"/>
                    </a:lnTo>
                    <a:lnTo>
                      <a:pt x="431" y="510"/>
                    </a:lnTo>
                    <a:lnTo>
                      <a:pt x="431" y="508"/>
                    </a:lnTo>
                    <a:lnTo>
                      <a:pt x="429" y="502"/>
                    </a:lnTo>
                    <a:lnTo>
                      <a:pt x="435" y="510"/>
                    </a:lnTo>
                    <a:lnTo>
                      <a:pt x="436" y="510"/>
                    </a:lnTo>
                    <a:lnTo>
                      <a:pt x="442" y="508"/>
                    </a:lnTo>
                    <a:lnTo>
                      <a:pt x="451" y="508"/>
                    </a:lnTo>
                    <a:lnTo>
                      <a:pt x="453" y="508"/>
                    </a:lnTo>
                    <a:lnTo>
                      <a:pt x="453" y="506"/>
                    </a:lnTo>
                    <a:lnTo>
                      <a:pt x="455" y="499"/>
                    </a:lnTo>
                    <a:lnTo>
                      <a:pt x="455" y="489"/>
                    </a:lnTo>
                    <a:lnTo>
                      <a:pt x="457" y="478"/>
                    </a:lnTo>
                    <a:lnTo>
                      <a:pt x="451" y="467"/>
                    </a:lnTo>
                    <a:lnTo>
                      <a:pt x="457" y="459"/>
                    </a:lnTo>
                    <a:lnTo>
                      <a:pt x="457" y="457"/>
                    </a:lnTo>
                    <a:lnTo>
                      <a:pt x="459" y="450"/>
                    </a:lnTo>
                    <a:lnTo>
                      <a:pt x="455" y="446"/>
                    </a:lnTo>
                    <a:lnTo>
                      <a:pt x="461" y="442"/>
                    </a:lnTo>
                    <a:lnTo>
                      <a:pt x="467" y="440"/>
                    </a:lnTo>
                    <a:lnTo>
                      <a:pt x="468" y="425"/>
                    </a:lnTo>
                    <a:lnTo>
                      <a:pt x="468" y="421"/>
                    </a:lnTo>
                    <a:lnTo>
                      <a:pt x="476" y="416"/>
                    </a:lnTo>
                    <a:lnTo>
                      <a:pt x="489" y="412"/>
                    </a:lnTo>
                    <a:lnTo>
                      <a:pt x="493" y="412"/>
                    </a:lnTo>
                    <a:lnTo>
                      <a:pt x="495" y="412"/>
                    </a:lnTo>
                    <a:lnTo>
                      <a:pt x="502" y="416"/>
                    </a:lnTo>
                    <a:lnTo>
                      <a:pt x="504" y="418"/>
                    </a:lnTo>
                    <a:lnTo>
                      <a:pt x="504" y="419"/>
                    </a:lnTo>
                    <a:lnTo>
                      <a:pt x="508" y="416"/>
                    </a:lnTo>
                    <a:lnTo>
                      <a:pt x="514" y="416"/>
                    </a:lnTo>
                    <a:lnTo>
                      <a:pt x="515" y="416"/>
                    </a:lnTo>
                    <a:lnTo>
                      <a:pt x="521" y="414"/>
                    </a:lnTo>
                    <a:lnTo>
                      <a:pt x="525" y="414"/>
                    </a:lnTo>
                    <a:lnTo>
                      <a:pt x="525" y="412"/>
                    </a:lnTo>
                    <a:lnTo>
                      <a:pt x="532" y="404"/>
                    </a:lnTo>
                    <a:lnTo>
                      <a:pt x="534" y="402"/>
                    </a:lnTo>
                    <a:lnTo>
                      <a:pt x="540" y="406"/>
                    </a:lnTo>
                    <a:lnTo>
                      <a:pt x="542" y="408"/>
                    </a:lnTo>
                    <a:lnTo>
                      <a:pt x="544" y="408"/>
                    </a:lnTo>
                    <a:lnTo>
                      <a:pt x="544" y="406"/>
                    </a:lnTo>
                    <a:lnTo>
                      <a:pt x="544" y="402"/>
                    </a:lnTo>
                    <a:lnTo>
                      <a:pt x="542" y="397"/>
                    </a:lnTo>
                    <a:lnTo>
                      <a:pt x="540" y="395"/>
                    </a:lnTo>
                    <a:lnTo>
                      <a:pt x="549" y="391"/>
                    </a:lnTo>
                    <a:lnTo>
                      <a:pt x="553" y="391"/>
                    </a:lnTo>
                    <a:lnTo>
                      <a:pt x="559" y="391"/>
                    </a:lnTo>
                    <a:lnTo>
                      <a:pt x="561" y="393"/>
                    </a:lnTo>
                    <a:lnTo>
                      <a:pt x="564" y="391"/>
                    </a:lnTo>
                    <a:lnTo>
                      <a:pt x="564" y="387"/>
                    </a:lnTo>
                    <a:lnTo>
                      <a:pt x="564" y="386"/>
                    </a:lnTo>
                    <a:lnTo>
                      <a:pt x="566" y="386"/>
                    </a:lnTo>
                    <a:lnTo>
                      <a:pt x="568" y="382"/>
                    </a:lnTo>
                    <a:lnTo>
                      <a:pt x="574" y="378"/>
                    </a:lnTo>
                    <a:lnTo>
                      <a:pt x="576" y="378"/>
                    </a:lnTo>
                    <a:lnTo>
                      <a:pt x="579" y="376"/>
                    </a:lnTo>
                    <a:lnTo>
                      <a:pt x="583" y="376"/>
                    </a:lnTo>
                    <a:lnTo>
                      <a:pt x="589" y="376"/>
                    </a:lnTo>
                    <a:lnTo>
                      <a:pt x="593" y="378"/>
                    </a:lnTo>
                    <a:lnTo>
                      <a:pt x="596" y="372"/>
                    </a:lnTo>
                    <a:lnTo>
                      <a:pt x="600" y="374"/>
                    </a:lnTo>
                    <a:lnTo>
                      <a:pt x="604" y="374"/>
                    </a:lnTo>
                    <a:lnTo>
                      <a:pt x="608" y="370"/>
                    </a:lnTo>
                    <a:lnTo>
                      <a:pt x="611" y="369"/>
                    </a:lnTo>
                    <a:lnTo>
                      <a:pt x="617" y="369"/>
                    </a:lnTo>
                    <a:lnTo>
                      <a:pt x="619" y="365"/>
                    </a:lnTo>
                    <a:lnTo>
                      <a:pt x="621" y="367"/>
                    </a:lnTo>
                    <a:lnTo>
                      <a:pt x="623" y="369"/>
                    </a:lnTo>
                    <a:lnTo>
                      <a:pt x="623" y="367"/>
                    </a:lnTo>
                    <a:lnTo>
                      <a:pt x="625" y="363"/>
                    </a:lnTo>
                    <a:lnTo>
                      <a:pt x="628" y="361"/>
                    </a:lnTo>
                    <a:lnTo>
                      <a:pt x="630" y="361"/>
                    </a:lnTo>
                    <a:lnTo>
                      <a:pt x="632" y="359"/>
                    </a:lnTo>
                    <a:lnTo>
                      <a:pt x="632" y="357"/>
                    </a:lnTo>
                    <a:lnTo>
                      <a:pt x="630" y="357"/>
                    </a:lnTo>
                    <a:lnTo>
                      <a:pt x="632" y="354"/>
                    </a:lnTo>
                    <a:lnTo>
                      <a:pt x="634" y="354"/>
                    </a:lnTo>
                    <a:lnTo>
                      <a:pt x="636" y="354"/>
                    </a:lnTo>
                    <a:lnTo>
                      <a:pt x="636" y="355"/>
                    </a:lnTo>
                    <a:lnTo>
                      <a:pt x="647" y="361"/>
                    </a:lnTo>
                    <a:lnTo>
                      <a:pt x="647" y="363"/>
                    </a:lnTo>
                    <a:lnTo>
                      <a:pt x="649" y="363"/>
                    </a:lnTo>
                    <a:lnTo>
                      <a:pt x="651" y="363"/>
                    </a:lnTo>
                    <a:lnTo>
                      <a:pt x="653" y="361"/>
                    </a:lnTo>
                    <a:lnTo>
                      <a:pt x="670" y="367"/>
                    </a:lnTo>
                    <a:lnTo>
                      <a:pt x="673" y="365"/>
                    </a:lnTo>
                    <a:lnTo>
                      <a:pt x="677" y="361"/>
                    </a:lnTo>
                    <a:lnTo>
                      <a:pt x="675" y="357"/>
                    </a:lnTo>
                    <a:lnTo>
                      <a:pt x="675" y="355"/>
                    </a:lnTo>
                    <a:lnTo>
                      <a:pt x="677" y="342"/>
                    </a:lnTo>
                    <a:lnTo>
                      <a:pt x="679" y="338"/>
                    </a:lnTo>
                    <a:lnTo>
                      <a:pt x="679" y="337"/>
                    </a:lnTo>
                    <a:lnTo>
                      <a:pt x="685" y="337"/>
                    </a:lnTo>
                    <a:lnTo>
                      <a:pt x="687" y="335"/>
                    </a:lnTo>
                    <a:lnTo>
                      <a:pt x="692" y="327"/>
                    </a:lnTo>
                    <a:lnTo>
                      <a:pt x="692" y="325"/>
                    </a:lnTo>
                    <a:lnTo>
                      <a:pt x="694" y="320"/>
                    </a:lnTo>
                    <a:lnTo>
                      <a:pt x="690" y="316"/>
                    </a:lnTo>
                    <a:lnTo>
                      <a:pt x="694" y="312"/>
                    </a:lnTo>
                    <a:lnTo>
                      <a:pt x="696" y="314"/>
                    </a:lnTo>
                    <a:lnTo>
                      <a:pt x="700" y="310"/>
                    </a:lnTo>
                    <a:lnTo>
                      <a:pt x="704" y="308"/>
                    </a:lnTo>
                    <a:lnTo>
                      <a:pt x="707" y="299"/>
                    </a:lnTo>
                    <a:lnTo>
                      <a:pt x="702" y="299"/>
                    </a:lnTo>
                    <a:lnTo>
                      <a:pt x="700" y="293"/>
                    </a:lnTo>
                    <a:lnTo>
                      <a:pt x="700" y="291"/>
                    </a:lnTo>
                    <a:lnTo>
                      <a:pt x="702" y="290"/>
                    </a:lnTo>
                    <a:lnTo>
                      <a:pt x="704" y="288"/>
                    </a:lnTo>
                    <a:lnTo>
                      <a:pt x="709" y="284"/>
                    </a:lnTo>
                    <a:lnTo>
                      <a:pt x="707" y="282"/>
                    </a:lnTo>
                    <a:lnTo>
                      <a:pt x="707" y="280"/>
                    </a:lnTo>
                    <a:lnTo>
                      <a:pt x="707" y="276"/>
                    </a:lnTo>
                    <a:lnTo>
                      <a:pt x="709" y="274"/>
                    </a:lnTo>
                    <a:lnTo>
                      <a:pt x="709" y="273"/>
                    </a:lnTo>
                    <a:lnTo>
                      <a:pt x="709" y="271"/>
                    </a:lnTo>
                    <a:lnTo>
                      <a:pt x="711" y="269"/>
                    </a:lnTo>
                    <a:lnTo>
                      <a:pt x="711" y="267"/>
                    </a:lnTo>
                    <a:lnTo>
                      <a:pt x="709" y="267"/>
                    </a:lnTo>
                    <a:lnTo>
                      <a:pt x="707" y="267"/>
                    </a:lnTo>
                    <a:lnTo>
                      <a:pt x="705" y="263"/>
                    </a:lnTo>
                    <a:lnTo>
                      <a:pt x="698" y="258"/>
                    </a:lnTo>
                    <a:lnTo>
                      <a:pt x="702" y="252"/>
                    </a:lnTo>
                    <a:lnTo>
                      <a:pt x="711" y="246"/>
                    </a:lnTo>
                    <a:lnTo>
                      <a:pt x="719" y="235"/>
                    </a:lnTo>
                    <a:lnTo>
                      <a:pt x="713" y="237"/>
                    </a:lnTo>
                    <a:lnTo>
                      <a:pt x="707" y="233"/>
                    </a:lnTo>
                    <a:lnTo>
                      <a:pt x="702" y="233"/>
                    </a:lnTo>
                    <a:lnTo>
                      <a:pt x="702" y="231"/>
                    </a:lnTo>
                    <a:lnTo>
                      <a:pt x="702" y="227"/>
                    </a:lnTo>
                    <a:lnTo>
                      <a:pt x="702" y="226"/>
                    </a:lnTo>
                    <a:lnTo>
                      <a:pt x="700" y="220"/>
                    </a:lnTo>
                    <a:lnTo>
                      <a:pt x="700" y="218"/>
                    </a:lnTo>
                    <a:lnTo>
                      <a:pt x="700" y="216"/>
                    </a:lnTo>
                    <a:lnTo>
                      <a:pt x="700" y="214"/>
                    </a:lnTo>
                    <a:lnTo>
                      <a:pt x="696" y="214"/>
                    </a:lnTo>
                    <a:lnTo>
                      <a:pt x="696" y="212"/>
                    </a:lnTo>
                    <a:lnTo>
                      <a:pt x="698" y="210"/>
                    </a:lnTo>
                    <a:lnTo>
                      <a:pt x="698" y="209"/>
                    </a:lnTo>
                    <a:lnTo>
                      <a:pt x="698" y="207"/>
                    </a:lnTo>
                    <a:lnTo>
                      <a:pt x="696" y="205"/>
                    </a:lnTo>
                    <a:lnTo>
                      <a:pt x="696" y="203"/>
                    </a:lnTo>
                    <a:lnTo>
                      <a:pt x="696" y="201"/>
                    </a:lnTo>
                    <a:lnTo>
                      <a:pt x="700" y="199"/>
                    </a:lnTo>
                    <a:lnTo>
                      <a:pt x="698" y="197"/>
                    </a:lnTo>
                    <a:lnTo>
                      <a:pt x="696" y="195"/>
                    </a:lnTo>
                    <a:lnTo>
                      <a:pt x="696" y="192"/>
                    </a:lnTo>
                    <a:lnTo>
                      <a:pt x="694" y="188"/>
                    </a:lnTo>
                    <a:lnTo>
                      <a:pt x="696" y="186"/>
                    </a:lnTo>
                    <a:lnTo>
                      <a:pt x="698" y="184"/>
                    </a:lnTo>
                    <a:lnTo>
                      <a:pt x="698" y="186"/>
                    </a:lnTo>
                    <a:lnTo>
                      <a:pt x="698" y="188"/>
                    </a:lnTo>
                    <a:lnTo>
                      <a:pt x="700" y="188"/>
                    </a:lnTo>
                    <a:lnTo>
                      <a:pt x="702" y="188"/>
                    </a:lnTo>
                    <a:lnTo>
                      <a:pt x="702" y="186"/>
                    </a:lnTo>
                    <a:lnTo>
                      <a:pt x="704" y="186"/>
                    </a:lnTo>
                    <a:lnTo>
                      <a:pt x="705" y="186"/>
                    </a:lnTo>
                    <a:lnTo>
                      <a:pt x="707" y="186"/>
                    </a:lnTo>
                    <a:lnTo>
                      <a:pt x="707" y="184"/>
                    </a:lnTo>
                    <a:lnTo>
                      <a:pt x="709" y="184"/>
                    </a:lnTo>
                    <a:lnTo>
                      <a:pt x="711" y="182"/>
                    </a:lnTo>
                    <a:lnTo>
                      <a:pt x="713" y="182"/>
                    </a:lnTo>
                    <a:lnTo>
                      <a:pt x="715" y="182"/>
                    </a:lnTo>
                    <a:lnTo>
                      <a:pt x="717" y="182"/>
                    </a:lnTo>
                    <a:lnTo>
                      <a:pt x="719" y="182"/>
                    </a:lnTo>
                    <a:lnTo>
                      <a:pt x="720" y="182"/>
                    </a:lnTo>
                    <a:lnTo>
                      <a:pt x="722" y="182"/>
                    </a:lnTo>
                    <a:lnTo>
                      <a:pt x="724" y="182"/>
                    </a:lnTo>
                    <a:lnTo>
                      <a:pt x="724" y="180"/>
                    </a:lnTo>
                    <a:lnTo>
                      <a:pt x="726" y="178"/>
                    </a:lnTo>
                    <a:lnTo>
                      <a:pt x="728" y="177"/>
                    </a:lnTo>
                    <a:lnTo>
                      <a:pt x="728" y="175"/>
                    </a:lnTo>
                    <a:lnTo>
                      <a:pt x="730" y="175"/>
                    </a:lnTo>
                    <a:lnTo>
                      <a:pt x="732" y="175"/>
                    </a:lnTo>
                    <a:lnTo>
                      <a:pt x="732" y="177"/>
                    </a:lnTo>
                    <a:lnTo>
                      <a:pt x="734" y="177"/>
                    </a:lnTo>
                    <a:lnTo>
                      <a:pt x="734" y="178"/>
                    </a:lnTo>
                    <a:lnTo>
                      <a:pt x="734" y="180"/>
                    </a:lnTo>
                    <a:lnTo>
                      <a:pt x="735" y="182"/>
                    </a:lnTo>
                    <a:lnTo>
                      <a:pt x="735" y="184"/>
                    </a:lnTo>
                    <a:lnTo>
                      <a:pt x="737" y="184"/>
                    </a:lnTo>
                    <a:lnTo>
                      <a:pt x="737" y="186"/>
                    </a:lnTo>
                    <a:lnTo>
                      <a:pt x="737" y="188"/>
                    </a:lnTo>
                    <a:lnTo>
                      <a:pt x="735" y="190"/>
                    </a:lnTo>
                    <a:lnTo>
                      <a:pt x="735" y="192"/>
                    </a:lnTo>
                    <a:lnTo>
                      <a:pt x="734" y="192"/>
                    </a:lnTo>
                    <a:lnTo>
                      <a:pt x="734" y="194"/>
                    </a:lnTo>
                    <a:lnTo>
                      <a:pt x="735" y="194"/>
                    </a:lnTo>
                    <a:lnTo>
                      <a:pt x="735" y="195"/>
                    </a:lnTo>
                    <a:lnTo>
                      <a:pt x="737" y="195"/>
                    </a:lnTo>
                    <a:lnTo>
                      <a:pt x="739" y="195"/>
                    </a:lnTo>
                    <a:lnTo>
                      <a:pt x="741" y="195"/>
                    </a:lnTo>
                    <a:lnTo>
                      <a:pt x="743" y="195"/>
                    </a:lnTo>
                    <a:lnTo>
                      <a:pt x="743" y="194"/>
                    </a:lnTo>
                    <a:lnTo>
                      <a:pt x="745" y="194"/>
                    </a:lnTo>
                    <a:lnTo>
                      <a:pt x="747" y="192"/>
                    </a:lnTo>
                    <a:lnTo>
                      <a:pt x="749" y="192"/>
                    </a:lnTo>
                    <a:lnTo>
                      <a:pt x="751" y="190"/>
                    </a:lnTo>
                    <a:lnTo>
                      <a:pt x="752" y="190"/>
                    </a:lnTo>
                    <a:lnTo>
                      <a:pt x="752" y="192"/>
                    </a:lnTo>
                    <a:lnTo>
                      <a:pt x="754" y="192"/>
                    </a:lnTo>
                    <a:lnTo>
                      <a:pt x="754" y="194"/>
                    </a:lnTo>
                    <a:lnTo>
                      <a:pt x="752" y="194"/>
                    </a:lnTo>
                    <a:lnTo>
                      <a:pt x="752" y="195"/>
                    </a:lnTo>
                    <a:lnTo>
                      <a:pt x="752" y="197"/>
                    </a:lnTo>
                    <a:lnTo>
                      <a:pt x="754" y="199"/>
                    </a:lnTo>
                    <a:lnTo>
                      <a:pt x="756" y="201"/>
                    </a:lnTo>
                    <a:lnTo>
                      <a:pt x="758" y="201"/>
                    </a:lnTo>
                    <a:lnTo>
                      <a:pt x="760" y="201"/>
                    </a:lnTo>
                    <a:lnTo>
                      <a:pt x="760" y="203"/>
                    </a:lnTo>
                    <a:lnTo>
                      <a:pt x="762" y="203"/>
                    </a:lnTo>
                    <a:lnTo>
                      <a:pt x="766" y="203"/>
                    </a:lnTo>
                    <a:lnTo>
                      <a:pt x="767" y="203"/>
                    </a:lnTo>
                    <a:lnTo>
                      <a:pt x="767" y="201"/>
                    </a:lnTo>
                    <a:lnTo>
                      <a:pt x="769" y="203"/>
                    </a:lnTo>
                    <a:lnTo>
                      <a:pt x="771" y="203"/>
                    </a:lnTo>
                    <a:lnTo>
                      <a:pt x="773" y="205"/>
                    </a:lnTo>
                    <a:lnTo>
                      <a:pt x="775" y="203"/>
                    </a:lnTo>
                    <a:lnTo>
                      <a:pt x="777" y="203"/>
                    </a:lnTo>
                    <a:lnTo>
                      <a:pt x="777" y="201"/>
                    </a:lnTo>
                    <a:lnTo>
                      <a:pt x="777" y="197"/>
                    </a:lnTo>
                    <a:lnTo>
                      <a:pt x="777" y="195"/>
                    </a:lnTo>
                    <a:lnTo>
                      <a:pt x="777" y="194"/>
                    </a:lnTo>
                    <a:lnTo>
                      <a:pt x="777" y="192"/>
                    </a:lnTo>
                    <a:lnTo>
                      <a:pt x="779" y="192"/>
                    </a:lnTo>
                    <a:lnTo>
                      <a:pt x="779" y="190"/>
                    </a:lnTo>
                    <a:lnTo>
                      <a:pt x="781" y="190"/>
                    </a:lnTo>
                    <a:lnTo>
                      <a:pt x="781" y="188"/>
                    </a:lnTo>
                    <a:lnTo>
                      <a:pt x="783" y="188"/>
                    </a:lnTo>
                    <a:lnTo>
                      <a:pt x="784" y="188"/>
                    </a:lnTo>
                    <a:lnTo>
                      <a:pt x="786" y="188"/>
                    </a:lnTo>
                    <a:lnTo>
                      <a:pt x="788" y="188"/>
                    </a:lnTo>
                    <a:lnTo>
                      <a:pt x="790" y="188"/>
                    </a:lnTo>
                    <a:lnTo>
                      <a:pt x="792" y="188"/>
                    </a:lnTo>
                    <a:lnTo>
                      <a:pt x="794" y="188"/>
                    </a:lnTo>
                    <a:lnTo>
                      <a:pt x="796" y="188"/>
                    </a:lnTo>
                    <a:lnTo>
                      <a:pt x="796" y="186"/>
                    </a:lnTo>
                    <a:lnTo>
                      <a:pt x="796" y="184"/>
                    </a:lnTo>
                    <a:lnTo>
                      <a:pt x="798" y="184"/>
                    </a:lnTo>
                    <a:lnTo>
                      <a:pt x="798" y="182"/>
                    </a:lnTo>
                    <a:lnTo>
                      <a:pt x="799" y="182"/>
                    </a:lnTo>
                    <a:lnTo>
                      <a:pt x="799" y="180"/>
                    </a:lnTo>
                    <a:lnTo>
                      <a:pt x="801" y="180"/>
                    </a:lnTo>
                    <a:lnTo>
                      <a:pt x="803" y="180"/>
                    </a:lnTo>
                    <a:lnTo>
                      <a:pt x="805" y="180"/>
                    </a:lnTo>
                    <a:lnTo>
                      <a:pt x="805" y="182"/>
                    </a:lnTo>
                    <a:lnTo>
                      <a:pt x="805" y="180"/>
                    </a:lnTo>
                    <a:lnTo>
                      <a:pt x="807" y="180"/>
                    </a:lnTo>
                    <a:lnTo>
                      <a:pt x="807" y="178"/>
                    </a:lnTo>
                    <a:lnTo>
                      <a:pt x="807" y="177"/>
                    </a:lnTo>
                    <a:lnTo>
                      <a:pt x="805" y="177"/>
                    </a:lnTo>
                    <a:lnTo>
                      <a:pt x="805" y="175"/>
                    </a:lnTo>
                    <a:lnTo>
                      <a:pt x="803" y="173"/>
                    </a:lnTo>
                    <a:lnTo>
                      <a:pt x="803" y="171"/>
                    </a:lnTo>
                    <a:lnTo>
                      <a:pt x="801" y="171"/>
                    </a:lnTo>
                    <a:lnTo>
                      <a:pt x="801" y="169"/>
                    </a:lnTo>
                    <a:lnTo>
                      <a:pt x="801" y="167"/>
                    </a:lnTo>
                    <a:lnTo>
                      <a:pt x="801" y="165"/>
                    </a:lnTo>
                    <a:lnTo>
                      <a:pt x="801" y="163"/>
                    </a:lnTo>
                    <a:lnTo>
                      <a:pt x="803" y="163"/>
                    </a:lnTo>
                    <a:lnTo>
                      <a:pt x="803" y="162"/>
                    </a:lnTo>
                    <a:lnTo>
                      <a:pt x="805" y="162"/>
                    </a:lnTo>
                    <a:lnTo>
                      <a:pt x="805" y="160"/>
                    </a:lnTo>
                    <a:lnTo>
                      <a:pt x="807" y="160"/>
                    </a:lnTo>
                    <a:lnTo>
                      <a:pt x="809" y="160"/>
                    </a:lnTo>
                    <a:lnTo>
                      <a:pt x="809" y="162"/>
                    </a:lnTo>
                    <a:lnTo>
                      <a:pt x="811" y="163"/>
                    </a:lnTo>
                    <a:lnTo>
                      <a:pt x="813" y="165"/>
                    </a:lnTo>
                    <a:lnTo>
                      <a:pt x="814" y="167"/>
                    </a:lnTo>
                    <a:lnTo>
                      <a:pt x="814" y="169"/>
                    </a:lnTo>
                    <a:lnTo>
                      <a:pt x="814" y="171"/>
                    </a:lnTo>
                    <a:lnTo>
                      <a:pt x="814" y="173"/>
                    </a:lnTo>
                    <a:lnTo>
                      <a:pt x="816" y="173"/>
                    </a:lnTo>
                    <a:lnTo>
                      <a:pt x="818" y="173"/>
                    </a:lnTo>
                    <a:lnTo>
                      <a:pt x="818" y="171"/>
                    </a:lnTo>
                    <a:lnTo>
                      <a:pt x="818" y="169"/>
                    </a:lnTo>
                    <a:lnTo>
                      <a:pt x="818" y="167"/>
                    </a:lnTo>
                    <a:lnTo>
                      <a:pt x="818" y="165"/>
                    </a:lnTo>
                    <a:lnTo>
                      <a:pt x="820" y="165"/>
                    </a:lnTo>
                    <a:lnTo>
                      <a:pt x="820" y="163"/>
                    </a:lnTo>
                    <a:lnTo>
                      <a:pt x="822" y="163"/>
                    </a:lnTo>
                    <a:lnTo>
                      <a:pt x="822" y="162"/>
                    </a:lnTo>
                    <a:lnTo>
                      <a:pt x="824" y="162"/>
                    </a:lnTo>
                    <a:lnTo>
                      <a:pt x="826" y="160"/>
                    </a:lnTo>
                    <a:lnTo>
                      <a:pt x="828" y="160"/>
                    </a:lnTo>
                    <a:lnTo>
                      <a:pt x="830" y="160"/>
                    </a:lnTo>
                    <a:lnTo>
                      <a:pt x="831" y="160"/>
                    </a:lnTo>
                    <a:lnTo>
                      <a:pt x="833" y="160"/>
                    </a:lnTo>
                    <a:lnTo>
                      <a:pt x="835" y="158"/>
                    </a:lnTo>
                    <a:lnTo>
                      <a:pt x="837" y="158"/>
                    </a:lnTo>
                    <a:lnTo>
                      <a:pt x="839" y="158"/>
                    </a:lnTo>
                    <a:lnTo>
                      <a:pt x="841" y="158"/>
                    </a:lnTo>
                    <a:lnTo>
                      <a:pt x="843" y="158"/>
                    </a:lnTo>
                    <a:lnTo>
                      <a:pt x="845" y="156"/>
                    </a:lnTo>
                    <a:lnTo>
                      <a:pt x="846" y="156"/>
                    </a:lnTo>
                    <a:lnTo>
                      <a:pt x="846" y="154"/>
                    </a:lnTo>
                    <a:lnTo>
                      <a:pt x="848" y="154"/>
                    </a:lnTo>
                    <a:lnTo>
                      <a:pt x="850" y="156"/>
                    </a:lnTo>
                    <a:lnTo>
                      <a:pt x="852" y="156"/>
                    </a:lnTo>
                    <a:lnTo>
                      <a:pt x="852" y="154"/>
                    </a:lnTo>
                    <a:lnTo>
                      <a:pt x="854" y="154"/>
                    </a:lnTo>
                    <a:lnTo>
                      <a:pt x="856" y="154"/>
                    </a:lnTo>
                    <a:lnTo>
                      <a:pt x="858" y="154"/>
                    </a:lnTo>
                    <a:lnTo>
                      <a:pt x="858" y="152"/>
                    </a:lnTo>
                    <a:lnTo>
                      <a:pt x="860" y="152"/>
                    </a:lnTo>
                    <a:lnTo>
                      <a:pt x="860" y="154"/>
                    </a:lnTo>
                    <a:lnTo>
                      <a:pt x="862" y="154"/>
                    </a:lnTo>
                    <a:lnTo>
                      <a:pt x="862" y="156"/>
                    </a:lnTo>
                    <a:lnTo>
                      <a:pt x="863" y="158"/>
                    </a:lnTo>
                    <a:lnTo>
                      <a:pt x="865" y="160"/>
                    </a:lnTo>
                    <a:lnTo>
                      <a:pt x="867" y="160"/>
                    </a:lnTo>
                    <a:lnTo>
                      <a:pt x="869" y="160"/>
                    </a:lnTo>
                    <a:lnTo>
                      <a:pt x="871" y="160"/>
                    </a:lnTo>
                    <a:lnTo>
                      <a:pt x="873" y="158"/>
                    </a:lnTo>
                    <a:lnTo>
                      <a:pt x="871" y="156"/>
                    </a:lnTo>
                    <a:lnTo>
                      <a:pt x="871" y="154"/>
                    </a:lnTo>
                    <a:lnTo>
                      <a:pt x="873" y="154"/>
                    </a:lnTo>
                    <a:lnTo>
                      <a:pt x="871" y="154"/>
                    </a:lnTo>
                    <a:lnTo>
                      <a:pt x="871" y="152"/>
                    </a:lnTo>
                    <a:lnTo>
                      <a:pt x="871" y="150"/>
                    </a:lnTo>
                    <a:lnTo>
                      <a:pt x="869" y="150"/>
                    </a:lnTo>
                    <a:lnTo>
                      <a:pt x="867" y="150"/>
                    </a:lnTo>
                    <a:lnTo>
                      <a:pt x="867" y="148"/>
                    </a:lnTo>
                    <a:lnTo>
                      <a:pt x="867" y="146"/>
                    </a:lnTo>
                    <a:lnTo>
                      <a:pt x="869" y="146"/>
                    </a:lnTo>
                    <a:lnTo>
                      <a:pt x="869" y="145"/>
                    </a:lnTo>
                    <a:lnTo>
                      <a:pt x="871" y="145"/>
                    </a:lnTo>
                    <a:lnTo>
                      <a:pt x="871" y="143"/>
                    </a:lnTo>
                    <a:lnTo>
                      <a:pt x="873" y="143"/>
                    </a:lnTo>
                    <a:lnTo>
                      <a:pt x="875" y="143"/>
                    </a:lnTo>
                    <a:lnTo>
                      <a:pt x="877" y="143"/>
                    </a:lnTo>
                    <a:lnTo>
                      <a:pt x="878" y="145"/>
                    </a:lnTo>
                    <a:lnTo>
                      <a:pt x="880" y="145"/>
                    </a:lnTo>
                    <a:lnTo>
                      <a:pt x="880" y="146"/>
                    </a:lnTo>
                    <a:lnTo>
                      <a:pt x="882" y="148"/>
                    </a:lnTo>
                    <a:lnTo>
                      <a:pt x="884" y="148"/>
                    </a:lnTo>
                    <a:lnTo>
                      <a:pt x="884" y="150"/>
                    </a:lnTo>
                    <a:lnTo>
                      <a:pt x="884" y="152"/>
                    </a:lnTo>
                    <a:lnTo>
                      <a:pt x="884" y="154"/>
                    </a:lnTo>
                    <a:lnTo>
                      <a:pt x="884" y="156"/>
                    </a:lnTo>
                    <a:lnTo>
                      <a:pt x="884" y="158"/>
                    </a:lnTo>
                    <a:lnTo>
                      <a:pt x="886" y="158"/>
                    </a:lnTo>
                    <a:lnTo>
                      <a:pt x="888" y="158"/>
                    </a:lnTo>
                    <a:lnTo>
                      <a:pt x="890" y="158"/>
                    </a:lnTo>
                    <a:lnTo>
                      <a:pt x="892" y="158"/>
                    </a:lnTo>
                    <a:lnTo>
                      <a:pt x="893" y="158"/>
                    </a:lnTo>
                    <a:lnTo>
                      <a:pt x="895" y="160"/>
                    </a:lnTo>
                    <a:lnTo>
                      <a:pt x="897" y="160"/>
                    </a:lnTo>
                    <a:lnTo>
                      <a:pt x="899" y="160"/>
                    </a:lnTo>
                    <a:lnTo>
                      <a:pt x="901" y="160"/>
                    </a:lnTo>
                    <a:lnTo>
                      <a:pt x="901" y="162"/>
                    </a:lnTo>
                    <a:lnTo>
                      <a:pt x="901" y="163"/>
                    </a:lnTo>
                    <a:lnTo>
                      <a:pt x="901" y="165"/>
                    </a:lnTo>
                    <a:lnTo>
                      <a:pt x="901" y="167"/>
                    </a:lnTo>
                    <a:lnTo>
                      <a:pt x="901" y="169"/>
                    </a:lnTo>
                    <a:lnTo>
                      <a:pt x="903" y="169"/>
                    </a:lnTo>
                    <a:lnTo>
                      <a:pt x="905" y="171"/>
                    </a:lnTo>
                    <a:lnTo>
                      <a:pt x="905" y="173"/>
                    </a:lnTo>
                    <a:lnTo>
                      <a:pt x="905" y="175"/>
                    </a:lnTo>
                    <a:lnTo>
                      <a:pt x="907" y="175"/>
                    </a:lnTo>
                    <a:lnTo>
                      <a:pt x="909" y="175"/>
                    </a:lnTo>
                    <a:lnTo>
                      <a:pt x="910" y="175"/>
                    </a:lnTo>
                    <a:lnTo>
                      <a:pt x="912" y="173"/>
                    </a:lnTo>
                    <a:lnTo>
                      <a:pt x="914" y="173"/>
                    </a:lnTo>
                    <a:lnTo>
                      <a:pt x="916" y="173"/>
                    </a:lnTo>
                    <a:lnTo>
                      <a:pt x="918" y="175"/>
                    </a:lnTo>
                    <a:lnTo>
                      <a:pt x="920" y="175"/>
                    </a:lnTo>
                    <a:lnTo>
                      <a:pt x="922" y="177"/>
                    </a:lnTo>
                    <a:lnTo>
                      <a:pt x="924" y="177"/>
                    </a:lnTo>
                    <a:lnTo>
                      <a:pt x="925" y="177"/>
                    </a:lnTo>
                    <a:lnTo>
                      <a:pt x="925" y="175"/>
                    </a:lnTo>
                    <a:lnTo>
                      <a:pt x="927" y="175"/>
                    </a:lnTo>
                    <a:lnTo>
                      <a:pt x="927" y="173"/>
                    </a:lnTo>
                    <a:lnTo>
                      <a:pt x="929" y="173"/>
                    </a:lnTo>
                    <a:lnTo>
                      <a:pt x="931" y="173"/>
                    </a:lnTo>
                    <a:lnTo>
                      <a:pt x="933" y="173"/>
                    </a:lnTo>
                    <a:lnTo>
                      <a:pt x="935" y="171"/>
                    </a:lnTo>
                    <a:lnTo>
                      <a:pt x="935" y="169"/>
                    </a:lnTo>
                    <a:lnTo>
                      <a:pt x="937" y="169"/>
                    </a:lnTo>
                    <a:lnTo>
                      <a:pt x="939" y="169"/>
                    </a:lnTo>
                    <a:lnTo>
                      <a:pt x="941" y="167"/>
                    </a:lnTo>
                    <a:lnTo>
                      <a:pt x="942" y="167"/>
                    </a:lnTo>
                    <a:lnTo>
                      <a:pt x="944" y="167"/>
                    </a:lnTo>
                    <a:lnTo>
                      <a:pt x="946" y="167"/>
                    </a:lnTo>
                    <a:lnTo>
                      <a:pt x="946" y="169"/>
                    </a:lnTo>
                    <a:lnTo>
                      <a:pt x="948" y="169"/>
                    </a:lnTo>
                    <a:lnTo>
                      <a:pt x="950" y="169"/>
                    </a:lnTo>
                    <a:lnTo>
                      <a:pt x="950" y="171"/>
                    </a:lnTo>
                    <a:lnTo>
                      <a:pt x="952" y="171"/>
                    </a:lnTo>
                    <a:lnTo>
                      <a:pt x="954" y="173"/>
                    </a:lnTo>
                    <a:lnTo>
                      <a:pt x="956" y="175"/>
                    </a:lnTo>
                    <a:lnTo>
                      <a:pt x="957" y="175"/>
                    </a:lnTo>
                    <a:lnTo>
                      <a:pt x="959" y="175"/>
                    </a:lnTo>
                    <a:lnTo>
                      <a:pt x="959" y="177"/>
                    </a:lnTo>
                    <a:lnTo>
                      <a:pt x="959" y="178"/>
                    </a:lnTo>
                    <a:lnTo>
                      <a:pt x="957" y="180"/>
                    </a:lnTo>
                    <a:lnTo>
                      <a:pt x="957" y="182"/>
                    </a:lnTo>
                    <a:lnTo>
                      <a:pt x="957" y="184"/>
                    </a:lnTo>
                    <a:lnTo>
                      <a:pt x="956" y="184"/>
                    </a:lnTo>
                    <a:lnTo>
                      <a:pt x="957" y="186"/>
                    </a:lnTo>
                    <a:lnTo>
                      <a:pt x="959" y="186"/>
                    </a:lnTo>
                    <a:lnTo>
                      <a:pt x="961" y="186"/>
                    </a:lnTo>
                    <a:lnTo>
                      <a:pt x="961" y="188"/>
                    </a:lnTo>
                    <a:lnTo>
                      <a:pt x="963" y="188"/>
                    </a:lnTo>
                    <a:lnTo>
                      <a:pt x="965" y="188"/>
                    </a:lnTo>
                    <a:lnTo>
                      <a:pt x="965" y="190"/>
                    </a:lnTo>
                    <a:lnTo>
                      <a:pt x="967" y="190"/>
                    </a:lnTo>
                    <a:lnTo>
                      <a:pt x="969" y="190"/>
                    </a:lnTo>
                    <a:lnTo>
                      <a:pt x="969" y="192"/>
                    </a:lnTo>
                    <a:lnTo>
                      <a:pt x="971" y="192"/>
                    </a:lnTo>
                    <a:lnTo>
                      <a:pt x="971" y="194"/>
                    </a:lnTo>
                    <a:lnTo>
                      <a:pt x="972" y="194"/>
                    </a:lnTo>
                    <a:lnTo>
                      <a:pt x="974" y="195"/>
                    </a:lnTo>
                    <a:lnTo>
                      <a:pt x="976" y="197"/>
                    </a:lnTo>
                    <a:lnTo>
                      <a:pt x="978" y="197"/>
                    </a:lnTo>
                    <a:lnTo>
                      <a:pt x="980" y="197"/>
                    </a:lnTo>
                    <a:lnTo>
                      <a:pt x="982" y="197"/>
                    </a:lnTo>
                    <a:lnTo>
                      <a:pt x="984" y="197"/>
                    </a:lnTo>
                    <a:lnTo>
                      <a:pt x="986" y="195"/>
                    </a:lnTo>
                    <a:lnTo>
                      <a:pt x="986" y="197"/>
                    </a:lnTo>
                    <a:lnTo>
                      <a:pt x="988" y="197"/>
                    </a:lnTo>
                    <a:lnTo>
                      <a:pt x="989" y="197"/>
                    </a:lnTo>
                    <a:lnTo>
                      <a:pt x="991" y="197"/>
                    </a:lnTo>
                    <a:lnTo>
                      <a:pt x="993" y="197"/>
                    </a:lnTo>
                    <a:lnTo>
                      <a:pt x="993" y="195"/>
                    </a:lnTo>
                    <a:lnTo>
                      <a:pt x="995" y="195"/>
                    </a:lnTo>
                    <a:lnTo>
                      <a:pt x="995" y="197"/>
                    </a:lnTo>
                    <a:lnTo>
                      <a:pt x="995" y="199"/>
                    </a:lnTo>
                    <a:lnTo>
                      <a:pt x="997" y="199"/>
                    </a:lnTo>
                    <a:lnTo>
                      <a:pt x="995" y="199"/>
                    </a:lnTo>
                    <a:lnTo>
                      <a:pt x="995" y="201"/>
                    </a:lnTo>
                    <a:lnTo>
                      <a:pt x="993" y="201"/>
                    </a:lnTo>
                    <a:lnTo>
                      <a:pt x="993" y="203"/>
                    </a:lnTo>
                    <a:lnTo>
                      <a:pt x="993" y="205"/>
                    </a:lnTo>
                    <a:lnTo>
                      <a:pt x="995" y="205"/>
                    </a:lnTo>
                    <a:lnTo>
                      <a:pt x="997" y="205"/>
                    </a:lnTo>
                    <a:lnTo>
                      <a:pt x="999" y="205"/>
                    </a:lnTo>
                    <a:lnTo>
                      <a:pt x="1001" y="205"/>
                    </a:lnTo>
                    <a:lnTo>
                      <a:pt x="1001" y="203"/>
                    </a:lnTo>
                    <a:lnTo>
                      <a:pt x="1003" y="203"/>
                    </a:lnTo>
                    <a:lnTo>
                      <a:pt x="1003" y="201"/>
                    </a:lnTo>
                    <a:lnTo>
                      <a:pt x="1004" y="201"/>
                    </a:lnTo>
                    <a:lnTo>
                      <a:pt x="1004" y="199"/>
                    </a:lnTo>
                    <a:lnTo>
                      <a:pt x="1004" y="197"/>
                    </a:lnTo>
                    <a:lnTo>
                      <a:pt x="1006" y="197"/>
                    </a:lnTo>
                    <a:lnTo>
                      <a:pt x="1006" y="199"/>
                    </a:lnTo>
                    <a:lnTo>
                      <a:pt x="1008" y="201"/>
                    </a:lnTo>
                    <a:lnTo>
                      <a:pt x="1008" y="203"/>
                    </a:lnTo>
                    <a:lnTo>
                      <a:pt x="1010" y="203"/>
                    </a:lnTo>
                    <a:lnTo>
                      <a:pt x="1012" y="203"/>
                    </a:lnTo>
                    <a:lnTo>
                      <a:pt x="1014" y="203"/>
                    </a:lnTo>
                    <a:lnTo>
                      <a:pt x="1016" y="203"/>
                    </a:lnTo>
                    <a:lnTo>
                      <a:pt x="1016" y="201"/>
                    </a:lnTo>
                    <a:lnTo>
                      <a:pt x="1018" y="199"/>
                    </a:lnTo>
                    <a:lnTo>
                      <a:pt x="1018" y="197"/>
                    </a:lnTo>
                    <a:lnTo>
                      <a:pt x="1020" y="197"/>
                    </a:lnTo>
                    <a:lnTo>
                      <a:pt x="1021" y="197"/>
                    </a:lnTo>
                    <a:lnTo>
                      <a:pt x="1023" y="197"/>
                    </a:lnTo>
                    <a:lnTo>
                      <a:pt x="1025" y="197"/>
                    </a:lnTo>
                    <a:lnTo>
                      <a:pt x="1027" y="197"/>
                    </a:lnTo>
                    <a:lnTo>
                      <a:pt x="1027" y="195"/>
                    </a:lnTo>
                    <a:lnTo>
                      <a:pt x="1029" y="195"/>
                    </a:lnTo>
                    <a:lnTo>
                      <a:pt x="1029" y="194"/>
                    </a:lnTo>
                    <a:lnTo>
                      <a:pt x="1031" y="194"/>
                    </a:lnTo>
                    <a:lnTo>
                      <a:pt x="1031" y="192"/>
                    </a:lnTo>
                    <a:lnTo>
                      <a:pt x="1033" y="192"/>
                    </a:lnTo>
                    <a:lnTo>
                      <a:pt x="1035" y="192"/>
                    </a:lnTo>
                    <a:lnTo>
                      <a:pt x="1036" y="190"/>
                    </a:lnTo>
                    <a:lnTo>
                      <a:pt x="1038" y="190"/>
                    </a:lnTo>
                    <a:lnTo>
                      <a:pt x="1040" y="190"/>
                    </a:lnTo>
                    <a:lnTo>
                      <a:pt x="1042" y="190"/>
                    </a:lnTo>
                    <a:lnTo>
                      <a:pt x="1042" y="192"/>
                    </a:lnTo>
                    <a:lnTo>
                      <a:pt x="1044" y="192"/>
                    </a:lnTo>
                    <a:lnTo>
                      <a:pt x="1044" y="194"/>
                    </a:lnTo>
                    <a:lnTo>
                      <a:pt x="1046" y="195"/>
                    </a:lnTo>
                    <a:lnTo>
                      <a:pt x="1046" y="197"/>
                    </a:lnTo>
                    <a:lnTo>
                      <a:pt x="1048" y="197"/>
                    </a:lnTo>
                    <a:lnTo>
                      <a:pt x="1048" y="199"/>
                    </a:lnTo>
                    <a:lnTo>
                      <a:pt x="1050" y="201"/>
                    </a:lnTo>
                    <a:lnTo>
                      <a:pt x="1050" y="203"/>
                    </a:lnTo>
                    <a:lnTo>
                      <a:pt x="1051" y="203"/>
                    </a:lnTo>
                    <a:lnTo>
                      <a:pt x="1053" y="203"/>
                    </a:lnTo>
                    <a:lnTo>
                      <a:pt x="1055" y="203"/>
                    </a:lnTo>
                    <a:lnTo>
                      <a:pt x="1057" y="203"/>
                    </a:lnTo>
                    <a:lnTo>
                      <a:pt x="1057" y="201"/>
                    </a:lnTo>
                    <a:lnTo>
                      <a:pt x="1057" y="199"/>
                    </a:lnTo>
                    <a:lnTo>
                      <a:pt x="1057" y="197"/>
                    </a:lnTo>
                    <a:lnTo>
                      <a:pt x="1057" y="195"/>
                    </a:lnTo>
                    <a:lnTo>
                      <a:pt x="1059" y="195"/>
                    </a:lnTo>
                    <a:lnTo>
                      <a:pt x="1061" y="195"/>
                    </a:lnTo>
                    <a:lnTo>
                      <a:pt x="1061" y="197"/>
                    </a:lnTo>
                    <a:lnTo>
                      <a:pt x="1063" y="197"/>
                    </a:lnTo>
                    <a:lnTo>
                      <a:pt x="1065" y="197"/>
                    </a:lnTo>
                    <a:lnTo>
                      <a:pt x="1067" y="197"/>
                    </a:lnTo>
                    <a:lnTo>
                      <a:pt x="1068" y="197"/>
                    </a:lnTo>
                    <a:lnTo>
                      <a:pt x="1070" y="197"/>
                    </a:lnTo>
                    <a:lnTo>
                      <a:pt x="1072" y="197"/>
                    </a:lnTo>
                    <a:lnTo>
                      <a:pt x="1074" y="197"/>
                    </a:lnTo>
                    <a:lnTo>
                      <a:pt x="1074" y="195"/>
                    </a:lnTo>
                    <a:lnTo>
                      <a:pt x="1076" y="195"/>
                    </a:lnTo>
                    <a:lnTo>
                      <a:pt x="1076" y="194"/>
                    </a:lnTo>
                    <a:lnTo>
                      <a:pt x="1076" y="192"/>
                    </a:lnTo>
                    <a:lnTo>
                      <a:pt x="1074" y="190"/>
                    </a:lnTo>
                    <a:lnTo>
                      <a:pt x="1074" y="188"/>
                    </a:lnTo>
                    <a:lnTo>
                      <a:pt x="1072" y="188"/>
                    </a:lnTo>
                    <a:lnTo>
                      <a:pt x="1072" y="186"/>
                    </a:lnTo>
                    <a:lnTo>
                      <a:pt x="1070" y="186"/>
                    </a:lnTo>
                    <a:lnTo>
                      <a:pt x="1070" y="184"/>
                    </a:lnTo>
                    <a:lnTo>
                      <a:pt x="1072" y="184"/>
                    </a:lnTo>
                    <a:lnTo>
                      <a:pt x="1074" y="184"/>
                    </a:lnTo>
                    <a:lnTo>
                      <a:pt x="1074" y="182"/>
                    </a:lnTo>
                    <a:lnTo>
                      <a:pt x="1076" y="180"/>
                    </a:lnTo>
                    <a:lnTo>
                      <a:pt x="1078" y="180"/>
                    </a:lnTo>
                    <a:lnTo>
                      <a:pt x="1078" y="178"/>
                    </a:lnTo>
                    <a:lnTo>
                      <a:pt x="1080" y="178"/>
                    </a:lnTo>
                    <a:lnTo>
                      <a:pt x="1082" y="178"/>
                    </a:lnTo>
                    <a:lnTo>
                      <a:pt x="1083" y="177"/>
                    </a:lnTo>
                    <a:lnTo>
                      <a:pt x="1085" y="177"/>
                    </a:lnTo>
                    <a:lnTo>
                      <a:pt x="1087" y="177"/>
                    </a:lnTo>
                    <a:lnTo>
                      <a:pt x="1089" y="177"/>
                    </a:lnTo>
                    <a:lnTo>
                      <a:pt x="1091" y="177"/>
                    </a:lnTo>
                    <a:lnTo>
                      <a:pt x="1091" y="178"/>
                    </a:lnTo>
                    <a:lnTo>
                      <a:pt x="1093" y="178"/>
                    </a:lnTo>
                    <a:lnTo>
                      <a:pt x="1093" y="180"/>
                    </a:lnTo>
                    <a:lnTo>
                      <a:pt x="1095" y="178"/>
                    </a:lnTo>
                    <a:lnTo>
                      <a:pt x="1097" y="178"/>
                    </a:lnTo>
                    <a:lnTo>
                      <a:pt x="1099" y="178"/>
                    </a:lnTo>
                    <a:lnTo>
                      <a:pt x="1099" y="177"/>
                    </a:lnTo>
                    <a:lnTo>
                      <a:pt x="1099" y="175"/>
                    </a:lnTo>
                    <a:lnTo>
                      <a:pt x="1100" y="175"/>
                    </a:lnTo>
                    <a:lnTo>
                      <a:pt x="1100" y="173"/>
                    </a:lnTo>
                    <a:lnTo>
                      <a:pt x="1100" y="171"/>
                    </a:lnTo>
                    <a:lnTo>
                      <a:pt x="1099" y="171"/>
                    </a:lnTo>
                    <a:lnTo>
                      <a:pt x="1097" y="171"/>
                    </a:lnTo>
                    <a:lnTo>
                      <a:pt x="1095" y="171"/>
                    </a:lnTo>
                    <a:lnTo>
                      <a:pt x="1095" y="169"/>
                    </a:lnTo>
                    <a:lnTo>
                      <a:pt x="1095" y="167"/>
                    </a:lnTo>
                    <a:lnTo>
                      <a:pt x="1093" y="165"/>
                    </a:lnTo>
                    <a:lnTo>
                      <a:pt x="1091" y="165"/>
                    </a:lnTo>
                    <a:lnTo>
                      <a:pt x="1089" y="163"/>
                    </a:lnTo>
                    <a:lnTo>
                      <a:pt x="1089" y="162"/>
                    </a:lnTo>
                    <a:lnTo>
                      <a:pt x="1089" y="160"/>
                    </a:lnTo>
                    <a:lnTo>
                      <a:pt x="1091" y="160"/>
                    </a:lnTo>
                    <a:lnTo>
                      <a:pt x="1093" y="160"/>
                    </a:lnTo>
                    <a:lnTo>
                      <a:pt x="1095" y="160"/>
                    </a:lnTo>
                    <a:lnTo>
                      <a:pt x="1095" y="158"/>
                    </a:lnTo>
                    <a:lnTo>
                      <a:pt x="1097" y="158"/>
                    </a:lnTo>
                    <a:lnTo>
                      <a:pt x="1097" y="160"/>
                    </a:lnTo>
                    <a:lnTo>
                      <a:pt x="1099" y="160"/>
                    </a:lnTo>
                    <a:lnTo>
                      <a:pt x="1100" y="160"/>
                    </a:lnTo>
                    <a:lnTo>
                      <a:pt x="1100" y="158"/>
                    </a:lnTo>
                    <a:lnTo>
                      <a:pt x="1102" y="158"/>
                    </a:lnTo>
                    <a:lnTo>
                      <a:pt x="1104" y="158"/>
                    </a:lnTo>
                    <a:lnTo>
                      <a:pt x="1106" y="158"/>
                    </a:lnTo>
                    <a:lnTo>
                      <a:pt x="1106" y="156"/>
                    </a:lnTo>
                    <a:lnTo>
                      <a:pt x="1108" y="156"/>
                    </a:lnTo>
                    <a:lnTo>
                      <a:pt x="1110" y="156"/>
                    </a:lnTo>
                    <a:lnTo>
                      <a:pt x="1112" y="156"/>
                    </a:lnTo>
                    <a:lnTo>
                      <a:pt x="1112" y="158"/>
                    </a:lnTo>
                    <a:lnTo>
                      <a:pt x="1112" y="160"/>
                    </a:lnTo>
                    <a:lnTo>
                      <a:pt x="1112" y="162"/>
                    </a:lnTo>
                    <a:lnTo>
                      <a:pt x="1114" y="162"/>
                    </a:lnTo>
                    <a:lnTo>
                      <a:pt x="1114" y="163"/>
                    </a:lnTo>
                    <a:lnTo>
                      <a:pt x="1115" y="165"/>
                    </a:lnTo>
                    <a:lnTo>
                      <a:pt x="1117" y="165"/>
                    </a:lnTo>
                    <a:lnTo>
                      <a:pt x="1117" y="163"/>
                    </a:lnTo>
                    <a:lnTo>
                      <a:pt x="1119" y="163"/>
                    </a:lnTo>
                    <a:lnTo>
                      <a:pt x="1119" y="162"/>
                    </a:lnTo>
                    <a:lnTo>
                      <a:pt x="1119" y="160"/>
                    </a:lnTo>
                    <a:lnTo>
                      <a:pt x="1121" y="160"/>
                    </a:lnTo>
                    <a:lnTo>
                      <a:pt x="1123" y="160"/>
                    </a:lnTo>
                    <a:lnTo>
                      <a:pt x="1125" y="158"/>
                    </a:lnTo>
                    <a:lnTo>
                      <a:pt x="1125" y="156"/>
                    </a:lnTo>
                    <a:lnTo>
                      <a:pt x="1123" y="156"/>
                    </a:lnTo>
                    <a:lnTo>
                      <a:pt x="1123" y="154"/>
                    </a:lnTo>
                    <a:lnTo>
                      <a:pt x="1121" y="152"/>
                    </a:lnTo>
                    <a:lnTo>
                      <a:pt x="1123" y="150"/>
                    </a:lnTo>
                    <a:lnTo>
                      <a:pt x="1125" y="150"/>
                    </a:lnTo>
                    <a:lnTo>
                      <a:pt x="1127" y="150"/>
                    </a:lnTo>
                    <a:lnTo>
                      <a:pt x="1127" y="152"/>
                    </a:lnTo>
                    <a:lnTo>
                      <a:pt x="1129" y="152"/>
                    </a:lnTo>
                    <a:lnTo>
                      <a:pt x="1130" y="152"/>
                    </a:lnTo>
                    <a:lnTo>
                      <a:pt x="1132" y="152"/>
                    </a:lnTo>
                    <a:lnTo>
                      <a:pt x="1134" y="152"/>
                    </a:lnTo>
                    <a:lnTo>
                      <a:pt x="1134" y="154"/>
                    </a:lnTo>
                    <a:lnTo>
                      <a:pt x="1136" y="154"/>
                    </a:lnTo>
                    <a:lnTo>
                      <a:pt x="1136" y="156"/>
                    </a:lnTo>
                    <a:lnTo>
                      <a:pt x="1138" y="156"/>
                    </a:lnTo>
                    <a:lnTo>
                      <a:pt x="1138" y="154"/>
                    </a:lnTo>
                    <a:lnTo>
                      <a:pt x="1138" y="152"/>
                    </a:lnTo>
                    <a:lnTo>
                      <a:pt x="1140" y="152"/>
                    </a:lnTo>
                    <a:lnTo>
                      <a:pt x="1142" y="150"/>
                    </a:lnTo>
                    <a:lnTo>
                      <a:pt x="1142" y="148"/>
                    </a:lnTo>
                    <a:lnTo>
                      <a:pt x="1142" y="146"/>
                    </a:lnTo>
                    <a:lnTo>
                      <a:pt x="1142" y="145"/>
                    </a:lnTo>
                    <a:lnTo>
                      <a:pt x="1144" y="145"/>
                    </a:lnTo>
                    <a:lnTo>
                      <a:pt x="1146" y="145"/>
                    </a:lnTo>
                    <a:lnTo>
                      <a:pt x="1146" y="146"/>
                    </a:lnTo>
                    <a:lnTo>
                      <a:pt x="1146" y="148"/>
                    </a:lnTo>
                    <a:lnTo>
                      <a:pt x="1146" y="150"/>
                    </a:lnTo>
                    <a:lnTo>
                      <a:pt x="1147" y="150"/>
                    </a:lnTo>
                    <a:lnTo>
                      <a:pt x="1147" y="152"/>
                    </a:lnTo>
                    <a:lnTo>
                      <a:pt x="1147" y="150"/>
                    </a:lnTo>
                    <a:lnTo>
                      <a:pt x="1147" y="148"/>
                    </a:lnTo>
                    <a:lnTo>
                      <a:pt x="1147" y="146"/>
                    </a:lnTo>
                    <a:lnTo>
                      <a:pt x="1149" y="146"/>
                    </a:lnTo>
                    <a:lnTo>
                      <a:pt x="1149" y="145"/>
                    </a:lnTo>
                    <a:lnTo>
                      <a:pt x="1149" y="143"/>
                    </a:lnTo>
                    <a:lnTo>
                      <a:pt x="1151" y="143"/>
                    </a:lnTo>
                    <a:lnTo>
                      <a:pt x="1153" y="143"/>
                    </a:lnTo>
                    <a:lnTo>
                      <a:pt x="1153" y="145"/>
                    </a:lnTo>
                    <a:lnTo>
                      <a:pt x="1153" y="146"/>
                    </a:lnTo>
                    <a:lnTo>
                      <a:pt x="1153" y="148"/>
                    </a:lnTo>
                    <a:lnTo>
                      <a:pt x="1155" y="148"/>
                    </a:lnTo>
                    <a:lnTo>
                      <a:pt x="1157" y="148"/>
                    </a:lnTo>
                    <a:lnTo>
                      <a:pt x="1157" y="150"/>
                    </a:lnTo>
                    <a:lnTo>
                      <a:pt x="1159" y="150"/>
                    </a:lnTo>
                    <a:lnTo>
                      <a:pt x="1159" y="148"/>
                    </a:lnTo>
                    <a:lnTo>
                      <a:pt x="1161" y="148"/>
                    </a:lnTo>
                    <a:lnTo>
                      <a:pt x="1162" y="148"/>
                    </a:lnTo>
                    <a:lnTo>
                      <a:pt x="1162" y="150"/>
                    </a:lnTo>
                    <a:lnTo>
                      <a:pt x="1164" y="152"/>
                    </a:lnTo>
                    <a:lnTo>
                      <a:pt x="1166" y="152"/>
                    </a:lnTo>
                    <a:lnTo>
                      <a:pt x="1166" y="150"/>
                    </a:lnTo>
                    <a:lnTo>
                      <a:pt x="1166" y="148"/>
                    </a:lnTo>
                    <a:lnTo>
                      <a:pt x="1166" y="146"/>
                    </a:lnTo>
                    <a:lnTo>
                      <a:pt x="1168" y="145"/>
                    </a:lnTo>
                    <a:lnTo>
                      <a:pt x="1170" y="145"/>
                    </a:lnTo>
                    <a:lnTo>
                      <a:pt x="1172" y="145"/>
                    </a:lnTo>
                    <a:lnTo>
                      <a:pt x="1174" y="143"/>
                    </a:lnTo>
                    <a:lnTo>
                      <a:pt x="1172" y="143"/>
                    </a:lnTo>
                    <a:lnTo>
                      <a:pt x="1172" y="141"/>
                    </a:lnTo>
                    <a:lnTo>
                      <a:pt x="1170" y="141"/>
                    </a:lnTo>
                    <a:lnTo>
                      <a:pt x="1170" y="139"/>
                    </a:lnTo>
                    <a:lnTo>
                      <a:pt x="1168" y="139"/>
                    </a:lnTo>
                    <a:lnTo>
                      <a:pt x="1166" y="137"/>
                    </a:lnTo>
                    <a:lnTo>
                      <a:pt x="1164" y="137"/>
                    </a:lnTo>
                    <a:lnTo>
                      <a:pt x="1164" y="135"/>
                    </a:lnTo>
                    <a:lnTo>
                      <a:pt x="1164" y="133"/>
                    </a:lnTo>
                    <a:lnTo>
                      <a:pt x="1166" y="131"/>
                    </a:lnTo>
                    <a:lnTo>
                      <a:pt x="1168" y="131"/>
                    </a:lnTo>
                    <a:lnTo>
                      <a:pt x="1170" y="131"/>
                    </a:lnTo>
                    <a:lnTo>
                      <a:pt x="1172" y="131"/>
                    </a:lnTo>
                    <a:lnTo>
                      <a:pt x="1172" y="133"/>
                    </a:lnTo>
                    <a:lnTo>
                      <a:pt x="1174" y="133"/>
                    </a:lnTo>
                    <a:lnTo>
                      <a:pt x="1176" y="133"/>
                    </a:lnTo>
                    <a:lnTo>
                      <a:pt x="1178" y="133"/>
                    </a:lnTo>
                    <a:lnTo>
                      <a:pt x="1179" y="133"/>
                    </a:lnTo>
                    <a:lnTo>
                      <a:pt x="1179" y="131"/>
                    </a:lnTo>
                    <a:lnTo>
                      <a:pt x="1181" y="130"/>
                    </a:lnTo>
                    <a:lnTo>
                      <a:pt x="1183" y="130"/>
                    </a:lnTo>
                    <a:lnTo>
                      <a:pt x="1183" y="128"/>
                    </a:lnTo>
                    <a:lnTo>
                      <a:pt x="1181" y="126"/>
                    </a:lnTo>
                    <a:lnTo>
                      <a:pt x="1179" y="126"/>
                    </a:lnTo>
                    <a:lnTo>
                      <a:pt x="1179" y="128"/>
                    </a:lnTo>
                    <a:lnTo>
                      <a:pt x="1178" y="128"/>
                    </a:lnTo>
                    <a:lnTo>
                      <a:pt x="1176" y="128"/>
                    </a:lnTo>
                    <a:lnTo>
                      <a:pt x="1174" y="128"/>
                    </a:lnTo>
                    <a:lnTo>
                      <a:pt x="1174" y="126"/>
                    </a:lnTo>
                    <a:lnTo>
                      <a:pt x="1172" y="126"/>
                    </a:lnTo>
                    <a:lnTo>
                      <a:pt x="1172" y="124"/>
                    </a:lnTo>
                    <a:lnTo>
                      <a:pt x="1174" y="124"/>
                    </a:lnTo>
                    <a:lnTo>
                      <a:pt x="1174" y="122"/>
                    </a:lnTo>
                    <a:lnTo>
                      <a:pt x="1176" y="122"/>
                    </a:lnTo>
                    <a:lnTo>
                      <a:pt x="1176" y="120"/>
                    </a:lnTo>
                    <a:lnTo>
                      <a:pt x="1176" y="118"/>
                    </a:lnTo>
                    <a:lnTo>
                      <a:pt x="1178" y="118"/>
                    </a:lnTo>
                    <a:lnTo>
                      <a:pt x="1179" y="118"/>
                    </a:lnTo>
                    <a:lnTo>
                      <a:pt x="1181" y="118"/>
                    </a:lnTo>
                    <a:lnTo>
                      <a:pt x="1183" y="118"/>
                    </a:lnTo>
                    <a:lnTo>
                      <a:pt x="1183" y="120"/>
                    </a:lnTo>
                    <a:lnTo>
                      <a:pt x="1185" y="120"/>
                    </a:lnTo>
                    <a:lnTo>
                      <a:pt x="1187" y="120"/>
                    </a:lnTo>
                    <a:lnTo>
                      <a:pt x="1187" y="118"/>
                    </a:lnTo>
                    <a:lnTo>
                      <a:pt x="1189" y="118"/>
                    </a:lnTo>
                    <a:lnTo>
                      <a:pt x="1191" y="116"/>
                    </a:lnTo>
                    <a:lnTo>
                      <a:pt x="1193" y="116"/>
                    </a:lnTo>
                    <a:lnTo>
                      <a:pt x="1193" y="114"/>
                    </a:lnTo>
                    <a:lnTo>
                      <a:pt x="1193" y="113"/>
                    </a:lnTo>
                    <a:lnTo>
                      <a:pt x="1191" y="111"/>
                    </a:lnTo>
                    <a:lnTo>
                      <a:pt x="1191" y="109"/>
                    </a:lnTo>
                    <a:lnTo>
                      <a:pt x="1191" y="107"/>
                    </a:lnTo>
                    <a:lnTo>
                      <a:pt x="1189" y="107"/>
                    </a:lnTo>
                    <a:lnTo>
                      <a:pt x="1189" y="105"/>
                    </a:lnTo>
                    <a:lnTo>
                      <a:pt x="1187" y="105"/>
                    </a:lnTo>
                    <a:lnTo>
                      <a:pt x="1187" y="107"/>
                    </a:lnTo>
                    <a:lnTo>
                      <a:pt x="1187" y="109"/>
                    </a:lnTo>
                    <a:lnTo>
                      <a:pt x="1187" y="111"/>
                    </a:lnTo>
                    <a:lnTo>
                      <a:pt x="1185" y="111"/>
                    </a:lnTo>
                    <a:lnTo>
                      <a:pt x="1183" y="111"/>
                    </a:lnTo>
                    <a:lnTo>
                      <a:pt x="1183" y="109"/>
                    </a:lnTo>
                    <a:lnTo>
                      <a:pt x="1183" y="107"/>
                    </a:lnTo>
                    <a:lnTo>
                      <a:pt x="1181" y="105"/>
                    </a:lnTo>
                    <a:lnTo>
                      <a:pt x="1183" y="105"/>
                    </a:lnTo>
                    <a:lnTo>
                      <a:pt x="1183" y="103"/>
                    </a:lnTo>
                    <a:lnTo>
                      <a:pt x="1183" y="101"/>
                    </a:lnTo>
                    <a:lnTo>
                      <a:pt x="1183" y="99"/>
                    </a:lnTo>
                    <a:lnTo>
                      <a:pt x="1181" y="99"/>
                    </a:lnTo>
                    <a:lnTo>
                      <a:pt x="1179" y="99"/>
                    </a:lnTo>
                    <a:lnTo>
                      <a:pt x="1178" y="98"/>
                    </a:lnTo>
                    <a:lnTo>
                      <a:pt x="1179" y="98"/>
                    </a:lnTo>
                    <a:lnTo>
                      <a:pt x="1181" y="96"/>
                    </a:lnTo>
                    <a:lnTo>
                      <a:pt x="1183" y="96"/>
                    </a:lnTo>
                    <a:lnTo>
                      <a:pt x="1185" y="96"/>
                    </a:lnTo>
                    <a:lnTo>
                      <a:pt x="1185" y="98"/>
                    </a:lnTo>
                    <a:lnTo>
                      <a:pt x="1187" y="98"/>
                    </a:lnTo>
                    <a:lnTo>
                      <a:pt x="1187" y="99"/>
                    </a:lnTo>
                    <a:lnTo>
                      <a:pt x="1189" y="101"/>
                    </a:lnTo>
                    <a:lnTo>
                      <a:pt x="1191" y="101"/>
                    </a:lnTo>
                    <a:lnTo>
                      <a:pt x="1191" y="99"/>
                    </a:lnTo>
                    <a:lnTo>
                      <a:pt x="1193" y="99"/>
                    </a:lnTo>
                    <a:lnTo>
                      <a:pt x="1194" y="98"/>
                    </a:lnTo>
                    <a:lnTo>
                      <a:pt x="1196" y="98"/>
                    </a:lnTo>
                    <a:lnTo>
                      <a:pt x="1196" y="96"/>
                    </a:lnTo>
                    <a:lnTo>
                      <a:pt x="1198" y="96"/>
                    </a:lnTo>
                    <a:lnTo>
                      <a:pt x="1200" y="96"/>
                    </a:lnTo>
                    <a:lnTo>
                      <a:pt x="1202" y="96"/>
                    </a:lnTo>
                    <a:lnTo>
                      <a:pt x="1202" y="94"/>
                    </a:lnTo>
                    <a:lnTo>
                      <a:pt x="1204" y="94"/>
                    </a:lnTo>
                    <a:lnTo>
                      <a:pt x="1206" y="92"/>
                    </a:lnTo>
                    <a:lnTo>
                      <a:pt x="1208" y="92"/>
                    </a:lnTo>
                    <a:lnTo>
                      <a:pt x="1208" y="94"/>
                    </a:lnTo>
                    <a:lnTo>
                      <a:pt x="1209" y="94"/>
                    </a:lnTo>
                    <a:lnTo>
                      <a:pt x="1209" y="96"/>
                    </a:lnTo>
                    <a:lnTo>
                      <a:pt x="1211" y="96"/>
                    </a:lnTo>
                    <a:lnTo>
                      <a:pt x="1211" y="98"/>
                    </a:lnTo>
                    <a:lnTo>
                      <a:pt x="1209" y="98"/>
                    </a:lnTo>
                    <a:lnTo>
                      <a:pt x="1209" y="99"/>
                    </a:lnTo>
                    <a:lnTo>
                      <a:pt x="1211" y="99"/>
                    </a:lnTo>
                    <a:lnTo>
                      <a:pt x="1211" y="101"/>
                    </a:lnTo>
                    <a:lnTo>
                      <a:pt x="1211" y="103"/>
                    </a:lnTo>
                    <a:lnTo>
                      <a:pt x="1211" y="105"/>
                    </a:lnTo>
                    <a:lnTo>
                      <a:pt x="1209" y="105"/>
                    </a:lnTo>
                    <a:lnTo>
                      <a:pt x="1211" y="105"/>
                    </a:lnTo>
                    <a:lnTo>
                      <a:pt x="1211" y="107"/>
                    </a:lnTo>
                    <a:lnTo>
                      <a:pt x="1213" y="107"/>
                    </a:lnTo>
                    <a:lnTo>
                      <a:pt x="1215" y="109"/>
                    </a:lnTo>
                    <a:lnTo>
                      <a:pt x="1213" y="111"/>
                    </a:lnTo>
                    <a:lnTo>
                      <a:pt x="1215" y="111"/>
                    </a:lnTo>
                    <a:lnTo>
                      <a:pt x="1217" y="111"/>
                    </a:lnTo>
                    <a:lnTo>
                      <a:pt x="1217" y="113"/>
                    </a:lnTo>
                    <a:lnTo>
                      <a:pt x="1219" y="114"/>
                    </a:lnTo>
                    <a:lnTo>
                      <a:pt x="1221" y="114"/>
                    </a:lnTo>
                    <a:lnTo>
                      <a:pt x="1223" y="114"/>
                    </a:lnTo>
                    <a:lnTo>
                      <a:pt x="1223" y="113"/>
                    </a:lnTo>
                    <a:lnTo>
                      <a:pt x="1223" y="114"/>
                    </a:lnTo>
                    <a:lnTo>
                      <a:pt x="1225" y="113"/>
                    </a:lnTo>
                    <a:lnTo>
                      <a:pt x="1226" y="114"/>
                    </a:lnTo>
                    <a:lnTo>
                      <a:pt x="1226" y="116"/>
                    </a:lnTo>
                    <a:lnTo>
                      <a:pt x="1228" y="116"/>
                    </a:lnTo>
                    <a:lnTo>
                      <a:pt x="1228" y="118"/>
                    </a:lnTo>
                    <a:lnTo>
                      <a:pt x="1230" y="118"/>
                    </a:lnTo>
                    <a:lnTo>
                      <a:pt x="1230" y="120"/>
                    </a:lnTo>
                    <a:lnTo>
                      <a:pt x="1232" y="120"/>
                    </a:lnTo>
                    <a:lnTo>
                      <a:pt x="1230" y="120"/>
                    </a:lnTo>
                    <a:lnTo>
                      <a:pt x="1232" y="120"/>
                    </a:lnTo>
                    <a:lnTo>
                      <a:pt x="1232" y="122"/>
                    </a:lnTo>
                    <a:lnTo>
                      <a:pt x="1232" y="124"/>
                    </a:lnTo>
                    <a:lnTo>
                      <a:pt x="1234" y="124"/>
                    </a:lnTo>
                    <a:lnTo>
                      <a:pt x="1234" y="126"/>
                    </a:lnTo>
                    <a:lnTo>
                      <a:pt x="1236" y="126"/>
                    </a:lnTo>
                    <a:lnTo>
                      <a:pt x="1236" y="128"/>
                    </a:lnTo>
                    <a:lnTo>
                      <a:pt x="1234" y="128"/>
                    </a:lnTo>
                    <a:lnTo>
                      <a:pt x="1234" y="130"/>
                    </a:lnTo>
                    <a:lnTo>
                      <a:pt x="1234" y="131"/>
                    </a:lnTo>
                    <a:lnTo>
                      <a:pt x="1236" y="131"/>
                    </a:lnTo>
                    <a:lnTo>
                      <a:pt x="1236" y="133"/>
                    </a:lnTo>
                    <a:lnTo>
                      <a:pt x="1238" y="133"/>
                    </a:lnTo>
                    <a:lnTo>
                      <a:pt x="1240" y="133"/>
                    </a:lnTo>
                    <a:lnTo>
                      <a:pt x="1241" y="133"/>
                    </a:lnTo>
                    <a:lnTo>
                      <a:pt x="1241" y="131"/>
                    </a:lnTo>
                    <a:lnTo>
                      <a:pt x="1243" y="131"/>
                    </a:lnTo>
                    <a:lnTo>
                      <a:pt x="1243" y="133"/>
                    </a:lnTo>
                    <a:lnTo>
                      <a:pt x="1243" y="135"/>
                    </a:lnTo>
                    <a:lnTo>
                      <a:pt x="1241" y="135"/>
                    </a:lnTo>
                    <a:lnTo>
                      <a:pt x="1243" y="135"/>
                    </a:lnTo>
                    <a:lnTo>
                      <a:pt x="1243" y="137"/>
                    </a:lnTo>
                    <a:lnTo>
                      <a:pt x="1245" y="137"/>
                    </a:lnTo>
                    <a:lnTo>
                      <a:pt x="1245" y="139"/>
                    </a:lnTo>
                    <a:lnTo>
                      <a:pt x="1245" y="141"/>
                    </a:lnTo>
                    <a:lnTo>
                      <a:pt x="1247" y="141"/>
                    </a:lnTo>
                    <a:lnTo>
                      <a:pt x="1247" y="143"/>
                    </a:lnTo>
                    <a:lnTo>
                      <a:pt x="1245" y="143"/>
                    </a:lnTo>
                    <a:lnTo>
                      <a:pt x="1245" y="145"/>
                    </a:lnTo>
                    <a:lnTo>
                      <a:pt x="1247" y="145"/>
                    </a:lnTo>
                    <a:lnTo>
                      <a:pt x="1245" y="145"/>
                    </a:lnTo>
                    <a:lnTo>
                      <a:pt x="1243" y="146"/>
                    </a:lnTo>
                    <a:lnTo>
                      <a:pt x="1245" y="146"/>
                    </a:lnTo>
                    <a:lnTo>
                      <a:pt x="1247" y="146"/>
                    </a:lnTo>
                    <a:lnTo>
                      <a:pt x="1247" y="148"/>
                    </a:lnTo>
                    <a:lnTo>
                      <a:pt x="1249" y="150"/>
                    </a:lnTo>
                    <a:lnTo>
                      <a:pt x="1251" y="150"/>
                    </a:lnTo>
                    <a:lnTo>
                      <a:pt x="1251" y="152"/>
                    </a:lnTo>
                    <a:lnTo>
                      <a:pt x="1253" y="152"/>
                    </a:lnTo>
                    <a:lnTo>
                      <a:pt x="1253" y="154"/>
                    </a:lnTo>
                    <a:lnTo>
                      <a:pt x="1255" y="152"/>
                    </a:lnTo>
                    <a:lnTo>
                      <a:pt x="1255" y="154"/>
                    </a:lnTo>
                    <a:lnTo>
                      <a:pt x="1257" y="154"/>
                    </a:lnTo>
                    <a:lnTo>
                      <a:pt x="1258" y="156"/>
                    </a:lnTo>
                    <a:lnTo>
                      <a:pt x="1260" y="156"/>
                    </a:lnTo>
                    <a:lnTo>
                      <a:pt x="1260" y="158"/>
                    </a:lnTo>
                    <a:lnTo>
                      <a:pt x="1262" y="158"/>
                    </a:lnTo>
                    <a:lnTo>
                      <a:pt x="1264" y="158"/>
                    </a:lnTo>
                    <a:lnTo>
                      <a:pt x="1264" y="160"/>
                    </a:lnTo>
                    <a:lnTo>
                      <a:pt x="1266" y="160"/>
                    </a:lnTo>
                    <a:lnTo>
                      <a:pt x="1266" y="162"/>
                    </a:lnTo>
                    <a:lnTo>
                      <a:pt x="1266" y="163"/>
                    </a:lnTo>
                    <a:lnTo>
                      <a:pt x="1268" y="163"/>
                    </a:lnTo>
                    <a:lnTo>
                      <a:pt x="1266" y="163"/>
                    </a:lnTo>
                    <a:lnTo>
                      <a:pt x="1266" y="165"/>
                    </a:lnTo>
                    <a:lnTo>
                      <a:pt x="1268" y="165"/>
                    </a:lnTo>
                    <a:lnTo>
                      <a:pt x="1268" y="167"/>
                    </a:lnTo>
                    <a:lnTo>
                      <a:pt x="1270" y="167"/>
                    </a:lnTo>
                    <a:lnTo>
                      <a:pt x="1272" y="167"/>
                    </a:lnTo>
                    <a:lnTo>
                      <a:pt x="1272" y="169"/>
                    </a:lnTo>
                    <a:lnTo>
                      <a:pt x="1273" y="169"/>
                    </a:lnTo>
                    <a:lnTo>
                      <a:pt x="1273" y="171"/>
                    </a:lnTo>
                    <a:lnTo>
                      <a:pt x="1273" y="173"/>
                    </a:lnTo>
                    <a:lnTo>
                      <a:pt x="1275" y="173"/>
                    </a:lnTo>
                    <a:lnTo>
                      <a:pt x="1275" y="175"/>
                    </a:lnTo>
                    <a:lnTo>
                      <a:pt x="1277" y="175"/>
                    </a:lnTo>
                    <a:lnTo>
                      <a:pt x="1277" y="177"/>
                    </a:lnTo>
                    <a:lnTo>
                      <a:pt x="1279" y="177"/>
                    </a:lnTo>
                    <a:lnTo>
                      <a:pt x="1279" y="178"/>
                    </a:lnTo>
                    <a:lnTo>
                      <a:pt x="1279" y="180"/>
                    </a:lnTo>
                    <a:lnTo>
                      <a:pt x="1281" y="180"/>
                    </a:lnTo>
                    <a:lnTo>
                      <a:pt x="1281" y="178"/>
                    </a:lnTo>
                    <a:lnTo>
                      <a:pt x="1283" y="180"/>
                    </a:lnTo>
                    <a:lnTo>
                      <a:pt x="1285" y="180"/>
                    </a:lnTo>
                    <a:lnTo>
                      <a:pt x="1287" y="180"/>
                    </a:lnTo>
                    <a:lnTo>
                      <a:pt x="1287" y="182"/>
                    </a:lnTo>
                    <a:lnTo>
                      <a:pt x="1288" y="182"/>
                    </a:lnTo>
                    <a:lnTo>
                      <a:pt x="1290" y="182"/>
                    </a:lnTo>
                    <a:lnTo>
                      <a:pt x="1290" y="184"/>
                    </a:lnTo>
                    <a:lnTo>
                      <a:pt x="1290" y="182"/>
                    </a:lnTo>
                    <a:lnTo>
                      <a:pt x="1292" y="182"/>
                    </a:lnTo>
                    <a:lnTo>
                      <a:pt x="1292" y="184"/>
                    </a:lnTo>
                    <a:lnTo>
                      <a:pt x="1292" y="182"/>
                    </a:lnTo>
                    <a:lnTo>
                      <a:pt x="1292" y="184"/>
                    </a:lnTo>
                    <a:lnTo>
                      <a:pt x="1292" y="182"/>
                    </a:lnTo>
                    <a:lnTo>
                      <a:pt x="1294" y="182"/>
                    </a:lnTo>
                    <a:lnTo>
                      <a:pt x="1296" y="182"/>
                    </a:lnTo>
                    <a:lnTo>
                      <a:pt x="1298" y="182"/>
                    </a:lnTo>
                    <a:lnTo>
                      <a:pt x="1300" y="182"/>
                    </a:lnTo>
                    <a:lnTo>
                      <a:pt x="1302" y="182"/>
                    </a:lnTo>
                    <a:lnTo>
                      <a:pt x="1304" y="182"/>
                    </a:lnTo>
                    <a:lnTo>
                      <a:pt x="1305" y="182"/>
                    </a:lnTo>
                    <a:lnTo>
                      <a:pt x="1307" y="182"/>
                    </a:lnTo>
                    <a:lnTo>
                      <a:pt x="1309" y="182"/>
                    </a:lnTo>
                    <a:lnTo>
                      <a:pt x="1311" y="182"/>
                    </a:lnTo>
                    <a:lnTo>
                      <a:pt x="1313" y="182"/>
                    </a:lnTo>
                    <a:lnTo>
                      <a:pt x="1315" y="182"/>
                    </a:lnTo>
                    <a:lnTo>
                      <a:pt x="1315" y="180"/>
                    </a:lnTo>
                    <a:lnTo>
                      <a:pt x="1317" y="180"/>
                    </a:lnTo>
                    <a:lnTo>
                      <a:pt x="1317" y="178"/>
                    </a:lnTo>
                    <a:lnTo>
                      <a:pt x="1317" y="180"/>
                    </a:lnTo>
                    <a:lnTo>
                      <a:pt x="1319" y="180"/>
                    </a:lnTo>
                    <a:lnTo>
                      <a:pt x="1319" y="178"/>
                    </a:lnTo>
                    <a:lnTo>
                      <a:pt x="1320" y="178"/>
                    </a:lnTo>
                    <a:lnTo>
                      <a:pt x="1322" y="178"/>
                    </a:lnTo>
                    <a:lnTo>
                      <a:pt x="1324" y="178"/>
                    </a:lnTo>
                    <a:lnTo>
                      <a:pt x="1324" y="180"/>
                    </a:lnTo>
                    <a:lnTo>
                      <a:pt x="1324" y="182"/>
                    </a:lnTo>
                    <a:lnTo>
                      <a:pt x="1324" y="184"/>
                    </a:lnTo>
                    <a:lnTo>
                      <a:pt x="1326" y="184"/>
                    </a:lnTo>
                    <a:lnTo>
                      <a:pt x="1328" y="186"/>
                    </a:lnTo>
                    <a:lnTo>
                      <a:pt x="1328" y="188"/>
                    </a:lnTo>
                    <a:lnTo>
                      <a:pt x="1328" y="190"/>
                    </a:lnTo>
                    <a:lnTo>
                      <a:pt x="1330" y="190"/>
                    </a:lnTo>
                    <a:lnTo>
                      <a:pt x="1330" y="192"/>
                    </a:lnTo>
                    <a:lnTo>
                      <a:pt x="1334" y="192"/>
                    </a:lnTo>
                    <a:lnTo>
                      <a:pt x="1339" y="194"/>
                    </a:lnTo>
                    <a:lnTo>
                      <a:pt x="1343" y="194"/>
                    </a:lnTo>
                    <a:lnTo>
                      <a:pt x="1345" y="195"/>
                    </a:lnTo>
                    <a:lnTo>
                      <a:pt x="1349" y="195"/>
                    </a:lnTo>
                    <a:lnTo>
                      <a:pt x="1358" y="195"/>
                    </a:lnTo>
                    <a:lnTo>
                      <a:pt x="1360" y="195"/>
                    </a:lnTo>
                    <a:lnTo>
                      <a:pt x="1366" y="194"/>
                    </a:lnTo>
                    <a:lnTo>
                      <a:pt x="1373" y="201"/>
                    </a:lnTo>
                    <a:lnTo>
                      <a:pt x="1373" y="199"/>
                    </a:lnTo>
                    <a:lnTo>
                      <a:pt x="1375" y="199"/>
                    </a:lnTo>
                    <a:lnTo>
                      <a:pt x="1375" y="197"/>
                    </a:lnTo>
                    <a:lnTo>
                      <a:pt x="1377" y="197"/>
                    </a:lnTo>
                    <a:lnTo>
                      <a:pt x="1377" y="195"/>
                    </a:lnTo>
                    <a:lnTo>
                      <a:pt x="1377" y="194"/>
                    </a:lnTo>
                    <a:lnTo>
                      <a:pt x="1377" y="192"/>
                    </a:lnTo>
                    <a:lnTo>
                      <a:pt x="1375" y="192"/>
                    </a:lnTo>
                    <a:lnTo>
                      <a:pt x="1375" y="190"/>
                    </a:lnTo>
                    <a:lnTo>
                      <a:pt x="1375" y="188"/>
                    </a:lnTo>
                    <a:lnTo>
                      <a:pt x="1375" y="186"/>
                    </a:lnTo>
                    <a:lnTo>
                      <a:pt x="1375" y="184"/>
                    </a:lnTo>
                    <a:lnTo>
                      <a:pt x="1373" y="182"/>
                    </a:lnTo>
                    <a:lnTo>
                      <a:pt x="1373" y="180"/>
                    </a:lnTo>
                    <a:lnTo>
                      <a:pt x="1373" y="178"/>
                    </a:lnTo>
                    <a:lnTo>
                      <a:pt x="1373" y="177"/>
                    </a:lnTo>
                    <a:lnTo>
                      <a:pt x="1375" y="177"/>
                    </a:lnTo>
                    <a:lnTo>
                      <a:pt x="1377" y="177"/>
                    </a:lnTo>
                    <a:lnTo>
                      <a:pt x="1377" y="175"/>
                    </a:lnTo>
                    <a:lnTo>
                      <a:pt x="1379" y="175"/>
                    </a:lnTo>
                    <a:lnTo>
                      <a:pt x="1381" y="175"/>
                    </a:lnTo>
                    <a:lnTo>
                      <a:pt x="1383" y="173"/>
                    </a:lnTo>
                    <a:lnTo>
                      <a:pt x="1384" y="171"/>
                    </a:lnTo>
                    <a:lnTo>
                      <a:pt x="1384" y="169"/>
                    </a:lnTo>
                    <a:lnTo>
                      <a:pt x="1386" y="169"/>
                    </a:lnTo>
                    <a:lnTo>
                      <a:pt x="1384" y="169"/>
                    </a:lnTo>
                    <a:lnTo>
                      <a:pt x="1386" y="167"/>
                    </a:lnTo>
                    <a:lnTo>
                      <a:pt x="1386" y="165"/>
                    </a:lnTo>
                    <a:lnTo>
                      <a:pt x="1386" y="163"/>
                    </a:lnTo>
                    <a:lnTo>
                      <a:pt x="1384" y="162"/>
                    </a:lnTo>
                    <a:lnTo>
                      <a:pt x="1384" y="160"/>
                    </a:lnTo>
                    <a:lnTo>
                      <a:pt x="1386" y="160"/>
                    </a:lnTo>
                    <a:lnTo>
                      <a:pt x="1386" y="158"/>
                    </a:lnTo>
                    <a:lnTo>
                      <a:pt x="1388" y="156"/>
                    </a:lnTo>
                    <a:lnTo>
                      <a:pt x="1390" y="156"/>
                    </a:lnTo>
                    <a:lnTo>
                      <a:pt x="1390" y="154"/>
                    </a:lnTo>
                    <a:lnTo>
                      <a:pt x="1390" y="152"/>
                    </a:lnTo>
                    <a:lnTo>
                      <a:pt x="1388" y="152"/>
                    </a:lnTo>
                    <a:lnTo>
                      <a:pt x="1388" y="150"/>
                    </a:lnTo>
                    <a:lnTo>
                      <a:pt x="1390" y="150"/>
                    </a:lnTo>
                    <a:lnTo>
                      <a:pt x="1390" y="148"/>
                    </a:lnTo>
                    <a:lnTo>
                      <a:pt x="1390" y="146"/>
                    </a:lnTo>
                    <a:lnTo>
                      <a:pt x="1390" y="145"/>
                    </a:lnTo>
                    <a:lnTo>
                      <a:pt x="1388" y="145"/>
                    </a:lnTo>
                    <a:lnTo>
                      <a:pt x="1388" y="143"/>
                    </a:lnTo>
                    <a:lnTo>
                      <a:pt x="1386" y="143"/>
                    </a:lnTo>
                    <a:lnTo>
                      <a:pt x="1386" y="141"/>
                    </a:lnTo>
                    <a:lnTo>
                      <a:pt x="1384" y="141"/>
                    </a:lnTo>
                    <a:lnTo>
                      <a:pt x="1384" y="139"/>
                    </a:lnTo>
                    <a:lnTo>
                      <a:pt x="1384" y="137"/>
                    </a:lnTo>
                    <a:lnTo>
                      <a:pt x="1386" y="137"/>
                    </a:lnTo>
                    <a:lnTo>
                      <a:pt x="1386" y="135"/>
                    </a:lnTo>
                    <a:lnTo>
                      <a:pt x="1388" y="133"/>
                    </a:lnTo>
                    <a:lnTo>
                      <a:pt x="1390" y="133"/>
                    </a:lnTo>
                    <a:lnTo>
                      <a:pt x="1390" y="131"/>
                    </a:lnTo>
                    <a:lnTo>
                      <a:pt x="1390" y="130"/>
                    </a:lnTo>
                    <a:lnTo>
                      <a:pt x="1392" y="130"/>
                    </a:lnTo>
                    <a:lnTo>
                      <a:pt x="1394" y="130"/>
                    </a:lnTo>
                    <a:lnTo>
                      <a:pt x="1394" y="128"/>
                    </a:lnTo>
                    <a:lnTo>
                      <a:pt x="1396" y="128"/>
                    </a:lnTo>
                    <a:lnTo>
                      <a:pt x="1396" y="130"/>
                    </a:lnTo>
                    <a:lnTo>
                      <a:pt x="1398" y="130"/>
                    </a:lnTo>
                    <a:lnTo>
                      <a:pt x="1398" y="128"/>
                    </a:lnTo>
                    <a:lnTo>
                      <a:pt x="1399" y="128"/>
                    </a:lnTo>
                    <a:lnTo>
                      <a:pt x="1401" y="128"/>
                    </a:lnTo>
                    <a:lnTo>
                      <a:pt x="1403" y="128"/>
                    </a:lnTo>
                    <a:lnTo>
                      <a:pt x="1403" y="126"/>
                    </a:lnTo>
                    <a:lnTo>
                      <a:pt x="1403" y="124"/>
                    </a:lnTo>
                    <a:lnTo>
                      <a:pt x="1405" y="124"/>
                    </a:lnTo>
                    <a:lnTo>
                      <a:pt x="1405" y="122"/>
                    </a:lnTo>
                    <a:lnTo>
                      <a:pt x="1407" y="122"/>
                    </a:lnTo>
                    <a:lnTo>
                      <a:pt x="1407" y="124"/>
                    </a:lnTo>
                    <a:lnTo>
                      <a:pt x="1409" y="124"/>
                    </a:lnTo>
                    <a:lnTo>
                      <a:pt x="1411" y="124"/>
                    </a:lnTo>
                    <a:lnTo>
                      <a:pt x="1411" y="122"/>
                    </a:lnTo>
                    <a:lnTo>
                      <a:pt x="1409" y="122"/>
                    </a:lnTo>
                    <a:lnTo>
                      <a:pt x="1409" y="120"/>
                    </a:lnTo>
                    <a:lnTo>
                      <a:pt x="1411" y="120"/>
                    </a:lnTo>
                    <a:lnTo>
                      <a:pt x="1411" y="118"/>
                    </a:lnTo>
                    <a:lnTo>
                      <a:pt x="1411" y="116"/>
                    </a:lnTo>
                    <a:lnTo>
                      <a:pt x="1413" y="116"/>
                    </a:lnTo>
                    <a:lnTo>
                      <a:pt x="1413" y="114"/>
                    </a:lnTo>
                    <a:lnTo>
                      <a:pt x="1413" y="113"/>
                    </a:lnTo>
                    <a:lnTo>
                      <a:pt x="1413" y="111"/>
                    </a:lnTo>
                    <a:lnTo>
                      <a:pt x="1415" y="111"/>
                    </a:lnTo>
                    <a:lnTo>
                      <a:pt x="1415" y="109"/>
                    </a:lnTo>
                    <a:lnTo>
                      <a:pt x="1413" y="109"/>
                    </a:lnTo>
                    <a:lnTo>
                      <a:pt x="1413" y="107"/>
                    </a:lnTo>
                    <a:lnTo>
                      <a:pt x="1413" y="105"/>
                    </a:lnTo>
                    <a:lnTo>
                      <a:pt x="1415" y="105"/>
                    </a:lnTo>
                    <a:lnTo>
                      <a:pt x="1413" y="105"/>
                    </a:lnTo>
                    <a:lnTo>
                      <a:pt x="1413" y="103"/>
                    </a:lnTo>
                    <a:lnTo>
                      <a:pt x="1411" y="103"/>
                    </a:lnTo>
                    <a:lnTo>
                      <a:pt x="1409" y="101"/>
                    </a:lnTo>
                    <a:lnTo>
                      <a:pt x="1409" y="99"/>
                    </a:lnTo>
                    <a:lnTo>
                      <a:pt x="1409" y="98"/>
                    </a:lnTo>
                    <a:lnTo>
                      <a:pt x="1411" y="98"/>
                    </a:lnTo>
                    <a:lnTo>
                      <a:pt x="1409" y="98"/>
                    </a:lnTo>
                    <a:lnTo>
                      <a:pt x="1409" y="96"/>
                    </a:lnTo>
                    <a:lnTo>
                      <a:pt x="1411" y="96"/>
                    </a:lnTo>
                    <a:lnTo>
                      <a:pt x="1409" y="96"/>
                    </a:lnTo>
                    <a:lnTo>
                      <a:pt x="1407" y="96"/>
                    </a:lnTo>
                    <a:lnTo>
                      <a:pt x="1407" y="94"/>
                    </a:lnTo>
                    <a:lnTo>
                      <a:pt x="1405" y="94"/>
                    </a:lnTo>
                    <a:lnTo>
                      <a:pt x="1403" y="94"/>
                    </a:lnTo>
                    <a:lnTo>
                      <a:pt x="1403" y="92"/>
                    </a:lnTo>
                    <a:lnTo>
                      <a:pt x="1401" y="92"/>
                    </a:lnTo>
                    <a:lnTo>
                      <a:pt x="1399" y="92"/>
                    </a:lnTo>
                    <a:lnTo>
                      <a:pt x="1399" y="90"/>
                    </a:lnTo>
                    <a:lnTo>
                      <a:pt x="1399" y="88"/>
                    </a:lnTo>
                    <a:lnTo>
                      <a:pt x="1398" y="86"/>
                    </a:lnTo>
                    <a:lnTo>
                      <a:pt x="1398" y="84"/>
                    </a:lnTo>
                    <a:lnTo>
                      <a:pt x="1399" y="84"/>
                    </a:lnTo>
                    <a:lnTo>
                      <a:pt x="1399" y="82"/>
                    </a:lnTo>
                    <a:lnTo>
                      <a:pt x="1401" y="82"/>
                    </a:lnTo>
                    <a:lnTo>
                      <a:pt x="1401" y="81"/>
                    </a:lnTo>
                    <a:lnTo>
                      <a:pt x="1403" y="81"/>
                    </a:lnTo>
                    <a:lnTo>
                      <a:pt x="1405" y="79"/>
                    </a:lnTo>
                    <a:lnTo>
                      <a:pt x="1405" y="77"/>
                    </a:lnTo>
                    <a:lnTo>
                      <a:pt x="1407" y="77"/>
                    </a:lnTo>
                    <a:lnTo>
                      <a:pt x="1409" y="77"/>
                    </a:lnTo>
                    <a:lnTo>
                      <a:pt x="1411" y="77"/>
                    </a:lnTo>
                    <a:lnTo>
                      <a:pt x="1411" y="75"/>
                    </a:lnTo>
                    <a:lnTo>
                      <a:pt x="1413" y="75"/>
                    </a:lnTo>
                    <a:lnTo>
                      <a:pt x="1415" y="75"/>
                    </a:lnTo>
                    <a:lnTo>
                      <a:pt x="1416" y="75"/>
                    </a:lnTo>
                    <a:lnTo>
                      <a:pt x="1418" y="77"/>
                    </a:lnTo>
                    <a:lnTo>
                      <a:pt x="1420" y="75"/>
                    </a:lnTo>
                    <a:lnTo>
                      <a:pt x="1422" y="75"/>
                    </a:lnTo>
                    <a:lnTo>
                      <a:pt x="1424" y="75"/>
                    </a:lnTo>
                    <a:lnTo>
                      <a:pt x="1424" y="73"/>
                    </a:lnTo>
                    <a:lnTo>
                      <a:pt x="1424" y="71"/>
                    </a:lnTo>
                    <a:lnTo>
                      <a:pt x="1426" y="71"/>
                    </a:lnTo>
                    <a:lnTo>
                      <a:pt x="1428" y="71"/>
                    </a:lnTo>
                    <a:lnTo>
                      <a:pt x="1428" y="69"/>
                    </a:lnTo>
                    <a:lnTo>
                      <a:pt x="1430" y="69"/>
                    </a:lnTo>
                    <a:lnTo>
                      <a:pt x="1430" y="67"/>
                    </a:lnTo>
                    <a:lnTo>
                      <a:pt x="1430" y="69"/>
                    </a:lnTo>
                    <a:lnTo>
                      <a:pt x="1431" y="69"/>
                    </a:lnTo>
                    <a:lnTo>
                      <a:pt x="1433" y="69"/>
                    </a:lnTo>
                    <a:lnTo>
                      <a:pt x="1433" y="67"/>
                    </a:lnTo>
                    <a:lnTo>
                      <a:pt x="1431" y="66"/>
                    </a:lnTo>
                    <a:lnTo>
                      <a:pt x="1433" y="66"/>
                    </a:lnTo>
                    <a:lnTo>
                      <a:pt x="1433" y="64"/>
                    </a:lnTo>
                    <a:lnTo>
                      <a:pt x="1433" y="62"/>
                    </a:lnTo>
                    <a:lnTo>
                      <a:pt x="1433" y="60"/>
                    </a:lnTo>
                    <a:lnTo>
                      <a:pt x="1435" y="58"/>
                    </a:lnTo>
                    <a:lnTo>
                      <a:pt x="1435" y="56"/>
                    </a:lnTo>
                    <a:lnTo>
                      <a:pt x="1435" y="54"/>
                    </a:lnTo>
                    <a:lnTo>
                      <a:pt x="1437" y="54"/>
                    </a:lnTo>
                    <a:lnTo>
                      <a:pt x="1437" y="52"/>
                    </a:lnTo>
                    <a:lnTo>
                      <a:pt x="1437" y="50"/>
                    </a:lnTo>
                    <a:lnTo>
                      <a:pt x="1439" y="50"/>
                    </a:lnTo>
                    <a:lnTo>
                      <a:pt x="1441" y="50"/>
                    </a:lnTo>
                    <a:lnTo>
                      <a:pt x="1443" y="50"/>
                    </a:lnTo>
                    <a:lnTo>
                      <a:pt x="1443" y="49"/>
                    </a:lnTo>
                    <a:lnTo>
                      <a:pt x="1445" y="49"/>
                    </a:lnTo>
                    <a:lnTo>
                      <a:pt x="1445" y="47"/>
                    </a:lnTo>
                    <a:lnTo>
                      <a:pt x="1445" y="45"/>
                    </a:lnTo>
                    <a:lnTo>
                      <a:pt x="1446" y="45"/>
                    </a:lnTo>
                    <a:lnTo>
                      <a:pt x="1446" y="43"/>
                    </a:lnTo>
                    <a:lnTo>
                      <a:pt x="1448" y="43"/>
                    </a:lnTo>
                    <a:lnTo>
                      <a:pt x="1450" y="43"/>
                    </a:lnTo>
                    <a:lnTo>
                      <a:pt x="1450" y="45"/>
                    </a:lnTo>
                    <a:lnTo>
                      <a:pt x="1452" y="45"/>
                    </a:lnTo>
                    <a:lnTo>
                      <a:pt x="1454" y="45"/>
                    </a:lnTo>
                    <a:lnTo>
                      <a:pt x="1456" y="45"/>
                    </a:lnTo>
                    <a:lnTo>
                      <a:pt x="1456" y="47"/>
                    </a:lnTo>
                    <a:lnTo>
                      <a:pt x="1458" y="47"/>
                    </a:lnTo>
                    <a:lnTo>
                      <a:pt x="1460" y="47"/>
                    </a:lnTo>
                    <a:lnTo>
                      <a:pt x="1462" y="47"/>
                    </a:lnTo>
                    <a:lnTo>
                      <a:pt x="1462" y="45"/>
                    </a:lnTo>
                    <a:lnTo>
                      <a:pt x="1463" y="47"/>
                    </a:lnTo>
                    <a:lnTo>
                      <a:pt x="1463" y="45"/>
                    </a:lnTo>
                    <a:lnTo>
                      <a:pt x="1465" y="47"/>
                    </a:lnTo>
                    <a:lnTo>
                      <a:pt x="1465" y="45"/>
                    </a:lnTo>
                    <a:lnTo>
                      <a:pt x="1467" y="45"/>
                    </a:lnTo>
                    <a:lnTo>
                      <a:pt x="1469" y="45"/>
                    </a:lnTo>
                    <a:lnTo>
                      <a:pt x="1471" y="45"/>
                    </a:lnTo>
                    <a:lnTo>
                      <a:pt x="1473" y="45"/>
                    </a:lnTo>
                    <a:lnTo>
                      <a:pt x="1473" y="43"/>
                    </a:lnTo>
                    <a:lnTo>
                      <a:pt x="1475" y="43"/>
                    </a:lnTo>
                    <a:lnTo>
                      <a:pt x="1477" y="41"/>
                    </a:lnTo>
                    <a:lnTo>
                      <a:pt x="1478" y="41"/>
                    </a:lnTo>
                    <a:lnTo>
                      <a:pt x="1478" y="39"/>
                    </a:lnTo>
                    <a:lnTo>
                      <a:pt x="1480" y="39"/>
                    </a:lnTo>
                    <a:lnTo>
                      <a:pt x="1480" y="37"/>
                    </a:lnTo>
                    <a:lnTo>
                      <a:pt x="1482" y="37"/>
                    </a:lnTo>
                    <a:lnTo>
                      <a:pt x="1484" y="37"/>
                    </a:lnTo>
                    <a:lnTo>
                      <a:pt x="1484" y="35"/>
                    </a:lnTo>
                    <a:lnTo>
                      <a:pt x="1486" y="35"/>
                    </a:lnTo>
                    <a:lnTo>
                      <a:pt x="1486" y="37"/>
                    </a:lnTo>
                    <a:lnTo>
                      <a:pt x="1488" y="37"/>
                    </a:lnTo>
                    <a:lnTo>
                      <a:pt x="1490" y="35"/>
                    </a:lnTo>
                    <a:lnTo>
                      <a:pt x="1490" y="37"/>
                    </a:lnTo>
                    <a:lnTo>
                      <a:pt x="1492" y="37"/>
                    </a:lnTo>
                    <a:lnTo>
                      <a:pt x="1494" y="37"/>
                    </a:lnTo>
                    <a:lnTo>
                      <a:pt x="1495" y="37"/>
                    </a:lnTo>
                    <a:lnTo>
                      <a:pt x="1497" y="39"/>
                    </a:lnTo>
                    <a:lnTo>
                      <a:pt x="1499" y="39"/>
                    </a:lnTo>
                    <a:lnTo>
                      <a:pt x="1501" y="39"/>
                    </a:lnTo>
                    <a:lnTo>
                      <a:pt x="1503" y="39"/>
                    </a:lnTo>
                    <a:lnTo>
                      <a:pt x="1505" y="39"/>
                    </a:lnTo>
                    <a:lnTo>
                      <a:pt x="1507" y="39"/>
                    </a:lnTo>
                    <a:lnTo>
                      <a:pt x="1509" y="39"/>
                    </a:lnTo>
                    <a:lnTo>
                      <a:pt x="1510" y="39"/>
                    </a:lnTo>
                    <a:lnTo>
                      <a:pt x="1510" y="41"/>
                    </a:lnTo>
                    <a:lnTo>
                      <a:pt x="1512" y="41"/>
                    </a:lnTo>
                    <a:lnTo>
                      <a:pt x="1514" y="41"/>
                    </a:lnTo>
                    <a:lnTo>
                      <a:pt x="1516" y="41"/>
                    </a:lnTo>
                    <a:lnTo>
                      <a:pt x="1518" y="39"/>
                    </a:lnTo>
                    <a:lnTo>
                      <a:pt x="1520" y="39"/>
                    </a:lnTo>
                    <a:lnTo>
                      <a:pt x="1520" y="37"/>
                    </a:lnTo>
                    <a:lnTo>
                      <a:pt x="1522" y="37"/>
                    </a:lnTo>
                    <a:lnTo>
                      <a:pt x="1524" y="37"/>
                    </a:lnTo>
                    <a:lnTo>
                      <a:pt x="1525" y="35"/>
                    </a:lnTo>
                    <a:lnTo>
                      <a:pt x="1527" y="35"/>
                    </a:lnTo>
                    <a:lnTo>
                      <a:pt x="1529" y="35"/>
                    </a:lnTo>
                    <a:lnTo>
                      <a:pt x="1529" y="34"/>
                    </a:lnTo>
                    <a:lnTo>
                      <a:pt x="1531" y="34"/>
                    </a:lnTo>
                    <a:lnTo>
                      <a:pt x="1533" y="34"/>
                    </a:lnTo>
                    <a:lnTo>
                      <a:pt x="1535" y="34"/>
                    </a:lnTo>
                    <a:lnTo>
                      <a:pt x="1535" y="32"/>
                    </a:lnTo>
                    <a:lnTo>
                      <a:pt x="1537" y="32"/>
                    </a:lnTo>
                    <a:lnTo>
                      <a:pt x="1539" y="32"/>
                    </a:lnTo>
                    <a:lnTo>
                      <a:pt x="1541" y="32"/>
                    </a:lnTo>
                    <a:lnTo>
                      <a:pt x="1542" y="32"/>
                    </a:lnTo>
                    <a:lnTo>
                      <a:pt x="1544" y="32"/>
                    </a:lnTo>
                    <a:lnTo>
                      <a:pt x="1546" y="32"/>
                    </a:lnTo>
                    <a:lnTo>
                      <a:pt x="1548" y="32"/>
                    </a:lnTo>
                    <a:lnTo>
                      <a:pt x="1548" y="30"/>
                    </a:lnTo>
                    <a:lnTo>
                      <a:pt x="1550" y="30"/>
                    </a:lnTo>
                    <a:lnTo>
                      <a:pt x="1552" y="28"/>
                    </a:lnTo>
                    <a:lnTo>
                      <a:pt x="1552" y="30"/>
                    </a:lnTo>
                    <a:lnTo>
                      <a:pt x="1554" y="30"/>
                    </a:lnTo>
                    <a:lnTo>
                      <a:pt x="1554" y="28"/>
                    </a:lnTo>
                    <a:lnTo>
                      <a:pt x="1556" y="28"/>
                    </a:lnTo>
                    <a:lnTo>
                      <a:pt x="1557" y="30"/>
                    </a:lnTo>
                    <a:lnTo>
                      <a:pt x="1557" y="28"/>
                    </a:lnTo>
                    <a:lnTo>
                      <a:pt x="1559" y="28"/>
                    </a:lnTo>
                    <a:lnTo>
                      <a:pt x="1561" y="28"/>
                    </a:lnTo>
                    <a:lnTo>
                      <a:pt x="1561" y="26"/>
                    </a:lnTo>
                    <a:lnTo>
                      <a:pt x="1563" y="26"/>
                    </a:lnTo>
                    <a:lnTo>
                      <a:pt x="1565" y="26"/>
                    </a:lnTo>
                    <a:lnTo>
                      <a:pt x="1563" y="24"/>
                    </a:lnTo>
                    <a:lnTo>
                      <a:pt x="1563" y="22"/>
                    </a:lnTo>
                    <a:lnTo>
                      <a:pt x="1565" y="22"/>
                    </a:lnTo>
                    <a:lnTo>
                      <a:pt x="1567" y="22"/>
                    </a:lnTo>
                    <a:lnTo>
                      <a:pt x="1569" y="22"/>
                    </a:lnTo>
                    <a:lnTo>
                      <a:pt x="1569" y="20"/>
                    </a:lnTo>
                    <a:lnTo>
                      <a:pt x="1571" y="20"/>
                    </a:lnTo>
                    <a:lnTo>
                      <a:pt x="1573" y="20"/>
                    </a:lnTo>
                    <a:lnTo>
                      <a:pt x="1573" y="18"/>
                    </a:lnTo>
                    <a:lnTo>
                      <a:pt x="1574" y="18"/>
                    </a:lnTo>
                    <a:lnTo>
                      <a:pt x="1574" y="20"/>
                    </a:lnTo>
                    <a:lnTo>
                      <a:pt x="1576" y="20"/>
                    </a:lnTo>
                    <a:lnTo>
                      <a:pt x="1576" y="18"/>
                    </a:lnTo>
                    <a:lnTo>
                      <a:pt x="1578" y="17"/>
                    </a:lnTo>
                    <a:lnTo>
                      <a:pt x="1580" y="17"/>
                    </a:lnTo>
                    <a:lnTo>
                      <a:pt x="1582" y="17"/>
                    </a:lnTo>
                    <a:lnTo>
                      <a:pt x="1582" y="15"/>
                    </a:lnTo>
                    <a:lnTo>
                      <a:pt x="1584" y="15"/>
                    </a:lnTo>
                    <a:lnTo>
                      <a:pt x="1584" y="13"/>
                    </a:lnTo>
                    <a:lnTo>
                      <a:pt x="1586" y="11"/>
                    </a:lnTo>
                    <a:lnTo>
                      <a:pt x="1588" y="11"/>
                    </a:lnTo>
                    <a:lnTo>
                      <a:pt x="1589" y="11"/>
                    </a:lnTo>
                    <a:lnTo>
                      <a:pt x="1591" y="11"/>
                    </a:lnTo>
                    <a:lnTo>
                      <a:pt x="1591" y="9"/>
                    </a:lnTo>
                    <a:lnTo>
                      <a:pt x="1591" y="11"/>
                    </a:lnTo>
                    <a:lnTo>
                      <a:pt x="1593" y="9"/>
                    </a:lnTo>
                    <a:lnTo>
                      <a:pt x="1595" y="9"/>
                    </a:lnTo>
                    <a:lnTo>
                      <a:pt x="1597" y="9"/>
                    </a:lnTo>
                    <a:lnTo>
                      <a:pt x="1597" y="7"/>
                    </a:lnTo>
                    <a:lnTo>
                      <a:pt x="1597" y="5"/>
                    </a:lnTo>
                    <a:lnTo>
                      <a:pt x="1599" y="5"/>
                    </a:lnTo>
                    <a:lnTo>
                      <a:pt x="1599" y="3"/>
                    </a:lnTo>
                    <a:lnTo>
                      <a:pt x="1601" y="3"/>
                    </a:lnTo>
                    <a:lnTo>
                      <a:pt x="1601" y="1"/>
                    </a:lnTo>
                    <a:lnTo>
                      <a:pt x="1603" y="1"/>
                    </a:lnTo>
                    <a:lnTo>
                      <a:pt x="1604" y="1"/>
                    </a:lnTo>
                    <a:lnTo>
                      <a:pt x="1604" y="0"/>
                    </a:lnTo>
                    <a:lnTo>
                      <a:pt x="1606" y="1"/>
                    </a:lnTo>
                    <a:lnTo>
                      <a:pt x="1612" y="3"/>
                    </a:lnTo>
                    <a:lnTo>
                      <a:pt x="1618" y="13"/>
                    </a:lnTo>
                    <a:lnTo>
                      <a:pt x="1623" y="17"/>
                    </a:lnTo>
                    <a:lnTo>
                      <a:pt x="1627" y="24"/>
                    </a:lnTo>
                    <a:lnTo>
                      <a:pt x="1629" y="28"/>
                    </a:lnTo>
                    <a:lnTo>
                      <a:pt x="1629" y="30"/>
                    </a:lnTo>
                    <a:lnTo>
                      <a:pt x="1631" y="30"/>
                    </a:lnTo>
                    <a:lnTo>
                      <a:pt x="1631" y="32"/>
                    </a:lnTo>
                    <a:lnTo>
                      <a:pt x="1629" y="30"/>
                    </a:lnTo>
                    <a:lnTo>
                      <a:pt x="1629" y="32"/>
                    </a:lnTo>
                    <a:lnTo>
                      <a:pt x="1629" y="34"/>
                    </a:lnTo>
                    <a:lnTo>
                      <a:pt x="1631" y="32"/>
                    </a:lnTo>
                    <a:lnTo>
                      <a:pt x="1631" y="34"/>
                    </a:lnTo>
                    <a:lnTo>
                      <a:pt x="1629" y="34"/>
                    </a:lnTo>
                    <a:lnTo>
                      <a:pt x="1631" y="34"/>
                    </a:lnTo>
                    <a:lnTo>
                      <a:pt x="1631" y="35"/>
                    </a:lnTo>
                    <a:lnTo>
                      <a:pt x="1631" y="37"/>
                    </a:lnTo>
                    <a:lnTo>
                      <a:pt x="1631" y="35"/>
                    </a:lnTo>
                    <a:lnTo>
                      <a:pt x="1631" y="37"/>
                    </a:lnTo>
                    <a:lnTo>
                      <a:pt x="1629" y="37"/>
                    </a:lnTo>
                    <a:lnTo>
                      <a:pt x="1631" y="37"/>
                    </a:lnTo>
                    <a:lnTo>
                      <a:pt x="1629" y="37"/>
                    </a:lnTo>
                    <a:lnTo>
                      <a:pt x="1629" y="39"/>
                    </a:lnTo>
                    <a:lnTo>
                      <a:pt x="1629" y="41"/>
                    </a:lnTo>
                    <a:lnTo>
                      <a:pt x="1631" y="41"/>
                    </a:lnTo>
                    <a:lnTo>
                      <a:pt x="1629" y="41"/>
                    </a:lnTo>
                    <a:lnTo>
                      <a:pt x="1629" y="43"/>
                    </a:lnTo>
                    <a:lnTo>
                      <a:pt x="1631" y="43"/>
                    </a:lnTo>
                    <a:lnTo>
                      <a:pt x="1631" y="45"/>
                    </a:lnTo>
                    <a:lnTo>
                      <a:pt x="1629" y="45"/>
                    </a:lnTo>
                    <a:lnTo>
                      <a:pt x="1629" y="47"/>
                    </a:lnTo>
                    <a:lnTo>
                      <a:pt x="1631" y="47"/>
                    </a:lnTo>
                    <a:lnTo>
                      <a:pt x="1631" y="49"/>
                    </a:lnTo>
                    <a:lnTo>
                      <a:pt x="1629" y="49"/>
                    </a:lnTo>
                    <a:lnTo>
                      <a:pt x="1629" y="50"/>
                    </a:lnTo>
                    <a:lnTo>
                      <a:pt x="1627" y="50"/>
                    </a:lnTo>
                    <a:lnTo>
                      <a:pt x="1627" y="52"/>
                    </a:lnTo>
                    <a:lnTo>
                      <a:pt x="1627" y="54"/>
                    </a:lnTo>
                    <a:lnTo>
                      <a:pt x="1629" y="54"/>
                    </a:lnTo>
                    <a:lnTo>
                      <a:pt x="1629" y="56"/>
                    </a:lnTo>
                    <a:lnTo>
                      <a:pt x="1631" y="56"/>
                    </a:lnTo>
                    <a:lnTo>
                      <a:pt x="1631" y="58"/>
                    </a:lnTo>
                    <a:lnTo>
                      <a:pt x="1629" y="58"/>
                    </a:lnTo>
                    <a:lnTo>
                      <a:pt x="1629" y="60"/>
                    </a:lnTo>
                    <a:lnTo>
                      <a:pt x="1629" y="62"/>
                    </a:lnTo>
                    <a:lnTo>
                      <a:pt x="1631" y="62"/>
                    </a:lnTo>
                    <a:lnTo>
                      <a:pt x="1633" y="62"/>
                    </a:lnTo>
                    <a:lnTo>
                      <a:pt x="1633" y="64"/>
                    </a:lnTo>
                    <a:lnTo>
                      <a:pt x="1635" y="64"/>
                    </a:lnTo>
                    <a:lnTo>
                      <a:pt x="1633" y="64"/>
                    </a:lnTo>
                    <a:lnTo>
                      <a:pt x="1631" y="64"/>
                    </a:lnTo>
                    <a:lnTo>
                      <a:pt x="1631" y="66"/>
                    </a:lnTo>
                    <a:lnTo>
                      <a:pt x="1633" y="66"/>
                    </a:lnTo>
                    <a:lnTo>
                      <a:pt x="1633" y="67"/>
                    </a:lnTo>
                    <a:lnTo>
                      <a:pt x="1633" y="69"/>
                    </a:lnTo>
                    <a:lnTo>
                      <a:pt x="1633" y="71"/>
                    </a:lnTo>
                    <a:lnTo>
                      <a:pt x="1633" y="73"/>
                    </a:lnTo>
                    <a:lnTo>
                      <a:pt x="1635" y="73"/>
                    </a:lnTo>
                    <a:lnTo>
                      <a:pt x="1635" y="75"/>
                    </a:lnTo>
                    <a:lnTo>
                      <a:pt x="1635" y="77"/>
                    </a:lnTo>
                    <a:lnTo>
                      <a:pt x="1636" y="77"/>
                    </a:lnTo>
                    <a:lnTo>
                      <a:pt x="1638" y="77"/>
                    </a:lnTo>
                    <a:lnTo>
                      <a:pt x="1640" y="77"/>
                    </a:lnTo>
                    <a:lnTo>
                      <a:pt x="1638" y="77"/>
                    </a:lnTo>
                    <a:lnTo>
                      <a:pt x="1638" y="79"/>
                    </a:lnTo>
                    <a:lnTo>
                      <a:pt x="1640" y="79"/>
                    </a:lnTo>
                    <a:lnTo>
                      <a:pt x="1640" y="77"/>
                    </a:lnTo>
                    <a:lnTo>
                      <a:pt x="1640" y="79"/>
                    </a:lnTo>
                    <a:lnTo>
                      <a:pt x="1642" y="79"/>
                    </a:lnTo>
                    <a:lnTo>
                      <a:pt x="1640" y="79"/>
                    </a:lnTo>
                    <a:lnTo>
                      <a:pt x="1640" y="81"/>
                    </a:lnTo>
                    <a:lnTo>
                      <a:pt x="1642" y="81"/>
                    </a:lnTo>
                    <a:lnTo>
                      <a:pt x="1640" y="81"/>
                    </a:lnTo>
                    <a:lnTo>
                      <a:pt x="1642" y="81"/>
                    </a:lnTo>
                    <a:lnTo>
                      <a:pt x="1642" y="82"/>
                    </a:lnTo>
                    <a:lnTo>
                      <a:pt x="1640" y="82"/>
                    </a:lnTo>
                    <a:lnTo>
                      <a:pt x="1640" y="81"/>
                    </a:lnTo>
                    <a:lnTo>
                      <a:pt x="1640" y="82"/>
                    </a:lnTo>
                    <a:lnTo>
                      <a:pt x="1642" y="82"/>
                    </a:lnTo>
                    <a:lnTo>
                      <a:pt x="1644" y="82"/>
                    </a:lnTo>
                    <a:lnTo>
                      <a:pt x="1646" y="84"/>
                    </a:lnTo>
                    <a:lnTo>
                      <a:pt x="1644" y="84"/>
                    </a:lnTo>
                    <a:lnTo>
                      <a:pt x="1646" y="84"/>
                    </a:lnTo>
                    <a:lnTo>
                      <a:pt x="1648" y="86"/>
                    </a:lnTo>
                    <a:lnTo>
                      <a:pt x="1659" y="88"/>
                    </a:lnTo>
                    <a:lnTo>
                      <a:pt x="1659" y="90"/>
                    </a:lnTo>
                    <a:lnTo>
                      <a:pt x="1665" y="90"/>
                    </a:lnTo>
                    <a:lnTo>
                      <a:pt x="1661" y="82"/>
                    </a:lnTo>
                    <a:lnTo>
                      <a:pt x="1659" y="79"/>
                    </a:lnTo>
                    <a:lnTo>
                      <a:pt x="1661" y="79"/>
                    </a:lnTo>
                    <a:lnTo>
                      <a:pt x="1667" y="82"/>
                    </a:lnTo>
                    <a:lnTo>
                      <a:pt x="1672" y="88"/>
                    </a:lnTo>
                    <a:lnTo>
                      <a:pt x="1678" y="94"/>
                    </a:lnTo>
                    <a:lnTo>
                      <a:pt x="1676" y="99"/>
                    </a:lnTo>
                    <a:lnTo>
                      <a:pt x="1674" y="103"/>
                    </a:lnTo>
                    <a:lnTo>
                      <a:pt x="1676" y="105"/>
                    </a:lnTo>
                    <a:lnTo>
                      <a:pt x="1678" y="113"/>
                    </a:lnTo>
                    <a:lnTo>
                      <a:pt x="1674" y="113"/>
                    </a:lnTo>
                    <a:lnTo>
                      <a:pt x="1670" y="111"/>
                    </a:lnTo>
                    <a:lnTo>
                      <a:pt x="1672" y="116"/>
                    </a:lnTo>
                    <a:lnTo>
                      <a:pt x="1661" y="120"/>
                    </a:lnTo>
                    <a:lnTo>
                      <a:pt x="1659" y="122"/>
                    </a:lnTo>
                    <a:lnTo>
                      <a:pt x="1659" y="126"/>
                    </a:lnTo>
                    <a:lnTo>
                      <a:pt x="1655" y="124"/>
                    </a:lnTo>
                    <a:lnTo>
                      <a:pt x="1653" y="126"/>
                    </a:lnTo>
                    <a:lnTo>
                      <a:pt x="1650" y="128"/>
                    </a:lnTo>
                    <a:lnTo>
                      <a:pt x="1650" y="131"/>
                    </a:lnTo>
                    <a:lnTo>
                      <a:pt x="1652" y="137"/>
                    </a:lnTo>
                    <a:lnTo>
                      <a:pt x="1648" y="143"/>
                    </a:lnTo>
                    <a:lnTo>
                      <a:pt x="1646" y="152"/>
                    </a:lnTo>
                    <a:lnTo>
                      <a:pt x="1638" y="150"/>
                    </a:lnTo>
                    <a:lnTo>
                      <a:pt x="1636" y="154"/>
                    </a:lnTo>
                    <a:lnTo>
                      <a:pt x="1636" y="158"/>
                    </a:lnTo>
                    <a:lnTo>
                      <a:pt x="1638" y="158"/>
                    </a:lnTo>
                    <a:lnTo>
                      <a:pt x="1636" y="158"/>
                    </a:lnTo>
                    <a:lnTo>
                      <a:pt x="1638" y="158"/>
                    </a:lnTo>
                    <a:lnTo>
                      <a:pt x="1638" y="160"/>
                    </a:lnTo>
                    <a:lnTo>
                      <a:pt x="1638" y="162"/>
                    </a:lnTo>
                    <a:lnTo>
                      <a:pt x="1638" y="163"/>
                    </a:lnTo>
                    <a:lnTo>
                      <a:pt x="1640" y="163"/>
                    </a:lnTo>
                    <a:lnTo>
                      <a:pt x="1640" y="165"/>
                    </a:lnTo>
                    <a:lnTo>
                      <a:pt x="1640" y="163"/>
                    </a:lnTo>
                    <a:lnTo>
                      <a:pt x="1642" y="162"/>
                    </a:lnTo>
                    <a:lnTo>
                      <a:pt x="1640" y="162"/>
                    </a:lnTo>
                    <a:lnTo>
                      <a:pt x="1640" y="160"/>
                    </a:lnTo>
                    <a:lnTo>
                      <a:pt x="1642" y="160"/>
                    </a:lnTo>
                    <a:lnTo>
                      <a:pt x="1642" y="162"/>
                    </a:lnTo>
                    <a:lnTo>
                      <a:pt x="1642" y="160"/>
                    </a:lnTo>
                    <a:lnTo>
                      <a:pt x="1642" y="162"/>
                    </a:lnTo>
                    <a:lnTo>
                      <a:pt x="1644" y="162"/>
                    </a:lnTo>
                    <a:lnTo>
                      <a:pt x="1644" y="163"/>
                    </a:lnTo>
                    <a:lnTo>
                      <a:pt x="1642" y="165"/>
                    </a:lnTo>
                    <a:lnTo>
                      <a:pt x="1640" y="165"/>
                    </a:lnTo>
                    <a:lnTo>
                      <a:pt x="1638" y="165"/>
                    </a:lnTo>
                    <a:lnTo>
                      <a:pt x="1629" y="171"/>
                    </a:lnTo>
                    <a:lnTo>
                      <a:pt x="1631" y="175"/>
                    </a:lnTo>
                    <a:lnTo>
                      <a:pt x="1636" y="177"/>
                    </a:lnTo>
                    <a:lnTo>
                      <a:pt x="1635" y="178"/>
                    </a:lnTo>
                    <a:lnTo>
                      <a:pt x="1642" y="182"/>
                    </a:lnTo>
                    <a:lnTo>
                      <a:pt x="1644" y="184"/>
                    </a:lnTo>
                    <a:lnTo>
                      <a:pt x="1646" y="184"/>
                    </a:lnTo>
                    <a:lnTo>
                      <a:pt x="1646" y="182"/>
                    </a:lnTo>
                    <a:lnTo>
                      <a:pt x="1648" y="182"/>
                    </a:lnTo>
                    <a:lnTo>
                      <a:pt x="1648" y="184"/>
                    </a:lnTo>
                    <a:lnTo>
                      <a:pt x="1646" y="184"/>
                    </a:lnTo>
                    <a:lnTo>
                      <a:pt x="1646" y="186"/>
                    </a:lnTo>
                    <a:lnTo>
                      <a:pt x="1646" y="188"/>
                    </a:lnTo>
                    <a:lnTo>
                      <a:pt x="1646" y="190"/>
                    </a:lnTo>
                    <a:lnTo>
                      <a:pt x="1648" y="190"/>
                    </a:lnTo>
                    <a:lnTo>
                      <a:pt x="1648" y="188"/>
                    </a:lnTo>
                    <a:lnTo>
                      <a:pt x="1650" y="188"/>
                    </a:lnTo>
                    <a:lnTo>
                      <a:pt x="1652" y="188"/>
                    </a:lnTo>
                    <a:lnTo>
                      <a:pt x="1652" y="186"/>
                    </a:lnTo>
                    <a:lnTo>
                      <a:pt x="1650" y="186"/>
                    </a:lnTo>
                    <a:lnTo>
                      <a:pt x="1650" y="184"/>
                    </a:lnTo>
                    <a:lnTo>
                      <a:pt x="1652" y="184"/>
                    </a:lnTo>
                    <a:lnTo>
                      <a:pt x="1653" y="184"/>
                    </a:lnTo>
                    <a:lnTo>
                      <a:pt x="1655" y="184"/>
                    </a:lnTo>
                    <a:lnTo>
                      <a:pt x="1657" y="184"/>
                    </a:lnTo>
                    <a:lnTo>
                      <a:pt x="1659" y="184"/>
                    </a:lnTo>
                    <a:lnTo>
                      <a:pt x="1667" y="184"/>
                    </a:lnTo>
                    <a:lnTo>
                      <a:pt x="1670" y="188"/>
                    </a:lnTo>
                    <a:lnTo>
                      <a:pt x="1678" y="190"/>
                    </a:lnTo>
                    <a:lnTo>
                      <a:pt x="1682" y="192"/>
                    </a:lnTo>
                    <a:lnTo>
                      <a:pt x="1689" y="199"/>
                    </a:lnTo>
                    <a:lnTo>
                      <a:pt x="1695" y="192"/>
                    </a:lnTo>
                    <a:lnTo>
                      <a:pt x="1699" y="194"/>
                    </a:lnTo>
                    <a:lnTo>
                      <a:pt x="1702" y="190"/>
                    </a:lnTo>
                    <a:lnTo>
                      <a:pt x="1708" y="190"/>
                    </a:lnTo>
                    <a:lnTo>
                      <a:pt x="1712" y="190"/>
                    </a:lnTo>
                    <a:lnTo>
                      <a:pt x="1714" y="190"/>
                    </a:lnTo>
                    <a:lnTo>
                      <a:pt x="1717" y="186"/>
                    </a:lnTo>
                    <a:lnTo>
                      <a:pt x="1719" y="184"/>
                    </a:lnTo>
                    <a:lnTo>
                      <a:pt x="1721" y="184"/>
                    </a:lnTo>
                    <a:lnTo>
                      <a:pt x="1731" y="182"/>
                    </a:lnTo>
                    <a:lnTo>
                      <a:pt x="1734" y="190"/>
                    </a:lnTo>
                    <a:lnTo>
                      <a:pt x="1736" y="190"/>
                    </a:lnTo>
                    <a:lnTo>
                      <a:pt x="1740" y="192"/>
                    </a:lnTo>
                    <a:lnTo>
                      <a:pt x="1746" y="194"/>
                    </a:lnTo>
                    <a:lnTo>
                      <a:pt x="1746" y="195"/>
                    </a:lnTo>
                    <a:lnTo>
                      <a:pt x="1747" y="194"/>
                    </a:lnTo>
                    <a:lnTo>
                      <a:pt x="1749" y="194"/>
                    </a:lnTo>
                    <a:lnTo>
                      <a:pt x="1749" y="195"/>
                    </a:lnTo>
                    <a:lnTo>
                      <a:pt x="1751" y="195"/>
                    </a:lnTo>
                    <a:lnTo>
                      <a:pt x="1751" y="197"/>
                    </a:lnTo>
                    <a:lnTo>
                      <a:pt x="1751" y="199"/>
                    </a:lnTo>
                    <a:lnTo>
                      <a:pt x="1751" y="201"/>
                    </a:lnTo>
                    <a:lnTo>
                      <a:pt x="1753" y="201"/>
                    </a:lnTo>
                    <a:lnTo>
                      <a:pt x="1753" y="203"/>
                    </a:lnTo>
                    <a:lnTo>
                      <a:pt x="1753" y="205"/>
                    </a:lnTo>
                    <a:lnTo>
                      <a:pt x="1755" y="205"/>
                    </a:lnTo>
                    <a:lnTo>
                      <a:pt x="1755" y="203"/>
                    </a:lnTo>
                    <a:lnTo>
                      <a:pt x="1757" y="203"/>
                    </a:lnTo>
                    <a:lnTo>
                      <a:pt x="1757" y="205"/>
                    </a:lnTo>
                    <a:lnTo>
                      <a:pt x="1759" y="205"/>
                    </a:lnTo>
                    <a:lnTo>
                      <a:pt x="1759" y="203"/>
                    </a:lnTo>
                    <a:lnTo>
                      <a:pt x="1759" y="205"/>
                    </a:lnTo>
                    <a:lnTo>
                      <a:pt x="1759" y="203"/>
                    </a:lnTo>
                    <a:lnTo>
                      <a:pt x="1761" y="203"/>
                    </a:lnTo>
                    <a:lnTo>
                      <a:pt x="1762" y="203"/>
                    </a:lnTo>
                    <a:lnTo>
                      <a:pt x="1764" y="203"/>
                    </a:lnTo>
                    <a:lnTo>
                      <a:pt x="1766" y="203"/>
                    </a:lnTo>
                    <a:lnTo>
                      <a:pt x="1768" y="203"/>
                    </a:lnTo>
                    <a:lnTo>
                      <a:pt x="1768" y="201"/>
                    </a:lnTo>
                    <a:lnTo>
                      <a:pt x="1770" y="201"/>
                    </a:lnTo>
                    <a:lnTo>
                      <a:pt x="1770" y="199"/>
                    </a:lnTo>
                    <a:lnTo>
                      <a:pt x="1772" y="199"/>
                    </a:lnTo>
                    <a:lnTo>
                      <a:pt x="1774" y="199"/>
                    </a:lnTo>
                    <a:lnTo>
                      <a:pt x="1772" y="199"/>
                    </a:lnTo>
                    <a:lnTo>
                      <a:pt x="1774" y="199"/>
                    </a:lnTo>
                    <a:lnTo>
                      <a:pt x="1774" y="201"/>
                    </a:lnTo>
                    <a:lnTo>
                      <a:pt x="1776" y="201"/>
                    </a:lnTo>
                    <a:lnTo>
                      <a:pt x="1776" y="203"/>
                    </a:lnTo>
                    <a:lnTo>
                      <a:pt x="1774" y="203"/>
                    </a:lnTo>
                    <a:lnTo>
                      <a:pt x="1776" y="203"/>
                    </a:lnTo>
                    <a:lnTo>
                      <a:pt x="1774" y="203"/>
                    </a:lnTo>
                    <a:lnTo>
                      <a:pt x="1776" y="203"/>
                    </a:lnTo>
                    <a:lnTo>
                      <a:pt x="1776" y="205"/>
                    </a:lnTo>
                    <a:lnTo>
                      <a:pt x="1776" y="203"/>
                    </a:lnTo>
                    <a:lnTo>
                      <a:pt x="1778" y="203"/>
                    </a:lnTo>
                    <a:lnTo>
                      <a:pt x="1778" y="205"/>
                    </a:lnTo>
                    <a:lnTo>
                      <a:pt x="1778" y="207"/>
                    </a:lnTo>
                    <a:lnTo>
                      <a:pt x="1779" y="207"/>
                    </a:lnTo>
                    <a:lnTo>
                      <a:pt x="1779" y="209"/>
                    </a:lnTo>
                    <a:lnTo>
                      <a:pt x="1781" y="209"/>
                    </a:lnTo>
                    <a:lnTo>
                      <a:pt x="1783" y="209"/>
                    </a:lnTo>
                    <a:lnTo>
                      <a:pt x="1783" y="210"/>
                    </a:lnTo>
                    <a:lnTo>
                      <a:pt x="1785" y="210"/>
                    </a:lnTo>
                    <a:lnTo>
                      <a:pt x="1787" y="210"/>
                    </a:lnTo>
                    <a:lnTo>
                      <a:pt x="1787" y="212"/>
                    </a:lnTo>
                    <a:lnTo>
                      <a:pt x="1789" y="212"/>
                    </a:lnTo>
                    <a:lnTo>
                      <a:pt x="1789" y="214"/>
                    </a:lnTo>
                    <a:lnTo>
                      <a:pt x="1791" y="214"/>
                    </a:lnTo>
                    <a:lnTo>
                      <a:pt x="1791" y="212"/>
                    </a:lnTo>
                    <a:lnTo>
                      <a:pt x="1793" y="212"/>
                    </a:lnTo>
                    <a:lnTo>
                      <a:pt x="1791" y="210"/>
                    </a:lnTo>
                    <a:lnTo>
                      <a:pt x="1793" y="210"/>
                    </a:lnTo>
                    <a:lnTo>
                      <a:pt x="1793" y="209"/>
                    </a:lnTo>
                    <a:lnTo>
                      <a:pt x="1793" y="210"/>
                    </a:lnTo>
                    <a:lnTo>
                      <a:pt x="1793" y="212"/>
                    </a:lnTo>
                    <a:lnTo>
                      <a:pt x="1794" y="212"/>
                    </a:lnTo>
                    <a:lnTo>
                      <a:pt x="1796" y="212"/>
                    </a:lnTo>
                    <a:lnTo>
                      <a:pt x="1796" y="210"/>
                    </a:lnTo>
                    <a:lnTo>
                      <a:pt x="1796" y="212"/>
                    </a:lnTo>
                    <a:lnTo>
                      <a:pt x="1796" y="210"/>
                    </a:lnTo>
                    <a:lnTo>
                      <a:pt x="1796" y="209"/>
                    </a:lnTo>
                    <a:lnTo>
                      <a:pt x="1798" y="209"/>
                    </a:lnTo>
                    <a:lnTo>
                      <a:pt x="1798" y="210"/>
                    </a:lnTo>
                    <a:lnTo>
                      <a:pt x="1800" y="210"/>
                    </a:lnTo>
                    <a:lnTo>
                      <a:pt x="1800" y="209"/>
                    </a:lnTo>
                    <a:lnTo>
                      <a:pt x="1798" y="209"/>
                    </a:lnTo>
                    <a:lnTo>
                      <a:pt x="1798" y="207"/>
                    </a:lnTo>
                    <a:lnTo>
                      <a:pt x="1800" y="207"/>
                    </a:lnTo>
                    <a:lnTo>
                      <a:pt x="1802" y="207"/>
                    </a:lnTo>
                    <a:lnTo>
                      <a:pt x="1802" y="209"/>
                    </a:lnTo>
                    <a:lnTo>
                      <a:pt x="1804" y="209"/>
                    </a:lnTo>
                    <a:lnTo>
                      <a:pt x="1804" y="210"/>
                    </a:lnTo>
                    <a:lnTo>
                      <a:pt x="1806" y="210"/>
                    </a:lnTo>
                    <a:lnTo>
                      <a:pt x="1806" y="209"/>
                    </a:lnTo>
                    <a:lnTo>
                      <a:pt x="1806" y="207"/>
                    </a:lnTo>
                    <a:lnTo>
                      <a:pt x="1808" y="207"/>
                    </a:lnTo>
                    <a:lnTo>
                      <a:pt x="1808" y="209"/>
                    </a:lnTo>
                    <a:lnTo>
                      <a:pt x="1808" y="210"/>
                    </a:lnTo>
                    <a:lnTo>
                      <a:pt x="1806" y="212"/>
                    </a:lnTo>
                    <a:lnTo>
                      <a:pt x="1806" y="214"/>
                    </a:lnTo>
                    <a:lnTo>
                      <a:pt x="1806" y="216"/>
                    </a:lnTo>
                    <a:lnTo>
                      <a:pt x="1808" y="216"/>
                    </a:lnTo>
                    <a:lnTo>
                      <a:pt x="1810" y="216"/>
                    </a:lnTo>
                    <a:lnTo>
                      <a:pt x="1810" y="214"/>
                    </a:lnTo>
                    <a:lnTo>
                      <a:pt x="1811" y="214"/>
                    </a:lnTo>
                    <a:lnTo>
                      <a:pt x="1811" y="216"/>
                    </a:lnTo>
                    <a:lnTo>
                      <a:pt x="1811" y="218"/>
                    </a:lnTo>
                    <a:lnTo>
                      <a:pt x="1813" y="218"/>
                    </a:lnTo>
                    <a:lnTo>
                      <a:pt x="1813" y="220"/>
                    </a:lnTo>
                    <a:lnTo>
                      <a:pt x="1811" y="220"/>
                    </a:lnTo>
                    <a:lnTo>
                      <a:pt x="1813" y="220"/>
                    </a:lnTo>
                    <a:lnTo>
                      <a:pt x="1815" y="220"/>
                    </a:lnTo>
                    <a:lnTo>
                      <a:pt x="1815" y="218"/>
                    </a:lnTo>
                    <a:lnTo>
                      <a:pt x="1817" y="218"/>
                    </a:lnTo>
                    <a:lnTo>
                      <a:pt x="1817" y="220"/>
                    </a:lnTo>
                    <a:lnTo>
                      <a:pt x="1817" y="222"/>
                    </a:lnTo>
                    <a:lnTo>
                      <a:pt x="1817" y="224"/>
                    </a:lnTo>
                    <a:lnTo>
                      <a:pt x="1817" y="226"/>
                    </a:lnTo>
                    <a:lnTo>
                      <a:pt x="1819" y="226"/>
                    </a:lnTo>
                    <a:lnTo>
                      <a:pt x="1819" y="224"/>
                    </a:lnTo>
                    <a:lnTo>
                      <a:pt x="1821" y="224"/>
                    </a:lnTo>
                    <a:lnTo>
                      <a:pt x="1823" y="224"/>
                    </a:lnTo>
                    <a:lnTo>
                      <a:pt x="1823" y="226"/>
                    </a:lnTo>
                    <a:lnTo>
                      <a:pt x="1825" y="226"/>
                    </a:lnTo>
                    <a:lnTo>
                      <a:pt x="1826" y="226"/>
                    </a:lnTo>
                    <a:lnTo>
                      <a:pt x="1828" y="226"/>
                    </a:lnTo>
                    <a:lnTo>
                      <a:pt x="1828" y="227"/>
                    </a:lnTo>
                    <a:lnTo>
                      <a:pt x="1826" y="229"/>
                    </a:lnTo>
                    <a:lnTo>
                      <a:pt x="1826" y="231"/>
                    </a:lnTo>
                    <a:lnTo>
                      <a:pt x="1826" y="233"/>
                    </a:lnTo>
                    <a:lnTo>
                      <a:pt x="1826" y="231"/>
                    </a:lnTo>
                    <a:lnTo>
                      <a:pt x="1828" y="231"/>
                    </a:lnTo>
                    <a:lnTo>
                      <a:pt x="1828" y="229"/>
                    </a:lnTo>
                    <a:lnTo>
                      <a:pt x="1830" y="229"/>
                    </a:lnTo>
                    <a:lnTo>
                      <a:pt x="1832" y="229"/>
                    </a:lnTo>
                    <a:lnTo>
                      <a:pt x="1832" y="227"/>
                    </a:lnTo>
                    <a:lnTo>
                      <a:pt x="1834" y="227"/>
                    </a:lnTo>
                    <a:lnTo>
                      <a:pt x="1834" y="229"/>
                    </a:lnTo>
                    <a:lnTo>
                      <a:pt x="1834" y="231"/>
                    </a:lnTo>
                    <a:lnTo>
                      <a:pt x="1832" y="231"/>
                    </a:lnTo>
                    <a:lnTo>
                      <a:pt x="1832" y="233"/>
                    </a:lnTo>
                    <a:lnTo>
                      <a:pt x="1832" y="235"/>
                    </a:lnTo>
                    <a:lnTo>
                      <a:pt x="1832" y="237"/>
                    </a:lnTo>
                    <a:lnTo>
                      <a:pt x="1832" y="235"/>
                    </a:lnTo>
                    <a:lnTo>
                      <a:pt x="1834" y="235"/>
                    </a:lnTo>
                    <a:lnTo>
                      <a:pt x="1836" y="235"/>
                    </a:lnTo>
                    <a:lnTo>
                      <a:pt x="1838" y="235"/>
                    </a:lnTo>
                    <a:lnTo>
                      <a:pt x="1838" y="233"/>
                    </a:lnTo>
                    <a:lnTo>
                      <a:pt x="1838" y="231"/>
                    </a:lnTo>
                    <a:lnTo>
                      <a:pt x="1838" y="229"/>
                    </a:lnTo>
                    <a:lnTo>
                      <a:pt x="1836" y="229"/>
                    </a:lnTo>
                    <a:lnTo>
                      <a:pt x="1836" y="227"/>
                    </a:lnTo>
                    <a:lnTo>
                      <a:pt x="1838" y="227"/>
                    </a:lnTo>
                    <a:lnTo>
                      <a:pt x="1840" y="227"/>
                    </a:lnTo>
                    <a:lnTo>
                      <a:pt x="1841" y="227"/>
                    </a:lnTo>
                    <a:lnTo>
                      <a:pt x="1841" y="229"/>
                    </a:lnTo>
                    <a:lnTo>
                      <a:pt x="1843" y="229"/>
                    </a:lnTo>
                    <a:lnTo>
                      <a:pt x="1843" y="231"/>
                    </a:lnTo>
                    <a:lnTo>
                      <a:pt x="1843" y="233"/>
                    </a:lnTo>
                    <a:lnTo>
                      <a:pt x="1843" y="235"/>
                    </a:lnTo>
                    <a:lnTo>
                      <a:pt x="1841" y="235"/>
                    </a:lnTo>
                    <a:lnTo>
                      <a:pt x="1840" y="235"/>
                    </a:lnTo>
                    <a:lnTo>
                      <a:pt x="1840" y="237"/>
                    </a:lnTo>
                    <a:lnTo>
                      <a:pt x="1838" y="237"/>
                    </a:lnTo>
                    <a:lnTo>
                      <a:pt x="1838" y="239"/>
                    </a:lnTo>
                    <a:lnTo>
                      <a:pt x="1840" y="239"/>
                    </a:lnTo>
                    <a:lnTo>
                      <a:pt x="1840" y="241"/>
                    </a:lnTo>
                    <a:lnTo>
                      <a:pt x="1841" y="241"/>
                    </a:lnTo>
                    <a:lnTo>
                      <a:pt x="1843" y="241"/>
                    </a:lnTo>
                    <a:lnTo>
                      <a:pt x="1845" y="239"/>
                    </a:lnTo>
                    <a:lnTo>
                      <a:pt x="1845" y="241"/>
                    </a:lnTo>
                    <a:lnTo>
                      <a:pt x="1845" y="239"/>
                    </a:lnTo>
                    <a:lnTo>
                      <a:pt x="1847" y="239"/>
                    </a:lnTo>
                    <a:lnTo>
                      <a:pt x="1849" y="239"/>
                    </a:lnTo>
                    <a:lnTo>
                      <a:pt x="1849" y="241"/>
                    </a:lnTo>
                    <a:lnTo>
                      <a:pt x="1847" y="241"/>
                    </a:lnTo>
                    <a:lnTo>
                      <a:pt x="1847" y="242"/>
                    </a:lnTo>
                    <a:lnTo>
                      <a:pt x="1847" y="244"/>
                    </a:lnTo>
                    <a:lnTo>
                      <a:pt x="1845" y="244"/>
                    </a:lnTo>
                    <a:lnTo>
                      <a:pt x="1845" y="246"/>
                    </a:lnTo>
                    <a:lnTo>
                      <a:pt x="1847" y="246"/>
                    </a:lnTo>
                    <a:lnTo>
                      <a:pt x="1847" y="248"/>
                    </a:lnTo>
                    <a:lnTo>
                      <a:pt x="1849" y="248"/>
                    </a:lnTo>
                    <a:lnTo>
                      <a:pt x="1851" y="248"/>
                    </a:lnTo>
                    <a:lnTo>
                      <a:pt x="1853" y="248"/>
                    </a:lnTo>
                    <a:lnTo>
                      <a:pt x="1855" y="248"/>
                    </a:lnTo>
                    <a:lnTo>
                      <a:pt x="1857" y="248"/>
                    </a:lnTo>
                    <a:lnTo>
                      <a:pt x="1857" y="246"/>
                    </a:lnTo>
                    <a:lnTo>
                      <a:pt x="1857" y="244"/>
                    </a:lnTo>
                    <a:lnTo>
                      <a:pt x="1858" y="244"/>
                    </a:lnTo>
                    <a:lnTo>
                      <a:pt x="1858" y="246"/>
                    </a:lnTo>
                    <a:lnTo>
                      <a:pt x="1858" y="248"/>
                    </a:lnTo>
                    <a:lnTo>
                      <a:pt x="1857" y="248"/>
                    </a:lnTo>
                    <a:lnTo>
                      <a:pt x="1857" y="250"/>
                    </a:lnTo>
                    <a:lnTo>
                      <a:pt x="1858" y="250"/>
                    </a:lnTo>
                    <a:lnTo>
                      <a:pt x="1860" y="248"/>
                    </a:lnTo>
                    <a:lnTo>
                      <a:pt x="1860" y="250"/>
                    </a:lnTo>
                    <a:lnTo>
                      <a:pt x="1862" y="250"/>
                    </a:lnTo>
                    <a:lnTo>
                      <a:pt x="1860" y="252"/>
                    </a:lnTo>
                    <a:lnTo>
                      <a:pt x="1860" y="254"/>
                    </a:lnTo>
                    <a:lnTo>
                      <a:pt x="1862" y="254"/>
                    </a:lnTo>
                    <a:lnTo>
                      <a:pt x="1862" y="252"/>
                    </a:lnTo>
                    <a:lnTo>
                      <a:pt x="1864" y="252"/>
                    </a:lnTo>
                    <a:lnTo>
                      <a:pt x="1864" y="250"/>
                    </a:lnTo>
                    <a:lnTo>
                      <a:pt x="1866" y="250"/>
                    </a:lnTo>
                    <a:lnTo>
                      <a:pt x="1866" y="252"/>
                    </a:lnTo>
                    <a:lnTo>
                      <a:pt x="1868" y="252"/>
                    </a:lnTo>
                    <a:lnTo>
                      <a:pt x="1870" y="252"/>
                    </a:lnTo>
                    <a:lnTo>
                      <a:pt x="1872" y="252"/>
                    </a:lnTo>
                    <a:lnTo>
                      <a:pt x="1873" y="252"/>
                    </a:lnTo>
                    <a:lnTo>
                      <a:pt x="1873" y="254"/>
                    </a:lnTo>
                    <a:lnTo>
                      <a:pt x="1875" y="254"/>
                    </a:lnTo>
                    <a:lnTo>
                      <a:pt x="1873" y="256"/>
                    </a:lnTo>
                    <a:lnTo>
                      <a:pt x="1873" y="258"/>
                    </a:lnTo>
                    <a:lnTo>
                      <a:pt x="1875" y="258"/>
                    </a:lnTo>
                    <a:lnTo>
                      <a:pt x="1877" y="258"/>
                    </a:lnTo>
                    <a:lnTo>
                      <a:pt x="1877" y="256"/>
                    </a:lnTo>
                    <a:lnTo>
                      <a:pt x="1879" y="256"/>
                    </a:lnTo>
                    <a:lnTo>
                      <a:pt x="1879" y="258"/>
                    </a:lnTo>
                    <a:lnTo>
                      <a:pt x="1879" y="259"/>
                    </a:lnTo>
                    <a:lnTo>
                      <a:pt x="1879" y="261"/>
                    </a:lnTo>
                    <a:lnTo>
                      <a:pt x="1879" y="259"/>
                    </a:lnTo>
                    <a:lnTo>
                      <a:pt x="1877" y="259"/>
                    </a:lnTo>
                    <a:lnTo>
                      <a:pt x="1875" y="259"/>
                    </a:lnTo>
                    <a:lnTo>
                      <a:pt x="1873" y="258"/>
                    </a:lnTo>
                    <a:lnTo>
                      <a:pt x="1873" y="259"/>
                    </a:lnTo>
                    <a:lnTo>
                      <a:pt x="1875" y="261"/>
                    </a:lnTo>
                    <a:lnTo>
                      <a:pt x="1875" y="263"/>
                    </a:lnTo>
                    <a:lnTo>
                      <a:pt x="1877" y="263"/>
                    </a:lnTo>
                    <a:lnTo>
                      <a:pt x="1877" y="261"/>
                    </a:lnTo>
                    <a:lnTo>
                      <a:pt x="1879" y="261"/>
                    </a:lnTo>
                    <a:lnTo>
                      <a:pt x="1881" y="263"/>
                    </a:lnTo>
                    <a:lnTo>
                      <a:pt x="1883" y="263"/>
                    </a:lnTo>
                    <a:lnTo>
                      <a:pt x="1885" y="263"/>
                    </a:lnTo>
                    <a:lnTo>
                      <a:pt x="1887" y="263"/>
                    </a:lnTo>
                    <a:lnTo>
                      <a:pt x="1887" y="265"/>
                    </a:lnTo>
                    <a:lnTo>
                      <a:pt x="1885" y="265"/>
                    </a:lnTo>
                    <a:lnTo>
                      <a:pt x="1885" y="267"/>
                    </a:lnTo>
                    <a:lnTo>
                      <a:pt x="1887" y="267"/>
                    </a:lnTo>
                    <a:lnTo>
                      <a:pt x="1887" y="269"/>
                    </a:lnTo>
                    <a:lnTo>
                      <a:pt x="1889" y="269"/>
                    </a:lnTo>
                    <a:lnTo>
                      <a:pt x="1887" y="269"/>
                    </a:lnTo>
                    <a:lnTo>
                      <a:pt x="1887" y="271"/>
                    </a:lnTo>
                    <a:lnTo>
                      <a:pt x="1889" y="269"/>
                    </a:lnTo>
                    <a:lnTo>
                      <a:pt x="1890" y="271"/>
                    </a:lnTo>
                    <a:lnTo>
                      <a:pt x="1890" y="273"/>
                    </a:lnTo>
                    <a:lnTo>
                      <a:pt x="1892" y="273"/>
                    </a:lnTo>
                    <a:lnTo>
                      <a:pt x="1892" y="274"/>
                    </a:lnTo>
                    <a:lnTo>
                      <a:pt x="1892" y="276"/>
                    </a:lnTo>
                    <a:lnTo>
                      <a:pt x="1892" y="278"/>
                    </a:lnTo>
                    <a:lnTo>
                      <a:pt x="1890" y="278"/>
                    </a:lnTo>
                    <a:lnTo>
                      <a:pt x="1890" y="280"/>
                    </a:lnTo>
                    <a:lnTo>
                      <a:pt x="1892" y="280"/>
                    </a:lnTo>
                    <a:lnTo>
                      <a:pt x="1892" y="282"/>
                    </a:lnTo>
                    <a:lnTo>
                      <a:pt x="1890" y="284"/>
                    </a:lnTo>
                    <a:lnTo>
                      <a:pt x="1890" y="286"/>
                    </a:lnTo>
                    <a:lnTo>
                      <a:pt x="1892" y="286"/>
                    </a:lnTo>
                    <a:lnTo>
                      <a:pt x="1892" y="288"/>
                    </a:lnTo>
                    <a:lnTo>
                      <a:pt x="1894" y="288"/>
                    </a:lnTo>
                    <a:lnTo>
                      <a:pt x="1894" y="290"/>
                    </a:lnTo>
                    <a:lnTo>
                      <a:pt x="1896" y="290"/>
                    </a:lnTo>
                    <a:lnTo>
                      <a:pt x="1896" y="291"/>
                    </a:lnTo>
                    <a:lnTo>
                      <a:pt x="1894" y="291"/>
                    </a:lnTo>
                    <a:lnTo>
                      <a:pt x="1894" y="293"/>
                    </a:lnTo>
                    <a:lnTo>
                      <a:pt x="1892" y="293"/>
                    </a:lnTo>
                    <a:lnTo>
                      <a:pt x="1892" y="295"/>
                    </a:lnTo>
                    <a:lnTo>
                      <a:pt x="1892" y="297"/>
                    </a:lnTo>
                    <a:lnTo>
                      <a:pt x="1892" y="299"/>
                    </a:lnTo>
                    <a:lnTo>
                      <a:pt x="1890" y="299"/>
                    </a:lnTo>
                    <a:lnTo>
                      <a:pt x="1890" y="301"/>
                    </a:lnTo>
                    <a:lnTo>
                      <a:pt x="1892" y="301"/>
                    </a:lnTo>
                    <a:lnTo>
                      <a:pt x="1890" y="303"/>
                    </a:lnTo>
                    <a:lnTo>
                      <a:pt x="1892" y="303"/>
                    </a:lnTo>
                    <a:lnTo>
                      <a:pt x="1892" y="301"/>
                    </a:lnTo>
                    <a:lnTo>
                      <a:pt x="1894" y="301"/>
                    </a:lnTo>
                    <a:lnTo>
                      <a:pt x="1894" y="303"/>
                    </a:lnTo>
                    <a:lnTo>
                      <a:pt x="1896" y="303"/>
                    </a:lnTo>
                    <a:lnTo>
                      <a:pt x="1896" y="305"/>
                    </a:lnTo>
                    <a:lnTo>
                      <a:pt x="1898" y="305"/>
                    </a:lnTo>
                    <a:lnTo>
                      <a:pt x="1900" y="305"/>
                    </a:lnTo>
                    <a:lnTo>
                      <a:pt x="1898" y="305"/>
                    </a:lnTo>
                    <a:lnTo>
                      <a:pt x="1898" y="306"/>
                    </a:lnTo>
                    <a:lnTo>
                      <a:pt x="1898" y="308"/>
                    </a:lnTo>
                    <a:lnTo>
                      <a:pt x="1898" y="310"/>
                    </a:lnTo>
                    <a:lnTo>
                      <a:pt x="1898" y="312"/>
                    </a:lnTo>
                    <a:lnTo>
                      <a:pt x="1898" y="314"/>
                    </a:lnTo>
                    <a:lnTo>
                      <a:pt x="1900" y="314"/>
                    </a:lnTo>
                    <a:lnTo>
                      <a:pt x="1900" y="316"/>
                    </a:lnTo>
                    <a:lnTo>
                      <a:pt x="1902" y="316"/>
                    </a:lnTo>
                    <a:lnTo>
                      <a:pt x="1904" y="318"/>
                    </a:lnTo>
                    <a:lnTo>
                      <a:pt x="1905" y="320"/>
                    </a:lnTo>
                    <a:lnTo>
                      <a:pt x="1905" y="322"/>
                    </a:lnTo>
                    <a:close/>
                  </a:path>
                </a:pathLst>
              </a:custGeom>
              <a:grp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33"/>
              <p:cNvSpPr>
                <a:spLocks/>
              </p:cNvSpPr>
              <p:nvPr/>
            </p:nvSpPr>
            <p:spPr bwMode="auto">
              <a:xfrm>
                <a:off x="4294188" y="2471738"/>
                <a:ext cx="2203450" cy="1862138"/>
              </a:xfrm>
              <a:custGeom>
                <a:avLst/>
                <a:gdLst>
                  <a:gd name="T0" fmla="*/ 1042 w 1388"/>
                  <a:gd name="T1" fmla="*/ 94 h 1173"/>
                  <a:gd name="T2" fmla="*/ 1072 w 1388"/>
                  <a:gd name="T3" fmla="*/ 105 h 1173"/>
                  <a:gd name="T4" fmla="*/ 1091 w 1388"/>
                  <a:gd name="T5" fmla="*/ 87 h 1173"/>
                  <a:gd name="T6" fmla="*/ 1145 w 1388"/>
                  <a:gd name="T7" fmla="*/ 107 h 1173"/>
                  <a:gd name="T8" fmla="*/ 1198 w 1388"/>
                  <a:gd name="T9" fmla="*/ 96 h 1173"/>
                  <a:gd name="T10" fmla="*/ 1224 w 1388"/>
                  <a:gd name="T11" fmla="*/ 139 h 1173"/>
                  <a:gd name="T12" fmla="*/ 1256 w 1388"/>
                  <a:gd name="T13" fmla="*/ 151 h 1173"/>
                  <a:gd name="T14" fmla="*/ 1279 w 1388"/>
                  <a:gd name="T15" fmla="*/ 166 h 1173"/>
                  <a:gd name="T16" fmla="*/ 1307 w 1388"/>
                  <a:gd name="T17" fmla="*/ 188 h 1173"/>
                  <a:gd name="T18" fmla="*/ 1335 w 1388"/>
                  <a:gd name="T19" fmla="*/ 226 h 1173"/>
                  <a:gd name="T20" fmla="*/ 1371 w 1388"/>
                  <a:gd name="T21" fmla="*/ 222 h 1173"/>
                  <a:gd name="T22" fmla="*/ 1369 w 1388"/>
                  <a:gd name="T23" fmla="*/ 279 h 1173"/>
                  <a:gd name="T24" fmla="*/ 1364 w 1388"/>
                  <a:gd name="T25" fmla="*/ 352 h 1173"/>
                  <a:gd name="T26" fmla="*/ 1270 w 1388"/>
                  <a:gd name="T27" fmla="*/ 501 h 1173"/>
                  <a:gd name="T28" fmla="*/ 1149 w 1388"/>
                  <a:gd name="T29" fmla="*/ 604 h 1173"/>
                  <a:gd name="T30" fmla="*/ 1110 w 1388"/>
                  <a:gd name="T31" fmla="*/ 559 h 1173"/>
                  <a:gd name="T32" fmla="*/ 1066 w 1388"/>
                  <a:gd name="T33" fmla="*/ 561 h 1173"/>
                  <a:gd name="T34" fmla="*/ 1025 w 1388"/>
                  <a:gd name="T35" fmla="*/ 582 h 1173"/>
                  <a:gd name="T36" fmla="*/ 980 w 1388"/>
                  <a:gd name="T37" fmla="*/ 587 h 1173"/>
                  <a:gd name="T38" fmla="*/ 952 w 1388"/>
                  <a:gd name="T39" fmla="*/ 621 h 1173"/>
                  <a:gd name="T40" fmla="*/ 910 w 1388"/>
                  <a:gd name="T41" fmla="*/ 636 h 1173"/>
                  <a:gd name="T42" fmla="*/ 873 w 1388"/>
                  <a:gd name="T43" fmla="*/ 651 h 1173"/>
                  <a:gd name="T44" fmla="*/ 841 w 1388"/>
                  <a:gd name="T45" fmla="*/ 687 h 1173"/>
                  <a:gd name="T46" fmla="*/ 822 w 1388"/>
                  <a:gd name="T47" fmla="*/ 729 h 1173"/>
                  <a:gd name="T48" fmla="*/ 788 w 1388"/>
                  <a:gd name="T49" fmla="*/ 777 h 1173"/>
                  <a:gd name="T50" fmla="*/ 756 w 1388"/>
                  <a:gd name="T51" fmla="*/ 830 h 1173"/>
                  <a:gd name="T52" fmla="*/ 698 w 1388"/>
                  <a:gd name="T53" fmla="*/ 853 h 1173"/>
                  <a:gd name="T54" fmla="*/ 734 w 1388"/>
                  <a:gd name="T55" fmla="*/ 969 h 1173"/>
                  <a:gd name="T56" fmla="*/ 771 w 1388"/>
                  <a:gd name="T57" fmla="*/ 1045 h 1173"/>
                  <a:gd name="T58" fmla="*/ 781 w 1388"/>
                  <a:gd name="T59" fmla="*/ 1084 h 1173"/>
                  <a:gd name="T60" fmla="*/ 752 w 1388"/>
                  <a:gd name="T61" fmla="*/ 1120 h 1173"/>
                  <a:gd name="T62" fmla="*/ 707 w 1388"/>
                  <a:gd name="T63" fmla="*/ 1131 h 1173"/>
                  <a:gd name="T64" fmla="*/ 664 w 1388"/>
                  <a:gd name="T65" fmla="*/ 1148 h 1173"/>
                  <a:gd name="T66" fmla="*/ 609 w 1388"/>
                  <a:gd name="T67" fmla="*/ 1165 h 1173"/>
                  <a:gd name="T68" fmla="*/ 549 w 1388"/>
                  <a:gd name="T69" fmla="*/ 1154 h 1173"/>
                  <a:gd name="T70" fmla="*/ 483 w 1388"/>
                  <a:gd name="T71" fmla="*/ 1128 h 1173"/>
                  <a:gd name="T72" fmla="*/ 429 w 1388"/>
                  <a:gd name="T73" fmla="*/ 1126 h 1173"/>
                  <a:gd name="T74" fmla="*/ 384 w 1388"/>
                  <a:gd name="T75" fmla="*/ 1154 h 1173"/>
                  <a:gd name="T76" fmla="*/ 325 w 1388"/>
                  <a:gd name="T77" fmla="*/ 1154 h 1173"/>
                  <a:gd name="T78" fmla="*/ 254 w 1388"/>
                  <a:gd name="T79" fmla="*/ 1135 h 1173"/>
                  <a:gd name="T80" fmla="*/ 196 w 1388"/>
                  <a:gd name="T81" fmla="*/ 1090 h 1173"/>
                  <a:gd name="T82" fmla="*/ 152 w 1388"/>
                  <a:gd name="T83" fmla="*/ 1034 h 1173"/>
                  <a:gd name="T84" fmla="*/ 111 w 1388"/>
                  <a:gd name="T85" fmla="*/ 968 h 1173"/>
                  <a:gd name="T86" fmla="*/ 51 w 1388"/>
                  <a:gd name="T87" fmla="*/ 922 h 1173"/>
                  <a:gd name="T88" fmla="*/ 2 w 1388"/>
                  <a:gd name="T89" fmla="*/ 862 h 1173"/>
                  <a:gd name="T90" fmla="*/ 190 w 1388"/>
                  <a:gd name="T91" fmla="*/ 382 h 1173"/>
                  <a:gd name="T92" fmla="*/ 244 w 1388"/>
                  <a:gd name="T93" fmla="*/ 324 h 1173"/>
                  <a:gd name="T94" fmla="*/ 318 w 1388"/>
                  <a:gd name="T95" fmla="*/ 284 h 1173"/>
                  <a:gd name="T96" fmla="*/ 378 w 1388"/>
                  <a:gd name="T97" fmla="*/ 258 h 1173"/>
                  <a:gd name="T98" fmla="*/ 431 w 1388"/>
                  <a:gd name="T99" fmla="*/ 307 h 1173"/>
                  <a:gd name="T100" fmla="*/ 466 w 1388"/>
                  <a:gd name="T101" fmla="*/ 248 h 1173"/>
                  <a:gd name="T102" fmla="*/ 513 w 1388"/>
                  <a:gd name="T103" fmla="*/ 207 h 1173"/>
                  <a:gd name="T104" fmla="*/ 545 w 1388"/>
                  <a:gd name="T105" fmla="*/ 184 h 1173"/>
                  <a:gd name="T106" fmla="*/ 544 w 1388"/>
                  <a:gd name="T107" fmla="*/ 134 h 1173"/>
                  <a:gd name="T108" fmla="*/ 594 w 1388"/>
                  <a:gd name="T109" fmla="*/ 98 h 1173"/>
                  <a:gd name="T110" fmla="*/ 655 w 1388"/>
                  <a:gd name="T111" fmla="*/ 83 h 1173"/>
                  <a:gd name="T112" fmla="*/ 702 w 1388"/>
                  <a:gd name="T113" fmla="*/ 75 h 1173"/>
                  <a:gd name="T114" fmla="*/ 752 w 1388"/>
                  <a:gd name="T115" fmla="*/ 60 h 1173"/>
                  <a:gd name="T116" fmla="*/ 809 w 1388"/>
                  <a:gd name="T117" fmla="*/ 47 h 1173"/>
                  <a:gd name="T118" fmla="*/ 850 w 1388"/>
                  <a:gd name="T119" fmla="*/ 28 h 1173"/>
                  <a:gd name="T120" fmla="*/ 907 w 1388"/>
                  <a:gd name="T121" fmla="*/ 11 h 1173"/>
                  <a:gd name="T122" fmla="*/ 950 w 1388"/>
                  <a:gd name="T123" fmla="*/ 43 h 1173"/>
                  <a:gd name="T124" fmla="*/ 993 w 1388"/>
                  <a:gd name="T125" fmla="*/ 71 h 1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1173">
                    <a:moveTo>
                      <a:pt x="995" y="62"/>
                    </a:moveTo>
                    <a:lnTo>
                      <a:pt x="997" y="62"/>
                    </a:lnTo>
                    <a:lnTo>
                      <a:pt x="997" y="64"/>
                    </a:lnTo>
                    <a:lnTo>
                      <a:pt x="997" y="66"/>
                    </a:lnTo>
                    <a:lnTo>
                      <a:pt x="999" y="66"/>
                    </a:lnTo>
                    <a:lnTo>
                      <a:pt x="999" y="68"/>
                    </a:lnTo>
                    <a:lnTo>
                      <a:pt x="999" y="70"/>
                    </a:lnTo>
                    <a:lnTo>
                      <a:pt x="999" y="71"/>
                    </a:lnTo>
                    <a:lnTo>
                      <a:pt x="1001" y="71"/>
                    </a:lnTo>
                    <a:lnTo>
                      <a:pt x="1001" y="70"/>
                    </a:lnTo>
                    <a:lnTo>
                      <a:pt x="1003" y="70"/>
                    </a:lnTo>
                    <a:lnTo>
                      <a:pt x="1003" y="68"/>
                    </a:lnTo>
                    <a:lnTo>
                      <a:pt x="1004" y="68"/>
                    </a:lnTo>
                    <a:lnTo>
                      <a:pt x="1004" y="70"/>
                    </a:lnTo>
                    <a:lnTo>
                      <a:pt x="1004" y="71"/>
                    </a:lnTo>
                    <a:lnTo>
                      <a:pt x="1006" y="73"/>
                    </a:lnTo>
                    <a:lnTo>
                      <a:pt x="1006" y="75"/>
                    </a:lnTo>
                    <a:lnTo>
                      <a:pt x="1010" y="77"/>
                    </a:lnTo>
                    <a:lnTo>
                      <a:pt x="1010" y="79"/>
                    </a:lnTo>
                    <a:lnTo>
                      <a:pt x="1010" y="77"/>
                    </a:lnTo>
                    <a:lnTo>
                      <a:pt x="1012" y="77"/>
                    </a:lnTo>
                    <a:lnTo>
                      <a:pt x="1012" y="75"/>
                    </a:lnTo>
                    <a:lnTo>
                      <a:pt x="1012" y="73"/>
                    </a:lnTo>
                    <a:lnTo>
                      <a:pt x="1014" y="73"/>
                    </a:lnTo>
                    <a:lnTo>
                      <a:pt x="1016" y="73"/>
                    </a:lnTo>
                    <a:lnTo>
                      <a:pt x="1018" y="73"/>
                    </a:lnTo>
                    <a:lnTo>
                      <a:pt x="1018" y="75"/>
                    </a:lnTo>
                    <a:lnTo>
                      <a:pt x="1016" y="75"/>
                    </a:lnTo>
                    <a:lnTo>
                      <a:pt x="1014" y="77"/>
                    </a:lnTo>
                    <a:lnTo>
                      <a:pt x="1014" y="79"/>
                    </a:lnTo>
                    <a:lnTo>
                      <a:pt x="1016" y="81"/>
                    </a:lnTo>
                    <a:lnTo>
                      <a:pt x="1018" y="79"/>
                    </a:lnTo>
                    <a:lnTo>
                      <a:pt x="1019" y="77"/>
                    </a:lnTo>
                    <a:lnTo>
                      <a:pt x="1021" y="75"/>
                    </a:lnTo>
                    <a:lnTo>
                      <a:pt x="1023" y="75"/>
                    </a:lnTo>
                    <a:lnTo>
                      <a:pt x="1025" y="75"/>
                    </a:lnTo>
                    <a:lnTo>
                      <a:pt x="1027" y="77"/>
                    </a:lnTo>
                    <a:lnTo>
                      <a:pt x="1029" y="77"/>
                    </a:lnTo>
                    <a:lnTo>
                      <a:pt x="1029" y="75"/>
                    </a:lnTo>
                    <a:lnTo>
                      <a:pt x="1031" y="75"/>
                    </a:lnTo>
                    <a:lnTo>
                      <a:pt x="1033" y="75"/>
                    </a:lnTo>
                    <a:lnTo>
                      <a:pt x="1034" y="75"/>
                    </a:lnTo>
                    <a:lnTo>
                      <a:pt x="1034" y="77"/>
                    </a:lnTo>
                    <a:lnTo>
                      <a:pt x="1034" y="79"/>
                    </a:lnTo>
                    <a:lnTo>
                      <a:pt x="1034" y="81"/>
                    </a:lnTo>
                    <a:lnTo>
                      <a:pt x="1036" y="81"/>
                    </a:lnTo>
                    <a:lnTo>
                      <a:pt x="1036" y="83"/>
                    </a:lnTo>
                    <a:lnTo>
                      <a:pt x="1036" y="85"/>
                    </a:lnTo>
                    <a:lnTo>
                      <a:pt x="1038" y="85"/>
                    </a:lnTo>
                    <a:lnTo>
                      <a:pt x="1038" y="87"/>
                    </a:lnTo>
                    <a:lnTo>
                      <a:pt x="1038" y="88"/>
                    </a:lnTo>
                    <a:lnTo>
                      <a:pt x="1040" y="88"/>
                    </a:lnTo>
                    <a:lnTo>
                      <a:pt x="1040" y="90"/>
                    </a:lnTo>
                    <a:lnTo>
                      <a:pt x="1042" y="92"/>
                    </a:lnTo>
                    <a:lnTo>
                      <a:pt x="1042" y="94"/>
                    </a:lnTo>
                    <a:lnTo>
                      <a:pt x="1040" y="94"/>
                    </a:lnTo>
                    <a:lnTo>
                      <a:pt x="1040" y="96"/>
                    </a:lnTo>
                    <a:lnTo>
                      <a:pt x="1038" y="96"/>
                    </a:lnTo>
                    <a:lnTo>
                      <a:pt x="1038" y="98"/>
                    </a:lnTo>
                    <a:lnTo>
                      <a:pt x="1040" y="98"/>
                    </a:lnTo>
                    <a:lnTo>
                      <a:pt x="1040" y="100"/>
                    </a:lnTo>
                    <a:lnTo>
                      <a:pt x="1040" y="98"/>
                    </a:lnTo>
                    <a:lnTo>
                      <a:pt x="1042" y="98"/>
                    </a:lnTo>
                    <a:lnTo>
                      <a:pt x="1042" y="96"/>
                    </a:lnTo>
                    <a:lnTo>
                      <a:pt x="1044" y="96"/>
                    </a:lnTo>
                    <a:lnTo>
                      <a:pt x="1044" y="94"/>
                    </a:lnTo>
                    <a:lnTo>
                      <a:pt x="1046" y="94"/>
                    </a:lnTo>
                    <a:lnTo>
                      <a:pt x="1046" y="92"/>
                    </a:lnTo>
                    <a:lnTo>
                      <a:pt x="1048" y="90"/>
                    </a:lnTo>
                    <a:lnTo>
                      <a:pt x="1048" y="88"/>
                    </a:lnTo>
                    <a:lnTo>
                      <a:pt x="1046" y="87"/>
                    </a:lnTo>
                    <a:lnTo>
                      <a:pt x="1044" y="87"/>
                    </a:lnTo>
                    <a:lnTo>
                      <a:pt x="1044" y="85"/>
                    </a:lnTo>
                    <a:lnTo>
                      <a:pt x="1046" y="85"/>
                    </a:lnTo>
                    <a:lnTo>
                      <a:pt x="1046" y="83"/>
                    </a:lnTo>
                    <a:lnTo>
                      <a:pt x="1046" y="85"/>
                    </a:lnTo>
                    <a:lnTo>
                      <a:pt x="1048" y="85"/>
                    </a:lnTo>
                    <a:lnTo>
                      <a:pt x="1050" y="87"/>
                    </a:lnTo>
                    <a:lnTo>
                      <a:pt x="1051" y="87"/>
                    </a:lnTo>
                    <a:lnTo>
                      <a:pt x="1051" y="88"/>
                    </a:lnTo>
                    <a:lnTo>
                      <a:pt x="1051" y="90"/>
                    </a:lnTo>
                    <a:lnTo>
                      <a:pt x="1053" y="90"/>
                    </a:lnTo>
                    <a:lnTo>
                      <a:pt x="1053" y="88"/>
                    </a:lnTo>
                    <a:lnTo>
                      <a:pt x="1053" y="87"/>
                    </a:lnTo>
                    <a:lnTo>
                      <a:pt x="1053" y="85"/>
                    </a:lnTo>
                    <a:lnTo>
                      <a:pt x="1053" y="83"/>
                    </a:lnTo>
                    <a:lnTo>
                      <a:pt x="1053" y="81"/>
                    </a:lnTo>
                    <a:lnTo>
                      <a:pt x="1055" y="81"/>
                    </a:lnTo>
                    <a:lnTo>
                      <a:pt x="1055" y="83"/>
                    </a:lnTo>
                    <a:lnTo>
                      <a:pt x="1055" y="85"/>
                    </a:lnTo>
                    <a:lnTo>
                      <a:pt x="1057" y="87"/>
                    </a:lnTo>
                    <a:lnTo>
                      <a:pt x="1059" y="88"/>
                    </a:lnTo>
                    <a:lnTo>
                      <a:pt x="1061" y="88"/>
                    </a:lnTo>
                    <a:lnTo>
                      <a:pt x="1061" y="90"/>
                    </a:lnTo>
                    <a:lnTo>
                      <a:pt x="1063" y="90"/>
                    </a:lnTo>
                    <a:lnTo>
                      <a:pt x="1063" y="92"/>
                    </a:lnTo>
                    <a:lnTo>
                      <a:pt x="1063" y="94"/>
                    </a:lnTo>
                    <a:lnTo>
                      <a:pt x="1063" y="96"/>
                    </a:lnTo>
                    <a:lnTo>
                      <a:pt x="1061" y="96"/>
                    </a:lnTo>
                    <a:lnTo>
                      <a:pt x="1061" y="98"/>
                    </a:lnTo>
                    <a:lnTo>
                      <a:pt x="1063" y="98"/>
                    </a:lnTo>
                    <a:lnTo>
                      <a:pt x="1065" y="98"/>
                    </a:lnTo>
                    <a:lnTo>
                      <a:pt x="1065" y="100"/>
                    </a:lnTo>
                    <a:lnTo>
                      <a:pt x="1066" y="100"/>
                    </a:lnTo>
                    <a:lnTo>
                      <a:pt x="1068" y="100"/>
                    </a:lnTo>
                    <a:lnTo>
                      <a:pt x="1068" y="102"/>
                    </a:lnTo>
                    <a:lnTo>
                      <a:pt x="1068" y="103"/>
                    </a:lnTo>
                    <a:lnTo>
                      <a:pt x="1070" y="103"/>
                    </a:lnTo>
                    <a:lnTo>
                      <a:pt x="1070" y="105"/>
                    </a:lnTo>
                    <a:lnTo>
                      <a:pt x="1072" y="105"/>
                    </a:lnTo>
                    <a:lnTo>
                      <a:pt x="1072" y="107"/>
                    </a:lnTo>
                    <a:lnTo>
                      <a:pt x="1074" y="107"/>
                    </a:lnTo>
                    <a:lnTo>
                      <a:pt x="1072" y="107"/>
                    </a:lnTo>
                    <a:lnTo>
                      <a:pt x="1072" y="109"/>
                    </a:lnTo>
                    <a:lnTo>
                      <a:pt x="1072" y="111"/>
                    </a:lnTo>
                    <a:lnTo>
                      <a:pt x="1070" y="111"/>
                    </a:lnTo>
                    <a:lnTo>
                      <a:pt x="1068" y="111"/>
                    </a:lnTo>
                    <a:lnTo>
                      <a:pt x="1068" y="113"/>
                    </a:lnTo>
                    <a:lnTo>
                      <a:pt x="1068" y="115"/>
                    </a:lnTo>
                    <a:lnTo>
                      <a:pt x="1070" y="115"/>
                    </a:lnTo>
                    <a:lnTo>
                      <a:pt x="1070" y="113"/>
                    </a:lnTo>
                    <a:lnTo>
                      <a:pt x="1072" y="113"/>
                    </a:lnTo>
                    <a:lnTo>
                      <a:pt x="1074" y="113"/>
                    </a:lnTo>
                    <a:lnTo>
                      <a:pt x="1074" y="111"/>
                    </a:lnTo>
                    <a:lnTo>
                      <a:pt x="1076" y="111"/>
                    </a:lnTo>
                    <a:lnTo>
                      <a:pt x="1076" y="109"/>
                    </a:lnTo>
                    <a:lnTo>
                      <a:pt x="1076" y="107"/>
                    </a:lnTo>
                    <a:lnTo>
                      <a:pt x="1076" y="105"/>
                    </a:lnTo>
                    <a:lnTo>
                      <a:pt x="1078" y="105"/>
                    </a:lnTo>
                    <a:lnTo>
                      <a:pt x="1080" y="105"/>
                    </a:lnTo>
                    <a:lnTo>
                      <a:pt x="1080" y="107"/>
                    </a:lnTo>
                    <a:lnTo>
                      <a:pt x="1082" y="105"/>
                    </a:lnTo>
                    <a:lnTo>
                      <a:pt x="1083" y="103"/>
                    </a:lnTo>
                    <a:lnTo>
                      <a:pt x="1083" y="102"/>
                    </a:lnTo>
                    <a:lnTo>
                      <a:pt x="1085" y="102"/>
                    </a:lnTo>
                    <a:lnTo>
                      <a:pt x="1087" y="102"/>
                    </a:lnTo>
                    <a:lnTo>
                      <a:pt x="1089" y="102"/>
                    </a:lnTo>
                    <a:lnTo>
                      <a:pt x="1089" y="100"/>
                    </a:lnTo>
                    <a:lnTo>
                      <a:pt x="1087" y="100"/>
                    </a:lnTo>
                    <a:lnTo>
                      <a:pt x="1087" y="98"/>
                    </a:lnTo>
                    <a:lnTo>
                      <a:pt x="1089" y="98"/>
                    </a:lnTo>
                    <a:lnTo>
                      <a:pt x="1091" y="98"/>
                    </a:lnTo>
                    <a:lnTo>
                      <a:pt x="1093" y="98"/>
                    </a:lnTo>
                    <a:lnTo>
                      <a:pt x="1093" y="100"/>
                    </a:lnTo>
                    <a:lnTo>
                      <a:pt x="1095" y="100"/>
                    </a:lnTo>
                    <a:lnTo>
                      <a:pt x="1097" y="102"/>
                    </a:lnTo>
                    <a:lnTo>
                      <a:pt x="1098" y="100"/>
                    </a:lnTo>
                    <a:lnTo>
                      <a:pt x="1098" y="98"/>
                    </a:lnTo>
                    <a:lnTo>
                      <a:pt x="1100" y="96"/>
                    </a:lnTo>
                    <a:lnTo>
                      <a:pt x="1100" y="94"/>
                    </a:lnTo>
                    <a:lnTo>
                      <a:pt x="1098" y="94"/>
                    </a:lnTo>
                    <a:lnTo>
                      <a:pt x="1098" y="92"/>
                    </a:lnTo>
                    <a:lnTo>
                      <a:pt x="1097" y="92"/>
                    </a:lnTo>
                    <a:lnTo>
                      <a:pt x="1095" y="92"/>
                    </a:lnTo>
                    <a:lnTo>
                      <a:pt x="1093" y="92"/>
                    </a:lnTo>
                    <a:lnTo>
                      <a:pt x="1093" y="94"/>
                    </a:lnTo>
                    <a:lnTo>
                      <a:pt x="1091" y="94"/>
                    </a:lnTo>
                    <a:lnTo>
                      <a:pt x="1091" y="96"/>
                    </a:lnTo>
                    <a:lnTo>
                      <a:pt x="1089" y="94"/>
                    </a:lnTo>
                    <a:lnTo>
                      <a:pt x="1087" y="94"/>
                    </a:lnTo>
                    <a:lnTo>
                      <a:pt x="1087" y="92"/>
                    </a:lnTo>
                    <a:lnTo>
                      <a:pt x="1089" y="92"/>
                    </a:lnTo>
                    <a:lnTo>
                      <a:pt x="1089" y="90"/>
                    </a:lnTo>
                    <a:lnTo>
                      <a:pt x="1091" y="88"/>
                    </a:lnTo>
                    <a:lnTo>
                      <a:pt x="1091" y="87"/>
                    </a:lnTo>
                    <a:lnTo>
                      <a:pt x="1093" y="87"/>
                    </a:lnTo>
                    <a:lnTo>
                      <a:pt x="1093" y="85"/>
                    </a:lnTo>
                    <a:lnTo>
                      <a:pt x="1095" y="85"/>
                    </a:lnTo>
                    <a:lnTo>
                      <a:pt x="1095" y="83"/>
                    </a:lnTo>
                    <a:lnTo>
                      <a:pt x="1097" y="83"/>
                    </a:lnTo>
                    <a:lnTo>
                      <a:pt x="1097" y="81"/>
                    </a:lnTo>
                    <a:lnTo>
                      <a:pt x="1098" y="81"/>
                    </a:lnTo>
                    <a:lnTo>
                      <a:pt x="1098" y="83"/>
                    </a:lnTo>
                    <a:lnTo>
                      <a:pt x="1100" y="83"/>
                    </a:lnTo>
                    <a:lnTo>
                      <a:pt x="1100" y="85"/>
                    </a:lnTo>
                    <a:lnTo>
                      <a:pt x="1100" y="83"/>
                    </a:lnTo>
                    <a:lnTo>
                      <a:pt x="1102" y="85"/>
                    </a:lnTo>
                    <a:lnTo>
                      <a:pt x="1104" y="85"/>
                    </a:lnTo>
                    <a:lnTo>
                      <a:pt x="1104" y="87"/>
                    </a:lnTo>
                    <a:lnTo>
                      <a:pt x="1106" y="87"/>
                    </a:lnTo>
                    <a:lnTo>
                      <a:pt x="1106" y="88"/>
                    </a:lnTo>
                    <a:lnTo>
                      <a:pt x="1108" y="88"/>
                    </a:lnTo>
                    <a:lnTo>
                      <a:pt x="1110" y="88"/>
                    </a:lnTo>
                    <a:lnTo>
                      <a:pt x="1112" y="88"/>
                    </a:lnTo>
                    <a:lnTo>
                      <a:pt x="1112" y="87"/>
                    </a:lnTo>
                    <a:lnTo>
                      <a:pt x="1113" y="87"/>
                    </a:lnTo>
                    <a:lnTo>
                      <a:pt x="1115" y="87"/>
                    </a:lnTo>
                    <a:lnTo>
                      <a:pt x="1115" y="88"/>
                    </a:lnTo>
                    <a:lnTo>
                      <a:pt x="1115" y="90"/>
                    </a:lnTo>
                    <a:lnTo>
                      <a:pt x="1117" y="90"/>
                    </a:lnTo>
                    <a:lnTo>
                      <a:pt x="1119" y="90"/>
                    </a:lnTo>
                    <a:lnTo>
                      <a:pt x="1119" y="92"/>
                    </a:lnTo>
                    <a:lnTo>
                      <a:pt x="1119" y="94"/>
                    </a:lnTo>
                    <a:lnTo>
                      <a:pt x="1121" y="94"/>
                    </a:lnTo>
                    <a:lnTo>
                      <a:pt x="1121" y="96"/>
                    </a:lnTo>
                    <a:lnTo>
                      <a:pt x="1123" y="96"/>
                    </a:lnTo>
                    <a:lnTo>
                      <a:pt x="1125" y="96"/>
                    </a:lnTo>
                    <a:lnTo>
                      <a:pt x="1125" y="94"/>
                    </a:lnTo>
                    <a:lnTo>
                      <a:pt x="1127" y="94"/>
                    </a:lnTo>
                    <a:lnTo>
                      <a:pt x="1127" y="96"/>
                    </a:lnTo>
                    <a:lnTo>
                      <a:pt x="1129" y="96"/>
                    </a:lnTo>
                    <a:lnTo>
                      <a:pt x="1130" y="96"/>
                    </a:lnTo>
                    <a:lnTo>
                      <a:pt x="1130" y="98"/>
                    </a:lnTo>
                    <a:lnTo>
                      <a:pt x="1130" y="100"/>
                    </a:lnTo>
                    <a:lnTo>
                      <a:pt x="1130" y="102"/>
                    </a:lnTo>
                    <a:lnTo>
                      <a:pt x="1132" y="102"/>
                    </a:lnTo>
                    <a:lnTo>
                      <a:pt x="1134" y="102"/>
                    </a:lnTo>
                    <a:lnTo>
                      <a:pt x="1136" y="103"/>
                    </a:lnTo>
                    <a:lnTo>
                      <a:pt x="1136" y="102"/>
                    </a:lnTo>
                    <a:lnTo>
                      <a:pt x="1138" y="100"/>
                    </a:lnTo>
                    <a:lnTo>
                      <a:pt x="1138" y="98"/>
                    </a:lnTo>
                    <a:lnTo>
                      <a:pt x="1140" y="100"/>
                    </a:lnTo>
                    <a:lnTo>
                      <a:pt x="1140" y="102"/>
                    </a:lnTo>
                    <a:lnTo>
                      <a:pt x="1140" y="103"/>
                    </a:lnTo>
                    <a:lnTo>
                      <a:pt x="1140" y="105"/>
                    </a:lnTo>
                    <a:lnTo>
                      <a:pt x="1140" y="107"/>
                    </a:lnTo>
                    <a:lnTo>
                      <a:pt x="1142" y="107"/>
                    </a:lnTo>
                    <a:lnTo>
                      <a:pt x="1142" y="105"/>
                    </a:lnTo>
                    <a:lnTo>
                      <a:pt x="1144" y="105"/>
                    </a:lnTo>
                    <a:lnTo>
                      <a:pt x="1145" y="107"/>
                    </a:lnTo>
                    <a:lnTo>
                      <a:pt x="1147" y="107"/>
                    </a:lnTo>
                    <a:lnTo>
                      <a:pt x="1147" y="105"/>
                    </a:lnTo>
                    <a:lnTo>
                      <a:pt x="1149" y="105"/>
                    </a:lnTo>
                    <a:lnTo>
                      <a:pt x="1149" y="103"/>
                    </a:lnTo>
                    <a:lnTo>
                      <a:pt x="1151" y="103"/>
                    </a:lnTo>
                    <a:lnTo>
                      <a:pt x="1151" y="102"/>
                    </a:lnTo>
                    <a:lnTo>
                      <a:pt x="1153" y="103"/>
                    </a:lnTo>
                    <a:lnTo>
                      <a:pt x="1155" y="103"/>
                    </a:lnTo>
                    <a:lnTo>
                      <a:pt x="1155" y="105"/>
                    </a:lnTo>
                    <a:lnTo>
                      <a:pt x="1157" y="107"/>
                    </a:lnTo>
                    <a:lnTo>
                      <a:pt x="1157" y="109"/>
                    </a:lnTo>
                    <a:lnTo>
                      <a:pt x="1157" y="111"/>
                    </a:lnTo>
                    <a:lnTo>
                      <a:pt x="1159" y="111"/>
                    </a:lnTo>
                    <a:lnTo>
                      <a:pt x="1159" y="113"/>
                    </a:lnTo>
                    <a:lnTo>
                      <a:pt x="1161" y="113"/>
                    </a:lnTo>
                    <a:lnTo>
                      <a:pt x="1161" y="111"/>
                    </a:lnTo>
                    <a:lnTo>
                      <a:pt x="1162" y="111"/>
                    </a:lnTo>
                    <a:lnTo>
                      <a:pt x="1162" y="109"/>
                    </a:lnTo>
                    <a:lnTo>
                      <a:pt x="1162" y="107"/>
                    </a:lnTo>
                    <a:lnTo>
                      <a:pt x="1162" y="105"/>
                    </a:lnTo>
                    <a:lnTo>
                      <a:pt x="1162" y="103"/>
                    </a:lnTo>
                    <a:lnTo>
                      <a:pt x="1161" y="103"/>
                    </a:lnTo>
                    <a:lnTo>
                      <a:pt x="1159" y="102"/>
                    </a:lnTo>
                    <a:lnTo>
                      <a:pt x="1161" y="102"/>
                    </a:lnTo>
                    <a:lnTo>
                      <a:pt x="1161" y="100"/>
                    </a:lnTo>
                    <a:lnTo>
                      <a:pt x="1162" y="100"/>
                    </a:lnTo>
                    <a:lnTo>
                      <a:pt x="1164" y="102"/>
                    </a:lnTo>
                    <a:lnTo>
                      <a:pt x="1166" y="100"/>
                    </a:lnTo>
                    <a:lnTo>
                      <a:pt x="1168" y="98"/>
                    </a:lnTo>
                    <a:lnTo>
                      <a:pt x="1170" y="100"/>
                    </a:lnTo>
                    <a:lnTo>
                      <a:pt x="1172" y="100"/>
                    </a:lnTo>
                    <a:lnTo>
                      <a:pt x="1174" y="100"/>
                    </a:lnTo>
                    <a:lnTo>
                      <a:pt x="1176" y="98"/>
                    </a:lnTo>
                    <a:lnTo>
                      <a:pt x="1177" y="98"/>
                    </a:lnTo>
                    <a:lnTo>
                      <a:pt x="1177" y="96"/>
                    </a:lnTo>
                    <a:lnTo>
                      <a:pt x="1177" y="94"/>
                    </a:lnTo>
                    <a:lnTo>
                      <a:pt x="1179" y="94"/>
                    </a:lnTo>
                    <a:lnTo>
                      <a:pt x="1179" y="92"/>
                    </a:lnTo>
                    <a:lnTo>
                      <a:pt x="1181" y="92"/>
                    </a:lnTo>
                    <a:lnTo>
                      <a:pt x="1181" y="94"/>
                    </a:lnTo>
                    <a:lnTo>
                      <a:pt x="1183" y="94"/>
                    </a:lnTo>
                    <a:lnTo>
                      <a:pt x="1185" y="96"/>
                    </a:lnTo>
                    <a:lnTo>
                      <a:pt x="1187" y="96"/>
                    </a:lnTo>
                    <a:lnTo>
                      <a:pt x="1189" y="96"/>
                    </a:lnTo>
                    <a:lnTo>
                      <a:pt x="1191" y="96"/>
                    </a:lnTo>
                    <a:lnTo>
                      <a:pt x="1191" y="98"/>
                    </a:lnTo>
                    <a:lnTo>
                      <a:pt x="1192" y="98"/>
                    </a:lnTo>
                    <a:lnTo>
                      <a:pt x="1194" y="100"/>
                    </a:lnTo>
                    <a:lnTo>
                      <a:pt x="1194" y="102"/>
                    </a:lnTo>
                    <a:lnTo>
                      <a:pt x="1196" y="102"/>
                    </a:lnTo>
                    <a:lnTo>
                      <a:pt x="1196" y="103"/>
                    </a:lnTo>
                    <a:lnTo>
                      <a:pt x="1198" y="102"/>
                    </a:lnTo>
                    <a:lnTo>
                      <a:pt x="1198" y="100"/>
                    </a:lnTo>
                    <a:lnTo>
                      <a:pt x="1198" y="98"/>
                    </a:lnTo>
                    <a:lnTo>
                      <a:pt x="1198" y="96"/>
                    </a:lnTo>
                    <a:lnTo>
                      <a:pt x="1200" y="96"/>
                    </a:lnTo>
                    <a:lnTo>
                      <a:pt x="1202" y="96"/>
                    </a:lnTo>
                    <a:lnTo>
                      <a:pt x="1202" y="98"/>
                    </a:lnTo>
                    <a:lnTo>
                      <a:pt x="1204" y="98"/>
                    </a:lnTo>
                    <a:lnTo>
                      <a:pt x="1204" y="100"/>
                    </a:lnTo>
                    <a:lnTo>
                      <a:pt x="1204" y="102"/>
                    </a:lnTo>
                    <a:lnTo>
                      <a:pt x="1202" y="102"/>
                    </a:lnTo>
                    <a:lnTo>
                      <a:pt x="1202" y="103"/>
                    </a:lnTo>
                    <a:lnTo>
                      <a:pt x="1202" y="105"/>
                    </a:lnTo>
                    <a:lnTo>
                      <a:pt x="1204" y="105"/>
                    </a:lnTo>
                    <a:lnTo>
                      <a:pt x="1204" y="107"/>
                    </a:lnTo>
                    <a:lnTo>
                      <a:pt x="1204" y="109"/>
                    </a:lnTo>
                    <a:lnTo>
                      <a:pt x="1206" y="111"/>
                    </a:lnTo>
                    <a:lnTo>
                      <a:pt x="1206" y="113"/>
                    </a:lnTo>
                    <a:lnTo>
                      <a:pt x="1208" y="113"/>
                    </a:lnTo>
                    <a:lnTo>
                      <a:pt x="1206" y="113"/>
                    </a:lnTo>
                    <a:lnTo>
                      <a:pt x="1206" y="115"/>
                    </a:lnTo>
                    <a:lnTo>
                      <a:pt x="1206" y="113"/>
                    </a:lnTo>
                    <a:lnTo>
                      <a:pt x="1204" y="115"/>
                    </a:lnTo>
                    <a:lnTo>
                      <a:pt x="1204" y="117"/>
                    </a:lnTo>
                    <a:lnTo>
                      <a:pt x="1204" y="119"/>
                    </a:lnTo>
                    <a:lnTo>
                      <a:pt x="1202" y="119"/>
                    </a:lnTo>
                    <a:lnTo>
                      <a:pt x="1204" y="119"/>
                    </a:lnTo>
                    <a:lnTo>
                      <a:pt x="1204" y="120"/>
                    </a:lnTo>
                    <a:lnTo>
                      <a:pt x="1204" y="119"/>
                    </a:lnTo>
                    <a:lnTo>
                      <a:pt x="1206" y="119"/>
                    </a:lnTo>
                    <a:lnTo>
                      <a:pt x="1206" y="120"/>
                    </a:lnTo>
                    <a:lnTo>
                      <a:pt x="1208" y="120"/>
                    </a:lnTo>
                    <a:lnTo>
                      <a:pt x="1208" y="122"/>
                    </a:lnTo>
                    <a:lnTo>
                      <a:pt x="1208" y="120"/>
                    </a:lnTo>
                    <a:lnTo>
                      <a:pt x="1208" y="122"/>
                    </a:lnTo>
                    <a:lnTo>
                      <a:pt x="1209" y="124"/>
                    </a:lnTo>
                    <a:lnTo>
                      <a:pt x="1209" y="126"/>
                    </a:lnTo>
                    <a:lnTo>
                      <a:pt x="1211" y="128"/>
                    </a:lnTo>
                    <a:lnTo>
                      <a:pt x="1209" y="128"/>
                    </a:lnTo>
                    <a:lnTo>
                      <a:pt x="1211" y="128"/>
                    </a:lnTo>
                    <a:lnTo>
                      <a:pt x="1211" y="130"/>
                    </a:lnTo>
                    <a:lnTo>
                      <a:pt x="1213" y="130"/>
                    </a:lnTo>
                    <a:lnTo>
                      <a:pt x="1213" y="132"/>
                    </a:lnTo>
                    <a:lnTo>
                      <a:pt x="1215" y="132"/>
                    </a:lnTo>
                    <a:lnTo>
                      <a:pt x="1215" y="134"/>
                    </a:lnTo>
                    <a:lnTo>
                      <a:pt x="1213" y="134"/>
                    </a:lnTo>
                    <a:lnTo>
                      <a:pt x="1215" y="136"/>
                    </a:lnTo>
                    <a:lnTo>
                      <a:pt x="1217" y="137"/>
                    </a:lnTo>
                    <a:lnTo>
                      <a:pt x="1217" y="139"/>
                    </a:lnTo>
                    <a:lnTo>
                      <a:pt x="1217" y="141"/>
                    </a:lnTo>
                    <a:lnTo>
                      <a:pt x="1217" y="143"/>
                    </a:lnTo>
                    <a:lnTo>
                      <a:pt x="1217" y="145"/>
                    </a:lnTo>
                    <a:lnTo>
                      <a:pt x="1219" y="145"/>
                    </a:lnTo>
                    <a:lnTo>
                      <a:pt x="1219" y="143"/>
                    </a:lnTo>
                    <a:lnTo>
                      <a:pt x="1221" y="143"/>
                    </a:lnTo>
                    <a:lnTo>
                      <a:pt x="1221" y="141"/>
                    </a:lnTo>
                    <a:lnTo>
                      <a:pt x="1223" y="141"/>
                    </a:lnTo>
                    <a:lnTo>
                      <a:pt x="1223" y="139"/>
                    </a:lnTo>
                    <a:lnTo>
                      <a:pt x="1224" y="139"/>
                    </a:lnTo>
                    <a:lnTo>
                      <a:pt x="1226" y="139"/>
                    </a:lnTo>
                    <a:lnTo>
                      <a:pt x="1226" y="137"/>
                    </a:lnTo>
                    <a:lnTo>
                      <a:pt x="1226" y="139"/>
                    </a:lnTo>
                    <a:lnTo>
                      <a:pt x="1226" y="137"/>
                    </a:lnTo>
                    <a:lnTo>
                      <a:pt x="1228" y="137"/>
                    </a:lnTo>
                    <a:lnTo>
                      <a:pt x="1228" y="136"/>
                    </a:lnTo>
                    <a:lnTo>
                      <a:pt x="1230" y="136"/>
                    </a:lnTo>
                    <a:lnTo>
                      <a:pt x="1232" y="136"/>
                    </a:lnTo>
                    <a:lnTo>
                      <a:pt x="1232" y="137"/>
                    </a:lnTo>
                    <a:lnTo>
                      <a:pt x="1234" y="137"/>
                    </a:lnTo>
                    <a:lnTo>
                      <a:pt x="1236" y="137"/>
                    </a:lnTo>
                    <a:lnTo>
                      <a:pt x="1236" y="136"/>
                    </a:lnTo>
                    <a:lnTo>
                      <a:pt x="1238" y="136"/>
                    </a:lnTo>
                    <a:lnTo>
                      <a:pt x="1236" y="136"/>
                    </a:lnTo>
                    <a:lnTo>
                      <a:pt x="1238" y="136"/>
                    </a:lnTo>
                    <a:lnTo>
                      <a:pt x="1238" y="134"/>
                    </a:lnTo>
                    <a:lnTo>
                      <a:pt x="1238" y="136"/>
                    </a:lnTo>
                    <a:lnTo>
                      <a:pt x="1240" y="136"/>
                    </a:lnTo>
                    <a:lnTo>
                      <a:pt x="1240" y="137"/>
                    </a:lnTo>
                    <a:lnTo>
                      <a:pt x="1241" y="136"/>
                    </a:lnTo>
                    <a:lnTo>
                      <a:pt x="1241" y="137"/>
                    </a:lnTo>
                    <a:lnTo>
                      <a:pt x="1243" y="137"/>
                    </a:lnTo>
                    <a:lnTo>
                      <a:pt x="1245" y="137"/>
                    </a:lnTo>
                    <a:lnTo>
                      <a:pt x="1247" y="137"/>
                    </a:lnTo>
                    <a:lnTo>
                      <a:pt x="1245" y="137"/>
                    </a:lnTo>
                    <a:lnTo>
                      <a:pt x="1247" y="137"/>
                    </a:lnTo>
                    <a:lnTo>
                      <a:pt x="1247" y="139"/>
                    </a:lnTo>
                    <a:lnTo>
                      <a:pt x="1245" y="139"/>
                    </a:lnTo>
                    <a:lnTo>
                      <a:pt x="1247" y="139"/>
                    </a:lnTo>
                    <a:lnTo>
                      <a:pt x="1247" y="141"/>
                    </a:lnTo>
                    <a:lnTo>
                      <a:pt x="1247" y="143"/>
                    </a:lnTo>
                    <a:lnTo>
                      <a:pt x="1249" y="145"/>
                    </a:lnTo>
                    <a:lnTo>
                      <a:pt x="1249" y="147"/>
                    </a:lnTo>
                    <a:lnTo>
                      <a:pt x="1247" y="147"/>
                    </a:lnTo>
                    <a:lnTo>
                      <a:pt x="1249" y="147"/>
                    </a:lnTo>
                    <a:lnTo>
                      <a:pt x="1249" y="149"/>
                    </a:lnTo>
                    <a:lnTo>
                      <a:pt x="1249" y="147"/>
                    </a:lnTo>
                    <a:lnTo>
                      <a:pt x="1251" y="147"/>
                    </a:lnTo>
                    <a:lnTo>
                      <a:pt x="1251" y="149"/>
                    </a:lnTo>
                    <a:lnTo>
                      <a:pt x="1249" y="149"/>
                    </a:lnTo>
                    <a:lnTo>
                      <a:pt x="1251" y="149"/>
                    </a:lnTo>
                    <a:lnTo>
                      <a:pt x="1251" y="151"/>
                    </a:lnTo>
                    <a:lnTo>
                      <a:pt x="1253" y="151"/>
                    </a:lnTo>
                    <a:lnTo>
                      <a:pt x="1253" y="149"/>
                    </a:lnTo>
                    <a:lnTo>
                      <a:pt x="1253" y="151"/>
                    </a:lnTo>
                    <a:lnTo>
                      <a:pt x="1255" y="151"/>
                    </a:lnTo>
                    <a:lnTo>
                      <a:pt x="1253" y="151"/>
                    </a:lnTo>
                    <a:lnTo>
                      <a:pt x="1253" y="149"/>
                    </a:lnTo>
                    <a:lnTo>
                      <a:pt x="1255" y="149"/>
                    </a:lnTo>
                    <a:lnTo>
                      <a:pt x="1255" y="147"/>
                    </a:lnTo>
                    <a:lnTo>
                      <a:pt x="1255" y="149"/>
                    </a:lnTo>
                    <a:lnTo>
                      <a:pt x="1255" y="147"/>
                    </a:lnTo>
                    <a:lnTo>
                      <a:pt x="1255" y="149"/>
                    </a:lnTo>
                    <a:lnTo>
                      <a:pt x="1256" y="149"/>
                    </a:lnTo>
                    <a:lnTo>
                      <a:pt x="1256" y="151"/>
                    </a:lnTo>
                    <a:lnTo>
                      <a:pt x="1256" y="149"/>
                    </a:lnTo>
                    <a:lnTo>
                      <a:pt x="1256" y="151"/>
                    </a:lnTo>
                    <a:lnTo>
                      <a:pt x="1256" y="152"/>
                    </a:lnTo>
                    <a:lnTo>
                      <a:pt x="1256" y="151"/>
                    </a:lnTo>
                    <a:lnTo>
                      <a:pt x="1256" y="152"/>
                    </a:lnTo>
                    <a:lnTo>
                      <a:pt x="1258" y="151"/>
                    </a:lnTo>
                    <a:lnTo>
                      <a:pt x="1260" y="151"/>
                    </a:lnTo>
                    <a:lnTo>
                      <a:pt x="1260" y="152"/>
                    </a:lnTo>
                    <a:lnTo>
                      <a:pt x="1260" y="151"/>
                    </a:lnTo>
                    <a:lnTo>
                      <a:pt x="1262" y="151"/>
                    </a:lnTo>
                    <a:lnTo>
                      <a:pt x="1260" y="151"/>
                    </a:lnTo>
                    <a:lnTo>
                      <a:pt x="1262" y="151"/>
                    </a:lnTo>
                    <a:lnTo>
                      <a:pt x="1262" y="152"/>
                    </a:lnTo>
                    <a:lnTo>
                      <a:pt x="1264" y="152"/>
                    </a:lnTo>
                    <a:lnTo>
                      <a:pt x="1264" y="154"/>
                    </a:lnTo>
                    <a:lnTo>
                      <a:pt x="1266" y="156"/>
                    </a:lnTo>
                    <a:lnTo>
                      <a:pt x="1264" y="156"/>
                    </a:lnTo>
                    <a:lnTo>
                      <a:pt x="1266" y="156"/>
                    </a:lnTo>
                    <a:lnTo>
                      <a:pt x="1268" y="158"/>
                    </a:lnTo>
                    <a:lnTo>
                      <a:pt x="1268" y="156"/>
                    </a:lnTo>
                    <a:lnTo>
                      <a:pt x="1270" y="156"/>
                    </a:lnTo>
                    <a:lnTo>
                      <a:pt x="1270" y="154"/>
                    </a:lnTo>
                    <a:lnTo>
                      <a:pt x="1271" y="154"/>
                    </a:lnTo>
                    <a:lnTo>
                      <a:pt x="1273" y="154"/>
                    </a:lnTo>
                    <a:lnTo>
                      <a:pt x="1273" y="156"/>
                    </a:lnTo>
                    <a:lnTo>
                      <a:pt x="1273" y="158"/>
                    </a:lnTo>
                    <a:lnTo>
                      <a:pt x="1273" y="156"/>
                    </a:lnTo>
                    <a:lnTo>
                      <a:pt x="1273" y="158"/>
                    </a:lnTo>
                    <a:lnTo>
                      <a:pt x="1273" y="160"/>
                    </a:lnTo>
                    <a:lnTo>
                      <a:pt x="1275" y="160"/>
                    </a:lnTo>
                    <a:lnTo>
                      <a:pt x="1273" y="160"/>
                    </a:lnTo>
                    <a:lnTo>
                      <a:pt x="1273" y="158"/>
                    </a:lnTo>
                    <a:lnTo>
                      <a:pt x="1273" y="160"/>
                    </a:lnTo>
                    <a:lnTo>
                      <a:pt x="1273" y="162"/>
                    </a:lnTo>
                    <a:lnTo>
                      <a:pt x="1275" y="162"/>
                    </a:lnTo>
                    <a:lnTo>
                      <a:pt x="1273" y="162"/>
                    </a:lnTo>
                    <a:lnTo>
                      <a:pt x="1273" y="164"/>
                    </a:lnTo>
                    <a:lnTo>
                      <a:pt x="1273" y="166"/>
                    </a:lnTo>
                    <a:lnTo>
                      <a:pt x="1271" y="166"/>
                    </a:lnTo>
                    <a:lnTo>
                      <a:pt x="1271" y="168"/>
                    </a:lnTo>
                    <a:lnTo>
                      <a:pt x="1271" y="169"/>
                    </a:lnTo>
                    <a:lnTo>
                      <a:pt x="1273" y="169"/>
                    </a:lnTo>
                    <a:lnTo>
                      <a:pt x="1273" y="171"/>
                    </a:lnTo>
                    <a:lnTo>
                      <a:pt x="1275" y="171"/>
                    </a:lnTo>
                    <a:lnTo>
                      <a:pt x="1275" y="169"/>
                    </a:lnTo>
                    <a:lnTo>
                      <a:pt x="1275" y="168"/>
                    </a:lnTo>
                    <a:lnTo>
                      <a:pt x="1275" y="166"/>
                    </a:lnTo>
                    <a:lnTo>
                      <a:pt x="1277" y="166"/>
                    </a:lnTo>
                    <a:lnTo>
                      <a:pt x="1277" y="168"/>
                    </a:lnTo>
                    <a:lnTo>
                      <a:pt x="1277" y="166"/>
                    </a:lnTo>
                    <a:lnTo>
                      <a:pt x="1277" y="168"/>
                    </a:lnTo>
                    <a:lnTo>
                      <a:pt x="1279" y="168"/>
                    </a:lnTo>
                    <a:lnTo>
                      <a:pt x="1279" y="166"/>
                    </a:lnTo>
                    <a:lnTo>
                      <a:pt x="1279" y="168"/>
                    </a:lnTo>
                    <a:lnTo>
                      <a:pt x="1279" y="166"/>
                    </a:lnTo>
                    <a:lnTo>
                      <a:pt x="1281" y="166"/>
                    </a:lnTo>
                    <a:lnTo>
                      <a:pt x="1281" y="168"/>
                    </a:lnTo>
                    <a:lnTo>
                      <a:pt x="1283" y="168"/>
                    </a:lnTo>
                    <a:lnTo>
                      <a:pt x="1285" y="168"/>
                    </a:lnTo>
                    <a:lnTo>
                      <a:pt x="1285" y="166"/>
                    </a:lnTo>
                    <a:lnTo>
                      <a:pt x="1287" y="166"/>
                    </a:lnTo>
                    <a:lnTo>
                      <a:pt x="1287" y="168"/>
                    </a:lnTo>
                    <a:lnTo>
                      <a:pt x="1287" y="166"/>
                    </a:lnTo>
                    <a:lnTo>
                      <a:pt x="1287" y="168"/>
                    </a:lnTo>
                    <a:lnTo>
                      <a:pt x="1288" y="168"/>
                    </a:lnTo>
                    <a:lnTo>
                      <a:pt x="1288" y="166"/>
                    </a:lnTo>
                    <a:lnTo>
                      <a:pt x="1287" y="166"/>
                    </a:lnTo>
                    <a:lnTo>
                      <a:pt x="1288" y="166"/>
                    </a:lnTo>
                    <a:lnTo>
                      <a:pt x="1290" y="166"/>
                    </a:lnTo>
                    <a:lnTo>
                      <a:pt x="1290" y="168"/>
                    </a:lnTo>
                    <a:lnTo>
                      <a:pt x="1292" y="168"/>
                    </a:lnTo>
                    <a:lnTo>
                      <a:pt x="1294" y="168"/>
                    </a:lnTo>
                    <a:lnTo>
                      <a:pt x="1296" y="168"/>
                    </a:lnTo>
                    <a:lnTo>
                      <a:pt x="1296" y="169"/>
                    </a:lnTo>
                    <a:lnTo>
                      <a:pt x="1296" y="168"/>
                    </a:lnTo>
                    <a:lnTo>
                      <a:pt x="1296" y="169"/>
                    </a:lnTo>
                    <a:lnTo>
                      <a:pt x="1298" y="169"/>
                    </a:lnTo>
                    <a:lnTo>
                      <a:pt x="1296" y="168"/>
                    </a:lnTo>
                    <a:lnTo>
                      <a:pt x="1298" y="168"/>
                    </a:lnTo>
                    <a:lnTo>
                      <a:pt x="1298" y="169"/>
                    </a:lnTo>
                    <a:lnTo>
                      <a:pt x="1298" y="171"/>
                    </a:lnTo>
                    <a:lnTo>
                      <a:pt x="1300" y="171"/>
                    </a:lnTo>
                    <a:lnTo>
                      <a:pt x="1300" y="169"/>
                    </a:lnTo>
                    <a:lnTo>
                      <a:pt x="1300" y="171"/>
                    </a:lnTo>
                    <a:lnTo>
                      <a:pt x="1300" y="169"/>
                    </a:lnTo>
                    <a:lnTo>
                      <a:pt x="1300" y="171"/>
                    </a:lnTo>
                    <a:lnTo>
                      <a:pt x="1302" y="171"/>
                    </a:lnTo>
                    <a:lnTo>
                      <a:pt x="1302" y="173"/>
                    </a:lnTo>
                    <a:lnTo>
                      <a:pt x="1303" y="173"/>
                    </a:lnTo>
                    <a:lnTo>
                      <a:pt x="1302" y="173"/>
                    </a:lnTo>
                    <a:lnTo>
                      <a:pt x="1303" y="175"/>
                    </a:lnTo>
                    <a:lnTo>
                      <a:pt x="1303" y="173"/>
                    </a:lnTo>
                    <a:lnTo>
                      <a:pt x="1303" y="175"/>
                    </a:lnTo>
                    <a:lnTo>
                      <a:pt x="1303" y="177"/>
                    </a:lnTo>
                    <a:lnTo>
                      <a:pt x="1305" y="177"/>
                    </a:lnTo>
                    <a:lnTo>
                      <a:pt x="1305" y="175"/>
                    </a:lnTo>
                    <a:lnTo>
                      <a:pt x="1305" y="177"/>
                    </a:lnTo>
                    <a:lnTo>
                      <a:pt x="1307" y="177"/>
                    </a:lnTo>
                    <a:lnTo>
                      <a:pt x="1307" y="179"/>
                    </a:lnTo>
                    <a:lnTo>
                      <a:pt x="1307" y="181"/>
                    </a:lnTo>
                    <a:lnTo>
                      <a:pt x="1307" y="183"/>
                    </a:lnTo>
                    <a:lnTo>
                      <a:pt x="1309" y="183"/>
                    </a:lnTo>
                    <a:lnTo>
                      <a:pt x="1307" y="183"/>
                    </a:lnTo>
                    <a:lnTo>
                      <a:pt x="1309" y="183"/>
                    </a:lnTo>
                    <a:lnTo>
                      <a:pt x="1309" y="184"/>
                    </a:lnTo>
                    <a:lnTo>
                      <a:pt x="1307" y="184"/>
                    </a:lnTo>
                    <a:lnTo>
                      <a:pt x="1307" y="186"/>
                    </a:lnTo>
                    <a:lnTo>
                      <a:pt x="1309" y="186"/>
                    </a:lnTo>
                    <a:lnTo>
                      <a:pt x="1309" y="188"/>
                    </a:lnTo>
                    <a:lnTo>
                      <a:pt x="1307" y="188"/>
                    </a:lnTo>
                    <a:lnTo>
                      <a:pt x="1309" y="190"/>
                    </a:lnTo>
                    <a:lnTo>
                      <a:pt x="1311" y="190"/>
                    </a:lnTo>
                    <a:lnTo>
                      <a:pt x="1313" y="188"/>
                    </a:lnTo>
                    <a:lnTo>
                      <a:pt x="1313" y="190"/>
                    </a:lnTo>
                    <a:lnTo>
                      <a:pt x="1313" y="192"/>
                    </a:lnTo>
                    <a:lnTo>
                      <a:pt x="1311" y="192"/>
                    </a:lnTo>
                    <a:lnTo>
                      <a:pt x="1311" y="194"/>
                    </a:lnTo>
                    <a:lnTo>
                      <a:pt x="1313" y="194"/>
                    </a:lnTo>
                    <a:lnTo>
                      <a:pt x="1313" y="192"/>
                    </a:lnTo>
                    <a:lnTo>
                      <a:pt x="1313" y="194"/>
                    </a:lnTo>
                    <a:lnTo>
                      <a:pt x="1311" y="196"/>
                    </a:lnTo>
                    <a:lnTo>
                      <a:pt x="1313" y="196"/>
                    </a:lnTo>
                    <a:lnTo>
                      <a:pt x="1311" y="198"/>
                    </a:lnTo>
                    <a:lnTo>
                      <a:pt x="1311" y="200"/>
                    </a:lnTo>
                    <a:lnTo>
                      <a:pt x="1313" y="200"/>
                    </a:lnTo>
                    <a:lnTo>
                      <a:pt x="1315" y="200"/>
                    </a:lnTo>
                    <a:lnTo>
                      <a:pt x="1315" y="198"/>
                    </a:lnTo>
                    <a:lnTo>
                      <a:pt x="1317" y="198"/>
                    </a:lnTo>
                    <a:lnTo>
                      <a:pt x="1317" y="200"/>
                    </a:lnTo>
                    <a:lnTo>
                      <a:pt x="1319" y="200"/>
                    </a:lnTo>
                    <a:lnTo>
                      <a:pt x="1319" y="201"/>
                    </a:lnTo>
                    <a:lnTo>
                      <a:pt x="1319" y="203"/>
                    </a:lnTo>
                    <a:lnTo>
                      <a:pt x="1319" y="205"/>
                    </a:lnTo>
                    <a:lnTo>
                      <a:pt x="1320" y="205"/>
                    </a:lnTo>
                    <a:lnTo>
                      <a:pt x="1322" y="205"/>
                    </a:lnTo>
                    <a:lnTo>
                      <a:pt x="1320" y="205"/>
                    </a:lnTo>
                    <a:lnTo>
                      <a:pt x="1320" y="203"/>
                    </a:lnTo>
                    <a:lnTo>
                      <a:pt x="1322" y="203"/>
                    </a:lnTo>
                    <a:lnTo>
                      <a:pt x="1322" y="205"/>
                    </a:lnTo>
                    <a:lnTo>
                      <a:pt x="1324" y="205"/>
                    </a:lnTo>
                    <a:lnTo>
                      <a:pt x="1324" y="207"/>
                    </a:lnTo>
                    <a:lnTo>
                      <a:pt x="1322" y="207"/>
                    </a:lnTo>
                    <a:lnTo>
                      <a:pt x="1322" y="205"/>
                    </a:lnTo>
                    <a:lnTo>
                      <a:pt x="1322" y="207"/>
                    </a:lnTo>
                    <a:lnTo>
                      <a:pt x="1322" y="209"/>
                    </a:lnTo>
                    <a:lnTo>
                      <a:pt x="1324" y="207"/>
                    </a:lnTo>
                    <a:lnTo>
                      <a:pt x="1326" y="207"/>
                    </a:lnTo>
                    <a:lnTo>
                      <a:pt x="1326" y="209"/>
                    </a:lnTo>
                    <a:lnTo>
                      <a:pt x="1328" y="209"/>
                    </a:lnTo>
                    <a:lnTo>
                      <a:pt x="1330" y="209"/>
                    </a:lnTo>
                    <a:lnTo>
                      <a:pt x="1330" y="211"/>
                    </a:lnTo>
                    <a:lnTo>
                      <a:pt x="1328" y="211"/>
                    </a:lnTo>
                    <a:lnTo>
                      <a:pt x="1328" y="213"/>
                    </a:lnTo>
                    <a:lnTo>
                      <a:pt x="1330" y="215"/>
                    </a:lnTo>
                    <a:lnTo>
                      <a:pt x="1328" y="215"/>
                    </a:lnTo>
                    <a:lnTo>
                      <a:pt x="1326" y="216"/>
                    </a:lnTo>
                    <a:lnTo>
                      <a:pt x="1328" y="216"/>
                    </a:lnTo>
                    <a:lnTo>
                      <a:pt x="1328" y="218"/>
                    </a:lnTo>
                    <a:lnTo>
                      <a:pt x="1330" y="218"/>
                    </a:lnTo>
                    <a:lnTo>
                      <a:pt x="1332" y="220"/>
                    </a:lnTo>
                    <a:lnTo>
                      <a:pt x="1332" y="222"/>
                    </a:lnTo>
                    <a:lnTo>
                      <a:pt x="1334" y="222"/>
                    </a:lnTo>
                    <a:lnTo>
                      <a:pt x="1334" y="224"/>
                    </a:lnTo>
                    <a:lnTo>
                      <a:pt x="1335" y="224"/>
                    </a:lnTo>
                    <a:lnTo>
                      <a:pt x="1335" y="226"/>
                    </a:lnTo>
                    <a:lnTo>
                      <a:pt x="1335" y="228"/>
                    </a:lnTo>
                    <a:lnTo>
                      <a:pt x="1337" y="228"/>
                    </a:lnTo>
                    <a:lnTo>
                      <a:pt x="1339" y="228"/>
                    </a:lnTo>
                    <a:lnTo>
                      <a:pt x="1339" y="230"/>
                    </a:lnTo>
                    <a:lnTo>
                      <a:pt x="1341" y="230"/>
                    </a:lnTo>
                    <a:lnTo>
                      <a:pt x="1341" y="232"/>
                    </a:lnTo>
                    <a:lnTo>
                      <a:pt x="1343" y="232"/>
                    </a:lnTo>
                    <a:lnTo>
                      <a:pt x="1341" y="232"/>
                    </a:lnTo>
                    <a:lnTo>
                      <a:pt x="1341" y="233"/>
                    </a:lnTo>
                    <a:lnTo>
                      <a:pt x="1343" y="233"/>
                    </a:lnTo>
                    <a:lnTo>
                      <a:pt x="1341" y="233"/>
                    </a:lnTo>
                    <a:lnTo>
                      <a:pt x="1343" y="233"/>
                    </a:lnTo>
                    <a:lnTo>
                      <a:pt x="1343" y="235"/>
                    </a:lnTo>
                    <a:lnTo>
                      <a:pt x="1343" y="237"/>
                    </a:lnTo>
                    <a:lnTo>
                      <a:pt x="1345" y="239"/>
                    </a:lnTo>
                    <a:lnTo>
                      <a:pt x="1345" y="241"/>
                    </a:lnTo>
                    <a:lnTo>
                      <a:pt x="1347" y="241"/>
                    </a:lnTo>
                    <a:lnTo>
                      <a:pt x="1349" y="241"/>
                    </a:lnTo>
                    <a:lnTo>
                      <a:pt x="1349" y="239"/>
                    </a:lnTo>
                    <a:lnTo>
                      <a:pt x="1350" y="241"/>
                    </a:lnTo>
                    <a:lnTo>
                      <a:pt x="1352" y="241"/>
                    </a:lnTo>
                    <a:lnTo>
                      <a:pt x="1352" y="239"/>
                    </a:lnTo>
                    <a:lnTo>
                      <a:pt x="1352" y="241"/>
                    </a:lnTo>
                    <a:lnTo>
                      <a:pt x="1354" y="241"/>
                    </a:lnTo>
                    <a:lnTo>
                      <a:pt x="1354" y="239"/>
                    </a:lnTo>
                    <a:lnTo>
                      <a:pt x="1354" y="237"/>
                    </a:lnTo>
                    <a:lnTo>
                      <a:pt x="1356" y="237"/>
                    </a:lnTo>
                    <a:lnTo>
                      <a:pt x="1358" y="237"/>
                    </a:lnTo>
                    <a:lnTo>
                      <a:pt x="1360" y="237"/>
                    </a:lnTo>
                    <a:lnTo>
                      <a:pt x="1360" y="239"/>
                    </a:lnTo>
                    <a:lnTo>
                      <a:pt x="1362" y="237"/>
                    </a:lnTo>
                    <a:lnTo>
                      <a:pt x="1362" y="239"/>
                    </a:lnTo>
                    <a:lnTo>
                      <a:pt x="1364" y="239"/>
                    </a:lnTo>
                    <a:lnTo>
                      <a:pt x="1364" y="237"/>
                    </a:lnTo>
                    <a:lnTo>
                      <a:pt x="1366" y="237"/>
                    </a:lnTo>
                    <a:lnTo>
                      <a:pt x="1367" y="237"/>
                    </a:lnTo>
                    <a:lnTo>
                      <a:pt x="1367" y="235"/>
                    </a:lnTo>
                    <a:lnTo>
                      <a:pt x="1369" y="235"/>
                    </a:lnTo>
                    <a:lnTo>
                      <a:pt x="1367" y="235"/>
                    </a:lnTo>
                    <a:lnTo>
                      <a:pt x="1369" y="233"/>
                    </a:lnTo>
                    <a:lnTo>
                      <a:pt x="1367" y="233"/>
                    </a:lnTo>
                    <a:lnTo>
                      <a:pt x="1367" y="232"/>
                    </a:lnTo>
                    <a:lnTo>
                      <a:pt x="1366" y="232"/>
                    </a:lnTo>
                    <a:lnTo>
                      <a:pt x="1367" y="232"/>
                    </a:lnTo>
                    <a:lnTo>
                      <a:pt x="1366" y="232"/>
                    </a:lnTo>
                    <a:lnTo>
                      <a:pt x="1367" y="232"/>
                    </a:lnTo>
                    <a:lnTo>
                      <a:pt x="1367" y="230"/>
                    </a:lnTo>
                    <a:lnTo>
                      <a:pt x="1367" y="228"/>
                    </a:lnTo>
                    <a:lnTo>
                      <a:pt x="1367" y="226"/>
                    </a:lnTo>
                    <a:lnTo>
                      <a:pt x="1367" y="224"/>
                    </a:lnTo>
                    <a:lnTo>
                      <a:pt x="1369" y="224"/>
                    </a:lnTo>
                    <a:lnTo>
                      <a:pt x="1369" y="222"/>
                    </a:lnTo>
                    <a:lnTo>
                      <a:pt x="1371" y="222"/>
                    </a:lnTo>
                    <a:lnTo>
                      <a:pt x="1371" y="220"/>
                    </a:lnTo>
                    <a:lnTo>
                      <a:pt x="1371" y="222"/>
                    </a:lnTo>
                    <a:lnTo>
                      <a:pt x="1371" y="220"/>
                    </a:lnTo>
                    <a:lnTo>
                      <a:pt x="1373" y="220"/>
                    </a:lnTo>
                    <a:lnTo>
                      <a:pt x="1373" y="218"/>
                    </a:lnTo>
                    <a:lnTo>
                      <a:pt x="1375" y="218"/>
                    </a:lnTo>
                    <a:lnTo>
                      <a:pt x="1377" y="218"/>
                    </a:lnTo>
                    <a:lnTo>
                      <a:pt x="1377" y="220"/>
                    </a:lnTo>
                    <a:lnTo>
                      <a:pt x="1379" y="220"/>
                    </a:lnTo>
                    <a:lnTo>
                      <a:pt x="1381" y="220"/>
                    </a:lnTo>
                    <a:lnTo>
                      <a:pt x="1381" y="222"/>
                    </a:lnTo>
                    <a:lnTo>
                      <a:pt x="1382" y="222"/>
                    </a:lnTo>
                    <a:lnTo>
                      <a:pt x="1375" y="224"/>
                    </a:lnTo>
                    <a:lnTo>
                      <a:pt x="1373" y="228"/>
                    </a:lnTo>
                    <a:lnTo>
                      <a:pt x="1371" y="230"/>
                    </a:lnTo>
                    <a:lnTo>
                      <a:pt x="1369" y="228"/>
                    </a:lnTo>
                    <a:lnTo>
                      <a:pt x="1367" y="232"/>
                    </a:lnTo>
                    <a:lnTo>
                      <a:pt x="1369" y="232"/>
                    </a:lnTo>
                    <a:lnTo>
                      <a:pt x="1371" y="233"/>
                    </a:lnTo>
                    <a:lnTo>
                      <a:pt x="1375" y="235"/>
                    </a:lnTo>
                    <a:lnTo>
                      <a:pt x="1373" y="235"/>
                    </a:lnTo>
                    <a:lnTo>
                      <a:pt x="1369" y="239"/>
                    </a:lnTo>
                    <a:lnTo>
                      <a:pt x="1369" y="241"/>
                    </a:lnTo>
                    <a:lnTo>
                      <a:pt x="1369" y="243"/>
                    </a:lnTo>
                    <a:lnTo>
                      <a:pt x="1369" y="245"/>
                    </a:lnTo>
                    <a:lnTo>
                      <a:pt x="1373" y="247"/>
                    </a:lnTo>
                    <a:lnTo>
                      <a:pt x="1377" y="245"/>
                    </a:lnTo>
                    <a:lnTo>
                      <a:pt x="1379" y="245"/>
                    </a:lnTo>
                    <a:lnTo>
                      <a:pt x="1379" y="247"/>
                    </a:lnTo>
                    <a:lnTo>
                      <a:pt x="1382" y="247"/>
                    </a:lnTo>
                    <a:lnTo>
                      <a:pt x="1384" y="250"/>
                    </a:lnTo>
                    <a:lnTo>
                      <a:pt x="1384" y="252"/>
                    </a:lnTo>
                    <a:lnTo>
                      <a:pt x="1386" y="254"/>
                    </a:lnTo>
                    <a:lnTo>
                      <a:pt x="1386" y="256"/>
                    </a:lnTo>
                    <a:lnTo>
                      <a:pt x="1388" y="256"/>
                    </a:lnTo>
                    <a:lnTo>
                      <a:pt x="1388" y="258"/>
                    </a:lnTo>
                    <a:lnTo>
                      <a:pt x="1388" y="260"/>
                    </a:lnTo>
                    <a:lnTo>
                      <a:pt x="1388" y="262"/>
                    </a:lnTo>
                    <a:lnTo>
                      <a:pt x="1388" y="264"/>
                    </a:lnTo>
                    <a:lnTo>
                      <a:pt x="1388" y="267"/>
                    </a:lnTo>
                    <a:lnTo>
                      <a:pt x="1386" y="265"/>
                    </a:lnTo>
                    <a:lnTo>
                      <a:pt x="1384" y="267"/>
                    </a:lnTo>
                    <a:lnTo>
                      <a:pt x="1382" y="267"/>
                    </a:lnTo>
                    <a:lnTo>
                      <a:pt x="1381" y="269"/>
                    </a:lnTo>
                    <a:lnTo>
                      <a:pt x="1381" y="271"/>
                    </a:lnTo>
                    <a:lnTo>
                      <a:pt x="1379" y="271"/>
                    </a:lnTo>
                    <a:lnTo>
                      <a:pt x="1377" y="269"/>
                    </a:lnTo>
                    <a:lnTo>
                      <a:pt x="1375" y="269"/>
                    </a:lnTo>
                    <a:lnTo>
                      <a:pt x="1375" y="271"/>
                    </a:lnTo>
                    <a:lnTo>
                      <a:pt x="1375" y="273"/>
                    </a:lnTo>
                    <a:lnTo>
                      <a:pt x="1373" y="273"/>
                    </a:lnTo>
                    <a:lnTo>
                      <a:pt x="1373" y="275"/>
                    </a:lnTo>
                    <a:lnTo>
                      <a:pt x="1371" y="275"/>
                    </a:lnTo>
                    <a:lnTo>
                      <a:pt x="1373" y="275"/>
                    </a:lnTo>
                    <a:lnTo>
                      <a:pt x="1371" y="277"/>
                    </a:lnTo>
                    <a:lnTo>
                      <a:pt x="1369" y="277"/>
                    </a:lnTo>
                    <a:lnTo>
                      <a:pt x="1369" y="279"/>
                    </a:lnTo>
                    <a:lnTo>
                      <a:pt x="1367" y="279"/>
                    </a:lnTo>
                    <a:lnTo>
                      <a:pt x="1366" y="279"/>
                    </a:lnTo>
                    <a:lnTo>
                      <a:pt x="1364" y="279"/>
                    </a:lnTo>
                    <a:lnTo>
                      <a:pt x="1362" y="279"/>
                    </a:lnTo>
                    <a:lnTo>
                      <a:pt x="1360" y="282"/>
                    </a:lnTo>
                    <a:lnTo>
                      <a:pt x="1360" y="284"/>
                    </a:lnTo>
                    <a:lnTo>
                      <a:pt x="1360" y="288"/>
                    </a:lnTo>
                    <a:lnTo>
                      <a:pt x="1362" y="290"/>
                    </a:lnTo>
                    <a:lnTo>
                      <a:pt x="1364" y="290"/>
                    </a:lnTo>
                    <a:lnTo>
                      <a:pt x="1364" y="292"/>
                    </a:lnTo>
                    <a:lnTo>
                      <a:pt x="1364" y="294"/>
                    </a:lnTo>
                    <a:lnTo>
                      <a:pt x="1366" y="294"/>
                    </a:lnTo>
                    <a:lnTo>
                      <a:pt x="1366" y="296"/>
                    </a:lnTo>
                    <a:lnTo>
                      <a:pt x="1367" y="296"/>
                    </a:lnTo>
                    <a:lnTo>
                      <a:pt x="1369" y="296"/>
                    </a:lnTo>
                    <a:lnTo>
                      <a:pt x="1369" y="299"/>
                    </a:lnTo>
                    <a:lnTo>
                      <a:pt x="1369" y="301"/>
                    </a:lnTo>
                    <a:lnTo>
                      <a:pt x="1369" y="303"/>
                    </a:lnTo>
                    <a:lnTo>
                      <a:pt x="1369" y="305"/>
                    </a:lnTo>
                    <a:lnTo>
                      <a:pt x="1369" y="309"/>
                    </a:lnTo>
                    <a:lnTo>
                      <a:pt x="1367" y="311"/>
                    </a:lnTo>
                    <a:lnTo>
                      <a:pt x="1369" y="312"/>
                    </a:lnTo>
                    <a:lnTo>
                      <a:pt x="1367" y="314"/>
                    </a:lnTo>
                    <a:lnTo>
                      <a:pt x="1367" y="316"/>
                    </a:lnTo>
                    <a:lnTo>
                      <a:pt x="1369" y="316"/>
                    </a:lnTo>
                    <a:lnTo>
                      <a:pt x="1369" y="318"/>
                    </a:lnTo>
                    <a:lnTo>
                      <a:pt x="1369" y="320"/>
                    </a:lnTo>
                    <a:lnTo>
                      <a:pt x="1371" y="322"/>
                    </a:lnTo>
                    <a:lnTo>
                      <a:pt x="1369" y="324"/>
                    </a:lnTo>
                    <a:lnTo>
                      <a:pt x="1371" y="324"/>
                    </a:lnTo>
                    <a:lnTo>
                      <a:pt x="1373" y="324"/>
                    </a:lnTo>
                    <a:lnTo>
                      <a:pt x="1373" y="326"/>
                    </a:lnTo>
                    <a:lnTo>
                      <a:pt x="1375" y="326"/>
                    </a:lnTo>
                    <a:lnTo>
                      <a:pt x="1375" y="328"/>
                    </a:lnTo>
                    <a:lnTo>
                      <a:pt x="1375" y="329"/>
                    </a:lnTo>
                    <a:lnTo>
                      <a:pt x="1373" y="329"/>
                    </a:lnTo>
                    <a:lnTo>
                      <a:pt x="1371" y="329"/>
                    </a:lnTo>
                    <a:lnTo>
                      <a:pt x="1371" y="331"/>
                    </a:lnTo>
                    <a:lnTo>
                      <a:pt x="1369" y="329"/>
                    </a:lnTo>
                    <a:lnTo>
                      <a:pt x="1367" y="331"/>
                    </a:lnTo>
                    <a:lnTo>
                      <a:pt x="1366" y="333"/>
                    </a:lnTo>
                    <a:lnTo>
                      <a:pt x="1366" y="335"/>
                    </a:lnTo>
                    <a:lnTo>
                      <a:pt x="1366" y="337"/>
                    </a:lnTo>
                    <a:lnTo>
                      <a:pt x="1366" y="339"/>
                    </a:lnTo>
                    <a:lnTo>
                      <a:pt x="1367" y="339"/>
                    </a:lnTo>
                    <a:lnTo>
                      <a:pt x="1367" y="341"/>
                    </a:lnTo>
                    <a:lnTo>
                      <a:pt x="1367" y="343"/>
                    </a:lnTo>
                    <a:lnTo>
                      <a:pt x="1366" y="343"/>
                    </a:lnTo>
                    <a:lnTo>
                      <a:pt x="1364" y="343"/>
                    </a:lnTo>
                    <a:lnTo>
                      <a:pt x="1364" y="344"/>
                    </a:lnTo>
                    <a:lnTo>
                      <a:pt x="1364" y="346"/>
                    </a:lnTo>
                    <a:lnTo>
                      <a:pt x="1364" y="348"/>
                    </a:lnTo>
                    <a:lnTo>
                      <a:pt x="1364" y="350"/>
                    </a:lnTo>
                    <a:lnTo>
                      <a:pt x="1362" y="350"/>
                    </a:lnTo>
                    <a:lnTo>
                      <a:pt x="1364" y="352"/>
                    </a:lnTo>
                    <a:lnTo>
                      <a:pt x="1364" y="354"/>
                    </a:lnTo>
                    <a:lnTo>
                      <a:pt x="1364" y="356"/>
                    </a:lnTo>
                    <a:lnTo>
                      <a:pt x="1362" y="356"/>
                    </a:lnTo>
                    <a:lnTo>
                      <a:pt x="1362" y="358"/>
                    </a:lnTo>
                    <a:lnTo>
                      <a:pt x="1360" y="360"/>
                    </a:lnTo>
                    <a:lnTo>
                      <a:pt x="1358" y="361"/>
                    </a:lnTo>
                    <a:lnTo>
                      <a:pt x="1356" y="360"/>
                    </a:lnTo>
                    <a:lnTo>
                      <a:pt x="1354" y="361"/>
                    </a:lnTo>
                    <a:lnTo>
                      <a:pt x="1356" y="361"/>
                    </a:lnTo>
                    <a:lnTo>
                      <a:pt x="1358" y="363"/>
                    </a:lnTo>
                    <a:lnTo>
                      <a:pt x="1356" y="365"/>
                    </a:lnTo>
                    <a:lnTo>
                      <a:pt x="1358" y="367"/>
                    </a:lnTo>
                    <a:lnTo>
                      <a:pt x="1360" y="367"/>
                    </a:lnTo>
                    <a:lnTo>
                      <a:pt x="1360" y="369"/>
                    </a:lnTo>
                    <a:lnTo>
                      <a:pt x="1362" y="371"/>
                    </a:lnTo>
                    <a:lnTo>
                      <a:pt x="1360" y="371"/>
                    </a:lnTo>
                    <a:lnTo>
                      <a:pt x="1358" y="371"/>
                    </a:lnTo>
                    <a:lnTo>
                      <a:pt x="1356" y="373"/>
                    </a:lnTo>
                    <a:lnTo>
                      <a:pt x="1354" y="375"/>
                    </a:lnTo>
                    <a:lnTo>
                      <a:pt x="1352" y="378"/>
                    </a:lnTo>
                    <a:lnTo>
                      <a:pt x="1350" y="382"/>
                    </a:lnTo>
                    <a:lnTo>
                      <a:pt x="1350" y="384"/>
                    </a:lnTo>
                    <a:lnTo>
                      <a:pt x="1350" y="388"/>
                    </a:lnTo>
                    <a:lnTo>
                      <a:pt x="1345" y="397"/>
                    </a:lnTo>
                    <a:lnTo>
                      <a:pt x="1349" y="403"/>
                    </a:lnTo>
                    <a:lnTo>
                      <a:pt x="1356" y="408"/>
                    </a:lnTo>
                    <a:lnTo>
                      <a:pt x="1354" y="412"/>
                    </a:lnTo>
                    <a:lnTo>
                      <a:pt x="1356" y="420"/>
                    </a:lnTo>
                    <a:lnTo>
                      <a:pt x="1354" y="424"/>
                    </a:lnTo>
                    <a:lnTo>
                      <a:pt x="1358" y="425"/>
                    </a:lnTo>
                    <a:lnTo>
                      <a:pt x="1358" y="431"/>
                    </a:lnTo>
                    <a:lnTo>
                      <a:pt x="1358" y="435"/>
                    </a:lnTo>
                    <a:lnTo>
                      <a:pt x="1349" y="437"/>
                    </a:lnTo>
                    <a:lnTo>
                      <a:pt x="1345" y="444"/>
                    </a:lnTo>
                    <a:lnTo>
                      <a:pt x="1343" y="446"/>
                    </a:lnTo>
                    <a:lnTo>
                      <a:pt x="1347" y="448"/>
                    </a:lnTo>
                    <a:lnTo>
                      <a:pt x="1347" y="450"/>
                    </a:lnTo>
                    <a:lnTo>
                      <a:pt x="1347" y="454"/>
                    </a:lnTo>
                    <a:lnTo>
                      <a:pt x="1345" y="454"/>
                    </a:lnTo>
                    <a:lnTo>
                      <a:pt x="1332" y="457"/>
                    </a:lnTo>
                    <a:lnTo>
                      <a:pt x="1328" y="456"/>
                    </a:lnTo>
                    <a:lnTo>
                      <a:pt x="1319" y="461"/>
                    </a:lnTo>
                    <a:lnTo>
                      <a:pt x="1311" y="463"/>
                    </a:lnTo>
                    <a:lnTo>
                      <a:pt x="1311" y="467"/>
                    </a:lnTo>
                    <a:lnTo>
                      <a:pt x="1305" y="472"/>
                    </a:lnTo>
                    <a:lnTo>
                      <a:pt x="1300" y="476"/>
                    </a:lnTo>
                    <a:lnTo>
                      <a:pt x="1300" y="480"/>
                    </a:lnTo>
                    <a:lnTo>
                      <a:pt x="1298" y="482"/>
                    </a:lnTo>
                    <a:lnTo>
                      <a:pt x="1294" y="493"/>
                    </a:lnTo>
                    <a:lnTo>
                      <a:pt x="1285" y="491"/>
                    </a:lnTo>
                    <a:lnTo>
                      <a:pt x="1283" y="491"/>
                    </a:lnTo>
                    <a:lnTo>
                      <a:pt x="1279" y="495"/>
                    </a:lnTo>
                    <a:lnTo>
                      <a:pt x="1275" y="499"/>
                    </a:lnTo>
                    <a:lnTo>
                      <a:pt x="1271" y="501"/>
                    </a:lnTo>
                    <a:lnTo>
                      <a:pt x="1270" y="501"/>
                    </a:lnTo>
                    <a:lnTo>
                      <a:pt x="1270" y="506"/>
                    </a:lnTo>
                    <a:lnTo>
                      <a:pt x="1262" y="510"/>
                    </a:lnTo>
                    <a:lnTo>
                      <a:pt x="1256" y="508"/>
                    </a:lnTo>
                    <a:lnTo>
                      <a:pt x="1255" y="508"/>
                    </a:lnTo>
                    <a:lnTo>
                      <a:pt x="1251" y="506"/>
                    </a:lnTo>
                    <a:lnTo>
                      <a:pt x="1247" y="516"/>
                    </a:lnTo>
                    <a:lnTo>
                      <a:pt x="1243" y="520"/>
                    </a:lnTo>
                    <a:lnTo>
                      <a:pt x="1238" y="527"/>
                    </a:lnTo>
                    <a:lnTo>
                      <a:pt x="1243" y="535"/>
                    </a:lnTo>
                    <a:lnTo>
                      <a:pt x="1240" y="540"/>
                    </a:lnTo>
                    <a:lnTo>
                      <a:pt x="1238" y="542"/>
                    </a:lnTo>
                    <a:lnTo>
                      <a:pt x="1234" y="540"/>
                    </a:lnTo>
                    <a:lnTo>
                      <a:pt x="1232" y="536"/>
                    </a:lnTo>
                    <a:lnTo>
                      <a:pt x="1230" y="540"/>
                    </a:lnTo>
                    <a:lnTo>
                      <a:pt x="1223" y="548"/>
                    </a:lnTo>
                    <a:lnTo>
                      <a:pt x="1213" y="542"/>
                    </a:lnTo>
                    <a:lnTo>
                      <a:pt x="1208" y="542"/>
                    </a:lnTo>
                    <a:lnTo>
                      <a:pt x="1181" y="550"/>
                    </a:lnTo>
                    <a:lnTo>
                      <a:pt x="1177" y="557"/>
                    </a:lnTo>
                    <a:lnTo>
                      <a:pt x="1179" y="559"/>
                    </a:lnTo>
                    <a:lnTo>
                      <a:pt x="1177" y="559"/>
                    </a:lnTo>
                    <a:lnTo>
                      <a:pt x="1176" y="561"/>
                    </a:lnTo>
                    <a:lnTo>
                      <a:pt x="1174" y="563"/>
                    </a:lnTo>
                    <a:lnTo>
                      <a:pt x="1174" y="565"/>
                    </a:lnTo>
                    <a:lnTo>
                      <a:pt x="1174" y="567"/>
                    </a:lnTo>
                    <a:lnTo>
                      <a:pt x="1174" y="569"/>
                    </a:lnTo>
                    <a:lnTo>
                      <a:pt x="1174" y="570"/>
                    </a:lnTo>
                    <a:lnTo>
                      <a:pt x="1174" y="572"/>
                    </a:lnTo>
                    <a:lnTo>
                      <a:pt x="1172" y="572"/>
                    </a:lnTo>
                    <a:lnTo>
                      <a:pt x="1172" y="574"/>
                    </a:lnTo>
                    <a:lnTo>
                      <a:pt x="1170" y="574"/>
                    </a:lnTo>
                    <a:lnTo>
                      <a:pt x="1170" y="576"/>
                    </a:lnTo>
                    <a:lnTo>
                      <a:pt x="1168" y="576"/>
                    </a:lnTo>
                    <a:lnTo>
                      <a:pt x="1166" y="578"/>
                    </a:lnTo>
                    <a:lnTo>
                      <a:pt x="1166" y="580"/>
                    </a:lnTo>
                    <a:lnTo>
                      <a:pt x="1164" y="582"/>
                    </a:lnTo>
                    <a:lnTo>
                      <a:pt x="1164" y="584"/>
                    </a:lnTo>
                    <a:lnTo>
                      <a:pt x="1162" y="584"/>
                    </a:lnTo>
                    <a:lnTo>
                      <a:pt x="1162" y="585"/>
                    </a:lnTo>
                    <a:lnTo>
                      <a:pt x="1162" y="587"/>
                    </a:lnTo>
                    <a:lnTo>
                      <a:pt x="1162" y="593"/>
                    </a:lnTo>
                    <a:lnTo>
                      <a:pt x="1161" y="599"/>
                    </a:lnTo>
                    <a:lnTo>
                      <a:pt x="1161" y="601"/>
                    </a:lnTo>
                    <a:lnTo>
                      <a:pt x="1159" y="601"/>
                    </a:lnTo>
                    <a:lnTo>
                      <a:pt x="1159" y="602"/>
                    </a:lnTo>
                    <a:lnTo>
                      <a:pt x="1157" y="602"/>
                    </a:lnTo>
                    <a:lnTo>
                      <a:pt x="1157" y="604"/>
                    </a:lnTo>
                    <a:lnTo>
                      <a:pt x="1157" y="606"/>
                    </a:lnTo>
                    <a:lnTo>
                      <a:pt x="1155" y="608"/>
                    </a:lnTo>
                    <a:lnTo>
                      <a:pt x="1155" y="606"/>
                    </a:lnTo>
                    <a:lnTo>
                      <a:pt x="1155" y="604"/>
                    </a:lnTo>
                    <a:lnTo>
                      <a:pt x="1153" y="604"/>
                    </a:lnTo>
                    <a:lnTo>
                      <a:pt x="1151" y="602"/>
                    </a:lnTo>
                    <a:lnTo>
                      <a:pt x="1151" y="604"/>
                    </a:lnTo>
                    <a:lnTo>
                      <a:pt x="1149" y="604"/>
                    </a:lnTo>
                    <a:lnTo>
                      <a:pt x="1147" y="604"/>
                    </a:lnTo>
                    <a:lnTo>
                      <a:pt x="1145" y="604"/>
                    </a:lnTo>
                    <a:lnTo>
                      <a:pt x="1145" y="606"/>
                    </a:lnTo>
                    <a:lnTo>
                      <a:pt x="1144" y="606"/>
                    </a:lnTo>
                    <a:lnTo>
                      <a:pt x="1144" y="608"/>
                    </a:lnTo>
                    <a:lnTo>
                      <a:pt x="1142" y="608"/>
                    </a:lnTo>
                    <a:lnTo>
                      <a:pt x="1140" y="608"/>
                    </a:lnTo>
                    <a:lnTo>
                      <a:pt x="1140" y="606"/>
                    </a:lnTo>
                    <a:lnTo>
                      <a:pt x="1138" y="606"/>
                    </a:lnTo>
                    <a:lnTo>
                      <a:pt x="1138" y="604"/>
                    </a:lnTo>
                    <a:lnTo>
                      <a:pt x="1138" y="602"/>
                    </a:lnTo>
                    <a:lnTo>
                      <a:pt x="1138" y="601"/>
                    </a:lnTo>
                    <a:lnTo>
                      <a:pt x="1138" y="599"/>
                    </a:lnTo>
                    <a:lnTo>
                      <a:pt x="1138" y="597"/>
                    </a:lnTo>
                    <a:lnTo>
                      <a:pt x="1138" y="595"/>
                    </a:lnTo>
                    <a:lnTo>
                      <a:pt x="1140" y="595"/>
                    </a:lnTo>
                    <a:lnTo>
                      <a:pt x="1140" y="593"/>
                    </a:lnTo>
                    <a:lnTo>
                      <a:pt x="1138" y="591"/>
                    </a:lnTo>
                    <a:lnTo>
                      <a:pt x="1138" y="589"/>
                    </a:lnTo>
                    <a:lnTo>
                      <a:pt x="1136" y="589"/>
                    </a:lnTo>
                    <a:lnTo>
                      <a:pt x="1136" y="587"/>
                    </a:lnTo>
                    <a:lnTo>
                      <a:pt x="1134" y="585"/>
                    </a:lnTo>
                    <a:lnTo>
                      <a:pt x="1134" y="587"/>
                    </a:lnTo>
                    <a:lnTo>
                      <a:pt x="1132" y="587"/>
                    </a:lnTo>
                    <a:lnTo>
                      <a:pt x="1130" y="587"/>
                    </a:lnTo>
                    <a:lnTo>
                      <a:pt x="1130" y="585"/>
                    </a:lnTo>
                    <a:lnTo>
                      <a:pt x="1129" y="585"/>
                    </a:lnTo>
                    <a:lnTo>
                      <a:pt x="1129" y="584"/>
                    </a:lnTo>
                    <a:lnTo>
                      <a:pt x="1127" y="584"/>
                    </a:lnTo>
                    <a:lnTo>
                      <a:pt x="1127" y="582"/>
                    </a:lnTo>
                    <a:lnTo>
                      <a:pt x="1125" y="582"/>
                    </a:lnTo>
                    <a:lnTo>
                      <a:pt x="1123" y="584"/>
                    </a:lnTo>
                    <a:lnTo>
                      <a:pt x="1121" y="584"/>
                    </a:lnTo>
                    <a:lnTo>
                      <a:pt x="1119" y="584"/>
                    </a:lnTo>
                    <a:lnTo>
                      <a:pt x="1117" y="584"/>
                    </a:lnTo>
                    <a:lnTo>
                      <a:pt x="1119" y="584"/>
                    </a:lnTo>
                    <a:lnTo>
                      <a:pt x="1119" y="582"/>
                    </a:lnTo>
                    <a:lnTo>
                      <a:pt x="1117" y="582"/>
                    </a:lnTo>
                    <a:lnTo>
                      <a:pt x="1117" y="580"/>
                    </a:lnTo>
                    <a:lnTo>
                      <a:pt x="1115" y="580"/>
                    </a:lnTo>
                    <a:lnTo>
                      <a:pt x="1113" y="580"/>
                    </a:lnTo>
                    <a:lnTo>
                      <a:pt x="1113" y="578"/>
                    </a:lnTo>
                    <a:lnTo>
                      <a:pt x="1113" y="576"/>
                    </a:lnTo>
                    <a:lnTo>
                      <a:pt x="1113" y="574"/>
                    </a:lnTo>
                    <a:lnTo>
                      <a:pt x="1113" y="572"/>
                    </a:lnTo>
                    <a:lnTo>
                      <a:pt x="1112" y="572"/>
                    </a:lnTo>
                    <a:lnTo>
                      <a:pt x="1112" y="570"/>
                    </a:lnTo>
                    <a:lnTo>
                      <a:pt x="1110" y="570"/>
                    </a:lnTo>
                    <a:lnTo>
                      <a:pt x="1110" y="569"/>
                    </a:lnTo>
                    <a:lnTo>
                      <a:pt x="1112" y="569"/>
                    </a:lnTo>
                    <a:lnTo>
                      <a:pt x="1112" y="567"/>
                    </a:lnTo>
                    <a:lnTo>
                      <a:pt x="1112" y="565"/>
                    </a:lnTo>
                    <a:lnTo>
                      <a:pt x="1112" y="563"/>
                    </a:lnTo>
                    <a:lnTo>
                      <a:pt x="1112" y="561"/>
                    </a:lnTo>
                    <a:lnTo>
                      <a:pt x="1110" y="559"/>
                    </a:lnTo>
                    <a:lnTo>
                      <a:pt x="1108" y="557"/>
                    </a:lnTo>
                    <a:lnTo>
                      <a:pt x="1108" y="555"/>
                    </a:lnTo>
                    <a:lnTo>
                      <a:pt x="1106" y="555"/>
                    </a:lnTo>
                    <a:lnTo>
                      <a:pt x="1108" y="555"/>
                    </a:lnTo>
                    <a:lnTo>
                      <a:pt x="1106" y="555"/>
                    </a:lnTo>
                    <a:lnTo>
                      <a:pt x="1106" y="553"/>
                    </a:lnTo>
                    <a:lnTo>
                      <a:pt x="1104" y="553"/>
                    </a:lnTo>
                    <a:lnTo>
                      <a:pt x="1104" y="552"/>
                    </a:lnTo>
                    <a:lnTo>
                      <a:pt x="1102" y="552"/>
                    </a:lnTo>
                    <a:lnTo>
                      <a:pt x="1100" y="552"/>
                    </a:lnTo>
                    <a:lnTo>
                      <a:pt x="1100" y="550"/>
                    </a:lnTo>
                    <a:lnTo>
                      <a:pt x="1098" y="550"/>
                    </a:lnTo>
                    <a:lnTo>
                      <a:pt x="1097" y="550"/>
                    </a:lnTo>
                    <a:lnTo>
                      <a:pt x="1097" y="552"/>
                    </a:lnTo>
                    <a:lnTo>
                      <a:pt x="1095" y="550"/>
                    </a:lnTo>
                    <a:lnTo>
                      <a:pt x="1095" y="552"/>
                    </a:lnTo>
                    <a:lnTo>
                      <a:pt x="1095" y="553"/>
                    </a:lnTo>
                    <a:lnTo>
                      <a:pt x="1095" y="552"/>
                    </a:lnTo>
                    <a:lnTo>
                      <a:pt x="1093" y="552"/>
                    </a:lnTo>
                    <a:lnTo>
                      <a:pt x="1091" y="552"/>
                    </a:lnTo>
                    <a:lnTo>
                      <a:pt x="1091" y="553"/>
                    </a:lnTo>
                    <a:lnTo>
                      <a:pt x="1091" y="555"/>
                    </a:lnTo>
                    <a:lnTo>
                      <a:pt x="1089" y="555"/>
                    </a:lnTo>
                    <a:lnTo>
                      <a:pt x="1089" y="557"/>
                    </a:lnTo>
                    <a:lnTo>
                      <a:pt x="1087" y="555"/>
                    </a:lnTo>
                    <a:lnTo>
                      <a:pt x="1087" y="557"/>
                    </a:lnTo>
                    <a:lnTo>
                      <a:pt x="1085" y="557"/>
                    </a:lnTo>
                    <a:lnTo>
                      <a:pt x="1085" y="559"/>
                    </a:lnTo>
                    <a:lnTo>
                      <a:pt x="1085" y="557"/>
                    </a:lnTo>
                    <a:lnTo>
                      <a:pt x="1085" y="559"/>
                    </a:lnTo>
                    <a:lnTo>
                      <a:pt x="1083" y="559"/>
                    </a:lnTo>
                    <a:lnTo>
                      <a:pt x="1085" y="559"/>
                    </a:lnTo>
                    <a:lnTo>
                      <a:pt x="1083" y="559"/>
                    </a:lnTo>
                    <a:lnTo>
                      <a:pt x="1082" y="559"/>
                    </a:lnTo>
                    <a:lnTo>
                      <a:pt x="1080" y="559"/>
                    </a:lnTo>
                    <a:lnTo>
                      <a:pt x="1080" y="561"/>
                    </a:lnTo>
                    <a:lnTo>
                      <a:pt x="1080" y="559"/>
                    </a:lnTo>
                    <a:lnTo>
                      <a:pt x="1078" y="559"/>
                    </a:lnTo>
                    <a:lnTo>
                      <a:pt x="1078" y="561"/>
                    </a:lnTo>
                    <a:lnTo>
                      <a:pt x="1078" y="559"/>
                    </a:lnTo>
                    <a:lnTo>
                      <a:pt x="1076" y="559"/>
                    </a:lnTo>
                    <a:lnTo>
                      <a:pt x="1074" y="559"/>
                    </a:lnTo>
                    <a:lnTo>
                      <a:pt x="1072" y="559"/>
                    </a:lnTo>
                    <a:lnTo>
                      <a:pt x="1072" y="561"/>
                    </a:lnTo>
                    <a:lnTo>
                      <a:pt x="1072" y="559"/>
                    </a:lnTo>
                    <a:lnTo>
                      <a:pt x="1070" y="559"/>
                    </a:lnTo>
                    <a:lnTo>
                      <a:pt x="1068" y="559"/>
                    </a:lnTo>
                    <a:lnTo>
                      <a:pt x="1068" y="561"/>
                    </a:lnTo>
                    <a:lnTo>
                      <a:pt x="1068" y="559"/>
                    </a:lnTo>
                    <a:lnTo>
                      <a:pt x="1066" y="559"/>
                    </a:lnTo>
                    <a:lnTo>
                      <a:pt x="1066" y="557"/>
                    </a:lnTo>
                    <a:lnTo>
                      <a:pt x="1066" y="559"/>
                    </a:lnTo>
                    <a:lnTo>
                      <a:pt x="1065" y="559"/>
                    </a:lnTo>
                    <a:lnTo>
                      <a:pt x="1066" y="559"/>
                    </a:lnTo>
                    <a:lnTo>
                      <a:pt x="1066" y="561"/>
                    </a:lnTo>
                    <a:lnTo>
                      <a:pt x="1065" y="561"/>
                    </a:lnTo>
                    <a:lnTo>
                      <a:pt x="1063" y="561"/>
                    </a:lnTo>
                    <a:lnTo>
                      <a:pt x="1063" y="563"/>
                    </a:lnTo>
                    <a:lnTo>
                      <a:pt x="1061" y="563"/>
                    </a:lnTo>
                    <a:lnTo>
                      <a:pt x="1061" y="561"/>
                    </a:lnTo>
                    <a:lnTo>
                      <a:pt x="1061" y="559"/>
                    </a:lnTo>
                    <a:lnTo>
                      <a:pt x="1061" y="561"/>
                    </a:lnTo>
                    <a:lnTo>
                      <a:pt x="1059" y="559"/>
                    </a:lnTo>
                    <a:lnTo>
                      <a:pt x="1057" y="559"/>
                    </a:lnTo>
                    <a:lnTo>
                      <a:pt x="1057" y="561"/>
                    </a:lnTo>
                    <a:lnTo>
                      <a:pt x="1055" y="561"/>
                    </a:lnTo>
                    <a:lnTo>
                      <a:pt x="1055" y="559"/>
                    </a:lnTo>
                    <a:lnTo>
                      <a:pt x="1055" y="561"/>
                    </a:lnTo>
                    <a:lnTo>
                      <a:pt x="1055" y="559"/>
                    </a:lnTo>
                    <a:lnTo>
                      <a:pt x="1053" y="559"/>
                    </a:lnTo>
                    <a:lnTo>
                      <a:pt x="1053" y="561"/>
                    </a:lnTo>
                    <a:lnTo>
                      <a:pt x="1051" y="561"/>
                    </a:lnTo>
                    <a:lnTo>
                      <a:pt x="1051" y="559"/>
                    </a:lnTo>
                    <a:lnTo>
                      <a:pt x="1051" y="561"/>
                    </a:lnTo>
                    <a:lnTo>
                      <a:pt x="1050" y="561"/>
                    </a:lnTo>
                    <a:lnTo>
                      <a:pt x="1051" y="561"/>
                    </a:lnTo>
                    <a:lnTo>
                      <a:pt x="1050" y="561"/>
                    </a:lnTo>
                    <a:lnTo>
                      <a:pt x="1050" y="563"/>
                    </a:lnTo>
                    <a:lnTo>
                      <a:pt x="1048" y="563"/>
                    </a:lnTo>
                    <a:lnTo>
                      <a:pt x="1046" y="563"/>
                    </a:lnTo>
                    <a:lnTo>
                      <a:pt x="1044" y="563"/>
                    </a:lnTo>
                    <a:lnTo>
                      <a:pt x="1044" y="565"/>
                    </a:lnTo>
                    <a:lnTo>
                      <a:pt x="1044" y="563"/>
                    </a:lnTo>
                    <a:lnTo>
                      <a:pt x="1042" y="563"/>
                    </a:lnTo>
                    <a:lnTo>
                      <a:pt x="1042" y="565"/>
                    </a:lnTo>
                    <a:lnTo>
                      <a:pt x="1040" y="565"/>
                    </a:lnTo>
                    <a:lnTo>
                      <a:pt x="1038" y="565"/>
                    </a:lnTo>
                    <a:lnTo>
                      <a:pt x="1036" y="565"/>
                    </a:lnTo>
                    <a:lnTo>
                      <a:pt x="1034" y="565"/>
                    </a:lnTo>
                    <a:lnTo>
                      <a:pt x="1036" y="565"/>
                    </a:lnTo>
                    <a:lnTo>
                      <a:pt x="1036" y="567"/>
                    </a:lnTo>
                    <a:lnTo>
                      <a:pt x="1034" y="567"/>
                    </a:lnTo>
                    <a:lnTo>
                      <a:pt x="1036" y="569"/>
                    </a:lnTo>
                    <a:lnTo>
                      <a:pt x="1036" y="570"/>
                    </a:lnTo>
                    <a:lnTo>
                      <a:pt x="1034" y="570"/>
                    </a:lnTo>
                    <a:lnTo>
                      <a:pt x="1033" y="570"/>
                    </a:lnTo>
                    <a:lnTo>
                      <a:pt x="1033" y="572"/>
                    </a:lnTo>
                    <a:lnTo>
                      <a:pt x="1031" y="572"/>
                    </a:lnTo>
                    <a:lnTo>
                      <a:pt x="1033" y="572"/>
                    </a:lnTo>
                    <a:lnTo>
                      <a:pt x="1031" y="572"/>
                    </a:lnTo>
                    <a:lnTo>
                      <a:pt x="1031" y="574"/>
                    </a:lnTo>
                    <a:lnTo>
                      <a:pt x="1029" y="574"/>
                    </a:lnTo>
                    <a:lnTo>
                      <a:pt x="1029" y="576"/>
                    </a:lnTo>
                    <a:lnTo>
                      <a:pt x="1027" y="576"/>
                    </a:lnTo>
                    <a:lnTo>
                      <a:pt x="1027" y="578"/>
                    </a:lnTo>
                    <a:lnTo>
                      <a:pt x="1027" y="580"/>
                    </a:lnTo>
                    <a:lnTo>
                      <a:pt x="1027" y="582"/>
                    </a:lnTo>
                    <a:lnTo>
                      <a:pt x="1027" y="584"/>
                    </a:lnTo>
                    <a:lnTo>
                      <a:pt x="1027" y="582"/>
                    </a:lnTo>
                    <a:lnTo>
                      <a:pt x="1025" y="582"/>
                    </a:lnTo>
                    <a:lnTo>
                      <a:pt x="1025" y="584"/>
                    </a:lnTo>
                    <a:lnTo>
                      <a:pt x="1025" y="585"/>
                    </a:lnTo>
                    <a:lnTo>
                      <a:pt x="1023" y="585"/>
                    </a:lnTo>
                    <a:lnTo>
                      <a:pt x="1023" y="584"/>
                    </a:lnTo>
                    <a:lnTo>
                      <a:pt x="1023" y="585"/>
                    </a:lnTo>
                    <a:lnTo>
                      <a:pt x="1023" y="587"/>
                    </a:lnTo>
                    <a:lnTo>
                      <a:pt x="1021" y="587"/>
                    </a:lnTo>
                    <a:lnTo>
                      <a:pt x="1021" y="585"/>
                    </a:lnTo>
                    <a:lnTo>
                      <a:pt x="1021" y="587"/>
                    </a:lnTo>
                    <a:lnTo>
                      <a:pt x="1021" y="585"/>
                    </a:lnTo>
                    <a:lnTo>
                      <a:pt x="1019" y="585"/>
                    </a:lnTo>
                    <a:lnTo>
                      <a:pt x="1018" y="585"/>
                    </a:lnTo>
                    <a:lnTo>
                      <a:pt x="1018" y="587"/>
                    </a:lnTo>
                    <a:lnTo>
                      <a:pt x="1016" y="587"/>
                    </a:lnTo>
                    <a:lnTo>
                      <a:pt x="1018" y="587"/>
                    </a:lnTo>
                    <a:lnTo>
                      <a:pt x="1018" y="589"/>
                    </a:lnTo>
                    <a:lnTo>
                      <a:pt x="1016" y="589"/>
                    </a:lnTo>
                    <a:lnTo>
                      <a:pt x="1016" y="587"/>
                    </a:lnTo>
                    <a:lnTo>
                      <a:pt x="1014" y="587"/>
                    </a:lnTo>
                    <a:lnTo>
                      <a:pt x="1012" y="587"/>
                    </a:lnTo>
                    <a:lnTo>
                      <a:pt x="1012" y="585"/>
                    </a:lnTo>
                    <a:lnTo>
                      <a:pt x="1010" y="585"/>
                    </a:lnTo>
                    <a:lnTo>
                      <a:pt x="1010" y="584"/>
                    </a:lnTo>
                    <a:lnTo>
                      <a:pt x="1010" y="585"/>
                    </a:lnTo>
                    <a:lnTo>
                      <a:pt x="1010" y="587"/>
                    </a:lnTo>
                    <a:lnTo>
                      <a:pt x="1010" y="589"/>
                    </a:lnTo>
                    <a:lnTo>
                      <a:pt x="1010" y="587"/>
                    </a:lnTo>
                    <a:lnTo>
                      <a:pt x="1008" y="587"/>
                    </a:lnTo>
                    <a:lnTo>
                      <a:pt x="1008" y="589"/>
                    </a:lnTo>
                    <a:lnTo>
                      <a:pt x="1008" y="587"/>
                    </a:lnTo>
                    <a:lnTo>
                      <a:pt x="1008" y="589"/>
                    </a:lnTo>
                    <a:lnTo>
                      <a:pt x="1006" y="589"/>
                    </a:lnTo>
                    <a:lnTo>
                      <a:pt x="1006" y="591"/>
                    </a:lnTo>
                    <a:lnTo>
                      <a:pt x="1004" y="591"/>
                    </a:lnTo>
                    <a:lnTo>
                      <a:pt x="1003" y="591"/>
                    </a:lnTo>
                    <a:lnTo>
                      <a:pt x="1003" y="589"/>
                    </a:lnTo>
                    <a:lnTo>
                      <a:pt x="1001" y="589"/>
                    </a:lnTo>
                    <a:lnTo>
                      <a:pt x="999" y="589"/>
                    </a:lnTo>
                    <a:lnTo>
                      <a:pt x="999" y="587"/>
                    </a:lnTo>
                    <a:lnTo>
                      <a:pt x="997" y="587"/>
                    </a:lnTo>
                    <a:lnTo>
                      <a:pt x="995" y="587"/>
                    </a:lnTo>
                    <a:lnTo>
                      <a:pt x="995" y="585"/>
                    </a:lnTo>
                    <a:lnTo>
                      <a:pt x="993" y="585"/>
                    </a:lnTo>
                    <a:lnTo>
                      <a:pt x="991" y="585"/>
                    </a:lnTo>
                    <a:lnTo>
                      <a:pt x="991" y="587"/>
                    </a:lnTo>
                    <a:lnTo>
                      <a:pt x="989" y="587"/>
                    </a:lnTo>
                    <a:lnTo>
                      <a:pt x="987" y="587"/>
                    </a:lnTo>
                    <a:lnTo>
                      <a:pt x="987" y="589"/>
                    </a:lnTo>
                    <a:lnTo>
                      <a:pt x="986" y="589"/>
                    </a:lnTo>
                    <a:lnTo>
                      <a:pt x="984" y="589"/>
                    </a:lnTo>
                    <a:lnTo>
                      <a:pt x="982" y="589"/>
                    </a:lnTo>
                    <a:lnTo>
                      <a:pt x="982" y="587"/>
                    </a:lnTo>
                    <a:lnTo>
                      <a:pt x="982" y="585"/>
                    </a:lnTo>
                    <a:lnTo>
                      <a:pt x="980" y="585"/>
                    </a:lnTo>
                    <a:lnTo>
                      <a:pt x="980" y="587"/>
                    </a:lnTo>
                    <a:lnTo>
                      <a:pt x="978" y="587"/>
                    </a:lnTo>
                    <a:lnTo>
                      <a:pt x="980" y="587"/>
                    </a:lnTo>
                    <a:lnTo>
                      <a:pt x="980" y="589"/>
                    </a:lnTo>
                    <a:lnTo>
                      <a:pt x="978" y="589"/>
                    </a:lnTo>
                    <a:lnTo>
                      <a:pt x="976" y="589"/>
                    </a:lnTo>
                    <a:lnTo>
                      <a:pt x="976" y="587"/>
                    </a:lnTo>
                    <a:lnTo>
                      <a:pt x="976" y="589"/>
                    </a:lnTo>
                    <a:lnTo>
                      <a:pt x="974" y="589"/>
                    </a:lnTo>
                    <a:lnTo>
                      <a:pt x="976" y="589"/>
                    </a:lnTo>
                    <a:lnTo>
                      <a:pt x="974" y="589"/>
                    </a:lnTo>
                    <a:lnTo>
                      <a:pt x="974" y="591"/>
                    </a:lnTo>
                    <a:lnTo>
                      <a:pt x="974" y="593"/>
                    </a:lnTo>
                    <a:lnTo>
                      <a:pt x="972" y="593"/>
                    </a:lnTo>
                    <a:lnTo>
                      <a:pt x="974" y="593"/>
                    </a:lnTo>
                    <a:lnTo>
                      <a:pt x="974" y="595"/>
                    </a:lnTo>
                    <a:lnTo>
                      <a:pt x="972" y="595"/>
                    </a:lnTo>
                    <a:lnTo>
                      <a:pt x="972" y="593"/>
                    </a:lnTo>
                    <a:lnTo>
                      <a:pt x="972" y="595"/>
                    </a:lnTo>
                    <a:lnTo>
                      <a:pt x="972" y="597"/>
                    </a:lnTo>
                    <a:lnTo>
                      <a:pt x="972" y="595"/>
                    </a:lnTo>
                    <a:lnTo>
                      <a:pt x="971" y="595"/>
                    </a:lnTo>
                    <a:lnTo>
                      <a:pt x="971" y="593"/>
                    </a:lnTo>
                    <a:lnTo>
                      <a:pt x="971" y="595"/>
                    </a:lnTo>
                    <a:lnTo>
                      <a:pt x="969" y="595"/>
                    </a:lnTo>
                    <a:lnTo>
                      <a:pt x="969" y="597"/>
                    </a:lnTo>
                    <a:lnTo>
                      <a:pt x="969" y="599"/>
                    </a:lnTo>
                    <a:lnTo>
                      <a:pt x="969" y="597"/>
                    </a:lnTo>
                    <a:lnTo>
                      <a:pt x="967" y="597"/>
                    </a:lnTo>
                    <a:lnTo>
                      <a:pt x="967" y="599"/>
                    </a:lnTo>
                    <a:lnTo>
                      <a:pt x="965" y="599"/>
                    </a:lnTo>
                    <a:lnTo>
                      <a:pt x="967" y="599"/>
                    </a:lnTo>
                    <a:lnTo>
                      <a:pt x="967" y="601"/>
                    </a:lnTo>
                    <a:lnTo>
                      <a:pt x="965" y="601"/>
                    </a:lnTo>
                    <a:lnTo>
                      <a:pt x="965" y="599"/>
                    </a:lnTo>
                    <a:lnTo>
                      <a:pt x="963" y="599"/>
                    </a:lnTo>
                    <a:lnTo>
                      <a:pt x="963" y="601"/>
                    </a:lnTo>
                    <a:lnTo>
                      <a:pt x="963" y="602"/>
                    </a:lnTo>
                    <a:lnTo>
                      <a:pt x="963" y="604"/>
                    </a:lnTo>
                    <a:lnTo>
                      <a:pt x="961" y="604"/>
                    </a:lnTo>
                    <a:lnTo>
                      <a:pt x="961" y="606"/>
                    </a:lnTo>
                    <a:lnTo>
                      <a:pt x="959" y="606"/>
                    </a:lnTo>
                    <a:lnTo>
                      <a:pt x="957" y="606"/>
                    </a:lnTo>
                    <a:lnTo>
                      <a:pt x="957" y="608"/>
                    </a:lnTo>
                    <a:lnTo>
                      <a:pt x="957" y="610"/>
                    </a:lnTo>
                    <a:lnTo>
                      <a:pt x="957" y="612"/>
                    </a:lnTo>
                    <a:lnTo>
                      <a:pt x="955" y="612"/>
                    </a:lnTo>
                    <a:lnTo>
                      <a:pt x="955" y="614"/>
                    </a:lnTo>
                    <a:lnTo>
                      <a:pt x="954" y="614"/>
                    </a:lnTo>
                    <a:lnTo>
                      <a:pt x="954" y="616"/>
                    </a:lnTo>
                    <a:lnTo>
                      <a:pt x="955" y="616"/>
                    </a:lnTo>
                    <a:lnTo>
                      <a:pt x="954" y="616"/>
                    </a:lnTo>
                    <a:lnTo>
                      <a:pt x="954" y="617"/>
                    </a:lnTo>
                    <a:lnTo>
                      <a:pt x="952" y="617"/>
                    </a:lnTo>
                    <a:lnTo>
                      <a:pt x="952" y="619"/>
                    </a:lnTo>
                    <a:lnTo>
                      <a:pt x="952" y="621"/>
                    </a:lnTo>
                    <a:lnTo>
                      <a:pt x="950" y="621"/>
                    </a:lnTo>
                    <a:lnTo>
                      <a:pt x="950" y="619"/>
                    </a:lnTo>
                    <a:lnTo>
                      <a:pt x="948" y="619"/>
                    </a:lnTo>
                    <a:lnTo>
                      <a:pt x="948" y="621"/>
                    </a:lnTo>
                    <a:lnTo>
                      <a:pt x="946" y="621"/>
                    </a:lnTo>
                    <a:lnTo>
                      <a:pt x="946" y="623"/>
                    </a:lnTo>
                    <a:lnTo>
                      <a:pt x="946" y="625"/>
                    </a:lnTo>
                    <a:lnTo>
                      <a:pt x="946" y="627"/>
                    </a:lnTo>
                    <a:lnTo>
                      <a:pt x="946" y="629"/>
                    </a:lnTo>
                    <a:lnTo>
                      <a:pt x="944" y="629"/>
                    </a:lnTo>
                    <a:lnTo>
                      <a:pt x="942" y="629"/>
                    </a:lnTo>
                    <a:lnTo>
                      <a:pt x="942" y="631"/>
                    </a:lnTo>
                    <a:lnTo>
                      <a:pt x="940" y="631"/>
                    </a:lnTo>
                    <a:lnTo>
                      <a:pt x="940" y="633"/>
                    </a:lnTo>
                    <a:lnTo>
                      <a:pt x="939" y="633"/>
                    </a:lnTo>
                    <a:lnTo>
                      <a:pt x="939" y="634"/>
                    </a:lnTo>
                    <a:lnTo>
                      <a:pt x="940" y="634"/>
                    </a:lnTo>
                    <a:lnTo>
                      <a:pt x="940" y="633"/>
                    </a:lnTo>
                    <a:lnTo>
                      <a:pt x="940" y="634"/>
                    </a:lnTo>
                    <a:lnTo>
                      <a:pt x="940" y="636"/>
                    </a:lnTo>
                    <a:lnTo>
                      <a:pt x="940" y="638"/>
                    </a:lnTo>
                    <a:lnTo>
                      <a:pt x="939" y="638"/>
                    </a:lnTo>
                    <a:lnTo>
                      <a:pt x="937" y="638"/>
                    </a:lnTo>
                    <a:lnTo>
                      <a:pt x="937" y="640"/>
                    </a:lnTo>
                    <a:lnTo>
                      <a:pt x="937" y="638"/>
                    </a:lnTo>
                    <a:lnTo>
                      <a:pt x="935" y="638"/>
                    </a:lnTo>
                    <a:lnTo>
                      <a:pt x="935" y="636"/>
                    </a:lnTo>
                    <a:lnTo>
                      <a:pt x="933" y="636"/>
                    </a:lnTo>
                    <a:lnTo>
                      <a:pt x="933" y="638"/>
                    </a:lnTo>
                    <a:lnTo>
                      <a:pt x="931" y="636"/>
                    </a:lnTo>
                    <a:lnTo>
                      <a:pt x="931" y="638"/>
                    </a:lnTo>
                    <a:lnTo>
                      <a:pt x="929" y="638"/>
                    </a:lnTo>
                    <a:lnTo>
                      <a:pt x="931" y="638"/>
                    </a:lnTo>
                    <a:lnTo>
                      <a:pt x="931" y="640"/>
                    </a:lnTo>
                    <a:lnTo>
                      <a:pt x="929" y="640"/>
                    </a:lnTo>
                    <a:lnTo>
                      <a:pt x="929" y="638"/>
                    </a:lnTo>
                    <a:lnTo>
                      <a:pt x="927" y="638"/>
                    </a:lnTo>
                    <a:lnTo>
                      <a:pt x="925" y="638"/>
                    </a:lnTo>
                    <a:lnTo>
                      <a:pt x="924" y="636"/>
                    </a:lnTo>
                    <a:lnTo>
                      <a:pt x="924" y="634"/>
                    </a:lnTo>
                    <a:lnTo>
                      <a:pt x="924" y="633"/>
                    </a:lnTo>
                    <a:lnTo>
                      <a:pt x="922" y="633"/>
                    </a:lnTo>
                    <a:lnTo>
                      <a:pt x="920" y="633"/>
                    </a:lnTo>
                    <a:lnTo>
                      <a:pt x="920" y="631"/>
                    </a:lnTo>
                    <a:lnTo>
                      <a:pt x="918" y="631"/>
                    </a:lnTo>
                    <a:lnTo>
                      <a:pt x="916" y="631"/>
                    </a:lnTo>
                    <a:lnTo>
                      <a:pt x="918" y="631"/>
                    </a:lnTo>
                    <a:lnTo>
                      <a:pt x="916" y="631"/>
                    </a:lnTo>
                    <a:lnTo>
                      <a:pt x="914" y="631"/>
                    </a:lnTo>
                    <a:lnTo>
                      <a:pt x="914" y="633"/>
                    </a:lnTo>
                    <a:lnTo>
                      <a:pt x="914" y="634"/>
                    </a:lnTo>
                    <a:lnTo>
                      <a:pt x="914" y="633"/>
                    </a:lnTo>
                    <a:lnTo>
                      <a:pt x="912" y="633"/>
                    </a:lnTo>
                    <a:lnTo>
                      <a:pt x="910" y="634"/>
                    </a:lnTo>
                    <a:lnTo>
                      <a:pt x="910" y="636"/>
                    </a:lnTo>
                    <a:lnTo>
                      <a:pt x="912" y="636"/>
                    </a:lnTo>
                    <a:lnTo>
                      <a:pt x="912" y="638"/>
                    </a:lnTo>
                    <a:lnTo>
                      <a:pt x="910" y="638"/>
                    </a:lnTo>
                    <a:lnTo>
                      <a:pt x="910" y="640"/>
                    </a:lnTo>
                    <a:lnTo>
                      <a:pt x="908" y="640"/>
                    </a:lnTo>
                    <a:lnTo>
                      <a:pt x="907" y="638"/>
                    </a:lnTo>
                    <a:lnTo>
                      <a:pt x="905" y="638"/>
                    </a:lnTo>
                    <a:lnTo>
                      <a:pt x="905" y="640"/>
                    </a:lnTo>
                    <a:lnTo>
                      <a:pt x="905" y="642"/>
                    </a:lnTo>
                    <a:lnTo>
                      <a:pt x="907" y="642"/>
                    </a:lnTo>
                    <a:lnTo>
                      <a:pt x="907" y="644"/>
                    </a:lnTo>
                    <a:lnTo>
                      <a:pt x="907" y="646"/>
                    </a:lnTo>
                    <a:lnTo>
                      <a:pt x="907" y="648"/>
                    </a:lnTo>
                    <a:lnTo>
                      <a:pt x="905" y="648"/>
                    </a:lnTo>
                    <a:lnTo>
                      <a:pt x="905" y="649"/>
                    </a:lnTo>
                    <a:lnTo>
                      <a:pt x="903" y="649"/>
                    </a:lnTo>
                    <a:lnTo>
                      <a:pt x="901" y="649"/>
                    </a:lnTo>
                    <a:lnTo>
                      <a:pt x="901" y="651"/>
                    </a:lnTo>
                    <a:lnTo>
                      <a:pt x="899" y="651"/>
                    </a:lnTo>
                    <a:lnTo>
                      <a:pt x="899" y="649"/>
                    </a:lnTo>
                    <a:lnTo>
                      <a:pt x="897" y="649"/>
                    </a:lnTo>
                    <a:lnTo>
                      <a:pt x="897" y="648"/>
                    </a:lnTo>
                    <a:lnTo>
                      <a:pt x="895" y="648"/>
                    </a:lnTo>
                    <a:lnTo>
                      <a:pt x="895" y="646"/>
                    </a:lnTo>
                    <a:lnTo>
                      <a:pt x="893" y="646"/>
                    </a:lnTo>
                    <a:lnTo>
                      <a:pt x="893" y="648"/>
                    </a:lnTo>
                    <a:lnTo>
                      <a:pt x="893" y="649"/>
                    </a:lnTo>
                    <a:lnTo>
                      <a:pt x="892" y="649"/>
                    </a:lnTo>
                    <a:lnTo>
                      <a:pt x="892" y="648"/>
                    </a:lnTo>
                    <a:lnTo>
                      <a:pt x="890" y="648"/>
                    </a:lnTo>
                    <a:lnTo>
                      <a:pt x="890" y="646"/>
                    </a:lnTo>
                    <a:lnTo>
                      <a:pt x="890" y="648"/>
                    </a:lnTo>
                    <a:lnTo>
                      <a:pt x="890" y="649"/>
                    </a:lnTo>
                    <a:lnTo>
                      <a:pt x="888" y="649"/>
                    </a:lnTo>
                    <a:lnTo>
                      <a:pt x="886" y="651"/>
                    </a:lnTo>
                    <a:lnTo>
                      <a:pt x="884" y="651"/>
                    </a:lnTo>
                    <a:lnTo>
                      <a:pt x="884" y="649"/>
                    </a:lnTo>
                    <a:lnTo>
                      <a:pt x="882" y="649"/>
                    </a:lnTo>
                    <a:lnTo>
                      <a:pt x="882" y="651"/>
                    </a:lnTo>
                    <a:lnTo>
                      <a:pt x="880" y="651"/>
                    </a:lnTo>
                    <a:lnTo>
                      <a:pt x="880" y="649"/>
                    </a:lnTo>
                    <a:lnTo>
                      <a:pt x="880" y="648"/>
                    </a:lnTo>
                    <a:lnTo>
                      <a:pt x="878" y="648"/>
                    </a:lnTo>
                    <a:lnTo>
                      <a:pt x="876" y="648"/>
                    </a:lnTo>
                    <a:lnTo>
                      <a:pt x="875" y="648"/>
                    </a:lnTo>
                    <a:lnTo>
                      <a:pt x="875" y="646"/>
                    </a:lnTo>
                    <a:lnTo>
                      <a:pt x="873" y="646"/>
                    </a:lnTo>
                    <a:lnTo>
                      <a:pt x="873" y="644"/>
                    </a:lnTo>
                    <a:lnTo>
                      <a:pt x="871" y="644"/>
                    </a:lnTo>
                    <a:lnTo>
                      <a:pt x="869" y="644"/>
                    </a:lnTo>
                    <a:lnTo>
                      <a:pt x="869" y="646"/>
                    </a:lnTo>
                    <a:lnTo>
                      <a:pt x="871" y="648"/>
                    </a:lnTo>
                    <a:lnTo>
                      <a:pt x="871" y="649"/>
                    </a:lnTo>
                    <a:lnTo>
                      <a:pt x="873" y="649"/>
                    </a:lnTo>
                    <a:lnTo>
                      <a:pt x="873" y="651"/>
                    </a:lnTo>
                    <a:lnTo>
                      <a:pt x="873" y="653"/>
                    </a:lnTo>
                    <a:lnTo>
                      <a:pt x="871" y="653"/>
                    </a:lnTo>
                    <a:lnTo>
                      <a:pt x="871" y="655"/>
                    </a:lnTo>
                    <a:lnTo>
                      <a:pt x="873" y="655"/>
                    </a:lnTo>
                    <a:lnTo>
                      <a:pt x="873" y="657"/>
                    </a:lnTo>
                    <a:lnTo>
                      <a:pt x="871" y="657"/>
                    </a:lnTo>
                    <a:lnTo>
                      <a:pt x="869" y="657"/>
                    </a:lnTo>
                    <a:lnTo>
                      <a:pt x="867" y="657"/>
                    </a:lnTo>
                    <a:lnTo>
                      <a:pt x="867" y="655"/>
                    </a:lnTo>
                    <a:lnTo>
                      <a:pt x="867" y="657"/>
                    </a:lnTo>
                    <a:lnTo>
                      <a:pt x="865" y="657"/>
                    </a:lnTo>
                    <a:lnTo>
                      <a:pt x="865" y="659"/>
                    </a:lnTo>
                    <a:lnTo>
                      <a:pt x="863" y="659"/>
                    </a:lnTo>
                    <a:lnTo>
                      <a:pt x="863" y="661"/>
                    </a:lnTo>
                    <a:lnTo>
                      <a:pt x="863" y="659"/>
                    </a:lnTo>
                    <a:lnTo>
                      <a:pt x="861" y="659"/>
                    </a:lnTo>
                    <a:lnTo>
                      <a:pt x="861" y="661"/>
                    </a:lnTo>
                    <a:lnTo>
                      <a:pt x="863" y="661"/>
                    </a:lnTo>
                    <a:lnTo>
                      <a:pt x="861" y="663"/>
                    </a:lnTo>
                    <a:lnTo>
                      <a:pt x="861" y="665"/>
                    </a:lnTo>
                    <a:lnTo>
                      <a:pt x="861" y="666"/>
                    </a:lnTo>
                    <a:lnTo>
                      <a:pt x="861" y="668"/>
                    </a:lnTo>
                    <a:lnTo>
                      <a:pt x="860" y="668"/>
                    </a:lnTo>
                    <a:lnTo>
                      <a:pt x="860" y="670"/>
                    </a:lnTo>
                    <a:lnTo>
                      <a:pt x="860" y="668"/>
                    </a:lnTo>
                    <a:lnTo>
                      <a:pt x="858" y="668"/>
                    </a:lnTo>
                    <a:lnTo>
                      <a:pt x="858" y="670"/>
                    </a:lnTo>
                    <a:lnTo>
                      <a:pt x="858" y="672"/>
                    </a:lnTo>
                    <a:lnTo>
                      <a:pt x="860" y="672"/>
                    </a:lnTo>
                    <a:lnTo>
                      <a:pt x="860" y="674"/>
                    </a:lnTo>
                    <a:lnTo>
                      <a:pt x="860" y="676"/>
                    </a:lnTo>
                    <a:lnTo>
                      <a:pt x="860" y="678"/>
                    </a:lnTo>
                    <a:lnTo>
                      <a:pt x="858" y="678"/>
                    </a:lnTo>
                    <a:lnTo>
                      <a:pt x="856" y="678"/>
                    </a:lnTo>
                    <a:lnTo>
                      <a:pt x="856" y="676"/>
                    </a:lnTo>
                    <a:lnTo>
                      <a:pt x="854" y="676"/>
                    </a:lnTo>
                    <a:lnTo>
                      <a:pt x="852" y="676"/>
                    </a:lnTo>
                    <a:lnTo>
                      <a:pt x="852" y="678"/>
                    </a:lnTo>
                    <a:lnTo>
                      <a:pt x="852" y="680"/>
                    </a:lnTo>
                    <a:lnTo>
                      <a:pt x="852" y="681"/>
                    </a:lnTo>
                    <a:lnTo>
                      <a:pt x="852" y="683"/>
                    </a:lnTo>
                    <a:lnTo>
                      <a:pt x="850" y="683"/>
                    </a:lnTo>
                    <a:lnTo>
                      <a:pt x="850" y="681"/>
                    </a:lnTo>
                    <a:lnTo>
                      <a:pt x="848" y="681"/>
                    </a:lnTo>
                    <a:lnTo>
                      <a:pt x="848" y="683"/>
                    </a:lnTo>
                    <a:lnTo>
                      <a:pt x="850" y="683"/>
                    </a:lnTo>
                    <a:lnTo>
                      <a:pt x="850" y="685"/>
                    </a:lnTo>
                    <a:lnTo>
                      <a:pt x="850" y="687"/>
                    </a:lnTo>
                    <a:lnTo>
                      <a:pt x="848" y="687"/>
                    </a:lnTo>
                    <a:lnTo>
                      <a:pt x="846" y="687"/>
                    </a:lnTo>
                    <a:lnTo>
                      <a:pt x="846" y="689"/>
                    </a:lnTo>
                    <a:lnTo>
                      <a:pt x="845" y="689"/>
                    </a:lnTo>
                    <a:lnTo>
                      <a:pt x="845" y="687"/>
                    </a:lnTo>
                    <a:lnTo>
                      <a:pt x="843" y="687"/>
                    </a:lnTo>
                    <a:lnTo>
                      <a:pt x="841" y="687"/>
                    </a:lnTo>
                    <a:lnTo>
                      <a:pt x="841" y="689"/>
                    </a:lnTo>
                    <a:lnTo>
                      <a:pt x="843" y="691"/>
                    </a:lnTo>
                    <a:lnTo>
                      <a:pt x="845" y="691"/>
                    </a:lnTo>
                    <a:lnTo>
                      <a:pt x="845" y="693"/>
                    </a:lnTo>
                    <a:lnTo>
                      <a:pt x="845" y="691"/>
                    </a:lnTo>
                    <a:lnTo>
                      <a:pt x="846" y="691"/>
                    </a:lnTo>
                    <a:lnTo>
                      <a:pt x="846" y="693"/>
                    </a:lnTo>
                    <a:lnTo>
                      <a:pt x="848" y="693"/>
                    </a:lnTo>
                    <a:lnTo>
                      <a:pt x="850" y="693"/>
                    </a:lnTo>
                    <a:lnTo>
                      <a:pt x="850" y="695"/>
                    </a:lnTo>
                    <a:lnTo>
                      <a:pt x="850" y="697"/>
                    </a:lnTo>
                    <a:lnTo>
                      <a:pt x="848" y="697"/>
                    </a:lnTo>
                    <a:lnTo>
                      <a:pt x="848" y="698"/>
                    </a:lnTo>
                    <a:lnTo>
                      <a:pt x="848" y="697"/>
                    </a:lnTo>
                    <a:lnTo>
                      <a:pt x="846" y="697"/>
                    </a:lnTo>
                    <a:lnTo>
                      <a:pt x="846" y="698"/>
                    </a:lnTo>
                    <a:lnTo>
                      <a:pt x="846" y="700"/>
                    </a:lnTo>
                    <a:lnTo>
                      <a:pt x="845" y="698"/>
                    </a:lnTo>
                    <a:lnTo>
                      <a:pt x="843" y="697"/>
                    </a:lnTo>
                    <a:lnTo>
                      <a:pt x="841" y="698"/>
                    </a:lnTo>
                    <a:lnTo>
                      <a:pt x="843" y="698"/>
                    </a:lnTo>
                    <a:lnTo>
                      <a:pt x="843" y="700"/>
                    </a:lnTo>
                    <a:lnTo>
                      <a:pt x="843" y="702"/>
                    </a:lnTo>
                    <a:lnTo>
                      <a:pt x="845" y="704"/>
                    </a:lnTo>
                    <a:lnTo>
                      <a:pt x="843" y="704"/>
                    </a:lnTo>
                    <a:lnTo>
                      <a:pt x="843" y="706"/>
                    </a:lnTo>
                    <a:lnTo>
                      <a:pt x="843" y="708"/>
                    </a:lnTo>
                    <a:lnTo>
                      <a:pt x="843" y="710"/>
                    </a:lnTo>
                    <a:lnTo>
                      <a:pt x="841" y="710"/>
                    </a:lnTo>
                    <a:lnTo>
                      <a:pt x="841" y="708"/>
                    </a:lnTo>
                    <a:lnTo>
                      <a:pt x="839" y="708"/>
                    </a:lnTo>
                    <a:lnTo>
                      <a:pt x="839" y="710"/>
                    </a:lnTo>
                    <a:lnTo>
                      <a:pt x="839" y="712"/>
                    </a:lnTo>
                    <a:lnTo>
                      <a:pt x="839" y="713"/>
                    </a:lnTo>
                    <a:lnTo>
                      <a:pt x="837" y="713"/>
                    </a:lnTo>
                    <a:lnTo>
                      <a:pt x="835" y="713"/>
                    </a:lnTo>
                    <a:lnTo>
                      <a:pt x="833" y="713"/>
                    </a:lnTo>
                    <a:lnTo>
                      <a:pt x="831" y="713"/>
                    </a:lnTo>
                    <a:lnTo>
                      <a:pt x="831" y="715"/>
                    </a:lnTo>
                    <a:lnTo>
                      <a:pt x="831" y="717"/>
                    </a:lnTo>
                    <a:lnTo>
                      <a:pt x="833" y="717"/>
                    </a:lnTo>
                    <a:lnTo>
                      <a:pt x="835" y="719"/>
                    </a:lnTo>
                    <a:lnTo>
                      <a:pt x="835" y="721"/>
                    </a:lnTo>
                    <a:lnTo>
                      <a:pt x="835" y="723"/>
                    </a:lnTo>
                    <a:lnTo>
                      <a:pt x="833" y="723"/>
                    </a:lnTo>
                    <a:lnTo>
                      <a:pt x="831" y="723"/>
                    </a:lnTo>
                    <a:lnTo>
                      <a:pt x="829" y="723"/>
                    </a:lnTo>
                    <a:lnTo>
                      <a:pt x="829" y="725"/>
                    </a:lnTo>
                    <a:lnTo>
                      <a:pt x="828" y="723"/>
                    </a:lnTo>
                    <a:lnTo>
                      <a:pt x="826" y="723"/>
                    </a:lnTo>
                    <a:lnTo>
                      <a:pt x="826" y="725"/>
                    </a:lnTo>
                    <a:lnTo>
                      <a:pt x="824" y="725"/>
                    </a:lnTo>
                    <a:lnTo>
                      <a:pt x="824" y="727"/>
                    </a:lnTo>
                    <a:lnTo>
                      <a:pt x="824" y="729"/>
                    </a:lnTo>
                    <a:lnTo>
                      <a:pt x="822" y="729"/>
                    </a:lnTo>
                    <a:lnTo>
                      <a:pt x="822" y="730"/>
                    </a:lnTo>
                    <a:lnTo>
                      <a:pt x="820" y="730"/>
                    </a:lnTo>
                    <a:lnTo>
                      <a:pt x="818" y="730"/>
                    </a:lnTo>
                    <a:lnTo>
                      <a:pt x="818" y="732"/>
                    </a:lnTo>
                    <a:lnTo>
                      <a:pt x="816" y="732"/>
                    </a:lnTo>
                    <a:lnTo>
                      <a:pt x="816" y="734"/>
                    </a:lnTo>
                    <a:lnTo>
                      <a:pt x="814" y="734"/>
                    </a:lnTo>
                    <a:lnTo>
                      <a:pt x="814" y="736"/>
                    </a:lnTo>
                    <a:lnTo>
                      <a:pt x="814" y="738"/>
                    </a:lnTo>
                    <a:lnTo>
                      <a:pt x="813" y="738"/>
                    </a:lnTo>
                    <a:lnTo>
                      <a:pt x="811" y="738"/>
                    </a:lnTo>
                    <a:lnTo>
                      <a:pt x="809" y="740"/>
                    </a:lnTo>
                    <a:lnTo>
                      <a:pt x="811" y="740"/>
                    </a:lnTo>
                    <a:lnTo>
                      <a:pt x="811" y="742"/>
                    </a:lnTo>
                    <a:lnTo>
                      <a:pt x="811" y="744"/>
                    </a:lnTo>
                    <a:lnTo>
                      <a:pt x="811" y="745"/>
                    </a:lnTo>
                    <a:lnTo>
                      <a:pt x="811" y="744"/>
                    </a:lnTo>
                    <a:lnTo>
                      <a:pt x="813" y="744"/>
                    </a:lnTo>
                    <a:lnTo>
                      <a:pt x="814" y="744"/>
                    </a:lnTo>
                    <a:lnTo>
                      <a:pt x="814" y="745"/>
                    </a:lnTo>
                    <a:lnTo>
                      <a:pt x="816" y="745"/>
                    </a:lnTo>
                    <a:lnTo>
                      <a:pt x="816" y="747"/>
                    </a:lnTo>
                    <a:lnTo>
                      <a:pt x="816" y="749"/>
                    </a:lnTo>
                    <a:lnTo>
                      <a:pt x="814" y="751"/>
                    </a:lnTo>
                    <a:lnTo>
                      <a:pt x="813" y="751"/>
                    </a:lnTo>
                    <a:lnTo>
                      <a:pt x="811" y="753"/>
                    </a:lnTo>
                    <a:lnTo>
                      <a:pt x="811" y="755"/>
                    </a:lnTo>
                    <a:lnTo>
                      <a:pt x="809" y="757"/>
                    </a:lnTo>
                    <a:lnTo>
                      <a:pt x="807" y="757"/>
                    </a:lnTo>
                    <a:lnTo>
                      <a:pt x="805" y="757"/>
                    </a:lnTo>
                    <a:lnTo>
                      <a:pt x="803" y="757"/>
                    </a:lnTo>
                    <a:lnTo>
                      <a:pt x="803" y="759"/>
                    </a:lnTo>
                    <a:lnTo>
                      <a:pt x="803" y="761"/>
                    </a:lnTo>
                    <a:lnTo>
                      <a:pt x="803" y="762"/>
                    </a:lnTo>
                    <a:lnTo>
                      <a:pt x="801" y="762"/>
                    </a:lnTo>
                    <a:lnTo>
                      <a:pt x="801" y="761"/>
                    </a:lnTo>
                    <a:lnTo>
                      <a:pt x="799" y="761"/>
                    </a:lnTo>
                    <a:lnTo>
                      <a:pt x="797" y="761"/>
                    </a:lnTo>
                    <a:lnTo>
                      <a:pt x="796" y="761"/>
                    </a:lnTo>
                    <a:lnTo>
                      <a:pt x="794" y="761"/>
                    </a:lnTo>
                    <a:lnTo>
                      <a:pt x="794" y="762"/>
                    </a:lnTo>
                    <a:lnTo>
                      <a:pt x="794" y="764"/>
                    </a:lnTo>
                    <a:lnTo>
                      <a:pt x="796" y="764"/>
                    </a:lnTo>
                    <a:lnTo>
                      <a:pt x="796" y="766"/>
                    </a:lnTo>
                    <a:lnTo>
                      <a:pt x="797" y="768"/>
                    </a:lnTo>
                    <a:lnTo>
                      <a:pt x="796" y="768"/>
                    </a:lnTo>
                    <a:lnTo>
                      <a:pt x="796" y="770"/>
                    </a:lnTo>
                    <a:lnTo>
                      <a:pt x="794" y="770"/>
                    </a:lnTo>
                    <a:lnTo>
                      <a:pt x="792" y="770"/>
                    </a:lnTo>
                    <a:lnTo>
                      <a:pt x="790" y="770"/>
                    </a:lnTo>
                    <a:lnTo>
                      <a:pt x="790" y="772"/>
                    </a:lnTo>
                    <a:lnTo>
                      <a:pt x="788" y="772"/>
                    </a:lnTo>
                    <a:lnTo>
                      <a:pt x="788" y="774"/>
                    </a:lnTo>
                    <a:lnTo>
                      <a:pt x="788" y="776"/>
                    </a:lnTo>
                    <a:lnTo>
                      <a:pt x="788" y="777"/>
                    </a:lnTo>
                    <a:lnTo>
                      <a:pt x="788" y="779"/>
                    </a:lnTo>
                    <a:lnTo>
                      <a:pt x="788" y="781"/>
                    </a:lnTo>
                    <a:lnTo>
                      <a:pt x="788" y="783"/>
                    </a:lnTo>
                    <a:lnTo>
                      <a:pt x="786" y="783"/>
                    </a:lnTo>
                    <a:lnTo>
                      <a:pt x="784" y="783"/>
                    </a:lnTo>
                    <a:lnTo>
                      <a:pt x="784" y="781"/>
                    </a:lnTo>
                    <a:lnTo>
                      <a:pt x="782" y="781"/>
                    </a:lnTo>
                    <a:lnTo>
                      <a:pt x="781" y="781"/>
                    </a:lnTo>
                    <a:lnTo>
                      <a:pt x="781" y="783"/>
                    </a:lnTo>
                    <a:lnTo>
                      <a:pt x="782" y="785"/>
                    </a:lnTo>
                    <a:lnTo>
                      <a:pt x="782" y="787"/>
                    </a:lnTo>
                    <a:lnTo>
                      <a:pt x="784" y="787"/>
                    </a:lnTo>
                    <a:lnTo>
                      <a:pt x="784" y="789"/>
                    </a:lnTo>
                    <a:lnTo>
                      <a:pt x="784" y="791"/>
                    </a:lnTo>
                    <a:lnTo>
                      <a:pt x="786" y="793"/>
                    </a:lnTo>
                    <a:lnTo>
                      <a:pt x="784" y="794"/>
                    </a:lnTo>
                    <a:lnTo>
                      <a:pt x="782" y="794"/>
                    </a:lnTo>
                    <a:lnTo>
                      <a:pt x="781" y="794"/>
                    </a:lnTo>
                    <a:lnTo>
                      <a:pt x="781" y="796"/>
                    </a:lnTo>
                    <a:lnTo>
                      <a:pt x="779" y="794"/>
                    </a:lnTo>
                    <a:lnTo>
                      <a:pt x="777" y="796"/>
                    </a:lnTo>
                    <a:lnTo>
                      <a:pt x="777" y="798"/>
                    </a:lnTo>
                    <a:lnTo>
                      <a:pt x="777" y="800"/>
                    </a:lnTo>
                    <a:lnTo>
                      <a:pt x="775" y="800"/>
                    </a:lnTo>
                    <a:lnTo>
                      <a:pt x="775" y="802"/>
                    </a:lnTo>
                    <a:lnTo>
                      <a:pt x="775" y="804"/>
                    </a:lnTo>
                    <a:lnTo>
                      <a:pt x="773" y="804"/>
                    </a:lnTo>
                    <a:lnTo>
                      <a:pt x="773" y="806"/>
                    </a:lnTo>
                    <a:lnTo>
                      <a:pt x="771" y="806"/>
                    </a:lnTo>
                    <a:lnTo>
                      <a:pt x="769" y="806"/>
                    </a:lnTo>
                    <a:lnTo>
                      <a:pt x="767" y="808"/>
                    </a:lnTo>
                    <a:lnTo>
                      <a:pt x="769" y="809"/>
                    </a:lnTo>
                    <a:lnTo>
                      <a:pt x="769" y="811"/>
                    </a:lnTo>
                    <a:lnTo>
                      <a:pt x="767" y="811"/>
                    </a:lnTo>
                    <a:lnTo>
                      <a:pt x="769" y="811"/>
                    </a:lnTo>
                    <a:lnTo>
                      <a:pt x="769" y="813"/>
                    </a:lnTo>
                    <a:lnTo>
                      <a:pt x="769" y="815"/>
                    </a:lnTo>
                    <a:lnTo>
                      <a:pt x="769" y="817"/>
                    </a:lnTo>
                    <a:lnTo>
                      <a:pt x="767" y="817"/>
                    </a:lnTo>
                    <a:lnTo>
                      <a:pt x="766" y="817"/>
                    </a:lnTo>
                    <a:lnTo>
                      <a:pt x="764" y="817"/>
                    </a:lnTo>
                    <a:lnTo>
                      <a:pt x="764" y="815"/>
                    </a:lnTo>
                    <a:lnTo>
                      <a:pt x="762" y="815"/>
                    </a:lnTo>
                    <a:lnTo>
                      <a:pt x="760" y="817"/>
                    </a:lnTo>
                    <a:lnTo>
                      <a:pt x="758" y="817"/>
                    </a:lnTo>
                    <a:lnTo>
                      <a:pt x="756" y="819"/>
                    </a:lnTo>
                    <a:lnTo>
                      <a:pt x="756" y="821"/>
                    </a:lnTo>
                    <a:lnTo>
                      <a:pt x="754" y="821"/>
                    </a:lnTo>
                    <a:lnTo>
                      <a:pt x="756" y="823"/>
                    </a:lnTo>
                    <a:lnTo>
                      <a:pt x="754" y="823"/>
                    </a:lnTo>
                    <a:lnTo>
                      <a:pt x="754" y="825"/>
                    </a:lnTo>
                    <a:lnTo>
                      <a:pt x="754" y="826"/>
                    </a:lnTo>
                    <a:lnTo>
                      <a:pt x="754" y="828"/>
                    </a:lnTo>
                    <a:lnTo>
                      <a:pt x="756" y="828"/>
                    </a:lnTo>
                    <a:lnTo>
                      <a:pt x="756" y="830"/>
                    </a:lnTo>
                    <a:lnTo>
                      <a:pt x="754" y="830"/>
                    </a:lnTo>
                    <a:lnTo>
                      <a:pt x="752" y="830"/>
                    </a:lnTo>
                    <a:lnTo>
                      <a:pt x="750" y="830"/>
                    </a:lnTo>
                    <a:lnTo>
                      <a:pt x="750" y="828"/>
                    </a:lnTo>
                    <a:lnTo>
                      <a:pt x="749" y="828"/>
                    </a:lnTo>
                    <a:lnTo>
                      <a:pt x="747" y="828"/>
                    </a:lnTo>
                    <a:lnTo>
                      <a:pt x="747" y="830"/>
                    </a:lnTo>
                    <a:lnTo>
                      <a:pt x="745" y="830"/>
                    </a:lnTo>
                    <a:lnTo>
                      <a:pt x="743" y="830"/>
                    </a:lnTo>
                    <a:lnTo>
                      <a:pt x="743" y="832"/>
                    </a:lnTo>
                    <a:lnTo>
                      <a:pt x="743" y="834"/>
                    </a:lnTo>
                    <a:lnTo>
                      <a:pt x="743" y="836"/>
                    </a:lnTo>
                    <a:lnTo>
                      <a:pt x="741" y="836"/>
                    </a:lnTo>
                    <a:lnTo>
                      <a:pt x="739" y="836"/>
                    </a:lnTo>
                    <a:lnTo>
                      <a:pt x="739" y="838"/>
                    </a:lnTo>
                    <a:lnTo>
                      <a:pt x="739" y="836"/>
                    </a:lnTo>
                    <a:lnTo>
                      <a:pt x="737" y="836"/>
                    </a:lnTo>
                    <a:lnTo>
                      <a:pt x="737" y="838"/>
                    </a:lnTo>
                    <a:lnTo>
                      <a:pt x="735" y="836"/>
                    </a:lnTo>
                    <a:lnTo>
                      <a:pt x="735" y="834"/>
                    </a:lnTo>
                    <a:lnTo>
                      <a:pt x="734" y="834"/>
                    </a:lnTo>
                    <a:lnTo>
                      <a:pt x="734" y="836"/>
                    </a:lnTo>
                    <a:lnTo>
                      <a:pt x="732" y="836"/>
                    </a:lnTo>
                    <a:lnTo>
                      <a:pt x="732" y="838"/>
                    </a:lnTo>
                    <a:lnTo>
                      <a:pt x="730" y="838"/>
                    </a:lnTo>
                    <a:lnTo>
                      <a:pt x="730" y="840"/>
                    </a:lnTo>
                    <a:lnTo>
                      <a:pt x="730" y="841"/>
                    </a:lnTo>
                    <a:lnTo>
                      <a:pt x="728" y="841"/>
                    </a:lnTo>
                    <a:lnTo>
                      <a:pt x="726" y="841"/>
                    </a:lnTo>
                    <a:lnTo>
                      <a:pt x="724" y="840"/>
                    </a:lnTo>
                    <a:lnTo>
                      <a:pt x="722" y="840"/>
                    </a:lnTo>
                    <a:lnTo>
                      <a:pt x="720" y="840"/>
                    </a:lnTo>
                    <a:lnTo>
                      <a:pt x="718" y="840"/>
                    </a:lnTo>
                    <a:lnTo>
                      <a:pt x="718" y="838"/>
                    </a:lnTo>
                    <a:lnTo>
                      <a:pt x="717" y="838"/>
                    </a:lnTo>
                    <a:lnTo>
                      <a:pt x="717" y="840"/>
                    </a:lnTo>
                    <a:lnTo>
                      <a:pt x="715" y="840"/>
                    </a:lnTo>
                    <a:lnTo>
                      <a:pt x="715" y="841"/>
                    </a:lnTo>
                    <a:lnTo>
                      <a:pt x="713" y="843"/>
                    </a:lnTo>
                    <a:lnTo>
                      <a:pt x="711" y="841"/>
                    </a:lnTo>
                    <a:lnTo>
                      <a:pt x="711" y="843"/>
                    </a:lnTo>
                    <a:lnTo>
                      <a:pt x="709" y="843"/>
                    </a:lnTo>
                    <a:lnTo>
                      <a:pt x="707" y="843"/>
                    </a:lnTo>
                    <a:lnTo>
                      <a:pt x="707" y="845"/>
                    </a:lnTo>
                    <a:lnTo>
                      <a:pt x="705" y="847"/>
                    </a:lnTo>
                    <a:lnTo>
                      <a:pt x="703" y="847"/>
                    </a:lnTo>
                    <a:lnTo>
                      <a:pt x="703" y="849"/>
                    </a:lnTo>
                    <a:lnTo>
                      <a:pt x="705" y="851"/>
                    </a:lnTo>
                    <a:lnTo>
                      <a:pt x="703" y="851"/>
                    </a:lnTo>
                    <a:lnTo>
                      <a:pt x="702" y="851"/>
                    </a:lnTo>
                    <a:lnTo>
                      <a:pt x="702" y="853"/>
                    </a:lnTo>
                    <a:lnTo>
                      <a:pt x="700" y="853"/>
                    </a:lnTo>
                    <a:lnTo>
                      <a:pt x="700" y="855"/>
                    </a:lnTo>
                    <a:lnTo>
                      <a:pt x="698" y="855"/>
                    </a:lnTo>
                    <a:lnTo>
                      <a:pt x="698" y="853"/>
                    </a:lnTo>
                    <a:lnTo>
                      <a:pt x="698" y="851"/>
                    </a:lnTo>
                    <a:lnTo>
                      <a:pt x="696" y="851"/>
                    </a:lnTo>
                    <a:lnTo>
                      <a:pt x="696" y="849"/>
                    </a:lnTo>
                    <a:lnTo>
                      <a:pt x="694" y="849"/>
                    </a:lnTo>
                    <a:lnTo>
                      <a:pt x="694" y="851"/>
                    </a:lnTo>
                    <a:lnTo>
                      <a:pt x="694" y="853"/>
                    </a:lnTo>
                    <a:lnTo>
                      <a:pt x="694" y="855"/>
                    </a:lnTo>
                    <a:lnTo>
                      <a:pt x="694" y="857"/>
                    </a:lnTo>
                    <a:lnTo>
                      <a:pt x="694" y="858"/>
                    </a:lnTo>
                    <a:lnTo>
                      <a:pt x="692" y="858"/>
                    </a:lnTo>
                    <a:lnTo>
                      <a:pt x="692" y="860"/>
                    </a:lnTo>
                    <a:lnTo>
                      <a:pt x="690" y="860"/>
                    </a:lnTo>
                    <a:lnTo>
                      <a:pt x="688" y="860"/>
                    </a:lnTo>
                    <a:lnTo>
                      <a:pt x="688" y="858"/>
                    </a:lnTo>
                    <a:lnTo>
                      <a:pt x="687" y="857"/>
                    </a:lnTo>
                    <a:lnTo>
                      <a:pt x="687" y="855"/>
                    </a:lnTo>
                    <a:lnTo>
                      <a:pt x="685" y="855"/>
                    </a:lnTo>
                    <a:lnTo>
                      <a:pt x="683" y="855"/>
                    </a:lnTo>
                    <a:lnTo>
                      <a:pt x="681" y="855"/>
                    </a:lnTo>
                    <a:lnTo>
                      <a:pt x="681" y="857"/>
                    </a:lnTo>
                    <a:lnTo>
                      <a:pt x="683" y="857"/>
                    </a:lnTo>
                    <a:lnTo>
                      <a:pt x="683" y="858"/>
                    </a:lnTo>
                    <a:lnTo>
                      <a:pt x="685" y="860"/>
                    </a:lnTo>
                    <a:lnTo>
                      <a:pt x="685" y="862"/>
                    </a:lnTo>
                    <a:lnTo>
                      <a:pt x="683" y="862"/>
                    </a:lnTo>
                    <a:lnTo>
                      <a:pt x="681" y="864"/>
                    </a:lnTo>
                    <a:lnTo>
                      <a:pt x="681" y="866"/>
                    </a:lnTo>
                    <a:lnTo>
                      <a:pt x="681" y="868"/>
                    </a:lnTo>
                    <a:lnTo>
                      <a:pt x="681" y="870"/>
                    </a:lnTo>
                    <a:lnTo>
                      <a:pt x="683" y="870"/>
                    </a:lnTo>
                    <a:lnTo>
                      <a:pt x="685" y="870"/>
                    </a:lnTo>
                    <a:lnTo>
                      <a:pt x="685" y="872"/>
                    </a:lnTo>
                    <a:lnTo>
                      <a:pt x="687" y="873"/>
                    </a:lnTo>
                    <a:lnTo>
                      <a:pt x="690" y="875"/>
                    </a:lnTo>
                    <a:lnTo>
                      <a:pt x="692" y="879"/>
                    </a:lnTo>
                    <a:lnTo>
                      <a:pt x="694" y="881"/>
                    </a:lnTo>
                    <a:lnTo>
                      <a:pt x="696" y="883"/>
                    </a:lnTo>
                    <a:lnTo>
                      <a:pt x="698" y="883"/>
                    </a:lnTo>
                    <a:lnTo>
                      <a:pt x="700" y="885"/>
                    </a:lnTo>
                    <a:lnTo>
                      <a:pt x="698" y="887"/>
                    </a:lnTo>
                    <a:lnTo>
                      <a:pt x="702" y="889"/>
                    </a:lnTo>
                    <a:lnTo>
                      <a:pt x="705" y="896"/>
                    </a:lnTo>
                    <a:lnTo>
                      <a:pt x="711" y="911"/>
                    </a:lnTo>
                    <a:lnTo>
                      <a:pt x="713" y="917"/>
                    </a:lnTo>
                    <a:lnTo>
                      <a:pt x="718" y="928"/>
                    </a:lnTo>
                    <a:lnTo>
                      <a:pt x="720" y="932"/>
                    </a:lnTo>
                    <a:lnTo>
                      <a:pt x="722" y="937"/>
                    </a:lnTo>
                    <a:lnTo>
                      <a:pt x="722" y="939"/>
                    </a:lnTo>
                    <a:lnTo>
                      <a:pt x="724" y="941"/>
                    </a:lnTo>
                    <a:lnTo>
                      <a:pt x="724" y="945"/>
                    </a:lnTo>
                    <a:lnTo>
                      <a:pt x="726" y="949"/>
                    </a:lnTo>
                    <a:lnTo>
                      <a:pt x="728" y="953"/>
                    </a:lnTo>
                    <a:lnTo>
                      <a:pt x="732" y="964"/>
                    </a:lnTo>
                    <a:lnTo>
                      <a:pt x="734" y="968"/>
                    </a:lnTo>
                    <a:lnTo>
                      <a:pt x="734" y="969"/>
                    </a:lnTo>
                    <a:lnTo>
                      <a:pt x="734" y="971"/>
                    </a:lnTo>
                    <a:lnTo>
                      <a:pt x="737" y="971"/>
                    </a:lnTo>
                    <a:lnTo>
                      <a:pt x="743" y="975"/>
                    </a:lnTo>
                    <a:lnTo>
                      <a:pt x="747" y="975"/>
                    </a:lnTo>
                    <a:lnTo>
                      <a:pt x="745" y="977"/>
                    </a:lnTo>
                    <a:lnTo>
                      <a:pt x="745" y="981"/>
                    </a:lnTo>
                    <a:lnTo>
                      <a:pt x="747" y="981"/>
                    </a:lnTo>
                    <a:lnTo>
                      <a:pt x="749" y="981"/>
                    </a:lnTo>
                    <a:lnTo>
                      <a:pt x="749" y="983"/>
                    </a:lnTo>
                    <a:lnTo>
                      <a:pt x="750" y="983"/>
                    </a:lnTo>
                    <a:lnTo>
                      <a:pt x="752" y="983"/>
                    </a:lnTo>
                    <a:lnTo>
                      <a:pt x="752" y="985"/>
                    </a:lnTo>
                    <a:lnTo>
                      <a:pt x="760" y="1009"/>
                    </a:lnTo>
                    <a:lnTo>
                      <a:pt x="760" y="1011"/>
                    </a:lnTo>
                    <a:lnTo>
                      <a:pt x="762" y="1011"/>
                    </a:lnTo>
                    <a:lnTo>
                      <a:pt x="764" y="1011"/>
                    </a:lnTo>
                    <a:lnTo>
                      <a:pt x="766" y="1011"/>
                    </a:lnTo>
                    <a:lnTo>
                      <a:pt x="767" y="1011"/>
                    </a:lnTo>
                    <a:lnTo>
                      <a:pt x="769" y="1011"/>
                    </a:lnTo>
                    <a:lnTo>
                      <a:pt x="771" y="1011"/>
                    </a:lnTo>
                    <a:lnTo>
                      <a:pt x="773" y="1011"/>
                    </a:lnTo>
                    <a:lnTo>
                      <a:pt x="775" y="1011"/>
                    </a:lnTo>
                    <a:lnTo>
                      <a:pt x="777" y="1011"/>
                    </a:lnTo>
                    <a:lnTo>
                      <a:pt x="779" y="1011"/>
                    </a:lnTo>
                    <a:lnTo>
                      <a:pt x="779" y="1009"/>
                    </a:lnTo>
                    <a:lnTo>
                      <a:pt x="781" y="1009"/>
                    </a:lnTo>
                    <a:lnTo>
                      <a:pt x="781" y="1011"/>
                    </a:lnTo>
                    <a:lnTo>
                      <a:pt x="781" y="1013"/>
                    </a:lnTo>
                    <a:lnTo>
                      <a:pt x="782" y="1013"/>
                    </a:lnTo>
                    <a:lnTo>
                      <a:pt x="782" y="1015"/>
                    </a:lnTo>
                    <a:lnTo>
                      <a:pt x="781" y="1015"/>
                    </a:lnTo>
                    <a:lnTo>
                      <a:pt x="781" y="1017"/>
                    </a:lnTo>
                    <a:lnTo>
                      <a:pt x="779" y="1017"/>
                    </a:lnTo>
                    <a:lnTo>
                      <a:pt x="777" y="1017"/>
                    </a:lnTo>
                    <a:lnTo>
                      <a:pt x="777" y="1018"/>
                    </a:lnTo>
                    <a:lnTo>
                      <a:pt x="777" y="1020"/>
                    </a:lnTo>
                    <a:lnTo>
                      <a:pt x="775" y="1020"/>
                    </a:lnTo>
                    <a:lnTo>
                      <a:pt x="775" y="1022"/>
                    </a:lnTo>
                    <a:lnTo>
                      <a:pt x="777" y="1024"/>
                    </a:lnTo>
                    <a:lnTo>
                      <a:pt x="775" y="1026"/>
                    </a:lnTo>
                    <a:lnTo>
                      <a:pt x="773" y="1024"/>
                    </a:lnTo>
                    <a:lnTo>
                      <a:pt x="771" y="1024"/>
                    </a:lnTo>
                    <a:lnTo>
                      <a:pt x="771" y="1026"/>
                    </a:lnTo>
                    <a:lnTo>
                      <a:pt x="773" y="1026"/>
                    </a:lnTo>
                    <a:lnTo>
                      <a:pt x="773" y="1028"/>
                    </a:lnTo>
                    <a:lnTo>
                      <a:pt x="773" y="1030"/>
                    </a:lnTo>
                    <a:lnTo>
                      <a:pt x="771" y="1030"/>
                    </a:lnTo>
                    <a:lnTo>
                      <a:pt x="771" y="1032"/>
                    </a:lnTo>
                    <a:lnTo>
                      <a:pt x="771" y="1034"/>
                    </a:lnTo>
                    <a:lnTo>
                      <a:pt x="771" y="1035"/>
                    </a:lnTo>
                    <a:lnTo>
                      <a:pt x="771" y="1037"/>
                    </a:lnTo>
                    <a:lnTo>
                      <a:pt x="771" y="1039"/>
                    </a:lnTo>
                    <a:lnTo>
                      <a:pt x="771" y="1041"/>
                    </a:lnTo>
                    <a:lnTo>
                      <a:pt x="771" y="1043"/>
                    </a:lnTo>
                    <a:lnTo>
                      <a:pt x="771" y="1045"/>
                    </a:lnTo>
                    <a:lnTo>
                      <a:pt x="771" y="1047"/>
                    </a:lnTo>
                    <a:lnTo>
                      <a:pt x="771" y="1049"/>
                    </a:lnTo>
                    <a:lnTo>
                      <a:pt x="771" y="1050"/>
                    </a:lnTo>
                    <a:lnTo>
                      <a:pt x="773" y="1050"/>
                    </a:lnTo>
                    <a:lnTo>
                      <a:pt x="773" y="1049"/>
                    </a:lnTo>
                    <a:lnTo>
                      <a:pt x="775" y="1049"/>
                    </a:lnTo>
                    <a:lnTo>
                      <a:pt x="775" y="1050"/>
                    </a:lnTo>
                    <a:lnTo>
                      <a:pt x="775" y="1052"/>
                    </a:lnTo>
                    <a:lnTo>
                      <a:pt x="777" y="1050"/>
                    </a:lnTo>
                    <a:lnTo>
                      <a:pt x="777" y="1052"/>
                    </a:lnTo>
                    <a:lnTo>
                      <a:pt x="775" y="1054"/>
                    </a:lnTo>
                    <a:lnTo>
                      <a:pt x="777" y="1054"/>
                    </a:lnTo>
                    <a:lnTo>
                      <a:pt x="777" y="1056"/>
                    </a:lnTo>
                    <a:lnTo>
                      <a:pt x="775" y="1056"/>
                    </a:lnTo>
                    <a:lnTo>
                      <a:pt x="775" y="1058"/>
                    </a:lnTo>
                    <a:lnTo>
                      <a:pt x="777" y="1058"/>
                    </a:lnTo>
                    <a:lnTo>
                      <a:pt x="779" y="1058"/>
                    </a:lnTo>
                    <a:lnTo>
                      <a:pt x="779" y="1060"/>
                    </a:lnTo>
                    <a:lnTo>
                      <a:pt x="777" y="1060"/>
                    </a:lnTo>
                    <a:lnTo>
                      <a:pt x="775" y="1060"/>
                    </a:lnTo>
                    <a:lnTo>
                      <a:pt x="777" y="1062"/>
                    </a:lnTo>
                    <a:lnTo>
                      <a:pt x="777" y="1064"/>
                    </a:lnTo>
                    <a:lnTo>
                      <a:pt x="775" y="1064"/>
                    </a:lnTo>
                    <a:lnTo>
                      <a:pt x="775" y="1062"/>
                    </a:lnTo>
                    <a:lnTo>
                      <a:pt x="775" y="1064"/>
                    </a:lnTo>
                    <a:lnTo>
                      <a:pt x="773" y="1064"/>
                    </a:lnTo>
                    <a:lnTo>
                      <a:pt x="773" y="1066"/>
                    </a:lnTo>
                    <a:lnTo>
                      <a:pt x="773" y="1064"/>
                    </a:lnTo>
                    <a:lnTo>
                      <a:pt x="771" y="1064"/>
                    </a:lnTo>
                    <a:lnTo>
                      <a:pt x="769" y="1064"/>
                    </a:lnTo>
                    <a:lnTo>
                      <a:pt x="767" y="1066"/>
                    </a:lnTo>
                    <a:lnTo>
                      <a:pt x="766" y="1066"/>
                    </a:lnTo>
                    <a:lnTo>
                      <a:pt x="767" y="1067"/>
                    </a:lnTo>
                    <a:lnTo>
                      <a:pt x="769" y="1067"/>
                    </a:lnTo>
                    <a:lnTo>
                      <a:pt x="771" y="1067"/>
                    </a:lnTo>
                    <a:lnTo>
                      <a:pt x="771" y="1069"/>
                    </a:lnTo>
                    <a:lnTo>
                      <a:pt x="771" y="1071"/>
                    </a:lnTo>
                    <a:lnTo>
                      <a:pt x="771" y="1073"/>
                    </a:lnTo>
                    <a:lnTo>
                      <a:pt x="769" y="1073"/>
                    </a:lnTo>
                    <a:lnTo>
                      <a:pt x="771" y="1075"/>
                    </a:lnTo>
                    <a:lnTo>
                      <a:pt x="771" y="1077"/>
                    </a:lnTo>
                    <a:lnTo>
                      <a:pt x="771" y="1079"/>
                    </a:lnTo>
                    <a:lnTo>
                      <a:pt x="773" y="1079"/>
                    </a:lnTo>
                    <a:lnTo>
                      <a:pt x="775" y="1079"/>
                    </a:lnTo>
                    <a:lnTo>
                      <a:pt x="775" y="1077"/>
                    </a:lnTo>
                    <a:lnTo>
                      <a:pt x="775" y="1075"/>
                    </a:lnTo>
                    <a:lnTo>
                      <a:pt x="775" y="1073"/>
                    </a:lnTo>
                    <a:lnTo>
                      <a:pt x="777" y="1073"/>
                    </a:lnTo>
                    <a:lnTo>
                      <a:pt x="777" y="1075"/>
                    </a:lnTo>
                    <a:lnTo>
                      <a:pt x="779" y="1075"/>
                    </a:lnTo>
                    <a:lnTo>
                      <a:pt x="779" y="1077"/>
                    </a:lnTo>
                    <a:lnTo>
                      <a:pt x="779" y="1079"/>
                    </a:lnTo>
                    <a:lnTo>
                      <a:pt x="781" y="1081"/>
                    </a:lnTo>
                    <a:lnTo>
                      <a:pt x="781" y="1082"/>
                    </a:lnTo>
                    <a:lnTo>
                      <a:pt x="781" y="1084"/>
                    </a:lnTo>
                    <a:lnTo>
                      <a:pt x="779" y="1084"/>
                    </a:lnTo>
                    <a:lnTo>
                      <a:pt x="777" y="1086"/>
                    </a:lnTo>
                    <a:lnTo>
                      <a:pt x="775" y="1086"/>
                    </a:lnTo>
                    <a:lnTo>
                      <a:pt x="775" y="1088"/>
                    </a:lnTo>
                    <a:lnTo>
                      <a:pt x="773" y="1088"/>
                    </a:lnTo>
                    <a:lnTo>
                      <a:pt x="771" y="1088"/>
                    </a:lnTo>
                    <a:lnTo>
                      <a:pt x="771" y="1086"/>
                    </a:lnTo>
                    <a:lnTo>
                      <a:pt x="769" y="1086"/>
                    </a:lnTo>
                    <a:lnTo>
                      <a:pt x="767" y="1086"/>
                    </a:lnTo>
                    <a:lnTo>
                      <a:pt x="766" y="1086"/>
                    </a:lnTo>
                    <a:lnTo>
                      <a:pt x="764" y="1086"/>
                    </a:lnTo>
                    <a:lnTo>
                      <a:pt x="764" y="1088"/>
                    </a:lnTo>
                    <a:lnTo>
                      <a:pt x="764" y="1090"/>
                    </a:lnTo>
                    <a:lnTo>
                      <a:pt x="762" y="1090"/>
                    </a:lnTo>
                    <a:lnTo>
                      <a:pt x="762" y="1092"/>
                    </a:lnTo>
                    <a:lnTo>
                      <a:pt x="760" y="1092"/>
                    </a:lnTo>
                    <a:lnTo>
                      <a:pt x="760" y="1094"/>
                    </a:lnTo>
                    <a:lnTo>
                      <a:pt x="762" y="1094"/>
                    </a:lnTo>
                    <a:lnTo>
                      <a:pt x="762" y="1096"/>
                    </a:lnTo>
                    <a:lnTo>
                      <a:pt x="764" y="1096"/>
                    </a:lnTo>
                    <a:lnTo>
                      <a:pt x="766" y="1096"/>
                    </a:lnTo>
                    <a:lnTo>
                      <a:pt x="767" y="1096"/>
                    </a:lnTo>
                    <a:lnTo>
                      <a:pt x="767" y="1094"/>
                    </a:lnTo>
                    <a:lnTo>
                      <a:pt x="769" y="1094"/>
                    </a:lnTo>
                    <a:lnTo>
                      <a:pt x="771" y="1096"/>
                    </a:lnTo>
                    <a:lnTo>
                      <a:pt x="771" y="1098"/>
                    </a:lnTo>
                    <a:lnTo>
                      <a:pt x="769" y="1098"/>
                    </a:lnTo>
                    <a:lnTo>
                      <a:pt x="767" y="1099"/>
                    </a:lnTo>
                    <a:lnTo>
                      <a:pt x="767" y="1101"/>
                    </a:lnTo>
                    <a:lnTo>
                      <a:pt x="766" y="1101"/>
                    </a:lnTo>
                    <a:lnTo>
                      <a:pt x="764" y="1101"/>
                    </a:lnTo>
                    <a:lnTo>
                      <a:pt x="762" y="1101"/>
                    </a:lnTo>
                    <a:lnTo>
                      <a:pt x="760" y="1101"/>
                    </a:lnTo>
                    <a:lnTo>
                      <a:pt x="760" y="1099"/>
                    </a:lnTo>
                    <a:lnTo>
                      <a:pt x="758" y="1099"/>
                    </a:lnTo>
                    <a:lnTo>
                      <a:pt x="756" y="1099"/>
                    </a:lnTo>
                    <a:lnTo>
                      <a:pt x="754" y="1099"/>
                    </a:lnTo>
                    <a:lnTo>
                      <a:pt x="752" y="1101"/>
                    </a:lnTo>
                    <a:lnTo>
                      <a:pt x="752" y="1103"/>
                    </a:lnTo>
                    <a:lnTo>
                      <a:pt x="752" y="1105"/>
                    </a:lnTo>
                    <a:lnTo>
                      <a:pt x="754" y="1105"/>
                    </a:lnTo>
                    <a:lnTo>
                      <a:pt x="756" y="1107"/>
                    </a:lnTo>
                    <a:lnTo>
                      <a:pt x="758" y="1107"/>
                    </a:lnTo>
                    <a:lnTo>
                      <a:pt x="758" y="1109"/>
                    </a:lnTo>
                    <a:lnTo>
                      <a:pt x="760" y="1109"/>
                    </a:lnTo>
                    <a:lnTo>
                      <a:pt x="760" y="1111"/>
                    </a:lnTo>
                    <a:lnTo>
                      <a:pt x="762" y="1111"/>
                    </a:lnTo>
                    <a:lnTo>
                      <a:pt x="760" y="1113"/>
                    </a:lnTo>
                    <a:lnTo>
                      <a:pt x="758" y="1113"/>
                    </a:lnTo>
                    <a:lnTo>
                      <a:pt x="756" y="1113"/>
                    </a:lnTo>
                    <a:lnTo>
                      <a:pt x="754" y="1114"/>
                    </a:lnTo>
                    <a:lnTo>
                      <a:pt x="754" y="1116"/>
                    </a:lnTo>
                    <a:lnTo>
                      <a:pt x="754" y="1118"/>
                    </a:lnTo>
                    <a:lnTo>
                      <a:pt x="754" y="1120"/>
                    </a:lnTo>
                    <a:lnTo>
                      <a:pt x="752" y="1120"/>
                    </a:lnTo>
                    <a:lnTo>
                      <a:pt x="750" y="1118"/>
                    </a:lnTo>
                    <a:lnTo>
                      <a:pt x="750" y="1116"/>
                    </a:lnTo>
                    <a:lnTo>
                      <a:pt x="749" y="1116"/>
                    </a:lnTo>
                    <a:lnTo>
                      <a:pt x="747" y="1116"/>
                    </a:lnTo>
                    <a:lnTo>
                      <a:pt x="747" y="1118"/>
                    </a:lnTo>
                    <a:lnTo>
                      <a:pt x="745" y="1118"/>
                    </a:lnTo>
                    <a:lnTo>
                      <a:pt x="745" y="1116"/>
                    </a:lnTo>
                    <a:lnTo>
                      <a:pt x="743" y="1116"/>
                    </a:lnTo>
                    <a:lnTo>
                      <a:pt x="741" y="1116"/>
                    </a:lnTo>
                    <a:lnTo>
                      <a:pt x="741" y="1114"/>
                    </a:lnTo>
                    <a:lnTo>
                      <a:pt x="741" y="1113"/>
                    </a:lnTo>
                    <a:lnTo>
                      <a:pt x="741" y="1111"/>
                    </a:lnTo>
                    <a:lnTo>
                      <a:pt x="739" y="1111"/>
                    </a:lnTo>
                    <a:lnTo>
                      <a:pt x="737" y="1111"/>
                    </a:lnTo>
                    <a:lnTo>
                      <a:pt x="737" y="1113"/>
                    </a:lnTo>
                    <a:lnTo>
                      <a:pt x="737" y="1114"/>
                    </a:lnTo>
                    <a:lnTo>
                      <a:pt x="735" y="1114"/>
                    </a:lnTo>
                    <a:lnTo>
                      <a:pt x="735" y="1116"/>
                    </a:lnTo>
                    <a:lnTo>
                      <a:pt x="735" y="1118"/>
                    </a:lnTo>
                    <a:lnTo>
                      <a:pt x="735" y="1120"/>
                    </a:lnTo>
                    <a:lnTo>
                      <a:pt x="735" y="1118"/>
                    </a:lnTo>
                    <a:lnTo>
                      <a:pt x="734" y="1118"/>
                    </a:lnTo>
                    <a:lnTo>
                      <a:pt x="734" y="1116"/>
                    </a:lnTo>
                    <a:lnTo>
                      <a:pt x="734" y="1114"/>
                    </a:lnTo>
                    <a:lnTo>
                      <a:pt x="734" y="1113"/>
                    </a:lnTo>
                    <a:lnTo>
                      <a:pt x="732" y="1113"/>
                    </a:lnTo>
                    <a:lnTo>
                      <a:pt x="730" y="1113"/>
                    </a:lnTo>
                    <a:lnTo>
                      <a:pt x="730" y="1114"/>
                    </a:lnTo>
                    <a:lnTo>
                      <a:pt x="730" y="1116"/>
                    </a:lnTo>
                    <a:lnTo>
                      <a:pt x="730" y="1118"/>
                    </a:lnTo>
                    <a:lnTo>
                      <a:pt x="728" y="1120"/>
                    </a:lnTo>
                    <a:lnTo>
                      <a:pt x="726" y="1120"/>
                    </a:lnTo>
                    <a:lnTo>
                      <a:pt x="726" y="1122"/>
                    </a:lnTo>
                    <a:lnTo>
                      <a:pt x="726" y="1124"/>
                    </a:lnTo>
                    <a:lnTo>
                      <a:pt x="724" y="1124"/>
                    </a:lnTo>
                    <a:lnTo>
                      <a:pt x="724" y="1122"/>
                    </a:lnTo>
                    <a:lnTo>
                      <a:pt x="722" y="1122"/>
                    </a:lnTo>
                    <a:lnTo>
                      <a:pt x="722" y="1120"/>
                    </a:lnTo>
                    <a:lnTo>
                      <a:pt x="720" y="1120"/>
                    </a:lnTo>
                    <a:lnTo>
                      <a:pt x="718" y="1120"/>
                    </a:lnTo>
                    <a:lnTo>
                      <a:pt x="717" y="1120"/>
                    </a:lnTo>
                    <a:lnTo>
                      <a:pt x="715" y="1120"/>
                    </a:lnTo>
                    <a:lnTo>
                      <a:pt x="715" y="1118"/>
                    </a:lnTo>
                    <a:lnTo>
                      <a:pt x="713" y="1118"/>
                    </a:lnTo>
                    <a:lnTo>
                      <a:pt x="711" y="1118"/>
                    </a:lnTo>
                    <a:lnTo>
                      <a:pt x="709" y="1120"/>
                    </a:lnTo>
                    <a:lnTo>
                      <a:pt x="711" y="1122"/>
                    </a:lnTo>
                    <a:lnTo>
                      <a:pt x="711" y="1124"/>
                    </a:lnTo>
                    <a:lnTo>
                      <a:pt x="713" y="1124"/>
                    </a:lnTo>
                    <a:lnTo>
                      <a:pt x="713" y="1126"/>
                    </a:lnTo>
                    <a:lnTo>
                      <a:pt x="711" y="1128"/>
                    </a:lnTo>
                    <a:lnTo>
                      <a:pt x="709" y="1128"/>
                    </a:lnTo>
                    <a:lnTo>
                      <a:pt x="707" y="1128"/>
                    </a:lnTo>
                    <a:lnTo>
                      <a:pt x="707" y="1130"/>
                    </a:lnTo>
                    <a:lnTo>
                      <a:pt x="707" y="1131"/>
                    </a:lnTo>
                    <a:lnTo>
                      <a:pt x="705" y="1131"/>
                    </a:lnTo>
                    <a:lnTo>
                      <a:pt x="705" y="1133"/>
                    </a:lnTo>
                    <a:lnTo>
                      <a:pt x="703" y="1133"/>
                    </a:lnTo>
                    <a:lnTo>
                      <a:pt x="702" y="1131"/>
                    </a:lnTo>
                    <a:lnTo>
                      <a:pt x="702" y="1130"/>
                    </a:lnTo>
                    <a:lnTo>
                      <a:pt x="700" y="1130"/>
                    </a:lnTo>
                    <a:lnTo>
                      <a:pt x="700" y="1128"/>
                    </a:lnTo>
                    <a:lnTo>
                      <a:pt x="700" y="1126"/>
                    </a:lnTo>
                    <a:lnTo>
                      <a:pt x="700" y="1124"/>
                    </a:lnTo>
                    <a:lnTo>
                      <a:pt x="698" y="1124"/>
                    </a:lnTo>
                    <a:lnTo>
                      <a:pt x="696" y="1124"/>
                    </a:lnTo>
                    <a:lnTo>
                      <a:pt x="694" y="1124"/>
                    </a:lnTo>
                    <a:lnTo>
                      <a:pt x="694" y="1126"/>
                    </a:lnTo>
                    <a:lnTo>
                      <a:pt x="692" y="1126"/>
                    </a:lnTo>
                    <a:lnTo>
                      <a:pt x="690" y="1126"/>
                    </a:lnTo>
                    <a:lnTo>
                      <a:pt x="688" y="1126"/>
                    </a:lnTo>
                    <a:lnTo>
                      <a:pt x="688" y="1128"/>
                    </a:lnTo>
                    <a:lnTo>
                      <a:pt x="687" y="1128"/>
                    </a:lnTo>
                    <a:lnTo>
                      <a:pt x="685" y="1128"/>
                    </a:lnTo>
                    <a:lnTo>
                      <a:pt x="685" y="1126"/>
                    </a:lnTo>
                    <a:lnTo>
                      <a:pt x="683" y="1126"/>
                    </a:lnTo>
                    <a:lnTo>
                      <a:pt x="683" y="1128"/>
                    </a:lnTo>
                    <a:lnTo>
                      <a:pt x="681" y="1128"/>
                    </a:lnTo>
                    <a:lnTo>
                      <a:pt x="679" y="1128"/>
                    </a:lnTo>
                    <a:lnTo>
                      <a:pt x="677" y="1128"/>
                    </a:lnTo>
                    <a:lnTo>
                      <a:pt x="677" y="1130"/>
                    </a:lnTo>
                    <a:lnTo>
                      <a:pt x="677" y="1131"/>
                    </a:lnTo>
                    <a:lnTo>
                      <a:pt x="679" y="1133"/>
                    </a:lnTo>
                    <a:lnTo>
                      <a:pt x="681" y="1133"/>
                    </a:lnTo>
                    <a:lnTo>
                      <a:pt x="683" y="1135"/>
                    </a:lnTo>
                    <a:lnTo>
                      <a:pt x="683" y="1137"/>
                    </a:lnTo>
                    <a:lnTo>
                      <a:pt x="683" y="1139"/>
                    </a:lnTo>
                    <a:lnTo>
                      <a:pt x="685" y="1139"/>
                    </a:lnTo>
                    <a:lnTo>
                      <a:pt x="687" y="1139"/>
                    </a:lnTo>
                    <a:lnTo>
                      <a:pt x="688" y="1139"/>
                    </a:lnTo>
                    <a:lnTo>
                      <a:pt x="688" y="1141"/>
                    </a:lnTo>
                    <a:lnTo>
                      <a:pt x="688" y="1143"/>
                    </a:lnTo>
                    <a:lnTo>
                      <a:pt x="687" y="1143"/>
                    </a:lnTo>
                    <a:lnTo>
                      <a:pt x="687" y="1145"/>
                    </a:lnTo>
                    <a:lnTo>
                      <a:pt x="687" y="1146"/>
                    </a:lnTo>
                    <a:lnTo>
                      <a:pt x="685" y="1146"/>
                    </a:lnTo>
                    <a:lnTo>
                      <a:pt x="683" y="1146"/>
                    </a:lnTo>
                    <a:lnTo>
                      <a:pt x="681" y="1148"/>
                    </a:lnTo>
                    <a:lnTo>
                      <a:pt x="681" y="1146"/>
                    </a:lnTo>
                    <a:lnTo>
                      <a:pt x="679" y="1146"/>
                    </a:lnTo>
                    <a:lnTo>
                      <a:pt x="679" y="1145"/>
                    </a:lnTo>
                    <a:lnTo>
                      <a:pt x="677" y="1145"/>
                    </a:lnTo>
                    <a:lnTo>
                      <a:pt x="675" y="1145"/>
                    </a:lnTo>
                    <a:lnTo>
                      <a:pt x="673" y="1145"/>
                    </a:lnTo>
                    <a:lnTo>
                      <a:pt x="671" y="1145"/>
                    </a:lnTo>
                    <a:lnTo>
                      <a:pt x="670" y="1146"/>
                    </a:lnTo>
                    <a:lnTo>
                      <a:pt x="668" y="1146"/>
                    </a:lnTo>
                    <a:lnTo>
                      <a:pt x="666" y="1146"/>
                    </a:lnTo>
                    <a:lnTo>
                      <a:pt x="666" y="1148"/>
                    </a:lnTo>
                    <a:lnTo>
                      <a:pt x="664" y="1148"/>
                    </a:lnTo>
                    <a:lnTo>
                      <a:pt x="662" y="1150"/>
                    </a:lnTo>
                    <a:lnTo>
                      <a:pt x="662" y="1152"/>
                    </a:lnTo>
                    <a:lnTo>
                      <a:pt x="660" y="1152"/>
                    </a:lnTo>
                    <a:lnTo>
                      <a:pt x="658" y="1152"/>
                    </a:lnTo>
                    <a:lnTo>
                      <a:pt x="658" y="1154"/>
                    </a:lnTo>
                    <a:lnTo>
                      <a:pt x="660" y="1154"/>
                    </a:lnTo>
                    <a:lnTo>
                      <a:pt x="660" y="1156"/>
                    </a:lnTo>
                    <a:lnTo>
                      <a:pt x="662" y="1156"/>
                    </a:lnTo>
                    <a:lnTo>
                      <a:pt x="662" y="1158"/>
                    </a:lnTo>
                    <a:lnTo>
                      <a:pt x="664" y="1160"/>
                    </a:lnTo>
                    <a:lnTo>
                      <a:pt x="664" y="1162"/>
                    </a:lnTo>
                    <a:lnTo>
                      <a:pt x="664" y="1163"/>
                    </a:lnTo>
                    <a:lnTo>
                      <a:pt x="662" y="1163"/>
                    </a:lnTo>
                    <a:lnTo>
                      <a:pt x="662" y="1165"/>
                    </a:lnTo>
                    <a:lnTo>
                      <a:pt x="660" y="1165"/>
                    </a:lnTo>
                    <a:lnTo>
                      <a:pt x="658" y="1165"/>
                    </a:lnTo>
                    <a:lnTo>
                      <a:pt x="656" y="1165"/>
                    </a:lnTo>
                    <a:lnTo>
                      <a:pt x="655" y="1165"/>
                    </a:lnTo>
                    <a:lnTo>
                      <a:pt x="653" y="1165"/>
                    </a:lnTo>
                    <a:lnTo>
                      <a:pt x="651" y="1165"/>
                    </a:lnTo>
                    <a:lnTo>
                      <a:pt x="649" y="1165"/>
                    </a:lnTo>
                    <a:lnTo>
                      <a:pt x="649" y="1163"/>
                    </a:lnTo>
                    <a:lnTo>
                      <a:pt x="647" y="1163"/>
                    </a:lnTo>
                    <a:lnTo>
                      <a:pt x="645" y="1163"/>
                    </a:lnTo>
                    <a:lnTo>
                      <a:pt x="645" y="1165"/>
                    </a:lnTo>
                    <a:lnTo>
                      <a:pt x="645" y="1167"/>
                    </a:lnTo>
                    <a:lnTo>
                      <a:pt x="645" y="1169"/>
                    </a:lnTo>
                    <a:lnTo>
                      <a:pt x="645" y="1171"/>
                    </a:lnTo>
                    <a:lnTo>
                      <a:pt x="643" y="1171"/>
                    </a:lnTo>
                    <a:lnTo>
                      <a:pt x="641" y="1171"/>
                    </a:lnTo>
                    <a:lnTo>
                      <a:pt x="639" y="1171"/>
                    </a:lnTo>
                    <a:lnTo>
                      <a:pt x="638" y="1171"/>
                    </a:lnTo>
                    <a:lnTo>
                      <a:pt x="638" y="1169"/>
                    </a:lnTo>
                    <a:lnTo>
                      <a:pt x="636" y="1167"/>
                    </a:lnTo>
                    <a:lnTo>
                      <a:pt x="636" y="1165"/>
                    </a:lnTo>
                    <a:lnTo>
                      <a:pt x="634" y="1165"/>
                    </a:lnTo>
                    <a:lnTo>
                      <a:pt x="634" y="1163"/>
                    </a:lnTo>
                    <a:lnTo>
                      <a:pt x="632" y="1162"/>
                    </a:lnTo>
                    <a:lnTo>
                      <a:pt x="632" y="1160"/>
                    </a:lnTo>
                    <a:lnTo>
                      <a:pt x="630" y="1160"/>
                    </a:lnTo>
                    <a:lnTo>
                      <a:pt x="630" y="1158"/>
                    </a:lnTo>
                    <a:lnTo>
                      <a:pt x="628" y="1158"/>
                    </a:lnTo>
                    <a:lnTo>
                      <a:pt x="626" y="1158"/>
                    </a:lnTo>
                    <a:lnTo>
                      <a:pt x="624" y="1158"/>
                    </a:lnTo>
                    <a:lnTo>
                      <a:pt x="623" y="1160"/>
                    </a:lnTo>
                    <a:lnTo>
                      <a:pt x="621" y="1160"/>
                    </a:lnTo>
                    <a:lnTo>
                      <a:pt x="619" y="1160"/>
                    </a:lnTo>
                    <a:lnTo>
                      <a:pt x="619" y="1162"/>
                    </a:lnTo>
                    <a:lnTo>
                      <a:pt x="617" y="1162"/>
                    </a:lnTo>
                    <a:lnTo>
                      <a:pt x="617" y="1163"/>
                    </a:lnTo>
                    <a:lnTo>
                      <a:pt x="615" y="1163"/>
                    </a:lnTo>
                    <a:lnTo>
                      <a:pt x="615" y="1165"/>
                    </a:lnTo>
                    <a:lnTo>
                      <a:pt x="613" y="1165"/>
                    </a:lnTo>
                    <a:lnTo>
                      <a:pt x="611" y="1165"/>
                    </a:lnTo>
                    <a:lnTo>
                      <a:pt x="609" y="1165"/>
                    </a:lnTo>
                    <a:lnTo>
                      <a:pt x="608" y="1165"/>
                    </a:lnTo>
                    <a:lnTo>
                      <a:pt x="606" y="1165"/>
                    </a:lnTo>
                    <a:lnTo>
                      <a:pt x="606" y="1167"/>
                    </a:lnTo>
                    <a:lnTo>
                      <a:pt x="604" y="1169"/>
                    </a:lnTo>
                    <a:lnTo>
                      <a:pt x="604" y="1171"/>
                    </a:lnTo>
                    <a:lnTo>
                      <a:pt x="602" y="1171"/>
                    </a:lnTo>
                    <a:lnTo>
                      <a:pt x="600" y="1171"/>
                    </a:lnTo>
                    <a:lnTo>
                      <a:pt x="598" y="1171"/>
                    </a:lnTo>
                    <a:lnTo>
                      <a:pt x="596" y="1171"/>
                    </a:lnTo>
                    <a:lnTo>
                      <a:pt x="596" y="1169"/>
                    </a:lnTo>
                    <a:lnTo>
                      <a:pt x="594" y="1167"/>
                    </a:lnTo>
                    <a:lnTo>
                      <a:pt x="594" y="1165"/>
                    </a:lnTo>
                    <a:lnTo>
                      <a:pt x="592" y="1165"/>
                    </a:lnTo>
                    <a:lnTo>
                      <a:pt x="592" y="1167"/>
                    </a:lnTo>
                    <a:lnTo>
                      <a:pt x="592" y="1169"/>
                    </a:lnTo>
                    <a:lnTo>
                      <a:pt x="591" y="1169"/>
                    </a:lnTo>
                    <a:lnTo>
                      <a:pt x="591" y="1171"/>
                    </a:lnTo>
                    <a:lnTo>
                      <a:pt x="589" y="1171"/>
                    </a:lnTo>
                    <a:lnTo>
                      <a:pt x="589" y="1173"/>
                    </a:lnTo>
                    <a:lnTo>
                      <a:pt x="587" y="1173"/>
                    </a:lnTo>
                    <a:lnTo>
                      <a:pt x="585" y="1173"/>
                    </a:lnTo>
                    <a:lnTo>
                      <a:pt x="583" y="1173"/>
                    </a:lnTo>
                    <a:lnTo>
                      <a:pt x="581" y="1173"/>
                    </a:lnTo>
                    <a:lnTo>
                      <a:pt x="581" y="1171"/>
                    </a:lnTo>
                    <a:lnTo>
                      <a:pt x="581" y="1169"/>
                    </a:lnTo>
                    <a:lnTo>
                      <a:pt x="583" y="1169"/>
                    </a:lnTo>
                    <a:lnTo>
                      <a:pt x="583" y="1167"/>
                    </a:lnTo>
                    <a:lnTo>
                      <a:pt x="585" y="1167"/>
                    </a:lnTo>
                    <a:lnTo>
                      <a:pt x="583" y="1167"/>
                    </a:lnTo>
                    <a:lnTo>
                      <a:pt x="583" y="1165"/>
                    </a:lnTo>
                    <a:lnTo>
                      <a:pt x="583" y="1163"/>
                    </a:lnTo>
                    <a:lnTo>
                      <a:pt x="581" y="1163"/>
                    </a:lnTo>
                    <a:lnTo>
                      <a:pt x="581" y="1165"/>
                    </a:lnTo>
                    <a:lnTo>
                      <a:pt x="579" y="1165"/>
                    </a:lnTo>
                    <a:lnTo>
                      <a:pt x="577" y="1165"/>
                    </a:lnTo>
                    <a:lnTo>
                      <a:pt x="576" y="1165"/>
                    </a:lnTo>
                    <a:lnTo>
                      <a:pt x="574" y="1165"/>
                    </a:lnTo>
                    <a:lnTo>
                      <a:pt x="574" y="1163"/>
                    </a:lnTo>
                    <a:lnTo>
                      <a:pt x="572" y="1165"/>
                    </a:lnTo>
                    <a:lnTo>
                      <a:pt x="570" y="1165"/>
                    </a:lnTo>
                    <a:lnTo>
                      <a:pt x="568" y="1165"/>
                    </a:lnTo>
                    <a:lnTo>
                      <a:pt x="566" y="1165"/>
                    </a:lnTo>
                    <a:lnTo>
                      <a:pt x="564" y="1165"/>
                    </a:lnTo>
                    <a:lnTo>
                      <a:pt x="562" y="1163"/>
                    </a:lnTo>
                    <a:lnTo>
                      <a:pt x="560" y="1162"/>
                    </a:lnTo>
                    <a:lnTo>
                      <a:pt x="559" y="1162"/>
                    </a:lnTo>
                    <a:lnTo>
                      <a:pt x="559" y="1160"/>
                    </a:lnTo>
                    <a:lnTo>
                      <a:pt x="557" y="1160"/>
                    </a:lnTo>
                    <a:lnTo>
                      <a:pt x="557" y="1158"/>
                    </a:lnTo>
                    <a:lnTo>
                      <a:pt x="555" y="1158"/>
                    </a:lnTo>
                    <a:lnTo>
                      <a:pt x="553" y="1158"/>
                    </a:lnTo>
                    <a:lnTo>
                      <a:pt x="553" y="1156"/>
                    </a:lnTo>
                    <a:lnTo>
                      <a:pt x="551" y="1156"/>
                    </a:lnTo>
                    <a:lnTo>
                      <a:pt x="549" y="1156"/>
                    </a:lnTo>
                    <a:lnTo>
                      <a:pt x="549" y="1154"/>
                    </a:lnTo>
                    <a:lnTo>
                      <a:pt x="547" y="1154"/>
                    </a:lnTo>
                    <a:lnTo>
                      <a:pt x="545" y="1154"/>
                    </a:lnTo>
                    <a:lnTo>
                      <a:pt x="544" y="1152"/>
                    </a:lnTo>
                    <a:lnTo>
                      <a:pt x="545" y="1152"/>
                    </a:lnTo>
                    <a:lnTo>
                      <a:pt x="545" y="1150"/>
                    </a:lnTo>
                    <a:lnTo>
                      <a:pt x="545" y="1148"/>
                    </a:lnTo>
                    <a:lnTo>
                      <a:pt x="547" y="1146"/>
                    </a:lnTo>
                    <a:lnTo>
                      <a:pt x="547" y="1145"/>
                    </a:lnTo>
                    <a:lnTo>
                      <a:pt x="547" y="1143"/>
                    </a:lnTo>
                    <a:lnTo>
                      <a:pt x="545" y="1143"/>
                    </a:lnTo>
                    <a:lnTo>
                      <a:pt x="544" y="1143"/>
                    </a:lnTo>
                    <a:lnTo>
                      <a:pt x="542" y="1141"/>
                    </a:lnTo>
                    <a:lnTo>
                      <a:pt x="540" y="1139"/>
                    </a:lnTo>
                    <a:lnTo>
                      <a:pt x="538" y="1139"/>
                    </a:lnTo>
                    <a:lnTo>
                      <a:pt x="538" y="1137"/>
                    </a:lnTo>
                    <a:lnTo>
                      <a:pt x="536" y="1137"/>
                    </a:lnTo>
                    <a:lnTo>
                      <a:pt x="534" y="1137"/>
                    </a:lnTo>
                    <a:lnTo>
                      <a:pt x="534" y="1135"/>
                    </a:lnTo>
                    <a:lnTo>
                      <a:pt x="532" y="1135"/>
                    </a:lnTo>
                    <a:lnTo>
                      <a:pt x="530" y="1135"/>
                    </a:lnTo>
                    <a:lnTo>
                      <a:pt x="529" y="1135"/>
                    </a:lnTo>
                    <a:lnTo>
                      <a:pt x="527" y="1137"/>
                    </a:lnTo>
                    <a:lnTo>
                      <a:pt x="525" y="1137"/>
                    </a:lnTo>
                    <a:lnTo>
                      <a:pt x="523" y="1137"/>
                    </a:lnTo>
                    <a:lnTo>
                      <a:pt x="523" y="1139"/>
                    </a:lnTo>
                    <a:lnTo>
                      <a:pt x="521" y="1141"/>
                    </a:lnTo>
                    <a:lnTo>
                      <a:pt x="519" y="1141"/>
                    </a:lnTo>
                    <a:lnTo>
                      <a:pt x="517" y="1141"/>
                    </a:lnTo>
                    <a:lnTo>
                      <a:pt x="515" y="1141"/>
                    </a:lnTo>
                    <a:lnTo>
                      <a:pt x="515" y="1143"/>
                    </a:lnTo>
                    <a:lnTo>
                      <a:pt x="513" y="1143"/>
                    </a:lnTo>
                    <a:lnTo>
                      <a:pt x="513" y="1145"/>
                    </a:lnTo>
                    <a:lnTo>
                      <a:pt x="512" y="1145"/>
                    </a:lnTo>
                    <a:lnTo>
                      <a:pt x="510" y="1145"/>
                    </a:lnTo>
                    <a:lnTo>
                      <a:pt x="508" y="1143"/>
                    </a:lnTo>
                    <a:lnTo>
                      <a:pt x="506" y="1143"/>
                    </a:lnTo>
                    <a:lnTo>
                      <a:pt x="504" y="1141"/>
                    </a:lnTo>
                    <a:lnTo>
                      <a:pt x="502" y="1141"/>
                    </a:lnTo>
                    <a:lnTo>
                      <a:pt x="500" y="1141"/>
                    </a:lnTo>
                    <a:lnTo>
                      <a:pt x="498" y="1143"/>
                    </a:lnTo>
                    <a:lnTo>
                      <a:pt x="497" y="1143"/>
                    </a:lnTo>
                    <a:lnTo>
                      <a:pt x="495" y="1143"/>
                    </a:lnTo>
                    <a:lnTo>
                      <a:pt x="493" y="1143"/>
                    </a:lnTo>
                    <a:lnTo>
                      <a:pt x="493" y="1141"/>
                    </a:lnTo>
                    <a:lnTo>
                      <a:pt x="493" y="1139"/>
                    </a:lnTo>
                    <a:lnTo>
                      <a:pt x="491" y="1137"/>
                    </a:lnTo>
                    <a:lnTo>
                      <a:pt x="489" y="1137"/>
                    </a:lnTo>
                    <a:lnTo>
                      <a:pt x="489" y="1135"/>
                    </a:lnTo>
                    <a:lnTo>
                      <a:pt x="489" y="1133"/>
                    </a:lnTo>
                    <a:lnTo>
                      <a:pt x="489" y="1131"/>
                    </a:lnTo>
                    <a:lnTo>
                      <a:pt x="489" y="1130"/>
                    </a:lnTo>
                    <a:lnTo>
                      <a:pt x="489" y="1128"/>
                    </a:lnTo>
                    <a:lnTo>
                      <a:pt x="487" y="1128"/>
                    </a:lnTo>
                    <a:lnTo>
                      <a:pt x="485" y="1128"/>
                    </a:lnTo>
                    <a:lnTo>
                      <a:pt x="483" y="1128"/>
                    </a:lnTo>
                    <a:lnTo>
                      <a:pt x="481" y="1126"/>
                    </a:lnTo>
                    <a:lnTo>
                      <a:pt x="480" y="1126"/>
                    </a:lnTo>
                    <a:lnTo>
                      <a:pt x="478" y="1126"/>
                    </a:lnTo>
                    <a:lnTo>
                      <a:pt x="476" y="1126"/>
                    </a:lnTo>
                    <a:lnTo>
                      <a:pt x="474" y="1126"/>
                    </a:lnTo>
                    <a:lnTo>
                      <a:pt x="472" y="1126"/>
                    </a:lnTo>
                    <a:lnTo>
                      <a:pt x="472" y="1124"/>
                    </a:lnTo>
                    <a:lnTo>
                      <a:pt x="472" y="1122"/>
                    </a:lnTo>
                    <a:lnTo>
                      <a:pt x="472" y="1120"/>
                    </a:lnTo>
                    <a:lnTo>
                      <a:pt x="472" y="1118"/>
                    </a:lnTo>
                    <a:lnTo>
                      <a:pt x="472" y="1116"/>
                    </a:lnTo>
                    <a:lnTo>
                      <a:pt x="470" y="1116"/>
                    </a:lnTo>
                    <a:lnTo>
                      <a:pt x="468" y="1114"/>
                    </a:lnTo>
                    <a:lnTo>
                      <a:pt x="468" y="1113"/>
                    </a:lnTo>
                    <a:lnTo>
                      <a:pt x="466" y="1113"/>
                    </a:lnTo>
                    <a:lnTo>
                      <a:pt x="465" y="1111"/>
                    </a:lnTo>
                    <a:lnTo>
                      <a:pt x="463" y="1111"/>
                    </a:lnTo>
                    <a:lnTo>
                      <a:pt x="461" y="1111"/>
                    </a:lnTo>
                    <a:lnTo>
                      <a:pt x="459" y="1111"/>
                    </a:lnTo>
                    <a:lnTo>
                      <a:pt x="459" y="1113"/>
                    </a:lnTo>
                    <a:lnTo>
                      <a:pt x="457" y="1113"/>
                    </a:lnTo>
                    <a:lnTo>
                      <a:pt x="457" y="1114"/>
                    </a:lnTo>
                    <a:lnTo>
                      <a:pt x="455" y="1114"/>
                    </a:lnTo>
                    <a:lnTo>
                      <a:pt x="455" y="1116"/>
                    </a:lnTo>
                    <a:lnTo>
                      <a:pt x="455" y="1118"/>
                    </a:lnTo>
                    <a:lnTo>
                      <a:pt x="457" y="1118"/>
                    </a:lnTo>
                    <a:lnTo>
                      <a:pt x="459" y="1118"/>
                    </a:lnTo>
                    <a:lnTo>
                      <a:pt x="459" y="1120"/>
                    </a:lnTo>
                    <a:lnTo>
                      <a:pt x="459" y="1122"/>
                    </a:lnTo>
                    <a:lnTo>
                      <a:pt x="461" y="1122"/>
                    </a:lnTo>
                    <a:lnTo>
                      <a:pt x="459" y="1122"/>
                    </a:lnTo>
                    <a:lnTo>
                      <a:pt x="459" y="1124"/>
                    </a:lnTo>
                    <a:lnTo>
                      <a:pt x="461" y="1126"/>
                    </a:lnTo>
                    <a:lnTo>
                      <a:pt x="459" y="1128"/>
                    </a:lnTo>
                    <a:lnTo>
                      <a:pt x="457" y="1128"/>
                    </a:lnTo>
                    <a:lnTo>
                      <a:pt x="455" y="1128"/>
                    </a:lnTo>
                    <a:lnTo>
                      <a:pt x="453" y="1128"/>
                    </a:lnTo>
                    <a:lnTo>
                      <a:pt x="451" y="1126"/>
                    </a:lnTo>
                    <a:lnTo>
                      <a:pt x="450" y="1124"/>
                    </a:lnTo>
                    <a:lnTo>
                      <a:pt x="450" y="1122"/>
                    </a:lnTo>
                    <a:lnTo>
                      <a:pt x="448" y="1122"/>
                    </a:lnTo>
                    <a:lnTo>
                      <a:pt x="448" y="1120"/>
                    </a:lnTo>
                    <a:lnTo>
                      <a:pt x="446" y="1120"/>
                    </a:lnTo>
                    <a:lnTo>
                      <a:pt x="446" y="1122"/>
                    </a:lnTo>
                    <a:lnTo>
                      <a:pt x="444" y="1122"/>
                    </a:lnTo>
                    <a:lnTo>
                      <a:pt x="442" y="1122"/>
                    </a:lnTo>
                    <a:lnTo>
                      <a:pt x="440" y="1122"/>
                    </a:lnTo>
                    <a:lnTo>
                      <a:pt x="440" y="1124"/>
                    </a:lnTo>
                    <a:lnTo>
                      <a:pt x="438" y="1124"/>
                    </a:lnTo>
                    <a:lnTo>
                      <a:pt x="436" y="1122"/>
                    </a:lnTo>
                    <a:lnTo>
                      <a:pt x="434" y="1122"/>
                    </a:lnTo>
                    <a:lnTo>
                      <a:pt x="434" y="1124"/>
                    </a:lnTo>
                    <a:lnTo>
                      <a:pt x="433" y="1124"/>
                    </a:lnTo>
                    <a:lnTo>
                      <a:pt x="431" y="1126"/>
                    </a:lnTo>
                    <a:lnTo>
                      <a:pt x="429" y="1126"/>
                    </a:lnTo>
                    <a:lnTo>
                      <a:pt x="427" y="1126"/>
                    </a:lnTo>
                    <a:lnTo>
                      <a:pt x="425" y="1126"/>
                    </a:lnTo>
                    <a:lnTo>
                      <a:pt x="423" y="1126"/>
                    </a:lnTo>
                    <a:lnTo>
                      <a:pt x="421" y="1128"/>
                    </a:lnTo>
                    <a:lnTo>
                      <a:pt x="419" y="1128"/>
                    </a:lnTo>
                    <a:lnTo>
                      <a:pt x="418" y="1128"/>
                    </a:lnTo>
                    <a:lnTo>
                      <a:pt x="416" y="1128"/>
                    </a:lnTo>
                    <a:lnTo>
                      <a:pt x="414" y="1128"/>
                    </a:lnTo>
                    <a:lnTo>
                      <a:pt x="412" y="1130"/>
                    </a:lnTo>
                    <a:lnTo>
                      <a:pt x="410" y="1130"/>
                    </a:lnTo>
                    <a:lnTo>
                      <a:pt x="410" y="1131"/>
                    </a:lnTo>
                    <a:lnTo>
                      <a:pt x="408" y="1131"/>
                    </a:lnTo>
                    <a:lnTo>
                      <a:pt x="408" y="1133"/>
                    </a:lnTo>
                    <a:lnTo>
                      <a:pt x="406" y="1133"/>
                    </a:lnTo>
                    <a:lnTo>
                      <a:pt x="406" y="1135"/>
                    </a:lnTo>
                    <a:lnTo>
                      <a:pt x="406" y="1137"/>
                    </a:lnTo>
                    <a:lnTo>
                      <a:pt x="406" y="1139"/>
                    </a:lnTo>
                    <a:lnTo>
                      <a:pt x="406" y="1141"/>
                    </a:lnTo>
                    <a:lnTo>
                      <a:pt x="404" y="1141"/>
                    </a:lnTo>
                    <a:lnTo>
                      <a:pt x="402" y="1141"/>
                    </a:lnTo>
                    <a:lnTo>
                      <a:pt x="402" y="1139"/>
                    </a:lnTo>
                    <a:lnTo>
                      <a:pt x="402" y="1137"/>
                    </a:lnTo>
                    <a:lnTo>
                      <a:pt x="402" y="1135"/>
                    </a:lnTo>
                    <a:lnTo>
                      <a:pt x="401" y="1133"/>
                    </a:lnTo>
                    <a:lnTo>
                      <a:pt x="399" y="1131"/>
                    </a:lnTo>
                    <a:lnTo>
                      <a:pt x="397" y="1130"/>
                    </a:lnTo>
                    <a:lnTo>
                      <a:pt x="397" y="1128"/>
                    </a:lnTo>
                    <a:lnTo>
                      <a:pt x="395" y="1128"/>
                    </a:lnTo>
                    <a:lnTo>
                      <a:pt x="393" y="1128"/>
                    </a:lnTo>
                    <a:lnTo>
                      <a:pt x="393" y="1130"/>
                    </a:lnTo>
                    <a:lnTo>
                      <a:pt x="391" y="1130"/>
                    </a:lnTo>
                    <a:lnTo>
                      <a:pt x="391" y="1131"/>
                    </a:lnTo>
                    <a:lnTo>
                      <a:pt x="389" y="1131"/>
                    </a:lnTo>
                    <a:lnTo>
                      <a:pt x="389" y="1133"/>
                    </a:lnTo>
                    <a:lnTo>
                      <a:pt x="389" y="1135"/>
                    </a:lnTo>
                    <a:lnTo>
                      <a:pt x="389" y="1137"/>
                    </a:lnTo>
                    <a:lnTo>
                      <a:pt x="389" y="1139"/>
                    </a:lnTo>
                    <a:lnTo>
                      <a:pt x="391" y="1139"/>
                    </a:lnTo>
                    <a:lnTo>
                      <a:pt x="391" y="1141"/>
                    </a:lnTo>
                    <a:lnTo>
                      <a:pt x="393" y="1143"/>
                    </a:lnTo>
                    <a:lnTo>
                      <a:pt x="393" y="1145"/>
                    </a:lnTo>
                    <a:lnTo>
                      <a:pt x="395" y="1145"/>
                    </a:lnTo>
                    <a:lnTo>
                      <a:pt x="395" y="1146"/>
                    </a:lnTo>
                    <a:lnTo>
                      <a:pt x="395" y="1148"/>
                    </a:lnTo>
                    <a:lnTo>
                      <a:pt x="393" y="1148"/>
                    </a:lnTo>
                    <a:lnTo>
                      <a:pt x="393" y="1150"/>
                    </a:lnTo>
                    <a:lnTo>
                      <a:pt x="393" y="1148"/>
                    </a:lnTo>
                    <a:lnTo>
                      <a:pt x="391" y="1148"/>
                    </a:lnTo>
                    <a:lnTo>
                      <a:pt x="389" y="1148"/>
                    </a:lnTo>
                    <a:lnTo>
                      <a:pt x="387" y="1148"/>
                    </a:lnTo>
                    <a:lnTo>
                      <a:pt x="387" y="1150"/>
                    </a:lnTo>
                    <a:lnTo>
                      <a:pt x="386" y="1150"/>
                    </a:lnTo>
                    <a:lnTo>
                      <a:pt x="386" y="1152"/>
                    </a:lnTo>
                    <a:lnTo>
                      <a:pt x="384" y="1152"/>
                    </a:lnTo>
                    <a:lnTo>
                      <a:pt x="384" y="1154"/>
                    </a:lnTo>
                    <a:lnTo>
                      <a:pt x="384" y="1156"/>
                    </a:lnTo>
                    <a:lnTo>
                      <a:pt x="382" y="1156"/>
                    </a:lnTo>
                    <a:lnTo>
                      <a:pt x="380" y="1156"/>
                    </a:lnTo>
                    <a:lnTo>
                      <a:pt x="378" y="1156"/>
                    </a:lnTo>
                    <a:lnTo>
                      <a:pt x="376" y="1156"/>
                    </a:lnTo>
                    <a:lnTo>
                      <a:pt x="374" y="1156"/>
                    </a:lnTo>
                    <a:lnTo>
                      <a:pt x="372" y="1156"/>
                    </a:lnTo>
                    <a:lnTo>
                      <a:pt x="371" y="1156"/>
                    </a:lnTo>
                    <a:lnTo>
                      <a:pt x="369" y="1156"/>
                    </a:lnTo>
                    <a:lnTo>
                      <a:pt x="369" y="1158"/>
                    </a:lnTo>
                    <a:lnTo>
                      <a:pt x="367" y="1158"/>
                    </a:lnTo>
                    <a:lnTo>
                      <a:pt x="367" y="1160"/>
                    </a:lnTo>
                    <a:lnTo>
                      <a:pt x="365" y="1160"/>
                    </a:lnTo>
                    <a:lnTo>
                      <a:pt x="365" y="1162"/>
                    </a:lnTo>
                    <a:lnTo>
                      <a:pt x="365" y="1163"/>
                    </a:lnTo>
                    <a:lnTo>
                      <a:pt x="365" y="1165"/>
                    </a:lnTo>
                    <a:lnTo>
                      <a:pt x="365" y="1169"/>
                    </a:lnTo>
                    <a:lnTo>
                      <a:pt x="365" y="1171"/>
                    </a:lnTo>
                    <a:lnTo>
                      <a:pt x="363" y="1171"/>
                    </a:lnTo>
                    <a:lnTo>
                      <a:pt x="361" y="1173"/>
                    </a:lnTo>
                    <a:lnTo>
                      <a:pt x="359" y="1171"/>
                    </a:lnTo>
                    <a:lnTo>
                      <a:pt x="357" y="1171"/>
                    </a:lnTo>
                    <a:lnTo>
                      <a:pt x="355" y="1169"/>
                    </a:lnTo>
                    <a:lnTo>
                      <a:pt x="355" y="1171"/>
                    </a:lnTo>
                    <a:lnTo>
                      <a:pt x="354" y="1171"/>
                    </a:lnTo>
                    <a:lnTo>
                      <a:pt x="350" y="1171"/>
                    </a:lnTo>
                    <a:lnTo>
                      <a:pt x="348" y="1171"/>
                    </a:lnTo>
                    <a:lnTo>
                      <a:pt x="348" y="1169"/>
                    </a:lnTo>
                    <a:lnTo>
                      <a:pt x="346" y="1169"/>
                    </a:lnTo>
                    <a:lnTo>
                      <a:pt x="344" y="1169"/>
                    </a:lnTo>
                    <a:lnTo>
                      <a:pt x="342" y="1167"/>
                    </a:lnTo>
                    <a:lnTo>
                      <a:pt x="340" y="1165"/>
                    </a:lnTo>
                    <a:lnTo>
                      <a:pt x="340" y="1163"/>
                    </a:lnTo>
                    <a:lnTo>
                      <a:pt x="340" y="1162"/>
                    </a:lnTo>
                    <a:lnTo>
                      <a:pt x="342" y="1162"/>
                    </a:lnTo>
                    <a:lnTo>
                      <a:pt x="342" y="1160"/>
                    </a:lnTo>
                    <a:lnTo>
                      <a:pt x="340" y="1160"/>
                    </a:lnTo>
                    <a:lnTo>
                      <a:pt x="340" y="1158"/>
                    </a:lnTo>
                    <a:lnTo>
                      <a:pt x="339" y="1158"/>
                    </a:lnTo>
                    <a:lnTo>
                      <a:pt x="337" y="1160"/>
                    </a:lnTo>
                    <a:lnTo>
                      <a:pt x="335" y="1160"/>
                    </a:lnTo>
                    <a:lnTo>
                      <a:pt x="333" y="1162"/>
                    </a:lnTo>
                    <a:lnTo>
                      <a:pt x="331" y="1162"/>
                    </a:lnTo>
                    <a:lnTo>
                      <a:pt x="331" y="1163"/>
                    </a:lnTo>
                    <a:lnTo>
                      <a:pt x="329" y="1163"/>
                    </a:lnTo>
                    <a:lnTo>
                      <a:pt x="327" y="1163"/>
                    </a:lnTo>
                    <a:lnTo>
                      <a:pt x="325" y="1163"/>
                    </a:lnTo>
                    <a:lnTo>
                      <a:pt x="323" y="1163"/>
                    </a:lnTo>
                    <a:lnTo>
                      <a:pt x="323" y="1162"/>
                    </a:lnTo>
                    <a:lnTo>
                      <a:pt x="322" y="1162"/>
                    </a:lnTo>
                    <a:lnTo>
                      <a:pt x="322" y="1160"/>
                    </a:lnTo>
                    <a:lnTo>
                      <a:pt x="323" y="1160"/>
                    </a:lnTo>
                    <a:lnTo>
                      <a:pt x="323" y="1158"/>
                    </a:lnTo>
                    <a:lnTo>
                      <a:pt x="325" y="1156"/>
                    </a:lnTo>
                    <a:lnTo>
                      <a:pt x="325" y="1154"/>
                    </a:lnTo>
                    <a:lnTo>
                      <a:pt x="325" y="1152"/>
                    </a:lnTo>
                    <a:lnTo>
                      <a:pt x="323" y="1152"/>
                    </a:lnTo>
                    <a:lnTo>
                      <a:pt x="323" y="1150"/>
                    </a:lnTo>
                    <a:lnTo>
                      <a:pt x="322" y="1148"/>
                    </a:lnTo>
                    <a:lnTo>
                      <a:pt x="322" y="1146"/>
                    </a:lnTo>
                    <a:lnTo>
                      <a:pt x="322" y="1145"/>
                    </a:lnTo>
                    <a:lnTo>
                      <a:pt x="320" y="1145"/>
                    </a:lnTo>
                    <a:lnTo>
                      <a:pt x="320" y="1143"/>
                    </a:lnTo>
                    <a:lnTo>
                      <a:pt x="318" y="1143"/>
                    </a:lnTo>
                    <a:lnTo>
                      <a:pt x="316" y="1143"/>
                    </a:lnTo>
                    <a:lnTo>
                      <a:pt x="316" y="1145"/>
                    </a:lnTo>
                    <a:lnTo>
                      <a:pt x="314" y="1146"/>
                    </a:lnTo>
                    <a:lnTo>
                      <a:pt x="312" y="1148"/>
                    </a:lnTo>
                    <a:lnTo>
                      <a:pt x="312" y="1150"/>
                    </a:lnTo>
                    <a:lnTo>
                      <a:pt x="310" y="1150"/>
                    </a:lnTo>
                    <a:lnTo>
                      <a:pt x="308" y="1150"/>
                    </a:lnTo>
                    <a:lnTo>
                      <a:pt x="307" y="1150"/>
                    </a:lnTo>
                    <a:lnTo>
                      <a:pt x="305" y="1150"/>
                    </a:lnTo>
                    <a:lnTo>
                      <a:pt x="303" y="1150"/>
                    </a:lnTo>
                    <a:lnTo>
                      <a:pt x="301" y="1150"/>
                    </a:lnTo>
                    <a:lnTo>
                      <a:pt x="299" y="1150"/>
                    </a:lnTo>
                    <a:lnTo>
                      <a:pt x="297" y="1152"/>
                    </a:lnTo>
                    <a:lnTo>
                      <a:pt x="295" y="1152"/>
                    </a:lnTo>
                    <a:lnTo>
                      <a:pt x="295" y="1154"/>
                    </a:lnTo>
                    <a:lnTo>
                      <a:pt x="293" y="1154"/>
                    </a:lnTo>
                    <a:lnTo>
                      <a:pt x="292" y="1154"/>
                    </a:lnTo>
                    <a:lnTo>
                      <a:pt x="290" y="1154"/>
                    </a:lnTo>
                    <a:lnTo>
                      <a:pt x="290" y="1156"/>
                    </a:lnTo>
                    <a:lnTo>
                      <a:pt x="288" y="1156"/>
                    </a:lnTo>
                    <a:lnTo>
                      <a:pt x="286" y="1156"/>
                    </a:lnTo>
                    <a:lnTo>
                      <a:pt x="286" y="1154"/>
                    </a:lnTo>
                    <a:lnTo>
                      <a:pt x="286" y="1152"/>
                    </a:lnTo>
                    <a:lnTo>
                      <a:pt x="284" y="1152"/>
                    </a:lnTo>
                    <a:lnTo>
                      <a:pt x="284" y="1150"/>
                    </a:lnTo>
                    <a:lnTo>
                      <a:pt x="282" y="1150"/>
                    </a:lnTo>
                    <a:lnTo>
                      <a:pt x="282" y="1148"/>
                    </a:lnTo>
                    <a:lnTo>
                      <a:pt x="280" y="1146"/>
                    </a:lnTo>
                    <a:lnTo>
                      <a:pt x="278" y="1146"/>
                    </a:lnTo>
                    <a:lnTo>
                      <a:pt x="278" y="1145"/>
                    </a:lnTo>
                    <a:lnTo>
                      <a:pt x="276" y="1143"/>
                    </a:lnTo>
                    <a:lnTo>
                      <a:pt x="275" y="1143"/>
                    </a:lnTo>
                    <a:lnTo>
                      <a:pt x="273" y="1141"/>
                    </a:lnTo>
                    <a:lnTo>
                      <a:pt x="273" y="1139"/>
                    </a:lnTo>
                    <a:lnTo>
                      <a:pt x="271" y="1137"/>
                    </a:lnTo>
                    <a:lnTo>
                      <a:pt x="269" y="1137"/>
                    </a:lnTo>
                    <a:lnTo>
                      <a:pt x="267" y="1137"/>
                    </a:lnTo>
                    <a:lnTo>
                      <a:pt x="265" y="1137"/>
                    </a:lnTo>
                    <a:lnTo>
                      <a:pt x="265" y="1135"/>
                    </a:lnTo>
                    <a:lnTo>
                      <a:pt x="263" y="1133"/>
                    </a:lnTo>
                    <a:lnTo>
                      <a:pt x="261" y="1133"/>
                    </a:lnTo>
                    <a:lnTo>
                      <a:pt x="260" y="1133"/>
                    </a:lnTo>
                    <a:lnTo>
                      <a:pt x="258" y="1133"/>
                    </a:lnTo>
                    <a:lnTo>
                      <a:pt x="258" y="1135"/>
                    </a:lnTo>
                    <a:lnTo>
                      <a:pt x="256" y="1135"/>
                    </a:lnTo>
                    <a:lnTo>
                      <a:pt x="254" y="1135"/>
                    </a:lnTo>
                    <a:lnTo>
                      <a:pt x="254" y="1133"/>
                    </a:lnTo>
                    <a:lnTo>
                      <a:pt x="252" y="1133"/>
                    </a:lnTo>
                    <a:lnTo>
                      <a:pt x="250" y="1133"/>
                    </a:lnTo>
                    <a:lnTo>
                      <a:pt x="250" y="1135"/>
                    </a:lnTo>
                    <a:lnTo>
                      <a:pt x="250" y="1137"/>
                    </a:lnTo>
                    <a:lnTo>
                      <a:pt x="248" y="1137"/>
                    </a:lnTo>
                    <a:lnTo>
                      <a:pt x="248" y="1139"/>
                    </a:lnTo>
                    <a:lnTo>
                      <a:pt x="246" y="1139"/>
                    </a:lnTo>
                    <a:lnTo>
                      <a:pt x="244" y="1139"/>
                    </a:lnTo>
                    <a:lnTo>
                      <a:pt x="243" y="1137"/>
                    </a:lnTo>
                    <a:lnTo>
                      <a:pt x="241" y="1135"/>
                    </a:lnTo>
                    <a:lnTo>
                      <a:pt x="239" y="1133"/>
                    </a:lnTo>
                    <a:lnTo>
                      <a:pt x="239" y="1131"/>
                    </a:lnTo>
                    <a:lnTo>
                      <a:pt x="239" y="1130"/>
                    </a:lnTo>
                    <a:lnTo>
                      <a:pt x="237" y="1130"/>
                    </a:lnTo>
                    <a:lnTo>
                      <a:pt x="237" y="1128"/>
                    </a:lnTo>
                    <a:lnTo>
                      <a:pt x="235" y="1128"/>
                    </a:lnTo>
                    <a:lnTo>
                      <a:pt x="235" y="1126"/>
                    </a:lnTo>
                    <a:lnTo>
                      <a:pt x="233" y="1126"/>
                    </a:lnTo>
                    <a:lnTo>
                      <a:pt x="233" y="1124"/>
                    </a:lnTo>
                    <a:lnTo>
                      <a:pt x="231" y="1122"/>
                    </a:lnTo>
                    <a:lnTo>
                      <a:pt x="229" y="1120"/>
                    </a:lnTo>
                    <a:lnTo>
                      <a:pt x="228" y="1120"/>
                    </a:lnTo>
                    <a:lnTo>
                      <a:pt x="228" y="1118"/>
                    </a:lnTo>
                    <a:lnTo>
                      <a:pt x="228" y="1116"/>
                    </a:lnTo>
                    <a:lnTo>
                      <a:pt x="226" y="1116"/>
                    </a:lnTo>
                    <a:lnTo>
                      <a:pt x="224" y="1116"/>
                    </a:lnTo>
                    <a:lnTo>
                      <a:pt x="222" y="1118"/>
                    </a:lnTo>
                    <a:lnTo>
                      <a:pt x="220" y="1118"/>
                    </a:lnTo>
                    <a:lnTo>
                      <a:pt x="218" y="1118"/>
                    </a:lnTo>
                    <a:lnTo>
                      <a:pt x="218" y="1116"/>
                    </a:lnTo>
                    <a:lnTo>
                      <a:pt x="216" y="1116"/>
                    </a:lnTo>
                    <a:lnTo>
                      <a:pt x="214" y="1116"/>
                    </a:lnTo>
                    <a:lnTo>
                      <a:pt x="214" y="1114"/>
                    </a:lnTo>
                    <a:lnTo>
                      <a:pt x="214" y="1113"/>
                    </a:lnTo>
                    <a:lnTo>
                      <a:pt x="213" y="1111"/>
                    </a:lnTo>
                    <a:lnTo>
                      <a:pt x="211" y="1111"/>
                    </a:lnTo>
                    <a:lnTo>
                      <a:pt x="211" y="1109"/>
                    </a:lnTo>
                    <a:lnTo>
                      <a:pt x="209" y="1109"/>
                    </a:lnTo>
                    <a:lnTo>
                      <a:pt x="209" y="1107"/>
                    </a:lnTo>
                    <a:lnTo>
                      <a:pt x="207" y="1105"/>
                    </a:lnTo>
                    <a:lnTo>
                      <a:pt x="205" y="1105"/>
                    </a:lnTo>
                    <a:lnTo>
                      <a:pt x="205" y="1103"/>
                    </a:lnTo>
                    <a:lnTo>
                      <a:pt x="205" y="1101"/>
                    </a:lnTo>
                    <a:lnTo>
                      <a:pt x="207" y="1101"/>
                    </a:lnTo>
                    <a:lnTo>
                      <a:pt x="207" y="1099"/>
                    </a:lnTo>
                    <a:lnTo>
                      <a:pt x="205" y="1098"/>
                    </a:lnTo>
                    <a:lnTo>
                      <a:pt x="205" y="1096"/>
                    </a:lnTo>
                    <a:lnTo>
                      <a:pt x="203" y="1096"/>
                    </a:lnTo>
                    <a:lnTo>
                      <a:pt x="203" y="1094"/>
                    </a:lnTo>
                    <a:lnTo>
                      <a:pt x="201" y="1094"/>
                    </a:lnTo>
                    <a:lnTo>
                      <a:pt x="199" y="1094"/>
                    </a:lnTo>
                    <a:lnTo>
                      <a:pt x="199" y="1092"/>
                    </a:lnTo>
                    <a:lnTo>
                      <a:pt x="197" y="1092"/>
                    </a:lnTo>
                    <a:lnTo>
                      <a:pt x="196" y="1090"/>
                    </a:lnTo>
                    <a:lnTo>
                      <a:pt x="196" y="1088"/>
                    </a:lnTo>
                    <a:lnTo>
                      <a:pt x="194" y="1086"/>
                    </a:lnTo>
                    <a:lnTo>
                      <a:pt x="194" y="1084"/>
                    </a:lnTo>
                    <a:lnTo>
                      <a:pt x="192" y="1084"/>
                    </a:lnTo>
                    <a:lnTo>
                      <a:pt x="192" y="1082"/>
                    </a:lnTo>
                    <a:lnTo>
                      <a:pt x="192" y="1081"/>
                    </a:lnTo>
                    <a:lnTo>
                      <a:pt x="192" y="1079"/>
                    </a:lnTo>
                    <a:lnTo>
                      <a:pt x="190" y="1079"/>
                    </a:lnTo>
                    <a:lnTo>
                      <a:pt x="190" y="1077"/>
                    </a:lnTo>
                    <a:lnTo>
                      <a:pt x="188" y="1077"/>
                    </a:lnTo>
                    <a:lnTo>
                      <a:pt x="186" y="1077"/>
                    </a:lnTo>
                    <a:lnTo>
                      <a:pt x="184" y="1075"/>
                    </a:lnTo>
                    <a:lnTo>
                      <a:pt x="182" y="1073"/>
                    </a:lnTo>
                    <a:lnTo>
                      <a:pt x="181" y="1073"/>
                    </a:lnTo>
                    <a:lnTo>
                      <a:pt x="179" y="1073"/>
                    </a:lnTo>
                    <a:lnTo>
                      <a:pt x="179" y="1075"/>
                    </a:lnTo>
                    <a:lnTo>
                      <a:pt x="177" y="1075"/>
                    </a:lnTo>
                    <a:lnTo>
                      <a:pt x="175" y="1075"/>
                    </a:lnTo>
                    <a:lnTo>
                      <a:pt x="177" y="1075"/>
                    </a:lnTo>
                    <a:lnTo>
                      <a:pt x="177" y="1073"/>
                    </a:lnTo>
                    <a:lnTo>
                      <a:pt x="175" y="1071"/>
                    </a:lnTo>
                    <a:lnTo>
                      <a:pt x="175" y="1069"/>
                    </a:lnTo>
                    <a:lnTo>
                      <a:pt x="177" y="1069"/>
                    </a:lnTo>
                    <a:lnTo>
                      <a:pt x="177" y="1067"/>
                    </a:lnTo>
                    <a:lnTo>
                      <a:pt x="179" y="1066"/>
                    </a:lnTo>
                    <a:lnTo>
                      <a:pt x="179" y="1064"/>
                    </a:lnTo>
                    <a:lnTo>
                      <a:pt x="179" y="1062"/>
                    </a:lnTo>
                    <a:lnTo>
                      <a:pt x="179" y="1060"/>
                    </a:lnTo>
                    <a:lnTo>
                      <a:pt x="177" y="1060"/>
                    </a:lnTo>
                    <a:lnTo>
                      <a:pt x="177" y="1058"/>
                    </a:lnTo>
                    <a:lnTo>
                      <a:pt x="177" y="1056"/>
                    </a:lnTo>
                    <a:lnTo>
                      <a:pt x="175" y="1054"/>
                    </a:lnTo>
                    <a:lnTo>
                      <a:pt x="175" y="1052"/>
                    </a:lnTo>
                    <a:lnTo>
                      <a:pt x="173" y="1052"/>
                    </a:lnTo>
                    <a:lnTo>
                      <a:pt x="171" y="1052"/>
                    </a:lnTo>
                    <a:lnTo>
                      <a:pt x="169" y="1054"/>
                    </a:lnTo>
                    <a:lnTo>
                      <a:pt x="167" y="1054"/>
                    </a:lnTo>
                    <a:lnTo>
                      <a:pt x="165" y="1054"/>
                    </a:lnTo>
                    <a:lnTo>
                      <a:pt x="164" y="1054"/>
                    </a:lnTo>
                    <a:lnTo>
                      <a:pt x="162" y="1054"/>
                    </a:lnTo>
                    <a:lnTo>
                      <a:pt x="162" y="1052"/>
                    </a:lnTo>
                    <a:lnTo>
                      <a:pt x="162" y="1050"/>
                    </a:lnTo>
                    <a:lnTo>
                      <a:pt x="160" y="1049"/>
                    </a:lnTo>
                    <a:lnTo>
                      <a:pt x="158" y="1049"/>
                    </a:lnTo>
                    <a:lnTo>
                      <a:pt x="156" y="1047"/>
                    </a:lnTo>
                    <a:lnTo>
                      <a:pt x="156" y="1045"/>
                    </a:lnTo>
                    <a:lnTo>
                      <a:pt x="154" y="1045"/>
                    </a:lnTo>
                    <a:lnTo>
                      <a:pt x="154" y="1043"/>
                    </a:lnTo>
                    <a:lnTo>
                      <a:pt x="152" y="1043"/>
                    </a:lnTo>
                    <a:lnTo>
                      <a:pt x="152" y="1041"/>
                    </a:lnTo>
                    <a:lnTo>
                      <a:pt x="154" y="1039"/>
                    </a:lnTo>
                    <a:lnTo>
                      <a:pt x="154" y="1037"/>
                    </a:lnTo>
                    <a:lnTo>
                      <a:pt x="154" y="1035"/>
                    </a:lnTo>
                    <a:lnTo>
                      <a:pt x="152" y="1035"/>
                    </a:lnTo>
                    <a:lnTo>
                      <a:pt x="152" y="1034"/>
                    </a:lnTo>
                    <a:lnTo>
                      <a:pt x="150" y="1034"/>
                    </a:lnTo>
                    <a:lnTo>
                      <a:pt x="149" y="1032"/>
                    </a:lnTo>
                    <a:lnTo>
                      <a:pt x="149" y="1030"/>
                    </a:lnTo>
                    <a:lnTo>
                      <a:pt x="149" y="1028"/>
                    </a:lnTo>
                    <a:lnTo>
                      <a:pt x="147" y="1028"/>
                    </a:lnTo>
                    <a:lnTo>
                      <a:pt x="145" y="1028"/>
                    </a:lnTo>
                    <a:lnTo>
                      <a:pt x="145" y="1030"/>
                    </a:lnTo>
                    <a:lnTo>
                      <a:pt x="143" y="1030"/>
                    </a:lnTo>
                    <a:lnTo>
                      <a:pt x="141" y="1030"/>
                    </a:lnTo>
                    <a:lnTo>
                      <a:pt x="141" y="1028"/>
                    </a:lnTo>
                    <a:lnTo>
                      <a:pt x="139" y="1026"/>
                    </a:lnTo>
                    <a:lnTo>
                      <a:pt x="139" y="1024"/>
                    </a:lnTo>
                    <a:lnTo>
                      <a:pt x="139" y="1022"/>
                    </a:lnTo>
                    <a:lnTo>
                      <a:pt x="137" y="1020"/>
                    </a:lnTo>
                    <a:lnTo>
                      <a:pt x="135" y="1020"/>
                    </a:lnTo>
                    <a:lnTo>
                      <a:pt x="135" y="1018"/>
                    </a:lnTo>
                    <a:lnTo>
                      <a:pt x="135" y="1017"/>
                    </a:lnTo>
                    <a:lnTo>
                      <a:pt x="135" y="1015"/>
                    </a:lnTo>
                    <a:lnTo>
                      <a:pt x="135" y="1013"/>
                    </a:lnTo>
                    <a:lnTo>
                      <a:pt x="135" y="1011"/>
                    </a:lnTo>
                    <a:lnTo>
                      <a:pt x="134" y="1009"/>
                    </a:lnTo>
                    <a:lnTo>
                      <a:pt x="134" y="1007"/>
                    </a:lnTo>
                    <a:lnTo>
                      <a:pt x="132" y="1007"/>
                    </a:lnTo>
                    <a:lnTo>
                      <a:pt x="132" y="1005"/>
                    </a:lnTo>
                    <a:lnTo>
                      <a:pt x="130" y="1005"/>
                    </a:lnTo>
                    <a:lnTo>
                      <a:pt x="128" y="1005"/>
                    </a:lnTo>
                    <a:lnTo>
                      <a:pt x="126" y="1005"/>
                    </a:lnTo>
                    <a:lnTo>
                      <a:pt x="126" y="1003"/>
                    </a:lnTo>
                    <a:lnTo>
                      <a:pt x="124" y="1003"/>
                    </a:lnTo>
                    <a:lnTo>
                      <a:pt x="124" y="1002"/>
                    </a:lnTo>
                    <a:lnTo>
                      <a:pt x="124" y="1000"/>
                    </a:lnTo>
                    <a:lnTo>
                      <a:pt x="126" y="998"/>
                    </a:lnTo>
                    <a:lnTo>
                      <a:pt x="126" y="996"/>
                    </a:lnTo>
                    <a:lnTo>
                      <a:pt x="124" y="996"/>
                    </a:lnTo>
                    <a:lnTo>
                      <a:pt x="122" y="994"/>
                    </a:lnTo>
                    <a:lnTo>
                      <a:pt x="122" y="992"/>
                    </a:lnTo>
                    <a:lnTo>
                      <a:pt x="120" y="992"/>
                    </a:lnTo>
                    <a:lnTo>
                      <a:pt x="118" y="992"/>
                    </a:lnTo>
                    <a:lnTo>
                      <a:pt x="118" y="990"/>
                    </a:lnTo>
                    <a:lnTo>
                      <a:pt x="118" y="988"/>
                    </a:lnTo>
                    <a:lnTo>
                      <a:pt x="117" y="986"/>
                    </a:lnTo>
                    <a:lnTo>
                      <a:pt x="117" y="985"/>
                    </a:lnTo>
                    <a:lnTo>
                      <a:pt x="115" y="985"/>
                    </a:lnTo>
                    <a:lnTo>
                      <a:pt x="115" y="983"/>
                    </a:lnTo>
                    <a:lnTo>
                      <a:pt x="115" y="981"/>
                    </a:lnTo>
                    <a:lnTo>
                      <a:pt x="115" y="979"/>
                    </a:lnTo>
                    <a:lnTo>
                      <a:pt x="115" y="977"/>
                    </a:lnTo>
                    <a:lnTo>
                      <a:pt x="117" y="977"/>
                    </a:lnTo>
                    <a:lnTo>
                      <a:pt x="117" y="975"/>
                    </a:lnTo>
                    <a:lnTo>
                      <a:pt x="117" y="973"/>
                    </a:lnTo>
                    <a:lnTo>
                      <a:pt x="117" y="971"/>
                    </a:lnTo>
                    <a:lnTo>
                      <a:pt x="115" y="969"/>
                    </a:lnTo>
                    <a:lnTo>
                      <a:pt x="115" y="968"/>
                    </a:lnTo>
                    <a:lnTo>
                      <a:pt x="113" y="968"/>
                    </a:lnTo>
                    <a:lnTo>
                      <a:pt x="111" y="968"/>
                    </a:lnTo>
                    <a:lnTo>
                      <a:pt x="111" y="966"/>
                    </a:lnTo>
                    <a:lnTo>
                      <a:pt x="109" y="966"/>
                    </a:lnTo>
                    <a:lnTo>
                      <a:pt x="107" y="966"/>
                    </a:lnTo>
                    <a:lnTo>
                      <a:pt x="105" y="966"/>
                    </a:lnTo>
                    <a:lnTo>
                      <a:pt x="103" y="966"/>
                    </a:lnTo>
                    <a:lnTo>
                      <a:pt x="102" y="966"/>
                    </a:lnTo>
                    <a:lnTo>
                      <a:pt x="100" y="966"/>
                    </a:lnTo>
                    <a:lnTo>
                      <a:pt x="98" y="966"/>
                    </a:lnTo>
                    <a:lnTo>
                      <a:pt x="96" y="966"/>
                    </a:lnTo>
                    <a:lnTo>
                      <a:pt x="94" y="966"/>
                    </a:lnTo>
                    <a:lnTo>
                      <a:pt x="92" y="964"/>
                    </a:lnTo>
                    <a:lnTo>
                      <a:pt x="90" y="964"/>
                    </a:lnTo>
                    <a:lnTo>
                      <a:pt x="88" y="962"/>
                    </a:lnTo>
                    <a:lnTo>
                      <a:pt x="88" y="964"/>
                    </a:lnTo>
                    <a:lnTo>
                      <a:pt x="88" y="962"/>
                    </a:lnTo>
                    <a:lnTo>
                      <a:pt x="86" y="962"/>
                    </a:lnTo>
                    <a:lnTo>
                      <a:pt x="85" y="962"/>
                    </a:lnTo>
                    <a:lnTo>
                      <a:pt x="83" y="960"/>
                    </a:lnTo>
                    <a:lnTo>
                      <a:pt x="83" y="958"/>
                    </a:lnTo>
                    <a:lnTo>
                      <a:pt x="83" y="956"/>
                    </a:lnTo>
                    <a:lnTo>
                      <a:pt x="81" y="956"/>
                    </a:lnTo>
                    <a:lnTo>
                      <a:pt x="81" y="954"/>
                    </a:lnTo>
                    <a:lnTo>
                      <a:pt x="81" y="953"/>
                    </a:lnTo>
                    <a:lnTo>
                      <a:pt x="81" y="951"/>
                    </a:lnTo>
                    <a:lnTo>
                      <a:pt x="81" y="949"/>
                    </a:lnTo>
                    <a:lnTo>
                      <a:pt x="81" y="947"/>
                    </a:lnTo>
                    <a:lnTo>
                      <a:pt x="81" y="945"/>
                    </a:lnTo>
                    <a:lnTo>
                      <a:pt x="81" y="943"/>
                    </a:lnTo>
                    <a:lnTo>
                      <a:pt x="81" y="941"/>
                    </a:lnTo>
                    <a:lnTo>
                      <a:pt x="81" y="939"/>
                    </a:lnTo>
                    <a:lnTo>
                      <a:pt x="79" y="937"/>
                    </a:lnTo>
                    <a:lnTo>
                      <a:pt x="77" y="937"/>
                    </a:lnTo>
                    <a:lnTo>
                      <a:pt x="77" y="939"/>
                    </a:lnTo>
                    <a:lnTo>
                      <a:pt x="77" y="941"/>
                    </a:lnTo>
                    <a:lnTo>
                      <a:pt x="75" y="941"/>
                    </a:lnTo>
                    <a:lnTo>
                      <a:pt x="73" y="941"/>
                    </a:lnTo>
                    <a:lnTo>
                      <a:pt x="71" y="941"/>
                    </a:lnTo>
                    <a:lnTo>
                      <a:pt x="70" y="941"/>
                    </a:lnTo>
                    <a:lnTo>
                      <a:pt x="68" y="941"/>
                    </a:lnTo>
                    <a:lnTo>
                      <a:pt x="66" y="941"/>
                    </a:lnTo>
                    <a:lnTo>
                      <a:pt x="64" y="941"/>
                    </a:lnTo>
                    <a:lnTo>
                      <a:pt x="64" y="939"/>
                    </a:lnTo>
                    <a:lnTo>
                      <a:pt x="62" y="939"/>
                    </a:lnTo>
                    <a:lnTo>
                      <a:pt x="60" y="937"/>
                    </a:lnTo>
                    <a:lnTo>
                      <a:pt x="58" y="936"/>
                    </a:lnTo>
                    <a:lnTo>
                      <a:pt x="56" y="934"/>
                    </a:lnTo>
                    <a:lnTo>
                      <a:pt x="56" y="932"/>
                    </a:lnTo>
                    <a:lnTo>
                      <a:pt x="55" y="932"/>
                    </a:lnTo>
                    <a:lnTo>
                      <a:pt x="55" y="930"/>
                    </a:lnTo>
                    <a:lnTo>
                      <a:pt x="53" y="930"/>
                    </a:lnTo>
                    <a:lnTo>
                      <a:pt x="53" y="928"/>
                    </a:lnTo>
                    <a:lnTo>
                      <a:pt x="53" y="926"/>
                    </a:lnTo>
                    <a:lnTo>
                      <a:pt x="53" y="924"/>
                    </a:lnTo>
                    <a:lnTo>
                      <a:pt x="51" y="924"/>
                    </a:lnTo>
                    <a:lnTo>
                      <a:pt x="51" y="922"/>
                    </a:lnTo>
                    <a:lnTo>
                      <a:pt x="49" y="922"/>
                    </a:lnTo>
                    <a:lnTo>
                      <a:pt x="47" y="922"/>
                    </a:lnTo>
                    <a:lnTo>
                      <a:pt x="45" y="922"/>
                    </a:lnTo>
                    <a:lnTo>
                      <a:pt x="43" y="922"/>
                    </a:lnTo>
                    <a:lnTo>
                      <a:pt x="41" y="922"/>
                    </a:lnTo>
                    <a:lnTo>
                      <a:pt x="41" y="921"/>
                    </a:lnTo>
                    <a:lnTo>
                      <a:pt x="39" y="921"/>
                    </a:lnTo>
                    <a:lnTo>
                      <a:pt x="39" y="919"/>
                    </a:lnTo>
                    <a:lnTo>
                      <a:pt x="39" y="917"/>
                    </a:lnTo>
                    <a:lnTo>
                      <a:pt x="39" y="915"/>
                    </a:lnTo>
                    <a:lnTo>
                      <a:pt x="38" y="915"/>
                    </a:lnTo>
                    <a:lnTo>
                      <a:pt x="38" y="913"/>
                    </a:lnTo>
                    <a:lnTo>
                      <a:pt x="36" y="913"/>
                    </a:lnTo>
                    <a:lnTo>
                      <a:pt x="34" y="913"/>
                    </a:lnTo>
                    <a:lnTo>
                      <a:pt x="32" y="913"/>
                    </a:lnTo>
                    <a:lnTo>
                      <a:pt x="30" y="913"/>
                    </a:lnTo>
                    <a:lnTo>
                      <a:pt x="28" y="913"/>
                    </a:lnTo>
                    <a:lnTo>
                      <a:pt x="26" y="913"/>
                    </a:lnTo>
                    <a:lnTo>
                      <a:pt x="24" y="913"/>
                    </a:lnTo>
                    <a:lnTo>
                      <a:pt x="23" y="913"/>
                    </a:lnTo>
                    <a:lnTo>
                      <a:pt x="23" y="911"/>
                    </a:lnTo>
                    <a:lnTo>
                      <a:pt x="21" y="911"/>
                    </a:lnTo>
                    <a:lnTo>
                      <a:pt x="21" y="909"/>
                    </a:lnTo>
                    <a:lnTo>
                      <a:pt x="19" y="909"/>
                    </a:lnTo>
                    <a:lnTo>
                      <a:pt x="17" y="907"/>
                    </a:lnTo>
                    <a:lnTo>
                      <a:pt x="15" y="905"/>
                    </a:lnTo>
                    <a:lnTo>
                      <a:pt x="15" y="904"/>
                    </a:lnTo>
                    <a:lnTo>
                      <a:pt x="15" y="902"/>
                    </a:lnTo>
                    <a:lnTo>
                      <a:pt x="13" y="902"/>
                    </a:lnTo>
                    <a:lnTo>
                      <a:pt x="13" y="900"/>
                    </a:lnTo>
                    <a:lnTo>
                      <a:pt x="11" y="900"/>
                    </a:lnTo>
                    <a:lnTo>
                      <a:pt x="11" y="898"/>
                    </a:lnTo>
                    <a:lnTo>
                      <a:pt x="9" y="896"/>
                    </a:lnTo>
                    <a:lnTo>
                      <a:pt x="9" y="894"/>
                    </a:lnTo>
                    <a:lnTo>
                      <a:pt x="9" y="892"/>
                    </a:lnTo>
                    <a:lnTo>
                      <a:pt x="7" y="892"/>
                    </a:lnTo>
                    <a:lnTo>
                      <a:pt x="7" y="890"/>
                    </a:lnTo>
                    <a:lnTo>
                      <a:pt x="7" y="889"/>
                    </a:lnTo>
                    <a:lnTo>
                      <a:pt x="7" y="887"/>
                    </a:lnTo>
                    <a:lnTo>
                      <a:pt x="6" y="887"/>
                    </a:lnTo>
                    <a:lnTo>
                      <a:pt x="6" y="885"/>
                    </a:lnTo>
                    <a:lnTo>
                      <a:pt x="4" y="885"/>
                    </a:lnTo>
                    <a:lnTo>
                      <a:pt x="2" y="885"/>
                    </a:lnTo>
                    <a:lnTo>
                      <a:pt x="2" y="883"/>
                    </a:lnTo>
                    <a:lnTo>
                      <a:pt x="0" y="883"/>
                    </a:lnTo>
                    <a:lnTo>
                      <a:pt x="0" y="881"/>
                    </a:lnTo>
                    <a:lnTo>
                      <a:pt x="0" y="879"/>
                    </a:lnTo>
                    <a:lnTo>
                      <a:pt x="0" y="877"/>
                    </a:lnTo>
                    <a:lnTo>
                      <a:pt x="0" y="875"/>
                    </a:lnTo>
                    <a:lnTo>
                      <a:pt x="0" y="873"/>
                    </a:lnTo>
                    <a:lnTo>
                      <a:pt x="2" y="870"/>
                    </a:lnTo>
                    <a:lnTo>
                      <a:pt x="2" y="868"/>
                    </a:lnTo>
                    <a:lnTo>
                      <a:pt x="0" y="868"/>
                    </a:lnTo>
                    <a:lnTo>
                      <a:pt x="0" y="866"/>
                    </a:lnTo>
                    <a:lnTo>
                      <a:pt x="2" y="862"/>
                    </a:lnTo>
                    <a:lnTo>
                      <a:pt x="17" y="830"/>
                    </a:lnTo>
                    <a:lnTo>
                      <a:pt x="34" y="796"/>
                    </a:lnTo>
                    <a:lnTo>
                      <a:pt x="47" y="766"/>
                    </a:lnTo>
                    <a:lnTo>
                      <a:pt x="62" y="736"/>
                    </a:lnTo>
                    <a:lnTo>
                      <a:pt x="66" y="729"/>
                    </a:lnTo>
                    <a:lnTo>
                      <a:pt x="79" y="700"/>
                    </a:lnTo>
                    <a:lnTo>
                      <a:pt x="81" y="697"/>
                    </a:lnTo>
                    <a:lnTo>
                      <a:pt x="88" y="681"/>
                    </a:lnTo>
                    <a:lnTo>
                      <a:pt x="103" y="649"/>
                    </a:lnTo>
                    <a:lnTo>
                      <a:pt x="113" y="631"/>
                    </a:lnTo>
                    <a:lnTo>
                      <a:pt x="117" y="625"/>
                    </a:lnTo>
                    <a:lnTo>
                      <a:pt x="118" y="619"/>
                    </a:lnTo>
                    <a:lnTo>
                      <a:pt x="120" y="616"/>
                    </a:lnTo>
                    <a:lnTo>
                      <a:pt x="130" y="595"/>
                    </a:lnTo>
                    <a:lnTo>
                      <a:pt x="141" y="572"/>
                    </a:lnTo>
                    <a:lnTo>
                      <a:pt x="122" y="565"/>
                    </a:lnTo>
                    <a:lnTo>
                      <a:pt x="132" y="533"/>
                    </a:lnTo>
                    <a:lnTo>
                      <a:pt x="128" y="529"/>
                    </a:lnTo>
                    <a:lnTo>
                      <a:pt x="134" y="521"/>
                    </a:lnTo>
                    <a:lnTo>
                      <a:pt x="135" y="518"/>
                    </a:lnTo>
                    <a:lnTo>
                      <a:pt x="137" y="518"/>
                    </a:lnTo>
                    <a:lnTo>
                      <a:pt x="141" y="508"/>
                    </a:lnTo>
                    <a:lnTo>
                      <a:pt x="143" y="504"/>
                    </a:lnTo>
                    <a:lnTo>
                      <a:pt x="150" y="478"/>
                    </a:lnTo>
                    <a:lnTo>
                      <a:pt x="139" y="472"/>
                    </a:lnTo>
                    <a:lnTo>
                      <a:pt x="134" y="461"/>
                    </a:lnTo>
                    <a:lnTo>
                      <a:pt x="143" y="463"/>
                    </a:lnTo>
                    <a:lnTo>
                      <a:pt x="147" y="456"/>
                    </a:lnTo>
                    <a:lnTo>
                      <a:pt x="158" y="456"/>
                    </a:lnTo>
                    <a:lnTo>
                      <a:pt x="165" y="433"/>
                    </a:lnTo>
                    <a:lnTo>
                      <a:pt x="167" y="425"/>
                    </a:lnTo>
                    <a:lnTo>
                      <a:pt x="173" y="405"/>
                    </a:lnTo>
                    <a:lnTo>
                      <a:pt x="175" y="405"/>
                    </a:lnTo>
                    <a:lnTo>
                      <a:pt x="175" y="403"/>
                    </a:lnTo>
                    <a:lnTo>
                      <a:pt x="177" y="403"/>
                    </a:lnTo>
                    <a:lnTo>
                      <a:pt x="179" y="403"/>
                    </a:lnTo>
                    <a:lnTo>
                      <a:pt x="181" y="403"/>
                    </a:lnTo>
                    <a:lnTo>
                      <a:pt x="181" y="405"/>
                    </a:lnTo>
                    <a:lnTo>
                      <a:pt x="182" y="403"/>
                    </a:lnTo>
                    <a:lnTo>
                      <a:pt x="184" y="403"/>
                    </a:lnTo>
                    <a:lnTo>
                      <a:pt x="186" y="403"/>
                    </a:lnTo>
                    <a:lnTo>
                      <a:pt x="186" y="401"/>
                    </a:lnTo>
                    <a:lnTo>
                      <a:pt x="186" y="399"/>
                    </a:lnTo>
                    <a:lnTo>
                      <a:pt x="186" y="397"/>
                    </a:lnTo>
                    <a:lnTo>
                      <a:pt x="188" y="395"/>
                    </a:lnTo>
                    <a:lnTo>
                      <a:pt x="188" y="393"/>
                    </a:lnTo>
                    <a:lnTo>
                      <a:pt x="190" y="393"/>
                    </a:lnTo>
                    <a:lnTo>
                      <a:pt x="190" y="392"/>
                    </a:lnTo>
                    <a:lnTo>
                      <a:pt x="192" y="390"/>
                    </a:lnTo>
                    <a:lnTo>
                      <a:pt x="194" y="388"/>
                    </a:lnTo>
                    <a:lnTo>
                      <a:pt x="194" y="386"/>
                    </a:lnTo>
                    <a:lnTo>
                      <a:pt x="194" y="384"/>
                    </a:lnTo>
                    <a:lnTo>
                      <a:pt x="192" y="384"/>
                    </a:lnTo>
                    <a:lnTo>
                      <a:pt x="192" y="382"/>
                    </a:lnTo>
                    <a:lnTo>
                      <a:pt x="190" y="382"/>
                    </a:lnTo>
                    <a:lnTo>
                      <a:pt x="190" y="380"/>
                    </a:lnTo>
                    <a:lnTo>
                      <a:pt x="190" y="378"/>
                    </a:lnTo>
                    <a:lnTo>
                      <a:pt x="190" y="376"/>
                    </a:lnTo>
                    <a:lnTo>
                      <a:pt x="192" y="376"/>
                    </a:lnTo>
                    <a:lnTo>
                      <a:pt x="194" y="376"/>
                    </a:lnTo>
                    <a:lnTo>
                      <a:pt x="194" y="375"/>
                    </a:lnTo>
                    <a:lnTo>
                      <a:pt x="196" y="375"/>
                    </a:lnTo>
                    <a:lnTo>
                      <a:pt x="196" y="373"/>
                    </a:lnTo>
                    <a:lnTo>
                      <a:pt x="197" y="371"/>
                    </a:lnTo>
                    <a:lnTo>
                      <a:pt x="199" y="369"/>
                    </a:lnTo>
                    <a:lnTo>
                      <a:pt x="199" y="367"/>
                    </a:lnTo>
                    <a:lnTo>
                      <a:pt x="199" y="365"/>
                    </a:lnTo>
                    <a:lnTo>
                      <a:pt x="199" y="363"/>
                    </a:lnTo>
                    <a:lnTo>
                      <a:pt x="199" y="361"/>
                    </a:lnTo>
                    <a:lnTo>
                      <a:pt x="201" y="361"/>
                    </a:lnTo>
                    <a:lnTo>
                      <a:pt x="203" y="361"/>
                    </a:lnTo>
                    <a:lnTo>
                      <a:pt x="205" y="363"/>
                    </a:lnTo>
                    <a:lnTo>
                      <a:pt x="207" y="363"/>
                    </a:lnTo>
                    <a:lnTo>
                      <a:pt x="207" y="361"/>
                    </a:lnTo>
                    <a:lnTo>
                      <a:pt x="209" y="361"/>
                    </a:lnTo>
                    <a:lnTo>
                      <a:pt x="209" y="360"/>
                    </a:lnTo>
                    <a:lnTo>
                      <a:pt x="211" y="360"/>
                    </a:lnTo>
                    <a:lnTo>
                      <a:pt x="213" y="358"/>
                    </a:lnTo>
                    <a:lnTo>
                      <a:pt x="214" y="358"/>
                    </a:lnTo>
                    <a:lnTo>
                      <a:pt x="214" y="356"/>
                    </a:lnTo>
                    <a:lnTo>
                      <a:pt x="214" y="354"/>
                    </a:lnTo>
                    <a:lnTo>
                      <a:pt x="216" y="352"/>
                    </a:lnTo>
                    <a:lnTo>
                      <a:pt x="218" y="350"/>
                    </a:lnTo>
                    <a:lnTo>
                      <a:pt x="220" y="350"/>
                    </a:lnTo>
                    <a:lnTo>
                      <a:pt x="222" y="348"/>
                    </a:lnTo>
                    <a:lnTo>
                      <a:pt x="224" y="348"/>
                    </a:lnTo>
                    <a:lnTo>
                      <a:pt x="226" y="348"/>
                    </a:lnTo>
                    <a:lnTo>
                      <a:pt x="226" y="346"/>
                    </a:lnTo>
                    <a:lnTo>
                      <a:pt x="228" y="346"/>
                    </a:lnTo>
                    <a:lnTo>
                      <a:pt x="229" y="344"/>
                    </a:lnTo>
                    <a:lnTo>
                      <a:pt x="231" y="344"/>
                    </a:lnTo>
                    <a:lnTo>
                      <a:pt x="231" y="343"/>
                    </a:lnTo>
                    <a:lnTo>
                      <a:pt x="231" y="341"/>
                    </a:lnTo>
                    <a:lnTo>
                      <a:pt x="229" y="341"/>
                    </a:lnTo>
                    <a:lnTo>
                      <a:pt x="229" y="339"/>
                    </a:lnTo>
                    <a:lnTo>
                      <a:pt x="228" y="339"/>
                    </a:lnTo>
                    <a:lnTo>
                      <a:pt x="228" y="337"/>
                    </a:lnTo>
                    <a:lnTo>
                      <a:pt x="228" y="335"/>
                    </a:lnTo>
                    <a:lnTo>
                      <a:pt x="229" y="333"/>
                    </a:lnTo>
                    <a:lnTo>
                      <a:pt x="231" y="333"/>
                    </a:lnTo>
                    <a:lnTo>
                      <a:pt x="233" y="331"/>
                    </a:lnTo>
                    <a:lnTo>
                      <a:pt x="233" y="329"/>
                    </a:lnTo>
                    <a:lnTo>
                      <a:pt x="235" y="328"/>
                    </a:lnTo>
                    <a:lnTo>
                      <a:pt x="235" y="326"/>
                    </a:lnTo>
                    <a:lnTo>
                      <a:pt x="237" y="326"/>
                    </a:lnTo>
                    <a:lnTo>
                      <a:pt x="237" y="324"/>
                    </a:lnTo>
                    <a:lnTo>
                      <a:pt x="239" y="324"/>
                    </a:lnTo>
                    <a:lnTo>
                      <a:pt x="241" y="324"/>
                    </a:lnTo>
                    <a:lnTo>
                      <a:pt x="243" y="324"/>
                    </a:lnTo>
                    <a:lnTo>
                      <a:pt x="244" y="324"/>
                    </a:lnTo>
                    <a:lnTo>
                      <a:pt x="246" y="324"/>
                    </a:lnTo>
                    <a:lnTo>
                      <a:pt x="248" y="324"/>
                    </a:lnTo>
                    <a:lnTo>
                      <a:pt x="250" y="324"/>
                    </a:lnTo>
                    <a:lnTo>
                      <a:pt x="252" y="322"/>
                    </a:lnTo>
                    <a:lnTo>
                      <a:pt x="252" y="324"/>
                    </a:lnTo>
                    <a:lnTo>
                      <a:pt x="254" y="324"/>
                    </a:lnTo>
                    <a:lnTo>
                      <a:pt x="254" y="322"/>
                    </a:lnTo>
                    <a:lnTo>
                      <a:pt x="254" y="320"/>
                    </a:lnTo>
                    <a:lnTo>
                      <a:pt x="256" y="320"/>
                    </a:lnTo>
                    <a:lnTo>
                      <a:pt x="256" y="318"/>
                    </a:lnTo>
                    <a:lnTo>
                      <a:pt x="256" y="316"/>
                    </a:lnTo>
                    <a:lnTo>
                      <a:pt x="258" y="314"/>
                    </a:lnTo>
                    <a:lnTo>
                      <a:pt x="258" y="312"/>
                    </a:lnTo>
                    <a:lnTo>
                      <a:pt x="260" y="312"/>
                    </a:lnTo>
                    <a:lnTo>
                      <a:pt x="260" y="311"/>
                    </a:lnTo>
                    <a:lnTo>
                      <a:pt x="261" y="311"/>
                    </a:lnTo>
                    <a:lnTo>
                      <a:pt x="263" y="309"/>
                    </a:lnTo>
                    <a:lnTo>
                      <a:pt x="265" y="307"/>
                    </a:lnTo>
                    <a:lnTo>
                      <a:pt x="267" y="305"/>
                    </a:lnTo>
                    <a:lnTo>
                      <a:pt x="269" y="305"/>
                    </a:lnTo>
                    <a:lnTo>
                      <a:pt x="269" y="303"/>
                    </a:lnTo>
                    <a:lnTo>
                      <a:pt x="271" y="303"/>
                    </a:lnTo>
                    <a:lnTo>
                      <a:pt x="273" y="303"/>
                    </a:lnTo>
                    <a:lnTo>
                      <a:pt x="275" y="301"/>
                    </a:lnTo>
                    <a:lnTo>
                      <a:pt x="276" y="301"/>
                    </a:lnTo>
                    <a:lnTo>
                      <a:pt x="278" y="301"/>
                    </a:lnTo>
                    <a:lnTo>
                      <a:pt x="280" y="301"/>
                    </a:lnTo>
                    <a:lnTo>
                      <a:pt x="282" y="301"/>
                    </a:lnTo>
                    <a:lnTo>
                      <a:pt x="282" y="299"/>
                    </a:lnTo>
                    <a:lnTo>
                      <a:pt x="284" y="299"/>
                    </a:lnTo>
                    <a:lnTo>
                      <a:pt x="286" y="299"/>
                    </a:lnTo>
                    <a:lnTo>
                      <a:pt x="288" y="299"/>
                    </a:lnTo>
                    <a:lnTo>
                      <a:pt x="288" y="297"/>
                    </a:lnTo>
                    <a:lnTo>
                      <a:pt x="288" y="296"/>
                    </a:lnTo>
                    <a:lnTo>
                      <a:pt x="290" y="294"/>
                    </a:lnTo>
                    <a:lnTo>
                      <a:pt x="292" y="294"/>
                    </a:lnTo>
                    <a:lnTo>
                      <a:pt x="293" y="296"/>
                    </a:lnTo>
                    <a:lnTo>
                      <a:pt x="295" y="296"/>
                    </a:lnTo>
                    <a:lnTo>
                      <a:pt x="297" y="296"/>
                    </a:lnTo>
                    <a:lnTo>
                      <a:pt x="299" y="296"/>
                    </a:lnTo>
                    <a:lnTo>
                      <a:pt x="301" y="294"/>
                    </a:lnTo>
                    <a:lnTo>
                      <a:pt x="303" y="294"/>
                    </a:lnTo>
                    <a:lnTo>
                      <a:pt x="305" y="294"/>
                    </a:lnTo>
                    <a:lnTo>
                      <a:pt x="307" y="294"/>
                    </a:lnTo>
                    <a:lnTo>
                      <a:pt x="308" y="294"/>
                    </a:lnTo>
                    <a:lnTo>
                      <a:pt x="308" y="292"/>
                    </a:lnTo>
                    <a:lnTo>
                      <a:pt x="310" y="292"/>
                    </a:lnTo>
                    <a:lnTo>
                      <a:pt x="312" y="292"/>
                    </a:lnTo>
                    <a:lnTo>
                      <a:pt x="312" y="290"/>
                    </a:lnTo>
                    <a:lnTo>
                      <a:pt x="314" y="290"/>
                    </a:lnTo>
                    <a:lnTo>
                      <a:pt x="314" y="288"/>
                    </a:lnTo>
                    <a:lnTo>
                      <a:pt x="314" y="286"/>
                    </a:lnTo>
                    <a:lnTo>
                      <a:pt x="316" y="286"/>
                    </a:lnTo>
                    <a:lnTo>
                      <a:pt x="316" y="284"/>
                    </a:lnTo>
                    <a:lnTo>
                      <a:pt x="318" y="284"/>
                    </a:lnTo>
                    <a:lnTo>
                      <a:pt x="320" y="284"/>
                    </a:lnTo>
                    <a:lnTo>
                      <a:pt x="322" y="284"/>
                    </a:lnTo>
                    <a:lnTo>
                      <a:pt x="322" y="286"/>
                    </a:lnTo>
                    <a:lnTo>
                      <a:pt x="323" y="286"/>
                    </a:lnTo>
                    <a:lnTo>
                      <a:pt x="323" y="288"/>
                    </a:lnTo>
                    <a:lnTo>
                      <a:pt x="325" y="288"/>
                    </a:lnTo>
                    <a:lnTo>
                      <a:pt x="327" y="288"/>
                    </a:lnTo>
                    <a:lnTo>
                      <a:pt x="327" y="290"/>
                    </a:lnTo>
                    <a:lnTo>
                      <a:pt x="329" y="290"/>
                    </a:lnTo>
                    <a:lnTo>
                      <a:pt x="329" y="292"/>
                    </a:lnTo>
                    <a:lnTo>
                      <a:pt x="331" y="292"/>
                    </a:lnTo>
                    <a:lnTo>
                      <a:pt x="331" y="294"/>
                    </a:lnTo>
                    <a:lnTo>
                      <a:pt x="333" y="294"/>
                    </a:lnTo>
                    <a:lnTo>
                      <a:pt x="333" y="296"/>
                    </a:lnTo>
                    <a:lnTo>
                      <a:pt x="335" y="296"/>
                    </a:lnTo>
                    <a:lnTo>
                      <a:pt x="337" y="296"/>
                    </a:lnTo>
                    <a:lnTo>
                      <a:pt x="337" y="294"/>
                    </a:lnTo>
                    <a:lnTo>
                      <a:pt x="339" y="294"/>
                    </a:lnTo>
                    <a:lnTo>
                      <a:pt x="339" y="292"/>
                    </a:lnTo>
                    <a:lnTo>
                      <a:pt x="340" y="290"/>
                    </a:lnTo>
                    <a:lnTo>
                      <a:pt x="340" y="288"/>
                    </a:lnTo>
                    <a:lnTo>
                      <a:pt x="339" y="286"/>
                    </a:lnTo>
                    <a:lnTo>
                      <a:pt x="339" y="284"/>
                    </a:lnTo>
                    <a:lnTo>
                      <a:pt x="340" y="282"/>
                    </a:lnTo>
                    <a:lnTo>
                      <a:pt x="340" y="280"/>
                    </a:lnTo>
                    <a:lnTo>
                      <a:pt x="340" y="279"/>
                    </a:lnTo>
                    <a:lnTo>
                      <a:pt x="339" y="279"/>
                    </a:lnTo>
                    <a:lnTo>
                      <a:pt x="339" y="277"/>
                    </a:lnTo>
                    <a:lnTo>
                      <a:pt x="340" y="277"/>
                    </a:lnTo>
                    <a:lnTo>
                      <a:pt x="340" y="275"/>
                    </a:lnTo>
                    <a:lnTo>
                      <a:pt x="342" y="275"/>
                    </a:lnTo>
                    <a:lnTo>
                      <a:pt x="344" y="275"/>
                    </a:lnTo>
                    <a:lnTo>
                      <a:pt x="346" y="275"/>
                    </a:lnTo>
                    <a:lnTo>
                      <a:pt x="348" y="275"/>
                    </a:lnTo>
                    <a:lnTo>
                      <a:pt x="350" y="273"/>
                    </a:lnTo>
                    <a:lnTo>
                      <a:pt x="352" y="271"/>
                    </a:lnTo>
                    <a:lnTo>
                      <a:pt x="354" y="271"/>
                    </a:lnTo>
                    <a:lnTo>
                      <a:pt x="355" y="271"/>
                    </a:lnTo>
                    <a:lnTo>
                      <a:pt x="355" y="269"/>
                    </a:lnTo>
                    <a:lnTo>
                      <a:pt x="357" y="269"/>
                    </a:lnTo>
                    <a:lnTo>
                      <a:pt x="357" y="267"/>
                    </a:lnTo>
                    <a:lnTo>
                      <a:pt x="359" y="267"/>
                    </a:lnTo>
                    <a:lnTo>
                      <a:pt x="361" y="267"/>
                    </a:lnTo>
                    <a:lnTo>
                      <a:pt x="361" y="265"/>
                    </a:lnTo>
                    <a:lnTo>
                      <a:pt x="363" y="265"/>
                    </a:lnTo>
                    <a:lnTo>
                      <a:pt x="365" y="264"/>
                    </a:lnTo>
                    <a:lnTo>
                      <a:pt x="367" y="264"/>
                    </a:lnTo>
                    <a:lnTo>
                      <a:pt x="369" y="264"/>
                    </a:lnTo>
                    <a:lnTo>
                      <a:pt x="371" y="264"/>
                    </a:lnTo>
                    <a:lnTo>
                      <a:pt x="372" y="264"/>
                    </a:lnTo>
                    <a:lnTo>
                      <a:pt x="372" y="262"/>
                    </a:lnTo>
                    <a:lnTo>
                      <a:pt x="374" y="260"/>
                    </a:lnTo>
                    <a:lnTo>
                      <a:pt x="376" y="260"/>
                    </a:lnTo>
                    <a:lnTo>
                      <a:pt x="376" y="258"/>
                    </a:lnTo>
                    <a:lnTo>
                      <a:pt x="378" y="258"/>
                    </a:lnTo>
                    <a:lnTo>
                      <a:pt x="380" y="258"/>
                    </a:lnTo>
                    <a:lnTo>
                      <a:pt x="380" y="260"/>
                    </a:lnTo>
                    <a:lnTo>
                      <a:pt x="380" y="262"/>
                    </a:lnTo>
                    <a:lnTo>
                      <a:pt x="382" y="264"/>
                    </a:lnTo>
                    <a:lnTo>
                      <a:pt x="382" y="265"/>
                    </a:lnTo>
                    <a:lnTo>
                      <a:pt x="382" y="267"/>
                    </a:lnTo>
                    <a:lnTo>
                      <a:pt x="382" y="269"/>
                    </a:lnTo>
                    <a:lnTo>
                      <a:pt x="382" y="271"/>
                    </a:lnTo>
                    <a:lnTo>
                      <a:pt x="384" y="273"/>
                    </a:lnTo>
                    <a:lnTo>
                      <a:pt x="386" y="275"/>
                    </a:lnTo>
                    <a:lnTo>
                      <a:pt x="387" y="275"/>
                    </a:lnTo>
                    <a:lnTo>
                      <a:pt x="389" y="275"/>
                    </a:lnTo>
                    <a:lnTo>
                      <a:pt x="389" y="277"/>
                    </a:lnTo>
                    <a:lnTo>
                      <a:pt x="391" y="275"/>
                    </a:lnTo>
                    <a:lnTo>
                      <a:pt x="393" y="275"/>
                    </a:lnTo>
                    <a:lnTo>
                      <a:pt x="395" y="275"/>
                    </a:lnTo>
                    <a:lnTo>
                      <a:pt x="395" y="273"/>
                    </a:lnTo>
                    <a:lnTo>
                      <a:pt x="395" y="271"/>
                    </a:lnTo>
                    <a:lnTo>
                      <a:pt x="397" y="271"/>
                    </a:lnTo>
                    <a:lnTo>
                      <a:pt x="399" y="271"/>
                    </a:lnTo>
                    <a:lnTo>
                      <a:pt x="399" y="269"/>
                    </a:lnTo>
                    <a:lnTo>
                      <a:pt x="401" y="269"/>
                    </a:lnTo>
                    <a:lnTo>
                      <a:pt x="402" y="269"/>
                    </a:lnTo>
                    <a:lnTo>
                      <a:pt x="404" y="269"/>
                    </a:lnTo>
                    <a:lnTo>
                      <a:pt x="406" y="271"/>
                    </a:lnTo>
                    <a:lnTo>
                      <a:pt x="406" y="273"/>
                    </a:lnTo>
                    <a:lnTo>
                      <a:pt x="408" y="275"/>
                    </a:lnTo>
                    <a:lnTo>
                      <a:pt x="408" y="277"/>
                    </a:lnTo>
                    <a:lnTo>
                      <a:pt x="410" y="277"/>
                    </a:lnTo>
                    <a:lnTo>
                      <a:pt x="412" y="277"/>
                    </a:lnTo>
                    <a:lnTo>
                      <a:pt x="412" y="275"/>
                    </a:lnTo>
                    <a:lnTo>
                      <a:pt x="414" y="275"/>
                    </a:lnTo>
                    <a:lnTo>
                      <a:pt x="418" y="275"/>
                    </a:lnTo>
                    <a:lnTo>
                      <a:pt x="418" y="277"/>
                    </a:lnTo>
                    <a:lnTo>
                      <a:pt x="418" y="279"/>
                    </a:lnTo>
                    <a:lnTo>
                      <a:pt x="419" y="279"/>
                    </a:lnTo>
                    <a:lnTo>
                      <a:pt x="419" y="280"/>
                    </a:lnTo>
                    <a:lnTo>
                      <a:pt x="421" y="280"/>
                    </a:lnTo>
                    <a:lnTo>
                      <a:pt x="421" y="282"/>
                    </a:lnTo>
                    <a:lnTo>
                      <a:pt x="423" y="282"/>
                    </a:lnTo>
                    <a:lnTo>
                      <a:pt x="423" y="284"/>
                    </a:lnTo>
                    <a:lnTo>
                      <a:pt x="423" y="286"/>
                    </a:lnTo>
                    <a:lnTo>
                      <a:pt x="423" y="288"/>
                    </a:lnTo>
                    <a:lnTo>
                      <a:pt x="423" y="290"/>
                    </a:lnTo>
                    <a:lnTo>
                      <a:pt x="425" y="292"/>
                    </a:lnTo>
                    <a:lnTo>
                      <a:pt x="425" y="294"/>
                    </a:lnTo>
                    <a:lnTo>
                      <a:pt x="423" y="296"/>
                    </a:lnTo>
                    <a:lnTo>
                      <a:pt x="423" y="297"/>
                    </a:lnTo>
                    <a:lnTo>
                      <a:pt x="423" y="299"/>
                    </a:lnTo>
                    <a:lnTo>
                      <a:pt x="423" y="301"/>
                    </a:lnTo>
                    <a:lnTo>
                      <a:pt x="425" y="303"/>
                    </a:lnTo>
                    <a:lnTo>
                      <a:pt x="427" y="305"/>
                    </a:lnTo>
                    <a:lnTo>
                      <a:pt x="427" y="307"/>
                    </a:lnTo>
                    <a:lnTo>
                      <a:pt x="429" y="307"/>
                    </a:lnTo>
                    <a:lnTo>
                      <a:pt x="431" y="307"/>
                    </a:lnTo>
                    <a:lnTo>
                      <a:pt x="433" y="307"/>
                    </a:lnTo>
                    <a:lnTo>
                      <a:pt x="433" y="305"/>
                    </a:lnTo>
                    <a:lnTo>
                      <a:pt x="434" y="305"/>
                    </a:lnTo>
                    <a:lnTo>
                      <a:pt x="434" y="303"/>
                    </a:lnTo>
                    <a:lnTo>
                      <a:pt x="436" y="303"/>
                    </a:lnTo>
                    <a:lnTo>
                      <a:pt x="438" y="303"/>
                    </a:lnTo>
                    <a:lnTo>
                      <a:pt x="438" y="301"/>
                    </a:lnTo>
                    <a:lnTo>
                      <a:pt x="440" y="301"/>
                    </a:lnTo>
                    <a:lnTo>
                      <a:pt x="442" y="299"/>
                    </a:lnTo>
                    <a:lnTo>
                      <a:pt x="444" y="297"/>
                    </a:lnTo>
                    <a:lnTo>
                      <a:pt x="446" y="296"/>
                    </a:lnTo>
                    <a:lnTo>
                      <a:pt x="446" y="294"/>
                    </a:lnTo>
                    <a:lnTo>
                      <a:pt x="446" y="292"/>
                    </a:lnTo>
                    <a:lnTo>
                      <a:pt x="444" y="292"/>
                    </a:lnTo>
                    <a:lnTo>
                      <a:pt x="442" y="292"/>
                    </a:lnTo>
                    <a:lnTo>
                      <a:pt x="440" y="292"/>
                    </a:lnTo>
                    <a:lnTo>
                      <a:pt x="438" y="292"/>
                    </a:lnTo>
                    <a:lnTo>
                      <a:pt x="438" y="290"/>
                    </a:lnTo>
                    <a:lnTo>
                      <a:pt x="436" y="288"/>
                    </a:lnTo>
                    <a:lnTo>
                      <a:pt x="436" y="286"/>
                    </a:lnTo>
                    <a:lnTo>
                      <a:pt x="438" y="284"/>
                    </a:lnTo>
                    <a:lnTo>
                      <a:pt x="440" y="284"/>
                    </a:lnTo>
                    <a:lnTo>
                      <a:pt x="442" y="282"/>
                    </a:lnTo>
                    <a:lnTo>
                      <a:pt x="444" y="282"/>
                    </a:lnTo>
                    <a:lnTo>
                      <a:pt x="444" y="280"/>
                    </a:lnTo>
                    <a:lnTo>
                      <a:pt x="442" y="277"/>
                    </a:lnTo>
                    <a:lnTo>
                      <a:pt x="442" y="275"/>
                    </a:lnTo>
                    <a:lnTo>
                      <a:pt x="440" y="275"/>
                    </a:lnTo>
                    <a:lnTo>
                      <a:pt x="440" y="273"/>
                    </a:lnTo>
                    <a:lnTo>
                      <a:pt x="442" y="273"/>
                    </a:lnTo>
                    <a:lnTo>
                      <a:pt x="442" y="271"/>
                    </a:lnTo>
                    <a:lnTo>
                      <a:pt x="442" y="269"/>
                    </a:lnTo>
                    <a:lnTo>
                      <a:pt x="444" y="267"/>
                    </a:lnTo>
                    <a:lnTo>
                      <a:pt x="444" y="265"/>
                    </a:lnTo>
                    <a:lnTo>
                      <a:pt x="446" y="265"/>
                    </a:lnTo>
                    <a:lnTo>
                      <a:pt x="448" y="267"/>
                    </a:lnTo>
                    <a:lnTo>
                      <a:pt x="450" y="267"/>
                    </a:lnTo>
                    <a:lnTo>
                      <a:pt x="450" y="265"/>
                    </a:lnTo>
                    <a:lnTo>
                      <a:pt x="451" y="265"/>
                    </a:lnTo>
                    <a:lnTo>
                      <a:pt x="453" y="264"/>
                    </a:lnTo>
                    <a:lnTo>
                      <a:pt x="453" y="262"/>
                    </a:lnTo>
                    <a:lnTo>
                      <a:pt x="453" y="260"/>
                    </a:lnTo>
                    <a:lnTo>
                      <a:pt x="453" y="258"/>
                    </a:lnTo>
                    <a:lnTo>
                      <a:pt x="455" y="256"/>
                    </a:lnTo>
                    <a:lnTo>
                      <a:pt x="457" y="256"/>
                    </a:lnTo>
                    <a:lnTo>
                      <a:pt x="459" y="256"/>
                    </a:lnTo>
                    <a:lnTo>
                      <a:pt x="459" y="258"/>
                    </a:lnTo>
                    <a:lnTo>
                      <a:pt x="461" y="258"/>
                    </a:lnTo>
                    <a:lnTo>
                      <a:pt x="461" y="256"/>
                    </a:lnTo>
                    <a:lnTo>
                      <a:pt x="463" y="256"/>
                    </a:lnTo>
                    <a:lnTo>
                      <a:pt x="463" y="254"/>
                    </a:lnTo>
                    <a:lnTo>
                      <a:pt x="465" y="252"/>
                    </a:lnTo>
                    <a:lnTo>
                      <a:pt x="465" y="250"/>
                    </a:lnTo>
                    <a:lnTo>
                      <a:pt x="465" y="248"/>
                    </a:lnTo>
                    <a:lnTo>
                      <a:pt x="466" y="248"/>
                    </a:lnTo>
                    <a:lnTo>
                      <a:pt x="468" y="248"/>
                    </a:lnTo>
                    <a:lnTo>
                      <a:pt x="470" y="248"/>
                    </a:lnTo>
                    <a:lnTo>
                      <a:pt x="470" y="247"/>
                    </a:lnTo>
                    <a:lnTo>
                      <a:pt x="472" y="245"/>
                    </a:lnTo>
                    <a:lnTo>
                      <a:pt x="474" y="243"/>
                    </a:lnTo>
                    <a:lnTo>
                      <a:pt x="476" y="243"/>
                    </a:lnTo>
                    <a:lnTo>
                      <a:pt x="478" y="243"/>
                    </a:lnTo>
                    <a:lnTo>
                      <a:pt x="480" y="243"/>
                    </a:lnTo>
                    <a:lnTo>
                      <a:pt x="480" y="241"/>
                    </a:lnTo>
                    <a:lnTo>
                      <a:pt x="481" y="239"/>
                    </a:lnTo>
                    <a:lnTo>
                      <a:pt x="481" y="237"/>
                    </a:lnTo>
                    <a:lnTo>
                      <a:pt x="480" y="237"/>
                    </a:lnTo>
                    <a:lnTo>
                      <a:pt x="480" y="235"/>
                    </a:lnTo>
                    <a:lnTo>
                      <a:pt x="478" y="235"/>
                    </a:lnTo>
                    <a:lnTo>
                      <a:pt x="478" y="233"/>
                    </a:lnTo>
                    <a:lnTo>
                      <a:pt x="478" y="232"/>
                    </a:lnTo>
                    <a:lnTo>
                      <a:pt x="478" y="230"/>
                    </a:lnTo>
                    <a:lnTo>
                      <a:pt x="480" y="230"/>
                    </a:lnTo>
                    <a:lnTo>
                      <a:pt x="480" y="228"/>
                    </a:lnTo>
                    <a:lnTo>
                      <a:pt x="481" y="226"/>
                    </a:lnTo>
                    <a:lnTo>
                      <a:pt x="481" y="224"/>
                    </a:lnTo>
                    <a:lnTo>
                      <a:pt x="483" y="222"/>
                    </a:lnTo>
                    <a:lnTo>
                      <a:pt x="483" y="220"/>
                    </a:lnTo>
                    <a:lnTo>
                      <a:pt x="483" y="218"/>
                    </a:lnTo>
                    <a:lnTo>
                      <a:pt x="485" y="218"/>
                    </a:lnTo>
                    <a:lnTo>
                      <a:pt x="487" y="218"/>
                    </a:lnTo>
                    <a:lnTo>
                      <a:pt x="487" y="216"/>
                    </a:lnTo>
                    <a:lnTo>
                      <a:pt x="489" y="216"/>
                    </a:lnTo>
                    <a:lnTo>
                      <a:pt x="489" y="215"/>
                    </a:lnTo>
                    <a:lnTo>
                      <a:pt x="491" y="215"/>
                    </a:lnTo>
                    <a:lnTo>
                      <a:pt x="491" y="216"/>
                    </a:lnTo>
                    <a:lnTo>
                      <a:pt x="493" y="216"/>
                    </a:lnTo>
                    <a:lnTo>
                      <a:pt x="495" y="216"/>
                    </a:lnTo>
                    <a:lnTo>
                      <a:pt x="497" y="216"/>
                    </a:lnTo>
                    <a:lnTo>
                      <a:pt x="497" y="215"/>
                    </a:lnTo>
                    <a:lnTo>
                      <a:pt x="498" y="215"/>
                    </a:lnTo>
                    <a:lnTo>
                      <a:pt x="500" y="215"/>
                    </a:lnTo>
                    <a:lnTo>
                      <a:pt x="502" y="216"/>
                    </a:lnTo>
                    <a:lnTo>
                      <a:pt x="502" y="218"/>
                    </a:lnTo>
                    <a:lnTo>
                      <a:pt x="502" y="220"/>
                    </a:lnTo>
                    <a:lnTo>
                      <a:pt x="504" y="220"/>
                    </a:lnTo>
                    <a:lnTo>
                      <a:pt x="504" y="218"/>
                    </a:lnTo>
                    <a:lnTo>
                      <a:pt x="506" y="218"/>
                    </a:lnTo>
                    <a:lnTo>
                      <a:pt x="506" y="216"/>
                    </a:lnTo>
                    <a:lnTo>
                      <a:pt x="506" y="215"/>
                    </a:lnTo>
                    <a:lnTo>
                      <a:pt x="506" y="213"/>
                    </a:lnTo>
                    <a:lnTo>
                      <a:pt x="506" y="211"/>
                    </a:lnTo>
                    <a:lnTo>
                      <a:pt x="508" y="211"/>
                    </a:lnTo>
                    <a:lnTo>
                      <a:pt x="508" y="209"/>
                    </a:lnTo>
                    <a:lnTo>
                      <a:pt x="508" y="207"/>
                    </a:lnTo>
                    <a:lnTo>
                      <a:pt x="510" y="207"/>
                    </a:lnTo>
                    <a:lnTo>
                      <a:pt x="510" y="205"/>
                    </a:lnTo>
                    <a:lnTo>
                      <a:pt x="512" y="205"/>
                    </a:lnTo>
                    <a:lnTo>
                      <a:pt x="512" y="207"/>
                    </a:lnTo>
                    <a:lnTo>
                      <a:pt x="513" y="207"/>
                    </a:lnTo>
                    <a:lnTo>
                      <a:pt x="515" y="207"/>
                    </a:lnTo>
                    <a:lnTo>
                      <a:pt x="515" y="205"/>
                    </a:lnTo>
                    <a:lnTo>
                      <a:pt x="517" y="205"/>
                    </a:lnTo>
                    <a:lnTo>
                      <a:pt x="517" y="207"/>
                    </a:lnTo>
                    <a:lnTo>
                      <a:pt x="519" y="207"/>
                    </a:lnTo>
                    <a:lnTo>
                      <a:pt x="521" y="207"/>
                    </a:lnTo>
                    <a:lnTo>
                      <a:pt x="523" y="209"/>
                    </a:lnTo>
                    <a:lnTo>
                      <a:pt x="525" y="209"/>
                    </a:lnTo>
                    <a:lnTo>
                      <a:pt x="527" y="211"/>
                    </a:lnTo>
                    <a:lnTo>
                      <a:pt x="529" y="211"/>
                    </a:lnTo>
                    <a:lnTo>
                      <a:pt x="530" y="213"/>
                    </a:lnTo>
                    <a:lnTo>
                      <a:pt x="530" y="211"/>
                    </a:lnTo>
                    <a:lnTo>
                      <a:pt x="532" y="211"/>
                    </a:lnTo>
                    <a:lnTo>
                      <a:pt x="532" y="209"/>
                    </a:lnTo>
                    <a:lnTo>
                      <a:pt x="534" y="209"/>
                    </a:lnTo>
                    <a:lnTo>
                      <a:pt x="534" y="207"/>
                    </a:lnTo>
                    <a:lnTo>
                      <a:pt x="536" y="207"/>
                    </a:lnTo>
                    <a:lnTo>
                      <a:pt x="538" y="205"/>
                    </a:lnTo>
                    <a:lnTo>
                      <a:pt x="540" y="207"/>
                    </a:lnTo>
                    <a:lnTo>
                      <a:pt x="542" y="207"/>
                    </a:lnTo>
                    <a:lnTo>
                      <a:pt x="544" y="207"/>
                    </a:lnTo>
                    <a:lnTo>
                      <a:pt x="544" y="209"/>
                    </a:lnTo>
                    <a:lnTo>
                      <a:pt x="545" y="209"/>
                    </a:lnTo>
                    <a:lnTo>
                      <a:pt x="547" y="209"/>
                    </a:lnTo>
                    <a:lnTo>
                      <a:pt x="549" y="209"/>
                    </a:lnTo>
                    <a:lnTo>
                      <a:pt x="551" y="209"/>
                    </a:lnTo>
                    <a:lnTo>
                      <a:pt x="553" y="209"/>
                    </a:lnTo>
                    <a:lnTo>
                      <a:pt x="553" y="207"/>
                    </a:lnTo>
                    <a:lnTo>
                      <a:pt x="553" y="205"/>
                    </a:lnTo>
                    <a:lnTo>
                      <a:pt x="551" y="205"/>
                    </a:lnTo>
                    <a:lnTo>
                      <a:pt x="549" y="205"/>
                    </a:lnTo>
                    <a:lnTo>
                      <a:pt x="549" y="203"/>
                    </a:lnTo>
                    <a:lnTo>
                      <a:pt x="547" y="203"/>
                    </a:lnTo>
                    <a:lnTo>
                      <a:pt x="545" y="205"/>
                    </a:lnTo>
                    <a:lnTo>
                      <a:pt x="545" y="203"/>
                    </a:lnTo>
                    <a:lnTo>
                      <a:pt x="544" y="203"/>
                    </a:lnTo>
                    <a:lnTo>
                      <a:pt x="544" y="201"/>
                    </a:lnTo>
                    <a:lnTo>
                      <a:pt x="542" y="201"/>
                    </a:lnTo>
                    <a:lnTo>
                      <a:pt x="540" y="201"/>
                    </a:lnTo>
                    <a:lnTo>
                      <a:pt x="540" y="200"/>
                    </a:lnTo>
                    <a:lnTo>
                      <a:pt x="538" y="198"/>
                    </a:lnTo>
                    <a:lnTo>
                      <a:pt x="536" y="198"/>
                    </a:lnTo>
                    <a:lnTo>
                      <a:pt x="536" y="196"/>
                    </a:lnTo>
                    <a:lnTo>
                      <a:pt x="536" y="194"/>
                    </a:lnTo>
                    <a:lnTo>
                      <a:pt x="538" y="192"/>
                    </a:lnTo>
                    <a:lnTo>
                      <a:pt x="538" y="190"/>
                    </a:lnTo>
                    <a:lnTo>
                      <a:pt x="538" y="188"/>
                    </a:lnTo>
                    <a:lnTo>
                      <a:pt x="540" y="188"/>
                    </a:lnTo>
                    <a:lnTo>
                      <a:pt x="540" y="186"/>
                    </a:lnTo>
                    <a:lnTo>
                      <a:pt x="542" y="186"/>
                    </a:lnTo>
                    <a:lnTo>
                      <a:pt x="542" y="184"/>
                    </a:lnTo>
                    <a:lnTo>
                      <a:pt x="544" y="184"/>
                    </a:lnTo>
                    <a:lnTo>
                      <a:pt x="544" y="183"/>
                    </a:lnTo>
                    <a:lnTo>
                      <a:pt x="545" y="183"/>
                    </a:lnTo>
                    <a:lnTo>
                      <a:pt x="545" y="184"/>
                    </a:lnTo>
                    <a:lnTo>
                      <a:pt x="545" y="186"/>
                    </a:lnTo>
                    <a:lnTo>
                      <a:pt x="544" y="186"/>
                    </a:lnTo>
                    <a:lnTo>
                      <a:pt x="544" y="188"/>
                    </a:lnTo>
                    <a:lnTo>
                      <a:pt x="545" y="188"/>
                    </a:lnTo>
                    <a:lnTo>
                      <a:pt x="547" y="188"/>
                    </a:lnTo>
                    <a:lnTo>
                      <a:pt x="547" y="186"/>
                    </a:lnTo>
                    <a:lnTo>
                      <a:pt x="547" y="184"/>
                    </a:lnTo>
                    <a:lnTo>
                      <a:pt x="547" y="183"/>
                    </a:lnTo>
                    <a:lnTo>
                      <a:pt x="547" y="181"/>
                    </a:lnTo>
                    <a:lnTo>
                      <a:pt x="547" y="179"/>
                    </a:lnTo>
                    <a:lnTo>
                      <a:pt x="547" y="177"/>
                    </a:lnTo>
                    <a:lnTo>
                      <a:pt x="547" y="175"/>
                    </a:lnTo>
                    <a:lnTo>
                      <a:pt x="549" y="173"/>
                    </a:lnTo>
                    <a:lnTo>
                      <a:pt x="549" y="171"/>
                    </a:lnTo>
                    <a:lnTo>
                      <a:pt x="549" y="169"/>
                    </a:lnTo>
                    <a:lnTo>
                      <a:pt x="547" y="169"/>
                    </a:lnTo>
                    <a:lnTo>
                      <a:pt x="547" y="168"/>
                    </a:lnTo>
                    <a:lnTo>
                      <a:pt x="545" y="168"/>
                    </a:lnTo>
                    <a:lnTo>
                      <a:pt x="545" y="166"/>
                    </a:lnTo>
                    <a:lnTo>
                      <a:pt x="544" y="166"/>
                    </a:lnTo>
                    <a:lnTo>
                      <a:pt x="544" y="164"/>
                    </a:lnTo>
                    <a:lnTo>
                      <a:pt x="542" y="164"/>
                    </a:lnTo>
                    <a:lnTo>
                      <a:pt x="542" y="162"/>
                    </a:lnTo>
                    <a:lnTo>
                      <a:pt x="540" y="162"/>
                    </a:lnTo>
                    <a:lnTo>
                      <a:pt x="540" y="160"/>
                    </a:lnTo>
                    <a:lnTo>
                      <a:pt x="538" y="160"/>
                    </a:lnTo>
                    <a:lnTo>
                      <a:pt x="538" y="158"/>
                    </a:lnTo>
                    <a:lnTo>
                      <a:pt x="536" y="158"/>
                    </a:lnTo>
                    <a:lnTo>
                      <a:pt x="534" y="158"/>
                    </a:lnTo>
                    <a:lnTo>
                      <a:pt x="534" y="156"/>
                    </a:lnTo>
                    <a:lnTo>
                      <a:pt x="534" y="154"/>
                    </a:lnTo>
                    <a:lnTo>
                      <a:pt x="532" y="154"/>
                    </a:lnTo>
                    <a:lnTo>
                      <a:pt x="532" y="152"/>
                    </a:lnTo>
                    <a:lnTo>
                      <a:pt x="532" y="151"/>
                    </a:lnTo>
                    <a:lnTo>
                      <a:pt x="532" y="149"/>
                    </a:lnTo>
                    <a:lnTo>
                      <a:pt x="530" y="149"/>
                    </a:lnTo>
                    <a:lnTo>
                      <a:pt x="530" y="147"/>
                    </a:lnTo>
                    <a:lnTo>
                      <a:pt x="530" y="145"/>
                    </a:lnTo>
                    <a:lnTo>
                      <a:pt x="529" y="145"/>
                    </a:lnTo>
                    <a:lnTo>
                      <a:pt x="529" y="143"/>
                    </a:lnTo>
                    <a:lnTo>
                      <a:pt x="530" y="141"/>
                    </a:lnTo>
                    <a:lnTo>
                      <a:pt x="530" y="139"/>
                    </a:lnTo>
                    <a:lnTo>
                      <a:pt x="530" y="137"/>
                    </a:lnTo>
                    <a:lnTo>
                      <a:pt x="532" y="137"/>
                    </a:lnTo>
                    <a:lnTo>
                      <a:pt x="534" y="137"/>
                    </a:lnTo>
                    <a:lnTo>
                      <a:pt x="534" y="139"/>
                    </a:lnTo>
                    <a:lnTo>
                      <a:pt x="536" y="139"/>
                    </a:lnTo>
                    <a:lnTo>
                      <a:pt x="538" y="139"/>
                    </a:lnTo>
                    <a:lnTo>
                      <a:pt x="538" y="141"/>
                    </a:lnTo>
                    <a:lnTo>
                      <a:pt x="540" y="141"/>
                    </a:lnTo>
                    <a:lnTo>
                      <a:pt x="542" y="139"/>
                    </a:lnTo>
                    <a:lnTo>
                      <a:pt x="544" y="139"/>
                    </a:lnTo>
                    <a:lnTo>
                      <a:pt x="544" y="137"/>
                    </a:lnTo>
                    <a:lnTo>
                      <a:pt x="544" y="136"/>
                    </a:lnTo>
                    <a:lnTo>
                      <a:pt x="544" y="134"/>
                    </a:lnTo>
                    <a:lnTo>
                      <a:pt x="545" y="134"/>
                    </a:lnTo>
                    <a:lnTo>
                      <a:pt x="545" y="132"/>
                    </a:lnTo>
                    <a:lnTo>
                      <a:pt x="547" y="132"/>
                    </a:lnTo>
                    <a:lnTo>
                      <a:pt x="547" y="134"/>
                    </a:lnTo>
                    <a:lnTo>
                      <a:pt x="549" y="134"/>
                    </a:lnTo>
                    <a:lnTo>
                      <a:pt x="551" y="132"/>
                    </a:lnTo>
                    <a:lnTo>
                      <a:pt x="551" y="130"/>
                    </a:lnTo>
                    <a:lnTo>
                      <a:pt x="553" y="130"/>
                    </a:lnTo>
                    <a:lnTo>
                      <a:pt x="553" y="128"/>
                    </a:lnTo>
                    <a:lnTo>
                      <a:pt x="555" y="126"/>
                    </a:lnTo>
                    <a:lnTo>
                      <a:pt x="555" y="124"/>
                    </a:lnTo>
                    <a:lnTo>
                      <a:pt x="555" y="122"/>
                    </a:lnTo>
                    <a:lnTo>
                      <a:pt x="557" y="122"/>
                    </a:lnTo>
                    <a:lnTo>
                      <a:pt x="557" y="120"/>
                    </a:lnTo>
                    <a:lnTo>
                      <a:pt x="559" y="120"/>
                    </a:lnTo>
                    <a:lnTo>
                      <a:pt x="560" y="120"/>
                    </a:lnTo>
                    <a:lnTo>
                      <a:pt x="560" y="122"/>
                    </a:lnTo>
                    <a:lnTo>
                      <a:pt x="562" y="122"/>
                    </a:lnTo>
                    <a:lnTo>
                      <a:pt x="562" y="124"/>
                    </a:lnTo>
                    <a:lnTo>
                      <a:pt x="566" y="124"/>
                    </a:lnTo>
                    <a:lnTo>
                      <a:pt x="568" y="126"/>
                    </a:lnTo>
                    <a:lnTo>
                      <a:pt x="570" y="126"/>
                    </a:lnTo>
                    <a:lnTo>
                      <a:pt x="572" y="126"/>
                    </a:lnTo>
                    <a:lnTo>
                      <a:pt x="572" y="124"/>
                    </a:lnTo>
                    <a:lnTo>
                      <a:pt x="572" y="122"/>
                    </a:lnTo>
                    <a:lnTo>
                      <a:pt x="572" y="120"/>
                    </a:lnTo>
                    <a:lnTo>
                      <a:pt x="574" y="119"/>
                    </a:lnTo>
                    <a:lnTo>
                      <a:pt x="574" y="117"/>
                    </a:lnTo>
                    <a:lnTo>
                      <a:pt x="574" y="115"/>
                    </a:lnTo>
                    <a:lnTo>
                      <a:pt x="572" y="115"/>
                    </a:lnTo>
                    <a:lnTo>
                      <a:pt x="572" y="113"/>
                    </a:lnTo>
                    <a:lnTo>
                      <a:pt x="570" y="113"/>
                    </a:lnTo>
                    <a:lnTo>
                      <a:pt x="570" y="111"/>
                    </a:lnTo>
                    <a:lnTo>
                      <a:pt x="570" y="109"/>
                    </a:lnTo>
                    <a:lnTo>
                      <a:pt x="572" y="109"/>
                    </a:lnTo>
                    <a:lnTo>
                      <a:pt x="572" y="107"/>
                    </a:lnTo>
                    <a:lnTo>
                      <a:pt x="574" y="105"/>
                    </a:lnTo>
                    <a:lnTo>
                      <a:pt x="576" y="105"/>
                    </a:lnTo>
                    <a:lnTo>
                      <a:pt x="576" y="103"/>
                    </a:lnTo>
                    <a:lnTo>
                      <a:pt x="577" y="103"/>
                    </a:lnTo>
                    <a:lnTo>
                      <a:pt x="579" y="103"/>
                    </a:lnTo>
                    <a:lnTo>
                      <a:pt x="579" y="102"/>
                    </a:lnTo>
                    <a:lnTo>
                      <a:pt x="579" y="100"/>
                    </a:lnTo>
                    <a:lnTo>
                      <a:pt x="579" y="98"/>
                    </a:lnTo>
                    <a:lnTo>
                      <a:pt x="579" y="96"/>
                    </a:lnTo>
                    <a:lnTo>
                      <a:pt x="581" y="96"/>
                    </a:lnTo>
                    <a:lnTo>
                      <a:pt x="583" y="96"/>
                    </a:lnTo>
                    <a:lnTo>
                      <a:pt x="585" y="96"/>
                    </a:lnTo>
                    <a:lnTo>
                      <a:pt x="587" y="96"/>
                    </a:lnTo>
                    <a:lnTo>
                      <a:pt x="589" y="94"/>
                    </a:lnTo>
                    <a:lnTo>
                      <a:pt x="591" y="94"/>
                    </a:lnTo>
                    <a:lnTo>
                      <a:pt x="592" y="94"/>
                    </a:lnTo>
                    <a:lnTo>
                      <a:pt x="594" y="94"/>
                    </a:lnTo>
                    <a:lnTo>
                      <a:pt x="594" y="96"/>
                    </a:lnTo>
                    <a:lnTo>
                      <a:pt x="594" y="98"/>
                    </a:lnTo>
                    <a:lnTo>
                      <a:pt x="594" y="100"/>
                    </a:lnTo>
                    <a:lnTo>
                      <a:pt x="596" y="100"/>
                    </a:lnTo>
                    <a:lnTo>
                      <a:pt x="598" y="100"/>
                    </a:lnTo>
                    <a:lnTo>
                      <a:pt x="600" y="100"/>
                    </a:lnTo>
                    <a:lnTo>
                      <a:pt x="600" y="98"/>
                    </a:lnTo>
                    <a:lnTo>
                      <a:pt x="600" y="96"/>
                    </a:lnTo>
                    <a:lnTo>
                      <a:pt x="602" y="96"/>
                    </a:lnTo>
                    <a:lnTo>
                      <a:pt x="602" y="94"/>
                    </a:lnTo>
                    <a:lnTo>
                      <a:pt x="602" y="92"/>
                    </a:lnTo>
                    <a:lnTo>
                      <a:pt x="604" y="88"/>
                    </a:lnTo>
                    <a:lnTo>
                      <a:pt x="606" y="88"/>
                    </a:lnTo>
                    <a:lnTo>
                      <a:pt x="606" y="87"/>
                    </a:lnTo>
                    <a:lnTo>
                      <a:pt x="608" y="87"/>
                    </a:lnTo>
                    <a:lnTo>
                      <a:pt x="609" y="87"/>
                    </a:lnTo>
                    <a:lnTo>
                      <a:pt x="609" y="85"/>
                    </a:lnTo>
                    <a:lnTo>
                      <a:pt x="611" y="85"/>
                    </a:lnTo>
                    <a:lnTo>
                      <a:pt x="613" y="85"/>
                    </a:lnTo>
                    <a:lnTo>
                      <a:pt x="615" y="85"/>
                    </a:lnTo>
                    <a:lnTo>
                      <a:pt x="615" y="83"/>
                    </a:lnTo>
                    <a:lnTo>
                      <a:pt x="617" y="83"/>
                    </a:lnTo>
                    <a:lnTo>
                      <a:pt x="617" y="81"/>
                    </a:lnTo>
                    <a:lnTo>
                      <a:pt x="619" y="81"/>
                    </a:lnTo>
                    <a:lnTo>
                      <a:pt x="619" y="79"/>
                    </a:lnTo>
                    <a:lnTo>
                      <a:pt x="621" y="79"/>
                    </a:lnTo>
                    <a:lnTo>
                      <a:pt x="623" y="79"/>
                    </a:lnTo>
                    <a:lnTo>
                      <a:pt x="624" y="79"/>
                    </a:lnTo>
                    <a:lnTo>
                      <a:pt x="624" y="77"/>
                    </a:lnTo>
                    <a:lnTo>
                      <a:pt x="626" y="77"/>
                    </a:lnTo>
                    <a:lnTo>
                      <a:pt x="626" y="75"/>
                    </a:lnTo>
                    <a:lnTo>
                      <a:pt x="628" y="75"/>
                    </a:lnTo>
                    <a:lnTo>
                      <a:pt x="628" y="77"/>
                    </a:lnTo>
                    <a:lnTo>
                      <a:pt x="628" y="79"/>
                    </a:lnTo>
                    <a:lnTo>
                      <a:pt x="628" y="81"/>
                    </a:lnTo>
                    <a:lnTo>
                      <a:pt x="630" y="81"/>
                    </a:lnTo>
                    <a:lnTo>
                      <a:pt x="632" y="81"/>
                    </a:lnTo>
                    <a:lnTo>
                      <a:pt x="634" y="81"/>
                    </a:lnTo>
                    <a:lnTo>
                      <a:pt x="636" y="79"/>
                    </a:lnTo>
                    <a:lnTo>
                      <a:pt x="638" y="79"/>
                    </a:lnTo>
                    <a:lnTo>
                      <a:pt x="638" y="77"/>
                    </a:lnTo>
                    <a:lnTo>
                      <a:pt x="639" y="77"/>
                    </a:lnTo>
                    <a:lnTo>
                      <a:pt x="639" y="75"/>
                    </a:lnTo>
                    <a:lnTo>
                      <a:pt x="641" y="73"/>
                    </a:lnTo>
                    <a:lnTo>
                      <a:pt x="641" y="71"/>
                    </a:lnTo>
                    <a:lnTo>
                      <a:pt x="643" y="71"/>
                    </a:lnTo>
                    <a:lnTo>
                      <a:pt x="643" y="73"/>
                    </a:lnTo>
                    <a:lnTo>
                      <a:pt x="645" y="73"/>
                    </a:lnTo>
                    <a:lnTo>
                      <a:pt x="645" y="75"/>
                    </a:lnTo>
                    <a:lnTo>
                      <a:pt x="647" y="77"/>
                    </a:lnTo>
                    <a:lnTo>
                      <a:pt x="649" y="77"/>
                    </a:lnTo>
                    <a:lnTo>
                      <a:pt x="651" y="77"/>
                    </a:lnTo>
                    <a:lnTo>
                      <a:pt x="653" y="77"/>
                    </a:lnTo>
                    <a:lnTo>
                      <a:pt x="653" y="79"/>
                    </a:lnTo>
                    <a:lnTo>
                      <a:pt x="655" y="79"/>
                    </a:lnTo>
                    <a:lnTo>
                      <a:pt x="655" y="81"/>
                    </a:lnTo>
                    <a:lnTo>
                      <a:pt x="655" y="83"/>
                    </a:lnTo>
                    <a:lnTo>
                      <a:pt x="655" y="85"/>
                    </a:lnTo>
                    <a:lnTo>
                      <a:pt x="655" y="87"/>
                    </a:lnTo>
                    <a:lnTo>
                      <a:pt x="656" y="87"/>
                    </a:lnTo>
                    <a:lnTo>
                      <a:pt x="656" y="88"/>
                    </a:lnTo>
                    <a:lnTo>
                      <a:pt x="656" y="87"/>
                    </a:lnTo>
                    <a:lnTo>
                      <a:pt x="658" y="87"/>
                    </a:lnTo>
                    <a:lnTo>
                      <a:pt x="658" y="85"/>
                    </a:lnTo>
                    <a:lnTo>
                      <a:pt x="658" y="83"/>
                    </a:lnTo>
                    <a:lnTo>
                      <a:pt x="658" y="81"/>
                    </a:lnTo>
                    <a:lnTo>
                      <a:pt x="658" y="79"/>
                    </a:lnTo>
                    <a:lnTo>
                      <a:pt x="658" y="77"/>
                    </a:lnTo>
                    <a:lnTo>
                      <a:pt x="658" y="75"/>
                    </a:lnTo>
                    <a:lnTo>
                      <a:pt x="658" y="73"/>
                    </a:lnTo>
                    <a:lnTo>
                      <a:pt x="656" y="71"/>
                    </a:lnTo>
                    <a:lnTo>
                      <a:pt x="656" y="70"/>
                    </a:lnTo>
                    <a:lnTo>
                      <a:pt x="656" y="68"/>
                    </a:lnTo>
                    <a:lnTo>
                      <a:pt x="658" y="66"/>
                    </a:lnTo>
                    <a:lnTo>
                      <a:pt x="658" y="64"/>
                    </a:lnTo>
                    <a:lnTo>
                      <a:pt x="658" y="62"/>
                    </a:lnTo>
                    <a:lnTo>
                      <a:pt x="660" y="62"/>
                    </a:lnTo>
                    <a:lnTo>
                      <a:pt x="660" y="60"/>
                    </a:lnTo>
                    <a:lnTo>
                      <a:pt x="662" y="58"/>
                    </a:lnTo>
                    <a:lnTo>
                      <a:pt x="664" y="58"/>
                    </a:lnTo>
                    <a:lnTo>
                      <a:pt x="664" y="60"/>
                    </a:lnTo>
                    <a:lnTo>
                      <a:pt x="664" y="62"/>
                    </a:lnTo>
                    <a:lnTo>
                      <a:pt x="664" y="64"/>
                    </a:lnTo>
                    <a:lnTo>
                      <a:pt x="664" y="66"/>
                    </a:lnTo>
                    <a:lnTo>
                      <a:pt x="666" y="66"/>
                    </a:lnTo>
                    <a:lnTo>
                      <a:pt x="666" y="68"/>
                    </a:lnTo>
                    <a:lnTo>
                      <a:pt x="668" y="68"/>
                    </a:lnTo>
                    <a:lnTo>
                      <a:pt x="670" y="68"/>
                    </a:lnTo>
                    <a:lnTo>
                      <a:pt x="670" y="70"/>
                    </a:lnTo>
                    <a:lnTo>
                      <a:pt x="671" y="70"/>
                    </a:lnTo>
                    <a:lnTo>
                      <a:pt x="673" y="71"/>
                    </a:lnTo>
                    <a:lnTo>
                      <a:pt x="675" y="71"/>
                    </a:lnTo>
                    <a:lnTo>
                      <a:pt x="675" y="73"/>
                    </a:lnTo>
                    <a:lnTo>
                      <a:pt x="677" y="73"/>
                    </a:lnTo>
                    <a:lnTo>
                      <a:pt x="679" y="73"/>
                    </a:lnTo>
                    <a:lnTo>
                      <a:pt x="679" y="75"/>
                    </a:lnTo>
                    <a:lnTo>
                      <a:pt x="681" y="75"/>
                    </a:lnTo>
                    <a:lnTo>
                      <a:pt x="683" y="75"/>
                    </a:lnTo>
                    <a:lnTo>
                      <a:pt x="683" y="77"/>
                    </a:lnTo>
                    <a:lnTo>
                      <a:pt x="683" y="75"/>
                    </a:lnTo>
                    <a:lnTo>
                      <a:pt x="683" y="77"/>
                    </a:lnTo>
                    <a:lnTo>
                      <a:pt x="685" y="77"/>
                    </a:lnTo>
                    <a:lnTo>
                      <a:pt x="687" y="77"/>
                    </a:lnTo>
                    <a:lnTo>
                      <a:pt x="688" y="77"/>
                    </a:lnTo>
                    <a:lnTo>
                      <a:pt x="690" y="77"/>
                    </a:lnTo>
                    <a:lnTo>
                      <a:pt x="692" y="77"/>
                    </a:lnTo>
                    <a:lnTo>
                      <a:pt x="694" y="77"/>
                    </a:lnTo>
                    <a:lnTo>
                      <a:pt x="696" y="77"/>
                    </a:lnTo>
                    <a:lnTo>
                      <a:pt x="698" y="77"/>
                    </a:lnTo>
                    <a:lnTo>
                      <a:pt x="700" y="77"/>
                    </a:lnTo>
                    <a:lnTo>
                      <a:pt x="700" y="75"/>
                    </a:lnTo>
                    <a:lnTo>
                      <a:pt x="702" y="75"/>
                    </a:lnTo>
                    <a:lnTo>
                      <a:pt x="703" y="75"/>
                    </a:lnTo>
                    <a:lnTo>
                      <a:pt x="703" y="73"/>
                    </a:lnTo>
                    <a:lnTo>
                      <a:pt x="705" y="73"/>
                    </a:lnTo>
                    <a:lnTo>
                      <a:pt x="707" y="73"/>
                    </a:lnTo>
                    <a:lnTo>
                      <a:pt x="707" y="75"/>
                    </a:lnTo>
                    <a:lnTo>
                      <a:pt x="709" y="75"/>
                    </a:lnTo>
                    <a:lnTo>
                      <a:pt x="711" y="77"/>
                    </a:lnTo>
                    <a:lnTo>
                      <a:pt x="713" y="77"/>
                    </a:lnTo>
                    <a:lnTo>
                      <a:pt x="713" y="79"/>
                    </a:lnTo>
                    <a:lnTo>
                      <a:pt x="715" y="79"/>
                    </a:lnTo>
                    <a:lnTo>
                      <a:pt x="715" y="77"/>
                    </a:lnTo>
                    <a:lnTo>
                      <a:pt x="717" y="77"/>
                    </a:lnTo>
                    <a:lnTo>
                      <a:pt x="717" y="75"/>
                    </a:lnTo>
                    <a:lnTo>
                      <a:pt x="718" y="75"/>
                    </a:lnTo>
                    <a:lnTo>
                      <a:pt x="718" y="73"/>
                    </a:lnTo>
                    <a:lnTo>
                      <a:pt x="720" y="73"/>
                    </a:lnTo>
                    <a:lnTo>
                      <a:pt x="722" y="73"/>
                    </a:lnTo>
                    <a:lnTo>
                      <a:pt x="724" y="73"/>
                    </a:lnTo>
                    <a:lnTo>
                      <a:pt x="724" y="75"/>
                    </a:lnTo>
                    <a:lnTo>
                      <a:pt x="724" y="77"/>
                    </a:lnTo>
                    <a:lnTo>
                      <a:pt x="724" y="79"/>
                    </a:lnTo>
                    <a:lnTo>
                      <a:pt x="724" y="81"/>
                    </a:lnTo>
                    <a:lnTo>
                      <a:pt x="724" y="83"/>
                    </a:lnTo>
                    <a:lnTo>
                      <a:pt x="722" y="83"/>
                    </a:lnTo>
                    <a:lnTo>
                      <a:pt x="722" y="85"/>
                    </a:lnTo>
                    <a:lnTo>
                      <a:pt x="722" y="87"/>
                    </a:lnTo>
                    <a:lnTo>
                      <a:pt x="724" y="87"/>
                    </a:lnTo>
                    <a:lnTo>
                      <a:pt x="724" y="88"/>
                    </a:lnTo>
                    <a:lnTo>
                      <a:pt x="726" y="88"/>
                    </a:lnTo>
                    <a:lnTo>
                      <a:pt x="728" y="88"/>
                    </a:lnTo>
                    <a:lnTo>
                      <a:pt x="730" y="90"/>
                    </a:lnTo>
                    <a:lnTo>
                      <a:pt x="730" y="88"/>
                    </a:lnTo>
                    <a:lnTo>
                      <a:pt x="732" y="88"/>
                    </a:lnTo>
                    <a:lnTo>
                      <a:pt x="732" y="87"/>
                    </a:lnTo>
                    <a:lnTo>
                      <a:pt x="732" y="85"/>
                    </a:lnTo>
                    <a:lnTo>
                      <a:pt x="732" y="83"/>
                    </a:lnTo>
                    <a:lnTo>
                      <a:pt x="732" y="81"/>
                    </a:lnTo>
                    <a:lnTo>
                      <a:pt x="734" y="79"/>
                    </a:lnTo>
                    <a:lnTo>
                      <a:pt x="735" y="79"/>
                    </a:lnTo>
                    <a:lnTo>
                      <a:pt x="735" y="77"/>
                    </a:lnTo>
                    <a:lnTo>
                      <a:pt x="737" y="75"/>
                    </a:lnTo>
                    <a:lnTo>
                      <a:pt x="737" y="73"/>
                    </a:lnTo>
                    <a:lnTo>
                      <a:pt x="739" y="71"/>
                    </a:lnTo>
                    <a:lnTo>
                      <a:pt x="741" y="71"/>
                    </a:lnTo>
                    <a:lnTo>
                      <a:pt x="741" y="70"/>
                    </a:lnTo>
                    <a:lnTo>
                      <a:pt x="743" y="70"/>
                    </a:lnTo>
                    <a:lnTo>
                      <a:pt x="745" y="70"/>
                    </a:lnTo>
                    <a:lnTo>
                      <a:pt x="745" y="68"/>
                    </a:lnTo>
                    <a:lnTo>
                      <a:pt x="745" y="66"/>
                    </a:lnTo>
                    <a:lnTo>
                      <a:pt x="747" y="64"/>
                    </a:lnTo>
                    <a:lnTo>
                      <a:pt x="749" y="64"/>
                    </a:lnTo>
                    <a:lnTo>
                      <a:pt x="749" y="62"/>
                    </a:lnTo>
                    <a:lnTo>
                      <a:pt x="750" y="62"/>
                    </a:lnTo>
                    <a:lnTo>
                      <a:pt x="750" y="60"/>
                    </a:lnTo>
                    <a:lnTo>
                      <a:pt x="752" y="60"/>
                    </a:lnTo>
                    <a:lnTo>
                      <a:pt x="752" y="58"/>
                    </a:lnTo>
                    <a:lnTo>
                      <a:pt x="752" y="56"/>
                    </a:lnTo>
                    <a:lnTo>
                      <a:pt x="754" y="56"/>
                    </a:lnTo>
                    <a:lnTo>
                      <a:pt x="754" y="55"/>
                    </a:lnTo>
                    <a:lnTo>
                      <a:pt x="754" y="53"/>
                    </a:lnTo>
                    <a:lnTo>
                      <a:pt x="756" y="53"/>
                    </a:lnTo>
                    <a:lnTo>
                      <a:pt x="758" y="53"/>
                    </a:lnTo>
                    <a:lnTo>
                      <a:pt x="760" y="53"/>
                    </a:lnTo>
                    <a:lnTo>
                      <a:pt x="762" y="53"/>
                    </a:lnTo>
                    <a:lnTo>
                      <a:pt x="762" y="55"/>
                    </a:lnTo>
                    <a:lnTo>
                      <a:pt x="764" y="55"/>
                    </a:lnTo>
                    <a:lnTo>
                      <a:pt x="764" y="56"/>
                    </a:lnTo>
                    <a:lnTo>
                      <a:pt x="764" y="58"/>
                    </a:lnTo>
                    <a:lnTo>
                      <a:pt x="766" y="58"/>
                    </a:lnTo>
                    <a:lnTo>
                      <a:pt x="766" y="60"/>
                    </a:lnTo>
                    <a:lnTo>
                      <a:pt x="767" y="60"/>
                    </a:lnTo>
                    <a:lnTo>
                      <a:pt x="767" y="62"/>
                    </a:lnTo>
                    <a:lnTo>
                      <a:pt x="769" y="62"/>
                    </a:lnTo>
                    <a:lnTo>
                      <a:pt x="771" y="64"/>
                    </a:lnTo>
                    <a:lnTo>
                      <a:pt x="771" y="66"/>
                    </a:lnTo>
                    <a:lnTo>
                      <a:pt x="771" y="68"/>
                    </a:lnTo>
                    <a:lnTo>
                      <a:pt x="773" y="68"/>
                    </a:lnTo>
                    <a:lnTo>
                      <a:pt x="775" y="68"/>
                    </a:lnTo>
                    <a:lnTo>
                      <a:pt x="775" y="66"/>
                    </a:lnTo>
                    <a:lnTo>
                      <a:pt x="777" y="68"/>
                    </a:lnTo>
                    <a:lnTo>
                      <a:pt x="777" y="70"/>
                    </a:lnTo>
                    <a:lnTo>
                      <a:pt x="777" y="71"/>
                    </a:lnTo>
                    <a:lnTo>
                      <a:pt x="779" y="71"/>
                    </a:lnTo>
                    <a:lnTo>
                      <a:pt x="779" y="73"/>
                    </a:lnTo>
                    <a:lnTo>
                      <a:pt x="781" y="73"/>
                    </a:lnTo>
                    <a:lnTo>
                      <a:pt x="782" y="73"/>
                    </a:lnTo>
                    <a:lnTo>
                      <a:pt x="784" y="73"/>
                    </a:lnTo>
                    <a:lnTo>
                      <a:pt x="786" y="71"/>
                    </a:lnTo>
                    <a:lnTo>
                      <a:pt x="786" y="70"/>
                    </a:lnTo>
                    <a:lnTo>
                      <a:pt x="788" y="70"/>
                    </a:lnTo>
                    <a:lnTo>
                      <a:pt x="788" y="68"/>
                    </a:lnTo>
                    <a:lnTo>
                      <a:pt x="790" y="66"/>
                    </a:lnTo>
                    <a:lnTo>
                      <a:pt x="792" y="66"/>
                    </a:lnTo>
                    <a:lnTo>
                      <a:pt x="792" y="64"/>
                    </a:lnTo>
                    <a:lnTo>
                      <a:pt x="794" y="64"/>
                    </a:lnTo>
                    <a:lnTo>
                      <a:pt x="796" y="64"/>
                    </a:lnTo>
                    <a:lnTo>
                      <a:pt x="797" y="62"/>
                    </a:lnTo>
                    <a:lnTo>
                      <a:pt x="799" y="62"/>
                    </a:lnTo>
                    <a:lnTo>
                      <a:pt x="799" y="60"/>
                    </a:lnTo>
                    <a:lnTo>
                      <a:pt x="799" y="58"/>
                    </a:lnTo>
                    <a:lnTo>
                      <a:pt x="799" y="56"/>
                    </a:lnTo>
                    <a:lnTo>
                      <a:pt x="799" y="55"/>
                    </a:lnTo>
                    <a:lnTo>
                      <a:pt x="801" y="55"/>
                    </a:lnTo>
                    <a:lnTo>
                      <a:pt x="801" y="53"/>
                    </a:lnTo>
                    <a:lnTo>
                      <a:pt x="803" y="51"/>
                    </a:lnTo>
                    <a:lnTo>
                      <a:pt x="805" y="51"/>
                    </a:lnTo>
                    <a:lnTo>
                      <a:pt x="805" y="49"/>
                    </a:lnTo>
                    <a:lnTo>
                      <a:pt x="807" y="49"/>
                    </a:lnTo>
                    <a:lnTo>
                      <a:pt x="809" y="49"/>
                    </a:lnTo>
                    <a:lnTo>
                      <a:pt x="809" y="47"/>
                    </a:lnTo>
                    <a:lnTo>
                      <a:pt x="809" y="45"/>
                    </a:lnTo>
                    <a:lnTo>
                      <a:pt x="807" y="45"/>
                    </a:lnTo>
                    <a:lnTo>
                      <a:pt x="809" y="43"/>
                    </a:lnTo>
                    <a:lnTo>
                      <a:pt x="809" y="41"/>
                    </a:lnTo>
                    <a:lnTo>
                      <a:pt x="809" y="39"/>
                    </a:lnTo>
                    <a:lnTo>
                      <a:pt x="809" y="38"/>
                    </a:lnTo>
                    <a:lnTo>
                      <a:pt x="807" y="38"/>
                    </a:lnTo>
                    <a:lnTo>
                      <a:pt x="807" y="36"/>
                    </a:lnTo>
                    <a:lnTo>
                      <a:pt x="807" y="34"/>
                    </a:lnTo>
                    <a:lnTo>
                      <a:pt x="809" y="34"/>
                    </a:lnTo>
                    <a:lnTo>
                      <a:pt x="809" y="32"/>
                    </a:lnTo>
                    <a:lnTo>
                      <a:pt x="811" y="32"/>
                    </a:lnTo>
                    <a:lnTo>
                      <a:pt x="813" y="34"/>
                    </a:lnTo>
                    <a:lnTo>
                      <a:pt x="814" y="34"/>
                    </a:lnTo>
                    <a:lnTo>
                      <a:pt x="816" y="34"/>
                    </a:lnTo>
                    <a:lnTo>
                      <a:pt x="816" y="32"/>
                    </a:lnTo>
                    <a:lnTo>
                      <a:pt x="818" y="30"/>
                    </a:lnTo>
                    <a:lnTo>
                      <a:pt x="820" y="30"/>
                    </a:lnTo>
                    <a:lnTo>
                      <a:pt x="820" y="32"/>
                    </a:lnTo>
                    <a:lnTo>
                      <a:pt x="822" y="32"/>
                    </a:lnTo>
                    <a:lnTo>
                      <a:pt x="824" y="32"/>
                    </a:lnTo>
                    <a:lnTo>
                      <a:pt x="826" y="32"/>
                    </a:lnTo>
                    <a:lnTo>
                      <a:pt x="826" y="30"/>
                    </a:lnTo>
                    <a:lnTo>
                      <a:pt x="826" y="28"/>
                    </a:lnTo>
                    <a:lnTo>
                      <a:pt x="824" y="26"/>
                    </a:lnTo>
                    <a:lnTo>
                      <a:pt x="824" y="24"/>
                    </a:lnTo>
                    <a:lnTo>
                      <a:pt x="822" y="24"/>
                    </a:lnTo>
                    <a:lnTo>
                      <a:pt x="822" y="23"/>
                    </a:lnTo>
                    <a:lnTo>
                      <a:pt x="824" y="23"/>
                    </a:lnTo>
                    <a:lnTo>
                      <a:pt x="826" y="23"/>
                    </a:lnTo>
                    <a:lnTo>
                      <a:pt x="826" y="21"/>
                    </a:lnTo>
                    <a:lnTo>
                      <a:pt x="828" y="21"/>
                    </a:lnTo>
                    <a:lnTo>
                      <a:pt x="829" y="21"/>
                    </a:lnTo>
                    <a:lnTo>
                      <a:pt x="831" y="21"/>
                    </a:lnTo>
                    <a:lnTo>
                      <a:pt x="833" y="21"/>
                    </a:lnTo>
                    <a:lnTo>
                      <a:pt x="833" y="19"/>
                    </a:lnTo>
                    <a:lnTo>
                      <a:pt x="835" y="19"/>
                    </a:lnTo>
                    <a:lnTo>
                      <a:pt x="837" y="19"/>
                    </a:lnTo>
                    <a:lnTo>
                      <a:pt x="839" y="19"/>
                    </a:lnTo>
                    <a:lnTo>
                      <a:pt x="839" y="21"/>
                    </a:lnTo>
                    <a:lnTo>
                      <a:pt x="839" y="23"/>
                    </a:lnTo>
                    <a:lnTo>
                      <a:pt x="839" y="24"/>
                    </a:lnTo>
                    <a:lnTo>
                      <a:pt x="839" y="26"/>
                    </a:lnTo>
                    <a:lnTo>
                      <a:pt x="837" y="26"/>
                    </a:lnTo>
                    <a:lnTo>
                      <a:pt x="837" y="28"/>
                    </a:lnTo>
                    <a:lnTo>
                      <a:pt x="839" y="28"/>
                    </a:lnTo>
                    <a:lnTo>
                      <a:pt x="839" y="30"/>
                    </a:lnTo>
                    <a:lnTo>
                      <a:pt x="841" y="30"/>
                    </a:lnTo>
                    <a:lnTo>
                      <a:pt x="841" y="28"/>
                    </a:lnTo>
                    <a:lnTo>
                      <a:pt x="843" y="28"/>
                    </a:lnTo>
                    <a:lnTo>
                      <a:pt x="845" y="30"/>
                    </a:lnTo>
                    <a:lnTo>
                      <a:pt x="846" y="30"/>
                    </a:lnTo>
                    <a:lnTo>
                      <a:pt x="848" y="30"/>
                    </a:lnTo>
                    <a:lnTo>
                      <a:pt x="850" y="30"/>
                    </a:lnTo>
                    <a:lnTo>
                      <a:pt x="850" y="28"/>
                    </a:lnTo>
                    <a:lnTo>
                      <a:pt x="852" y="28"/>
                    </a:lnTo>
                    <a:lnTo>
                      <a:pt x="852" y="26"/>
                    </a:lnTo>
                    <a:lnTo>
                      <a:pt x="854" y="26"/>
                    </a:lnTo>
                    <a:lnTo>
                      <a:pt x="854" y="28"/>
                    </a:lnTo>
                    <a:lnTo>
                      <a:pt x="856" y="28"/>
                    </a:lnTo>
                    <a:lnTo>
                      <a:pt x="858" y="28"/>
                    </a:lnTo>
                    <a:lnTo>
                      <a:pt x="858" y="26"/>
                    </a:lnTo>
                    <a:lnTo>
                      <a:pt x="860" y="26"/>
                    </a:lnTo>
                    <a:lnTo>
                      <a:pt x="861" y="26"/>
                    </a:lnTo>
                    <a:lnTo>
                      <a:pt x="863" y="26"/>
                    </a:lnTo>
                    <a:lnTo>
                      <a:pt x="865" y="28"/>
                    </a:lnTo>
                    <a:lnTo>
                      <a:pt x="867" y="28"/>
                    </a:lnTo>
                    <a:lnTo>
                      <a:pt x="867" y="30"/>
                    </a:lnTo>
                    <a:lnTo>
                      <a:pt x="867" y="32"/>
                    </a:lnTo>
                    <a:lnTo>
                      <a:pt x="869" y="32"/>
                    </a:lnTo>
                    <a:lnTo>
                      <a:pt x="869" y="34"/>
                    </a:lnTo>
                    <a:lnTo>
                      <a:pt x="869" y="36"/>
                    </a:lnTo>
                    <a:lnTo>
                      <a:pt x="871" y="36"/>
                    </a:lnTo>
                    <a:lnTo>
                      <a:pt x="871" y="38"/>
                    </a:lnTo>
                    <a:lnTo>
                      <a:pt x="873" y="38"/>
                    </a:lnTo>
                    <a:lnTo>
                      <a:pt x="875" y="38"/>
                    </a:lnTo>
                    <a:lnTo>
                      <a:pt x="875" y="36"/>
                    </a:lnTo>
                    <a:lnTo>
                      <a:pt x="875" y="34"/>
                    </a:lnTo>
                    <a:lnTo>
                      <a:pt x="873" y="34"/>
                    </a:lnTo>
                    <a:lnTo>
                      <a:pt x="873" y="32"/>
                    </a:lnTo>
                    <a:lnTo>
                      <a:pt x="873" y="30"/>
                    </a:lnTo>
                    <a:lnTo>
                      <a:pt x="873" y="28"/>
                    </a:lnTo>
                    <a:lnTo>
                      <a:pt x="875" y="26"/>
                    </a:lnTo>
                    <a:lnTo>
                      <a:pt x="875" y="24"/>
                    </a:lnTo>
                    <a:lnTo>
                      <a:pt x="876" y="24"/>
                    </a:lnTo>
                    <a:lnTo>
                      <a:pt x="878" y="24"/>
                    </a:lnTo>
                    <a:lnTo>
                      <a:pt x="878" y="23"/>
                    </a:lnTo>
                    <a:lnTo>
                      <a:pt x="880" y="23"/>
                    </a:lnTo>
                    <a:lnTo>
                      <a:pt x="882" y="23"/>
                    </a:lnTo>
                    <a:lnTo>
                      <a:pt x="882" y="24"/>
                    </a:lnTo>
                    <a:lnTo>
                      <a:pt x="884" y="24"/>
                    </a:lnTo>
                    <a:lnTo>
                      <a:pt x="886" y="24"/>
                    </a:lnTo>
                    <a:lnTo>
                      <a:pt x="886" y="23"/>
                    </a:lnTo>
                    <a:lnTo>
                      <a:pt x="888" y="23"/>
                    </a:lnTo>
                    <a:lnTo>
                      <a:pt x="888" y="24"/>
                    </a:lnTo>
                    <a:lnTo>
                      <a:pt x="890" y="24"/>
                    </a:lnTo>
                    <a:lnTo>
                      <a:pt x="892" y="23"/>
                    </a:lnTo>
                    <a:lnTo>
                      <a:pt x="893" y="23"/>
                    </a:lnTo>
                    <a:lnTo>
                      <a:pt x="895" y="23"/>
                    </a:lnTo>
                    <a:lnTo>
                      <a:pt x="897" y="23"/>
                    </a:lnTo>
                    <a:lnTo>
                      <a:pt x="899" y="23"/>
                    </a:lnTo>
                    <a:lnTo>
                      <a:pt x="901" y="23"/>
                    </a:lnTo>
                    <a:lnTo>
                      <a:pt x="903" y="23"/>
                    </a:lnTo>
                    <a:lnTo>
                      <a:pt x="903" y="21"/>
                    </a:lnTo>
                    <a:lnTo>
                      <a:pt x="903" y="19"/>
                    </a:lnTo>
                    <a:lnTo>
                      <a:pt x="905" y="17"/>
                    </a:lnTo>
                    <a:lnTo>
                      <a:pt x="907" y="15"/>
                    </a:lnTo>
                    <a:lnTo>
                      <a:pt x="907" y="13"/>
                    </a:lnTo>
                    <a:lnTo>
                      <a:pt x="905" y="13"/>
                    </a:lnTo>
                    <a:lnTo>
                      <a:pt x="907" y="11"/>
                    </a:lnTo>
                    <a:lnTo>
                      <a:pt x="908" y="11"/>
                    </a:lnTo>
                    <a:lnTo>
                      <a:pt x="910" y="11"/>
                    </a:lnTo>
                    <a:lnTo>
                      <a:pt x="912" y="11"/>
                    </a:lnTo>
                    <a:lnTo>
                      <a:pt x="914" y="11"/>
                    </a:lnTo>
                    <a:lnTo>
                      <a:pt x="914" y="9"/>
                    </a:lnTo>
                    <a:lnTo>
                      <a:pt x="916" y="7"/>
                    </a:lnTo>
                    <a:lnTo>
                      <a:pt x="916" y="6"/>
                    </a:lnTo>
                    <a:lnTo>
                      <a:pt x="916" y="4"/>
                    </a:lnTo>
                    <a:lnTo>
                      <a:pt x="918" y="4"/>
                    </a:lnTo>
                    <a:lnTo>
                      <a:pt x="918" y="2"/>
                    </a:lnTo>
                    <a:lnTo>
                      <a:pt x="920" y="2"/>
                    </a:lnTo>
                    <a:lnTo>
                      <a:pt x="922" y="2"/>
                    </a:lnTo>
                    <a:lnTo>
                      <a:pt x="924" y="2"/>
                    </a:lnTo>
                    <a:lnTo>
                      <a:pt x="924" y="0"/>
                    </a:lnTo>
                    <a:lnTo>
                      <a:pt x="925" y="0"/>
                    </a:lnTo>
                    <a:lnTo>
                      <a:pt x="927" y="2"/>
                    </a:lnTo>
                    <a:lnTo>
                      <a:pt x="927" y="4"/>
                    </a:lnTo>
                    <a:lnTo>
                      <a:pt x="929" y="4"/>
                    </a:lnTo>
                    <a:lnTo>
                      <a:pt x="929" y="6"/>
                    </a:lnTo>
                    <a:lnTo>
                      <a:pt x="931" y="6"/>
                    </a:lnTo>
                    <a:lnTo>
                      <a:pt x="931" y="7"/>
                    </a:lnTo>
                    <a:lnTo>
                      <a:pt x="933" y="7"/>
                    </a:lnTo>
                    <a:lnTo>
                      <a:pt x="933" y="9"/>
                    </a:lnTo>
                    <a:lnTo>
                      <a:pt x="933" y="11"/>
                    </a:lnTo>
                    <a:lnTo>
                      <a:pt x="933" y="13"/>
                    </a:lnTo>
                    <a:lnTo>
                      <a:pt x="931" y="13"/>
                    </a:lnTo>
                    <a:lnTo>
                      <a:pt x="931" y="15"/>
                    </a:lnTo>
                    <a:lnTo>
                      <a:pt x="931" y="17"/>
                    </a:lnTo>
                    <a:lnTo>
                      <a:pt x="931" y="19"/>
                    </a:lnTo>
                    <a:lnTo>
                      <a:pt x="931" y="21"/>
                    </a:lnTo>
                    <a:lnTo>
                      <a:pt x="933" y="21"/>
                    </a:lnTo>
                    <a:lnTo>
                      <a:pt x="933" y="23"/>
                    </a:lnTo>
                    <a:lnTo>
                      <a:pt x="933" y="24"/>
                    </a:lnTo>
                    <a:lnTo>
                      <a:pt x="935" y="26"/>
                    </a:lnTo>
                    <a:lnTo>
                      <a:pt x="935" y="28"/>
                    </a:lnTo>
                    <a:lnTo>
                      <a:pt x="935" y="30"/>
                    </a:lnTo>
                    <a:lnTo>
                      <a:pt x="937" y="30"/>
                    </a:lnTo>
                    <a:lnTo>
                      <a:pt x="939" y="30"/>
                    </a:lnTo>
                    <a:lnTo>
                      <a:pt x="939" y="32"/>
                    </a:lnTo>
                    <a:lnTo>
                      <a:pt x="940" y="32"/>
                    </a:lnTo>
                    <a:lnTo>
                      <a:pt x="940" y="34"/>
                    </a:lnTo>
                    <a:lnTo>
                      <a:pt x="939" y="34"/>
                    </a:lnTo>
                    <a:lnTo>
                      <a:pt x="937" y="34"/>
                    </a:lnTo>
                    <a:lnTo>
                      <a:pt x="937" y="36"/>
                    </a:lnTo>
                    <a:lnTo>
                      <a:pt x="939" y="36"/>
                    </a:lnTo>
                    <a:lnTo>
                      <a:pt x="940" y="36"/>
                    </a:lnTo>
                    <a:lnTo>
                      <a:pt x="942" y="36"/>
                    </a:lnTo>
                    <a:lnTo>
                      <a:pt x="942" y="38"/>
                    </a:lnTo>
                    <a:lnTo>
                      <a:pt x="944" y="38"/>
                    </a:lnTo>
                    <a:lnTo>
                      <a:pt x="946" y="39"/>
                    </a:lnTo>
                    <a:lnTo>
                      <a:pt x="944" y="39"/>
                    </a:lnTo>
                    <a:lnTo>
                      <a:pt x="946" y="39"/>
                    </a:lnTo>
                    <a:lnTo>
                      <a:pt x="946" y="41"/>
                    </a:lnTo>
                    <a:lnTo>
                      <a:pt x="948" y="43"/>
                    </a:lnTo>
                    <a:lnTo>
                      <a:pt x="950" y="43"/>
                    </a:lnTo>
                    <a:lnTo>
                      <a:pt x="950" y="45"/>
                    </a:lnTo>
                    <a:lnTo>
                      <a:pt x="952" y="45"/>
                    </a:lnTo>
                    <a:lnTo>
                      <a:pt x="952" y="47"/>
                    </a:lnTo>
                    <a:lnTo>
                      <a:pt x="954" y="47"/>
                    </a:lnTo>
                    <a:lnTo>
                      <a:pt x="954" y="49"/>
                    </a:lnTo>
                    <a:lnTo>
                      <a:pt x="955" y="49"/>
                    </a:lnTo>
                    <a:lnTo>
                      <a:pt x="957" y="49"/>
                    </a:lnTo>
                    <a:lnTo>
                      <a:pt x="959" y="49"/>
                    </a:lnTo>
                    <a:lnTo>
                      <a:pt x="961" y="51"/>
                    </a:lnTo>
                    <a:lnTo>
                      <a:pt x="963" y="51"/>
                    </a:lnTo>
                    <a:lnTo>
                      <a:pt x="963" y="53"/>
                    </a:lnTo>
                    <a:lnTo>
                      <a:pt x="963" y="55"/>
                    </a:lnTo>
                    <a:lnTo>
                      <a:pt x="963" y="56"/>
                    </a:lnTo>
                    <a:lnTo>
                      <a:pt x="963" y="58"/>
                    </a:lnTo>
                    <a:lnTo>
                      <a:pt x="963" y="60"/>
                    </a:lnTo>
                    <a:lnTo>
                      <a:pt x="963" y="62"/>
                    </a:lnTo>
                    <a:lnTo>
                      <a:pt x="963" y="64"/>
                    </a:lnTo>
                    <a:lnTo>
                      <a:pt x="965" y="64"/>
                    </a:lnTo>
                    <a:lnTo>
                      <a:pt x="967" y="62"/>
                    </a:lnTo>
                    <a:lnTo>
                      <a:pt x="969" y="64"/>
                    </a:lnTo>
                    <a:lnTo>
                      <a:pt x="971" y="62"/>
                    </a:lnTo>
                    <a:lnTo>
                      <a:pt x="972" y="62"/>
                    </a:lnTo>
                    <a:lnTo>
                      <a:pt x="974" y="62"/>
                    </a:lnTo>
                    <a:lnTo>
                      <a:pt x="974" y="64"/>
                    </a:lnTo>
                    <a:lnTo>
                      <a:pt x="976" y="64"/>
                    </a:lnTo>
                    <a:lnTo>
                      <a:pt x="976" y="62"/>
                    </a:lnTo>
                    <a:lnTo>
                      <a:pt x="976" y="60"/>
                    </a:lnTo>
                    <a:lnTo>
                      <a:pt x="976" y="58"/>
                    </a:lnTo>
                    <a:lnTo>
                      <a:pt x="976" y="56"/>
                    </a:lnTo>
                    <a:lnTo>
                      <a:pt x="974" y="56"/>
                    </a:lnTo>
                    <a:lnTo>
                      <a:pt x="974" y="55"/>
                    </a:lnTo>
                    <a:lnTo>
                      <a:pt x="972" y="55"/>
                    </a:lnTo>
                    <a:lnTo>
                      <a:pt x="972" y="53"/>
                    </a:lnTo>
                    <a:lnTo>
                      <a:pt x="972" y="51"/>
                    </a:lnTo>
                    <a:lnTo>
                      <a:pt x="974" y="51"/>
                    </a:lnTo>
                    <a:lnTo>
                      <a:pt x="976" y="51"/>
                    </a:lnTo>
                    <a:lnTo>
                      <a:pt x="978" y="53"/>
                    </a:lnTo>
                    <a:lnTo>
                      <a:pt x="978" y="55"/>
                    </a:lnTo>
                    <a:lnTo>
                      <a:pt x="978" y="56"/>
                    </a:lnTo>
                    <a:lnTo>
                      <a:pt x="980" y="56"/>
                    </a:lnTo>
                    <a:lnTo>
                      <a:pt x="980" y="58"/>
                    </a:lnTo>
                    <a:lnTo>
                      <a:pt x="980" y="60"/>
                    </a:lnTo>
                    <a:lnTo>
                      <a:pt x="980" y="62"/>
                    </a:lnTo>
                    <a:lnTo>
                      <a:pt x="980" y="64"/>
                    </a:lnTo>
                    <a:lnTo>
                      <a:pt x="982" y="64"/>
                    </a:lnTo>
                    <a:lnTo>
                      <a:pt x="982" y="66"/>
                    </a:lnTo>
                    <a:lnTo>
                      <a:pt x="984" y="68"/>
                    </a:lnTo>
                    <a:lnTo>
                      <a:pt x="984" y="70"/>
                    </a:lnTo>
                    <a:lnTo>
                      <a:pt x="986" y="70"/>
                    </a:lnTo>
                    <a:lnTo>
                      <a:pt x="987" y="70"/>
                    </a:lnTo>
                    <a:lnTo>
                      <a:pt x="989" y="71"/>
                    </a:lnTo>
                    <a:lnTo>
                      <a:pt x="989" y="73"/>
                    </a:lnTo>
                    <a:lnTo>
                      <a:pt x="991" y="73"/>
                    </a:lnTo>
                    <a:lnTo>
                      <a:pt x="993" y="73"/>
                    </a:lnTo>
                    <a:lnTo>
                      <a:pt x="993" y="71"/>
                    </a:lnTo>
                    <a:lnTo>
                      <a:pt x="993" y="70"/>
                    </a:lnTo>
                    <a:lnTo>
                      <a:pt x="991" y="70"/>
                    </a:lnTo>
                    <a:lnTo>
                      <a:pt x="991" y="68"/>
                    </a:lnTo>
                    <a:lnTo>
                      <a:pt x="991" y="66"/>
                    </a:lnTo>
                    <a:lnTo>
                      <a:pt x="991" y="64"/>
                    </a:lnTo>
                    <a:lnTo>
                      <a:pt x="991" y="62"/>
                    </a:lnTo>
                    <a:lnTo>
                      <a:pt x="993" y="62"/>
                    </a:lnTo>
                    <a:lnTo>
                      <a:pt x="993" y="60"/>
                    </a:lnTo>
                    <a:lnTo>
                      <a:pt x="993" y="62"/>
                    </a:lnTo>
                    <a:lnTo>
                      <a:pt x="995" y="62"/>
                    </a:lnTo>
                    <a:close/>
                  </a:path>
                </a:pathLst>
              </a:custGeom>
              <a:grp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34"/>
              <p:cNvSpPr>
                <a:spLocks/>
              </p:cNvSpPr>
              <p:nvPr/>
            </p:nvSpPr>
            <p:spPr bwMode="auto">
              <a:xfrm>
                <a:off x="3595688" y="1557338"/>
                <a:ext cx="2298700" cy="1574800"/>
              </a:xfrm>
              <a:custGeom>
                <a:avLst/>
                <a:gdLst>
                  <a:gd name="T0" fmla="*/ 1386 w 1448"/>
                  <a:gd name="T1" fmla="*/ 254 h 992"/>
                  <a:gd name="T2" fmla="*/ 1362 w 1448"/>
                  <a:gd name="T3" fmla="*/ 324 h 992"/>
                  <a:gd name="T4" fmla="*/ 1292 w 1448"/>
                  <a:gd name="T5" fmla="*/ 350 h 992"/>
                  <a:gd name="T6" fmla="*/ 1209 w 1448"/>
                  <a:gd name="T7" fmla="*/ 418 h 992"/>
                  <a:gd name="T8" fmla="*/ 1166 w 1448"/>
                  <a:gd name="T9" fmla="*/ 535 h 992"/>
                  <a:gd name="T10" fmla="*/ 1211 w 1448"/>
                  <a:gd name="T11" fmla="*/ 551 h 992"/>
                  <a:gd name="T12" fmla="*/ 1262 w 1448"/>
                  <a:gd name="T13" fmla="*/ 608 h 992"/>
                  <a:gd name="T14" fmla="*/ 1228 w 1448"/>
                  <a:gd name="T15" fmla="*/ 644 h 992"/>
                  <a:gd name="T16" fmla="*/ 1189 w 1448"/>
                  <a:gd name="T17" fmla="*/ 638 h 992"/>
                  <a:gd name="T18" fmla="*/ 1157 w 1448"/>
                  <a:gd name="T19" fmla="*/ 651 h 992"/>
                  <a:gd name="T20" fmla="*/ 1106 w 1448"/>
                  <a:gd name="T21" fmla="*/ 644 h 992"/>
                  <a:gd name="T22" fmla="*/ 1083 w 1448"/>
                  <a:gd name="T23" fmla="*/ 649 h 992"/>
                  <a:gd name="T24" fmla="*/ 1040 w 1448"/>
                  <a:gd name="T25" fmla="*/ 672 h 992"/>
                  <a:gd name="T26" fmla="*/ 1010 w 1448"/>
                  <a:gd name="T27" fmla="*/ 702 h 992"/>
                  <a:gd name="T28" fmla="*/ 970 w 1448"/>
                  <a:gd name="T29" fmla="*/ 721 h 992"/>
                  <a:gd name="T30" fmla="*/ 985 w 1448"/>
                  <a:gd name="T31" fmla="*/ 759 h 992"/>
                  <a:gd name="T32" fmla="*/ 974 w 1448"/>
                  <a:gd name="T33" fmla="*/ 785 h 992"/>
                  <a:gd name="T34" fmla="*/ 931 w 1448"/>
                  <a:gd name="T35" fmla="*/ 792 h 992"/>
                  <a:gd name="T36" fmla="*/ 899 w 1448"/>
                  <a:gd name="T37" fmla="*/ 834 h 992"/>
                  <a:gd name="T38" fmla="*/ 880 w 1448"/>
                  <a:gd name="T39" fmla="*/ 877 h 992"/>
                  <a:gd name="T40" fmla="*/ 844 w 1448"/>
                  <a:gd name="T41" fmla="*/ 845 h 992"/>
                  <a:gd name="T42" fmla="*/ 797 w 1448"/>
                  <a:gd name="T43" fmla="*/ 845 h 992"/>
                  <a:gd name="T44" fmla="*/ 760 w 1448"/>
                  <a:gd name="T45" fmla="*/ 860 h 992"/>
                  <a:gd name="T46" fmla="*/ 703 w 1448"/>
                  <a:gd name="T47" fmla="*/ 885 h 992"/>
                  <a:gd name="T48" fmla="*/ 666 w 1448"/>
                  <a:gd name="T49" fmla="*/ 922 h 992"/>
                  <a:gd name="T50" fmla="*/ 632 w 1448"/>
                  <a:gd name="T51" fmla="*/ 966 h 992"/>
                  <a:gd name="T52" fmla="*/ 566 w 1448"/>
                  <a:gd name="T53" fmla="*/ 937 h 992"/>
                  <a:gd name="T54" fmla="*/ 555 w 1448"/>
                  <a:gd name="T55" fmla="*/ 866 h 992"/>
                  <a:gd name="T56" fmla="*/ 525 w 1448"/>
                  <a:gd name="T57" fmla="*/ 872 h 992"/>
                  <a:gd name="T58" fmla="*/ 511 w 1448"/>
                  <a:gd name="T59" fmla="*/ 928 h 992"/>
                  <a:gd name="T60" fmla="*/ 506 w 1448"/>
                  <a:gd name="T61" fmla="*/ 968 h 992"/>
                  <a:gd name="T62" fmla="*/ 464 w 1448"/>
                  <a:gd name="T63" fmla="*/ 904 h 992"/>
                  <a:gd name="T64" fmla="*/ 337 w 1448"/>
                  <a:gd name="T65" fmla="*/ 751 h 992"/>
                  <a:gd name="T66" fmla="*/ 261 w 1448"/>
                  <a:gd name="T67" fmla="*/ 615 h 992"/>
                  <a:gd name="T68" fmla="*/ 21 w 1448"/>
                  <a:gd name="T69" fmla="*/ 489 h 992"/>
                  <a:gd name="T70" fmla="*/ 19 w 1448"/>
                  <a:gd name="T71" fmla="*/ 391 h 992"/>
                  <a:gd name="T72" fmla="*/ 28 w 1448"/>
                  <a:gd name="T73" fmla="*/ 348 h 992"/>
                  <a:gd name="T74" fmla="*/ 43 w 1448"/>
                  <a:gd name="T75" fmla="*/ 309 h 992"/>
                  <a:gd name="T76" fmla="*/ 52 w 1448"/>
                  <a:gd name="T77" fmla="*/ 263 h 992"/>
                  <a:gd name="T78" fmla="*/ 71 w 1448"/>
                  <a:gd name="T79" fmla="*/ 226 h 992"/>
                  <a:gd name="T80" fmla="*/ 105 w 1448"/>
                  <a:gd name="T81" fmla="*/ 188 h 992"/>
                  <a:gd name="T82" fmla="*/ 147 w 1448"/>
                  <a:gd name="T83" fmla="*/ 181 h 992"/>
                  <a:gd name="T84" fmla="*/ 199 w 1448"/>
                  <a:gd name="T85" fmla="*/ 188 h 992"/>
                  <a:gd name="T86" fmla="*/ 235 w 1448"/>
                  <a:gd name="T87" fmla="*/ 201 h 992"/>
                  <a:gd name="T88" fmla="*/ 269 w 1448"/>
                  <a:gd name="T89" fmla="*/ 222 h 992"/>
                  <a:gd name="T90" fmla="*/ 299 w 1448"/>
                  <a:gd name="T91" fmla="*/ 246 h 992"/>
                  <a:gd name="T92" fmla="*/ 331 w 1448"/>
                  <a:gd name="T93" fmla="*/ 280 h 992"/>
                  <a:gd name="T94" fmla="*/ 370 w 1448"/>
                  <a:gd name="T95" fmla="*/ 282 h 992"/>
                  <a:gd name="T96" fmla="*/ 416 w 1448"/>
                  <a:gd name="T97" fmla="*/ 294 h 992"/>
                  <a:gd name="T98" fmla="*/ 438 w 1448"/>
                  <a:gd name="T99" fmla="*/ 314 h 992"/>
                  <a:gd name="T100" fmla="*/ 481 w 1448"/>
                  <a:gd name="T101" fmla="*/ 316 h 992"/>
                  <a:gd name="T102" fmla="*/ 534 w 1448"/>
                  <a:gd name="T103" fmla="*/ 329 h 992"/>
                  <a:gd name="T104" fmla="*/ 581 w 1448"/>
                  <a:gd name="T105" fmla="*/ 329 h 992"/>
                  <a:gd name="T106" fmla="*/ 624 w 1448"/>
                  <a:gd name="T107" fmla="*/ 311 h 992"/>
                  <a:gd name="T108" fmla="*/ 671 w 1448"/>
                  <a:gd name="T109" fmla="*/ 320 h 992"/>
                  <a:gd name="T110" fmla="*/ 730 w 1448"/>
                  <a:gd name="T111" fmla="*/ 299 h 992"/>
                  <a:gd name="T112" fmla="*/ 786 w 1448"/>
                  <a:gd name="T113" fmla="*/ 184 h 992"/>
                  <a:gd name="T114" fmla="*/ 829 w 1448"/>
                  <a:gd name="T115" fmla="*/ 53 h 992"/>
                  <a:gd name="T116" fmla="*/ 970 w 1448"/>
                  <a:gd name="T117" fmla="*/ 11 h 992"/>
                  <a:gd name="T118" fmla="*/ 1042 w 1448"/>
                  <a:gd name="T119" fmla="*/ 62 h 992"/>
                  <a:gd name="T120" fmla="*/ 1204 w 1448"/>
                  <a:gd name="T121" fmla="*/ 126 h 992"/>
                  <a:gd name="T122" fmla="*/ 1328 w 1448"/>
                  <a:gd name="T123" fmla="*/ 96 h 992"/>
                  <a:gd name="T124" fmla="*/ 1401 w 1448"/>
                  <a:gd name="T125" fmla="*/ 143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8" h="992">
                    <a:moveTo>
                      <a:pt x="1448" y="190"/>
                    </a:moveTo>
                    <a:lnTo>
                      <a:pt x="1448" y="198"/>
                    </a:lnTo>
                    <a:lnTo>
                      <a:pt x="1446" y="199"/>
                    </a:lnTo>
                    <a:lnTo>
                      <a:pt x="1446" y="198"/>
                    </a:lnTo>
                    <a:lnTo>
                      <a:pt x="1444" y="198"/>
                    </a:lnTo>
                    <a:lnTo>
                      <a:pt x="1444" y="199"/>
                    </a:lnTo>
                    <a:lnTo>
                      <a:pt x="1441" y="199"/>
                    </a:lnTo>
                    <a:lnTo>
                      <a:pt x="1431" y="201"/>
                    </a:lnTo>
                    <a:lnTo>
                      <a:pt x="1429" y="199"/>
                    </a:lnTo>
                    <a:lnTo>
                      <a:pt x="1424" y="194"/>
                    </a:lnTo>
                    <a:lnTo>
                      <a:pt x="1418" y="196"/>
                    </a:lnTo>
                    <a:lnTo>
                      <a:pt x="1418" y="205"/>
                    </a:lnTo>
                    <a:lnTo>
                      <a:pt x="1405" y="209"/>
                    </a:lnTo>
                    <a:lnTo>
                      <a:pt x="1401" y="209"/>
                    </a:lnTo>
                    <a:lnTo>
                      <a:pt x="1401" y="205"/>
                    </a:lnTo>
                    <a:lnTo>
                      <a:pt x="1394" y="211"/>
                    </a:lnTo>
                    <a:lnTo>
                      <a:pt x="1390" y="214"/>
                    </a:lnTo>
                    <a:lnTo>
                      <a:pt x="1386" y="214"/>
                    </a:lnTo>
                    <a:lnTo>
                      <a:pt x="1384" y="216"/>
                    </a:lnTo>
                    <a:lnTo>
                      <a:pt x="1375" y="207"/>
                    </a:lnTo>
                    <a:lnTo>
                      <a:pt x="1373" y="203"/>
                    </a:lnTo>
                    <a:lnTo>
                      <a:pt x="1367" y="205"/>
                    </a:lnTo>
                    <a:lnTo>
                      <a:pt x="1365" y="205"/>
                    </a:lnTo>
                    <a:lnTo>
                      <a:pt x="1358" y="216"/>
                    </a:lnTo>
                    <a:lnTo>
                      <a:pt x="1362" y="222"/>
                    </a:lnTo>
                    <a:lnTo>
                      <a:pt x="1365" y="226"/>
                    </a:lnTo>
                    <a:lnTo>
                      <a:pt x="1371" y="222"/>
                    </a:lnTo>
                    <a:lnTo>
                      <a:pt x="1373" y="224"/>
                    </a:lnTo>
                    <a:lnTo>
                      <a:pt x="1375" y="228"/>
                    </a:lnTo>
                    <a:lnTo>
                      <a:pt x="1380" y="233"/>
                    </a:lnTo>
                    <a:lnTo>
                      <a:pt x="1382" y="235"/>
                    </a:lnTo>
                    <a:lnTo>
                      <a:pt x="1377" y="237"/>
                    </a:lnTo>
                    <a:lnTo>
                      <a:pt x="1375" y="237"/>
                    </a:lnTo>
                    <a:lnTo>
                      <a:pt x="1375" y="239"/>
                    </a:lnTo>
                    <a:lnTo>
                      <a:pt x="1375" y="241"/>
                    </a:lnTo>
                    <a:lnTo>
                      <a:pt x="1371" y="248"/>
                    </a:lnTo>
                    <a:lnTo>
                      <a:pt x="1379" y="252"/>
                    </a:lnTo>
                    <a:lnTo>
                      <a:pt x="1380" y="252"/>
                    </a:lnTo>
                    <a:lnTo>
                      <a:pt x="1386" y="254"/>
                    </a:lnTo>
                    <a:lnTo>
                      <a:pt x="1386" y="258"/>
                    </a:lnTo>
                    <a:lnTo>
                      <a:pt x="1386" y="260"/>
                    </a:lnTo>
                    <a:lnTo>
                      <a:pt x="1384" y="260"/>
                    </a:lnTo>
                    <a:lnTo>
                      <a:pt x="1380" y="260"/>
                    </a:lnTo>
                    <a:lnTo>
                      <a:pt x="1375" y="258"/>
                    </a:lnTo>
                    <a:lnTo>
                      <a:pt x="1371" y="258"/>
                    </a:lnTo>
                    <a:lnTo>
                      <a:pt x="1367" y="256"/>
                    </a:lnTo>
                    <a:lnTo>
                      <a:pt x="1365" y="263"/>
                    </a:lnTo>
                    <a:lnTo>
                      <a:pt x="1364" y="265"/>
                    </a:lnTo>
                    <a:lnTo>
                      <a:pt x="1362" y="269"/>
                    </a:lnTo>
                    <a:lnTo>
                      <a:pt x="1365" y="271"/>
                    </a:lnTo>
                    <a:lnTo>
                      <a:pt x="1365" y="273"/>
                    </a:lnTo>
                    <a:lnTo>
                      <a:pt x="1367" y="277"/>
                    </a:lnTo>
                    <a:lnTo>
                      <a:pt x="1367" y="280"/>
                    </a:lnTo>
                    <a:lnTo>
                      <a:pt x="1364" y="282"/>
                    </a:lnTo>
                    <a:lnTo>
                      <a:pt x="1364" y="284"/>
                    </a:lnTo>
                    <a:lnTo>
                      <a:pt x="1362" y="284"/>
                    </a:lnTo>
                    <a:lnTo>
                      <a:pt x="1362" y="286"/>
                    </a:lnTo>
                    <a:lnTo>
                      <a:pt x="1360" y="286"/>
                    </a:lnTo>
                    <a:lnTo>
                      <a:pt x="1360" y="288"/>
                    </a:lnTo>
                    <a:lnTo>
                      <a:pt x="1360" y="290"/>
                    </a:lnTo>
                    <a:lnTo>
                      <a:pt x="1360" y="292"/>
                    </a:lnTo>
                    <a:lnTo>
                      <a:pt x="1362" y="292"/>
                    </a:lnTo>
                    <a:lnTo>
                      <a:pt x="1362" y="294"/>
                    </a:lnTo>
                    <a:lnTo>
                      <a:pt x="1362" y="297"/>
                    </a:lnTo>
                    <a:lnTo>
                      <a:pt x="1362" y="299"/>
                    </a:lnTo>
                    <a:lnTo>
                      <a:pt x="1360" y="299"/>
                    </a:lnTo>
                    <a:lnTo>
                      <a:pt x="1362" y="303"/>
                    </a:lnTo>
                    <a:lnTo>
                      <a:pt x="1364" y="307"/>
                    </a:lnTo>
                    <a:lnTo>
                      <a:pt x="1365" y="311"/>
                    </a:lnTo>
                    <a:lnTo>
                      <a:pt x="1365" y="312"/>
                    </a:lnTo>
                    <a:lnTo>
                      <a:pt x="1367" y="314"/>
                    </a:lnTo>
                    <a:lnTo>
                      <a:pt x="1365" y="316"/>
                    </a:lnTo>
                    <a:lnTo>
                      <a:pt x="1364" y="316"/>
                    </a:lnTo>
                    <a:lnTo>
                      <a:pt x="1362" y="316"/>
                    </a:lnTo>
                    <a:lnTo>
                      <a:pt x="1360" y="316"/>
                    </a:lnTo>
                    <a:lnTo>
                      <a:pt x="1360" y="318"/>
                    </a:lnTo>
                    <a:lnTo>
                      <a:pt x="1360" y="320"/>
                    </a:lnTo>
                    <a:lnTo>
                      <a:pt x="1362" y="324"/>
                    </a:lnTo>
                    <a:lnTo>
                      <a:pt x="1362" y="326"/>
                    </a:lnTo>
                    <a:lnTo>
                      <a:pt x="1362" y="324"/>
                    </a:lnTo>
                    <a:lnTo>
                      <a:pt x="1364" y="326"/>
                    </a:lnTo>
                    <a:lnTo>
                      <a:pt x="1364" y="327"/>
                    </a:lnTo>
                    <a:lnTo>
                      <a:pt x="1362" y="329"/>
                    </a:lnTo>
                    <a:lnTo>
                      <a:pt x="1362" y="333"/>
                    </a:lnTo>
                    <a:lnTo>
                      <a:pt x="1358" y="335"/>
                    </a:lnTo>
                    <a:lnTo>
                      <a:pt x="1354" y="335"/>
                    </a:lnTo>
                    <a:lnTo>
                      <a:pt x="1358" y="339"/>
                    </a:lnTo>
                    <a:lnTo>
                      <a:pt x="1354" y="339"/>
                    </a:lnTo>
                    <a:lnTo>
                      <a:pt x="1347" y="341"/>
                    </a:lnTo>
                    <a:lnTo>
                      <a:pt x="1347" y="346"/>
                    </a:lnTo>
                    <a:lnTo>
                      <a:pt x="1345" y="346"/>
                    </a:lnTo>
                    <a:lnTo>
                      <a:pt x="1343" y="346"/>
                    </a:lnTo>
                    <a:lnTo>
                      <a:pt x="1343" y="344"/>
                    </a:lnTo>
                    <a:lnTo>
                      <a:pt x="1343" y="343"/>
                    </a:lnTo>
                    <a:lnTo>
                      <a:pt x="1343" y="341"/>
                    </a:lnTo>
                    <a:lnTo>
                      <a:pt x="1343" y="339"/>
                    </a:lnTo>
                    <a:lnTo>
                      <a:pt x="1345" y="337"/>
                    </a:lnTo>
                    <a:lnTo>
                      <a:pt x="1345" y="335"/>
                    </a:lnTo>
                    <a:lnTo>
                      <a:pt x="1343" y="335"/>
                    </a:lnTo>
                    <a:lnTo>
                      <a:pt x="1341" y="335"/>
                    </a:lnTo>
                    <a:lnTo>
                      <a:pt x="1339" y="335"/>
                    </a:lnTo>
                    <a:lnTo>
                      <a:pt x="1339" y="333"/>
                    </a:lnTo>
                    <a:lnTo>
                      <a:pt x="1337" y="333"/>
                    </a:lnTo>
                    <a:lnTo>
                      <a:pt x="1335" y="335"/>
                    </a:lnTo>
                    <a:lnTo>
                      <a:pt x="1335" y="337"/>
                    </a:lnTo>
                    <a:lnTo>
                      <a:pt x="1333" y="341"/>
                    </a:lnTo>
                    <a:lnTo>
                      <a:pt x="1335" y="343"/>
                    </a:lnTo>
                    <a:lnTo>
                      <a:pt x="1333" y="343"/>
                    </a:lnTo>
                    <a:lnTo>
                      <a:pt x="1330" y="346"/>
                    </a:lnTo>
                    <a:lnTo>
                      <a:pt x="1318" y="350"/>
                    </a:lnTo>
                    <a:lnTo>
                      <a:pt x="1307" y="356"/>
                    </a:lnTo>
                    <a:lnTo>
                      <a:pt x="1307" y="346"/>
                    </a:lnTo>
                    <a:lnTo>
                      <a:pt x="1307" y="343"/>
                    </a:lnTo>
                    <a:lnTo>
                      <a:pt x="1305" y="344"/>
                    </a:lnTo>
                    <a:lnTo>
                      <a:pt x="1303" y="344"/>
                    </a:lnTo>
                    <a:lnTo>
                      <a:pt x="1298" y="348"/>
                    </a:lnTo>
                    <a:lnTo>
                      <a:pt x="1292" y="350"/>
                    </a:lnTo>
                    <a:lnTo>
                      <a:pt x="1288" y="344"/>
                    </a:lnTo>
                    <a:lnTo>
                      <a:pt x="1286" y="341"/>
                    </a:lnTo>
                    <a:lnTo>
                      <a:pt x="1285" y="341"/>
                    </a:lnTo>
                    <a:lnTo>
                      <a:pt x="1283" y="341"/>
                    </a:lnTo>
                    <a:lnTo>
                      <a:pt x="1283" y="339"/>
                    </a:lnTo>
                    <a:lnTo>
                      <a:pt x="1283" y="335"/>
                    </a:lnTo>
                    <a:lnTo>
                      <a:pt x="1281" y="333"/>
                    </a:lnTo>
                    <a:lnTo>
                      <a:pt x="1281" y="331"/>
                    </a:lnTo>
                    <a:lnTo>
                      <a:pt x="1283" y="333"/>
                    </a:lnTo>
                    <a:lnTo>
                      <a:pt x="1281" y="327"/>
                    </a:lnTo>
                    <a:lnTo>
                      <a:pt x="1271" y="331"/>
                    </a:lnTo>
                    <a:lnTo>
                      <a:pt x="1269" y="333"/>
                    </a:lnTo>
                    <a:lnTo>
                      <a:pt x="1269" y="335"/>
                    </a:lnTo>
                    <a:lnTo>
                      <a:pt x="1264" y="339"/>
                    </a:lnTo>
                    <a:lnTo>
                      <a:pt x="1260" y="341"/>
                    </a:lnTo>
                    <a:lnTo>
                      <a:pt x="1256" y="343"/>
                    </a:lnTo>
                    <a:lnTo>
                      <a:pt x="1256" y="344"/>
                    </a:lnTo>
                    <a:lnTo>
                      <a:pt x="1253" y="343"/>
                    </a:lnTo>
                    <a:lnTo>
                      <a:pt x="1249" y="346"/>
                    </a:lnTo>
                    <a:lnTo>
                      <a:pt x="1245" y="346"/>
                    </a:lnTo>
                    <a:lnTo>
                      <a:pt x="1241" y="346"/>
                    </a:lnTo>
                    <a:lnTo>
                      <a:pt x="1236" y="348"/>
                    </a:lnTo>
                    <a:lnTo>
                      <a:pt x="1237" y="354"/>
                    </a:lnTo>
                    <a:lnTo>
                      <a:pt x="1234" y="354"/>
                    </a:lnTo>
                    <a:lnTo>
                      <a:pt x="1236" y="363"/>
                    </a:lnTo>
                    <a:lnTo>
                      <a:pt x="1234" y="363"/>
                    </a:lnTo>
                    <a:lnTo>
                      <a:pt x="1234" y="380"/>
                    </a:lnTo>
                    <a:lnTo>
                      <a:pt x="1234" y="386"/>
                    </a:lnTo>
                    <a:lnTo>
                      <a:pt x="1232" y="390"/>
                    </a:lnTo>
                    <a:lnTo>
                      <a:pt x="1230" y="390"/>
                    </a:lnTo>
                    <a:lnTo>
                      <a:pt x="1228" y="391"/>
                    </a:lnTo>
                    <a:lnTo>
                      <a:pt x="1228" y="393"/>
                    </a:lnTo>
                    <a:lnTo>
                      <a:pt x="1228" y="401"/>
                    </a:lnTo>
                    <a:lnTo>
                      <a:pt x="1226" y="407"/>
                    </a:lnTo>
                    <a:lnTo>
                      <a:pt x="1226" y="410"/>
                    </a:lnTo>
                    <a:lnTo>
                      <a:pt x="1224" y="410"/>
                    </a:lnTo>
                    <a:lnTo>
                      <a:pt x="1224" y="414"/>
                    </a:lnTo>
                    <a:lnTo>
                      <a:pt x="1224" y="420"/>
                    </a:lnTo>
                    <a:lnTo>
                      <a:pt x="1209" y="418"/>
                    </a:lnTo>
                    <a:lnTo>
                      <a:pt x="1209" y="427"/>
                    </a:lnTo>
                    <a:lnTo>
                      <a:pt x="1209" y="429"/>
                    </a:lnTo>
                    <a:lnTo>
                      <a:pt x="1204" y="429"/>
                    </a:lnTo>
                    <a:lnTo>
                      <a:pt x="1202" y="427"/>
                    </a:lnTo>
                    <a:lnTo>
                      <a:pt x="1200" y="427"/>
                    </a:lnTo>
                    <a:lnTo>
                      <a:pt x="1196" y="427"/>
                    </a:lnTo>
                    <a:lnTo>
                      <a:pt x="1194" y="427"/>
                    </a:lnTo>
                    <a:lnTo>
                      <a:pt x="1192" y="427"/>
                    </a:lnTo>
                    <a:lnTo>
                      <a:pt x="1194" y="442"/>
                    </a:lnTo>
                    <a:lnTo>
                      <a:pt x="1196" y="450"/>
                    </a:lnTo>
                    <a:lnTo>
                      <a:pt x="1196" y="452"/>
                    </a:lnTo>
                    <a:lnTo>
                      <a:pt x="1198" y="454"/>
                    </a:lnTo>
                    <a:lnTo>
                      <a:pt x="1198" y="457"/>
                    </a:lnTo>
                    <a:lnTo>
                      <a:pt x="1200" y="459"/>
                    </a:lnTo>
                    <a:lnTo>
                      <a:pt x="1200" y="463"/>
                    </a:lnTo>
                    <a:lnTo>
                      <a:pt x="1202" y="465"/>
                    </a:lnTo>
                    <a:lnTo>
                      <a:pt x="1198" y="469"/>
                    </a:lnTo>
                    <a:lnTo>
                      <a:pt x="1196" y="471"/>
                    </a:lnTo>
                    <a:lnTo>
                      <a:pt x="1194" y="472"/>
                    </a:lnTo>
                    <a:lnTo>
                      <a:pt x="1189" y="474"/>
                    </a:lnTo>
                    <a:lnTo>
                      <a:pt x="1187" y="474"/>
                    </a:lnTo>
                    <a:lnTo>
                      <a:pt x="1183" y="478"/>
                    </a:lnTo>
                    <a:lnTo>
                      <a:pt x="1177" y="482"/>
                    </a:lnTo>
                    <a:lnTo>
                      <a:pt x="1175" y="482"/>
                    </a:lnTo>
                    <a:lnTo>
                      <a:pt x="1170" y="489"/>
                    </a:lnTo>
                    <a:lnTo>
                      <a:pt x="1166" y="493"/>
                    </a:lnTo>
                    <a:lnTo>
                      <a:pt x="1172" y="506"/>
                    </a:lnTo>
                    <a:lnTo>
                      <a:pt x="1175" y="512"/>
                    </a:lnTo>
                    <a:lnTo>
                      <a:pt x="1175" y="514"/>
                    </a:lnTo>
                    <a:lnTo>
                      <a:pt x="1174" y="514"/>
                    </a:lnTo>
                    <a:lnTo>
                      <a:pt x="1174" y="516"/>
                    </a:lnTo>
                    <a:lnTo>
                      <a:pt x="1175" y="516"/>
                    </a:lnTo>
                    <a:lnTo>
                      <a:pt x="1175" y="525"/>
                    </a:lnTo>
                    <a:lnTo>
                      <a:pt x="1175" y="529"/>
                    </a:lnTo>
                    <a:lnTo>
                      <a:pt x="1172" y="533"/>
                    </a:lnTo>
                    <a:lnTo>
                      <a:pt x="1170" y="533"/>
                    </a:lnTo>
                    <a:lnTo>
                      <a:pt x="1168" y="533"/>
                    </a:lnTo>
                    <a:lnTo>
                      <a:pt x="1164" y="535"/>
                    </a:lnTo>
                    <a:lnTo>
                      <a:pt x="1166" y="535"/>
                    </a:lnTo>
                    <a:lnTo>
                      <a:pt x="1162" y="535"/>
                    </a:lnTo>
                    <a:lnTo>
                      <a:pt x="1157" y="535"/>
                    </a:lnTo>
                    <a:lnTo>
                      <a:pt x="1158" y="535"/>
                    </a:lnTo>
                    <a:lnTo>
                      <a:pt x="1160" y="542"/>
                    </a:lnTo>
                    <a:lnTo>
                      <a:pt x="1162" y="542"/>
                    </a:lnTo>
                    <a:lnTo>
                      <a:pt x="1164" y="546"/>
                    </a:lnTo>
                    <a:lnTo>
                      <a:pt x="1164" y="550"/>
                    </a:lnTo>
                    <a:lnTo>
                      <a:pt x="1175" y="548"/>
                    </a:lnTo>
                    <a:lnTo>
                      <a:pt x="1177" y="555"/>
                    </a:lnTo>
                    <a:lnTo>
                      <a:pt x="1177" y="557"/>
                    </a:lnTo>
                    <a:lnTo>
                      <a:pt x="1177" y="563"/>
                    </a:lnTo>
                    <a:lnTo>
                      <a:pt x="1179" y="567"/>
                    </a:lnTo>
                    <a:lnTo>
                      <a:pt x="1181" y="567"/>
                    </a:lnTo>
                    <a:lnTo>
                      <a:pt x="1183" y="567"/>
                    </a:lnTo>
                    <a:lnTo>
                      <a:pt x="1183" y="565"/>
                    </a:lnTo>
                    <a:lnTo>
                      <a:pt x="1183" y="567"/>
                    </a:lnTo>
                    <a:lnTo>
                      <a:pt x="1185" y="567"/>
                    </a:lnTo>
                    <a:lnTo>
                      <a:pt x="1185" y="565"/>
                    </a:lnTo>
                    <a:lnTo>
                      <a:pt x="1185" y="567"/>
                    </a:lnTo>
                    <a:lnTo>
                      <a:pt x="1185" y="565"/>
                    </a:lnTo>
                    <a:lnTo>
                      <a:pt x="1185" y="567"/>
                    </a:lnTo>
                    <a:lnTo>
                      <a:pt x="1187" y="567"/>
                    </a:lnTo>
                    <a:lnTo>
                      <a:pt x="1187" y="565"/>
                    </a:lnTo>
                    <a:lnTo>
                      <a:pt x="1187" y="567"/>
                    </a:lnTo>
                    <a:lnTo>
                      <a:pt x="1187" y="565"/>
                    </a:lnTo>
                    <a:lnTo>
                      <a:pt x="1189" y="565"/>
                    </a:lnTo>
                    <a:lnTo>
                      <a:pt x="1189" y="563"/>
                    </a:lnTo>
                    <a:lnTo>
                      <a:pt x="1189" y="565"/>
                    </a:lnTo>
                    <a:lnTo>
                      <a:pt x="1189" y="563"/>
                    </a:lnTo>
                    <a:lnTo>
                      <a:pt x="1190" y="563"/>
                    </a:lnTo>
                    <a:lnTo>
                      <a:pt x="1192" y="563"/>
                    </a:lnTo>
                    <a:lnTo>
                      <a:pt x="1194" y="563"/>
                    </a:lnTo>
                    <a:lnTo>
                      <a:pt x="1196" y="563"/>
                    </a:lnTo>
                    <a:lnTo>
                      <a:pt x="1206" y="561"/>
                    </a:lnTo>
                    <a:lnTo>
                      <a:pt x="1202" y="553"/>
                    </a:lnTo>
                    <a:lnTo>
                      <a:pt x="1204" y="550"/>
                    </a:lnTo>
                    <a:lnTo>
                      <a:pt x="1204" y="548"/>
                    </a:lnTo>
                    <a:lnTo>
                      <a:pt x="1211" y="550"/>
                    </a:lnTo>
                    <a:lnTo>
                      <a:pt x="1211" y="551"/>
                    </a:lnTo>
                    <a:lnTo>
                      <a:pt x="1213" y="553"/>
                    </a:lnTo>
                    <a:lnTo>
                      <a:pt x="1215" y="557"/>
                    </a:lnTo>
                    <a:lnTo>
                      <a:pt x="1213" y="559"/>
                    </a:lnTo>
                    <a:lnTo>
                      <a:pt x="1215" y="561"/>
                    </a:lnTo>
                    <a:lnTo>
                      <a:pt x="1219" y="565"/>
                    </a:lnTo>
                    <a:lnTo>
                      <a:pt x="1221" y="567"/>
                    </a:lnTo>
                    <a:lnTo>
                      <a:pt x="1222" y="567"/>
                    </a:lnTo>
                    <a:lnTo>
                      <a:pt x="1224" y="570"/>
                    </a:lnTo>
                    <a:lnTo>
                      <a:pt x="1226" y="570"/>
                    </a:lnTo>
                    <a:lnTo>
                      <a:pt x="1228" y="567"/>
                    </a:lnTo>
                    <a:lnTo>
                      <a:pt x="1234" y="565"/>
                    </a:lnTo>
                    <a:lnTo>
                      <a:pt x="1236" y="567"/>
                    </a:lnTo>
                    <a:lnTo>
                      <a:pt x="1243" y="568"/>
                    </a:lnTo>
                    <a:lnTo>
                      <a:pt x="1247" y="570"/>
                    </a:lnTo>
                    <a:lnTo>
                      <a:pt x="1262" y="570"/>
                    </a:lnTo>
                    <a:lnTo>
                      <a:pt x="1262" y="578"/>
                    </a:lnTo>
                    <a:lnTo>
                      <a:pt x="1262" y="580"/>
                    </a:lnTo>
                    <a:lnTo>
                      <a:pt x="1264" y="580"/>
                    </a:lnTo>
                    <a:lnTo>
                      <a:pt x="1264" y="589"/>
                    </a:lnTo>
                    <a:lnTo>
                      <a:pt x="1271" y="583"/>
                    </a:lnTo>
                    <a:lnTo>
                      <a:pt x="1271" y="589"/>
                    </a:lnTo>
                    <a:lnTo>
                      <a:pt x="1271" y="591"/>
                    </a:lnTo>
                    <a:lnTo>
                      <a:pt x="1268" y="593"/>
                    </a:lnTo>
                    <a:lnTo>
                      <a:pt x="1266" y="593"/>
                    </a:lnTo>
                    <a:lnTo>
                      <a:pt x="1266" y="595"/>
                    </a:lnTo>
                    <a:lnTo>
                      <a:pt x="1268" y="595"/>
                    </a:lnTo>
                    <a:lnTo>
                      <a:pt x="1268" y="597"/>
                    </a:lnTo>
                    <a:lnTo>
                      <a:pt x="1266" y="597"/>
                    </a:lnTo>
                    <a:lnTo>
                      <a:pt x="1266" y="599"/>
                    </a:lnTo>
                    <a:lnTo>
                      <a:pt x="1264" y="599"/>
                    </a:lnTo>
                    <a:lnTo>
                      <a:pt x="1262" y="599"/>
                    </a:lnTo>
                    <a:lnTo>
                      <a:pt x="1262" y="600"/>
                    </a:lnTo>
                    <a:lnTo>
                      <a:pt x="1264" y="600"/>
                    </a:lnTo>
                    <a:lnTo>
                      <a:pt x="1264" y="602"/>
                    </a:lnTo>
                    <a:lnTo>
                      <a:pt x="1266" y="604"/>
                    </a:lnTo>
                    <a:lnTo>
                      <a:pt x="1266" y="606"/>
                    </a:lnTo>
                    <a:lnTo>
                      <a:pt x="1266" y="608"/>
                    </a:lnTo>
                    <a:lnTo>
                      <a:pt x="1264" y="608"/>
                    </a:lnTo>
                    <a:lnTo>
                      <a:pt x="1262" y="608"/>
                    </a:lnTo>
                    <a:lnTo>
                      <a:pt x="1260" y="608"/>
                    </a:lnTo>
                    <a:lnTo>
                      <a:pt x="1260" y="606"/>
                    </a:lnTo>
                    <a:lnTo>
                      <a:pt x="1258" y="606"/>
                    </a:lnTo>
                    <a:lnTo>
                      <a:pt x="1256" y="608"/>
                    </a:lnTo>
                    <a:lnTo>
                      <a:pt x="1256" y="610"/>
                    </a:lnTo>
                    <a:lnTo>
                      <a:pt x="1254" y="610"/>
                    </a:lnTo>
                    <a:lnTo>
                      <a:pt x="1253" y="610"/>
                    </a:lnTo>
                    <a:lnTo>
                      <a:pt x="1251" y="608"/>
                    </a:lnTo>
                    <a:lnTo>
                      <a:pt x="1249" y="608"/>
                    </a:lnTo>
                    <a:lnTo>
                      <a:pt x="1249" y="610"/>
                    </a:lnTo>
                    <a:lnTo>
                      <a:pt x="1247" y="610"/>
                    </a:lnTo>
                    <a:lnTo>
                      <a:pt x="1247" y="612"/>
                    </a:lnTo>
                    <a:lnTo>
                      <a:pt x="1247" y="614"/>
                    </a:lnTo>
                    <a:lnTo>
                      <a:pt x="1249" y="614"/>
                    </a:lnTo>
                    <a:lnTo>
                      <a:pt x="1249" y="615"/>
                    </a:lnTo>
                    <a:lnTo>
                      <a:pt x="1249" y="617"/>
                    </a:lnTo>
                    <a:lnTo>
                      <a:pt x="1249" y="619"/>
                    </a:lnTo>
                    <a:lnTo>
                      <a:pt x="1247" y="621"/>
                    </a:lnTo>
                    <a:lnTo>
                      <a:pt x="1249" y="621"/>
                    </a:lnTo>
                    <a:lnTo>
                      <a:pt x="1249" y="623"/>
                    </a:lnTo>
                    <a:lnTo>
                      <a:pt x="1249" y="625"/>
                    </a:lnTo>
                    <a:lnTo>
                      <a:pt x="1247" y="625"/>
                    </a:lnTo>
                    <a:lnTo>
                      <a:pt x="1245" y="625"/>
                    </a:lnTo>
                    <a:lnTo>
                      <a:pt x="1245" y="627"/>
                    </a:lnTo>
                    <a:lnTo>
                      <a:pt x="1243" y="627"/>
                    </a:lnTo>
                    <a:lnTo>
                      <a:pt x="1241" y="629"/>
                    </a:lnTo>
                    <a:lnTo>
                      <a:pt x="1241" y="631"/>
                    </a:lnTo>
                    <a:lnTo>
                      <a:pt x="1239" y="631"/>
                    </a:lnTo>
                    <a:lnTo>
                      <a:pt x="1239" y="632"/>
                    </a:lnTo>
                    <a:lnTo>
                      <a:pt x="1239" y="634"/>
                    </a:lnTo>
                    <a:lnTo>
                      <a:pt x="1239" y="636"/>
                    </a:lnTo>
                    <a:lnTo>
                      <a:pt x="1239" y="638"/>
                    </a:lnTo>
                    <a:lnTo>
                      <a:pt x="1237" y="638"/>
                    </a:lnTo>
                    <a:lnTo>
                      <a:pt x="1236" y="640"/>
                    </a:lnTo>
                    <a:lnTo>
                      <a:pt x="1234" y="640"/>
                    </a:lnTo>
                    <a:lnTo>
                      <a:pt x="1232" y="640"/>
                    </a:lnTo>
                    <a:lnTo>
                      <a:pt x="1232" y="642"/>
                    </a:lnTo>
                    <a:lnTo>
                      <a:pt x="1230" y="642"/>
                    </a:lnTo>
                    <a:lnTo>
                      <a:pt x="1228" y="644"/>
                    </a:lnTo>
                    <a:lnTo>
                      <a:pt x="1228" y="646"/>
                    </a:lnTo>
                    <a:lnTo>
                      <a:pt x="1226" y="646"/>
                    </a:lnTo>
                    <a:lnTo>
                      <a:pt x="1226" y="647"/>
                    </a:lnTo>
                    <a:lnTo>
                      <a:pt x="1224" y="649"/>
                    </a:lnTo>
                    <a:lnTo>
                      <a:pt x="1222" y="649"/>
                    </a:lnTo>
                    <a:lnTo>
                      <a:pt x="1221" y="649"/>
                    </a:lnTo>
                    <a:lnTo>
                      <a:pt x="1219" y="649"/>
                    </a:lnTo>
                    <a:lnTo>
                      <a:pt x="1219" y="647"/>
                    </a:lnTo>
                    <a:lnTo>
                      <a:pt x="1217" y="647"/>
                    </a:lnTo>
                    <a:lnTo>
                      <a:pt x="1217" y="646"/>
                    </a:lnTo>
                    <a:lnTo>
                      <a:pt x="1217" y="644"/>
                    </a:lnTo>
                    <a:lnTo>
                      <a:pt x="1215" y="642"/>
                    </a:lnTo>
                    <a:lnTo>
                      <a:pt x="1215" y="644"/>
                    </a:lnTo>
                    <a:lnTo>
                      <a:pt x="1213" y="644"/>
                    </a:lnTo>
                    <a:lnTo>
                      <a:pt x="1211" y="644"/>
                    </a:lnTo>
                    <a:lnTo>
                      <a:pt x="1211" y="642"/>
                    </a:lnTo>
                    <a:lnTo>
                      <a:pt x="1211" y="640"/>
                    </a:lnTo>
                    <a:lnTo>
                      <a:pt x="1209" y="638"/>
                    </a:lnTo>
                    <a:lnTo>
                      <a:pt x="1207" y="638"/>
                    </a:lnTo>
                    <a:lnTo>
                      <a:pt x="1207" y="636"/>
                    </a:lnTo>
                    <a:lnTo>
                      <a:pt x="1206" y="636"/>
                    </a:lnTo>
                    <a:lnTo>
                      <a:pt x="1206" y="634"/>
                    </a:lnTo>
                    <a:lnTo>
                      <a:pt x="1204" y="634"/>
                    </a:lnTo>
                    <a:lnTo>
                      <a:pt x="1204" y="632"/>
                    </a:lnTo>
                    <a:lnTo>
                      <a:pt x="1204" y="631"/>
                    </a:lnTo>
                    <a:lnTo>
                      <a:pt x="1202" y="631"/>
                    </a:lnTo>
                    <a:lnTo>
                      <a:pt x="1202" y="629"/>
                    </a:lnTo>
                    <a:lnTo>
                      <a:pt x="1200" y="629"/>
                    </a:lnTo>
                    <a:lnTo>
                      <a:pt x="1198" y="629"/>
                    </a:lnTo>
                    <a:lnTo>
                      <a:pt x="1196" y="629"/>
                    </a:lnTo>
                    <a:lnTo>
                      <a:pt x="1194" y="629"/>
                    </a:lnTo>
                    <a:lnTo>
                      <a:pt x="1194" y="631"/>
                    </a:lnTo>
                    <a:lnTo>
                      <a:pt x="1194" y="632"/>
                    </a:lnTo>
                    <a:lnTo>
                      <a:pt x="1192" y="632"/>
                    </a:lnTo>
                    <a:lnTo>
                      <a:pt x="1192" y="634"/>
                    </a:lnTo>
                    <a:lnTo>
                      <a:pt x="1192" y="636"/>
                    </a:lnTo>
                    <a:lnTo>
                      <a:pt x="1190" y="636"/>
                    </a:lnTo>
                    <a:lnTo>
                      <a:pt x="1190" y="638"/>
                    </a:lnTo>
                    <a:lnTo>
                      <a:pt x="1189" y="638"/>
                    </a:lnTo>
                    <a:lnTo>
                      <a:pt x="1189" y="640"/>
                    </a:lnTo>
                    <a:lnTo>
                      <a:pt x="1187" y="640"/>
                    </a:lnTo>
                    <a:lnTo>
                      <a:pt x="1185" y="642"/>
                    </a:lnTo>
                    <a:lnTo>
                      <a:pt x="1185" y="644"/>
                    </a:lnTo>
                    <a:lnTo>
                      <a:pt x="1185" y="646"/>
                    </a:lnTo>
                    <a:lnTo>
                      <a:pt x="1183" y="646"/>
                    </a:lnTo>
                    <a:lnTo>
                      <a:pt x="1181" y="646"/>
                    </a:lnTo>
                    <a:lnTo>
                      <a:pt x="1181" y="647"/>
                    </a:lnTo>
                    <a:lnTo>
                      <a:pt x="1179" y="647"/>
                    </a:lnTo>
                    <a:lnTo>
                      <a:pt x="1177" y="649"/>
                    </a:lnTo>
                    <a:lnTo>
                      <a:pt x="1177" y="651"/>
                    </a:lnTo>
                    <a:lnTo>
                      <a:pt x="1175" y="653"/>
                    </a:lnTo>
                    <a:lnTo>
                      <a:pt x="1175" y="655"/>
                    </a:lnTo>
                    <a:lnTo>
                      <a:pt x="1174" y="655"/>
                    </a:lnTo>
                    <a:lnTo>
                      <a:pt x="1172" y="657"/>
                    </a:lnTo>
                    <a:lnTo>
                      <a:pt x="1172" y="659"/>
                    </a:lnTo>
                    <a:lnTo>
                      <a:pt x="1172" y="661"/>
                    </a:lnTo>
                    <a:lnTo>
                      <a:pt x="1172" y="663"/>
                    </a:lnTo>
                    <a:lnTo>
                      <a:pt x="1172" y="664"/>
                    </a:lnTo>
                    <a:lnTo>
                      <a:pt x="1170" y="664"/>
                    </a:lnTo>
                    <a:lnTo>
                      <a:pt x="1170" y="666"/>
                    </a:lnTo>
                    <a:lnTo>
                      <a:pt x="1168" y="664"/>
                    </a:lnTo>
                    <a:lnTo>
                      <a:pt x="1166" y="664"/>
                    </a:lnTo>
                    <a:lnTo>
                      <a:pt x="1164" y="664"/>
                    </a:lnTo>
                    <a:lnTo>
                      <a:pt x="1164" y="663"/>
                    </a:lnTo>
                    <a:lnTo>
                      <a:pt x="1162" y="663"/>
                    </a:lnTo>
                    <a:lnTo>
                      <a:pt x="1162" y="661"/>
                    </a:lnTo>
                    <a:lnTo>
                      <a:pt x="1162" y="659"/>
                    </a:lnTo>
                    <a:lnTo>
                      <a:pt x="1164" y="659"/>
                    </a:lnTo>
                    <a:lnTo>
                      <a:pt x="1164" y="657"/>
                    </a:lnTo>
                    <a:lnTo>
                      <a:pt x="1164" y="655"/>
                    </a:lnTo>
                    <a:lnTo>
                      <a:pt x="1164" y="653"/>
                    </a:lnTo>
                    <a:lnTo>
                      <a:pt x="1164" y="651"/>
                    </a:lnTo>
                    <a:lnTo>
                      <a:pt x="1164" y="649"/>
                    </a:lnTo>
                    <a:lnTo>
                      <a:pt x="1162" y="649"/>
                    </a:lnTo>
                    <a:lnTo>
                      <a:pt x="1160" y="649"/>
                    </a:lnTo>
                    <a:lnTo>
                      <a:pt x="1158" y="649"/>
                    </a:lnTo>
                    <a:lnTo>
                      <a:pt x="1158" y="651"/>
                    </a:lnTo>
                    <a:lnTo>
                      <a:pt x="1157" y="651"/>
                    </a:lnTo>
                    <a:lnTo>
                      <a:pt x="1157" y="653"/>
                    </a:lnTo>
                    <a:lnTo>
                      <a:pt x="1155" y="653"/>
                    </a:lnTo>
                    <a:lnTo>
                      <a:pt x="1155" y="655"/>
                    </a:lnTo>
                    <a:lnTo>
                      <a:pt x="1153" y="655"/>
                    </a:lnTo>
                    <a:lnTo>
                      <a:pt x="1153" y="653"/>
                    </a:lnTo>
                    <a:lnTo>
                      <a:pt x="1151" y="653"/>
                    </a:lnTo>
                    <a:lnTo>
                      <a:pt x="1149" y="651"/>
                    </a:lnTo>
                    <a:lnTo>
                      <a:pt x="1147" y="651"/>
                    </a:lnTo>
                    <a:lnTo>
                      <a:pt x="1147" y="649"/>
                    </a:lnTo>
                    <a:lnTo>
                      <a:pt x="1145" y="649"/>
                    </a:lnTo>
                    <a:lnTo>
                      <a:pt x="1143" y="649"/>
                    </a:lnTo>
                    <a:lnTo>
                      <a:pt x="1143" y="651"/>
                    </a:lnTo>
                    <a:lnTo>
                      <a:pt x="1142" y="651"/>
                    </a:lnTo>
                    <a:lnTo>
                      <a:pt x="1140" y="651"/>
                    </a:lnTo>
                    <a:lnTo>
                      <a:pt x="1140" y="653"/>
                    </a:lnTo>
                    <a:lnTo>
                      <a:pt x="1138" y="653"/>
                    </a:lnTo>
                    <a:lnTo>
                      <a:pt x="1136" y="653"/>
                    </a:lnTo>
                    <a:lnTo>
                      <a:pt x="1134" y="653"/>
                    </a:lnTo>
                    <a:lnTo>
                      <a:pt x="1132" y="653"/>
                    </a:lnTo>
                    <a:lnTo>
                      <a:pt x="1130" y="653"/>
                    </a:lnTo>
                    <a:lnTo>
                      <a:pt x="1128" y="653"/>
                    </a:lnTo>
                    <a:lnTo>
                      <a:pt x="1127" y="653"/>
                    </a:lnTo>
                    <a:lnTo>
                      <a:pt x="1125" y="653"/>
                    </a:lnTo>
                    <a:lnTo>
                      <a:pt x="1123" y="653"/>
                    </a:lnTo>
                    <a:lnTo>
                      <a:pt x="1123" y="651"/>
                    </a:lnTo>
                    <a:lnTo>
                      <a:pt x="1123" y="653"/>
                    </a:lnTo>
                    <a:lnTo>
                      <a:pt x="1123" y="651"/>
                    </a:lnTo>
                    <a:lnTo>
                      <a:pt x="1121" y="651"/>
                    </a:lnTo>
                    <a:lnTo>
                      <a:pt x="1119" y="651"/>
                    </a:lnTo>
                    <a:lnTo>
                      <a:pt x="1119" y="649"/>
                    </a:lnTo>
                    <a:lnTo>
                      <a:pt x="1117" y="649"/>
                    </a:lnTo>
                    <a:lnTo>
                      <a:pt x="1115" y="649"/>
                    </a:lnTo>
                    <a:lnTo>
                      <a:pt x="1115" y="647"/>
                    </a:lnTo>
                    <a:lnTo>
                      <a:pt x="1113" y="647"/>
                    </a:lnTo>
                    <a:lnTo>
                      <a:pt x="1111" y="646"/>
                    </a:lnTo>
                    <a:lnTo>
                      <a:pt x="1110" y="646"/>
                    </a:lnTo>
                    <a:lnTo>
                      <a:pt x="1110" y="644"/>
                    </a:lnTo>
                    <a:lnTo>
                      <a:pt x="1108" y="644"/>
                    </a:lnTo>
                    <a:lnTo>
                      <a:pt x="1106" y="644"/>
                    </a:lnTo>
                    <a:lnTo>
                      <a:pt x="1106" y="642"/>
                    </a:lnTo>
                    <a:lnTo>
                      <a:pt x="1104" y="642"/>
                    </a:lnTo>
                    <a:lnTo>
                      <a:pt x="1104" y="640"/>
                    </a:lnTo>
                    <a:lnTo>
                      <a:pt x="1104" y="638"/>
                    </a:lnTo>
                    <a:lnTo>
                      <a:pt x="1104" y="636"/>
                    </a:lnTo>
                    <a:lnTo>
                      <a:pt x="1104" y="634"/>
                    </a:lnTo>
                    <a:lnTo>
                      <a:pt x="1102" y="634"/>
                    </a:lnTo>
                    <a:lnTo>
                      <a:pt x="1100" y="636"/>
                    </a:lnTo>
                    <a:lnTo>
                      <a:pt x="1100" y="638"/>
                    </a:lnTo>
                    <a:lnTo>
                      <a:pt x="1098" y="638"/>
                    </a:lnTo>
                    <a:lnTo>
                      <a:pt x="1098" y="640"/>
                    </a:lnTo>
                    <a:lnTo>
                      <a:pt x="1098" y="642"/>
                    </a:lnTo>
                    <a:lnTo>
                      <a:pt x="1096" y="644"/>
                    </a:lnTo>
                    <a:lnTo>
                      <a:pt x="1096" y="646"/>
                    </a:lnTo>
                    <a:lnTo>
                      <a:pt x="1096" y="647"/>
                    </a:lnTo>
                    <a:lnTo>
                      <a:pt x="1098" y="649"/>
                    </a:lnTo>
                    <a:lnTo>
                      <a:pt x="1098" y="651"/>
                    </a:lnTo>
                    <a:lnTo>
                      <a:pt x="1098" y="653"/>
                    </a:lnTo>
                    <a:lnTo>
                      <a:pt x="1098" y="655"/>
                    </a:lnTo>
                    <a:lnTo>
                      <a:pt x="1098" y="657"/>
                    </a:lnTo>
                    <a:lnTo>
                      <a:pt x="1098" y="659"/>
                    </a:lnTo>
                    <a:lnTo>
                      <a:pt x="1098" y="661"/>
                    </a:lnTo>
                    <a:lnTo>
                      <a:pt x="1098" y="663"/>
                    </a:lnTo>
                    <a:lnTo>
                      <a:pt x="1096" y="663"/>
                    </a:lnTo>
                    <a:lnTo>
                      <a:pt x="1096" y="664"/>
                    </a:lnTo>
                    <a:lnTo>
                      <a:pt x="1096" y="663"/>
                    </a:lnTo>
                    <a:lnTo>
                      <a:pt x="1095" y="663"/>
                    </a:lnTo>
                    <a:lnTo>
                      <a:pt x="1095" y="661"/>
                    </a:lnTo>
                    <a:lnTo>
                      <a:pt x="1095" y="659"/>
                    </a:lnTo>
                    <a:lnTo>
                      <a:pt x="1095" y="657"/>
                    </a:lnTo>
                    <a:lnTo>
                      <a:pt x="1095" y="655"/>
                    </a:lnTo>
                    <a:lnTo>
                      <a:pt x="1093" y="655"/>
                    </a:lnTo>
                    <a:lnTo>
                      <a:pt x="1093" y="653"/>
                    </a:lnTo>
                    <a:lnTo>
                      <a:pt x="1091" y="653"/>
                    </a:lnTo>
                    <a:lnTo>
                      <a:pt x="1089" y="653"/>
                    </a:lnTo>
                    <a:lnTo>
                      <a:pt x="1087" y="653"/>
                    </a:lnTo>
                    <a:lnTo>
                      <a:pt x="1085" y="651"/>
                    </a:lnTo>
                    <a:lnTo>
                      <a:pt x="1085" y="649"/>
                    </a:lnTo>
                    <a:lnTo>
                      <a:pt x="1083" y="649"/>
                    </a:lnTo>
                    <a:lnTo>
                      <a:pt x="1083" y="647"/>
                    </a:lnTo>
                    <a:lnTo>
                      <a:pt x="1081" y="647"/>
                    </a:lnTo>
                    <a:lnTo>
                      <a:pt x="1081" y="649"/>
                    </a:lnTo>
                    <a:lnTo>
                      <a:pt x="1079" y="651"/>
                    </a:lnTo>
                    <a:lnTo>
                      <a:pt x="1079" y="653"/>
                    </a:lnTo>
                    <a:lnTo>
                      <a:pt x="1078" y="653"/>
                    </a:lnTo>
                    <a:lnTo>
                      <a:pt x="1078" y="655"/>
                    </a:lnTo>
                    <a:lnTo>
                      <a:pt x="1076" y="655"/>
                    </a:lnTo>
                    <a:lnTo>
                      <a:pt x="1074" y="657"/>
                    </a:lnTo>
                    <a:lnTo>
                      <a:pt x="1072" y="657"/>
                    </a:lnTo>
                    <a:lnTo>
                      <a:pt x="1070" y="657"/>
                    </a:lnTo>
                    <a:lnTo>
                      <a:pt x="1068" y="657"/>
                    </a:lnTo>
                    <a:lnTo>
                      <a:pt x="1068" y="655"/>
                    </a:lnTo>
                    <a:lnTo>
                      <a:pt x="1068" y="653"/>
                    </a:lnTo>
                    <a:lnTo>
                      <a:pt x="1068" y="651"/>
                    </a:lnTo>
                    <a:lnTo>
                      <a:pt x="1066" y="651"/>
                    </a:lnTo>
                    <a:lnTo>
                      <a:pt x="1066" y="653"/>
                    </a:lnTo>
                    <a:lnTo>
                      <a:pt x="1064" y="653"/>
                    </a:lnTo>
                    <a:lnTo>
                      <a:pt x="1064" y="655"/>
                    </a:lnTo>
                    <a:lnTo>
                      <a:pt x="1063" y="655"/>
                    </a:lnTo>
                    <a:lnTo>
                      <a:pt x="1061" y="655"/>
                    </a:lnTo>
                    <a:lnTo>
                      <a:pt x="1059" y="655"/>
                    </a:lnTo>
                    <a:lnTo>
                      <a:pt x="1059" y="657"/>
                    </a:lnTo>
                    <a:lnTo>
                      <a:pt x="1057" y="657"/>
                    </a:lnTo>
                    <a:lnTo>
                      <a:pt x="1057" y="659"/>
                    </a:lnTo>
                    <a:lnTo>
                      <a:pt x="1055" y="659"/>
                    </a:lnTo>
                    <a:lnTo>
                      <a:pt x="1055" y="661"/>
                    </a:lnTo>
                    <a:lnTo>
                      <a:pt x="1053" y="661"/>
                    </a:lnTo>
                    <a:lnTo>
                      <a:pt x="1051" y="661"/>
                    </a:lnTo>
                    <a:lnTo>
                      <a:pt x="1049" y="661"/>
                    </a:lnTo>
                    <a:lnTo>
                      <a:pt x="1049" y="663"/>
                    </a:lnTo>
                    <a:lnTo>
                      <a:pt x="1048" y="663"/>
                    </a:lnTo>
                    <a:lnTo>
                      <a:pt x="1046" y="663"/>
                    </a:lnTo>
                    <a:lnTo>
                      <a:pt x="1046" y="664"/>
                    </a:lnTo>
                    <a:lnTo>
                      <a:pt x="1044" y="664"/>
                    </a:lnTo>
                    <a:lnTo>
                      <a:pt x="1042" y="668"/>
                    </a:lnTo>
                    <a:lnTo>
                      <a:pt x="1042" y="670"/>
                    </a:lnTo>
                    <a:lnTo>
                      <a:pt x="1042" y="672"/>
                    </a:lnTo>
                    <a:lnTo>
                      <a:pt x="1040" y="672"/>
                    </a:lnTo>
                    <a:lnTo>
                      <a:pt x="1040" y="674"/>
                    </a:lnTo>
                    <a:lnTo>
                      <a:pt x="1040" y="676"/>
                    </a:lnTo>
                    <a:lnTo>
                      <a:pt x="1038" y="676"/>
                    </a:lnTo>
                    <a:lnTo>
                      <a:pt x="1036" y="676"/>
                    </a:lnTo>
                    <a:lnTo>
                      <a:pt x="1034" y="676"/>
                    </a:lnTo>
                    <a:lnTo>
                      <a:pt x="1034" y="674"/>
                    </a:lnTo>
                    <a:lnTo>
                      <a:pt x="1034" y="672"/>
                    </a:lnTo>
                    <a:lnTo>
                      <a:pt x="1034" y="670"/>
                    </a:lnTo>
                    <a:lnTo>
                      <a:pt x="1032" y="670"/>
                    </a:lnTo>
                    <a:lnTo>
                      <a:pt x="1031" y="670"/>
                    </a:lnTo>
                    <a:lnTo>
                      <a:pt x="1029" y="670"/>
                    </a:lnTo>
                    <a:lnTo>
                      <a:pt x="1027" y="672"/>
                    </a:lnTo>
                    <a:lnTo>
                      <a:pt x="1025" y="672"/>
                    </a:lnTo>
                    <a:lnTo>
                      <a:pt x="1023" y="672"/>
                    </a:lnTo>
                    <a:lnTo>
                      <a:pt x="1021" y="672"/>
                    </a:lnTo>
                    <a:lnTo>
                      <a:pt x="1019" y="672"/>
                    </a:lnTo>
                    <a:lnTo>
                      <a:pt x="1019" y="674"/>
                    </a:lnTo>
                    <a:lnTo>
                      <a:pt x="1019" y="676"/>
                    </a:lnTo>
                    <a:lnTo>
                      <a:pt x="1019" y="678"/>
                    </a:lnTo>
                    <a:lnTo>
                      <a:pt x="1019" y="679"/>
                    </a:lnTo>
                    <a:lnTo>
                      <a:pt x="1017" y="679"/>
                    </a:lnTo>
                    <a:lnTo>
                      <a:pt x="1016" y="679"/>
                    </a:lnTo>
                    <a:lnTo>
                      <a:pt x="1016" y="681"/>
                    </a:lnTo>
                    <a:lnTo>
                      <a:pt x="1014" y="681"/>
                    </a:lnTo>
                    <a:lnTo>
                      <a:pt x="1012" y="683"/>
                    </a:lnTo>
                    <a:lnTo>
                      <a:pt x="1012" y="685"/>
                    </a:lnTo>
                    <a:lnTo>
                      <a:pt x="1010" y="685"/>
                    </a:lnTo>
                    <a:lnTo>
                      <a:pt x="1010" y="687"/>
                    </a:lnTo>
                    <a:lnTo>
                      <a:pt x="1010" y="689"/>
                    </a:lnTo>
                    <a:lnTo>
                      <a:pt x="1012" y="689"/>
                    </a:lnTo>
                    <a:lnTo>
                      <a:pt x="1012" y="691"/>
                    </a:lnTo>
                    <a:lnTo>
                      <a:pt x="1014" y="691"/>
                    </a:lnTo>
                    <a:lnTo>
                      <a:pt x="1014" y="693"/>
                    </a:lnTo>
                    <a:lnTo>
                      <a:pt x="1014" y="695"/>
                    </a:lnTo>
                    <a:lnTo>
                      <a:pt x="1012" y="696"/>
                    </a:lnTo>
                    <a:lnTo>
                      <a:pt x="1012" y="698"/>
                    </a:lnTo>
                    <a:lnTo>
                      <a:pt x="1012" y="700"/>
                    </a:lnTo>
                    <a:lnTo>
                      <a:pt x="1012" y="702"/>
                    </a:lnTo>
                    <a:lnTo>
                      <a:pt x="1010" y="702"/>
                    </a:lnTo>
                    <a:lnTo>
                      <a:pt x="1008" y="702"/>
                    </a:lnTo>
                    <a:lnTo>
                      <a:pt x="1006" y="700"/>
                    </a:lnTo>
                    <a:lnTo>
                      <a:pt x="1002" y="700"/>
                    </a:lnTo>
                    <a:lnTo>
                      <a:pt x="1002" y="698"/>
                    </a:lnTo>
                    <a:lnTo>
                      <a:pt x="1000" y="698"/>
                    </a:lnTo>
                    <a:lnTo>
                      <a:pt x="1000" y="696"/>
                    </a:lnTo>
                    <a:lnTo>
                      <a:pt x="999" y="696"/>
                    </a:lnTo>
                    <a:lnTo>
                      <a:pt x="997" y="696"/>
                    </a:lnTo>
                    <a:lnTo>
                      <a:pt x="997" y="698"/>
                    </a:lnTo>
                    <a:lnTo>
                      <a:pt x="995" y="698"/>
                    </a:lnTo>
                    <a:lnTo>
                      <a:pt x="995" y="700"/>
                    </a:lnTo>
                    <a:lnTo>
                      <a:pt x="995" y="702"/>
                    </a:lnTo>
                    <a:lnTo>
                      <a:pt x="993" y="704"/>
                    </a:lnTo>
                    <a:lnTo>
                      <a:pt x="993" y="706"/>
                    </a:lnTo>
                    <a:lnTo>
                      <a:pt x="991" y="706"/>
                    </a:lnTo>
                    <a:lnTo>
                      <a:pt x="991" y="708"/>
                    </a:lnTo>
                    <a:lnTo>
                      <a:pt x="989" y="710"/>
                    </a:lnTo>
                    <a:lnTo>
                      <a:pt x="987" y="710"/>
                    </a:lnTo>
                    <a:lnTo>
                      <a:pt x="987" y="708"/>
                    </a:lnTo>
                    <a:lnTo>
                      <a:pt x="985" y="708"/>
                    </a:lnTo>
                    <a:lnTo>
                      <a:pt x="985" y="710"/>
                    </a:lnTo>
                    <a:lnTo>
                      <a:pt x="984" y="710"/>
                    </a:lnTo>
                    <a:lnTo>
                      <a:pt x="984" y="712"/>
                    </a:lnTo>
                    <a:lnTo>
                      <a:pt x="984" y="713"/>
                    </a:lnTo>
                    <a:lnTo>
                      <a:pt x="984" y="715"/>
                    </a:lnTo>
                    <a:lnTo>
                      <a:pt x="982" y="715"/>
                    </a:lnTo>
                    <a:lnTo>
                      <a:pt x="980" y="717"/>
                    </a:lnTo>
                    <a:lnTo>
                      <a:pt x="978" y="717"/>
                    </a:lnTo>
                    <a:lnTo>
                      <a:pt x="978" y="715"/>
                    </a:lnTo>
                    <a:lnTo>
                      <a:pt x="976" y="715"/>
                    </a:lnTo>
                    <a:lnTo>
                      <a:pt x="974" y="715"/>
                    </a:lnTo>
                    <a:lnTo>
                      <a:pt x="974" y="713"/>
                    </a:lnTo>
                    <a:lnTo>
                      <a:pt x="972" y="713"/>
                    </a:lnTo>
                    <a:lnTo>
                      <a:pt x="970" y="713"/>
                    </a:lnTo>
                    <a:lnTo>
                      <a:pt x="970" y="715"/>
                    </a:lnTo>
                    <a:lnTo>
                      <a:pt x="970" y="717"/>
                    </a:lnTo>
                    <a:lnTo>
                      <a:pt x="969" y="719"/>
                    </a:lnTo>
                    <a:lnTo>
                      <a:pt x="969" y="721"/>
                    </a:lnTo>
                    <a:lnTo>
                      <a:pt x="970" y="721"/>
                    </a:lnTo>
                    <a:lnTo>
                      <a:pt x="970" y="723"/>
                    </a:lnTo>
                    <a:lnTo>
                      <a:pt x="970" y="725"/>
                    </a:lnTo>
                    <a:lnTo>
                      <a:pt x="972" y="725"/>
                    </a:lnTo>
                    <a:lnTo>
                      <a:pt x="972" y="727"/>
                    </a:lnTo>
                    <a:lnTo>
                      <a:pt x="972" y="728"/>
                    </a:lnTo>
                    <a:lnTo>
                      <a:pt x="972" y="730"/>
                    </a:lnTo>
                    <a:lnTo>
                      <a:pt x="974" y="730"/>
                    </a:lnTo>
                    <a:lnTo>
                      <a:pt x="974" y="732"/>
                    </a:lnTo>
                    <a:lnTo>
                      <a:pt x="974" y="734"/>
                    </a:lnTo>
                    <a:lnTo>
                      <a:pt x="976" y="734"/>
                    </a:lnTo>
                    <a:lnTo>
                      <a:pt x="978" y="734"/>
                    </a:lnTo>
                    <a:lnTo>
                      <a:pt x="978" y="736"/>
                    </a:lnTo>
                    <a:lnTo>
                      <a:pt x="980" y="736"/>
                    </a:lnTo>
                    <a:lnTo>
                      <a:pt x="980" y="738"/>
                    </a:lnTo>
                    <a:lnTo>
                      <a:pt x="982" y="738"/>
                    </a:lnTo>
                    <a:lnTo>
                      <a:pt x="982" y="740"/>
                    </a:lnTo>
                    <a:lnTo>
                      <a:pt x="984" y="740"/>
                    </a:lnTo>
                    <a:lnTo>
                      <a:pt x="984" y="742"/>
                    </a:lnTo>
                    <a:lnTo>
                      <a:pt x="985" y="742"/>
                    </a:lnTo>
                    <a:lnTo>
                      <a:pt x="985" y="744"/>
                    </a:lnTo>
                    <a:lnTo>
                      <a:pt x="987" y="744"/>
                    </a:lnTo>
                    <a:lnTo>
                      <a:pt x="987" y="745"/>
                    </a:lnTo>
                    <a:lnTo>
                      <a:pt x="989" y="745"/>
                    </a:lnTo>
                    <a:lnTo>
                      <a:pt x="989" y="747"/>
                    </a:lnTo>
                    <a:lnTo>
                      <a:pt x="989" y="749"/>
                    </a:lnTo>
                    <a:lnTo>
                      <a:pt x="987" y="751"/>
                    </a:lnTo>
                    <a:lnTo>
                      <a:pt x="987" y="753"/>
                    </a:lnTo>
                    <a:lnTo>
                      <a:pt x="987" y="755"/>
                    </a:lnTo>
                    <a:lnTo>
                      <a:pt x="987" y="757"/>
                    </a:lnTo>
                    <a:lnTo>
                      <a:pt x="987" y="759"/>
                    </a:lnTo>
                    <a:lnTo>
                      <a:pt x="987" y="760"/>
                    </a:lnTo>
                    <a:lnTo>
                      <a:pt x="987" y="762"/>
                    </a:lnTo>
                    <a:lnTo>
                      <a:pt x="987" y="764"/>
                    </a:lnTo>
                    <a:lnTo>
                      <a:pt x="985" y="764"/>
                    </a:lnTo>
                    <a:lnTo>
                      <a:pt x="984" y="764"/>
                    </a:lnTo>
                    <a:lnTo>
                      <a:pt x="984" y="762"/>
                    </a:lnTo>
                    <a:lnTo>
                      <a:pt x="985" y="762"/>
                    </a:lnTo>
                    <a:lnTo>
                      <a:pt x="985" y="760"/>
                    </a:lnTo>
                    <a:lnTo>
                      <a:pt x="985" y="759"/>
                    </a:lnTo>
                    <a:lnTo>
                      <a:pt x="984" y="759"/>
                    </a:lnTo>
                    <a:lnTo>
                      <a:pt x="984" y="760"/>
                    </a:lnTo>
                    <a:lnTo>
                      <a:pt x="982" y="760"/>
                    </a:lnTo>
                    <a:lnTo>
                      <a:pt x="982" y="762"/>
                    </a:lnTo>
                    <a:lnTo>
                      <a:pt x="980" y="762"/>
                    </a:lnTo>
                    <a:lnTo>
                      <a:pt x="980" y="764"/>
                    </a:lnTo>
                    <a:lnTo>
                      <a:pt x="978" y="764"/>
                    </a:lnTo>
                    <a:lnTo>
                      <a:pt x="978" y="766"/>
                    </a:lnTo>
                    <a:lnTo>
                      <a:pt x="978" y="768"/>
                    </a:lnTo>
                    <a:lnTo>
                      <a:pt x="976" y="770"/>
                    </a:lnTo>
                    <a:lnTo>
                      <a:pt x="976" y="772"/>
                    </a:lnTo>
                    <a:lnTo>
                      <a:pt x="976" y="774"/>
                    </a:lnTo>
                    <a:lnTo>
                      <a:pt x="978" y="774"/>
                    </a:lnTo>
                    <a:lnTo>
                      <a:pt x="980" y="776"/>
                    </a:lnTo>
                    <a:lnTo>
                      <a:pt x="980" y="777"/>
                    </a:lnTo>
                    <a:lnTo>
                      <a:pt x="982" y="777"/>
                    </a:lnTo>
                    <a:lnTo>
                      <a:pt x="984" y="777"/>
                    </a:lnTo>
                    <a:lnTo>
                      <a:pt x="984" y="779"/>
                    </a:lnTo>
                    <a:lnTo>
                      <a:pt x="985" y="779"/>
                    </a:lnTo>
                    <a:lnTo>
                      <a:pt x="985" y="781"/>
                    </a:lnTo>
                    <a:lnTo>
                      <a:pt x="987" y="779"/>
                    </a:lnTo>
                    <a:lnTo>
                      <a:pt x="989" y="779"/>
                    </a:lnTo>
                    <a:lnTo>
                      <a:pt x="989" y="781"/>
                    </a:lnTo>
                    <a:lnTo>
                      <a:pt x="991" y="781"/>
                    </a:lnTo>
                    <a:lnTo>
                      <a:pt x="993" y="781"/>
                    </a:lnTo>
                    <a:lnTo>
                      <a:pt x="993" y="783"/>
                    </a:lnTo>
                    <a:lnTo>
                      <a:pt x="993" y="785"/>
                    </a:lnTo>
                    <a:lnTo>
                      <a:pt x="991" y="785"/>
                    </a:lnTo>
                    <a:lnTo>
                      <a:pt x="989" y="785"/>
                    </a:lnTo>
                    <a:lnTo>
                      <a:pt x="987" y="785"/>
                    </a:lnTo>
                    <a:lnTo>
                      <a:pt x="985" y="785"/>
                    </a:lnTo>
                    <a:lnTo>
                      <a:pt x="984" y="785"/>
                    </a:lnTo>
                    <a:lnTo>
                      <a:pt x="984" y="783"/>
                    </a:lnTo>
                    <a:lnTo>
                      <a:pt x="982" y="783"/>
                    </a:lnTo>
                    <a:lnTo>
                      <a:pt x="980" y="783"/>
                    </a:lnTo>
                    <a:lnTo>
                      <a:pt x="978" y="781"/>
                    </a:lnTo>
                    <a:lnTo>
                      <a:pt x="976" y="783"/>
                    </a:lnTo>
                    <a:lnTo>
                      <a:pt x="974" y="783"/>
                    </a:lnTo>
                    <a:lnTo>
                      <a:pt x="974" y="785"/>
                    </a:lnTo>
                    <a:lnTo>
                      <a:pt x="972" y="785"/>
                    </a:lnTo>
                    <a:lnTo>
                      <a:pt x="972" y="787"/>
                    </a:lnTo>
                    <a:lnTo>
                      <a:pt x="970" y="787"/>
                    </a:lnTo>
                    <a:lnTo>
                      <a:pt x="970" y="789"/>
                    </a:lnTo>
                    <a:lnTo>
                      <a:pt x="969" y="787"/>
                    </a:lnTo>
                    <a:lnTo>
                      <a:pt x="967" y="787"/>
                    </a:lnTo>
                    <a:lnTo>
                      <a:pt x="965" y="785"/>
                    </a:lnTo>
                    <a:lnTo>
                      <a:pt x="963" y="785"/>
                    </a:lnTo>
                    <a:lnTo>
                      <a:pt x="961" y="783"/>
                    </a:lnTo>
                    <a:lnTo>
                      <a:pt x="959" y="783"/>
                    </a:lnTo>
                    <a:lnTo>
                      <a:pt x="957" y="783"/>
                    </a:lnTo>
                    <a:lnTo>
                      <a:pt x="957" y="781"/>
                    </a:lnTo>
                    <a:lnTo>
                      <a:pt x="955" y="781"/>
                    </a:lnTo>
                    <a:lnTo>
                      <a:pt x="955" y="783"/>
                    </a:lnTo>
                    <a:lnTo>
                      <a:pt x="953" y="783"/>
                    </a:lnTo>
                    <a:lnTo>
                      <a:pt x="952" y="783"/>
                    </a:lnTo>
                    <a:lnTo>
                      <a:pt x="952" y="781"/>
                    </a:lnTo>
                    <a:lnTo>
                      <a:pt x="950" y="781"/>
                    </a:lnTo>
                    <a:lnTo>
                      <a:pt x="950" y="783"/>
                    </a:lnTo>
                    <a:lnTo>
                      <a:pt x="948" y="783"/>
                    </a:lnTo>
                    <a:lnTo>
                      <a:pt x="948" y="785"/>
                    </a:lnTo>
                    <a:lnTo>
                      <a:pt x="948" y="787"/>
                    </a:lnTo>
                    <a:lnTo>
                      <a:pt x="946" y="787"/>
                    </a:lnTo>
                    <a:lnTo>
                      <a:pt x="946" y="789"/>
                    </a:lnTo>
                    <a:lnTo>
                      <a:pt x="946" y="791"/>
                    </a:lnTo>
                    <a:lnTo>
                      <a:pt x="946" y="792"/>
                    </a:lnTo>
                    <a:lnTo>
                      <a:pt x="946" y="794"/>
                    </a:lnTo>
                    <a:lnTo>
                      <a:pt x="944" y="794"/>
                    </a:lnTo>
                    <a:lnTo>
                      <a:pt x="944" y="796"/>
                    </a:lnTo>
                    <a:lnTo>
                      <a:pt x="942" y="796"/>
                    </a:lnTo>
                    <a:lnTo>
                      <a:pt x="942" y="794"/>
                    </a:lnTo>
                    <a:lnTo>
                      <a:pt x="942" y="792"/>
                    </a:lnTo>
                    <a:lnTo>
                      <a:pt x="940" y="791"/>
                    </a:lnTo>
                    <a:lnTo>
                      <a:pt x="938" y="791"/>
                    </a:lnTo>
                    <a:lnTo>
                      <a:pt x="937" y="791"/>
                    </a:lnTo>
                    <a:lnTo>
                      <a:pt x="937" y="792"/>
                    </a:lnTo>
                    <a:lnTo>
                      <a:pt x="935" y="792"/>
                    </a:lnTo>
                    <a:lnTo>
                      <a:pt x="933" y="792"/>
                    </a:lnTo>
                    <a:lnTo>
                      <a:pt x="931" y="792"/>
                    </a:lnTo>
                    <a:lnTo>
                      <a:pt x="931" y="791"/>
                    </a:lnTo>
                    <a:lnTo>
                      <a:pt x="929" y="791"/>
                    </a:lnTo>
                    <a:lnTo>
                      <a:pt x="929" y="792"/>
                    </a:lnTo>
                    <a:lnTo>
                      <a:pt x="927" y="792"/>
                    </a:lnTo>
                    <a:lnTo>
                      <a:pt x="927" y="794"/>
                    </a:lnTo>
                    <a:lnTo>
                      <a:pt x="925" y="794"/>
                    </a:lnTo>
                    <a:lnTo>
                      <a:pt x="923" y="794"/>
                    </a:lnTo>
                    <a:lnTo>
                      <a:pt x="923" y="796"/>
                    </a:lnTo>
                    <a:lnTo>
                      <a:pt x="923" y="798"/>
                    </a:lnTo>
                    <a:lnTo>
                      <a:pt x="921" y="800"/>
                    </a:lnTo>
                    <a:lnTo>
                      <a:pt x="921" y="802"/>
                    </a:lnTo>
                    <a:lnTo>
                      <a:pt x="920" y="804"/>
                    </a:lnTo>
                    <a:lnTo>
                      <a:pt x="920" y="806"/>
                    </a:lnTo>
                    <a:lnTo>
                      <a:pt x="918" y="806"/>
                    </a:lnTo>
                    <a:lnTo>
                      <a:pt x="918" y="808"/>
                    </a:lnTo>
                    <a:lnTo>
                      <a:pt x="918" y="809"/>
                    </a:lnTo>
                    <a:lnTo>
                      <a:pt x="918" y="811"/>
                    </a:lnTo>
                    <a:lnTo>
                      <a:pt x="920" y="811"/>
                    </a:lnTo>
                    <a:lnTo>
                      <a:pt x="920" y="813"/>
                    </a:lnTo>
                    <a:lnTo>
                      <a:pt x="921" y="813"/>
                    </a:lnTo>
                    <a:lnTo>
                      <a:pt x="921" y="815"/>
                    </a:lnTo>
                    <a:lnTo>
                      <a:pt x="920" y="817"/>
                    </a:lnTo>
                    <a:lnTo>
                      <a:pt x="920" y="819"/>
                    </a:lnTo>
                    <a:lnTo>
                      <a:pt x="918" y="819"/>
                    </a:lnTo>
                    <a:lnTo>
                      <a:pt x="916" y="819"/>
                    </a:lnTo>
                    <a:lnTo>
                      <a:pt x="914" y="819"/>
                    </a:lnTo>
                    <a:lnTo>
                      <a:pt x="912" y="821"/>
                    </a:lnTo>
                    <a:lnTo>
                      <a:pt x="910" y="823"/>
                    </a:lnTo>
                    <a:lnTo>
                      <a:pt x="910" y="824"/>
                    </a:lnTo>
                    <a:lnTo>
                      <a:pt x="908" y="824"/>
                    </a:lnTo>
                    <a:lnTo>
                      <a:pt x="906" y="824"/>
                    </a:lnTo>
                    <a:lnTo>
                      <a:pt x="905" y="824"/>
                    </a:lnTo>
                    <a:lnTo>
                      <a:pt x="905" y="826"/>
                    </a:lnTo>
                    <a:lnTo>
                      <a:pt x="905" y="828"/>
                    </a:lnTo>
                    <a:lnTo>
                      <a:pt x="903" y="830"/>
                    </a:lnTo>
                    <a:lnTo>
                      <a:pt x="903" y="832"/>
                    </a:lnTo>
                    <a:lnTo>
                      <a:pt x="901" y="832"/>
                    </a:lnTo>
                    <a:lnTo>
                      <a:pt x="901" y="834"/>
                    </a:lnTo>
                    <a:lnTo>
                      <a:pt x="899" y="834"/>
                    </a:lnTo>
                    <a:lnTo>
                      <a:pt x="899" y="832"/>
                    </a:lnTo>
                    <a:lnTo>
                      <a:pt x="897" y="832"/>
                    </a:lnTo>
                    <a:lnTo>
                      <a:pt x="895" y="832"/>
                    </a:lnTo>
                    <a:lnTo>
                      <a:pt x="893" y="834"/>
                    </a:lnTo>
                    <a:lnTo>
                      <a:pt x="893" y="836"/>
                    </a:lnTo>
                    <a:lnTo>
                      <a:pt x="893" y="838"/>
                    </a:lnTo>
                    <a:lnTo>
                      <a:pt x="893" y="840"/>
                    </a:lnTo>
                    <a:lnTo>
                      <a:pt x="891" y="841"/>
                    </a:lnTo>
                    <a:lnTo>
                      <a:pt x="890" y="841"/>
                    </a:lnTo>
                    <a:lnTo>
                      <a:pt x="890" y="843"/>
                    </a:lnTo>
                    <a:lnTo>
                      <a:pt x="888" y="843"/>
                    </a:lnTo>
                    <a:lnTo>
                      <a:pt x="886" y="841"/>
                    </a:lnTo>
                    <a:lnTo>
                      <a:pt x="884" y="841"/>
                    </a:lnTo>
                    <a:lnTo>
                      <a:pt x="884" y="843"/>
                    </a:lnTo>
                    <a:lnTo>
                      <a:pt x="882" y="845"/>
                    </a:lnTo>
                    <a:lnTo>
                      <a:pt x="882" y="847"/>
                    </a:lnTo>
                    <a:lnTo>
                      <a:pt x="882" y="849"/>
                    </a:lnTo>
                    <a:lnTo>
                      <a:pt x="880" y="849"/>
                    </a:lnTo>
                    <a:lnTo>
                      <a:pt x="880" y="851"/>
                    </a:lnTo>
                    <a:lnTo>
                      <a:pt x="882" y="851"/>
                    </a:lnTo>
                    <a:lnTo>
                      <a:pt x="882" y="853"/>
                    </a:lnTo>
                    <a:lnTo>
                      <a:pt x="884" y="856"/>
                    </a:lnTo>
                    <a:lnTo>
                      <a:pt x="884" y="858"/>
                    </a:lnTo>
                    <a:lnTo>
                      <a:pt x="882" y="858"/>
                    </a:lnTo>
                    <a:lnTo>
                      <a:pt x="880" y="860"/>
                    </a:lnTo>
                    <a:lnTo>
                      <a:pt x="878" y="860"/>
                    </a:lnTo>
                    <a:lnTo>
                      <a:pt x="876" y="862"/>
                    </a:lnTo>
                    <a:lnTo>
                      <a:pt x="876" y="864"/>
                    </a:lnTo>
                    <a:lnTo>
                      <a:pt x="878" y="866"/>
                    </a:lnTo>
                    <a:lnTo>
                      <a:pt x="878" y="868"/>
                    </a:lnTo>
                    <a:lnTo>
                      <a:pt x="880" y="868"/>
                    </a:lnTo>
                    <a:lnTo>
                      <a:pt x="882" y="868"/>
                    </a:lnTo>
                    <a:lnTo>
                      <a:pt x="884" y="868"/>
                    </a:lnTo>
                    <a:lnTo>
                      <a:pt x="886" y="868"/>
                    </a:lnTo>
                    <a:lnTo>
                      <a:pt x="886" y="870"/>
                    </a:lnTo>
                    <a:lnTo>
                      <a:pt x="886" y="872"/>
                    </a:lnTo>
                    <a:lnTo>
                      <a:pt x="884" y="873"/>
                    </a:lnTo>
                    <a:lnTo>
                      <a:pt x="882" y="875"/>
                    </a:lnTo>
                    <a:lnTo>
                      <a:pt x="880" y="877"/>
                    </a:lnTo>
                    <a:lnTo>
                      <a:pt x="878" y="877"/>
                    </a:lnTo>
                    <a:lnTo>
                      <a:pt x="878" y="879"/>
                    </a:lnTo>
                    <a:lnTo>
                      <a:pt x="876" y="879"/>
                    </a:lnTo>
                    <a:lnTo>
                      <a:pt x="874" y="879"/>
                    </a:lnTo>
                    <a:lnTo>
                      <a:pt x="874" y="881"/>
                    </a:lnTo>
                    <a:lnTo>
                      <a:pt x="873" y="881"/>
                    </a:lnTo>
                    <a:lnTo>
                      <a:pt x="873" y="883"/>
                    </a:lnTo>
                    <a:lnTo>
                      <a:pt x="871" y="883"/>
                    </a:lnTo>
                    <a:lnTo>
                      <a:pt x="869" y="883"/>
                    </a:lnTo>
                    <a:lnTo>
                      <a:pt x="867" y="883"/>
                    </a:lnTo>
                    <a:lnTo>
                      <a:pt x="867" y="881"/>
                    </a:lnTo>
                    <a:lnTo>
                      <a:pt x="865" y="879"/>
                    </a:lnTo>
                    <a:lnTo>
                      <a:pt x="863" y="877"/>
                    </a:lnTo>
                    <a:lnTo>
                      <a:pt x="863" y="875"/>
                    </a:lnTo>
                    <a:lnTo>
                      <a:pt x="863" y="873"/>
                    </a:lnTo>
                    <a:lnTo>
                      <a:pt x="863" y="872"/>
                    </a:lnTo>
                    <a:lnTo>
                      <a:pt x="865" y="870"/>
                    </a:lnTo>
                    <a:lnTo>
                      <a:pt x="865" y="868"/>
                    </a:lnTo>
                    <a:lnTo>
                      <a:pt x="863" y="866"/>
                    </a:lnTo>
                    <a:lnTo>
                      <a:pt x="863" y="864"/>
                    </a:lnTo>
                    <a:lnTo>
                      <a:pt x="863" y="862"/>
                    </a:lnTo>
                    <a:lnTo>
                      <a:pt x="863" y="860"/>
                    </a:lnTo>
                    <a:lnTo>
                      <a:pt x="863" y="858"/>
                    </a:lnTo>
                    <a:lnTo>
                      <a:pt x="861" y="858"/>
                    </a:lnTo>
                    <a:lnTo>
                      <a:pt x="861" y="856"/>
                    </a:lnTo>
                    <a:lnTo>
                      <a:pt x="859" y="856"/>
                    </a:lnTo>
                    <a:lnTo>
                      <a:pt x="859" y="855"/>
                    </a:lnTo>
                    <a:lnTo>
                      <a:pt x="858" y="855"/>
                    </a:lnTo>
                    <a:lnTo>
                      <a:pt x="858" y="853"/>
                    </a:lnTo>
                    <a:lnTo>
                      <a:pt x="858" y="851"/>
                    </a:lnTo>
                    <a:lnTo>
                      <a:pt x="854" y="851"/>
                    </a:lnTo>
                    <a:lnTo>
                      <a:pt x="852" y="851"/>
                    </a:lnTo>
                    <a:lnTo>
                      <a:pt x="852" y="853"/>
                    </a:lnTo>
                    <a:lnTo>
                      <a:pt x="850" y="853"/>
                    </a:lnTo>
                    <a:lnTo>
                      <a:pt x="848" y="853"/>
                    </a:lnTo>
                    <a:lnTo>
                      <a:pt x="848" y="851"/>
                    </a:lnTo>
                    <a:lnTo>
                      <a:pt x="846" y="849"/>
                    </a:lnTo>
                    <a:lnTo>
                      <a:pt x="846" y="847"/>
                    </a:lnTo>
                    <a:lnTo>
                      <a:pt x="844" y="845"/>
                    </a:lnTo>
                    <a:lnTo>
                      <a:pt x="842" y="845"/>
                    </a:lnTo>
                    <a:lnTo>
                      <a:pt x="841" y="845"/>
                    </a:lnTo>
                    <a:lnTo>
                      <a:pt x="839" y="845"/>
                    </a:lnTo>
                    <a:lnTo>
                      <a:pt x="839" y="847"/>
                    </a:lnTo>
                    <a:lnTo>
                      <a:pt x="837" y="847"/>
                    </a:lnTo>
                    <a:lnTo>
                      <a:pt x="835" y="847"/>
                    </a:lnTo>
                    <a:lnTo>
                      <a:pt x="835" y="849"/>
                    </a:lnTo>
                    <a:lnTo>
                      <a:pt x="835" y="851"/>
                    </a:lnTo>
                    <a:lnTo>
                      <a:pt x="833" y="851"/>
                    </a:lnTo>
                    <a:lnTo>
                      <a:pt x="831" y="851"/>
                    </a:lnTo>
                    <a:lnTo>
                      <a:pt x="829" y="853"/>
                    </a:lnTo>
                    <a:lnTo>
                      <a:pt x="829" y="851"/>
                    </a:lnTo>
                    <a:lnTo>
                      <a:pt x="827" y="851"/>
                    </a:lnTo>
                    <a:lnTo>
                      <a:pt x="826" y="851"/>
                    </a:lnTo>
                    <a:lnTo>
                      <a:pt x="824" y="849"/>
                    </a:lnTo>
                    <a:lnTo>
                      <a:pt x="822" y="847"/>
                    </a:lnTo>
                    <a:lnTo>
                      <a:pt x="822" y="845"/>
                    </a:lnTo>
                    <a:lnTo>
                      <a:pt x="822" y="843"/>
                    </a:lnTo>
                    <a:lnTo>
                      <a:pt x="822" y="841"/>
                    </a:lnTo>
                    <a:lnTo>
                      <a:pt x="822" y="840"/>
                    </a:lnTo>
                    <a:lnTo>
                      <a:pt x="820" y="838"/>
                    </a:lnTo>
                    <a:lnTo>
                      <a:pt x="820" y="836"/>
                    </a:lnTo>
                    <a:lnTo>
                      <a:pt x="820" y="834"/>
                    </a:lnTo>
                    <a:lnTo>
                      <a:pt x="818" y="834"/>
                    </a:lnTo>
                    <a:lnTo>
                      <a:pt x="816" y="834"/>
                    </a:lnTo>
                    <a:lnTo>
                      <a:pt x="816" y="836"/>
                    </a:lnTo>
                    <a:lnTo>
                      <a:pt x="814" y="836"/>
                    </a:lnTo>
                    <a:lnTo>
                      <a:pt x="812" y="838"/>
                    </a:lnTo>
                    <a:lnTo>
                      <a:pt x="812" y="840"/>
                    </a:lnTo>
                    <a:lnTo>
                      <a:pt x="811" y="840"/>
                    </a:lnTo>
                    <a:lnTo>
                      <a:pt x="809" y="840"/>
                    </a:lnTo>
                    <a:lnTo>
                      <a:pt x="807" y="840"/>
                    </a:lnTo>
                    <a:lnTo>
                      <a:pt x="805" y="840"/>
                    </a:lnTo>
                    <a:lnTo>
                      <a:pt x="803" y="841"/>
                    </a:lnTo>
                    <a:lnTo>
                      <a:pt x="801" y="841"/>
                    </a:lnTo>
                    <a:lnTo>
                      <a:pt x="801" y="843"/>
                    </a:lnTo>
                    <a:lnTo>
                      <a:pt x="799" y="843"/>
                    </a:lnTo>
                    <a:lnTo>
                      <a:pt x="797" y="843"/>
                    </a:lnTo>
                    <a:lnTo>
                      <a:pt x="797" y="845"/>
                    </a:lnTo>
                    <a:lnTo>
                      <a:pt x="795" y="845"/>
                    </a:lnTo>
                    <a:lnTo>
                      <a:pt x="795" y="847"/>
                    </a:lnTo>
                    <a:lnTo>
                      <a:pt x="794" y="847"/>
                    </a:lnTo>
                    <a:lnTo>
                      <a:pt x="792" y="847"/>
                    </a:lnTo>
                    <a:lnTo>
                      <a:pt x="790" y="849"/>
                    </a:lnTo>
                    <a:lnTo>
                      <a:pt x="788" y="851"/>
                    </a:lnTo>
                    <a:lnTo>
                      <a:pt x="786" y="851"/>
                    </a:lnTo>
                    <a:lnTo>
                      <a:pt x="784" y="851"/>
                    </a:lnTo>
                    <a:lnTo>
                      <a:pt x="782" y="851"/>
                    </a:lnTo>
                    <a:lnTo>
                      <a:pt x="780" y="851"/>
                    </a:lnTo>
                    <a:lnTo>
                      <a:pt x="780" y="853"/>
                    </a:lnTo>
                    <a:lnTo>
                      <a:pt x="779" y="853"/>
                    </a:lnTo>
                    <a:lnTo>
                      <a:pt x="779" y="855"/>
                    </a:lnTo>
                    <a:lnTo>
                      <a:pt x="780" y="855"/>
                    </a:lnTo>
                    <a:lnTo>
                      <a:pt x="780" y="856"/>
                    </a:lnTo>
                    <a:lnTo>
                      <a:pt x="780" y="858"/>
                    </a:lnTo>
                    <a:lnTo>
                      <a:pt x="779" y="860"/>
                    </a:lnTo>
                    <a:lnTo>
                      <a:pt x="779" y="862"/>
                    </a:lnTo>
                    <a:lnTo>
                      <a:pt x="780" y="864"/>
                    </a:lnTo>
                    <a:lnTo>
                      <a:pt x="780" y="866"/>
                    </a:lnTo>
                    <a:lnTo>
                      <a:pt x="779" y="868"/>
                    </a:lnTo>
                    <a:lnTo>
                      <a:pt x="779" y="870"/>
                    </a:lnTo>
                    <a:lnTo>
                      <a:pt x="777" y="870"/>
                    </a:lnTo>
                    <a:lnTo>
                      <a:pt x="777" y="872"/>
                    </a:lnTo>
                    <a:lnTo>
                      <a:pt x="775" y="872"/>
                    </a:lnTo>
                    <a:lnTo>
                      <a:pt x="773" y="872"/>
                    </a:lnTo>
                    <a:lnTo>
                      <a:pt x="773" y="870"/>
                    </a:lnTo>
                    <a:lnTo>
                      <a:pt x="771" y="870"/>
                    </a:lnTo>
                    <a:lnTo>
                      <a:pt x="771" y="868"/>
                    </a:lnTo>
                    <a:lnTo>
                      <a:pt x="769" y="868"/>
                    </a:lnTo>
                    <a:lnTo>
                      <a:pt x="769" y="866"/>
                    </a:lnTo>
                    <a:lnTo>
                      <a:pt x="767" y="866"/>
                    </a:lnTo>
                    <a:lnTo>
                      <a:pt x="767" y="864"/>
                    </a:lnTo>
                    <a:lnTo>
                      <a:pt x="765" y="864"/>
                    </a:lnTo>
                    <a:lnTo>
                      <a:pt x="763" y="864"/>
                    </a:lnTo>
                    <a:lnTo>
                      <a:pt x="763" y="862"/>
                    </a:lnTo>
                    <a:lnTo>
                      <a:pt x="762" y="862"/>
                    </a:lnTo>
                    <a:lnTo>
                      <a:pt x="762" y="860"/>
                    </a:lnTo>
                    <a:lnTo>
                      <a:pt x="760" y="860"/>
                    </a:lnTo>
                    <a:lnTo>
                      <a:pt x="758" y="860"/>
                    </a:lnTo>
                    <a:lnTo>
                      <a:pt x="756" y="860"/>
                    </a:lnTo>
                    <a:lnTo>
                      <a:pt x="756" y="862"/>
                    </a:lnTo>
                    <a:lnTo>
                      <a:pt x="754" y="862"/>
                    </a:lnTo>
                    <a:lnTo>
                      <a:pt x="754" y="864"/>
                    </a:lnTo>
                    <a:lnTo>
                      <a:pt x="754" y="866"/>
                    </a:lnTo>
                    <a:lnTo>
                      <a:pt x="752" y="866"/>
                    </a:lnTo>
                    <a:lnTo>
                      <a:pt x="752" y="868"/>
                    </a:lnTo>
                    <a:lnTo>
                      <a:pt x="750" y="868"/>
                    </a:lnTo>
                    <a:lnTo>
                      <a:pt x="748" y="868"/>
                    </a:lnTo>
                    <a:lnTo>
                      <a:pt x="748" y="870"/>
                    </a:lnTo>
                    <a:lnTo>
                      <a:pt x="747" y="870"/>
                    </a:lnTo>
                    <a:lnTo>
                      <a:pt x="745" y="870"/>
                    </a:lnTo>
                    <a:lnTo>
                      <a:pt x="743" y="870"/>
                    </a:lnTo>
                    <a:lnTo>
                      <a:pt x="741" y="870"/>
                    </a:lnTo>
                    <a:lnTo>
                      <a:pt x="739" y="872"/>
                    </a:lnTo>
                    <a:lnTo>
                      <a:pt x="737" y="872"/>
                    </a:lnTo>
                    <a:lnTo>
                      <a:pt x="735" y="872"/>
                    </a:lnTo>
                    <a:lnTo>
                      <a:pt x="733" y="872"/>
                    </a:lnTo>
                    <a:lnTo>
                      <a:pt x="732" y="870"/>
                    </a:lnTo>
                    <a:lnTo>
                      <a:pt x="730" y="870"/>
                    </a:lnTo>
                    <a:lnTo>
                      <a:pt x="728" y="872"/>
                    </a:lnTo>
                    <a:lnTo>
                      <a:pt x="728" y="873"/>
                    </a:lnTo>
                    <a:lnTo>
                      <a:pt x="728" y="875"/>
                    </a:lnTo>
                    <a:lnTo>
                      <a:pt x="726" y="875"/>
                    </a:lnTo>
                    <a:lnTo>
                      <a:pt x="724" y="875"/>
                    </a:lnTo>
                    <a:lnTo>
                      <a:pt x="722" y="875"/>
                    </a:lnTo>
                    <a:lnTo>
                      <a:pt x="722" y="877"/>
                    </a:lnTo>
                    <a:lnTo>
                      <a:pt x="720" y="877"/>
                    </a:lnTo>
                    <a:lnTo>
                      <a:pt x="718" y="877"/>
                    </a:lnTo>
                    <a:lnTo>
                      <a:pt x="716" y="877"/>
                    </a:lnTo>
                    <a:lnTo>
                      <a:pt x="715" y="877"/>
                    </a:lnTo>
                    <a:lnTo>
                      <a:pt x="713" y="879"/>
                    </a:lnTo>
                    <a:lnTo>
                      <a:pt x="711" y="879"/>
                    </a:lnTo>
                    <a:lnTo>
                      <a:pt x="709" y="879"/>
                    </a:lnTo>
                    <a:lnTo>
                      <a:pt x="709" y="881"/>
                    </a:lnTo>
                    <a:lnTo>
                      <a:pt x="707" y="881"/>
                    </a:lnTo>
                    <a:lnTo>
                      <a:pt x="705" y="883"/>
                    </a:lnTo>
                    <a:lnTo>
                      <a:pt x="703" y="885"/>
                    </a:lnTo>
                    <a:lnTo>
                      <a:pt x="701" y="887"/>
                    </a:lnTo>
                    <a:lnTo>
                      <a:pt x="700" y="887"/>
                    </a:lnTo>
                    <a:lnTo>
                      <a:pt x="700" y="888"/>
                    </a:lnTo>
                    <a:lnTo>
                      <a:pt x="698" y="888"/>
                    </a:lnTo>
                    <a:lnTo>
                      <a:pt x="698" y="890"/>
                    </a:lnTo>
                    <a:lnTo>
                      <a:pt x="696" y="892"/>
                    </a:lnTo>
                    <a:lnTo>
                      <a:pt x="696" y="894"/>
                    </a:lnTo>
                    <a:lnTo>
                      <a:pt x="696" y="896"/>
                    </a:lnTo>
                    <a:lnTo>
                      <a:pt x="694" y="896"/>
                    </a:lnTo>
                    <a:lnTo>
                      <a:pt x="694" y="898"/>
                    </a:lnTo>
                    <a:lnTo>
                      <a:pt x="694" y="900"/>
                    </a:lnTo>
                    <a:lnTo>
                      <a:pt x="692" y="900"/>
                    </a:lnTo>
                    <a:lnTo>
                      <a:pt x="692" y="898"/>
                    </a:lnTo>
                    <a:lnTo>
                      <a:pt x="690" y="900"/>
                    </a:lnTo>
                    <a:lnTo>
                      <a:pt x="688" y="900"/>
                    </a:lnTo>
                    <a:lnTo>
                      <a:pt x="686" y="900"/>
                    </a:lnTo>
                    <a:lnTo>
                      <a:pt x="684" y="900"/>
                    </a:lnTo>
                    <a:lnTo>
                      <a:pt x="683" y="900"/>
                    </a:lnTo>
                    <a:lnTo>
                      <a:pt x="681" y="900"/>
                    </a:lnTo>
                    <a:lnTo>
                      <a:pt x="679" y="900"/>
                    </a:lnTo>
                    <a:lnTo>
                      <a:pt x="677" y="900"/>
                    </a:lnTo>
                    <a:lnTo>
                      <a:pt x="677" y="902"/>
                    </a:lnTo>
                    <a:lnTo>
                      <a:pt x="675" y="902"/>
                    </a:lnTo>
                    <a:lnTo>
                      <a:pt x="675" y="904"/>
                    </a:lnTo>
                    <a:lnTo>
                      <a:pt x="673" y="905"/>
                    </a:lnTo>
                    <a:lnTo>
                      <a:pt x="673" y="907"/>
                    </a:lnTo>
                    <a:lnTo>
                      <a:pt x="671" y="909"/>
                    </a:lnTo>
                    <a:lnTo>
                      <a:pt x="669" y="909"/>
                    </a:lnTo>
                    <a:lnTo>
                      <a:pt x="668" y="911"/>
                    </a:lnTo>
                    <a:lnTo>
                      <a:pt x="668" y="913"/>
                    </a:lnTo>
                    <a:lnTo>
                      <a:pt x="668" y="915"/>
                    </a:lnTo>
                    <a:lnTo>
                      <a:pt x="669" y="915"/>
                    </a:lnTo>
                    <a:lnTo>
                      <a:pt x="669" y="917"/>
                    </a:lnTo>
                    <a:lnTo>
                      <a:pt x="671" y="917"/>
                    </a:lnTo>
                    <a:lnTo>
                      <a:pt x="671" y="919"/>
                    </a:lnTo>
                    <a:lnTo>
                      <a:pt x="671" y="920"/>
                    </a:lnTo>
                    <a:lnTo>
                      <a:pt x="669" y="920"/>
                    </a:lnTo>
                    <a:lnTo>
                      <a:pt x="668" y="922"/>
                    </a:lnTo>
                    <a:lnTo>
                      <a:pt x="666" y="922"/>
                    </a:lnTo>
                    <a:lnTo>
                      <a:pt x="666" y="924"/>
                    </a:lnTo>
                    <a:lnTo>
                      <a:pt x="664" y="924"/>
                    </a:lnTo>
                    <a:lnTo>
                      <a:pt x="662" y="924"/>
                    </a:lnTo>
                    <a:lnTo>
                      <a:pt x="660" y="926"/>
                    </a:lnTo>
                    <a:lnTo>
                      <a:pt x="658" y="926"/>
                    </a:lnTo>
                    <a:lnTo>
                      <a:pt x="656" y="928"/>
                    </a:lnTo>
                    <a:lnTo>
                      <a:pt x="654" y="930"/>
                    </a:lnTo>
                    <a:lnTo>
                      <a:pt x="654" y="932"/>
                    </a:lnTo>
                    <a:lnTo>
                      <a:pt x="654" y="934"/>
                    </a:lnTo>
                    <a:lnTo>
                      <a:pt x="653" y="934"/>
                    </a:lnTo>
                    <a:lnTo>
                      <a:pt x="651" y="936"/>
                    </a:lnTo>
                    <a:lnTo>
                      <a:pt x="649" y="936"/>
                    </a:lnTo>
                    <a:lnTo>
                      <a:pt x="649" y="937"/>
                    </a:lnTo>
                    <a:lnTo>
                      <a:pt x="647" y="937"/>
                    </a:lnTo>
                    <a:lnTo>
                      <a:pt x="647" y="939"/>
                    </a:lnTo>
                    <a:lnTo>
                      <a:pt x="645" y="939"/>
                    </a:lnTo>
                    <a:lnTo>
                      <a:pt x="643" y="937"/>
                    </a:lnTo>
                    <a:lnTo>
                      <a:pt x="641" y="937"/>
                    </a:lnTo>
                    <a:lnTo>
                      <a:pt x="639" y="937"/>
                    </a:lnTo>
                    <a:lnTo>
                      <a:pt x="639" y="939"/>
                    </a:lnTo>
                    <a:lnTo>
                      <a:pt x="639" y="941"/>
                    </a:lnTo>
                    <a:lnTo>
                      <a:pt x="639" y="943"/>
                    </a:lnTo>
                    <a:lnTo>
                      <a:pt x="639" y="945"/>
                    </a:lnTo>
                    <a:lnTo>
                      <a:pt x="637" y="947"/>
                    </a:lnTo>
                    <a:lnTo>
                      <a:pt x="636" y="949"/>
                    </a:lnTo>
                    <a:lnTo>
                      <a:pt x="636" y="951"/>
                    </a:lnTo>
                    <a:lnTo>
                      <a:pt x="634" y="951"/>
                    </a:lnTo>
                    <a:lnTo>
                      <a:pt x="634" y="952"/>
                    </a:lnTo>
                    <a:lnTo>
                      <a:pt x="632" y="952"/>
                    </a:lnTo>
                    <a:lnTo>
                      <a:pt x="630" y="952"/>
                    </a:lnTo>
                    <a:lnTo>
                      <a:pt x="630" y="954"/>
                    </a:lnTo>
                    <a:lnTo>
                      <a:pt x="630" y="956"/>
                    </a:lnTo>
                    <a:lnTo>
                      <a:pt x="630" y="958"/>
                    </a:lnTo>
                    <a:lnTo>
                      <a:pt x="632" y="958"/>
                    </a:lnTo>
                    <a:lnTo>
                      <a:pt x="632" y="960"/>
                    </a:lnTo>
                    <a:lnTo>
                      <a:pt x="634" y="960"/>
                    </a:lnTo>
                    <a:lnTo>
                      <a:pt x="634" y="962"/>
                    </a:lnTo>
                    <a:lnTo>
                      <a:pt x="634" y="964"/>
                    </a:lnTo>
                    <a:lnTo>
                      <a:pt x="632" y="966"/>
                    </a:lnTo>
                    <a:lnTo>
                      <a:pt x="630" y="968"/>
                    </a:lnTo>
                    <a:lnTo>
                      <a:pt x="630" y="969"/>
                    </a:lnTo>
                    <a:lnTo>
                      <a:pt x="628" y="969"/>
                    </a:lnTo>
                    <a:lnTo>
                      <a:pt x="628" y="971"/>
                    </a:lnTo>
                    <a:lnTo>
                      <a:pt x="626" y="973"/>
                    </a:lnTo>
                    <a:lnTo>
                      <a:pt x="626" y="975"/>
                    </a:lnTo>
                    <a:lnTo>
                      <a:pt x="626" y="977"/>
                    </a:lnTo>
                    <a:lnTo>
                      <a:pt x="626" y="979"/>
                    </a:lnTo>
                    <a:lnTo>
                      <a:pt x="624" y="979"/>
                    </a:lnTo>
                    <a:lnTo>
                      <a:pt x="622" y="979"/>
                    </a:lnTo>
                    <a:lnTo>
                      <a:pt x="621" y="981"/>
                    </a:lnTo>
                    <a:lnTo>
                      <a:pt x="621" y="979"/>
                    </a:lnTo>
                    <a:lnTo>
                      <a:pt x="619" y="979"/>
                    </a:lnTo>
                    <a:lnTo>
                      <a:pt x="617" y="979"/>
                    </a:lnTo>
                    <a:lnTo>
                      <a:pt x="615" y="979"/>
                    </a:lnTo>
                    <a:lnTo>
                      <a:pt x="615" y="981"/>
                    </a:lnTo>
                    <a:lnTo>
                      <a:pt x="613" y="981"/>
                    </a:lnTo>
                    <a:lnTo>
                      <a:pt x="611" y="983"/>
                    </a:lnTo>
                    <a:lnTo>
                      <a:pt x="609" y="981"/>
                    </a:lnTo>
                    <a:lnTo>
                      <a:pt x="607" y="983"/>
                    </a:lnTo>
                    <a:lnTo>
                      <a:pt x="605" y="983"/>
                    </a:lnTo>
                    <a:lnTo>
                      <a:pt x="604" y="983"/>
                    </a:lnTo>
                    <a:lnTo>
                      <a:pt x="602" y="983"/>
                    </a:lnTo>
                    <a:lnTo>
                      <a:pt x="600" y="983"/>
                    </a:lnTo>
                    <a:lnTo>
                      <a:pt x="598" y="983"/>
                    </a:lnTo>
                    <a:lnTo>
                      <a:pt x="598" y="984"/>
                    </a:lnTo>
                    <a:lnTo>
                      <a:pt x="598" y="986"/>
                    </a:lnTo>
                    <a:lnTo>
                      <a:pt x="596" y="990"/>
                    </a:lnTo>
                    <a:lnTo>
                      <a:pt x="594" y="990"/>
                    </a:lnTo>
                    <a:lnTo>
                      <a:pt x="594" y="992"/>
                    </a:lnTo>
                    <a:lnTo>
                      <a:pt x="592" y="992"/>
                    </a:lnTo>
                    <a:lnTo>
                      <a:pt x="587" y="979"/>
                    </a:lnTo>
                    <a:lnTo>
                      <a:pt x="572" y="954"/>
                    </a:lnTo>
                    <a:lnTo>
                      <a:pt x="564" y="943"/>
                    </a:lnTo>
                    <a:lnTo>
                      <a:pt x="564" y="941"/>
                    </a:lnTo>
                    <a:lnTo>
                      <a:pt x="564" y="939"/>
                    </a:lnTo>
                    <a:lnTo>
                      <a:pt x="562" y="939"/>
                    </a:lnTo>
                    <a:lnTo>
                      <a:pt x="564" y="939"/>
                    </a:lnTo>
                    <a:lnTo>
                      <a:pt x="566" y="937"/>
                    </a:lnTo>
                    <a:lnTo>
                      <a:pt x="568" y="937"/>
                    </a:lnTo>
                    <a:lnTo>
                      <a:pt x="570" y="937"/>
                    </a:lnTo>
                    <a:lnTo>
                      <a:pt x="570" y="936"/>
                    </a:lnTo>
                    <a:lnTo>
                      <a:pt x="570" y="937"/>
                    </a:lnTo>
                    <a:lnTo>
                      <a:pt x="570" y="936"/>
                    </a:lnTo>
                    <a:lnTo>
                      <a:pt x="570" y="934"/>
                    </a:lnTo>
                    <a:lnTo>
                      <a:pt x="572" y="934"/>
                    </a:lnTo>
                    <a:lnTo>
                      <a:pt x="568" y="934"/>
                    </a:lnTo>
                    <a:lnTo>
                      <a:pt x="570" y="930"/>
                    </a:lnTo>
                    <a:lnTo>
                      <a:pt x="574" y="926"/>
                    </a:lnTo>
                    <a:lnTo>
                      <a:pt x="577" y="922"/>
                    </a:lnTo>
                    <a:lnTo>
                      <a:pt x="585" y="911"/>
                    </a:lnTo>
                    <a:lnTo>
                      <a:pt x="592" y="904"/>
                    </a:lnTo>
                    <a:lnTo>
                      <a:pt x="598" y="898"/>
                    </a:lnTo>
                    <a:lnTo>
                      <a:pt x="619" y="873"/>
                    </a:lnTo>
                    <a:lnTo>
                      <a:pt x="617" y="872"/>
                    </a:lnTo>
                    <a:lnTo>
                      <a:pt x="615" y="872"/>
                    </a:lnTo>
                    <a:lnTo>
                      <a:pt x="607" y="868"/>
                    </a:lnTo>
                    <a:lnTo>
                      <a:pt x="605" y="868"/>
                    </a:lnTo>
                    <a:lnTo>
                      <a:pt x="602" y="868"/>
                    </a:lnTo>
                    <a:lnTo>
                      <a:pt x="600" y="868"/>
                    </a:lnTo>
                    <a:lnTo>
                      <a:pt x="596" y="868"/>
                    </a:lnTo>
                    <a:lnTo>
                      <a:pt x="592" y="868"/>
                    </a:lnTo>
                    <a:lnTo>
                      <a:pt x="592" y="870"/>
                    </a:lnTo>
                    <a:lnTo>
                      <a:pt x="587" y="870"/>
                    </a:lnTo>
                    <a:lnTo>
                      <a:pt x="579" y="870"/>
                    </a:lnTo>
                    <a:lnTo>
                      <a:pt x="577" y="872"/>
                    </a:lnTo>
                    <a:lnTo>
                      <a:pt x="575" y="872"/>
                    </a:lnTo>
                    <a:lnTo>
                      <a:pt x="574" y="872"/>
                    </a:lnTo>
                    <a:lnTo>
                      <a:pt x="572" y="872"/>
                    </a:lnTo>
                    <a:lnTo>
                      <a:pt x="570" y="872"/>
                    </a:lnTo>
                    <a:lnTo>
                      <a:pt x="564" y="872"/>
                    </a:lnTo>
                    <a:lnTo>
                      <a:pt x="555" y="873"/>
                    </a:lnTo>
                    <a:lnTo>
                      <a:pt x="555" y="872"/>
                    </a:lnTo>
                    <a:lnTo>
                      <a:pt x="555" y="870"/>
                    </a:lnTo>
                    <a:lnTo>
                      <a:pt x="553" y="870"/>
                    </a:lnTo>
                    <a:lnTo>
                      <a:pt x="553" y="868"/>
                    </a:lnTo>
                    <a:lnTo>
                      <a:pt x="555" y="868"/>
                    </a:lnTo>
                    <a:lnTo>
                      <a:pt x="555" y="866"/>
                    </a:lnTo>
                    <a:lnTo>
                      <a:pt x="553" y="866"/>
                    </a:lnTo>
                    <a:lnTo>
                      <a:pt x="555" y="866"/>
                    </a:lnTo>
                    <a:lnTo>
                      <a:pt x="555" y="864"/>
                    </a:lnTo>
                    <a:lnTo>
                      <a:pt x="555" y="862"/>
                    </a:lnTo>
                    <a:lnTo>
                      <a:pt x="555" y="860"/>
                    </a:lnTo>
                    <a:lnTo>
                      <a:pt x="553" y="856"/>
                    </a:lnTo>
                    <a:lnTo>
                      <a:pt x="551" y="856"/>
                    </a:lnTo>
                    <a:lnTo>
                      <a:pt x="551" y="855"/>
                    </a:lnTo>
                    <a:lnTo>
                      <a:pt x="551" y="853"/>
                    </a:lnTo>
                    <a:lnTo>
                      <a:pt x="551" y="851"/>
                    </a:lnTo>
                    <a:lnTo>
                      <a:pt x="551" y="849"/>
                    </a:lnTo>
                    <a:lnTo>
                      <a:pt x="551" y="847"/>
                    </a:lnTo>
                    <a:lnTo>
                      <a:pt x="551" y="845"/>
                    </a:lnTo>
                    <a:lnTo>
                      <a:pt x="549" y="845"/>
                    </a:lnTo>
                    <a:lnTo>
                      <a:pt x="547" y="845"/>
                    </a:lnTo>
                    <a:lnTo>
                      <a:pt x="543" y="847"/>
                    </a:lnTo>
                    <a:lnTo>
                      <a:pt x="545" y="849"/>
                    </a:lnTo>
                    <a:lnTo>
                      <a:pt x="545" y="853"/>
                    </a:lnTo>
                    <a:lnTo>
                      <a:pt x="543" y="855"/>
                    </a:lnTo>
                    <a:lnTo>
                      <a:pt x="540" y="855"/>
                    </a:lnTo>
                    <a:lnTo>
                      <a:pt x="538" y="855"/>
                    </a:lnTo>
                    <a:lnTo>
                      <a:pt x="530" y="856"/>
                    </a:lnTo>
                    <a:lnTo>
                      <a:pt x="528" y="856"/>
                    </a:lnTo>
                    <a:lnTo>
                      <a:pt x="528" y="858"/>
                    </a:lnTo>
                    <a:lnTo>
                      <a:pt x="528" y="860"/>
                    </a:lnTo>
                    <a:lnTo>
                      <a:pt x="526" y="860"/>
                    </a:lnTo>
                    <a:lnTo>
                      <a:pt x="526" y="862"/>
                    </a:lnTo>
                    <a:lnTo>
                      <a:pt x="525" y="862"/>
                    </a:lnTo>
                    <a:lnTo>
                      <a:pt x="525" y="864"/>
                    </a:lnTo>
                    <a:lnTo>
                      <a:pt x="526" y="866"/>
                    </a:lnTo>
                    <a:lnTo>
                      <a:pt x="525" y="868"/>
                    </a:lnTo>
                    <a:lnTo>
                      <a:pt x="525" y="866"/>
                    </a:lnTo>
                    <a:lnTo>
                      <a:pt x="525" y="868"/>
                    </a:lnTo>
                    <a:lnTo>
                      <a:pt x="525" y="866"/>
                    </a:lnTo>
                    <a:lnTo>
                      <a:pt x="525" y="868"/>
                    </a:lnTo>
                    <a:lnTo>
                      <a:pt x="523" y="868"/>
                    </a:lnTo>
                    <a:lnTo>
                      <a:pt x="523" y="870"/>
                    </a:lnTo>
                    <a:lnTo>
                      <a:pt x="523" y="872"/>
                    </a:lnTo>
                    <a:lnTo>
                      <a:pt x="525" y="872"/>
                    </a:lnTo>
                    <a:lnTo>
                      <a:pt x="525" y="873"/>
                    </a:lnTo>
                    <a:lnTo>
                      <a:pt x="526" y="875"/>
                    </a:lnTo>
                    <a:lnTo>
                      <a:pt x="526" y="877"/>
                    </a:lnTo>
                    <a:lnTo>
                      <a:pt x="528" y="877"/>
                    </a:lnTo>
                    <a:lnTo>
                      <a:pt x="528" y="879"/>
                    </a:lnTo>
                    <a:lnTo>
                      <a:pt x="528" y="883"/>
                    </a:lnTo>
                    <a:lnTo>
                      <a:pt x="525" y="885"/>
                    </a:lnTo>
                    <a:lnTo>
                      <a:pt x="523" y="890"/>
                    </a:lnTo>
                    <a:lnTo>
                      <a:pt x="523" y="892"/>
                    </a:lnTo>
                    <a:lnTo>
                      <a:pt x="523" y="894"/>
                    </a:lnTo>
                    <a:lnTo>
                      <a:pt x="523" y="896"/>
                    </a:lnTo>
                    <a:lnTo>
                      <a:pt x="521" y="898"/>
                    </a:lnTo>
                    <a:lnTo>
                      <a:pt x="519" y="900"/>
                    </a:lnTo>
                    <a:lnTo>
                      <a:pt x="521" y="902"/>
                    </a:lnTo>
                    <a:lnTo>
                      <a:pt x="530" y="909"/>
                    </a:lnTo>
                    <a:lnTo>
                      <a:pt x="528" y="909"/>
                    </a:lnTo>
                    <a:lnTo>
                      <a:pt x="528" y="911"/>
                    </a:lnTo>
                    <a:lnTo>
                      <a:pt x="526" y="911"/>
                    </a:lnTo>
                    <a:lnTo>
                      <a:pt x="526" y="913"/>
                    </a:lnTo>
                    <a:lnTo>
                      <a:pt x="528" y="913"/>
                    </a:lnTo>
                    <a:lnTo>
                      <a:pt x="528" y="915"/>
                    </a:lnTo>
                    <a:lnTo>
                      <a:pt x="526" y="917"/>
                    </a:lnTo>
                    <a:lnTo>
                      <a:pt x="526" y="915"/>
                    </a:lnTo>
                    <a:lnTo>
                      <a:pt x="526" y="917"/>
                    </a:lnTo>
                    <a:lnTo>
                      <a:pt x="525" y="917"/>
                    </a:lnTo>
                    <a:lnTo>
                      <a:pt x="525" y="915"/>
                    </a:lnTo>
                    <a:lnTo>
                      <a:pt x="525" y="917"/>
                    </a:lnTo>
                    <a:lnTo>
                      <a:pt x="523" y="917"/>
                    </a:lnTo>
                    <a:lnTo>
                      <a:pt x="521" y="917"/>
                    </a:lnTo>
                    <a:lnTo>
                      <a:pt x="519" y="917"/>
                    </a:lnTo>
                    <a:lnTo>
                      <a:pt x="519" y="919"/>
                    </a:lnTo>
                    <a:lnTo>
                      <a:pt x="519" y="920"/>
                    </a:lnTo>
                    <a:lnTo>
                      <a:pt x="517" y="920"/>
                    </a:lnTo>
                    <a:lnTo>
                      <a:pt x="517" y="922"/>
                    </a:lnTo>
                    <a:lnTo>
                      <a:pt x="517" y="924"/>
                    </a:lnTo>
                    <a:lnTo>
                      <a:pt x="517" y="926"/>
                    </a:lnTo>
                    <a:lnTo>
                      <a:pt x="515" y="926"/>
                    </a:lnTo>
                    <a:lnTo>
                      <a:pt x="513" y="928"/>
                    </a:lnTo>
                    <a:lnTo>
                      <a:pt x="511" y="928"/>
                    </a:lnTo>
                    <a:lnTo>
                      <a:pt x="511" y="930"/>
                    </a:lnTo>
                    <a:lnTo>
                      <a:pt x="511" y="932"/>
                    </a:lnTo>
                    <a:lnTo>
                      <a:pt x="510" y="932"/>
                    </a:lnTo>
                    <a:lnTo>
                      <a:pt x="508" y="932"/>
                    </a:lnTo>
                    <a:lnTo>
                      <a:pt x="508" y="930"/>
                    </a:lnTo>
                    <a:lnTo>
                      <a:pt x="506" y="930"/>
                    </a:lnTo>
                    <a:lnTo>
                      <a:pt x="506" y="932"/>
                    </a:lnTo>
                    <a:lnTo>
                      <a:pt x="506" y="934"/>
                    </a:lnTo>
                    <a:lnTo>
                      <a:pt x="508" y="934"/>
                    </a:lnTo>
                    <a:lnTo>
                      <a:pt x="508" y="936"/>
                    </a:lnTo>
                    <a:lnTo>
                      <a:pt x="510" y="936"/>
                    </a:lnTo>
                    <a:lnTo>
                      <a:pt x="508" y="936"/>
                    </a:lnTo>
                    <a:lnTo>
                      <a:pt x="510" y="936"/>
                    </a:lnTo>
                    <a:lnTo>
                      <a:pt x="510" y="937"/>
                    </a:lnTo>
                    <a:lnTo>
                      <a:pt x="510" y="939"/>
                    </a:lnTo>
                    <a:lnTo>
                      <a:pt x="511" y="939"/>
                    </a:lnTo>
                    <a:lnTo>
                      <a:pt x="511" y="941"/>
                    </a:lnTo>
                    <a:lnTo>
                      <a:pt x="511" y="943"/>
                    </a:lnTo>
                    <a:lnTo>
                      <a:pt x="510" y="943"/>
                    </a:lnTo>
                    <a:lnTo>
                      <a:pt x="510" y="945"/>
                    </a:lnTo>
                    <a:lnTo>
                      <a:pt x="510" y="947"/>
                    </a:lnTo>
                    <a:lnTo>
                      <a:pt x="510" y="949"/>
                    </a:lnTo>
                    <a:lnTo>
                      <a:pt x="511" y="949"/>
                    </a:lnTo>
                    <a:lnTo>
                      <a:pt x="511" y="951"/>
                    </a:lnTo>
                    <a:lnTo>
                      <a:pt x="510" y="951"/>
                    </a:lnTo>
                    <a:lnTo>
                      <a:pt x="510" y="952"/>
                    </a:lnTo>
                    <a:lnTo>
                      <a:pt x="510" y="954"/>
                    </a:lnTo>
                    <a:lnTo>
                      <a:pt x="510" y="956"/>
                    </a:lnTo>
                    <a:lnTo>
                      <a:pt x="511" y="956"/>
                    </a:lnTo>
                    <a:lnTo>
                      <a:pt x="511" y="958"/>
                    </a:lnTo>
                    <a:lnTo>
                      <a:pt x="511" y="960"/>
                    </a:lnTo>
                    <a:lnTo>
                      <a:pt x="510" y="960"/>
                    </a:lnTo>
                    <a:lnTo>
                      <a:pt x="508" y="962"/>
                    </a:lnTo>
                    <a:lnTo>
                      <a:pt x="506" y="962"/>
                    </a:lnTo>
                    <a:lnTo>
                      <a:pt x="506" y="964"/>
                    </a:lnTo>
                    <a:lnTo>
                      <a:pt x="508" y="964"/>
                    </a:lnTo>
                    <a:lnTo>
                      <a:pt x="508" y="966"/>
                    </a:lnTo>
                    <a:lnTo>
                      <a:pt x="508" y="968"/>
                    </a:lnTo>
                    <a:lnTo>
                      <a:pt x="506" y="968"/>
                    </a:lnTo>
                    <a:lnTo>
                      <a:pt x="504" y="968"/>
                    </a:lnTo>
                    <a:lnTo>
                      <a:pt x="502" y="968"/>
                    </a:lnTo>
                    <a:lnTo>
                      <a:pt x="500" y="968"/>
                    </a:lnTo>
                    <a:lnTo>
                      <a:pt x="498" y="969"/>
                    </a:lnTo>
                    <a:lnTo>
                      <a:pt x="496" y="969"/>
                    </a:lnTo>
                    <a:lnTo>
                      <a:pt x="495" y="969"/>
                    </a:lnTo>
                    <a:lnTo>
                      <a:pt x="495" y="971"/>
                    </a:lnTo>
                    <a:lnTo>
                      <a:pt x="493" y="971"/>
                    </a:lnTo>
                    <a:lnTo>
                      <a:pt x="493" y="973"/>
                    </a:lnTo>
                    <a:lnTo>
                      <a:pt x="495" y="973"/>
                    </a:lnTo>
                    <a:lnTo>
                      <a:pt x="495" y="975"/>
                    </a:lnTo>
                    <a:lnTo>
                      <a:pt x="495" y="977"/>
                    </a:lnTo>
                    <a:lnTo>
                      <a:pt x="495" y="979"/>
                    </a:lnTo>
                    <a:lnTo>
                      <a:pt x="495" y="981"/>
                    </a:lnTo>
                    <a:lnTo>
                      <a:pt x="493" y="981"/>
                    </a:lnTo>
                    <a:lnTo>
                      <a:pt x="493" y="983"/>
                    </a:lnTo>
                    <a:lnTo>
                      <a:pt x="491" y="983"/>
                    </a:lnTo>
                    <a:lnTo>
                      <a:pt x="489" y="984"/>
                    </a:lnTo>
                    <a:lnTo>
                      <a:pt x="487" y="986"/>
                    </a:lnTo>
                    <a:lnTo>
                      <a:pt x="485" y="984"/>
                    </a:lnTo>
                    <a:lnTo>
                      <a:pt x="478" y="977"/>
                    </a:lnTo>
                    <a:lnTo>
                      <a:pt x="472" y="971"/>
                    </a:lnTo>
                    <a:lnTo>
                      <a:pt x="470" y="969"/>
                    </a:lnTo>
                    <a:lnTo>
                      <a:pt x="468" y="969"/>
                    </a:lnTo>
                    <a:lnTo>
                      <a:pt x="464" y="969"/>
                    </a:lnTo>
                    <a:lnTo>
                      <a:pt x="468" y="964"/>
                    </a:lnTo>
                    <a:lnTo>
                      <a:pt x="468" y="962"/>
                    </a:lnTo>
                    <a:lnTo>
                      <a:pt x="470" y="960"/>
                    </a:lnTo>
                    <a:lnTo>
                      <a:pt x="470" y="958"/>
                    </a:lnTo>
                    <a:lnTo>
                      <a:pt x="470" y="954"/>
                    </a:lnTo>
                    <a:lnTo>
                      <a:pt x="466" y="949"/>
                    </a:lnTo>
                    <a:lnTo>
                      <a:pt x="455" y="937"/>
                    </a:lnTo>
                    <a:lnTo>
                      <a:pt x="451" y="943"/>
                    </a:lnTo>
                    <a:lnTo>
                      <a:pt x="444" y="934"/>
                    </a:lnTo>
                    <a:lnTo>
                      <a:pt x="444" y="932"/>
                    </a:lnTo>
                    <a:lnTo>
                      <a:pt x="446" y="930"/>
                    </a:lnTo>
                    <a:lnTo>
                      <a:pt x="455" y="913"/>
                    </a:lnTo>
                    <a:lnTo>
                      <a:pt x="461" y="913"/>
                    </a:lnTo>
                    <a:lnTo>
                      <a:pt x="464" y="904"/>
                    </a:lnTo>
                    <a:lnTo>
                      <a:pt x="466" y="896"/>
                    </a:lnTo>
                    <a:lnTo>
                      <a:pt x="463" y="894"/>
                    </a:lnTo>
                    <a:lnTo>
                      <a:pt x="455" y="890"/>
                    </a:lnTo>
                    <a:lnTo>
                      <a:pt x="457" y="888"/>
                    </a:lnTo>
                    <a:lnTo>
                      <a:pt x="464" y="873"/>
                    </a:lnTo>
                    <a:lnTo>
                      <a:pt x="455" y="868"/>
                    </a:lnTo>
                    <a:lnTo>
                      <a:pt x="453" y="868"/>
                    </a:lnTo>
                    <a:lnTo>
                      <a:pt x="449" y="868"/>
                    </a:lnTo>
                    <a:lnTo>
                      <a:pt x="446" y="870"/>
                    </a:lnTo>
                    <a:lnTo>
                      <a:pt x="406" y="877"/>
                    </a:lnTo>
                    <a:lnTo>
                      <a:pt x="397" y="879"/>
                    </a:lnTo>
                    <a:lnTo>
                      <a:pt x="380" y="885"/>
                    </a:lnTo>
                    <a:lnTo>
                      <a:pt x="376" y="875"/>
                    </a:lnTo>
                    <a:lnTo>
                      <a:pt x="374" y="873"/>
                    </a:lnTo>
                    <a:lnTo>
                      <a:pt x="376" y="872"/>
                    </a:lnTo>
                    <a:lnTo>
                      <a:pt x="376" y="866"/>
                    </a:lnTo>
                    <a:lnTo>
                      <a:pt x="376" y="864"/>
                    </a:lnTo>
                    <a:lnTo>
                      <a:pt x="378" y="862"/>
                    </a:lnTo>
                    <a:lnTo>
                      <a:pt x="378" y="860"/>
                    </a:lnTo>
                    <a:lnTo>
                      <a:pt x="378" y="858"/>
                    </a:lnTo>
                    <a:lnTo>
                      <a:pt x="382" y="851"/>
                    </a:lnTo>
                    <a:lnTo>
                      <a:pt x="380" y="849"/>
                    </a:lnTo>
                    <a:lnTo>
                      <a:pt x="363" y="845"/>
                    </a:lnTo>
                    <a:lnTo>
                      <a:pt x="363" y="832"/>
                    </a:lnTo>
                    <a:lnTo>
                      <a:pt x="365" y="824"/>
                    </a:lnTo>
                    <a:lnTo>
                      <a:pt x="365" y="819"/>
                    </a:lnTo>
                    <a:lnTo>
                      <a:pt x="365" y="817"/>
                    </a:lnTo>
                    <a:lnTo>
                      <a:pt x="365" y="813"/>
                    </a:lnTo>
                    <a:lnTo>
                      <a:pt x="365" y="804"/>
                    </a:lnTo>
                    <a:lnTo>
                      <a:pt x="365" y="794"/>
                    </a:lnTo>
                    <a:lnTo>
                      <a:pt x="372" y="774"/>
                    </a:lnTo>
                    <a:lnTo>
                      <a:pt x="368" y="774"/>
                    </a:lnTo>
                    <a:lnTo>
                      <a:pt x="367" y="772"/>
                    </a:lnTo>
                    <a:lnTo>
                      <a:pt x="355" y="764"/>
                    </a:lnTo>
                    <a:lnTo>
                      <a:pt x="344" y="757"/>
                    </a:lnTo>
                    <a:lnTo>
                      <a:pt x="342" y="755"/>
                    </a:lnTo>
                    <a:lnTo>
                      <a:pt x="338" y="751"/>
                    </a:lnTo>
                    <a:lnTo>
                      <a:pt x="338" y="753"/>
                    </a:lnTo>
                    <a:lnTo>
                      <a:pt x="337" y="751"/>
                    </a:lnTo>
                    <a:lnTo>
                      <a:pt x="325" y="744"/>
                    </a:lnTo>
                    <a:lnTo>
                      <a:pt x="325" y="738"/>
                    </a:lnTo>
                    <a:lnTo>
                      <a:pt x="327" y="736"/>
                    </a:lnTo>
                    <a:lnTo>
                      <a:pt x="329" y="732"/>
                    </a:lnTo>
                    <a:lnTo>
                      <a:pt x="333" y="723"/>
                    </a:lnTo>
                    <a:lnTo>
                      <a:pt x="335" y="721"/>
                    </a:lnTo>
                    <a:lnTo>
                      <a:pt x="335" y="719"/>
                    </a:lnTo>
                    <a:lnTo>
                      <a:pt x="338" y="713"/>
                    </a:lnTo>
                    <a:lnTo>
                      <a:pt x="338" y="710"/>
                    </a:lnTo>
                    <a:lnTo>
                      <a:pt x="342" y="706"/>
                    </a:lnTo>
                    <a:lnTo>
                      <a:pt x="344" y="700"/>
                    </a:lnTo>
                    <a:lnTo>
                      <a:pt x="344" y="698"/>
                    </a:lnTo>
                    <a:lnTo>
                      <a:pt x="344" y="695"/>
                    </a:lnTo>
                    <a:lnTo>
                      <a:pt x="352" y="691"/>
                    </a:lnTo>
                    <a:lnTo>
                      <a:pt x="361" y="687"/>
                    </a:lnTo>
                    <a:lnTo>
                      <a:pt x="361" y="685"/>
                    </a:lnTo>
                    <a:lnTo>
                      <a:pt x="357" y="670"/>
                    </a:lnTo>
                    <a:lnTo>
                      <a:pt x="352" y="655"/>
                    </a:lnTo>
                    <a:lnTo>
                      <a:pt x="350" y="651"/>
                    </a:lnTo>
                    <a:lnTo>
                      <a:pt x="348" y="649"/>
                    </a:lnTo>
                    <a:lnTo>
                      <a:pt x="344" y="640"/>
                    </a:lnTo>
                    <a:lnTo>
                      <a:pt x="342" y="642"/>
                    </a:lnTo>
                    <a:lnTo>
                      <a:pt x="340" y="642"/>
                    </a:lnTo>
                    <a:lnTo>
                      <a:pt x="338" y="640"/>
                    </a:lnTo>
                    <a:lnTo>
                      <a:pt x="338" y="638"/>
                    </a:lnTo>
                    <a:lnTo>
                      <a:pt x="337" y="636"/>
                    </a:lnTo>
                    <a:lnTo>
                      <a:pt x="335" y="636"/>
                    </a:lnTo>
                    <a:lnTo>
                      <a:pt x="335" y="634"/>
                    </a:lnTo>
                    <a:lnTo>
                      <a:pt x="329" y="631"/>
                    </a:lnTo>
                    <a:lnTo>
                      <a:pt x="325" y="631"/>
                    </a:lnTo>
                    <a:lnTo>
                      <a:pt x="318" y="631"/>
                    </a:lnTo>
                    <a:lnTo>
                      <a:pt x="314" y="640"/>
                    </a:lnTo>
                    <a:lnTo>
                      <a:pt x="305" y="634"/>
                    </a:lnTo>
                    <a:lnTo>
                      <a:pt x="301" y="632"/>
                    </a:lnTo>
                    <a:lnTo>
                      <a:pt x="293" y="627"/>
                    </a:lnTo>
                    <a:lnTo>
                      <a:pt x="289" y="625"/>
                    </a:lnTo>
                    <a:lnTo>
                      <a:pt x="280" y="623"/>
                    </a:lnTo>
                    <a:lnTo>
                      <a:pt x="271" y="619"/>
                    </a:lnTo>
                    <a:lnTo>
                      <a:pt x="261" y="615"/>
                    </a:lnTo>
                    <a:lnTo>
                      <a:pt x="252" y="612"/>
                    </a:lnTo>
                    <a:lnTo>
                      <a:pt x="241" y="606"/>
                    </a:lnTo>
                    <a:lnTo>
                      <a:pt x="229" y="600"/>
                    </a:lnTo>
                    <a:lnTo>
                      <a:pt x="220" y="597"/>
                    </a:lnTo>
                    <a:lnTo>
                      <a:pt x="222" y="593"/>
                    </a:lnTo>
                    <a:lnTo>
                      <a:pt x="235" y="574"/>
                    </a:lnTo>
                    <a:lnTo>
                      <a:pt x="244" y="561"/>
                    </a:lnTo>
                    <a:lnTo>
                      <a:pt x="222" y="544"/>
                    </a:lnTo>
                    <a:lnTo>
                      <a:pt x="220" y="542"/>
                    </a:lnTo>
                    <a:lnTo>
                      <a:pt x="214" y="536"/>
                    </a:lnTo>
                    <a:lnTo>
                      <a:pt x="163" y="523"/>
                    </a:lnTo>
                    <a:lnTo>
                      <a:pt x="167" y="482"/>
                    </a:lnTo>
                    <a:lnTo>
                      <a:pt x="152" y="463"/>
                    </a:lnTo>
                    <a:lnTo>
                      <a:pt x="163" y="444"/>
                    </a:lnTo>
                    <a:lnTo>
                      <a:pt x="175" y="425"/>
                    </a:lnTo>
                    <a:lnTo>
                      <a:pt x="160" y="418"/>
                    </a:lnTo>
                    <a:lnTo>
                      <a:pt x="150" y="418"/>
                    </a:lnTo>
                    <a:lnTo>
                      <a:pt x="154" y="401"/>
                    </a:lnTo>
                    <a:lnTo>
                      <a:pt x="173" y="405"/>
                    </a:lnTo>
                    <a:lnTo>
                      <a:pt x="186" y="410"/>
                    </a:lnTo>
                    <a:lnTo>
                      <a:pt x="192" y="393"/>
                    </a:lnTo>
                    <a:lnTo>
                      <a:pt x="194" y="388"/>
                    </a:lnTo>
                    <a:lnTo>
                      <a:pt x="177" y="384"/>
                    </a:lnTo>
                    <a:lnTo>
                      <a:pt x="118" y="380"/>
                    </a:lnTo>
                    <a:lnTo>
                      <a:pt x="118" y="386"/>
                    </a:lnTo>
                    <a:lnTo>
                      <a:pt x="118" y="397"/>
                    </a:lnTo>
                    <a:lnTo>
                      <a:pt x="113" y="414"/>
                    </a:lnTo>
                    <a:lnTo>
                      <a:pt x="92" y="410"/>
                    </a:lnTo>
                    <a:lnTo>
                      <a:pt x="90" y="429"/>
                    </a:lnTo>
                    <a:lnTo>
                      <a:pt x="71" y="427"/>
                    </a:lnTo>
                    <a:lnTo>
                      <a:pt x="69" y="446"/>
                    </a:lnTo>
                    <a:lnTo>
                      <a:pt x="66" y="459"/>
                    </a:lnTo>
                    <a:lnTo>
                      <a:pt x="56" y="493"/>
                    </a:lnTo>
                    <a:lnTo>
                      <a:pt x="54" y="497"/>
                    </a:lnTo>
                    <a:lnTo>
                      <a:pt x="49" y="508"/>
                    </a:lnTo>
                    <a:lnTo>
                      <a:pt x="45" y="514"/>
                    </a:lnTo>
                    <a:lnTo>
                      <a:pt x="30" y="506"/>
                    </a:lnTo>
                    <a:lnTo>
                      <a:pt x="21" y="503"/>
                    </a:lnTo>
                    <a:lnTo>
                      <a:pt x="21" y="489"/>
                    </a:lnTo>
                    <a:lnTo>
                      <a:pt x="21" y="487"/>
                    </a:lnTo>
                    <a:lnTo>
                      <a:pt x="21" y="471"/>
                    </a:lnTo>
                    <a:lnTo>
                      <a:pt x="21" y="457"/>
                    </a:lnTo>
                    <a:lnTo>
                      <a:pt x="21" y="452"/>
                    </a:lnTo>
                    <a:lnTo>
                      <a:pt x="21" y="437"/>
                    </a:lnTo>
                    <a:lnTo>
                      <a:pt x="21" y="433"/>
                    </a:lnTo>
                    <a:lnTo>
                      <a:pt x="21" y="427"/>
                    </a:lnTo>
                    <a:lnTo>
                      <a:pt x="19" y="425"/>
                    </a:lnTo>
                    <a:lnTo>
                      <a:pt x="19" y="420"/>
                    </a:lnTo>
                    <a:lnTo>
                      <a:pt x="2" y="420"/>
                    </a:lnTo>
                    <a:lnTo>
                      <a:pt x="2" y="418"/>
                    </a:lnTo>
                    <a:lnTo>
                      <a:pt x="4" y="418"/>
                    </a:lnTo>
                    <a:lnTo>
                      <a:pt x="2" y="418"/>
                    </a:lnTo>
                    <a:lnTo>
                      <a:pt x="2" y="416"/>
                    </a:lnTo>
                    <a:lnTo>
                      <a:pt x="0" y="414"/>
                    </a:lnTo>
                    <a:lnTo>
                      <a:pt x="0" y="412"/>
                    </a:lnTo>
                    <a:lnTo>
                      <a:pt x="2" y="412"/>
                    </a:lnTo>
                    <a:lnTo>
                      <a:pt x="4" y="410"/>
                    </a:lnTo>
                    <a:lnTo>
                      <a:pt x="5" y="410"/>
                    </a:lnTo>
                    <a:lnTo>
                      <a:pt x="7" y="410"/>
                    </a:lnTo>
                    <a:lnTo>
                      <a:pt x="7" y="408"/>
                    </a:lnTo>
                    <a:lnTo>
                      <a:pt x="9" y="408"/>
                    </a:lnTo>
                    <a:lnTo>
                      <a:pt x="11" y="407"/>
                    </a:lnTo>
                    <a:lnTo>
                      <a:pt x="11" y="405"/>
                    </a:lnTo>
                    <a:lnTo>
                      <a:pt x="11" y="403"/>
                    </a:lnTo>
                    <a:lnTo>
                      <a:pt x="11" y="401"/>
                    </a:lnTo>
                    <a:lnTo>
                      <a:pt x="11" y="399"/>
                    </a:lnTo>
                    <a:lnTo>
                      <a:pt x="11" y="397"/>
                    </a:lnTo>
                    <a:lnTo>
                      <a:pt x="11" y="395"/>
                    </a:lnTo>
                    <a:lnTo>
                      <a:pt x="11" y="393"/>
                    </a:lnTo>
                    <a:lnTo>
                      <a:pt x="9" y="393"/>
                    </a:lnTo>
                    <a:lnTo>
                      <a:pt x="9" y="391"/>
                    </a:lnTo>
                    <a:lnTo>
                      <a:pt x="9" y="390"/>
                    </a:lnTo>
                    <a:lnTo>
                      <a:pt x="11" y="390"/>
                    </a:lnTo>
                    <a:lnTo>
                      <a:pt x="13" y="390"/>
                    </a:lnTo>
                    <a:lnTo>
                      <a:pt x="15" y="390"/>
                    </a:lnTo>
                    <a:lnTo>
                      <a:pt x="17" y="390"/>
                    </a:lnTo>
                    <a:lnTo>
                      <a:pt x="17" y="391"/>
                    </a:lnTo>
                    <a:lnTo>
                      <a:pt x="19" y="391"/>
                    </a:lnTo>
                    <a:lnTo>
                      <a:pt x="21" y="391"/>
                    </a:lnTo>
                    <a:lnTo>
                      <a:pt x="22" y="391"/>
                    </a:lnTo>
                    <a:lnTo>
                      <a:pt x="24" y="391"/>
                    </a:lnTo>
                    <a:lnTo>
                      <a:pt x="24" y="390"/>
                    </a:lnTo>
                    <a:lnTo>
                      <a:pt x="26" y="390"/>
                    </a:lnTo>
                    <a:lnTo>
                      <a:pt x="26" y="388"/>
                    </a:lnTo>
                    <a:lnTo>
                      <a:pt x="24" y="388"/>
                    </a:lnTo>
                    <a:lnTo>
                      <a:pt x="24" y="386"/>
                    </a:lnTo>
                    <a:lnTo>
                      <a:pt x="26" y="384"/>
                    </a:lnTo>
                    <a:lnTo>
                      <a:pt x="26" y="382"/>
                    </a:lnTo>
                    <a:lnTo>
                      <a:pt x="26" y="380"/>
                    </a:lnTo>
                    <a:lnTo>
                      <a:pt x="26" y="378"/>
                    </a:lnTo>
                    <a:lnTo>
                      <a:pt x="26" y="376"/>
                    </a:lnTo>
                    <a:lnTo>
                      <a:pt x="26" y="375"/>
                    </a:lnTo>
                    <a:lnTo>
                      <a:pt x="24" y="375"/>
                    </a:lnTo>
                    <a:lnTo>
                      <a:pt x="24" y="373"/>
                    </a:lnTo>
                    <a:lnTo>
                      <a:pt x="24" y="371"/>
                    </a:lnTo>
                    <a:lnTo>
                      <a:pt x="26" y="369"/>
                    </a:lnTo>
                    <a:lnTo>
                      <a:pt x="28" y="367"/>
                    </a:lnTo>
                    <a:lnTo>
                      <a:pt x="28" y="365"/>
                    </a:lnTo>
                    <a:lnTo>
                      <a:pt x="30" y="365"/>
                    </a:lnTo>
                    <a:lnTo>
                      <a:pt x="30" y="363"/>
                    </a:lnTo>
                    <a:lnTo>
                      <a:pt x="32" y="363"/>
                    </a:lnTo>
                    <a:lnTo>
                      <a:pt x="32" y="361"/>
                    </a:lnTo>
                    <a:lnTo>
                      <a:pt x="30" y="361"/>
                    </a:lnTo>
                    <a:lnTo>
                      <a:pt x="28" y="361"/>
                    </a:lnTo>
                    <a:lnTo>
                      <a:pt x="28" y="359"/>
                    </a:lnTo>
                    <a:lnTo>
                      <a:pt x="26" y="359"/>
                    </a:lnTo>
                    <a:lnTo>
                      <a:pt x="24" y="359"/>
                    </a:lnTo>
                    <a:lnTo>
                      <a:pt x="22" y="358"/>
                    </a:lnTo>
                    <a:lnTo>
                      <a:pt x="22" y="356"/>
                    </a:lnTo>
                    <a:lnTo>
                      <a:pt x="22" y="354"/>
                    </a:lnTo>
                    <a:lnTo>
                      <a:pt x="24" y="354"/>
                    </a:lnTo>
                    <a:lnTo>
                      <a:pt x="26" y="354"/>
                    </a:lnTo>
                    <a:lnTo>
                      <a:pt x="26" y="352"/>
                    </a:lnTo>
                    <a:lnTo>
                      <a:pt x="28" y="352"/>
                    </a:lnTo>
                    <a:lnTo>
                      <a:pt x="30" y="352"/>
                    </a:lnTo>
                    <a:lnTo>
                      <a:pt x="30" y="350"/>
                    </a:lnTo>
                    <a:lnTo>
                      <a:pt x="28" y="348"/>
                    </a:lnTo>
                    <a:lnTo>
                      <a:pt x="28" y="346"/>
                    </a:lnTo>
                    <a:lnTo>
                      <a:pt x="28" y="344"/>
                    </a:lnTo>
                    <a:lnTo>
                      <a:pt x="30" y="344"/>
                    </a:lnTo>
                    <a:lnTo>
                      <a:pt x="32" y="344"/>
                    </a:lnTo>
                    <a:lnTo>
                      <a:pt x="32" y="343"/>
                    </a:lnTo>
                    <a:lnTo>
                      <a:pt x="34" y="343"/>
                    </a:lnTo>
                    <a:lnTo>
                      <a:pt x="36" y="343"/>
                    </a:lnTo>
                    <a:lnTo>
                      <a:pt x="36" y="341"/>
                    </a:lnTo>
                    <a:lnTo>
                      <a:pt x="37" y="341"/>
                    </a:lnTo>
                    <a:lnTo>
                      <a:pt x="37" y="339"/>
                    </a:lnTo>
                    <a:lnTo>
                      <a:pt x="39" y="339"/>
                    </a:lnTo>
                    <a:lnTo>
                      <a:pt x="39" y="337"/>
                    </a:lnTo>
                    <a:lnTo>
                      <a:pt x="39" y="335"/>
                    </a:lnTo>
                    <a:lnTo>
                      <a:pt x="39" y="333"/>
                    </a:lnTo>
                    <a:lnTo>
                      <a:pt x="37" y="333"/>
                    </a:lnTo>
                    <a:lnTo>
                      <a:pt x="36" y="331"/>
                    </a:lnTo>
                    <a:lnTo>
                      <a:pt x="34" y="331"/>
                    </a:lnTo>
                    <a:lnTo>
                      <a:pt x="32" y="331"/>
                    </a:lnTo>
                    <a:lnTo>
                      <a:pt x="32" y="329"/>
                    </a:lnTo>
                    <a:lnTo>
                      <a:pt x="30" y="329"/>
                    </a:lnTo>
                    <a:lnTo>
                      <a:pt x="28" y="327"/>
                    </a:lnTo>
                    <a:lnTo>
                      <a:pt x="28" y="326"/>
                    </a:lnTo>
                    <a:lnTo>
                      <a:pt x="30" y="326"/>
                    </a:lnTo>
                    <a:lnTo>
                      <a:pt x="32" y="326"/>
                    </a:lnTo>
                    <a:lnTo>
                      <a:pt x="34" y="326"/>
                    </a:lnTo>
                    <a:lnTo>
                      <a:pt x="34" y="324"/>
                    </a:lnTo>
                    <a:lnTo>
                      <a:pt x="36" y="324"/>
                    </a:lnTo>
                    <a:lnTo>
                      <a:pt x="36" y="322"/>
                    </a:lnTo>
                    <a:lnTo>
                      <a:pt x="36" y="320"/>
                    </a:lnTo>
                    <a:lnTo>
                      <a:pt x="36" y="318"/>
                    </a:lnTo>
                    <a:lnTo>
                      <a:pt x="36" y="316"/>
                    </a:lnTo>
                    <a:lnTo>
                      <a:pt x="36" y="314"/>
                    </a:lnTo>
                    <a:lnTo>
                      <a:pt x="36" y="312"/>
                    </a:lnTo>
                    <a:lnTo>
                      <a:pt x="36" y="311"/>
                    </a:lnTo>
                    <a:lnTo>
                      <a:pt x="36" y="309"/>
                    </a:lnTo>
                    <a:lnTo>
                      <a:pt x="37" y="309"/>
                    </a:lnTo>
                    <a:lnTo>
                      <a:pt x="39" y="309"/>
                    </a:lnTo>
                    <a:lnTo>
                      <a:pt x="41" y="309"/>
                    </a:lnTo>
                    <a:lnTo>
                      <a:pt x="43" y="309"/>
                    </a:lnTo>
                    <a:lnTo>
                      <a:pt x="43" y="307"/>
                    </a:lnTo>
                    <a:lnTo>
                      <a:pt x="45" y="307"/>
                    </a:lnTo>
                    <a:lnTo>
                      <a:pt x="45" y="305"/>
                    </a:lnTo>
                    <a:lnTo>
                      <a:pt x="47" y="303"/>
                    </a:lnTo>
                    <a:lnTo>
                      <a:pt x="47" y="301"/>
                    </a:lnTo>
                    <a:lnTo>
                      <a:pt x="49" y="299"/>
                    </a:lnTo>
                    <a:lnTo>
                      <a:pt x="51" y="297"/>
                    </a:lnTo>
                    <a:lnTo>
                      <a:pt x="51" y="295"/>
                    </a:lnTo>
                    <a:lnTo>
                      <a:pt x="51" y="294"/>
                    </a:lnTo>
                    <a:lnTo>
                      <a:pt x="51" y="292"/>
                    </a:lnTo>
                    <a:lnTo>
                      <a:pt x="52" y="290"/>
                    </a:lnTo>
                    <a:lnTo>
                      <a:pt x="52" y="288"/>
                    </a:lnTo>
                    <a:lnTo>
                      <a:pt x="51" y="288"/>
                    </a:lnTo>
                    <a:lnTo>
                      <a:pt x="49" y="288"/>
                    </a:lnTo>
                    <a:lnTo>
                      <a:pt x="47" y="286"/>
                    </a:lnTo>
                    <a:lnTo>
                      <a:pt x="45" y="286"/>
                    </a:lnTo>
                    <a:lnTo>
                      <a:pt x="45" y="284"/>
                    </a:lnTo>
                    <a:lnTo>
                      <a:pt x="45" y="282"/>
                    </a:lnTo>
                    <a:lnTo>
                      <a:pt x="45" y="280"/>
                    </a:lnTo>
                    <a:lnTo>
                      <a:pt x="47" y="280"/>
                    </a:lnTo>
                    <a:lnTo>
                      <a:pt x="49" y="279"/>
                    </a:lnTo>
                    <a:lnTo>
                      <a:pt x="52" y="279"/>
                    </a:lnTo>
                    <a:lnTo>
                      <a:pt x="54" y="279"/>
                    </a:lnTo>
                    <a:lnTo>
                      <a:pt x="56" y="279"/>
                    </a:lnTo>
                    <a:lnTo>
                      <a:pt x="58" y="277"/>
                    </a:lnTo>
                    <a:lnTo>
                      <a:pt x="58" y="275"/>
                    </a:lnTo>
                    <a:lnTo>
                      <a:pt x="56" y="275"/>
                    </a:lnTo>
                    <a:lnTo>
                      <a:pt x="56" y="273"/>
                    </a:lnTo>
                    <a:lnTo>
                      <a:pt x="54" y="273"/>
                    </a:lnTo>
                    <a:lnTo>
                      <a:pt x="54" y="271"/>
                    </a:lnTo>
                    <a:lnTo>
                      <a:pt x="52" y="271"/>
                    </a:lnTo>
                    <a:lnTo>
                      <a:pt x="52" y="269"/>
                    </a:lnTo>
                    <a:lnTo>
                      <a:pt x="51" y="269"/>
                    </a:lnTo>
                    <a:lnTo>
                      <a:pt x="49" y="269"/>
                    </a:lnTo>
                    <a:lnTo>
                      <a:pt x="49" y="267"/>
                    </a:lnTo>
                    <a:lnTo>
                      <a:pt x="49" y="265"/>
                    </a:lnTo>
                    <a:lnTo>
                      <a:pt x="51" y="265"/>
                    </a:lnTo>
                    <a:lnTo>
                      <a:pt x="51" y="263"/>
                    </a:lnTo>
                    <a:lnTo>
                      <a:pt x="52" y="263"/>
                    </a:lnTo>
                    <a:lnTo>
                      <a:pt x="52" y="262"/>
                    </a:lnTo>
                    <a:lnTo>
                      <a:pt x="52" y="260"/>
                    </a:lnTo>
                    <a:lnTo>
                      <a:pt x="54" y="258"/>
                    </a:lnTo>
                    <a:lnTo>
                      <a:pt x="54" y="256"/>
                    </a:lnTo>
                    <a:lnTo>
                      <a:pt x="56" y="256"/>
                    </a:lnTo>
                    <a:lnTo>
                      <a:pt x="56" y="254"/>
                    </a:lnTo>
                    <a:lnTo>
                      <a:pt x="58" y="254"/>
                    </a:lnTo>
                    <a:lnTo>
                      <a:pt x="58" y="252"/>
                    </a:lnTo>
                    <a:lnTo>
                      <a:pt x="58" y="250"/>
                    </a:lnTo>
                    <a:lnTo>
                      <a:pt x="58" y="248"/>
                    </a:lnTo>
                    <a:lnTo>
                      <a:pt x="58" y="246"/>
                    </a:lnTo>
                    <a:lnTo>
                      <a:pt x="60" y="246"/>
                    </a:lnTo>
                    <a:lnTo>
                      <a:pt x="60" y="245"/>
                    </a:lnTo>
                    <a:lnTo>
                      <a:pt x="58" y="245"/>
                    </a:lnTo>
                    <a:lnTo>
                      <a:pt x="58" y="243"/>
                    </a:lnTo>
                    <a:lnTo>
                      <a:pt x="56" y="243"/>
                    </a:lnTo>
                    <a:lnTo>
                      <a:pt x="56" y="241"/>
                    </a:lnTo>
                    <a:lnTo>
                      <a:pt x="56" y="239"/>
                    </a:lnTo>
                    <a:lnTo>
                      <a:pt x="58" y="239"/>
                    </a:lnTo>
                    <a:lnTo>
                      <a:pt x="60" y="239"/>
                    </a:lnTo>
                    <a:lnTo>
                      <a:pt x="60" y="237"/>
                    </a:lnTo>
                    <a:lnTo>
                      <a:pt x="62" y="239"/>
                    </a:lnTo>
                    <a:lnTo>
                      <a:pt x="64" y="239"/>
                    </a:lnTo>
                    <a:lnTo>
                      <a:pt x="66" y="239"/>
                    </a:lnTo>
                    <a:lnTo>
                      <a:pt x="68" y="239"/>
                    </a:lnTo>
                    <a:lnTo>
                      <a:pt x="68" y="241"/>
                    </a:lnTo>
                    <a:lnTo>
                      <a:pt x="69" y="241"/>
                    </a:lnTo>
                    <a:lnTo>
                      <a:pt x="69" y="239"/>
                    </a:lnTo>
                    <a:lnTo>
                      <a:pt x="69" y="237"/>
                    </a:lnTo>
                    <a:lnTo>
                      <a:pt x="68" y="237"/>
                    </a:lnTo>
                    <a:lnTo>
                      <a:pt x="66" y="237"/>
                    </a:lnTo>
                    <a:lnTo>
                      <a:pt x="66" y="235"/>
                    </a:lnTo>
                    <a:lnTo>
                      <a:pt x="66" y="233"/>
                    </a:lnTo>
                    <a:lnTo>
                      <a:pt x="68" y="233"/>
                    </a:lnTo>
                    <a:lnTo>
                      <a:pt x="68" y="231"/>
                    </a:lnTo>
                    <a:lnTo>
                      <a:pt x="69" y="231"/>
                    </a:lnTo>
                    <a:lnTo>
                      <a:pt x="69" y="230"/>
                    </a:lnTo>
                    <a:lnTo>
                      <a:pt x="71" y="228"/>
                    </a:lnTo>
                    <a:lnTo>
                      <a:pt x="71" y="226"/>
                    </a:lnTo>
                    <a:lnTo>
                      <a:pt x="71" y="224"/>
                    </a:lnTo>
                    <a:lnTo>
                      <a:pt x="71" y="222"/>
                    </a:lnTo>
                    <a:lnTo>
                      <a:pt x="73" y="222"/>
                    </a:lnTo>
                    <a:lnTo>
                      <a:pt x="73" y="220"/>
                    </a:lnTo>
                    <a:lnTo>
                      <a:pt x="75" y="218"/>
                    </a:lnTo>
                    <a:lnTo>
                      <a:pt x="77" y="218"/>
                    </a:lnTo>
                    <a:lnTo>
                      <a:pt x="77" y="216"/>
                    </a:lnTo>
                    <a:lnTo>
                      <a:pt x="79" y="216"/>
                    </a:lnTo>
                    <a:lnTo>
                      <a:pt x="81" y="214"/>
                    </a:lnTo>
                    <a:lnTo>
                      <a:pt x="83" y="214"/>
                    </a:lnTo>
                    <a:lnTo>
                      <a:pt x="83" y="213"/>
                    </a:lnTo>
                    <a:lnTo>
                      <a:pt x="84" y="213"/>
                    </a:lnTo>
                    <a:lnTo>
                      <a:pt x="86" y="211"/>
                    </a:lnTo>
                    <a:lnTo>
                      <a:pt x="88" y="211"/>
                    </a:lnTo>
                    <a:lnTo>
                      <a:pt x="88" y="209"/>
                    </a:lnTo>
                    <a:lnTo>
                      <a:pt x="90" y="207"/>
                    </a:lnTo>
                    <a:lnTo>
                      <a:pt x="90" y="205"/>
                    </a:lnTo>
                    <a:lnTo>
                      <a:pt x="88" y="205"/>
                    </a:lnTo>
                    <a:lnTo>
                      <a:pt x="88" y="203"/>
                    </a:lnTo>
                    <a:lnTo>
                      <a:pt x="88" y="201"/>
                    </a:lnTo>
                    <a:lnTo>
                      <a:pt x="88" y="199"/>
                    </a:lnTo>
                    <a:lnTo>
                      <a:pt x="90" y="199"/>
                    </a:lnTo>
                    <a:lnTo>
                      <a:pt x="90" y="198"/>
                    </a:lnTo>
                    <a:lnTo>
                      <a:pt x="92" y="198"/>
                    </a:lnTo>
                    <a:lnTo>
                      <a:pt x="94" y="198"/>
                    </a:lnTo>
                    <a:lnTo>
                      <a:pt x="96" y="198"/>
                    </a:lnTo>
                    <a:lnTo>
                      <a:pt x="98" y="198"/>
                    </a:lnTo>
                    <a:lnTo>
                      <a:pt x="100" y="196"/>
                    </a:lnTo>
                    <a:lnTo>
                      <a:pt x="100" y="194"/>
                    </a:lnTo>
                    <a:lnTo>
                      <a:pt x="98" y="194"/>
                    </a:lnTo>
                    <a:lnTo>
                      <a:pt x="98" y="192"/>
                    </a:lnTo>
                    <a:lnTo>
                      <a:pt x="98" y="190"/>
                    </a:lnTo>
                    <a:lnTo>
                      <a:pt x="98" y="188"/>
                    </a:lnTo>
                    <a:lnTo>
                      <a:pt x="98" y="186"/>
                    </a:lnTo>
                    <a:lnTo>
                      <a:pt x="100" y="186"/>
                    </a:lnTo>
                    <a:lnTo>
                      <a:pt x="101" y="188"/>
                    </a:lnTo>
                    <a:lnTo>
                      <a:pt x="103" y="190"/>
                    </a:lnTo>
                    <a:lnTo>
                      <a:pt x="105" y="190"/>
                    </a:lnTo>
                    <a:lnTo>
                      <a:pt x="105" y="188"/>
                    </a:lnTo>
                    <a:lnTo>
                      <a:pt x="107" y="188"/>
                    </a:lnTo>
                    <a:lnTo>
                      <a:pt x="107" y="186"/>
                    </a:lnTo>
                    <a:lnTo>
                      <a:pt x="107" y="184"/>
                    </a:lnTo>
                    <a:lnTo>
                      <a:pt x="109" y="184"/>
                    </a:lnTo>
                    <a:lnTo>
                      <a:pt x="111" y="184"/>
                    </a:lnTo>
                    <a:lnTo>
                      <a:pt x="111" y="186"/>
                    </a:lnTo>
                    <a:lnTo>
                      <a:pt x="111" y="188"/>
                    </a:lnTo>
                    <a:lnTo>
                      <a:pt x="111" y="190"/>
                    </a:lnTo>
                    <a:lnTo>
                      <a:pt x="109" y="190"/>
                    </a:lnTo>
                    <a:lnTo>
                      <a:pt x="109" y="192"/>
                    </a:lnTo>
                    <a:lnTo>
                      <a:pt x="109" y="194"/>
                    </a:lnTo>
                    <a:lnTo>
                      <a:pt x="111" y="194"/>
                    </a:lnTo>
                    <a:lnTo>
                      <a:pt x="111" y="196"/>
                    </a:lnTo>
                    <a:lnTo>
                      <a:pt x="113" y="196"/>
                    </a:lnTo>
                    <a:lnTo>
                      <a:pt x="115" y="196"/>
                    </a:lnTo>
                    <a:lnTo>
                      <a:pt x="116" y="196"/>
                    </a:lnTo>
                    <a:lnTo>
                      <a:pt x="118" y="194"/>
                    </a:lnTo>
                    <a:lnTo>
                      <a:pt x="118" y="192"/>
                    </a:lnTo>
                    <a:lnTo>
                      <a:pt x="118" y="190"/>
                    </a:lnTo>
                    <a:lnTo>
                      <a:pt x="120" y="190"/>
                    </a:lnTo>
                    <a:lnTo>
                      <a:pt x="122" y="188"/>
                    </a:lnTo>
                    <a:lnTo>
                      <a:pt x="124" y="188"/>
                    </a:lnTo>
                    <a:lnTo>
                      <a:pt x="126" y="188"/>
                    </a:lnTo>
                    <a:lnTo>
                      <a:pt x="126" y="190"/>
                    </a:lnTo>
                    <a:lnTo>
                      <a:pt x="128" y="190"/>
                    </a:lnTo>
                    <a:lnTo>
                      <a:pt x="128" y="192"/>
                    </a:lnTo>
                    <a:lnTo>
                      <a:pt x="130" y="192"/>
                    </a:lnTo>
                    <a:lnTo>
                      <a:pt x="131" y="192"/>
                    </a:lnTo>
                    <a:lnTo>
                      <a:pt x="131" y="190"/>
                    </a:lnTo>
                    <a:lnTo>
                      <a:pt x="133" y="188"/>
                    </a:lnTo>
                    <a:lnTo>
                      <a:pt x="135" y="188"/>
                    </a:lnTo>
                    <a:lnTo>
                      <a:pt x="137" y="188"/>
                    </a:lnTo>
                    <a:lnTo>
                      <a:pt x="139" y="186"/>
                    </a:lnTo>
                    <a:lnTo>
                      <a:pt x="139" y="184"/>
                    </a:lnTo>
                    <a:lnTo>
                      <a:pt x="141" y="182"/>
                    </a:lnTo>
                    <a:lnTo>
                      <a:pt x="143" y="182"/>
                    </a:lnTo>
                    <a:lnTo>
                      <a:pt x="143" y="181"/>
                    </a:lnTo>
                    <a:lnTo>
                      <a:pt x="145" y="181"/>
                    </a:lnTo>
                    <a:lnTo>
                      <a:pt x="147" y="181"/>
                    </a:lnTo>
                    <a:lnTo>
                      <a:pt x="148" y="181"/>
                    </a:lnTo>
                    <a:lnTo>
                      <a:pt x="148" y="179"/>
                    </a:lnTo>
                    <a:lnTo>
                      <a:pt x="150" y="179"/>
                    </a:lnTo>
                    <a:lnTo>
                      <a:pt x="152" y="179"/>
                    </a:lnTo>
                    <a:lnTo>
                      <a:pt x="152" y="181"/>
                    </a:lnTo>
                    <a:lnTo>
                      <a:pt x="154" y="181"/>
                    </a:lnTo>
                    <a:lnTo>
                      <a:pt x="156" y="181"/>
                    </a:lnTo>
                    <a:lnTo>
                      <a:pt x="158" y="181"/>
                    </a:lnTo>
                    <a:lnTo>
                      <a:pt x="160" y="181"/>
                    </a:lnTo>
                    <a:lnTo>
                      <a:pt x="162" y="181"/>
                    </a:lnTo>
                    <a:lnTo>
                      <a:pt x="163" y="181"/>
                    </a:lnTo>
                    <a:lnTo>
                      <a:pt x="165" y="181"/>
                    </a:lnTo>
                    <a:lnTo>
                      <a:pt x="165" y="179"/>
                    </a:lnTo>
                    <a:lnTo>
                      <a:pt x="167" y="179"/>
                    </a:lnTo>
                    <a:lnTo>
                      <a:pt x="167" y="181"/>
                    </a:lnTo>
                    <a:lnTo>
                      <a:pt x="169" y="181"/>
                    </a:lnTo>
                    <a:lnTo>
                      <a:pt x="169" y="182"/>
                    </a:lnTo>
                    <a:lnTo>
                      <a:pt x="169" y="184"/>
                    </a:lnTo>
                    <a:lnTo>
                      <a:pt x="171" y="184"/>
                    </a:lnTo>
                    <a:lnTo>
                      <a:pt x="173" y="184"/>
                    </a:lnTo>
                    <a:lnTo>
                      <a:pt x="173" y="182"/>
                    </a:lnTo>
                    <a:lnTo>
                      <a:pt x="175" y="182"/>
                    </a:lnTo>
                    <a:lnTo>
                      <a:pt x="177" y="182"/>
                    </a:lnTo>
                    <a:lnTo>
                      <a:pt x="177" y="184"/>
                    </a:lnTo>
                    <a:lnTo>
                      <a:pt x="179" y="184"/>
                    </a:lnTo>
                    <a:lnTo>
                      <a:pt x="180" y="184"/>
                    </a:lnTo>
                    <a:lnTo>
                      <a:pt x="182" y="182"/>
                    </a:lnTo>
                    <a:lnTo>
                      <a:pt x="184" y="182"/>
                    </a:lnTo>
                    <a:lnTo>
                      <a:pt x="186" y="182"/>
                    </a:lnTo>
                    <a:lnTo>
                      <a:pt x="188" y="182"/>
                    </a:lnTo>
                    <a:lnTo>
                      <a:pt x="188" y="184"/>
                    </a:lnTo>
                    <a:lnTo>
                      <a:pt x="188" y="186"/>
                    </a:lnTo>
                    <a:lnTo>
                      <a:pt x="190" y="186"/>
                    </a:lnTo>
                    <a:lnTo>
                      <a:pt x="190" y="188"/>
                    </a:lnTo>
                    <a:lnTo>
                      <a:pt x="192" y="188"/>
                    </a:lnTo>
                    <a:lnTo>
                      <a:pt x="194" y="188"/>
                    </a:lnTo>
                    <a:lnTo>
                      <a:pt x="195" y="188"/>
                    </a:lnTo>
                    <a:lnTo>
                      <a:pt x="197" y="188"/>
                    </a:lnTo>
                    <a:lnTo>
                      <a:pt x="199" y="188"/>
                    </a:lnTo>
                    <a:lnTo>
                      <a:pt x="199" y="190"/>
                    </a:lnTo>
                    <a:lnTo>
                      <a:pt x="201" y="190"/>
                    </a:lnTo>
                    <a:lnTo>
                      <a:pt x="201" y="192"/>
                    </a:lnTo>
                    <a:lnTo>
                      <a:pt x="203" y="192"/>
                    </a:lnTo>
                    <a:lnTo>
                      <a:pt x="203" y="190"/>
                    </a:lnTo>
                    <a:lnTo>
                      <a:pt x="205" y="188"/>
                    </a:lnTo>
                    <a:lnTo>
                      <a:pt x="207" y="186"/>
                    </a:lnTo>
                    <a:lnTo>
                      <a:pt x="207" y="184"/>
                    </a:lnTo>
                    <a:lnTo>
                      <a:pt x="207" y="182"/>
                    </a:lnTo>
                    <a:lnTo>
                      <a:pt x="209" y="181"/>
                    </a:lnTo>
                    <a:lnTo>
                      <a:pt x="210" y="181"/>
                    </a:lnTo>
                    <a:lnTo>
                      <a:pt x="212" y="181"/>
                    </a:lnTo>
                    <a:lnTo>
                      <a:pt x="214" y="181"/>
                    </a:lnTo>
                    <a:lnTo>
                      <a:pt x="214" y="182"/>
                    </a:lnTo>
                    <a:lnTo>
                      <a:pt x="212" y="184"/>
                    </a:lnTo>
                    <a:lnTo>
                      <a:pt x="212" y="186"/>
                    </a:lnTo>
                    <a:lnTo>
                      <a:pt x="214" y="186"/>
                    </a:lnTo>
                    <a:lnTo>
                      <a:pt x="216" y="186"/>
                    </a:lnTo>
                    <a:lnTo>
                      <a:pt x="218" y="186"/>
                    </a:lnTo>
                    <a:lnTo>
                      <a:pt x="218" y="188"/>
                    </a:lnTo>
                    <a:lnTo>
                      <a:pt x="218" y="190"/>
                    </a:lnTo>
                    <a:lnTo>
                      <a:pt x="220" y="190"/>
                    </a:lnTo>
                    <a:lnTo>
                      <a:pt x="222" y="192"/>
                    </a:lnTo>
                    <a:lnTo>
                      <a:pt x="222" y="194"/>
                    </a:lnTo>
                    <a:lnTo>
                      <a:pt x="224" y="194"/>
                    </a:lnTo>
                    <a:lnTo>
                      <a:pt x="224" y="196"/>
                    </a:lnTo>
                    <a:lnTo>
                      <a:pt x="224" y="198"/>
                    </a:lnTo>
                    <a:lnTo>
                      <a:pt x="222" y="198"/>
                    </a:lnTo>
                    <a:lnTo>
                      <a:pt x="222" y="199"/>
                    </a:lnTo>
                    <a:lnTo>
                      <a:pt x="222" y="201"/>
                    </a:lnTo>
                    <a:lnTo>
                      <a:pt x="224" y="201"/>
                    </a:lnTo>
                    <a:lnTo>
                      <a:pt x="226" y="201"/>
                    </a:lnTo>
                    <a:lnTo>
                      <a:pt x="226" y="199"/>
                    </a:lnTo>
                    <a:lnTo>
                      <a:pt x="227" y="199"/>
                    </a:lnTo>
                    <a:lnTo>
                      <a:pt x="229" y="198"/>
                    </a:lnTo>
                    <a:lnTo>
                      <a:pt x="231" y="199"/>
                    </a:lnTo>
                    <a:lnTo>
                      <a:pt x="231" y="201"/>
                    </a:lnTo>
                    <a:lnTo>
                      <a:pt x="233" y="201"/>
                    </a:lnTo>
                    <a:lnTo>
                      <a:pt x="235" y="201"/>
                    </a:lnTo>
                    <a:lnTo>
                      <a:pt x="239" y="201"/>
                    </a:lnTo>
                    <a:lnTo>
                      <a:pt x="239" y="203"/>
                    </a:lnTo>
                    <a:lnTo>
                      <a:pt x="239" y="205"/>
                    </a:lnTo>
                    <a:lnTo>
                      <a:pt x="237" y="205"/>
                    </a:lnTo>
                    <a:lnTo>
                      <a:pt x="237" y="207"/>
                    </a:lnTo>
                    <a:lnTo>
                      <a:pt x="239" y="207"/>
                    </a:lnTo>
                    <a:lnTo>
                      <a:pt x="241" y="207"/>
                    </a:lnTo>
                    <a:lnTo>
                      <a:pt x="242" y="207"/>
                    </a:lnTo>
                    <a:lnTo>
                      <a:pt x="244" y="207"/>
                    </a:lnTo>
                    <a:lnTo>
                      <a:pt x="244" y="209"/>
                    </a:lnTo>
                    <a:lnTo>
                      <a:pt x="244" y="211"/>
                    </a:lnTo>
                    <a:lnTo>
                      <a:pt x="244" y="213"/>
                    </a:lnTo>
                    <a:lnTo>
                      <a:pt x="244" y="214"/>
                    </a:lnTo>
                    <a:lnTo>
                      <a:pt x="246" y="214"/>
                    </a:lnTo>
                    <a:lnTo>
                      <a:pt x="248" y="214"/>
                    </a:lnTo>
                    <a:lnTo>
                      <a:pt x="248" y="213"/>
                    </a:lnTo>
                    <a:lnTo>
                      <a:pt x="250" y="211"/>
                    </a:lnTo>
                    <a:lnTo>
                      <a:pt x="252" y="211"/>
                    </a:lnTo>
                    <a:lnTo>
                      <a:pt x="254" y="211"/>
                    </a:lnTo>
                    <a:lnTo>
                      <a:pt x="254" y="213"/>
                    </a:lnTo>
                    <a:lnTo>
                      <a:pt x="254" y="214"/>
                    </a:lnTo>
                    <a:lnTo>
                      <a:pt x="252" y="214"/>
                    </a:lnTo>
                    <a:lnTo>
                      <a:pt x="252" y="216"/>
                    </a:lnTo>
                    <a:lnTo>
                      <a:pt x="254" y="216"/>
                    </a:lnTo>
                    <a:lnTo>
                      <a:pt x="256" y="216"/>
                    </a:lnTo>
                    <a:lnTo>
                      <a:pt x="256" y="218"/>
                    </a:lnTo>
                    <a:lnTo>
                      <a:pt x="258" y="218"/>
                    </a:lnTo>
                    <a:lnTo>
                      <a:pt x="258" y="220"/>
                    </a:lnTo>
                    <a:lnTo>
                      <a:pt x="258" y="222"/>
                    </a:lnTo>
                    <a:lnTo>
                      <a:pt x="258" y="224"/>
                    </a:lnTo>
                    <a:lnTo>
                      <a:pt x="259" y="224"/>
                    </a:lnTo>
                    <a:lnTo>
                      <a:pt x="261" y="224"/>
                    </a:lnTo>
                    <a:lnTo>
                      <a:pt x="263" y="224"/>
                    </a:lnTo>
                    <a:lnTo>
                      <a:pt x="263" y="222"/>
                    </a:lnTo>
                    <a:lnTo>
                      <a:pt x="263" y="220"/>
                    </a:lnTo>
                    <a:lnTo>
                      <a:pt x="265" y="220"/>
                    </a:lnTo>
                    <a:lnTo>
                      <a:pt x="267" y="220"/>
                    </a:lnTo>
                    <a:lnTo>
                      <a:pt x="267" y="222"/>
                    </a:lnTo>
                    <a:lnTo>
                      <a:pt x="269" y="222"/>
                    </a:lnTo>
                    <a:lnTo>
                      <a:pt x="269" y="224"/>
                    </a:lnTo>
                    <a:lnTo>
                      <a:pt x="267" y="224"/>
                    </a:lnTo>
                    <a:lnTo>
                      <a:pt x="267" y="226"/>
                    </a:lnTo>
                    <a:lnTo>
                      <a:pt x="265" y="226"/>
                    </a:lnTo>
                    <a:lnTo>
                      <a:pt x="265" y="228"/>
                    </a:lnTo>
                    <a:lnTo>
                      <a:pt x="267" y="228"/>
                    </a:lnTo>
                    <a:lnTo>
                      <a:pt x="269" y="228"/>
                    </a:lnTo>
                    <a:lnTo>
                      <a:pt x="271" y="228"/>
                    </a:lnTo>
                    <a:lnTo>
                      <a:pt x="273" y="228"/>
                    </a:lnTo>
                    <a:lnTo>
                      <a:pt x="274" y="230"/>
                    </a:lnTo>
                    <a:lnTo>
                      <a:pt x="274" y="231"/>
                    </a:lnTo>
                    <a:lnTo>
                      <a:pt x="274" y="233"/>
                    </a:lnTo>
                    <a:lnTo>
                      <a:pt x="276" y="233"/>
                    </a:lnTo>
                    <a:lnTo>
                      <a:pt x="276" y="231"/>
                    </a:lnTo>
                    <a:lnTo>
                      <a:pt x="278" y="231"/>
                    </a:lnTo>
                    <a:lnTo>
                      <a:pt x="278" y="230"/>
                    </a:lnTo>
                    <a:lnTo>
                      <a:pt x="280" y="228"/>
                    </a:lnTo>
                    <a:lnTo>
                      <a:pt x="282" y="228"/>
                    </a:lnTo>
                    <a:lnTo>
                      <a:pt x="282" y="230"/>
                    </a:lnTo>
                    <a:lnTo>
                      <a:pt x="282" y="231"/>
                    </a:lnTo>
                    <a:lnTo>
                      <a:pt x="284" y="231"/>
                    </a:lnTo>
                    <a:lnTo>
                      <a:pt x="286" y="233"/>
                    </a:lnTo>
                    <a:lnTo>
                      <a:pt x="288" y="233"/>
                    </a:lnTo>
                    <a:lnTo>
                      <a:pt x="289" y="233"/>
                    </a:lnTo>
                    <a:lnTo>
                      <a:pt x="289" y="235"/>
                    </a:lnTo>
                    <a:lnTo>
                      <a:pt x="288" y="237"/>
                    </a:lnTo>
                    <a:lnTo>
                      <a:pt x="288" y="239"/>
                    </a:lnTo>
                    <a:lnTo>
                      <a:pt x="289" y="239"/>
                    </a:lnTo>
                    <a:lnTo>
                      <a:pt x="289" y="241"/>
                    </a:lnTo>
                    <a:lnTo>
                      <a:pt x="291" y="241"/>
                    </a:lnTo>
                    <a:lnTo>
                      <a:pt x="289" y="241"/>
                    </a:lnTo>
                    <a:lnTo>
                      <a:pt x="289" y="243"/>
                    </a:lnTo>
                    <a:lnTo>
                      <a:pt x="289" y="245"/>
                    </a:lnTo>
                    <a:lnTo>
                      <a:pt x="291" y="245"/>
                    </a:lnTo>
                    <a:lnTo>
                      <a:pt x="293" y="245"/>
                    </a:lnTo>
                    <a:lnTo>
                      <a:pt x="295" y="245"/>
                    </a:lnTo>
                    <a:lnTo>
                      <a:pt x="295" y="246"/>
                    </a:lnTo>
                    <a:lnTo>
                      <a:pt x="297" y="246"/>
                    </a:lnTo>
                    <a:lnTo>
                      <a:pt x="299" y="246"/>
                    </a:lnTo>
                    <a:lnTo>
                      <a:pt x="301" y="246"/>
                    </a:lnTo>
                    <a:lnTo>
                      <a:pt x="303" y="246"/>
                    </a:lnTo>
                    <a:lnTo>
                      <a:pt x="305" y="246"/>
                    </a:lnTo>
                    <a:lnTo>
                      <a:pt x="305" y="248"/>
                    </a:lnTo>
                    <a:lnTo>
                      <a:pt x="305" y="250"/>
                    </a:lnTo>
                    <a:lnTo>
                      <a:pt x="303" y="250"/>
                    </a:lnTo>
                    <a:lnTo>
                      <a:pt x="303" y="252"/>
                    </a:lnTo>
                    <a:lnTo>
                      <a:pt x="301" y="252"/>
                    </a:lnTo>
                    <a:lnTo>
                      <a:pt x="301" y="254"/>
                    </a:lnTo>
                    <a:lnTo>
                      <a:pt x="303" y="256"/>
                    </a:lnTo>
                    <a:lnTo>
                      <a:pt x="303" y="258"/>
                    </a:lnTo>
                    <a:lnTo>
                      <a:pt x="305" y="258"/>
                    </a:lnTo>
                    <a:lnTo>
                      <a:pt x="306" y="258"/>
                    </a:lnTo>
                    <a:lnTo>
                      <a:pt x="306" y="256"/>
                    </a:lnTo>
                    <a:lnTo>
                      <a:pt x="308" y="256"/>
                    </a:lnTo>
                    <a:lnTo>
                      <a:pt x="310" y="256"/>
                    </a:lnTo>
                    <a:lnTo>
                      <a:pt x="310" y="258"/>
                    </a:lnTo>
                    <a:lnTo>
                      <a:pt x="310" y="260"/>
                    </a:lnTo>
                    <a:lnTo>
                      <a:pt x="310" y="262"/>
                    </a:lnTo>
                    <a:lnTo>
                      <a:pt x="310" y="263"/>
                    </a:lnTo>
                    <a:lnTo>
                      <a:pt x="312" y="263"/>
                    </a:lnTo>
                    <a:lnTo>
                      <a:pt x="314" y="263"/>
                    </a:lnTo>
                    <a:lnTo>
                      <a:pt x="316" y="263"/>
                    </a:lnTo>
                    <a:lnTo>
                      <a:pt x="318" y="263"/>
                    </a:lnTo>
                    <a:lnTo>
                      <a:pt x="320" y="265"/>
                    </a:lnTo>
                    <a:lnTo>
                      <a:pt x="321" y="267"/>
                    </a:lnTo>
                    <a:lnTo>
                      <a:pt x="320" y="269"/>
                    </a:lnTo>
                    <a:lnTo>
                      <a:pt x="321" y="269"/>
                    </a:lnTo>
                    <a:lnTo>
                      <a:pt x="321" y="271"/>
                    </a:lnTo>
                    <a:lnTo>
                      <a:pt x="323" y="271"/>
                    </a:lnTo>
                    <a:lnTo>
                      <a:pt x="325" y="273"/>
                    </a:lnTo>
                    <a:lnTo>
                      <a:pt x="327" y="273"/>
                    </a:lnTo>
                    <a:lnTo>
                      <a:pt x="327" y="275"/>
                    </a:lnTo>
                    <a:lnTo>
                      <a:pt x="327" y="277"/>
                    </a:lnTo>
                    <a:lnTo>
                      <a:pt x="325" y="277"/>
                    </a:lnTo>
                    <a:lnTo>
                      <a:pt x="325" y="279"/>
                    </a:lnTo>
                    <a:lnTo>
                      <a:pt x="327" y="280"/>
                    </a:lnTo>
                    <a:lnTo>
                      <a:pt x="329" y="280"/>
                    </a:lnTo>
                    <a:lnTo>
                      <a:pt x="331" y="280"/>
                    </a:lnTo>
                    <a:lnTo>
                      <a:pt x="331" y="282"/>
                    </a:lnTo>
                    <a:lnTo>
                      <a:pt x="333" y="282"/>
                    </a:lnTo>
                    <a:lnTo>
                      <a:pt x="335" y="282"/>
                    </a:lnTo>
                    <a:lnTo>
                      <a:pt x="337" y="282"/>
                    </a:lnTo>
                    <a:lnTo>
                      <a:pt x="338" y="282"/>
                    </a:lnTo>
                    <a:lnTo>
                      <a:pt x="338" y="280"/>
                    </a:lnTo>
                    <a:lnTo>
                      <a:pt x="338" y="279"/>
                    </a:lnTo>
                    <a:lnTo>
                      <a:pt x="340" y="279"/>
                    </a:lnTo>
                    <a:lnTo>
                      <a:pt x="342" y="277"/>
                    </a:lnTo>
                    <a:lnTo>
                      <a:pt x="344" y="277"/>
                    </a:lnTo>
                    <a:lnTo>
                      <a:pt x="346" y="277"/>
                    </a:lnTo>
                    <a:lnTo>
                      <a:pt x="346" y="279"/>
                    </a:lnTo>
                    <a:lnTo>
                      <a:pt x="348" y="279"/>
                    </a:lnTo>
                    <a:lnTo>
                      <a:pt x="350" y="279"/>
                    </a:lnTo>
                    <a:lnTo>
                      <a:pt x="352" y="279"/>
                    </a:lnTo>
                    <a:lnTo>
                      <a:pt x="352" y="277"/>
                    </a:lnTo>
                    <a:lnTo>
                      <a:pt x="352" y="279"/>
                    </a:lnTo>
                    <a:lnTo>
                      <a:pt x="353" y="279"/>
                    </a:lnTo>
                    <a:lnTo>
                      <a:pt x="353" y="280"/>
                    </a:lnTo>
                    <a:lnTo>
                      <a:pt x="352" y="280"/>
                    </a:lnTo>
                    <a:lnTo>
                      <a:pt x="352" y="282"/>
                    </a:lnTo>
                    <a:lnTo>
                      <a:pt x="352" y="284"/>
                    </a:lnTo>
                    <a:lnTo>
                      <a:pt x="352" y="286"/>
                    </a:lnTo>
                    <a:lnTo>
                      <a:pt x="353" y="286"/>
                    </a:lnTo>
                    <a:lnTo>
                      <a:pt x="355" y="284"/>
                    </a:lnTo>
                    <a:lnTo>
                      <a:pt x="357" y="284"/>
                    </a:lnTo>
                    <a:lnTo>
                      <a:pt x="357" y="282"/>
                    </a:lnTo>
                    <a:lnTo>
                      <a:pt x="359" y="282"/>
                    </a:lnTo>
                    <a:lnTo>
                      <a:pt x="361" y="282"/>
                    </a:lnTo>
                    <a:lnTo>
                      <a:pt x="361" y="284"/>
                    </a:lnTo>
                    <a:lnTo>
                      <a:pt x="363" y="286"/>
                    </a:lnTo>
                    <a:lnTo>
                      <a:pt x="365" y="286"/>
                    </a:lnTo>
                    <a:lnTo>
                      <a:pt x="367" y="286"/>
                    </a:lnTo>
                    <a:lnTo>
                      <a:pt x="368" y="286"/>
                    </a:lnTo>
                    <a:lnTo>
                      <a:pt x="368" y="284"/>
                    </a:lnTo>
                    <a:lnTo>
                      <a:pt x="367" y="282"/>
                    </a:lnTo>
                    <a:lnTo>
                      <a:pt x="368" y="280"/>
                    </a:lnTo>
                    <a:lnTo>
                      <a:pt x="370" y="280"/>
                    </a:lnTo>
                    <a:lnTo>
                      <a:pt x="370" y="282"/>
                    </a:lnTo>
                    <a:lnTo>
                      <a:pt x="372" y="284"/>
                    </a:lnTo>
                    <a:lnTo>
                      <a:pt x="374" y="282"/>
                    </a:lnTo>
                    <a:lnTo>
                      <a:pt x="376" y="280"/>
                    </a:lnTo>
                    <a:lnTo>
                      <a:pt x="378" y="280"/>
                    </a:lnTo>
                    <a:lnTo>
                      <a:pt x="380" y="280"/>
                    </a:lnTo>
                    <a:lnTo>
                      <a:pt x="382" y="280"/>
                    </a:lnTo>
                    <a:lnTo>
                      <a:pt x="384" y="280"/>
                    </a:lnTo>
                    <a:lnTo>
                      <a:pt x="385" y="280"/>
                    </a:lnTo>
                    <a:lnTo>
                      <a:pt x="387" y="279"/>
                    </a:lnTo>
                    <a:lnTo>
                      <a:pt x="387" y="277"/>
                    </a:lnTo>
                    <a:lnTo>
                      <a:pt x="387" y="275"/>
                    </a:lnTo>
                    <a:lnTo>
                      <a:pt x="389" y="275"/>
                    </a:lnTo>
                    <a:lnTo>
                      <a:pt x="391" y="275"/>
                    </a:lnTo>
                    <a:lnTo>
                      <a:pt x="393" y="275"/>
                    </a:lnTo>
                    <a:lnTo>
                      <a:pt x="393" y="277"/>
                    </a:lnTo>
                    <a:lnTo>
                      <a:pt x="391" y="279"/>
                    </a:lnTo>
                    <a:lnTo>
                      <a:pt x="391" y="280"/>
                    </a:lnTo>
                    <a:lnTo>
                      <a:pt x="393" y="280"/>
                    </a:lnTo>
                    <a:lnTo>
                      <a:pt x="395" y="280"/>
                    </a:lnTo>
                    <a:lnTo>
                      <a:pt x="397" y="280"/>
                    </a:lnTo>
                    <a:lnTo>
                      <a:pt x="397" y="279"/>
                    </a:lnTo>
                    <a:lnTo>
                      <a:pt x="399" y="279"/>
                    </a:lnTo>
                    <a:lnTo>
                      <a:pt x="400" y="279"/>
                    </a:lnTo>
                    <a:lnTo>
                      <a:pt x="402" y="279"/>
                    </a:lnTo>
                    <a:lnTo>
                      <a:pt x="402" y="280"/>
                    </a:lnTo>
                    <a:lnTo>
                      <a:pt x="404" y="280"/>
                    </a:lnTo>
                    <a:lnTo>
                      <a:pt x="404" y="282"/>
                    </a:lnTo>
                    <a:lnTo>
                      <a:pt x="404" y="284"/>
                    </a:lnTo>
                    <a:lnTo>
                      <a:pt x="406" y="284"/>
                    </a:lnTo>
                    <a:lnTo>
                      <a:pt x="408" y="284"/>
                    </a:lnTo>
                    <a:lnTo>
                      <a:pt x="410" y="284"/>
                    </a:lnTo>
                    <a:lnTo>
                      <a:pt x="410" y="286"/>
                    </a:lnTo>
                    <a:lnTo>
                      <a:pt x="408" y="286"/>
                    </a:lnTo>
                    <a:lnTo>
                      <a:pt x="408" y="288"/>
                    </a:lnTo>
                    <a:lnTo>
                      <a:pt x="410" y="288"/>
                    </a:lnTo>
                    <a:lnTo>
                      <a:pt x="410" y="290"/>
                    </a:lnTo>
                    <a:lnTo>
                      <a:pt x="412" y="292"/>
                    </a:lnTo>
                    <a:lnTo>
                      <a:pt x="414" y="292"/>
                    </a:lnTo>
                    <a:lnTo>
                      <a:pt x="416" y="294"/>
                    </a:lnTo>
                    <a:lnTo>
                      <a:pt x="416" y="295"/>
                    </a:lnTo>
                    <a:lnTo>
                      <a:pt x="414" y="295"/>
                    </a:lnTo>
                    <a:lnTo>
                      <a:pt x="416" y="295"/>
                    </a:lnTo>
                    <a:lnTo>
                      <a:pt x="416" y="297"/>
                    </a:lnTo>
                    <a:lnTo>
                      <a:pt x="417" y="297"/>
                    </a:lnTo>
                    <a:lnTo>
                      <a:pt x="417" y="299"/>
                    </a:lnTo>
                    <a:lnTo>
                      <a:pt x="417" y="301"/>
                    </a:lnTo>
                    <a:lnTo>
                      <a:pt x="417" y="303"/>
                    </a:lnTo>
                    <a:lnTo>
                      <a:pt x="419" y="303"/>
                    </a:lnTo>
                    <a:lnTo>
                      <a:pt x="421" y="301"/>
                    </a:lnTo>
                    <a:lnTo>
                      <a:pt x="421" y="299"/>
                    </a:lnTo>
                    <a:lnTo>
                      <a:pt x="423" y="299"/>
                    </a:lnTo>
                    <a:lnTo>
                      <a:pt x="423" y="297"/>
                    </a:lnTo>
                    <a:lnTo>
                      <a:pt x="425" y="299"/>
                    </a:lnTo>
                    <a:lnTo>
                      <a:pt x="425" y="301"/>
                    </a:lnTo>
                    <a:lnTo>
                      <a:pt x="425" y="303"/>
                    </a:lnTo>
                    <a:lnTo>
                      <a:pt x="423" y="303"/>
                    </a:lnTo>
                    <a:lnTo>
                      <a:pt x="421" y="305"/>
                    </a:lnTo>
                    <a:lnTo>
                      <a:pt x="423" y="305"/>
                    </a:lnTo>
                    <a:lnTo>
                      <a:pt x="423" y="307"/>
                    </a:lnTo>
                    <a:lnTo>
                      <a:pt x="423" y="309"/>
                    </a:lnTo>
                    <a:lnTo>
                      <a:pt x="425" y="309"/>
                    </a:lnTo>
                    <a:lnTo>
                      <a:pt x="425" y="307"/>
                    </a:lnTo>
                    <a:lnTo>
                      <a:pt x="427" y="305"/>
                    </a:lnTo>
                    <a:lnTo>
                      <a:pt x="429" y="305"/>
                    </a:lnTo>
                    <a:lnTo>
                      <a:pt x="431" y="305"/>
                    </a:lnTo>
                    <a:lnTo>
                      <a:pt x="432" y="305"/>
                    </a:lnTo>
                    <a:lnTo>
                      <a:pt x="432" y="303"/>
                    </a:lnTo>
                    <a:lnTo>
                      <a:pt x="434" y="303"/>
                    </a:lnTo>
                    <a:lnTo>
                      <a:pt x="434" y="305"/>
                    </a:lnTo>
                    <a:lnTo>
                      <a:pt x="434" y="307"/>
                    </a:lnTo>
                    <a:lnTo>
                      <a:pt x="432" y="307"/>
                    </a:lnTo>
                    <a:lnTo>
                      <a:pt x="432" y="309"/>
                    </a:lnTo>
                    <a:lnTo>
                      <a:pt x="434" y="309"/>
                    </a:lnTo>
                    <a:lnTo>
                      <a:pt x="434" y="311"/>
                    </a:lnTo>
                    <a:lnTo>
                      <a:pt x="436" y="311"/>
                    </a:lnTo>
                    <a:lnTo>
                      <a:pt x="436" y="312"/>
                    </a:lnTo>
                    <a:lnTo>
                      <a:pt x="438" y="312"/>
                    </a:lnTo>
                    <a:lnTo>
                      <a:pt x="438" y="314"/>
                    </a:lnTo>
                    <a:lnTo>
                      <a:pt x="440" y="314"/>
                    </a:lnTo>
                    <a:lnTo>
                      <a:pt x="442" y="316"/>
                    </a:lnTo>
                    <a:lnTo>
                      <a:pt x="444" y="316"/>
                    </a:lnTo>
                    <a:lnTo>
                      <a:pt x="444" y="318"/>
                    </a:lnTo>
                    <a:lnTo>
                      <a:pt x="446" y="318"/>
                    </a:lnTo>
                    <a:lnTo>
                      <a:pt x="447" y="318"/>
                    </a:lnTo>
                    <a:lnTo>
                      <a:pt x="449" y="318"/>
                    </a:lnTo>
                    <a:lnTo>
                      <a:pt x="449" y="316"/>
                    </a:lnTo>
                    <a:lnTo>
                      <a:pt x="451" y="316"/>
                    </a:lnTo>
                    <a:lnTo>
                      <a:pt x="451" y="318"/>
                    </a:lnTo>
                    <a:lnTo>
                      <a:pt x="453" y="318"/>
                    </a:lnTo>
                    <a:lnTo>
                      <a:pt x="455" y="316"/>
                    </a:lnTo>
                    <a:lnTo>
                      <a:pt x="453" y="316"/>
                    </a:lnTo>
                    <a:lnTo>
                      <a:pt x="453" y="314"/>
                    </a:lnTo>
                    <a:lnTo>
                      <a:pt x="455" y="314"/>
                    </a:lnTo>
                    <a:lnTo>
                      <a:pt x="455" y="312"/>
                    </a:lnTo>
                    <a:lnTo>
                      <a:pt x="457" y="312"/>
                    </a:lnTo>
                    <a:lnTo>
                      <a:pt x="457" y="314"/>
                    </a:lnTo>
                    <a:lnTo>
                      <a:pt x="459" y="314"/>
                    </a:lnTo>
                    <a:lnTo>
                      <a:pt x="461" y="314"/>
                    </a:lnTo>
                    <a:lnTo>
                      <a:pt x="461" y="312"/>
                    </a:lnTo>
                    <a:lnTo>
                      <a:pt x="461" y="311"/>
                    </a:lnTo>
                    <a:lnTo>
                      <a:pt x="463" y="311"/>
                    </a:lnTo>
                    <a:lnTo>
                      <a:pt x="463" y="312"/>
                    </a:lnTo>
                    <a:lnTo>
                      <a:pt x="464" y="312"/>
                    </a:lnTo>
                    <a:lnTo>
                      <a:pt x="464" y="311"/>
                    </a:lnTo>
                    <a:lnTo>
                      <a:pt x="466" y="311"/>
                    </a:lnTo>
                    <a:lnTo>
                      <a:pt x="466" y="312"/>
                    </a:lnTo>
                    <a:lnTo>
                      <a:pt x="468" y="312"/>
                    </a:lnTo>
                    <a:lnTo>
                      <a:pt x="470" y="312"/>
                    </a:lnTo>
                    <a:lnTo>
                      <a:pt x="470" y="311"/>
                    </a:lnTo>
                    <a:lnTo>
                      <a:pt x="472" y="311"/>
                    </a:lnTo>
                    <a:lnTo>
                      <a:pt x="472" y="312"/>
                    </a:lnTo>
                    <a:lnTo>
                      <a:pt x="472" y="314"/>
                    </a:lnTo>
                    <a:lnTo>
                      <a:pt x="474" y="314"/>
                    </a:lnTo>
                    <a:lnTo>
                      <a:pt x="476" y="314"/>
                    </a:lnTo>
                    <a:lnTo>
                      <a:pt x="478" y="316"/>
                    </a:lnTo>
                    <a:lnTo>
                      <a:pt x="479" y="316"/>
                    </a:lnTo>
                    <a:lnTo>
                      <a:pt x="481" y="316"/>
                    </a:lnTo>
                    <a:lnTo>
                      <a:pt x="481" y="318"/>
                    </a:lnTo>
                    <a:lnTo>
                      <a:pt x="483" y="318"/>
                    </a:lnTo>
                    <a:lnTo>
                      <a:pt x="485" y="318"/>
                    </a:lnTo>
                    <a:lnTo>
                      <a:pt x="487" y="320"/>
                    </a:lnTo>
                    <a:lnTo>
                      <a:pt x="489" y="320"/>
                    </a:lnTo>
                    <a:lnTo>
                      <a:pt x="491" y="320"/>
                    </a:lnTo>
                    <a:lnTo>
                      <a:pt x="493" y="320"/>
                    </a:lnTo>
                    <a:lnTo>
                      <a:pt x="495" y="320"/>
                    </a:lnTo>
                    <a:lnTo>
                      <a:pt x="496" y="320"/>
                    </a:lnTo>
                    <a:lnTo>
                      <a:pt x="496" y="322"/>
                    </a:lnTo>
                    <a:lnTo>
                      <a:pt x="498" y="322"/>
                    </a:lnTo>
                    <a:lnTo>
                      <a:pt x="500" y="324"/>
                    </a:lnTo>
                    <a:lnTo>
                      <a:pt x="500" y="326"/>
                    </a:lnTo>
                    <a:lnTo>
                      <a:pt x="502" y="326"/>
                    </a:lnTo>
                    <a:lnTo>
                      <a:pt x="504" y="326"/>
                    </a:lnTo>
                    <a:lnTo>
                      <a:pt x="504" y="327"/>
                    </a:lnTo>
                    <a:lnTo>
                      <a:pt x="506" y="327"/>
                    </a:lnTo>
                    <a:lnTo>
                      <a:pt x="506" y="329"/>
                    </a:lnTo>
                    <a:lnTo>
                      <a:pt x="508" y="329"/>
                    </a:lnTo>
                    <a:lnTo>
                      <a:pt x="510" y="329"/>
                    </a:lnTo>
                    <a:lnTo>
                      <a:pt x="511" y="329"/>
                    </a:lnTo>
                    <a:lnTo>
                      <a:pt x="511" y="331"/>
                    </a:lnTo>
                    <a:lnTo>
                      <a:pt x="513" y="331"/>
                    </a:lnTo>
                    <a:lnTo>
                      <a:pt x="515" y="331"/>
                    </a:lnTo>
                    <a:lnTo>
                      <a:pt x="517" y="331"/>
                    </a:lnTo>
                    <a:lnTo>
                      <a:pt x="517" y="333"/>
                    </a:lnTo>
                    <a:lnTo>
                      <a:pt x="519" y="333"/>
                    </a:lnTo>
                    <a:lnTo>
                      <a:pt x="521" y="333"/>
                    </a:lnTo>
                    <a:lnTo>
                      <a:pt x="523" y="333"/>
                    </a:lnTo>
                    <a:lnTo>
                      <a:pt x="525" y="333"/>
                    </a:lnTo>
                    <a:lnTo>
                      <a:pt x="525" y="335"/>
                    </a:lnTo>
                    <a:lnTo>
                      <a:pt x="526" y="335"/>
                    </a:lnTo>
                    <a:lnTo>
                      <a:pt x="526" y="333"/>
                    </a:lnTo>
                    <a:lnTo>
                      <a:pt x="528" y="333"/>
                    </a:lnTo>
                    <a:lnTo>
                      <a:pt x="528" y="331"/>
                    </a:lnTo>
                    <a:lnTo>
                      <a:pt x="530" y="331"/>
                    </a:lnTo>
                    <a:lnTo>
                      <a:pt x="532" y="331"/>
                    </a:lnTo>
                    <a:lnTo>
                      <a:pt x="532" y="329"/>
                    </a:lnTo>
                    <a:lnTo>
                      <a:pt x="534" y="329"/>
                    </a:lnTo>
                    <a:lnTo>
                      <a:pt x="536" y="329"/>
                    </a:lnTo>
                    <a:lnTo>
                      <a:pt x="538" y="329"/>
                    </a:lnTo>
                    <a:lnTo>
                      <a:pt x="538" y="331"/>
                    </a:lnTo>
                    <a:lnTo>
                      <a:pt x="540" y="331"/>
                    </a:lnTo>
                    <a:lnTo>
                      <a:pt x="542" y="333"/>
                    </a:lnTo>
                    <a:lnTo>
                      <a:pt x="543" y="333"/>
                    </a:lnTo>
                    <a:lnTo>
                      <a:pt x="543" y="331"/>
                    </a:lnTo>
                    <a:lnTo>
                      <a:pt x="545" y="331"/>
                    </a:lnTo>
                    <a:lnTo>
                      <a:pt x="547" y="333"/>
                    </a:lnTo>
                    <a:lnTo>
                      <a:pt x="549" y="333"/>
                    </a:lnTo>
                    <a:lnTo>
                      <a:pt x="549" y="335"/>
                    </a:lnTo>
                    <a:lnTo>
                      <a:pt x="551" y="335"/>
                    </a:lnTo>
                    <a:lnTo>
                      <a:pt x="551" y="333"/>
                    </a:lnTo>
                    <a:lnTo>
                      <a:pt x="553" y="333"/>
                    </a:lnTo>
                    <a:lnTo>
                      <a:pt x="553" y="335"/>
                    </a:lnTo>
                    <a:lnTo>
                      <a:pt x="555" y="335"/>
                    </a:lnTo>
                    <a:lnTo>
                      <a:pt x="555" y="333"/>
                    </a:lnTo>
                    <a:lnTo>
                      <a:pt x="557" y="333"/>
                    </a:lnTo>
                    <a:lnTo>
                      <a:pt x="558" y="333"/>
                    </a:lnTo>
                    <a:lnTo>
                      <a:pt x="558" y="331"/>
                    </a:lnTo>
                    <a:lnTo>
                      <a:pt x="558" y="333"/>
                    </a:lnTo>
                    <a:lnTo>
                      <a:pt x="560" y="333"/>
                    </a:lnTo>
                    <a:lnTo>
                      <a:pt x="562" y="331"/>
                    </a:lnTo>
                    <a:lnTo>
                      <a:pt x="562" y="333"/>
                    </a:lnTo>
                    <a:lnTo>
                      <a:pt x="564" y="333"/>
                    </a:lnTo>
                    <a:lnTo>
                      <a:pt x="566" y="331"/>
                    </a:lnTo>
                    <a:lnTo>
                      <a:pt x="568" y="331"/>
                    </a:lnTo>
                    <a:lnTo>
                      <a:pt x="570" y="331"/>
                    </a:lnTo>
                    <a:lnTo>
                      <a:pt x="572" y="331"/>
                    </a:lnTo>
                    <a:lnTo>
                      <a:pt x="572" y="329"/>
                    </a:lnTo>
                    <a:lnTo>
                      <a:pt x="574" y="329"/>
                    </a:lnTo>
                    <a:lnTo>
                      <a:pt x="574" y="331"/>
                    </a:lnTo>
                    <a:lnTo>
                      <a:pt x="575" y="331"/>
                    </a:lnTo>
                    <a:lnTo>
                      <a:pt x="577" y="331"/>
                    </a:lnTo>
                    <a:lnTo>
                      <a:pt x="579" y="331"/>
                    </a:lnTo>
                    <a:lnTo>
                      <a:pt x="581" y="331"/>
                    </a:lnTo>
                    <a:lnTo>
                      <a:pt x="579" y="331"/>
                    </a:lnTo>
                    <a:lnTo>
                      <a:pt x="579" y="329"/>
                    </a:lnTo>
                    <a:lnTo>
                      <a:pt x="581" y="329"/>
                    </a:lnTo>
                    <a:lnTo>
                      <a:pt x="583" y="329"/>
                    </a:lnTo>
                    <a:lnTo>
                      <a:pt x="583" y="327"/>
                    </a:lnTo>
                    <a:lnTo>
                      <a:pt x="585" y="327"/>
                    </a:lnTo>
                    <a:lnTo>
                      <a:pt x="585" y="326"/>
                    </a:lnTo>
                    <a:lnTo>
                      <a:pt x="585" y="324"/>
                    </a:lnTo>
                    <a:lnTo>
                      <a:pt x="585" y="326"/>
                    </a:lnTo>
                    <a:lnTo>
                      <a:pt x="587" y="326"/>
                    </a:lnTo>
                    <a:lnTo>
                      <a:pt x="589" y="326"/>
                    </a:lnTo>
                    <a:lnTo>
                      <a:pt x="589" y="324"/>
                    </a:lnTo>
                    <a:lnTo>
                      <a:pt x="589" y="322"/>
                    </a:lnTo>
                    <a:lnTo>
                      <a:pt x="590" y="322"/>
                    </a:lnTo>
                    <a:lnTo>
                      <a:pt x="592" y="322"/>
                    </a:lnTo>
                    <a:lnTo>
                      <a:pt x="594" y="322"/>
                    </a:lnTo>
                    <a:lnTo>
                      <a:pt x="594" y="320"/>
                    </a:lnTo>
                    <a:lnTo>
                      <a:pt x="594" y="318"/>
                    </a:lnTo>
                    <a:lnTo>
                      <a:pt x="596" y="318"/>
                    </a:lnTo>
                    <a:lnTo>
                      <a:pt x="598" y="320"/>
                    </a:lnTo>
                    <a:lnTo>
                      <a:pt x="598" y="318"/>
                    </a:lnTo>
                    <a:lnTo>
                      <a:pt x="600" y="316"/>
                    </a:lnTo>
                    <a:lnTo>
                      <a:pt x="602" y="316"/>
                    </a:lnTo>
                    <a:lnTo>
                      <a:pt x="604" y="314"/>
                    </a:lnTo>
                    <a:lnTo>
                      <a:pt x="604" y="312"/>
                    </a:lnTo>
                    <a:lnTo>
                      <a:pt x="605" y="312"/>
                    </a:lnTo>
                    <a:lnTo>
                      <a:pt x="607" y="312"/>
                    </a:lnTo>
                    <a:lnTo>
                      <a:pt x="607" y="311"/>
                    </a:lnTo>
                    <a:lnTo>
                      <a:pt x="605" y="309"/>
                    </a:lnTo>
                    <a:lnTo>
                      <a:pt x="607" y="309"/>
                    </a:lnTo>
                    <a:lnTo>
                      <a:pt x="609" y="307"/>
                    </a:lnTo>
                    <a:lnTo>
                      <a:pt x="611" y="307"/>
                    </a:lnTo>
                    <a:lnTo>
                      <a:pt x="611" y="309"/>
                    </a:lnTo>
                    <a:lnTo>
                      <a:pt x="613" y="309"/>
                    </a:lnTo>
                    <a:lnTo>
                      <a:pt x="615" y="307"/>
                    </a:lnTo>
                    <a:lnTo>
                      <a:pt x="617" y="307"/>
                    </a:lnTo>
                    <a:lnTo>
                      <a:pt x="619" y="307"/>
                    </a:lnTo>
                    <a:lnTo>
                      <a:pt x="619" y="309"/>
                    </a:lnTo>
                    <a:lnTo>
                      <a:pt x="621" y="309"/>
                    </a:lnTo>
                    <a:lnTo>
                      <a:pt x="621" y="311"/>
                    </a:lnTo>
                    <a:lnTo>
                      <a:pt x="622" y="311"/>
                    </a:lnTo>
                    <a:lnTo>
                      <a:pt x="624" y="311"/>
                    </a:lnTo>
                    <a:lnTo>
                      <a:pt x="626" y="311"/>
                    </a:lnTo>
                    <a:lnTo>
                      <a:pt x="626" y="309"/>
                    </a:lnTo>
                    <a:lnTo>
                      <a:pt x="628" y="309"/>
                    </a:lnTo>
                    <a:lnTo>
                      <a:pt x="628" y="311"/>
                    </a:lnTo>
                    <a:lnTo>
                      <a:pt x="628" y="312"/>
                    </a:lnTo>
                    <a:lnTo>
                      <a:pt x="630" y="312"/>
                    </a:lnTo>
                    <a:lnTo>
                      <a:pt x="632" y="312"/>
                    </a:lnTo>
                    <a:lnTo>
                      <a:pt x="634" y="312"/>
                    </a:lnTo>
                    <a:lnTo>
                      <a:pt x="632" y="312"/>
                    </a:lnTo>
                    <a:lnTo>
                      <a:pt x="632" y="314"/>
                    </a:lnTo>
                    <a:lnTo>
                      <a:pt x="634" y="314"/>
                    </a:lnTo>
                    <a:lnTo>
                      <a:pt x="634" y="316"/>
                    </a:lnTo>
                    <a:lnTo>
                      <a:pt x="636" y="316"/>
                    </a:lnTo>
                    <a:lnTo>
                      <a:pt x="636" y="318"/>
                    </a:lnTo>
                    <a:lnTo>
                      <a:pt x="637" y="318"/>
                    </a:lnTo>
                    <a:lnTo>
                      <a:pt x="639" y="318"/>
                    </a:lnTo>
                    <a:lnTo>
                      <a:pt x="639" y="316"/>
                    </a:lnTo>
                    <a:lnTo>
                      <a:pt x="641" y="316"/>
                    </a:lnTo>
                    <a:lnTo>
                      <a:pt x="643" y="316"/>
                    </a:lnTo>
                    <a:lnTo>
                      <a:pt x="645" y="316"/>
                    </a:lnTo>
                    <a:lnTo>
                      <a:pt x="647" y="316"/>
                    </a:lnTo>
                    <a:lnTo>
                      <a:pt x="647" y="318"/>
                    </a:lnTo>
                    <a:lnTo>
                      <a:pt x="649" y="318"/>
                    </a:lnTo>
                    <a:lnTo>
                      <a:pt x="651" y="318"/>
                    </a:lnTo>
                    <a:lnTo>
                      <a:pt x="651" y="320"/>
                    </a:lnTo>
                    <a:lnTo>
                      <a:pt x="651" y="318"/>
                    </a:lnTo>
                    <a:lnTo>
                      <a:pt x="653" y="318"/>
                    </a:lnTo>
                    <a:lnTo>
                      <a:pt x="654" y="318"/>
                    </a:lnTo>
                    <a:lnTo>
                      <a:pt x="656" y="318"/>
                    </a:lnTo>
                    <a:lnTo>
                      <a:pt x="658" y="316"/>
                    </a:lnTo>
                    <a:lnTo>
                      <a:pt x="660" y="316"/>
                    </a:lnTo>
                    <a:lnTo>
                      <a:pt x="660" y="318"/>
                    </a:lnTo>
                    <a:lnTo>
                      <a:pt x="662" y="318"/>
                    </a:lnTo>
                    <a:lnTo>
                      <a:pt x="664" y="318"/>
                    </a:lnTo>
                    <a:lnTo>
                      <a:pt x="666" y="318"/>
                    </a:lnTo>
                    <a:lnTo>
                      <a:pt x="668" y="318"/>
                    </a:lnTo>
                    <a:lnTo>
                      <a:pt x="669" y="318"/>
                    </a:lnTo>
                    <a:lnTo>
                      <a:pt x="669" y="320"/>
                    </a:lnTo>
                    <a:lnTo>
                      <a:pt x="671" y="320"/>
                    </a:lnTo>
                    <a:lnTo>
                      <a:pt x="673" y="320"/>
                    </a:lnTo>
                    <a:lnTo>
                      <a:pt x="675" y="320"/>
                    </a:lnTo>
                    <a:lnTo>
                      <a:pt x="677" y="320"/>
                    </a:lnTo>
                    <a:lnTo>
                      <a:pt x="679" y="320"/>
                    </a:lnTo>
                    <a:lnTo>
                      <a:pt x="679" y="318"/>
                    </a:lnTo>
                    <a:lnTo>
                      <a:pt x="681" y="318"/>
                    </a:lnTo>
                    <a:lnTo>
                      <a:pt x="683" y="318"/>
                    </a:lnTo>
                    <a:lnTo>
                      <a:pt x="684" y="320"/>
                    </a:lnTo>
                    <a:lnTo>
                      <a:pt x="686" y="320"/>
                    </a:lnTo>
                    <a:lnTo>
                      <a:pt x="688" y="320"/>
                    </a:lnTo>
                    <a:lnTo>
                      <a:pt x="690" y="320"/>
                    </a:lnTo>
                    <a:lnTo>
                      <a:pt x="692" y="320"/>
                    </a:lnTo>
                    <a:lnTo>
                      <a:pt x="694" y="320"/>
                    </a:lnTo>
                    <a:lnTo>
                      <a:pt x="696" y="320"/>
                    </a:lnTo>
                    <a:lnTo>
                      <a:pt x="696" y="318"/>
                    </a:lnTo>
                    <a:lnTo>
                      <a:pt x="698" y="318"/>
                    </a:lnTo>
                    <a:lnTo>
                      <a:pt x="700" y="316"/>
                    </a:lnTo>
                    <a:lnTo>
                      <a:pt x="701" y="316"/>
                    </a:lnTo>
                    <a:lnTo>
                      <a:pt x="701" y="314"/>
                    </a:lnTo>
                    <a:lnTo>
                      <a:pt x="703" y="314"/>
                    </a:lnTo>
                    <a:lnTo>
                      <a:pt x="705" y="312"/>
                    </a:lnTo>
                    <a:lnTo>
                      <a:pt x="707" y="312"/>
                    </a:lnTo>
                    <a:lnTo>
                      <a:pt x="709" y="312"/>
                    </a:lnTo>
                    <a:lnTo>
                      <a:pt x="709" y="311"/>
                    </a:lnTo>
                    <a:lnTo>
                      <a:pt x="711" y="311"/>
                    </a:lnTo>
                    <a:lnTo>
                      <a:pt x="713" y="311"/>
                    </a:lnTo>
                    <a:lnTo>
                      <a:pt x="715" y="309"/>
                    </a:lnTo>
                    <a:lnTo>
                      <a:pt x="716" y="309"/>
                    </a:lnTo>
                    <a:lnTo>
                      <a:pt x="716" y="307"/>
                    </a:lnTo>
                    <a:lnTo>
                      <a:pt x="718" y="307"/>
                    </a:lnTo>
                    <a:lnTo>
                      <a:pt x="718" y="305"/>
                    </a:lnTo>
                    <a:lnTo>
                      <a:pt x="720" y="305"/>
                    </a:lnTo>
                    <a:lnTo>
                      <a:pt x="720" y="303"/>
                    </a:lnTo>
                    <a:lnTo>
                      <a:pt x="722" y="303"/>
                    </a:lnTo>
                    <a:lnTo>
                      <a:pt x="724" y="301"/>
                    </a:lnTo>
                    <a:lnTo>
                      <a:pt x="726" y="301"/>
                    </a:lnTo>
                    <a:lnTo>
                      <a:pt x="726" y="299"/>
                    </a:lnTo>
                    <a:lnTo>
                      <a:pt x="728" y="299"/>
                    </a:lnTo>
                    <a:lnTo>
                      <a:pt x="730" y="299"/>
                    </a:lnTo>
                    <a:lnTo>
                      <a:pt x="730" y="297"/>
                    </a:lnTo>
                    <a:lnTo>
                      <a:pt x="732" y="297"/>
                    </a:lnTo>
                    <a:lnTo>
                      <a:pt x="733" y="297"/>
                    </a:lnTo>
                    <a:lnTo>
                      <a:pt x="735" y="297"/>
                    </a:lnTo>
                    <a:lnTo>
                      <a:pt x="735" y="295"/>
                    </a:lnTo>
                    <a:lnTo>
                      <a:pt x="737" y="295"/>
                    </a:lnTo>
                    <a:lnTo>
                      <a:pt x="739" y="295"/>
                    </a:lnTo>
                    <a:lnTo>
                      <a:pt x="739" y="294"/>
                    </a:lnTo>
                    <a:lnTo>
                      <a:pt x="741" y="294"/>
                    </a:lnTo>
                    <a:lnTo>
                      <a:pt x="741" y="292"/>
                    </a:lnTo>
                    <a:lnTo>
                      <a:pt x="743" y="292"/>
                    </a:lnTo>
                    <a:lnTo>
                      <a:pt x="743" y="290"/>
                    </a:lnTo>
                    <a:lnTo>
                      <a:pt x="745" y="290"/>
                    </a:lnTo>
                    <a:lnTo>
                      <a:pt x="745" y="288"/>
                    </a:lnTo>
                    <a:lnTo>
                      <a:pt x="747" y="288"/>
                    </a:lnTo>
                    <a:lnTo>
                      <a:pt x="748" y="286"/>
                    </a:lnTo>
                    <a:lnTo>
                      <a:pt x="750" y="286"/>
                    </a:lnTo>
                    <a:lnTo>
                      <a:pt x="750" y="284"/>
                    </a:lnTo>
                    <a:lnTo>
                      <a:pt x="752" y="284"/>
                    </a:lnTo>
                    <a:lnTo>
                      <a:pt x="754" y="284"/>
                    </a:lnTo>
                    <a:lnTo>
                      <a:pt x="754" y="282"/>
                    </a:lnTo>
                    <a:lnTo>
                      <a:pt x="767" y="254"/>
                    </a:lnTo>
                    <a:lnTo>
                      <a:pt x="767" y="252"/>
                    </a:lnTo>
                    <a:lnTo>
                      <a:pt x="773" y="241"/>
                    </a:lnTo>
                    <a:lnTo>
                      <a:pt x="773" y="239"/>
                    </a:lnTo>
                    <a:lnTo>
                      <a:pt x="775" y="237"/>
                    </a:lnTo>
                    <a:lnTo>
                      <a:pt x="775" y="233"/>
                    </a:lnTo>
                    <a:lnTo>
                      <a:pt x="779" y="224"/>
                    </a:lnTo>
                    <a:lnTo>
                      <a:pt x="780" y="216"/>
                    </a:lnTo>
                    <a:lnTo>
                      <a:pt x="780" y="213"/>
                    </a:lnTo>
                    <a:lnTo>
                      <a:pt x="782" y="211"/>
                    </a:lnTo>
                    <a:lnTo>
                      <a:pt x="782" y="209"/>
                    </a:lnTo>
                    <a:lnTo>
                      <a:pt x="782" y="207"/>
                    </a:lnTo>
                    <a:lnTo>
                      <a:pt x="782" y="205"/>
                    </a:lnTo>
                    <a:lnTo>
                      <a:pt x="782" y="201"/>
                    </a:lnTo>
                    <a:lnTo>
                      <a:pt x="784" y="198"/>
                    </a:lnTo>
                    <a:lnTo>
                      <a:pt x="784" y="192"/>
                    </a:lnTo>
                    <a:lnTo>
                      <a:pt x="784" y="184"/>
                    </a:lnTo>
                    <a:lnTo>
                      <a:pt x="786" y="184"/>
                    </a:lnTo>
                    <a:lnTo>
                      <a:pt x="786" y="182"/>
                    </a:lnTo>
                    <a:lnTo>
                      <a:pt x="788" y="181"/>
                    </a:lnTo>
                    <a:lnTo>
                      <a:pt x="792" y="175"/>
                    </a:lnTo>
                    <a:lnTo>
                      <a:pt x="797" y="164"/>
                    </a:lnTo>
                    <a:lnTo>
                      <a:pt x="799" y="156"/>
                    </a:lnTo>
                    <a:lnTo>
                      <a:pt x="805" y="141"/>
                    </a:lnTo>
                    <a:lnTo>
                      <a:pt x="811" y="124"/>
                    </a:lnTo>
                    <a:lnTo>
                      <a:pt x="818" y="103"/>
                    </a:lnTo>
                    <a:lnTo>
                      <a:pt x="822" y="96"/>
                    </a:lnTo>
                    <a:lnTo>
                      <a:pt x="822" y="94"/>
                    </a:lnTo>
                    <a:lnTo>
                      <a:pt x="824" y="90"/>
                    </a:lnTo>
                    <a:lnTo>
                      <a:pt x="826" y="81"/>
                    </a:lnTo>
                    <a:lnTo>
                      <a:pt x="827" y="81"/>
                    </a:lnTo>
                    <a:lnTo>
                      <a:pt x="829" y="81"/>
                    </a:lnTo>
                    <a:lnTo>
                      <a:pt x="829" y="79"/>
                    </a:lnTo>
                    <a:lnTo>
                      <a:pt x="831" y="79"/>
                    </a:lnTo>
                    <a:lnTo>
                      <a:pt x="831" y="77"/>
                    </a:lnTo>
                    <a:lnTo>
                      <a:pt x="829" y="77"/>
                    </a:lnTo>
                    <a:lnTo>
                      <a:pt x="829" y="75"/>
                    </a:lnTo>
                    <a:lnTo>
                      <a:pt x="831" y="75"/>
                    </a:lnTo>
                    <a:lnTo>
                      <a:pt x="831" y="73"/>
                    </a:lnTo>
                    <a:lnTo>
                      <a:pt x="829" y="73"/>
                    </a:lnTo>
                    <a:lnTo>
                      <a:pt x="829" y="71"/>
                    </a:lnTo>
                    <a:lnTo>
                      <a:pt x="831" y="70"/>
                    </a:lnTo>
                    <a:lnTo>
                      <a:pt x="833" y="71"/>
                    </a:lnTo>
                    <a:lnTo>
                      <a:pt x="833" y="70"/>
                    </a:lnTo>
                    <a:lnTo>
                      <a:pt x="833" y="68"/>
                    </a:lnTo>
                    <a:lnTo>
                      <a:pt x="831" y="68"/>
                    </a:lnTo>
                    <a:lnTo>
                      <a:pt x="831" y="66"/>
                    </a:lnTo>
                    <a:lnTo>
                      <a:pt x="831" y="64"/>
                    </a:lnTo>
                    <a:lnTo>
                      <a:pt x="831" y="62"/>
                    </a:lnTo>
                    <a:lnTo>
                      <a:pt x="829" y="62"/>
                    </a:lnTo>
                    <a:lnTo>
                      <a:pt x="829" y="60"/>
                    </a:lnTo>
                    <a:lnTo>
                      <a:pt x="831" y="60"/>
                    </a:lnTo>
                    <a:lnTo>
                      <a:pt x="829" y="60"/>
                    </a:lnTo>
                    <a:lnTo>
                      <a:pt x="829" y="58"/>
                    </a:lnTo>
                    <a:lnTo>
                      <a:pt x="829" y="56"/>
                    </a:lnTo>
                    <a:lnTo>
                      <a:pt x="829" y="54"/>
                    </a:lnTo>
                    <a:lnTo>
                      <a:pt x="829" y="53"/>
                    </a:lnTo>
                    <a:lnTo>
                      <a:pt x="827" y="53"/>
                    </a:lnTo>
                    <a:lnTo>
                      <a:pt x="826" y="53"/>
                    </a:lnTo>
                    <a:lnTo>
                      <a:pt x="826" y="51"/>
                    </a:lnTo>
                    <a:lnTo>
                      <a:pt x="826" y="49"/>
                    </a:lnTo>
                    <a:lnTo>
                      <a:pt x="827" y="49"/>
                    </a:lnTo>
                    <a:lnTo>
                      <a:pt x="826" y="49"/>
                    </a:lnTo>
                    <a:lnTo>
                      <a:pt x="826" y="47"/>
                    </a:lnTo>
                    <a:lnTo>
                      <a:pt x="824" y="45"/>
                    </a:lnTo>
                    <a:lnTo>
                      <a:pt x="822" y="45"/>
                    </a:lnTo>
                    <a:lnTo>
                      <a:pt x="822" y="43"/>
                    </a:lnTo>
                    <a:lnTo>
                      <a:pt x="822" y="41"/>
                    </a:lnTo>
                    <a:lnTo>
                      <a:pt x="822" y="39"/>
                    </a:lnTo>
                    <a:lnTo>
                      <a:pt x="824" y="39"/>
                    </a:lnTo>
                    <a:lnTo>
                      <a:pt x="824" y="38"/>
                    </a:lnTo>
                    <a:lnTo>
                      <a:pt x="824" y="36"/>
                    </a:lnTo>
                    <a:lnTo>
                      <a:pt x="824" y="34"/>
                    </a:lnTo>
                    <a:lnTo>
                      <a:pt x="826" y="34"/>
                    </a:lnTo>
                    <a:lnTo>
                      <a:pt x="839" y="32"/>
                    </a:lnTo>
                    <a:lnTo>
                      <a:pt x="841" y="30"/>
                    </a:lnTo>
                    <a:lnTo>
                      <a:pt x="842" y="30"/>
                    </a:lnTo>
                    <a:lnTo>
                      <a:pt x="852" y="32"/>
                    </a:lnTo>
                    <a:lnTo>
                      <a:pt x="863" y="24"/>
                    </a:lnTo>
                    <a:lnTo>
                      <a:pt x="878" y="21"/>
                    </a:lnTo>
                    <a:lnTo>
                      <a:pt x="886" y="19"/>
                    </a:lnTo>
                    <a:lnTo>
                      <a:pt x="910" y="15"/>
                    </a:lnTo>
                    <a:lnTo>
                      <a:pt x="923" y="11"/>
                    </a:lnTo>
                    <a:lnTo>
                      <a:pt x="935" y="7"/>
                    </a:lnTo>
                    <a:lnTo>
                      <a:pt x="950" y="4"/>
                    </a:lnTo>
                    <a:lnTo>
                      <a:pt x="963" y="0"/>
                    </a:lnTo>
                    <a:lnTo>
                      <a:pt x="965" y="2"/>
                    </a:lnTo>
                    <a:lnTo>
                      <a:pt x="967" y="2"/>
                    </a:lnTo>
                    <a:lnTo>
                      <a:pt x="967" y="4"/>
                    </a:lnTo>
                    <a:lnTo>
                      <a:pt x="969" y="4"/>
                    </a:lnTo>
                    <a:lnTo>
                      <a:pt x="969" y="6"/>
                    </a:lnTo>
                    <a:lnTo>
                      <a:pt x="970" y="6"/>
                    </a:lnTo>
                    <a:lnTo>
                      <a:pt x="970" y="7"/>
                    </a:lnTo>
                    <a:lnTo>
                      <a:pt x="970" y="9"/>
                    </a:lnTo>
                    <a:lnTo>
                      <a:pt x="969" y="9"/>
                    </a:lnTo>
                    <a:lnTo>
                      <a:pt x="970" y="11"/>
                    </a:lnTo>
                    <a:lnTo>
                      <a:pt x="970" y="13"/>
                    </a:lnTo>
                    <a:lnTo>
                      <a:pt x="969" y="15"/>
                    </a:lnTo>
                    <a:lnTo>
                      <a:pt x="970" y="15"/>
                    </a:lnTo>
                    <a:lnTo>
                      <a:pt x="970" y="17"/>
                    </a:lnTo>
                    <a:lnTo>
                      <a:pt x="970" y="19"/>
                    </a:lnTo>
                    <a:lnTo>
                      <a:pt x="970" y="21"/>
                    </a:lnTo>
                    <a:lnTo>
                      <a:pt x="969" y="21"/>
                    </a:lnTo>
                    <a:lnTo>
                      <a:pt x="969" y="22"/>
                    </a:lnTo>
                    <a:lnTo>
                      <a:pt x="970" y="22"/>
                    </a:lnTo>
                    <a:lnTo>
                      <a:pt x="970" y="24"/>
                    </a:lnTo>
                    <a:lnTo>
                      <a:pt x="969" y="24"/>
                    </a:lnTo>
                    <a:lnTo>
                      <a:pt x="969" y="26"/>
                    </a:lnTo>
                    <a:lnTo>
                      <a:pt x="969" y="28"/>
                    </a:lnTo>
                    <a:lnTo>
                      <a:pt x="970" y="28"/>
                    </a:lnTo>
                    <a:lnTo>
                      <a:pt x="970" y="30"/>
                    </a:lnTo>
                    <a:lnTo>
                      <a:pt x="970" y="32"/>
                    </a:lnTo>
                    <a:lnTo>
                      <a:pt x="970" y="34"/>
                    </a:lnTo>
                    <a:lnTo>
                      <a:pt x="972" y="36"/>
                    </a:lnTo>
                    <a:lnTo>
                      <a:pt x="970" y="38"/>
                    </a:lnTo>
                    <a:lnTo>
                      <a:pt x="970" y="39"/>
                    </a:lnTo>
                    <a:lnTo>
                      <a:pt x="972" y="39"/>
                    </a:lnTo>
                    <a:lnTo>
                      <a:pt x="972" y="41"/>
                    </a:lnTo>
                    <a:lnTo>
                      <a:pt x="974" y="41"/>
                    </a:lnTo>
                    <a:lnTo>
                      <a:pt x="974" y="43"/>
                    </a:lnTo>
                    <a:lnTo>
                      <a:pt x="976" y="43"/>
                    </a:lnTo>
                    <a:lnTo>
                      <a:pt x="978" y="43"/>
                    </a:lnTo>
                    <a:lnTo>
                      <a:pt x="980" y="43"/>
                    </a:lnTo>
                    <a:lnTo>
                      <a:pt x="980" y="45"/>
                    </a:lnTo>
                    <a:lnTo>
                      <a:pt x="980" y="47"/>
                    </a:lnTo>
                    <a:lnTo>
                      <a:pt x="980" y="49"/>
                    </a:lnTo>
                    <a:lnTo>
                      <a:pt x="978" y="49"/>
                    </a:lnTo>
                    <a:lnTo>
                      <a:pt x="991" y="49"/>
                    </a:lnTo>
                    <a:lnTo>
                      <a:pt x="997" y="49"/>
                    </a:lnTo>
                    <a:lnTo>
                      <a:pt x="1006" y="51"/>
                    </a:lnTo>
                    <a:lnTo>
                      <a:pt x="1016" y="51"/>
                    </a:lnTo>
                    <a:lnTo>
                      <a:pt x="1021" y="49"/>
                    </a:lnTo>
                    <a:lnTo>
                      <a:pt x="1031" y="56"/>
                    </a:lnTo>
                    <a:lnTo>
                      <a:pt x="1040" y="64"/>
                    </a:lnTo>
                    <a:lnTo>
                      <a:pt x="1042" y="62"/>
                    </a:lnTo>
                    <a:lnTo>
                      <a:pt x="1044" y="64"/>
                    </a:lnTo>
                    <a:lnTo>
                      <a:pt x="1051" y="68"/>
                    </a:lnTo>
                    <a:lnTo>
                      <a:pt x="1053" y="70"/>
                    </a:lnTo>
                    <a:lnTo>
                      <a:pt x="1057" y="62"/>
                    </a:lnTo>
                    <a:lnTo>
                      <a:pt x="1061" y="56"/>
                    </a:lnTo>
                    <a:lnTo>
                      <a:pt x="1064" y="54"/>
                    </a:lnTo>
                    <a:lnTo>
                      <a:pt x="1074" y="51"/>
                    </a:lnTo>
                    <a:lnTo>
                      <a:pt x="1081" y="49"/>
                    </a:lnTo>
                    <a:lnTo>
                      <a:pt x="1093" y="45"/>
                    </a:lnTo>
                    <a:lnTo>
                      <a:pt x="1102" y="41"/>
                    </a:lnTo>
                    <a:lnTo>
                      <a:pt x="1102" y="39"/>
                    </a:lnTo>
                    <a:lnTo>
                      <a:pt x="1111" y="39"/>
                    </a:lnTo>
                    <a:lnTo>
                      <a:pt x="1111" y="32"/>
                    </a:lnTo>
                    <a:lnTo>
                      <a:pt x="1111" y="24"/>
                    </a:lnTo>
                    <a:lnTo>
                      <a:pt x="1111" y="22"/>
                    </a:lnTo>
                    <a:lnTo>
                      <a:pt x="1125" y="22"/>
                    </a:lnTo>
                    <a:lnTo>
                      <a:pt x="1127" y="49"/>
                    </a:lnTo>
                    <a:lnTo>
                      <a:pt x="1127" y="53"/>
                    </a:lnTo>
                    <a:lnTo>
                      <a:pt x="1127" y="60"/>
                    </a:lnTo>
                    <a:lnTo>
                      <a:pt x="1128" y="70"/>
                    </a:lnTo>
                    <a:lnTo>
                      <a:pt x="1143" y="73"/>
                    </a:lnTo>
                    <a:lnTo>
                      <a:pt x="1143" y="75"/>
                    </a:lnTo>
                    <a:lnTo>
                      <a:pt x="1149" y="81"/>
                    </a:lnTo>
                    <a:lnTo>
                      <a:pt x="1153" y="86"/>
                    </a:lnTo>
                    <a:lnTo>
                      <a:pt x="1155" y="86"/>
                    </a:lnTo>
                    <a:lnTo>
                      <a:pt x="1155" y="88"/>
                    </a:lnTo>
                    <a:lnTo>
                      <a:pt x="1157" y="96"/>
                    </a:lnTo>
                    <a:lnTo>
                      <a:pt x="1164" y="88"/>
                    </a:lnTo>
                    <a:lnTo>
                      <a:pt x="1175" y="92"/>
                    </a:lnTo>
                    <a:lnTo>
                      <a:pt x="1170" y="102"/>
                    </a:lnTo>
                    <a:lnTo>
                      <a:pt x="1170" y="111"/>
                    </a:lnTo>
                    <a:lnTo>
                      <a:pt x="1175" y="113"/>
                    </a:lnTo>
                    <a:lnTo>
                      <a:pt x="1174" y="120"/>
                    </a:lnTo>
                    <a:lnTo>
                      <a:pt x="1181" y="117"/>
                    </a:lnTo>
                    <a:lnTo>
                      <a:pt x="1187" y="113"/>
                    </a:lnTo>
                    <a:lnTo>
                      <a:pt x="1192" y="113"/>
                    </a:lnTo>
                    <a:lnTo>
                      <a:pt x="1198" y="115"/>
                    </a:lnTo>
                    <a:lnTo>
                      <a:pt x="1202" y="122"/>
                    </a:lnTo>
                    <a:lnTo>
                      <a:pt x="1204" y="126"/>
                    </a:lnTo>
                    <a:lnTo>
                      <a:pt x="1215" y="124"/>
                    </a:lnTo>
                    <a:lnTo>
                      <a:pt x="1217" y="124"/>
                    </a:lnTo>
                    <a:lnTo>
                      <a:pt x="1226" y="122"/>
                    </a:lnTo>
                    <a:lnTo>
                      <a:pt x="1228" y="126"/>
                    </a:lnTo>
                    <a:lnTo>
                      <a:pt x="1239" y="120"/>
                    </a:lnTo>
                    <a:lnTo>
                      <a:pt x="1241" y="124"/>
                    </a:lnTo>
                    <a:lnTo>
                      <a:pt x="1245" y="122"/>
                    </a:lnTo>
                    <a:lnTo>
                      <a:pt x="1251" y="124"/>
                    </a:lnTo>
                    <a:lnTo>
                      <a:pt x="1254" y="126"/>
                    </a:lnTo>
                    <a:lnTo>
                      <a:pt x="1253" y="126"/>
                    </a:lnTo>
                    <a:lnTo>
                      <a:pt x="1253" y="128"/>
                    </a:lnTo>
                    <a:lnTo>
                      <a:pt x="1253" y="130"/>
                    </a:lnTo>
                    <a:lnTo>
                      <a:pt x="1254" y="130"/>
                    </a:lnTo>
                    <a:lnTo>
                      <a:pt x="1256" y="130"/>
                    </a:lnTo>
                    <a:lnTo>
                      <a:pt x="1260" y="126"/>
                    </a:lnTo>
                    <a:lnTo>
                      <a:pt x="1262" y="126"/>
                    </a:lnTo>
                    <a:lnTo>
                      <a:pt x="1262" y="124"/>
                    </a:lnTo>
                    <a:lnTo>
                      <a:pt x="1260" y="124"/>
                    </a:lnTo>
                    <a:lnTo>
                      <a:pt x="1262" y="120"/>
                    </a:lnTo>
                    <a:lnTo>
                      <a:pt x="1262" y="118"/>
                    </a:lnTo>
                    <a:lnTo>
                      <a:pt x="1264" y="117"/>
                    </a:lnTo>
                    <a:lnTo>
                      <a:pt x="1269" y="111"/>
                    </a:lnTo>
                    <a:lnTo>
                      <a:pt x="1269" y="109"/>
                    </a:lnTo>
                    <a:lnTo>
                      <a:pt x="1269" y="107"/>
                    </a:lnTo>
                    <a:lnTo>
                      <a:pt x="1269" y="103"/>
                    </a:lnTo>
                    <a:lnTo>
                      <a:pt x="1269" y="102"/>
                    </a:lnTo>
                    <a:lnTo>
                      <a:pt x="1269" y="98"/>
                    </a:lnTo>
                    <a:lnTo>
                      <a:pt x="1271" y="98"/>
                    </a:lnTo>
                    <a:lnTo>
                      <a:pt x="1277" y="94"/>
                    </a:lnTo>
                    <a:lnTo>
                      <a:pt x="1292" y="98"/>
                    </a:lnTo>
                    <a:lnTo>
                      <a:pt x="1292" y="100"/>
                    </a:lnTo>
                    <a:lnTo>
                      <a:pt x="1298" y="100"/>
                    </a:lnTo>
                    <a:lnTo>
                      <a:pt x="1305" y="98"/>
                    </a:lnTo>
                    <a:lnTo>
                      <a:pt x="1311" y="94"/>
                    </a:lnTo>
                    <a:lnTo>
                      <a:pt x="1315" y="92"/>
                    </a:lnTo>
                    <a:lnTo>
                      <a:pt x="1318" y="92"/>
                    </a:lnTo>
                    <a:lnTo>
                      <a:pt x="1320" y="94"/>
                    </a:lnTo>
                    <a:lnTo>
                      <a:pt x="1322" y="94"/>
                    </a:lnTo>
                    <a:lnTo>
                      <a:pt x="1328" y="96"/>
                    </a:lnTo>
                    <a:lnTo>
                      <a:pt x="1330" y="94"/>
                    </a:lnTo>
                    <a:lnTo>
                      <a:pt x="1343" y="98"/>
                    </a:lnTo>
                    <a:lnTo>
                      <a:pt x="1343" y="100"/>
                    </a:lnTo>
                    <a:lnTo>
                      <a:pt x="1350" y="100"/>
                    </a:lnTo>
                    <a:lnTo>
                      <a:pt x="1352" y="100"/>
                    </a:lnTo>
                    <a:lnTo>
                      <a:pt x="1360" y="102"/>
                    </a:lnTo>
                    <a:lnTo>
                      <a:pt x="1362" y="94"/>
                    </a:lnTo>
                    <a:lnTo>
                      <a:pt x="1365" y="92"/>
                    </a:lnTo>
                    <a:lnTo>
                      <a:pt x="1369" y="90"/>
                    </a:lnTo>
                    <a:lnTo>
                      <a:pt x="1371" y="94"/>
                    </a:lnTo>
                    <a:lnTo>
                      <a:pt x="1373" y="94"/>
                    </a:lnTo>
                    <a:lnTo>
                      <a:pt x="1377" y="94"/>
                    </a:lnTo>
                    <a:lnTo>
                      <a:pt x="1382" y="98"/>
                    </a:lnTo>
                    <a:lnTo>
                      <a:pt x="1394" y="96"/>
                    </a:lnTo>
                    <a:lnTo>
                      <a:pt x="1403" y="96"/>
                    </a:lnTo>
                    <a:lnTo>
                      <a:pt x="1405" y="103"/>
                    </a:lnTo>
                    <a:lnTo>
                      <a:pt x="1412" y="107"/>
                    </a:lnTo>
                    <a:lnTo>
                      <a:pt x="1422" y="111"/>
                    </a:lnTo>
                    <a:lnTo>
                      <a:pt x="1431" y="113"/>
                    </a:lnTo>
                    <a:lnTo>
                      <a:pt x="1431" y="115"/>
                    </a:lnTo>
                    <a:lnTo>
                      <a:pt x="1439" y="117"/>
                    </a:lnTo>
                    <a:lnTo>
                      <a:pt x="1437" y="120"/>
                    </a:lnTo>
                    <a:lnTo>
                      <a:pt x="1437" y="122"/>
                    </a:lnTo>
                    <a:lnTo>
                      <a:pt x="1435" y="122"/>
                    </a:lnTo>
                    <a:lnTo>
                      <a:pt x="1433" y="124"/>
                    </a:lnTo>
                    <a:lnTo>
                      <a:pt x="1427" y="134"/>
                    </a:lnTo>
                    <a:lnTo>
                      <a:pt x="1427" y="137"/>
                    </a:lnTo>
                    <a:lnTo>
                      <a:pt x="1427" y="139"/>
                    </a:lnTo>
                    <a:lnTo>
                      <a:pt x="1424" y="137"/>
                    </a:lnTo>
                    <a:lnTo>
                      <a:pt x="1416" y="135"/>
                    </a:lnTo>
                    <a:lnTo>
                      <a:pt x="1418" y="135"/>
                    </a:lnTo>
                    <a:lnTo>
                      <a:pt x="1418" y="134"/>
                    </a:lnTo>
                    <a:lnTo>
                      <a:pt x="1412" y="126"/>
                    </a:lnTo>
                    <a:lnTo>
                      <a:pt x="1407" y="128"/>
                    </a:lnTo>
                    <a:lnTo>
                      <a:pt x="1403" y="130"/>
                    </a:lnTo>
                    <a:lnTo>
                      <a:pt x="1399" y="130"/>
                    </a:lnTo>
                    <a:lnTo>
                      <a:pt x="1394" y="130"/>
                    </a:lnTo>
                    <a:lnTo>
                      <a:pt x="1397" y="145"/>
                    </a:lnTo>
                    <a:lnTo>
                      <a:pt x="1401" y="143"/>
                    </a:lnTo>
                    <a:lnTo>
                      <a:pt x="1405" y="143"/>
                    </a:lnTo>
                    <a:lnTo>
                      <a:pt x="1407" y="150"/>
                    </a:lnTo>
                    <a:lnTo>
                      <a:pt x="1407" y="160"/>
                    </a:lnTo>
                    <a:lnTo>
                      <a:pt x="1414" y="162"/>
                    </a:lnTo>
                    <a:lnTo>
                      <a:pt x="1416" y="162"/>
                    </a:lnTo>
                    <a:lnTo>
                      <a:pt x="1426" y="158"/>
                    </a:lnTo>
                    <a:lnTo>
                      <a:pt x="1427" y="158"/>
                    </a:lnTo>
                    <a:lnTo>
                      <a:pt x="1433" y="162"/>
                    </a:lnTo>
                    <a:lnTo>
                      <a:pt x="1435" y="162"/>
                    </a:lnTo>
                    <a:lnTo>
                      <a:pt x="1435" y="164"/>
                    </a:lnTo>
                    <a:lnTo>
                      <a:pt x="1437" y="166"/>
                    </a:lnTo>
                    <a:lnTo>
                      <a:pt x="1439" y="169"/>
                    </a:lnTo>
                    <a:lnTo>
                      <a:pt x="1441" y="171"/>
                    </a:lnTo>
                    <a:lnTo>
                      <a:pt x="1441" y="173"/>
                    </a:lnTo>
                    <a:lnTo>
                      <a:pt x="1444" y="177"/>
                    </a:lnTo>
                    <a:lnTo>
                      <a:pt x="1446" y="181"/>
                    </a:lnTo>
                    <a:lnTo>
                      <a:pt x="1446" y="182"/>
                    </a:lnTo>
                    <a:lnTo>
                      <a:pt x="1448" y="184"/>
                    </a:lnTo>
                    <a:lnTo>
                      <a:pt x="1448" y="190"/>
                    </a:lnTo>
                    <a:close/>
                  </a:path>
                </a:pathLst>
              </a:custGeom>
              <a:grp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35"/>
              <p:cNvSpPr>
                <a:spLocks/>
              </p:cNvSpPr>
              <p:nvPr/>
            </p:nvSpPr>
            <p:spPr bwMode="auto">
              <a:xfrm>
                <a:off x="5873750" y="1263650"/>
                <a:ext cx="1538288" cy="1590675"/>
              </a:xfrm>
              <a:custGeom>
                <a:avLst/>
                <a:gdLst>
                  <a:gd name="T0" fmla="*/ 954 w 969"/>
                  <a:gd name="T1" fmla="*/ 424 h 1002"/>
                  <a:gd name="T2" fmla="*/ 828 w 969"/>
                  <a:gd name="T3" fmla="*/ 503 h 1002"/>
                  <a:gd name="T4" fmla="*/ 703 w 969"/>
                  <a:gd name="T5" fmla="*/ 625 h 1002"/>
                  <a:gd name="T6" fmla="*/ 651 w 969"/>
                  <a:gd name="T7" fmla="*/ 768 h 1002"/>
                  <a:gd name="T8" fmla="*/ 668 w 969"/>
                  <a:gd name="T9" fmla="*/ 804 h 1002"/>
                  <a:gd name="T10" fmla="*/ 698 w 969"/>
                  <a:gd name="T11" fmla="*/ 840 h 1002"/>
                  <a:gd name="T12" fmla="*/ 732 w 969"/>
                  <a:gd name="T13" fmla="*/ 955 h 1002"/>
                  <a:gd name="T14" fmla="*/ 698 w 969"/>
                  <a:gd name="T15" fmla="*/ 959 h 1002"/>
                  <a:gd name="T16" fmla="*/ 671 w 969"/>
                  <a:gd name="T17" fmla="*/ 947 h 1002"/>
                  <a:gd name="T18" fmla="*/ 653 w 969"/>
                  <a:gd name="T19" fmla="*/ 949 h 1002"/>
                  <a:gd name="T20" fmla="*/ 628 w 969"/>
                  <a:gd name="T21" fmla="*/ 938 h 1002"/>
                  <a:gd name="T22" fmla="*/ 559 w 969"/>
                  <a:gd name="T23" fmla="*/ 949 h 1002"/>
                  <a:gd name="T24" fmla="*/ 487 w 969"/>
                  <a:gd name="T25" fmla="*/ 968 h 1002"/>
                  <a:gd name="T26" fmla="*/ 419 w 969"/>
                  <a:gd name="T27" fmla="*/ 966 h 1002"/>
                  <a:gd name="T28" fmla="*/ 382 w 969"/>
                  <a:gd name="T29" fmla="*/ 981 h 1002"/>
                  <a:gd name="T30" fmla="*/ 367 w 969"/>
                  <a:gd name="T31" fmla="*/ 998 h 1002"/>
                  <a:gd name="T32" fmla="*/ 340 w 969"/>
                  <a:gd name="T33" fmla="*/ 989 h 1002"/>
                  <a:gd name="T34" fmla="*/ 325 w 969"/>
                  <a:gd name="T35" fmla="*/ 966 h 1002"/>
                  <a:gd name="T36" fmla="*/ 312 w 969"/>
                  <a:gd name="T37" fmla="*/ 945 h 1002"/>
                  <a:gd name="T38" fmla="*/ 301 w 969"/>
                  <a:gd name="T39" fmla="*/ 930 h 1002"/>
                  <a:gd name="T40" fmla="*/ 280 w 969"/>
                  <a:gd name="T41" fmla="*/ 929 h 1002"/>
                  <a:gd name="T42" fmla="*/ 271 w 969"/>
                  <a:gd name="T43" fmla="*/ 917 h 1002"/>
                  <a:gd name="T44" fmla="*/ 256 w 969"/>
                  <a:gd name="T45" fmla="*/ 910 h 1002"/>
                  <a:gd name="T46" fmla="*/ 241 w 969"/>
                  <a:gd name="T47" fmla="*/ 898 h 1002"/>
                  <a:gd name="T48" fmla="*/ 216 w 969"/>
                  <a:gd name="T49" fmla="*/ 889 h 1002"/>
                  <a:gd name="T50" fmla="*/ 209 w 969"/>
                  <a:gd name="T51" fmla="*/ 863 h 1002"/>
                  <a:gd name="T52" fmla="*/ 177 w 969"/>
                  <a:gd name="T53" fmla="*/ 861 h 1002"/>
                  <a:gd name="T54" fmla="*/ 152 w 969"/>
                  <a:gd name="T55" fmla="*/ 868 h 1002"/>
                  <a:gd name="T56" fmla="*/ 124 w 969"/>
                  <a:gd name="T57" fmla="*/ 851 h 1002"/>
                  <a:gd name="T58" fmla="*/ 92 w 969"/>
                  <a:gd name="T59" fmla="*/ 853 h 1002"/>
                  <a:gd name="T60" fmla="*/ 85 w 969"/>
                  <a:gd name="T61" fmla="*/ 868 h 1002"/>
                  <a:gd name="T62" fmla="*/ 68 w 969"/>
                  <a:gd name="T63" fmla="*/ 859 h 1002"/>
                  <a:gd name="T64" fmla="*/ 51 w 969"/>
                  <a:gd name="T65" fmla="*/ 848 h 1002"/>
                  <a:gd name="T66" fmla="*/ 38 w 969"/>
                  <a:gd name="T67" fmla="*/ 836 h 1002"/>
                  <a:gd name="T68" fmla="*/ 8 w 969"/>
                  <a:gd name="T69" fmla="*/ 831 h 1002"/>
                  <a:gd name="T70" fmla="*/ 19 w 969"/>
                  <a:gd name="T71" fmla="*/ 797 h 1002"/>
                  <a:gd name="T72" fmla="*/ 73 w 969"/>
                  <a:gd name="T73" fmla="*/ 735 h 1002"/>
                  <a:gd name="T74" fmla="*/ 139 w 969"/>
                  <a:gd name="T75" fmla="*/ 699 h 1002"/>
                  <a:gd name="T76" fmla="*/ 71 w 969"/>
                  <a:gd name="T77" fmla="*/ 612 h 1002"/>
                  <a:gd name="T78" fmla="*/ 164 w 969"/>
                  <a:gd name="T79" fmla="*/ 546 h 1002"/>
                  <a:gd name="T80" fmla="*/ 203 w 969"/>
                  <a:gd name="T81" fmla="*/ 462 h 1002"/>
                  <a:gd name="T82" fmla="*/ 196 w 969"/>
                  <a:gd name="T83" fmla="*/ 450 h 1002"/>
                  <a:gd name="T84" fmla="*/ 158 w 969"/>
                  <a:gd name="T85" fmla="*/ 467 h 1002"/>
                  <a:gd name="T86" fmla="*/ 122 w 969"/>
                  <a:gd name="T87" fmla="*/ 465 h 1002"/>
                  <a:gd name="T88" fmla="*/ 96 w 969"/>
                  <a:gd name="T89" fmla="*/ 381 h 1002"/>
                  <a:gd name="T90" fmla="*/ 103 w 969"/>
                  <a:gd name="T91" fmla="*/ 319 h 1002"/>
                  <a:gd name="T92" fmla="*/ 83 w 969"/>
                  <a:gd name="T93" fmla="*/ 309 h 1002"/>
                  <a:gd name="T94" fmla="*/ 179 w 969"/>
                  <a:gd name="T95" fmla="*/ 292 h 1002"/>
                  <a:gd name="T96" fmla="*/ 213 w 969"/>
                  <a:gd name="T97" fmla="*/ 328 h 1002"/>
                  <a:gd name="T98" fmla="*/ 258 w 969"/>
                  <a:gd name="T99" fmla="*/ 396 h 1002"/>
                  <a:gd name="T100" fmla="*/ 406 w 969"/>
                  <a:gd name="T101" fmla="*/ 394 h 1002"/>
                  <a:gd name="T102" fmla="*/ 487 w 969"/>
                  <a:gd name="T103" fmla="*/ 296 h 1002"/>
                  <a:gd name="T104" fmla="*/ 540 w 969"/>
                  <a:gd name="T105" fmla="*/ 245 h 1002"/>
                  <a:gd name="T106" fmla="*/ 592 w 969"/>
                  <a:gd name="T107" fmla="*/ 258 h 1002"/>
                  <a:gd name="T108" fmla="*/ 681 w 969"/>
                  <a:gd name="T109" fmla="*/ 153 h 1002"/>
                  <a:gd name="T110" fmla="*/ 745 w 969"/>
                  <a:gd name="T111" fmla="*/ 123 h 1002"/>
                  <a:gd name="T112" fmla="*/ 735 w 969"/>
                  <a:gd name="T113" fmla="*/ 30 h 1002"/>
                  <a:gd name="T114" fmla="*/ 756 w 969"/>
                  <a:gd name="T115" fmla="*/ 17 h 1002"/>
                  <a:gd name="T116" fmla="*/ 803 w 969"/>
                  <a:gd name="T117" fmla="*/ 21 h 1002"/>
                  <a:gd name="T118" fmla="*/ 843 w 969"/>
                  <a:gd name="T119" fmla="*/ 17 h 1002"/>
                  <a:gd name="T120" fmla="*/ 878 w 969"/>
                  <a:gd name="T121" fmla="*/ 21 h 1002"/>
                  <a:gd name="T122" fmla="*/ 914 w 969"/>
                  <a:gd name="T123" fmla="*/ 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9" h="1002">
                    <a:moveTo>
                      <a:pt x="929" y="2"/>
                    </a:moveTo>
                    <a:lnTo>
                      <a:pt x="931" y="6"/>
                    </a:lnTo>
                    <a:lnTo>
                      <a:pt x="937" y="57"/>
                    </a:lnTo>
                    <a:lnTo>
                      <a:pt x="948" y="76"/>
                    </a:lnTo>
                    <a:lnTo>
                      <a:pt x="955" y="89"/>
                    </a:lnTo>
                    <a:lnTo>
                      <a:pt x="955" y="91"/>
                    </a:lnTo>
                    <a:lnTo>
                      <a:pt x="963" y="134"/>
                    </a:lnTo>
                    <a:lnTo>
                      <a:pt x="961" y="168"/>
                    </a:lnTo>
                    <a:lnTo>
                      <a:pt x="959" y="200"/>
                    </a:lnTo>
                    <a:lnTo>
                      <a:pt x="961" y="234"/>
                    </a:lnTo>
                    <a:lnTo>
                      <a:pt x="963" y="266"/>
                    </a:lnTo>
                    <a:lnTo>
                      <a:pt x="967" y="305"/>
                    </a:lnTo>
                    <a:lnTo>
                      <a:pt x="969" y="324"/>
                    </a:lnTo>
                    <a:lnTo>
                      <a:pt x="967" y="339"/>
                    </a:lnTo>
                    <a:lnTo>
                      <a:pt x="967" y="356"/>
                    </a:lnTo>
                    <a:lnTo>
                      <a:pt x="965" y="375"/>
                    </a:lnTo>
                    <a:lnTo>
                      <a:pt x="965" y="386"/>
                    </a:lnTo>
                    <a:lnTo>
                      <a:pt x="963" y="394"/>
                    </a:lnTo>
                    <a:lnTo>
                      <a:pt x="963" y="396"/>
                    </a:lnTo>
                    <a:lnTo>
                      <a:pt x="963" y="398"/>
                    </a:lnTo>
                    <a:lnTo>
                      <a:pt x="961" y="399"/>
                    </a:lnTo>
                    <a:lnTo>
                      <a:pt x="959" y="403"/>
                    </a:lnTo>
                    <a:lnTo>
                      <a:pt x="957" y="407"/>
                    </a:lnTo>
                    <a:lnTo>
                      <a:pt x="957" y="409"/>
                    </a:lnTo>
                    <a:lnTo>
                      <a:pt x="957" y="411"/>
                    </a:lnTo>
                    <a:lnTo>
                      <a:pt x="955" y="413"/>
                    </a:lnTo>
                    <a:lnTo>
                      <a:pt x="954" y="416"/>
                    </a:lnTo>
                    <a:lnTo>
                      <a:pt x="954" y="418"/>
                    </a:lnTo>
                    <a:lnTo>
                      <a:pt x="954" y="422"/>
                    </a:lnTo>
                    <a:lnTo>
                      <a:pt x="954" y="424"/>
                    </a:lnTo>
                    <a:lnTo>
                      <a:pt x="954" y="426"/>
                    </a:lnTo>
                    <a:lnTo>
                      <a:pt x="954" y="431"/>
                    </a:lnTo>
                    <a:lnTo>
                      <a:pt x="955" y="435"/>
                    </a:lnTo>
                    <a:lnTo>
                      <a:pt x="957" y="435"/>
                    </a:lnTo>
                    <a:lnTo>
                      <a:pt x="959" y="452"/>
                    </a:lnTo>
                    <a:lnTo>
                      <a:pt x="961" y="464"/>
                    </a:lnTo>
                    <a:lnTo>
                      <a:pt x="961" y="469"/>
                    </a:lnTo>
                    <a:lnTo>
                      <a:pt x="959" y="479"/>
                    </a:lnTo>
                    <a:lnTo>
                      <a:pt x="954" y="484"/>
                    </a:lnTo>
                    <a:lnTo>
                      <a:pt x="952" y="492"/>
                    </a:lnTo>
                    <a:lnTo>
                      <a:pt x="950" y="497"/>
                    </a:lnTo>
                    <a:lnTo>
                      <a:pt x="948" y="503"/>
                    </a:lnTo>
                    <a:lnTo>
                      <a:pt x="946" y="511"/>
                    </a:lnTo>
                    <a:lnTo>
                      <a:pt x="944" y="518"/>
                    </a:lnTo>
                    <a:lnTo>
                      <a:pt x="942" y="526"/>
                    </a:lnTo>
                    <a:lnTo>
                      <a:pt x="952" y="558"/>
                    </a:lnTo>
                    <a:lnTo>
                      <a:pt x="937" y="565"/>
                    </a:lnTo>
                    <a:lnTo>
                      <a:pt x="927" y="569"/>
                    </a:lnTo>
                    <a:lnTo>
                      <a:pt x="925" y="571"/>
                    </a:lnTo>
                    <a:lnTo>
                      <a:pt x="914" y="563"/>
                    </a:lnTo>
                    <a:lnTo>
                      <a:pt x="907" y="558"/>
                    </a:lnTo>
                    <a:lnTo>
                      <a:pt x="899" y="552"/>
                    </a:lnTo>
                    <a:lnTo>
                      <a:pt x="897" y="552"/>
                    </a:lnTo>
                    <a:lnTo>
                      <a:pt x="888" y="544"/>
                    </a:lnTo>
                    <a:lnTo>
                      <a:pt x="858" y="524"/>
                    </a:lnTo>
                    <a:lnTo>
                      <a:pt x="854" y="520"/>
                    </a:lnTo>
                    <a:lnTo>
                      <a:pt x="843" y="512"/>
                    </a:lnTo>
                    <a:lnTo>
                      <a:pt x="829" y="505"/>
                    </a:lnTo>
                    <a:lnTo>
                      <a:pt x="829" y="503"/>
                    </a:lnTo>
                    <a:lnTo>
                      <a:pt x="828" y="503"/>
                    </a:lnTo>
                    <a:lnTo>
                      <a:pt x="824" y="499"/>
                    </a:lnTo>
                    <a:lnTo>
                      <a:pt x="822" y="499"/>
                    </a:lnTo>
                    <a:lnTo>
                      <a:pt x="811" y="490"/>
                    </a:lnTo>
                    <a:lnTo>
                      <a:pt x="799" y="494"/>
                    </a:lnTo>
                    <a:lnTo>
                      <a:pt x="784" y="497"/>
                    </a:lnTo>
                    <a:lnTo>
                      <a:pt x="771" y="516"/>
                    </a:lnTo>
                    <a:lnTo>
                      <a:pt x="750" y="535"/>
                    </a:lnTo>
                    <a:lnTo>
                      <a:pt x="743" y="543"/>
                    </a:lnTo>
                    <a:lnTo>
                      <a:pt x="737" y="546"/>
                    </a:lnTo>
                    <a:lnTo>
                      <a:pt x="735" y="548"/>
                    </a:lnTo>
                    <a:lnTo>
                      <a:pt x="735" y="550"/>
                    </a:lnTo>
                    <a:lnTo>
                      <a:pt x="735" y="552"/>
                    </a:lnTo>
                    <a:lnTo>
                      <a:pt x="735" y="554"/>
                    </a:lnTo>
                    <a:lnTo>
                      <a:pt x="735" y="556"/>
                    </a:lnTo>
                    <a:lnTo>
                      <a:pt x="734" y="558"/>
                    </a:lnTo>
                    <a:lnTo>
                      <a:pt x="734" y="560"/>
                    </a:lnTo>
                    <a:lnTo>
                      <a:pt x="734" y="561"/>
                    </a:lnTo>
                    <a:lnTo>
                      <a:pt x="734" y="563"/>
                    </a:lnTo>
                    <a:lnTo>
                      <a:pt x="734" y="565"/>
                    </a:lnTo>
                    <a:lnTo>
                      <a:pt x="732" y="567"/>
                    </a:lnTo>
                    <a:lnTo>
                      <a:pt x="732" y="569"/>
                    </a:lnTo>
                    <a:lnTo>
                      <a:pt x="730" y="571"/>
                    </a:lnTo>
                    <a:lnTo>
                      <a:pt x="728" y="576"/>
                    </a:lnTo>
                    <a:lnTo>
                      <a:pt x="726" y="578"/>
                    </a:lnTo>
                    <a:lnTo>
                      <a:pt x="726" y="580"/>
                    </a:lnTo>
                    <a:lnTo>
                      <a:pt x="722" y="590"/>
                    </a:lnTo>
                    <a:lnTo>
                      <a:pt x="718" y="597"/>
                    </a:lnTo>
                    <a:lnTo>
                      <a:pt x="717" y="601"/>
                    </a:lnTo>
                    <a:lnTo>
                      <a:pt x="709" y="616"/>
                    </a:lnTo>
                    <a:lnTo>
                      <a:pt x="703" y="625"/>
                    </a:lnTo>
                    <a:lnTo>
                      <a:pt x="702" y="631"/>
                    </a:lnTo>
                    <a:lnTo>
                      <a:pt x="698" y="639"/>
                    </a:lnTo>
                    <a:lnTo>
                      <a:pt x="696" y="642"/>
                    </a:lnTo>
                    <a:lnTo>
                      <a:pt x="694" y="644"/>
                    </a:lnTo>
                    <a:lnTo>
                      <a:pt x="679" y="659"/>
                    </a:lnTo>
                    <a:lnTo>
                      <a:pt x="677" y="661"/>
                    </a:lnTo>
                    <a:lnTo>
                      <a:pt x="675" y="663"/>
                    </a:lnTo>
                    <a:lnTo>
                      <a:pt x="673" y="671"/>
                    </a:lnTo>
                    <a:lnTo>
                      <a:pt x="670" y="674"/>
                    </a:lnTo>
                    <a:lnTo>
                      <a:pt x="668" y="680"/>
                    </a:lnTo>
                    <a:lnTo>
                      <a:pt x="662" y="686"/>
                    </a:lnTo>
                    <a:lnTo>
                      <a:pt x="660" y="688"/>
                    </a:lnTo>
                    <a:lnTo>
                      <a:pt x="658" y="695"/>
                    </a:lnTo>
                    <a:lnTo>
                      <a:pt x="656" y="697"/>
                    </a:lnTo>
                    <a:lnTo>
                      <a:pt x="655" y="703"/>
                    </a:lnTo>
                    <a:lnTo>
                      <a:pt x="653" y="714"/>
                    </a:lnTo>
                    <a:lnTo>
                      <a:pt x="653" y="721"/>
                    </a:lnTo>
                    <a:lnTo>
                      <a:pt x="651" y="725"/>
                    </a:lnTo>
                    <a:lnTo>
                      <a:pt x="651" y="727"/>
                    </a:lnTo>
                    <a:lnTo>
                      <a:pt x="651" y="733"/>
                    </a:lnTo>
                    <a:lnTo>
                      <a:pt x="651" y="738"/>
                    </a:lnTo>
                    <a:lnTo>
                      <a:pt x="651" y="744"/>
                    </a:lnTo>
                    <a:lnTo>
                      <a:pt x="651" y="750"/>
                    </a:lnTo>
                    <a:lnTo>
                      <a:pt x="651" y="755"/>
                    </a:lnTo>
                    <a:lnTo>
                      <a:pt x="651" y="757"/>
                    </a:lnTo>
                    <a:lnTo>
                      <a:pt x="651" y="759"/>
                    </a:lnTo>
                    <a:lnTo>
                      <a:pt x="651" y="761"/>
                    </a:lnTo>
                    <a:lnTo>
                      <a:pt x="651" y="765"/>
                    </a:lnTo>
                    <a:lnTo>
                      <a:pt x="651" y="767"/>
                    </a:lnTo>
                    <a:lnTo>
                      <a:pt x="651" y="768"/>
                    </a:lnTo>
                    <a:lnTo>
                      <a:pt x="651" y="772"/>
                    </a:lnTo>
                    <a:lnTo>
                      <a:pt x="651" y="774"/>
                    </a:lnTo>
                    <a:lnTo>
                      <a:pt x="651" y="776"/>
                    </a:lnTo>
                    <a:lnTo>
                      <a:pt x="651" y="778"/>
                    </a:lnTo>
                    <a:lnTo>
                      <a:pt x="651" y="780"/>
                    </a:lnTo>
                    <a:lnTo>
                      <a:pt x="651" y="782"/>
                    </a:lnTo>
                    <a:lnTo>
                      <a:pt x="651" y="784"/>
                    </a:lnTo>
                    <a:lnTo>
                      <a:pt x="651" y="785"/>
                    </a:lnTo>
                    <a:lnTo>
                      <a:pt x="653" y="791"/>
                    </a:lnTo>
                    <a:lnTo>
                      <a:pt x="653" y="793"/>
                    </a:lnTo>
                    <a:lnTo>
                      <a:pt x="653" y="795"/>
                    </a:lnTo>
                    <a:lnTo>
                      <a:pt x="653" y="797"/>
                    </a:lnTo>
                    <a:lnTo>
                      <a:pt x="653" y="799"/>
                    </a:lnTo>
                    <a:lnTo>
                      <a:pt x="653" y="802"/>
                    </a:lnTo>
                    <a:lnTo>
                      <a:pt x="653" y="804"/>
                    </a:lnTo>
                    <a:lnTo>
                      <a:pt x="653" y="806"/>
                    </a:lnTo>
                    <a:lnTo>
                      <a:pt x="655" y="806"/>
                    </a:lnTo>
                    <a:lnTo>
                      <a:pt x="655" y="808"/>
                    </a:lnTo>
                    <a:lnTo>
                      <a:pt x="655" y="810"/>
                    </a:lnTo>
                    <a:lnTo>
                      <a:pt x="656" y="810"/>
                    </a:lnTo>
                    <a:lnTo>
                      <a:pt x="656" y="812"/>
                    </a:lnTo>
                    <a:lnTo>
                      <a:pt x="658" y="812"/>
                    </a:lnTo>
                    <a:lnTo>
                      <a:pt x="660" y="810"/>
                    </a:lnTo>
                    <a:lnTo>
                      <a:pt x="660" y="808"/>
                    </a:lnTo>
                    <a:lnTo>
                      <a:pt x="662" y="808"/>
                    </a:lnTo>
                    <a:lnTo>
                      <a:pt x="662" y="806"/>
                    </a:lnTo>
                    <a:lnTo>
                      <a:pt x="664" y="806"/>
                    </a:lnTo>
                    <a:lnTo>
                      <a:pt x="664" y="804"/>
                    </a:lnTo>
                    <a:lnTo>
                      <a:pt x="666" y="804"/>
                    </a:lnTo>
                    <a:lnTo>
                      <a:pt x="668" y="804"/>
                    </a:lnTo>
                    <a:lnTo>
                      <a:pt x="670" y="804"/>
                    </a:lnTo>
                    <a:lnTo>
                      <a:pt x="671" y="802"/>
                    </a:lnTo>
                    <a:lnTo>
                      <a:pt x="671" y="800"/>
                    </a:lnTo>
                    <a:lnTo>
                      <a:pt x="673" y="800"/>
                    </a:lnTo>
                    <a:lnTo>
                      <a:pt x="675" y="800"/>
                    </a:lnTo>
                    <a:lnTo>
                      <a:pt x="675" y="799"/>
                    </a:lnTo>
                    <a:lnTo>
                      <a:pt x="675" y="797"/>
                    </a:lnTo>
                    <a:lnTo>
                      <a:pt x="675" y="795"/>
                    </a:lnTo>
                    <a:lnTo>
                      <a:pt x="677" y="795"/>
                    </a:lnTo>
                    <a:lnTo>
                      <a:pt x="677" y="800"/>
                    </a:lnTo>
                    <a:lnTo>
                      <a:pt x="677" y="806"/>
                    </a:lnTo>
                    <a:lnTo>
                      <a:pt x="679" y="814"/>
                    </a:lnTo>
                    <a:lnTo>
                      <a:pt x="681" y="814"/>
                    </a:lnTo>
                    <a:lnTo>
                      <a:pt x="681" y="816"/>
                    </a:lnTo>
                    <a:lnTo>
                      <a:pt x="683" y="817"/>
                    </a:lnTo>
                    <a:lnTo>
                      <a:pt x="685" y="819"/>
                    </a:lnTo>
                    <a:lnTo>
                      <a:pt x="687" y="821"/>
                    </a:lnTo>
                    <a:lnTo>
                      <a:pt x="688" y="823"/>
                    </a:lnTo>
                    <a:lnTo>
                      <a:pt x="690" y="825"/>
                    </a:lnTo>
                    <a:lnTo>
                      <a:pt x="692" y="825"/>
                    </a:lnTo>
                    <a:lnTo>
                      <a:pt x="692" y="827"/>
                    </a:lnTo>
                    <a:lnTo>
                      <a:pt x="694" y="827"/>
                    </a:lnTo>
                    <a:lnTo>
                      <a:pt x="694" y="829"/>
                    </a:lnTo>
                    <a:lnTo>
                      <a:pt x="696" y="829"/>
                    </a:lnTo>
                    <a:lnTo>
                      <a:pt x="698" y="829"/>
                    </a:lnTo>
                    <a:lnTo>
                      <a:pt x="698" y="831"/>
                    </a:lnTo>
                    <a:lnTo>
                      <a:pt x="698" y="834"/>
                    </a:lnTo>
                    <a:lnTo>
                      <a:pt x="698" y="836"/>
                    </a:lnTo>
                    <a:lnTo>
                      <a:pt x="698" y="838"/>
                    </a:lnTo>
                    <a:lnTo>
                      <a:pt x="698" y="840"/>
                    </a:lnTo>
                    <a:lnTo>
                      <a:pt x="698" y="842"/>
                    </a:lnTo>
                    <a:lnTo>
                      <a:pt x="698" y="846"/>
                    </a:lnTo>
                    <a:lnTo>
                      <a:pt x="696" y="848"/>
                    </a:lnTo>
                    <a:lnTo>
                      <a:pt x="696" y="849"/>
                    </a:lnTo>
                    <a:lnTo>
                      <a:pt x="694" y="851"/>
                    </a:lnTo>
                    <a:lnTo>
                      <a:pt x="694" y="853"/>
                    </a:lnTo>
                    <a:lnTo>
                      <a:pt x="696" y="859"/>
                    </a:lnTo>
                    <a:lnTo>
                      <a:pt x="700" y="866"/>
                    </a:lnTo>
                    <a:lnTo>
                      <a:pt x="709" y="876"/>
                    </a:lnTo>
                    <a:lnTo>
                      <a:pt x="713" y="880"/>
                    </a:lnTo>
                    <a:lnTo>
                      <a:pt x="720" y="883"/>
                    </a:lnTo>
                    <a:lnTo>
                      <a:pt x="722" y="887"/>
                    </a:lnTo>
                    <a:lnTo>
                      <a:pt x="722" y="889"/>
                    </a:lnTo>
                    <a:lnTo>
                      <a:pt x="739" y="910"/>
                    </a:lnTo>
                    <a:lnTo>
                      <a:pt x="743" y="913"/>
                    </a:lnTo>
                    <a:lnTo>
                      <a:pt x="758" y="919"/>
                    </a:lnTo>
                    <a:lnTo>
                      <a:pt x="764" y="921"/>
                    </a:lnTo>
                    <a:lnTo>
                      <a:pt x="775" y="927"/>
                    </a:lnTo>
                    <a:lnTo>
                      <a:pt x="773" y="929"/>
                    </a:lnTo>
                    <a:lnTo>
                      <a:pt x="769" y="932"/>
                    </a:lnTo>
                    <a:lnTo>
                      <a:pt x="767" y="934"/>
                    </a:lnTo>
                    <a:lnTo>
                      <a:pt x="766" y="936"/>
                    </a:lnTo>
                    <a:lnTo>
                      <a:pt x="764" y="940"/>
                    </a:lnTo>
                    <a:lnTo>
                      <a:pt x="756" y="947"/>
                    </a:lnTo>
                    <a:lnTo>
                      <a:pt x="754" y="951"/>
                    </a:lnTo>
                    <a:lnTo>
                      <a:pt x="752" y="953"/>
                    </a:lnTo>
                    <a:lnTo>
                      <a:pt x="747" y="962"/>
                    </a:lnTo>
                    <a:lnTo>
                      <a:pt x="739" y="961"/>
                    </a:lnTo>
                    <a:lnTo>
                      <a:pt x="737" y="959"/>
                    </a:lnTo>
                    <a:lnTo>
                      <a:pt x="732" y="955"/>
                    </a:lnTo>
                    <a:lnTo>
                      <a:pt x="730" y="953"/>
                    </a:lnTo>
                    <a:lnTo>
                      <a:pt x="730" y="951"/>
                    </a:lnTo>
                    <a:lnTo>
                      <a:pt x="728" y="951"/>
                    </a:lnTo>
                    <a:lnTo>
                      <a:pt x="726" y="951"/>
                    </a:lnTo>
                    <a:lnTo>
                      <a:pt x="726" y="953"/>
                    </a:lnTo>
                    <a:lnTo>
                      <a:pt x="724" y="953"/>
                    </a:lnTo>
                    <a:lnTo>
                      <a:pt x="724" y="955"/>
                    </a:lnTo>
                    <a:lnTo>
                      <a:pt x="722" y="955"/>
                    </a:lnTo>
                    <a:lnTo>
                      <a:pt x="722" y="953"/>
                    </a:lnTo>
                    <a:lnTo>
                      <a:pt x="720" y="953"/>
                    </a:lnTo>
                    <a:lnTo>
                      <a:pt x="718" y="953"/>
                    </a:lnTo>
                    <a:lnTo>
                      <a:pt x="717" y="955"/>
                    </a:lnTo>
                    <a:lnTo>
                      <a:pt x="717" y="957"/>
                    </a:lnTo>
                    <a:lnTo>
                      <a:pt x="715" y="957"/>
                    </a:lnTo>
                    <a:lnTo>
                      <a:pt x="713" y="957"/>
                    </a:lnTo>
                    <a:lnTo>
                      <a:pt x="713" y="955"/>
                    </a:lnTo>
                    <a:lnTo>
                      <a:pt x="711" y="955"/>
                    </a:lnTo>
                    <a:lnTo>
                      <a:pt x="711" y="957"/>
                    </a:lnTo>
                    <a:lnTo>
                      <a:pt x="709" y="957"/>
                    </a:lnTo>
                    <a:lnTo>
                      <a:pt x="709" y="959"/>
                    </a:lnTo>
                    <a:lnTo>
                      <a:pt x="709" y="961"/>
                    </a:lnTo>
                    <a:lnTo>
                      <a:pt x="709" y="959"/>
                    </a:lnTo>
                    <a:lnTo>
                      <a:pt x="707" y="959"/>
                    </a:lnTo>
                    <a:lnTo>
                      <a:pt x="707" y="957"/>
                    </a:lnTo>
                    <a:lnTo>
                      <a:pt x="705" y="957"/>
                    </a:lnTo>
                    <a:lnTo>
                      <a:pt x="705" y="959"/>
                    </a:lnTo>
                    <a:lnTo>
                      <a:pt x="703" y="959"/>
                    </a:lnTo>
                    <a:lnTo>
                      <a:pt x="702" y="959"/>
                    </a:lnTo>
                    <a:lnTo>
                      <a:pt x="700" y="959"/>
                    </a:lnTo>
                    <a:lnTo>
                      <a:pt x="698" y="959"/>
                    </a:lnTo>
                    <a:lnTo>
                      <a:pt x="698" y="961"/>
                    </a:lnTo>
                    <a:lnTo>
                      <a:pt x="696" y="961"/>
                    </a:lnTo>
                    <a:lnTo>
                      <a:pt x="694" y="961"/>
                    </a:lnTo>
                    <a:lnTo>
                      <a:pt x="692" y="959"/>
                    </a:lnTo>
                    <a:lnTo>
                      <a:pt x="692" y="961"/>
                    </a:lnTo>
                    <a:lnTo>
                      <a:pt x="690" y="961"/>
                    </a:lnTo>
                    <a:lnTo>
                      <a:pt x="690" y="962"/>
                    </a:lnTo>
                    <a:lnTo>
                      <a:pt x="688" y="962"/>
                    </a:lnTo>
                    <a:lnTo>
                      <a:pt x="688" y="961"/>
                    </a:lnTo>
                    <a:lnTo>
                      <a:pt x="688" y="959"/>
                    </a:lnTo>
                    <a:lnTo>
                      <a:pt x="688" y="957"/>
                    </a:lnTo>
                    <a:lnTo>
                      <a:pt x="688" y="955"/>
                    </a:lnTo>
                    <a:lnTo>
                      <a:pt x="687" y="955"/>
                    </a:lnTo>
                    <a:lnTo>
                      <a:pt x="687" y="953"/>
                    </a:lnTo>
                    <a:lnTo>
                      <a:pt x="685" y="953"/>
                    </a:lnTo>
                    <a:lnTo>
                      <a:pt x="685" y="951"/>
                    </a:lnTo>
                    <a:lnTo>
                      <a:pt x="685" y="949"/>
                    </a:lnTo>
                    <a:lnTo>
                      <a:pt x="685" y="947"/>
                    </a:lnTo>
                    <a:lnTo>
                      <a:pt x="685" y="945"/>
                    </a:lnTo>
                    <a:lnTo>
                      <a:pt x="685" y="944"/>
                    </a:lnTo>
                    <a:lnTo>
                      <a:pt x="683" y="944"/>
                    </a:lnTo>
                    <a:lnTo>
                      <a:pt x="681" y="944"/>
                    </a:lnTo>
                    <a:lnTo>
                      <a:pt x="681" y="945"/>
                    </a:lnTo>
                    <a:lnTo>
                      <a:pt x="681" y="944"/>
                    </a:lnTo>
                    <a:lnTo>
                      <a:pt x="679" y="944"/>
                    </a:lnTo>
                    <a:lnTo>
                      <a:pt x="679" y="945"/>
                    </a:lnTo>
                    <a:lnTo>
                      <a:pt x="677" y="945"/>
                    </a:lnTo>
                    <a:lnTo>
                      <a:pt x="675" y="945"/>
                    </a:lnTo>
                    <a:lnTo>
                      <a:pt x="673" y="945"/>
                    </a:lnTo>
                    <a:lnTo>
                      <a:pt x="671" y="947"/>
                    </a:lnTo>
                    <a:lnTo>
                      <a:pt x="671" y="945"/>
                    </a:lnTo>
                    <a:lnTo>
                      <a:pt x="670" y="945"/>
                    </a:lnTo>
                    <a:lnTo>
                      <a:pt x="670" y="947"/>
                    </a:lnTo>
                    <a:lnTo>
                      <a:pt x="670" y="949"/>
                    </a:lnTo>
                    <a:lnTo>
                      <a:pt x="670" y="951"/>
                    </a:lnTo>
                    <a:lnTo>
                      <a:pt x="668" y="953"/>
                    </a:lnTo>
                    <a:lnTo>
                      <a:pt x="670" y="953"/>
                    </a:lnTo>
                    <a:lnTo>
                      <a:pt x="668" y="953"/>
                    </a:lnTo>
                    <a:lnTo>
                      <a:pt x="668" y="955"/>
                    </a:lnTo>
                    <a:lnTo>
                      <a:pt x="666" y="955"/>
                    </a:lnTo>
                    <a:lnTo>
                      <a:pt x="664" y="955"/>
                    </a:lnTo>
                    <a:lnTo>
                      <a:pt x="664" y="957"/>
                    </a:lnTo>
                    <a:lnTo>
                      <a:pt x="662" y="957"/>
                    </a:lnTo>
                    <a:lnTo>
                      <a:pt x="660" y="957"/>
                    </a:lnTo>
                    <a:lnTo>
                      <a:pt x="658" y="957"/>
                    </a:lnTo>
                    <a:lnTo>
                      <a:pt x="658" y="959"/>
                    </a:lnTo>
                    <a:lnTo>
                      <a:pt x="658" y="957"/>
                    </a:lnTo>
                    <a:lnTo>
                      <a:pt x="658" y="955"/>
                    </a:lnTo>
                    <a:lnTo>
                      <a:pt x="660" y="955"/>
                    </a:lnTo>
                    <a:lnTo>
                      <a:pt x="658" y="953"/>
                    </a:lnTo>
                    <a:lnTo>
                      <a:pt x="656" y="953"/>
                    </a:lnTo>
                    <a:lnTo>
                      <a:pt x="655" y="953"/>
                    </a:lnTo>
                    <a:lnTo>
                      <a:pt x="656" y="953"/>
                    </a:lnTo>
                    <a:lnTo>
                      <a:pt x="656" y="951"/>
                    </a:lnTo>
                    <a:lnTo>
                      <a:pt x="655" y="951"/>
                    </a:lnTo>
                    <a:lnTo>
                      <a:pt x="655" y="953"/>
                    </a:lnTo>
                    <a:lnTo>
                      <a:pt x="653" y="951"/>
                    </a:lnTo>
                    <a:lnTo>
                      <a:pt x="655" y="951"/>
                    </a:lnTo>
                    <a:lnTo>
                      <a:pt x="655" y="949"/>
                    </a:lnTo>
                    <a:lnTo>
                      <a:pt x="653" y="949"/>
                    </a:lnTo>
                    <a:lnTo>
                      <a:pt x="651" y="949"/>
                    </a:lnTo>
                    <a:lnTo>
                      <a:pt x="651" y="947"/>
                    </a:lnTo>
                    <a:lnTo>
                      <a:pt x="651" y="945"/>
                    </a:lnTo>
                    <a:lnTo>
                      <a:pt x="649" y="945"/>
                    </a:lnTo>
                    <a:lnTo>
                      <a:pt x="649" y="947"/>
                    </a:lnTo>
                    <a:lnTo>
                      <a:pt x="647" y="947"/>
                    </a:lnTo>
                    <a:lnTo>
                      <a:pt x="647" y="945"/>
                    </a:lnTo>
                    <a:lnTo>
                      <a:pt x="647" y="947"/>
                    </a:lnTo>
                    <a:lnTo>
                      <a:pt x="649" y="947"/>
                    </a:lnTo>
                    <a:lnTo>
                      <a:pt x="649" y="949"/>
                    </a:lnTo>
                    <a:lnTo>
                      <a:pt x="647" y="949"/>
                    </a:lnTo>
                    <a:lnTo>
                      <a:pt x="645" y="949"/>
                    </a:lnTo>
                    <a:lnTo>
                      <a:pt x="645" y="947"/>
                    </a:lnTo>
                    <a:lnTo>
                      <a:pt x="643" y="947"/>
                    </a:lnTo>
                    <a:lnTo>
                      <a:pt x="643" y="945"/>
                    </a:lnTo>
                    <a:lnTo>
                      <a:pt x="643" y="944"/>
                    </a:lnTo>
                    <a:lnTo>
                      <a:pt x="641" y="944"/>
                    </a:lnTo>
                    <a:lnTo>
                      <a:pt x="641" y="942"/>
                    </a:lnTo>
                    <a:lnTo>
                      <a:pt x="639" y="942"/>
                    </a:lnTo>
                    <a:lnTo>
                      <a:pt x="639" y="944"/>
                    </a:lnTo>
                    <a:lnTo>
                      <a:pt x="638" y="944"/>
                    </a:lnTo>
                    <a:lnTo>
                      <a:pt x="638" y="942"/>
                    </a:lnTo>
                    <a:lnTo>
                      <a:pt x="638" y="940"/>
                    </a:lnTo>
                    <a:lnTo>
                      <a:pt x="636" y="942"/>
                    </a:lnTo>
                    <a:lnTo>
                      <a:pt x="634" y="942"/>
                    </a:lnTo>
                    <a:lnTo>
                      <a:pt x="634" y="940"/>
                    </a:lnTo>
                    <a:lnTo>
                      <a:pt x="632" y="940"/>
                    </a:lnTo>
                    <a:lnTo>
                      <a:pt x="632" y="938"/>
                    </a:lnTo>
                    <a:lnTo>
                      <a:pt x="630" y="938"/>
                    </a:lnTo>
                    <a:lnTo>
                      <a:pt x="628" y="938"/>
                    </a:lnTo>
                    <a:lnTo>
                      <a:pt x="617" y="938"/>
                    </a:lnTo>
                    <a:lnTo>
                      <a:pt x="608" y="944"/>
                    </a:lnTo>
                    <a:lnTo>
                      <a:pt x="600" y="949"/>
                    </a:lnTo>
                    <a:lnTo>
                      <a:pt x="598" y="949"/>
                    </a:lnTo>
                    <a:lnTo>
                      <a:pt x="596" y="949"/>
                    </a:lnTo>
                    <a:lnTo>
                      <a:pt x="594" y="949"/>
                    </a:lnTo>
                    <a:lnTo>
                      <a:pt x="592" y="949"/>
                    </a:lnTo>
                    <a:lnTo>
                      <a:pt x="591" y="951"/>
                    </a:lnTo>
                    <a:lnTo>
                      <a:pt x="591" y="949"/>
                    </a:lnTo>
                    <a:lnTo>
                      <a:pt x="589" y="949"/>
                    </a:lnTo>
                    <a:lnTo>
                      <a:pt x="587" y="949"/>
                    </a:lnTo>
                    <a:lnTo>
                      <a:pt x="587" y="947"/>
                    </a:lnTo>
                    <a:lnTo>
                      <a:pt x="585" y="947"/>
                    </a:lnTo>
                    <a:lnTo>
                      <a:pt x="583" y="947"/>
                    </a:lnTo>
                    <a:lnTo>
                      <a:pt x="581" y="947"/>
                    </a:lnTo>
                    <a:lnTo>
                      <a:pt x="581" y="945"/>
                    </a:lnTo>
                    <a:lnTo>
                      <a:pt x="579" y="945"/>
                    </a:lnTo>
                    <a:lnTo>
                      <a:pt x="577" y="945"/>
                    </a:lnTo>
                    <a:lnTo>
                      <a:pt x="576" y="945"/>
                    </a:lnTo>
                    <a:lnTo>
                      <a:pt x="574" y="945"/>
                    </a:lnTo>
                    <a:lnTo>
                      <a:pt x="574" y="947"/>
                    </a:lnTo>
                    <a:lnTo>
                      <a:pt x="572" y="947"/>
                    </a:lnTo>
                    <a:lnTo>
                      <a:pt x="570" y="947"/>
                    </a:lnTo>
                    <a:lnTo>
                      <a:pt x="568" y="949"/>
                    </a:lnTo>
                    <a:lnTo>
                      <a:pt x="566" y="949"/>
                    </a:lnTo>
                    <a:lnTo>
                      <a:pt x="564" y="949"/>
                    </a:lnTo>
                    <a:lnTo>
                      <a:pt x="562" y="949"/>
                    </a:lnTo>
                    <a:lnTo>
                      <a:pt x="562" y="951"/>
                    </a:lnTo>
                    <a:lnTo>
                      <a:pt x="562" y="949"/>
                    </a:lnTo>
                    <a:lnTo>
                      <a:pt x="559" y="949"/>
                    </a:lnTo>
                    <a:lnTo>
                      <a:pt x="557" y="947"/>
                    </a:lnTo>
                    <a:lnTo>
                      <a:pt x="557" y="940"/>
                    </a:lnTo>
                    <a:lnTo>
                      <a:pt x="557" y="938"/>
                    </a:lnTo>
                    <a:lnTo>
                      <a:pt x="557" y="934"/>
                    </a:lnTo>
                    <a:lnTo>
                      <a:pt x="549" y="934"/>
                    </a:lnTo>
                    <a:lnTo>
                      <a:pt x="542" y="932"/>
                    </a:lnTo>
                    <a:lnTo>
                      <a:pt x="542" y="934"/>
                    </a:lnTo>
                    <a:lnTo>
                      <a:pt x="542" y="938"/>
                    </a:lnTo>
                    <a:lnTo>
                      <a:pt x="542" y="945"/>
                    </a:lnTo>
                    <a:lnTo>
                      <a:pt x="536" y="944"/>
                    </a:lnTo>
                    <a:lnTo>
                      <a:pt x="532" y="942"/>
                    </a:lnTo>
                    <a:lnTo>
                      <a:pt x="530" y="944"/>
                    </a:lnTo>
                    <a:lnTo>
                      <a:pt x="525" y="947"/>
                    </a:lnTo>
                    <a:lnTo>
                      <a:pt x="521" y="947"/>
                    </a:lnTo>
                    <a:lnTo>
                      <a:pt x="521" y="951"/>
                    </a:lnTo>
                    <a:lnTo>
                      <a:pt x="519" y="951"/>
                    </a:lnTo>
                    <a:lnTo>
                      <a:pt x="521" y="957"/>
                    </a:lnTo>
                    <a:lnTo>
                      <a:pt x="519" y="962"/>
                    </a:lnTo>
                    <a:lnTo>
                      <a:pt x="513" y="962"/>
                    </a:lnTo>
                    <a:lnTo>
                      <a:pt x="512" y="962"/>
                    </a:lnTo>
                    <a:lnTo>
                      <a:pt x="512" y="964"/>
                    </a:lnTo>
                    <a:lnTo>
                      <a:pt x="510" y="964"/>
                    </a:lnTo>
                    <a:lnTo>
                      <a:pt x="508" y="966"/>
                    </a:lnTo>
                    <a:lnTo>
                      <a:pt x="508" y="961"/>
                    </a:lnTo>
                    <a:lnTo>
                      <a:pt x="498" y="959"/>
                    </a:lnTo>
                    <a:lnTo>
                      <a:pt x="497" y="962"/>
                    </a:lnTo>
                    <a:lnTo>
                      <a:pt x="495" y="964"/>
                    </a:lnTo>
                    <a:lnTo>
                      <a:pt x="491" y="968"/>
                    </a:lnTo>
                    <a:lnTo>
                      <a:pt x="489" y="968"/>
                    </a:lnTo>
                    <a:lnTo>
                      <a:pt x="487" y="968"/>
                    </a:lnTo>
                    <a:lnTo>
                      <a:pt x="487" y="970"/>
                    </a:lnTo>
                    <a:lnTo>
                      <a:pt x="487" y="972"/>
                    </a:lnTo>
                    <a:lnTo>
                      <a:pt x="487" y="974"/>
                    </a:lnTo>
                    <a:lnTo>
                      <a:pt x="485" y="976"/>
                    </a:lnTo>
                    <a:lnTo>
                      <a:pt x="480" y="970"/>
                    </a:lnTo>
                    <a:lnTo>
                      <a:pt x="478" y="968"/>
                    </a:lnTo>
                    <a:lnTo>
                      <a:pt x="476" y="966"/>
                    </a:lnTo>
                    <a:lnTo>
                      <a:pt x="470" y="962"/>
                    </a:lnTo>
                    <a:lnTo>
                      <a:pt x="468" y="962"/>
                    </a:lnTo>
                    <a:lnTo>
                      <a:pt x="466" y="961"/>
                    </a:lnTo>
                    <a:lnTo>
                      <a:pt x="463" y="964"/>
                    </a:lnTo>
                    <a:lnTo>
                      <a:pt x="461" y="966"/>
                    </a:lnTo>
                    <a:lnTo>
                      <a:pt x="461" y="968"/>
                    </a:lnTo>
                    <a:lnTo>
                      <a:pt x="459" y="968"/>
                    </a:lnTo>
                    <a:lnTo>
                      <a:pt x="457" y="968"/>
                    </a:lnTo>
                    <a:lnTo>
                      <a:pt x="455" y="970"/>
                    </a:lnTo>
                    <a:lnTo>
                      <a:pt x="453" y="970"/>
                    </a:lnTo>
                    <a:lnTo>
                      <a:pt x="451" y="970"/>
                    </a:lnTo>
                    <a:lnTo>
                      <a:pt x="450" y="970"/>
                    </a:lnTo>
                    <a:lnTo>
                      <a:pt x="450" y="968"/>
                    </a:lnTo>
                    <a:lnTo>
                      <a:pt x="448" y="968"/>
                    </a:lnTo>
                    <a:lnTo>
                      <a:pt x="444" y="962"/>
                    </a:lnTo>
                    <a:lnTo>
                      <a:pt x="442" y="962"/>
                    </a:lnTo>
                    <a:lnTo>
                      <a:pt x="436" y="961"/>
                    </a:lnTo>
                    <a:lnTo>
                      <a:pt x="427" y="959"/>
                    </a:lnTo>
                    <a:lnTo>
                      <a:pt x="425" y="962"/>
                    </a:lnTo>
                    <a:lnTo>
                      <a:pt x="425" y="964"/>
                    </a:lnTo>
                    <a:lnTo>
                      <a:pt x="423" y="966"/>
                    </a:lnTo>
                    <a:lnTo>
                      <a:pt x="421" y="966"/>
                    </a:lnTo>
                    <a:lnTo>
                      <a:pt x="419" y="966"/>
                    </a:lnTo>
                    <a:lnTo>
                      <a:pt x="419" y="964"/>
                    </a:lnTo>
                    <a:lnTo>
                      <a:pt x="418" y="964"/>
                    </a:lnTo>
                    <a:lnTo>
                      <a:pt x="418" y="966"/>
                    </a:lnTo>
                    <a:lnTo>
                      <a:pt x="416" y="966"/>
                    </a:lnTo>
                    <a:lnTo>
                      <a:pt x="414" y="966"/>
                    </a:lnTo>
                    <a:lnTo>
                      <a:pt x="412" y="966"/>
                    </a:lnTo>
                    <a:lnTo>
                      <a:pt x="410" y="966"/>
                    </a:lnTo>
                    <a:lnTo>
                      <a:pt x="410" y="964"/>
                    </a:lnTo>
                    <a:lnTo>
                      <a:pt x="408" y="964"/>
                    </a:lnTo>
                    <a:lnTo>
                      <a:pt x="406" y="968"/>
                    </a:lnTo>
                    <a:lnTo>
                      <a:pt x="406" y="970"/>
                    </a:lnTo>
                    <a:lnTo>
                      <a:pt x="406" y="972"/>
                    </a:lnTo>
                    <a:lnTo>
                      <a:pt x="404" y="974"/>
                    </a:lnTo>
                    <a:lnTo>
                      <a:pt x="403" y="974"/>
                    </a:lnTo>
                    <a:lnTo>
                      <a:pt x="403" y="979"/>
                    </a:lnTo>
                    <a:lnTo>
                      <a:pt x="401" y="979"/>
                    </a:lnTo>
                    <a:lnTo>
                      <a:pt x="401" y="981"/>
                    </a:lnTo>
                    <a:lnTo>
                      <a:pt x="401" y="983"/>
                    </a:lnTo>
                    <a:lnTo>
                      <a:pt x="401" y="985"/>
                    </a:lnTo>
                    <a:lnTo>
                      <a:pt x="399" y="985"/>
                    </a:lnTo>
                    <a:lnTo>
                      <a:pt x="397" y="985"/>
                    </a:lnTo>
                    <a:lnTo>
                      <a:pt x="397" y="987"/>
                    </a:lnTo>
                    <a:lnTo>
                      <a:pt x="395" y="989"/>
                    </a:lnTo>
                    <a:lnTo>
                      <a:pt x="393" y="987"/>
                    </a:lnTo>
                    <a:lnTo>
                      <a:pt x="391" y="987"/>
                    </a:lnTo>
                    <a:lnTo>
                      <a:pt x="387" y="983"/>
                    </a:lnTo>
                    <a:lnTo>
                      <a:pt x="386" y="983"/>
                    </a:lnTo>
                    <a:lnTo>
                      <a:pt x="386" y="981"/>
                    </a:lnTo>
                    <a:lnTo>
                      <a:pt x="384" y="981"/>
                    </a:lnTo>
                    <a:lnTo>
                      <a:pt x="382" y="981"/>
                    </a:lnTo>
                    <a:lnTo>
                      <a:pt x="382" y="979"/>
                    </a:lnTo>
                    <a:lnTo>
                      <a:pt x="380" y="979"/>
                    </a:lnTo>
                    <a:lnTo>
                      <a:pt x="378" y="979"/>
                    </a:lnTo>
                    <a:lnTo>
                      <a:pt x="378" y="981"/>
                    </a:lnTo>
                    <a:lnTo>
                      <a:pt x="376" y="981"/>
                    </a:lnTo>
                    <a:lnTo>
                      <a:pt x="376" y="983"/>
                    </a:lnTo>
                    <a:lnTo>
                      <a:pt x="376" y="981"/>
                    </a:lnTo>
                    <a:lnTo>
                      <a:pt x="376" y="983"/>
                    </a:lnTo>
                    <a:lnTo>
                      <a:pt x="374" y="983"/>
                    </a:lnTo>
                    <a:lnTo>
                      <a:pt x="374" y="985"/>
                    </a:lnTo>
                    <a:lnTo>
                      <a:pt x="372" y="985"/>
                    </a:lnTo>
                    <a:lnTo>
                      <a:pt x="372" y="987"/>
                    </a:lnTo>
                    <a:lnTo>
                      <a:pt x="372" y="989"/>
                    </a:lnTo>
                    <a:lnTo>
                      <a:pt x="372" y="991"/>
                    </a:lnTo>
                    <a:lnTo>
                      <a:pt x="372" y="993"/>
                    </a:lnTo>
                    <a:lnTo>
                      <a:pt x="371" y="993"/>
                    </a:lnTo>
                    <a:lnTo>
                      <a:pt x="372" y="993"/>
                    </a:lnTo>
                    <a:lnTo>
                      <a:pt x="371" y="993"/>
                    </a:lnTo>
                    <a:lnTo>
                      <a:pt x="372" y="993"/>
                    </a:lnTo>
                    <a:lnTo>
                      <a:pt x="372" y="994"/>
                    </a:lnTo>
                    <a:lnTo>
                      <a:pt x="374" y="994"/>
                    </a:lnTo>
                    <a:lnTo>
                      <a:pt x="372" y="996"/>
                    </a:lnTo>
                    <a:lnTo>
                      <a:pt x="374" y="996"/>
                    </a:lnTo>
                    <a:lnTo>
                      <a:pt x="372" y="996"/>
                    </a:lnTo>
                    <a:lnTo>
                      <a:pt x="372" y="998"/>
                    </a:lnTo>
                    <a:lnTo>
                      <a:pt x="371" y="998"/>
                    </a:lnTo>
                    <a:lnTo>
                      <a:pt x="369" y="998"/>
                    </a:lnTo>
                    <a:lnTo>
                      <a:pt x="369" y="1000"/>
                    </a:lnTo>
                    <a:lnTo>
                      <a:pt x="367" y="1000"/>
                    </a:lnTo>
                    <a:lnTo>
                      <a:pt x="367" y="998"/>
                    </a:lnTo>
                    <a:lnTo>
                      <a:pt x="365" y="1000"/>
                    </a:lnTo>
                    <a:lnTo>
                      <a:pt x="365" y="998"/>
                    </a:lnTo>
                    <a:lnTo>
                      <a:pt x="363" y="998"/>
                    </a:lnTo>
                    <a:lnTo>
                      <a:pt x="361" y="998"/>
                    </a:lnTo>
                    <a:lnTo>
                      <a:pt x="359" y="998"/>
                    </a:lnTo>
                    <a:lnTo>
                      <a:pt x="359" y="1000"/>
                    </a:lnTo>
                    <a:lnTo>
                      <a:pt x="359" y="1002"/>
                    </a:lnTo>
                    <a:lnTo>
                      <a:pt x="357" y="1002"/>
                    </a:lnTo>
                    <a:lnTo>
                      <a:pt x="357" y="1000"/>
                    </a:lnTo>
                    <a:lnTo>
                      <a:pt x="357" y="1002"/>
                    </a:lnTo>
                    <a:lnTo>
                      <a:pt x="355" y="1002"/>
                    </a:lnTo>
                    <a:lnTo>
                      <a:pt x="354" y="1000"/>
                    </a:lnTo>
                    <a:lnTo>
                      <a:pt x="354" y="1002"/>
                    </a:lnTo>
                    <a:lnTo>
                      <a:pt x="352" y="1002"/>
                    </a:lnTo>
                    <a:lnTo>
                      <a:pt x="350" y="1002"/>
                    </a:lnTo>
                    <a:lnTo>
                      <a:pt x="350" y="1000"/>
                    </a:lnTo>
                    <a:lnTo>
                      <a:pt x="348" y="998"/>
                    </a:lnTo>
                    <a:lnTo>
                      <a:pt x="348" y="996"/>
                    </a:lnTo>
                    <a:lnTo>
                      <a:pt x="348" y="994"/>
                    </a:lnTo>
                    <a:lnTo>
                      <a:pt x="346" y="994"/>
                    </a:lnTo>
                    <a:lnTo>
                      <a:pt x="348" y="994"/>
                    </a:lnTo>
                    <a:lnTo>
                      <a:pt x="346" y="994"/>
                    </a:lnTo>
                    <a:lnTo>
                      <a:pt x="346" y="993"/>
                    </a:lnTo>
                    <a:lnTo>
                      <a:pt x="348" y="993"/>
                    </a:lnTo>
                    <a:lnTo>
                      <a:pt x="346" y="993"/>
                    </a:lnTo>
                    <a:lnTo>
                      <a:pt x="346" y="991"/>
                    </a:lnTo>
                    <a:lnTo>
                      <a:pt x="344" y="991"/>
                    </a:lnTo>
                    <a:lnTo>
                      <a:pt x="344" y="989"/>
                    </a:lnTo>
                    <a:lnTo>
                      <a:pt x="342" y="989"/>
                    </a:lnTo>
                    <a:lnTo>
                      <a:pt x="340" y="989"/>
                    </a:lnTo>
                    <a:lnTo>
                      <a:pt x="340" y="987"/>
                    </a:lnTo>
                    <a:lnTo>
                      <a:pt x="340" y="985"/>
                    </a:lnTo>
                    <a:lnTo>
                      <a:pt x="339" y="985"/>
                    </a:lnTo>
                    <a:lnTo>
                      <a:pt x="339" y="983"/>
                    </a:lnTo>
                    <a:lnTo>
                      <a:pt x="337" y="983"/>
                    </a:lnTo>
                    <a:lnTo>
                      <a:pt x="337" y="981"/>
                    </a:lnTo>
                    <a:lnTo>
                      <a:pt x="335" y="979"/>
                    </a:lnTo>
                    <a:lnTo>
                      <a:pt x="333" y="979"/>
                    </a:lnTo>
                    <a:lnTo>
                      <a:pt x="333" y="977"/>
                    </a:lnTo>
                    <a:lnTo>
                      <a:pt x="331" y="977"/>
                    </a:lnTo>
                    <a:lnTo>
                      <a:pt x="333" y="976"/>
                    </a:lnTo>
                    <a:lnTo>
                      <a:pt x="335" y="976"/>
                    </a:lnTo>
                    <a:lnTo>
                      <a:pt x="333" y="974"/>
                    </a:lnTo>
                    <a:lnTo>
                      <a:pt x="333" y="972"/>
                    </a:lnTo>
                    <a:lnTo>
                      <a:pt x="335" y="972"/>
                    </a:lnTo>
                    <a:lnTo>
                      <a:pt x="335" y="970"/>
                    </a:lnTo>
                    <a:lnTo>
                      <a:pt x="333" y="970"/>
                    </a:lnTo>
                    <a:lnTo>
                      <a:pt x="331" y="970"/>
                    </a:lnTo>
                    <a:lnTo>
                      <a:pt x="331" y="968"/>
                    </a:lnTo>
                    <a:lnTo>
                      <a:pt x="329" y="968"/>
                    </a:lnTo>
                    <a:lnTo>
                      <a:pt x="327" y="970"/>
                    </a:lnTo>
                    <a:lnTo>
                      <a:pt x="327" y="968"/>
                    </a:lnTo>
                    <a:lnTo>
                      <a:pt x="327" y="966"/>
                    </a:lnTo>
                    <a:lnTo>
                      <a:pt x="327" y="968"/>
                    </a:lnTo>
                    <a:lnTo>
                      <a:pt x="329" y="968"/>
                    </a:lnTo>
                    <a:lnTo>
                      <a:pt x="329" y="966"/>
                    </a:lnTo>
                    <a:lnTo>
                      <a:pt x="327" y="966"/>
                    </a:lnTo>
                    <a:lnTo>
                      <a:pt x="327" y="964"/>
                    </a:lnTo>
                    <a:lnTo>
                      <a:pt x="325" y="964"/>
                    </a:lnTo>
                    <a:lnTo>
                      <a:pt x="325" y="966"/>
                    </a:lnTo>
                    <a:lnTo>
                      <a:pt x="327" y="966"/>
                    </a:lnTo>
                    <a:lnTo>
                      <a:pt x="325" y="966"/>
                    </a:lnTo>
                    <a:lnTo>
                      <a:pt x="324" y="966"/>
                    </a:lnTo>
                    <a:lnTo>
                      <a:pt x="324" y="964"/>
                    </a:lnTo>
                    <a:lnTo>
                      <a:pt x="324" y="962"/>
                    </a:lnTo>
                    <a:lnTo>
                      <a:pt x="324" y="961"/>
                    </a:lnTo>
                    <a:lnTo>
                      <a:pt x="322" y="961"/>
                    </a:lnTo>
                    <a:lnTo>
                      <a:pt x="322" y="959"/>
                    </a:lnTo>
                    <a:lnTo>
                      <a:pt x="320" y="959"/>
                    </a:lnTo>
                    <a:lnTo>
                      <a:pt x="320" y="961"/>
                    </a:lnTo>
                    <a:lnTo>
                      <a:pt x="318" y="961"/>
                    </a:lnTo>
                    <a:lnTo>
                      <a:pt x="316" y="961"/>
                    </a:lnTo>
                    <a:lnTo>
                      <a:pt x="316" y="959"/>
                    </a:lnTo>
                    <a:lnTo>
                      <a:pt x="318" y="957"/>
                    </a:lnTo>
                    <a:lnTo>
                      <a:pt x="316" y="957"/>
                    </a:lnTo>
                    <a:lnTo>
                      <a:pt x="318" y="955"/>
                    </a:lnTo>
                    <a:lnTo>
                      <a:pt x="318" y="953"/>
                    </a:lnTo>
                    <a:lnTo>
                      <a:pt x="318" y="955"/>
                    </a:lnTo>
                    <a:lnTo>
                      <a:pt x="316" y="955"/>
                    </a:lnTo>
                    <a:lnTo>
                      <a:pt x="316" y="953"/>
                    </a:lnTo>
                    <a:lnTo>
                      <a:pt x="318" y="953"/>
                    </a:lnTo>
                    <a:lnTo>
                      <a:pt x="318" y="951"/>
                    </a:lnTo>
                    <a:lnTo>
                      <a:pt x="318" y="949"/>
                    </a:lnTo>
                    <a:lnTo>
                      <a:pt x="316" y="951"/>
                    </a:lnTo>
                    <a:lnTo>
                      <a:pt x="314" y="951"/>
                    </a:lnTo>
                    <a:lnTo>
                      <a:pt x="312" y="949"/>
                    </a:lnTo>
                    <a:lnTo>
                      <a:pt x="314" y="949"/>
                    </a:lnTo>
                    <a:lnTo>
                      <a:pt x="314" y="947"/>
                    </a:lnTo>
                    <a:lnTo>
                      <a:pt x="312" y="947"/>
                    </a:lnTo>
                    <a:lnTo>
                      <a:pt x="312" y="945"/>
                    </a:lnTo>
                    <a:lnTo>
                      <a:pt x="314" y="945"/>
                    </a:lnTo>
                    <a:lnTo>
                      <a:pt x="314" y="944"/>
                    </a:lnTo>
                    <a:lnTo>
                      <a:pt x="312" y="944"/>
                    </a:lnTo>
                    <a:lnTo>
                      <a:pt x="314" y="944"/>
                    </a:lnTo>
                    <a:lnTo>
                      <a:pt x="312" y="944"/>
                    </a:lnTo>
                    <a:lnTo>
                      <a:pt x="312" y="942"/>
                    </a:lnTo>
                    <a:lnTo>
                      <a:pt x="312" y="940"/>
                    </a:lnTo>
                    <a:lnTo>
                      <a:pt x="312" y="938"/>
                    </a:lnTo>
                    <a:lnTo>
                      <a:pt x="310" y="938"/>
                    </a:lnTo>
                    <a:lnTo>
                      <a:pt x="310" y="936"/>
                    </a:lnTo>
                    <a:lnTo>
                      <a:pt x="310" y="938"/>
                    </a:lnTo>
                    <a:lnTo>
                      <a:pt x="308" y="938"/>
                    </a:lnTo>
                    <a:lnTo>
                      <a:pt x="308" y="936"/>
                    </a:lnTo>
                    <a:lnTo>
                      <a:pt x="308" y="934"/>
                    </a:lnTo>
                    <a:lnTo>
                      <a:pt x="308" y="936"/>
                    </a:lnTo>
                    <a:lnTo>
                      <a:pt x="307" y="934"/>
                    </a:lnTo>
                    <a:lnTo>
                      <a:pt x="308" y="934"/>
                    </a:lnTo>
                    <a:lnTo>
                      <a:pt x="307" y="934"/>
                    </a:lnTo>
                    <a:lnTo>
                      <a:pt x="307" y="932"/>
                    </a:lnTo>
                    <a:lnTo>
                      <a:pt x="305" y="932"/>
                    </a:lnTo>
                    <a:lnTo>
                      <a:pt x="305" y="930"/>
                    </a:lnTo>
                    <a:lnTo>
                      <a:pt x="305" y="932"/>
                    </a:lnTo>
                    <a:lnTo>
                      <a:pt x="305" y="930"/>
                    </a:lnTo>
                    <a:lnTo>
                      <a:pt x="305" y="932"/>
                    </a:lnTo>
                    <a:lnTo>
                      <a:pt x="303" y="932"/>
                    </a:lnTo>
                    <a:lnTo>
                      <a:pt x="303" y="930"/>
                    </a:lnTo>
                    <a:lnTo>
                      <a:pt x="303" y="929"/>
                    </a:lnTo>
                    <a:lnTo>
                      <a:pt x="301" y="929"/>
                    </a:lnTo>
                    <a:lnTo>
                      <a:pt x="303" y="930"/>
                    </a:lnTo>
                    <a:lnTo>
                      <a:pt x="301" y="930"/>
                    </a:lnTo>
                    <a:lnTo>
                      <a:pt x="301" y="929"/>
                    </a:lnTo>
                    <a:lnTo>
                      <a:pt x="301" y="930"/>
                    </a:lnTo>
                    <a:lnTo>
                      <a:pt x="301" y="929"/>
                    </a:lnTo>
                    <a:lnTo>
                      <a:pt x="299" y="929"/>
                    </a:lnTo>
                    <a:lnTo>
                      <a:pt x="297" y="929"/>
                    </a:lnTo>
                    <a:lnTo>
                      <a:pt x="295" y="929"/>
                    </a:lnTo>
                    <a:lnTo>
                      <a:pt x="295" y="927"/>
                    </a:lnTo>
                    <a:lnTo>
                      <a:pt x="293" y="927"/>
                    </a:lnTo>
                    <a:lnTo>
                      <a:pt x="292" y="927"/>
                    </a:lnTo>
                    <a:lnTo>
                      <a:pt x="293" y="927"/>
                    </a:lnTo>
                    <a:lnTo>
                      <a:pt x="293" y="929"/>
                    </a:lnTo>
                    <a:lnTo>
                      <a:pt x="292" y="929"/>
                    </a:lnTo>
                    <a:lnTo>
                      <a:pt x="292" y="927"/>
                    </a:lnTo>
                    <a:lnTo>
                      <a:pt x="292" y="929"/>
                    </a:lnTo>
                    <a:lnTo>
                      <a:pt x="292" y="927"/>
                    </a:lnTo>
                    <a:lnTo>
                      <a:pt x="290" y="927"/>
                    </a:lnTo>
                    <a:lnTo>
                      <a:pt x="290" y="929"/>
                    </a:lnTo>
                    <a:lnTo>
                      <a:pt x="288" y="929"/>
                    </a:lnTo>
                    <a:lnTo>
                      <a:pt x="286" y="929"/>
                    </a:lnTo>
                    <a:lnTo>
                      <a:pt x="286" y="927"/>
                    </a:lnTo>
                    <a:lnTo>
                      <a:pt x="284" y="927"/>
                    </a:lnTo>
                    <a:lnTo>
                      <a:pt x="284" y="929"/>
                    </a:lnTo>
                    <a:lnTo>
                      <a:pt x="284" y="927"/>
                    </a:lnTo>
                    <a:lnTo>
                      <a:pt x="284" y="929"/>
                    </a:lnTo>
                    <a:lnTo>
                      <a:pt x="282" y="929"/>
                    </a:lnTo>
                    <a:lnTo>
                      <a:pt x="282" y="927"/>
                    </a:lnTo>
                    <a:lnTo>
                      <a:pt x="282" y="929"/>
                    </a:lnTo>
                    <a:lnTo>
                      <a:pt x="282" y="927"/>
                    </a:lnTo>
                    <a:lnTo>
                      <a:pt x="280" y="927"/>
                    </a:lnTo>
                    <a:lnTo>
                      <a:pt x="280" y="929"/>
                    </a:lnTo>
                    <a:lnTo>
                      <a:pt x="280" y="930"/>
                    </a:lnTo>
                    <a:lnTo>
                      <a:pt x="280" y="932"/>
                    </a:lnTo>
                    <a:lnTo>
                      <a:pt x="278" y="932"/>
                    </a:lnTo>
                    <a:lnTo>
                      <a:pt x="278" y="930"/>
                    </a:lnTo>
                    <a:lnTo>
                      <a:pt x="276" y="930"/>
                    </a:lnTo>
                    <a:lnTo>
                      <a:pt x="276" y="929"/>
                    </a:lnTo>
                    <a:lnTo>
                      <a:pt x="276" y="927"/>
                    </a:lnTo>
                    <a:lnTo>
                      <a:pt x="278" y="927"/>
                    </a:lnTo>
                    <a:lnTo>
                      <a:pt x="278" y="925"/>
                    </a:lnTo>
                    <a:lnTo>
                      <a:pt x="278" y="923"/>
                    </a:lnTo>
                    <a:lnTo>
                      <a:pt x="280" y="923"/>
                    </a:lnTo>
                    <a:lnTo>
                      <a:pt x="278" y="923"/>
                    </a:lnTo>
                    <a:lnTo>
                      <a:pt x="278" y="921"/>
                    </a:lnTo>
                    <a:lnTo>
                      <a:pt x="278" y="919"/>
                    </a:lnTo>
                    <a:lnTo>
                      <a:pt x="278" y="921"/>
                    </a:lnTo>
                    <a:lnTo>
                      <a:pt x="280" y="921"/>
                    </a:lnTo>
                    <a:lnTo>
                      <a:pt x="278" y="921"/>
                    </a:lnTo>
                    <a:lnTo>
                      <a:pt x="278" y="919"/>
                    </a:lnTo>
                    <a:lnTo>
                      <a:pt x="278" y="917"/>
                    </a:lnTo>
                    <a:lnTo>
                      <a:pt x="278" y="919"/>
                    </a:lnTo>
                    <a:lnTo>
                      <a:pt x="278" y="917"/>
                    </a:lnTo>
                    <a:lnTo>
                      <a:pt x="278" y="915"/>
                    </a:lnTo>
                    <a:lnTo>
                      <a:pt x="276" y="915"/>
                    </a:lnTo>
                    <a:lnTo>
                      <a:pt x="275" y="915"/>
                    </a:lnTo>
                    <a:lnTo>
                      <a:pt x="275" y="917"/>
                    </a:lnTo>
                    <a:lnTo>
                      <a:pt x="273" y="917"/>
                    </a:lnTo>
                    <a:lnTo>
                      <a:pt x="273" y="919"/>
                    </a:lnTo>
                    <a:lnTo>
                      <a:pt x="271" y="917"/>
                    </a:lnTo>
                    <a:lnTo>
                      <a:pt x="269" y="917"/>
                    </a:lnTo>
                    <a:lnTo>
                      <a:pt x="271" y="917"/>
                    </a:lnTo>
                    <a:lnTo>
                      <a:pt x="269" y="915"/>
                    </a:lnTo>
                    <a:lnTo>
                      <a:pt x="269" y="913"/>
                    </a:lnTo>
                    <a:lnTo>
                      <a:pt x="267" y="913"/>
                    </a:lnTo>
                    <a:lnTo>
                      <a:pt x="267" y="912"/>
                    </a:lnTo>
                    <a:lnTo>
                      <a:pt x="265" y="912"/>
                    </a:lnTo>
                    <a:lnTo>
                      <a:pt x="267" y="912"/>
                    </a:lnTo>
                    <a:lnTo>
                      <a:pt x="265" y="912"/>
                    </a:lnTo>
                    <a:lnTo>
                      <a:pt x="265" y="913"/>
                    </a:lnTo>
                    <a:lnTo>
                      <a:pt x="265" y="912"/>
                    </a:lnTo>
                    <a:lnTo>
                      <a:pt x="263" y="912"/>
                    </a:lnTo>
                    <a:lnTo>
                      <a:pt x="261" y="913"/>
                    </a:lnTo>
                    <a:lnTo>
                      <a:pt x="261" y="912"/>
                    </a:lnTo>
                    <a:lnTo>
                      <a:pt x="261" y="913"/>
                    </a:lnTo>
                    <a:lnTo>
                      <a:pt x="261" y="912"/>
                    </a:lnTo>
                    <a:lnTo>
                      <a:pt x="261" y="910"/>
                    </a:lnTo>
                    <a:lnTo>
                      <a:pt x="261" y="912"/>
                    </a:lnTo>
                    <a:lnTo>
                      <a:pt x="261" y="910"/>
                    </a:lnTo>
                    <a:lnTo>
                      <a:pt x="260" y="910"/>
                    </a:lnTo>
                    <a:lnTo>
                      <a:pt x="260" y="908"/>
                    </a:lnTo>
                    <a:lnTo>
                      <a:pt x="260" y="910"/>
                    </a:lnTo>
                    <a:lnTo>
                      <a:pt x="260" y="908"/>
                    </a:lnTo>
                    <a:lnTo>
                      <a:pt x="260" y="910"/>
                    </a:lnTo>
                    <a:lnTo>
                      <a:pt x="258" y="910"/>
                    </a:lnTo>
                    <a:lnTo>
                      <a:pt x="258" y="912"/>
                    </a:lnTo>
                    <a:lnTo>
                      <a:pt x="260" y="912"/>
                    </a:lnTo>
                    <a:lnTo>
                      <a:pt x="258" y="912"/>
                    </a:lnTo>
                    <a:lnTo>
                      <a:pt x="258" y="910"/>
                    </a:lnTo>
                    <a:lnTo>
                      <a:pt x="258" y="912"/>
                    </a:lnTo>
                    <a:lnTo>
                      <a:pt x="256" y="912"/>
                    </a:lnTo>
                    <a:lnTo>
                      <a:pt x="256" y="910"/>
                    </a:lnTo>
                    <a:lnTo>
                      <a:pt x="254" y="910"/>
                    </a:lnTo>
                    <a:lnTo>
                      <a:pt x="256" y="910"/>
                    </a:lnTo>
                    <a:lnTo>
                      <a:pt x="256" y="908"/>
                    </a:lnTo>
                    <a:lnTo>
                      <a:pt x="254" y="908"/>
                    </a:lnTo>
                    <a:lnTo>
                      <a:pt x="254" y="910"/>
                    </a:lnTo>
                    <a:lnTo>
                      <a:pt x="254" y="908"/>
                    </a:lnTo>
                    <a:lnTo>
                      <a:pt x="252" y="908"/>
                    </a:lnTo>
                    <a:lnTo>
                      <a:pt x="254" y="908"/>
                    </a:lnTo>
                    <a:lnTo>
                      <a:pt x="254" y="906"/>
                    </a:lnTo>
                    <a:lnTo>
                      <a:pt x="252" y="904"/>
                    </a:lnTo>
                    <a:lnTo>
                      <a:pt x="252" y="902"/>
                    </a:lnTo>
                    <a:lnTo>
                      <a:pt x="252" y="900"/>
                    </a:lnTo>
                    <a:lnTo>
                      <a:pt x="250" y="900"/>
                    </a:lnTo>
                    <a:lnTo>
                      <a:pt x="252" y="900"/>
                    </a:lnTo>
                    <a:lnTo>
                      <a:pt x="252" y="898"/>
                    </a:lnTo>
                    <a:lnTo>
                      <a:pt x="250" y="898"/>
                    </a:lnTo>
                    <a:lnTo>
                      <a:pt x="252" y="898"/>
                    </a:lnTo>
                    <a:lnTo>
                      <a:pt x="250" y="898"/>
                    </a:lnTo>
                    <a:lnTo>
                      <a:pt x="248" y="898"/>
                    </a:lnTo>
                    <a:lnTo>
                      <a:pt x="246" y="898"/>
                    </a:lnTo>
                    <a:lnTo>
                      <a:pt x="246" y="897"/>
                    </a:lnTo>
                    <a:lnTo>
                      <a:pt x="245" y="898"/>
                    </a:lnTo>
                    <a:lnTo>
                      <a:pt x="245" y="897"/>
                    </a:lnTo>
                    <a:lnTo>
                      <a:pt x="243" y="897"/>
                    </a:lnTo>
                    <a:lnTo>
                      <a:pt x="243" y="895"/>
                    </a:lnTo>
                    <a:lnTo>
                      <a:pt x="243" y="897"/>
                    </a:lnTo>
                    <a:lnTo>
                      <a:pt x="241" y="897"/>
                    </a:lnTo>
                    <a:lnTo>
                      <a:pt x="243" y="897"/>
                    </a:lnTo>
                    <a:lnTo>
                      <a:pt x="241" y="897"/>
                    </a:lnTo>
                    <a:lnTo>
                      <a:pt x="241" y="898"/>
                    </a:lnTo>
                    <a:lnTo>
                      <a:pt x="239" y="898"/>
                    </a:lnTo>
                    <a:lnTo>
                      <a:pt x="237" y="898"/>
                    </a:lnTo>
                    <a:lnTo>
                      <a:pt x="237" y="897"/>
                    </a:lnTo>
                    <a:lnTo>
                      <a:pt x="235" y="897"/>
                    </a:lnTo>
                    <a:lnTo>
                      <a:pt x="233" y="897"/>
                    </a:lnTo>
                    <a:lnTo>
                      <a:pt x="233" y="898"/>
                    </a:lnTo>
                    <a:lnTo>
                      <a:pt x="231" y="898"/>
                    </a:lnTo>
                    <a:lnTo>
                      <a:pt x="231" y="900"/>
                    </a:lnTo>
                    <a:lnTo>
                      <a:pt x="231" y="898"/>
                    </a:lnTo>
                    <a:lnTo>
                      <a:pt x="231" y="900"/>
                    </a:lnTo>
                    <a:lnTo>
                      <a:pt x="229" y="900"/>
                    </a:lnTo>
                    <a:lnTo>
                      <a:pt x="228" y="900"/>
                    </a:lnTo>
                    <a:lnTo>
                      <a:pt x="228" y="902"/>
                    </a:lnTo>
                    <a:lnTo>
                      <a:pt x="226" y="902"/>
                    </a:lnTo>
                    <a:lnTo>
                      <a:pt x="226" y="904"/>
                    </a:lnTo>
                    <a:lnTo>
                      <a:pt x="224" y="904"/>
                    </a:lnTo>
                    <a:lnTo>
                      <a:pt x="224" y="906"/>
                    </a:lnTo>
                    <a:lnTo>
                      <a:pt x="222" y="906"/>
                    </a:lnTo>
                    <a:lnTo>
                      <a:pt x="222" y="904"/>
                    </a:lnTo>
                    <a:lnTo>
                      <a:pt x="222" y="902"/>
                    </a:lnTo>
                    <a:lnTo>
                      <a:pt x="222" y="900"/>
                    </a:lnTo>
                    <a:lnTo>
                      <a:pt x="222" y="898"/>
                    </a:lnTo>
                    <a:lnTo>
                      <a:pt x="220" y="897"/>
                    </a:lnTo>
                    <a:lnTo>
                      <a:pt x="218" y="895"/>
                    </a:lnTo>
                    <a:lnTo>
                      <a:pt x="220" y="895"/>
                    </a:lnTo>
                    <a:lnTo>
                      <a:pt x="220" y="893"/>
                    </a:lnTo>
                    <a:lnTo>
                      <a:pt x="218" y="893"/>
                    </a:lnTo>
                    <a:lnTo>
                      <a:pt x="218" y="891"/>
                    </a:lnTo>
                    <a:lnTo>
                      <a:pt x="216" y="891"/>
                    </a:lnTo>
                    <a:lnTo>
                      <a:pt x="216" y="889"/>
                    </a:lnTo>
                    <a:lnTo>
                      <a:pt x="214" y="889"/>
                    </a:lnTo>
                    <a:lnTo>
                      <a:pt x="216" y="889"/>
                    </a:lnTo>
                    <a:lnTo>
                      <a:pt x="214" y="887"/>
                    </a:lnTo>
                    <a:lnTo>
                      <a:pt x="214" y="885"/>
                    </a:lnTo>
                    <a:lnTo>
                      <a:pt x="213" y="883"/>
                    </a:lnTo>
                    <a:lnTo>
                      <a:pt x="213" y="881"/>
                    </a:lnTo>
                    <a:lnTo>
                      <a:pt x="213" y="883"/>
                    </a:lnTo>
                    <a:lnTo>
                      <a:pt x="213" y="881"/>
                    </a:lnTo>
                    <a:lnTo>
                      <a:pt x="211" y="881"/>
                    </a:lnTo>
                    <a:lnTo>
                      <a:pt x="211" y="880"/>
                    </a:lnTo>
                    <a:lnTo>
                      <a:pt x="209" y="880"/>
                    </a:lnTo>
                    <a:lnTo>
                      <a:pt x="209" y="881"/>
                    </a:lnTo>
                    <a:lnTo>
                      <a:pt x="209" y="880"/>
                    </a:lnTo>
                    <a:lnTo>
                      <a:pt x="207" y="880"/>
                    </a:lnTo>
                    <a:lnTo>
                      <a:pt x="209" y="880"/>
                    </a:lnTo>
                    <a:lnTo>
                      <a:pt x="209" y="878"/>
                    </a:lnTo>
                    <a:lnTo>
                      <a:pt x="209" y="876"/>
                    </a:lnTo>
                    <a:lnTo>
                      <a:pt x="211" y="874"/>
                    </a:lnTo>
                    <a:lnTo>
                      <a:pt x="211" y="876"/>
                    </a:lnTo>
                    <a:lnTo>
                      <a:pt x="211" y="874"/>
                    </a:lnTo>
                    <a:lnTo>
                      <a:pt x="213" y="874"/>
                    </a:lnTo>
                    <a:lnTo>
                      <a:pt x="211" y="874"/>
                    </a:lnTo>
                    <a:lnTo>
                      <a:pt x="211" y="872"/>
                    </a:lnTo>
                    <a:lnTo>
                      <a:pt x="209" y="870"/>
                    </a:lnTo>
                    <a:lnTo>
                      <a:pt x="209" y="868"/>
                    </a:lnTo>
                    <a:lnTo>
                      <a:pt x="209" y="866"/>
                    </a:lnTo>
                    <a:lnTo>
                      <a:pt x="207" y="866"/>
                    </a:lnTo>
                    <a:lnTo>
                      <a:pt x="207" y="864"/>
                    </a:lnTo>
                    <a:lnTo>
                      <a:pt x="207" y="863"/>
                    </a:lnTo>
                    <a:lnTo>
                      <a:pt x="209" y="863"/>
                    </a:lnTo>
                    <a:lnTo>
                      <a:pt x="209" y="861"/>
                    </a:lnTo>
                    <a:lnTo>
                      <a:pt x="209" y="859"/>
                    </a:lnTo>
                    <a:lnTo>
                      <a:pt x="207" y="859"/>
                    </a:lnTo>
                    <a:lnTo>
                      <a:pt x="207" y="857"/>
                    </a:lnTo>
                    <a:lnTo>
                      <a:pt x="205" y="857"/>
                    </a:lnTo>
                    <a:lnTo>
                      <a:pt x="203" y="857"/>
                    </a:lnTo>
                    <a:lnTo>
                      <a:pt x="203" y="859"/>
                    </a:lnTo>
                    <a:lnTo>
                      <a:pt x="203" y="861"/>
                    </a:lnTo>
                    <a:lnTo>
                      <a:pt x="203" y="863"/>
                    </a:lnTo>
                    <a:lnTo>
                      <a:pt x="201" y="864"/>
                    </a:lnTo>
                    <a:lnTo>
                      <a:pt x="201" y="863"/>
                    </a:lnTo>
                    <a:lnTo>
                      <a:pt x="199" y="863"/>
                    </a:lnTo>
                    <a:lnTo>
                      <a:pt x="199" y="861"/>
                    </a:lnTo>
                    <a:lnTo>
                      <a:pt x="197" y="859"/>
                    </a:lnTo>
                    <a:lnTo>
                      <a:pt x="196" y="859"/>
                    </a:lnTo>
                    <a:lnTo>
                      <a:pt x="196" y="857"/>
                    </a:lnTo>
                    <a:lnTo>
                      <a:pt x="194" y="857"/>
                    </a:lnTo>
                    <a:lnTo>
                      <a:pt x="192" y="857"/>
                    </a:lnTo>
                    <a:lnTo>
                      <a:pt x="190" y="857"/>
                    </a:lnTo>
                    <a:lnTo>
                      <a:pt x="188" y="855"/>
                    </a:lnTo>
                    <a:lnTo>
                      <a:pt x="186" y="855"/>
                    </a:lnTo>
                    <a:lnTo>
                      <a:pt x="186" y="853"/>
                    </a:lnTo>
                    <a:lnTo>
                      <a:pt x="184" y="853"/>
                    </a:lnTo>
                    <a:lnTo>
                      <a:pt x="184" y="855"/>
                    </a:lnTo>
                    <a:lnTo>
                      <a:pt x="182" y="855"/>
                    </a:lnTo>
                    <a:lnTo>
                      <a:pt x="182" y="857"/>
                    </a:lnTo>
                    <a:lnTo>
                      <a:pt x="182" y="859"/>
                    </a:lnTo>
                    <a:lnTo>
                      <a:pt x="181" y="859"/>
                    </a:lnTo>
                    <a:lnTo>
                      <a:pt x="179" y="861"/>
                    </a:lnTo>
                    <a:lnTo>
                      <a:pt x="177" y="861"/>
                    </a:lnTo>
                    <a:lnTo>
                      <a:pt x="175" y="861"/>
                    </a:lnTo>
                    <a:lnTo>
                      <a:pt x="173" y="859"/>
                    </a:lnTo>
                    <a:lnTo>
                      <a:pt x="171" y="861"/>
                    </a:lnTo>
                    <a:lnTo>
                      <a:pt x="169" y="863"/>
                    </a:lnTo>
                    <a:lnTo>
                      <a:pt x="167" y="861"/>
                    </a:lnTo>
                    <a:lnTo>
                      <a:pt x="166" y="861"/>
                    </a:lnTo>
                    <a:lnTo>
                      <a:pt x="166" y="863"/>
                    </a:lnTo>
                    <a:lnTo>
                      <a:pt x="164" y="863"/>
                    </a:lnTo>
                    <a:lnTo>
                      <a:pt x="166" y="864"/>
                    </a:lnTo>
                    <a:lnTo>
                      <a:pt x="167" y="864"/>
                    </a:lnTo>
                    <a:lnTo>
                      <a:pt x="167" y="866"/>
                    </a:lnTo>
                    <a:lnTo>
                      <a:pt x="167" y="868"/>
                    </a:lnTo>
                    <a:lnTo>
                      <a:pt x="167" y="870"/>
                    </a:lnTo>
                    <a:lnTo>
                      <a:pt x="167" y="872"/>
                    </a:lnTo>
                    <a:lnTo>
                      <a:pt x="166" y="872"/>
                    </a:lnTo>
                    <a:lnTo>
                      <a:pt x="166" y="874"/>
                    </a:lnTo>
                    <a:lnTo>
                      <a:pt x="164" y="874"/>
                    </a:lnTo>
                    <a:lnTo>
                      <a:pt x="164" y="872"/>
                    </a:lnTo>
                    <a:lnTo>
                      <a:pt x="162" y="872"/>
                    </a:lnTo>
                    <a:lnTo>
                      <a:pt x="162" y="870"/>
                    </a:lnTo>
                    <a:lnTo>
                      <a:pt x="162" y="868"/>
                    </a:lnTo>
                    <a:lnTo>
                      <a:pt x="160" y="866"/>
                    </a:lnTo>
                    <a:lnTo>
                      <a:pt x="160" y="864"/>
                    </a:lnTo>
                    <a:lnTo>
                      <a:pt x="158" y="864"/>
                    </a:lnTo>
                    <a:lnTo>
                      <a:pt x="156" y="863"/>
                    </a:lnTo>
                    <a:lnTo>
                      <a:pt x="156" y="864"/>
                    </a:lnTo>
                    <a:lnTo>
                      <a:pt x="154" y="864"/>
                    </a:lnTo>
                    <a:lnTo>
                      <a:pt x="154" y="866"/>
                    </a:lnTo>
                    <a:lnTo>
                      <a:pt x="152" y="866"/>
                    </a:lnTo>
                    <a:lnTo>
                      <a:pt x="152" y="868"/>
                    </a:lnTo>
                    <a:lnTo>
                      <a:pt x="150" y="868"/>
                    </a:lnTo>
                    <a:lnTo>
                      <a:pt x="149" y="866"/>
                    </a:lnTo>
                    <a:lnTo>
                      <a:pt x="147" y="866"/>
                    </a:lnTo>
                    <a:lnTo>
                      <a:pt x="147" y="868"/>
                    </a:lnTo>
                    <a:lnTo>
                      <a:pt x="145" y="868"/>
                    </a:lnTo>
                    <a:lnTo>
                      <a:pt x="145" y="866"/>
                    </a:lnTo>
                    <a:lnTo>
                      <a:pt x="145" y="864"/>
                    </a:lnTo>
                    <a:lnTo>
                      <a:pt x="145" y="863"/>
                    </a:lnTo>
                    <a:lnTo>
                      <a:pt x="145" y="861"/>
                    </a:lnTo>
                    <a:lnTo>
                      <a:pt x="143" y="859"/>
                    </a:lnTo>
                    <a:lnTo>
                      <a:pt x="143" y="861"/>
                    </a:lnTo>
                    <a:lnTo>
                      <a:pt x="141" y="863"/>
                    </a:lnTo>
                    <a:lnTo>
                      <a:pt x="141" y="864"/>
                    </a:lnTo>
                    <a:lnTo>
                      <a:pt x="139" y="863"/>
                    </a:lnTo>
                    <a:lnTo>
                      <a:pt x="137" y="863"/>
                    </a:lnTo>
                    <a:lnTo>
                      <a:pt x="135" y="863"/>
                    </a:lnTo>
                    <a:lnTo>
                      <a:pt x="135" y="861"/>
                    </a:lnTo>
                    <a:lnTo>
                      <a:pt x="135" y="859"/>
                    </a:lnTo>
                    <a:lnTo>
                      <a:pt x="135" y="857"/>
                    </a:lnTo>
                    <a:lnTo>
                      <a:pt x="134" y="857"/>
                    </a:lnTo>
                    <a:lnTo>
                      <a:pt x="132" y="857"/>
                    </a:lnTo>
                    <a:lnTo>
                      <a:pt x="132" y="855"/>
                    </a:lnTo>
                    <a:lnTo>
                      <a:pt x="130" y="855"/>
                    </a:lnTo>
                    <a:lnTo>
                      <a:pt x="130" y="857"/>
                    </a:lnTo>
                    <a:lnTo>
                      <a:pt x="128" y="857"/>
                    </a:lnTo>
                    <a:lnTo>
                      <a:pt x="126" y="857"/>
                    </a:lnTo>
                    <a:lnTo>
                      <a:pt x="126" y="855"/>
                    </a:lnTo>
                    <a:lnTo>
                      <a:pt x="124" y="855"/>
                    </a:lnTo>
                    <a:lnTo>
                      <a:pt x="124" y="853"/>
                    </a:lnTo>
                    <a:lnTo>
                      <a:pt x="124" y="851"/>
                    </a:lnTo>
                    <a:lnTo>
                      <a:pt x="122" y="851"/>
                    </a:lnTo>
                    <a:lnTo>
                      <a:pt x="120" y="851"/>
                    </a:lnTo>
                    <a:lnTo>
                      <a:pt x="120" y="849"/>
                    </a:lnTo>
                    <a:lnTo>
                      <a:pt x="120" y="848"/>
                    </a:lnTo>
                    <a:lnTo>
                      <a:pt x="118" y="848"/>
                    </a:lnTo>
                    <a:lnTo>
                      <a:pt x="117" y="848"/>
                    </a:lnTo>
                    <a:lnTo>
                      <a:pt x="117" y="849"/>
                    </a:lnTo>
                    <a:lnTo>
                      <a:pt x="115" y="849"/>
                    </a:lnTo>
                    <a:lnTo>
                      <a:pt x="113" y="849"/>
                    </a:lnTo>
                    <a:lnTo>
                      <a:pt x="111" y="849"/>
                    </a:lnTo>
                    <a:lnTo>
                      <a:pt x="111" y="848"/>
                    </a:lnTo>
                    <a:lnTo>
                      <a:pt x="109" y="848"/>
                    </a:lnTo>
                    <a:lnTo>
                      <a:pt x="109" y="846"/>
                    </a:lnTo>
                    <a:lnTo>
                      <a:pt x="107" y="846"/>
                    </a:lnTo>
                    <a:lnTo>
                      <a:pt x="105" y="844"/>
                    </a:lnTo>
                    <a:lnTo>
                      <a:pt x="105" y="846"/>
                    </a:lnTo>
                    <a:lnTo>
                      <a:pt x="105" y="844"/>
                    </a:lnTo>
                    <a:lnTo>
                      <a:pt x="103" y="844"/>
                    </a:lnTo>
                    <a:lnTo>
                      <a:pt x="103" y="842"/>
                    </a:lnTo>
                    <a:lnTo>
                      <a:pt x="102" y="842"/>
                    </a:lnTo>
                    <a:lnTo>
                      <a:pt x="102" y="844"/>
                    </a:lnTo>
                    <a:lnTo>
                      <a:pt x="100" y="844"/>
                    </a:lnTo>
                    <a:lnTo>
                      <a:pt x="100" y="846"/>
                    </a:lnTo>
                    <a:lnTo>
                      <a:pt x="98" y="846"/>
                    </a:lnTo>
                    <a:lnTo>
                      <a:pt x="98" y="848"/>
                    </a:lnTo>
                    <a:lnTo>
                      <a:pt x="96" y="848"/>
                    </a:lnTo>
                    <a:lnTo>
                      <a:pt x="96" y="849"/>
                    </a:lnTo>
                    <a:lnTo>
                      <a:pt x="94" y="851"/>
                    </a:lnTo>
                    <a:lnTo>
                      <a:pt x="94" y="853"/>
                    </a:lnTo>
                    <a:lnTo>
                      <a:pt x="92" y="853"/>
                    </a:lnTo>
                    <a:lnTo>
                      <a:pt x="92" y="855"/>
                    </a:lnTo>
                    <a:lnTo>
                      <a:pt x="94" y="855"/>
                    </a:lnTo>
                    <a:lnTo>
                      <a:pt x="96" y="857"/>
                    </a:lnTo>
                    <a:lnTo>
                      <a:pt x="96" y="855"/>
                    </a:lnTo>
                    <a:lnTo>
                      <a:pt x="98" y="855"/>
                    </a:lnTo>
                    <a:lnTo>
                      <a:pt x="98" y="853"/>
                    </a:lnTo>
                    <a:lnTo>
                      <a:pt x="100" y="853"/>
                    </a:lnTo>
                    <a:lnTo>
                      <a:pt x="102" y="853"/>
                    </a:lnTo>
                    <a:lnTo>
                      <a:pt x="103" y="853"/>
                    </a:lnTo>
                    <a:lnTo>
                      <a:pt x="103" y="855"/>
                    </a:lnTo>
                    <a:lnTo>
                      <a:pt x="105" y="855"/>
                    </a:lnTo>
                    <a:lnTo>
                      <a:pt x="105" y="857"/>
                    </a:lnTo>
                    <a:lnTo>
                      <a:pt x="103" y="859"/>
                    </a:lnTo>
                    <a:lnTo>
                      <a:pt x="103" y="861"/>
                    </a:lnTo>
                    <a:lnTo>
                      <a:pt x="102" y="863"/>
                    </a:lnTo>
                    <a:lnTo>
                      <a:pt x="100" y="861"/>
                    </a:lnTo>
                    <a:lnTo>
                      <a:pt x="98" y="861"/>
                    </a:lnTo>
                    <a:lnTo>
                      <a:pt x="98" y="859"/>
                    </a:lnTo>
                    <a:lnTo>
                      <a:pt x="96" y="859"/>
                    </a:lnTo>
                    <a:lnTo>
                      <a:pt x="94" y="859"/>
                    </a:lnTo>
                    <a:lnTo>
                      <a:pt x="92" y="859"/>
                    </a:lnTo>
                    <a:lnTo>
                      <a:pt x="92" y="861"/>
                    </a:lnTo>
                    <a:lnTo>
                      <a:pt x="94" y="861"/>
                    </a:lnTo>
                    <a:lnTo>
                      <a:pt x="94" y="863"/>
                    </a:lnTo>
                    <a:lnTo>
                      <a:pt x="92" y="863"/>
                    </a:lnTo>
                    <a:lnTo>
                      <a:pt x="90" y="863"/>
                    </a:lnTo>
                    <a:lnTo>
                      <a:pt x="88" y="863"/>
                    </a:lnTo>
                    <a:lnTo>
                      <a:pt x="88" y="864"/>
                    </a:lnTo>
                    <a:lnTo>
                      <a:pt x="87" y="866"/>
                    </a:lnTo>
                    <a:lnTo>
                      <a:pt x="85" y="868"/>
                    </a:lnTo>
                    <a:lnTo>
                      <a:pt x="85" y="866"/>
                    </a:lnTo>
                    <a:lnTo>
                      <a:pt x="83" y="866"/>
                    </a:lnTo>
                    <a:lnTo>
                      <a:pt x="81" y="866"/>
                    </a:lnTo>
                    <a:lnTo>
                      <a:pt x="81" y="868"/>
                    </a:lnTo>
                    <a:lnTo>
                      <a:pt x="81" y="870"/>
                    </a:lnTo>
                    <a:lnTo>
                      <a:pt x="81" y="872"/>
                    </a:lnTo>
                    <a:lnTo>
                      <a:pt x="79" y="872"/>
                    </a:lnTo>
                    <a:lnTo>
                      <a:pt x="79" y="874"/>
                    </a:lnTo>
                    <a:lnTo>
                      <a:pt x="77" y="874"/>
                    </a:lnTo>
                    <a:lnTo>
                      <a:pt x="75" y="874"/>
                    </a:lnTo>
                    <a:lnTo>
                      <a:pt x="75" y="876"/>
                    </a:lnTo>
                    <a:lnTo>
                      <a:pt x="73" y="876"/>
                    </a:lnTo>
                    <a:lnTo>
                      <a:pt x="73" y="874"/>
                    </a:lnTo>
                    <a:lnTo>
                      <a:pt x="73" y="872"/>
                    </a:lnTo>
                    <a:lnTo>
                      <a:pt x="75" y="872"/>
                    </a:lnTo>
                    <a:lnTo>
                      <a:pt x="77" y="872"/>
                    </a:lnTo>
                    <a:lnTo>
                      <a:pt x="77" y="870"/>
                    </a:lnTo>
                    <a:lnTo>
                      <a:pt x="77" y="868"/>
                    </a:lnTo>
                    <a:lnTo>
                      <a:pt x="79" y="868"/>
                    </a:lnTo>
                    <a:lnTo>
                      <a:pt x="77" y="868"/>
                    </a:lnTo>
                    <a:lnTo>
                      <a:pt x="77" y="866"/>
                    </a:lnTo>
                    <a:lnTo>
                      <a:pt x="75" y="866"/>
                    </a:lnTo>
                    <a:lnTo>
                      <a:pt x="75" y="864"/>
                    </a:lnTo>
                    <a:lnTo>
                      <a:pt x="73" y="864"/>
                    </a:lnTo>
                    <a:lnTo>
                      <a:pt x="73" y="863"/>
                    </a:lnTo>
                    <a:lnTo>
                      <a:pt x="73" y="861"/>
                    </a:lnTo>
                    <a:lnTo>
                      <a:pt x="71" y="861"/>
                    </a:lnTo>
                    <a:lnTo>
                      <a:pt x="70" y="861"/>
                    </a:lnTo>
                    <a:lnTo>
                      <a:pt x="70" y="859"/>
                    </a:lnTo>
                    <a:lnTo>
                      <a:pt x="68" y="859"/>
                    </a:lnTo>
                    <a:lnTo>
                      <a:pt x="66" y="859"/>
                    </a:lnTo>
                    <a:lnTo>
                      <a:pt x="66" y="857"/>
                    </a:lnTo>
                    <a:lnTo>
                      <a:pt x="68" y="857"/>
                    </a:lnTo>
                    <a:lnTo>
                      <a:pt x="68" y="855"/>
                    </a:lnTo>
                    <a:lnTo>
                      <a:pt x="68" y="853"/>
                    </a:lnTo>
                    <a:lnTo>
                      <a:pt x="68" y="851"/>
                    </a:lnTo>
                    <a:lnTo>
                      <a:pt x="66" y="851"/>
                    </a:lnTo>
                    <a:lnTo>
                      <a:pt x="66" y="849"/>
                    </a:lnTo>
                    <a:lnTo>
                      <a:pt x="64" y="849"/>
                    </a:lnTo>
                    <a:lnTo>
                      <a:pt x="62" y="848"/>
                    </a:lnTo>
                    <a:lnTo>
                      <a:pt x="60" y="846"/>
                    </a:lnTo>
                    <a:lnTo>
                      <a:pt x="60" y="844"/>
                    </a:lnTo>
                    <a:lnTo>
                      <a:pt x="60" y="842"/>
                    </a:lnTo>
                    <a:lnTo>
                      <a:pt x="58" y="842"/>
                    </a:lnTo>
                    <a:lnTo>
                      <a:pt x="58" y="844"/>
                    </a:lnTo>
                    <a:lnTo>
                      <a:pt x="58" y="846"/>
                    </a:lnTo>
                    <a:lnTo>
                      <a:pt x="58" y="848"/>
                    </a:lnTo>
                    <a:lnTo>
                      <a:pt x="58" y="849"/>
                    </a:lnTo>
                    <a:lnTo>
                      <a:pt x="58" y="851"/>
                    </a:lnTo>
                    <a:lnTo>
                      <a:pt x="56" y="851"/>
                    </a:lnTo>
                    <a:lnTo>
                      <a:pt x="56" y="849"/>
                    </a:lnTo>
                    <a:lnTo>
                      <a:pt x="56" y="848"/>
                    </a:lnTo>
                    <a:lnTo>
                      <a:pt x="55" y="848"/>
                    </a:lnTo>
                    <a:lnTo>
                      <a:pt x="53" y="846"/>
                    </a:lnTo>
                    <a:lnTo>
                      <a:pt x="51" y="846"/>
                    </a:lnTo>
                    <a:lnTo>
                      <a:pt x="51" y="844"/>
                    </a:lnTo>
                    <a:lnTo>
                      <a:pt x="51" y="846"/>
                    </a:lnTo>
                    <a:lnTo>
                      <a:pt x="49" y="846"/>
                    </a:lnTo>
                    <a:lnTo>
                      <a:pt x="49" y="848"/>
                    </a:lnTo>
                    <a:lnTo>
                      <a:pt x="51" y="848"/>
                    </a:lnTo>
                    <a:lnTo>
                      <a:pt x="53" y="849"/>
                    </a:lnTo>
                    <a:lnTo>
                      <a:pt x="53" y="851"/>
                    </a:lnTo>
                    <a:lnTo>
                      <a:pt x="51" y="853"/>
                    </a:lnTo>
                    <a:lnTo>
                      <a:pt x="51" y="855"/>
                    </a:lnTo>
                    <a:lnTo>
                      <a:pt x="49" y="855"/>
                    </a:lnTo>
                    <a:lnTo>
                      <a:pt x="49" y="857"/>
                    </a:lnTo>
                    <a:lnTo>
                      <a:pt x="47" y="857"/>
                    </a:lnTo>
                    <a:lnTo>
                      <a:pt x="47" y="859"/>
                    </a:lnTo>
                    <a:lnTo>
                      <a:pt x="45" y="859"/>
                    </a:lnTo>
                    <a:lnTo>
                      <a:pt x="45" y="861"/>
                    </a:lnTo>
                    <a:lnTo>
                      <a:pt x="45" y="859"/>
                    </a:lnTo>
                    <a:lnTo>
                      <a:pt x="43" y="859"/>
                    </a:lnTo>
                    <a:lnTo>
                      <a:pt x="43" y="857"/>
                    </a:lnTo>
                    <a:lnTo>
                      <a:pt x="45" y="857"/>
                    </a:lnTo>
                    <a:lnTo>
                      <a:pt x="45" y="855"/>
                    </a:lnTo>
                    <a:lnTo>
                      <a:pt x="47" y="855"/>
                    </a:lnTo>
                    <a:lnTo>
                      <a:pt x="47" y="853"/>
                    </a:lnTo>
                    <a:lnTo>
                      <a:pt x="45" y="851"/>
                    </a:lnTo>
                    <a:lnTo>
                      <a:pt x="45" y="849"/>
                    </a:lnTo>
                    <a:lnTo>
                      <a:pt x="43" y="849"/>
                    </a:lnTo>
                    <a:lnTo>
                      <a:pt x="43" y="848"/>
                    </a:lnTo>
                    <a:lnTo>
                      <a:pt x="43" y="846"/>
                    </a:lnTo>
                    <a:lnTo>
                      <a:pt x="41" y="846"/>
                    </a:lnTo>
                    <a:lnTo>
                      <a:pt x="41" y="844"/>
                    </a:lnTo>
                    <a:lnTo>
                      <a:pt x="41" y="842"/>
                    </a:lnTo>
                    <a:lnTo>
                      <a:pt x="39" y="842"/>
                    </a:lnTo>
                    <a:lnTo>
                      <a:pt x="39" y="840"/>
                    </a:lnTo>
                    <a:lnTo>
                      <a:pt x="39" y="838"/>
                    </a:lnTo>
                    <a:lnTo>
                      <a:pt x="39" y="836"/>
                    </a:lnTo>
                    <a:lnTo>
                      <a:pt x="38" y="836"/>
                    </a:lnTo>
                    <a:lnTo>
                      <a:pt x="36" y="836"/>
                    </a:lnTo>
                    <a:lnTo>
                      <a:pt x="34" y="836"/>
                    </a:lnTo>
                    <a:lnTo>
                      <a:pt x="34" y="838"/>
                    </a:lnTo>
                    <a:lnTo>
                      <a:pt x="32" y="838"/>
                    </a:lnTo>
                    <a:lnTo>
                      <a:pt x="30" y="836"/>
                    </a:lnTo>
                    <a:lnTo>
                      <a:pt x="28" y="836"/>
                    </a:lnTo>
                    <a:lnTo>
                      <a:pt x="26" y="836"/>
                    </a:lnTo>
                    <a:lnTo>
                      <a:pt x="24" y="838"/>
                    </a:lnTo>
                    <a:lnTo>
                      <a:pt x="23" y="840"/>
                    </a:lnTo>
                    <a:lnTo>
                      <a:pt x="21" y="842"/>
                    </a:lnTo>
                    <a:lnTo>
                      <a:pt x="19" y="840"/>
                    </a:lnTo>
                    <a:lnTo>
                      <a:pt x="19" y="838"/>
                    </a:lnTo>
                    <a:lnTo>
                      <a:pt x="21" y="836"/>
                    </a:lnTo>
                    <a:lnTo>
                      <a:pt x="23" y="836"/>
                    </a:lnTo>
                    <a:lnTo>
                      <a:pt x="23" y="834"/>
                    </a:lnTo>
                    <a:lnTo>
                      <a:pt x="21" y="834"/>
                    </a:lnTo>
                    <a:lnTo>
                      <a:pt x="19" y="834"/>
                    </a:lnTo>
                    <a:lnTo>
                      <a:pt x="17" y="834"/>
                    </a:lnTo>
                    <a:lnTo>
                      <a:pt x="17" y="836"/>
                    </a:lnTo>
                    <a:lnTo>
                      <a:pt x="17" y="838"/>
                    </a:lnTo>
                    <a:lnTo>
                      <a:pt x="15" y="838"/>
                    </a:lnTo>
                    <a:lnTo>
                      <a:pt x="15" y="840"/>
                    </a:lnTo>
                    <a:lnTo>
                      <a:pt x="15" y="838"/>
                    </a:lnTo>
                    <a:lnTo>
                      <a:pt x="11" y="836"/>
                    </a:lnTo>
                    <a:lnTo>
                      <a:pt x="11" y="834"/>
                    </a:lnTo>
                    <a:lnTo>
                      <a:pt x="9" y="832"/>
                    </a:lnTo>
                    <a:lnTo>
                      <a:pt x="9" y="831"/>
                    </a:lnTo>
                    <a:lnTo>
                      <a:pt x="9" y="829"/>
                    </a:lnTo>
                    <a:lnTo>
                      <a:pt x="8" y="829"/>
                    </a:lnTo>
                    <a:lnTo>
                      <a:pt x="8" y="831"/>
                    </a:lnTo>
                    <a:lnTo>
                      <a:pt x="6" y="831"/>
                    </a:lnTo>
                    <a:lnTo>
                      <a:pt x="6" y="832"/>
                    </a:lnTo>
                    <a:lnTo>
                      <a:pt x="4" y="832"/>
                    </a:lnTo>
                    <a:lnTo>
                      <a:pt x="4" y="831"/>
                    </a:lnTo>
                    <a:lnTo>
                      <a:pt x="4" y="829"/>
                    </a:lnTo>
                    <a:lnTo>
                      <a:pt x="4" y="827"/>
                    </a:lnTo>
                    <a:lnTo>
                      <a:pt x="2" y="827"/>
                    </a:lnTo>
                    <a:lnTo>
                      <a:pt x="2" y="825"/>
                    </a:lnTo>
                    <a:lnTo>
                      <a:pt x="2" y="823"/>
                    </a:lnTo>
                    <a:lnTo>
                      <a:pt x="0" y="823"/>
                    </a:lnTo>
                    <a:lnTo>
                      <a:pt x="2" y="823"/>
                    </a:lnTo>
                    <a:lnTo>
                      <a:pt x="0" y="821"/>
                    </a:lnTo>
                    <a:lnTo>
                      <a:pt x="0" y="819"/>
                    </a:lnTo>
                    <a:lnTo>
                      <a:pt x="4" y="821"/>
                    </a:lnTo>
                    <a:lnTo>
                      <a:pt x="4" y="819"/>
                    </a:lnTo>
                    <a:lnTo>
                      <a:pt x="6" y="817"/>
                    </a:lnTo>
                    <a:lnTo>
                      <a:pt x="9" y="817"/>
                    </a:lnTo>
                    <a:lnTo>
                      <a:pt x="9" y="819"/>
                    </a:lnTo>
                    <a:lnTo>
                      <a:pt x="9" y="821"/>
                    </a:lnTo>
                    <a:lnTo>
                      <a:pt x="15" y="821"/>
                    </a:lnTo>
                    <a:lnTo>
                      <a:pt x="17" y="821"/>
                    </a:lnTo>
                    <a:lnTo>
                      <a:pt x="17" y="819"/>
                    </a:lnTo>
                    <a:lnTo>
                      <a:pt x="19" y="817"/>
                    </a:lnTo>
                    <a:lnTo>
                      <a:pt x="19" y="816"/>
                    </a:lnTo>
                    <a:lnTo>
                      <a:pt x="21" y="810"/>
                    </a:lnTo>
                    <a:lnTo>
                      <a:pt x="21" y="804"/>
                    </a:lnTo>
                    <a:lnTo>
                      <a:pt x="19" y="804"/>
                    </a:lnTo>
                    <a:lnTo>
                      <a:pt x="19" y="802"/>
                    </a:lnTo>
                    <a:lnTo>
                      <a:pt x="21" y="802"/>
                    </a:lnTo>
                    <a:lnTo>
                      <a:pt x="19" y="797"/>
                    </a:lnTo>
                    <a:lnTo>
                      <a:pt x="21" y="797"/>
                    </a:lnTo>
                    <a:lnTo>
                      <a:pt x="24" y="795"/>
                    </a:lnTo>
                    <a:lnTo>
                      <a:pt x="24" y="793"/>
                    </a:lnTo>
                    <a:lnTo>
                      <a:pt x="26" y="793"/>
                    </a:lnTo>
                    <a:lnTo>
                      <a:pt x="26" y="791"/>
                    </a:lnTo>
                    <a:lnTo>
                      <a:pt x="41" y="787"/>
                    </a:lnTo>
                    <a:lnTo>
                      <a:pt x="38" y="774"/>
                    </a:lnTo>
                    <a:lnTo>
                      <a:pt x="36" y="776"/>
                    </a:lnTo>
                    <a:lnTo>
                      <a:pt x="38" y="765"/>
                    </a:lnTo>
                    <a:lnTo>
                      <a:pt x="39" y="757"/>
                    </a:lnTo>
                    <a:lnTo>
                      <a:pt x="43" y="757"/>
                    </a:lnTo>
                    <a:lnTo>
                      <a:pt x="45" y="757"/>
                    </a:lnTo>
                    <a:lnTo>
                      <a:pt x="51" y="757"/>
                    </a:lnTo>
                    <a:lnTo>
                      <a:pt x="51" y="753"/>
                    </a:lnTo>
                    <a:lnTo>
                      <a:pt x="62" y="752"/>
                    </a:lnTo>
                    <a:lnTo>
                      <a:pt x="60" y="746"/>
                    </a:lnTo>
                    <a:lnTo>
                      <a:pt x="60" y="748"/>
                    </a:lnTo>
                    <a:lnTo>
                      <a:pt x="60" y="746"/>
                    </a:lnTo>
                    <a:lnTo>
                      <a:pt x="62" y="746"/>
                    </a:lnTo>
                    <a:lnTo>
                      <a:pt x="62" y="744"/>
                    </a:lnTo>
                    <a:lnTo>
                      <a:pt x="64" y="744"/>
                    </a:lnTo>
                    <a:lnTo>
                      <a:pt x="64" y="742"/>
                    </a:lnTo>
                    <a:lnTo>
                      <a:pt x="66" y="742"/>
                    </a:lnTo>
                    <a:lnTo>
                      <a:pt x="68" y="742"/>
                    </a:lnTo>
                    <a:lnTo>
                      <a:pt x="68" y="740"/>
                    </a:lnTo>
                    <a:lnTo>
                      <a:pt x="68" y="738"/>
                    </a:lnTo>
                    <a:lnTo>
                      <a:pt x="66" y="738"/>
                    </a:lnTo>
                    <a:lnTo>
                      <a:pt x="71" y="738"/>
                    </a:lnTo>
                    <a:lnTo>
                      <a:pt x="73" y="738"/>
                    </a:lnTo>
                    <a:lnTo>
                      <a:pt x="73" y="735"/>
                    </a:lnTo>
                    <a:lnTo>
                      <a:pt x="73" y="733"/>
                    </a:lnTo>
                    <a:lnTo>
                      <a:pt x="73" y="731"/>
                    </a:lnTo>
                    <a:lnTo>
                      <a:pt x="71" y="731"/>
                    </a:lnTo>
                    <a:lnTo>
                      <a:pt x="71" y="729"/>
                    </a:lnTo>
                    <a:lnTo>
                      <a:pt x="71" y="727"/>
                    </a:lnTo>
                    <a:lnTo>
                      <a:pt x="71" y="721"/>
                    </a:lnTo>
                    <a:lnTo>
                      <a:pt x="73" y="714"/>
                    </a:lnTo>
                    <a:lnTo>
                      <a:pt x="75" y="714"/>
                    </a:lnTo>
                    <a:lnTo>
                      <a:pt x="77" y="716"/>
                    </a:lnTo>
                    <a:lnTo>
                      <a:pt x="81" y="716"/>
                    </a:lnTo>
                    <a:lnTo>
                      <a:pt x="85" y="718"/>
                    </a:lnTo>
                    <a:lnTo>
                      <a:pt x="83" y="720"/>
                    </a:lnTo>
                    <a:lnTo>
                      <a:pt x="85" y="721"/>
                    </a:lnTo>
                    <a:lnTo>
                      <a:pt x="87" y="718"/>
                    </a:lnTo>
                    <a:lnTo>
                      <a:pt x="88" y="720"/>
                    </a:lnTo>
                    <a:lnTo>
                      <a:pt x="87" y="721"/>
                    </a:lnTo>
                    <a:lnTo>
                      <a:pt x="87" y="723"/>
                    </a:lnTo>
                    <a:lnTo>
                      <a:pt x="102" y="727"/>
                    </a:lnTo>
                    <a:lnTo>
                      <a:pt x="100" y="720"/>
                    </a:lnTo>
                    <a:lnTo>
                      <a:pt x="100" y="718"/>
                    </a:lnTo>
                    <a:lnTo>
                      <a:pt x="102" y="716"/>
                    </a:lnTo>
                    <a:lnTo>
                      <a:pt x="103" y="716"/>
                    </a:lnTo>
                    <a:lnTo>
                      <a:pt x="105" y="716"/>
                    </a:lnTo>
                    <a:lnTo>
                      <a:pt x="107" y="714"/>
                    </a:lnTo>
                    <a:lnTo>
                      <a:pt x="111" y="716"/>
                    </a:lnTo>
                    <a:lnTo>
                      <a:pt x="113" y="716"/>
                    </a:lnTo>
                    <a:lnTo>
                      <a:pt x="134" y="718"/>
                    </a:lnTo>
                    <a:lnTo>
                      <a:pt x="134" y="704"/>
                    </a:lnTo>
                    <a:lnTo>
                      <a:pt x="137" y="699"/>
                    </a:lnTo>
                    <a:lnTo>
                      <a:pt x="139" y="699"/>
                    </a:lnTo>
                    <a:lnTo>
                      <a:pt x="137" y="697"/>
                    </a:lnTo>
                    <a:lnTo>
                      <a:pt x="137" y="695"/>
                    </a:lnTo>
                    <a:lnTo>
                      <a:pt x="139" y="691"/>
                    </a:lnTo>
                    <a:lnTo>
                      <a:pt x="141" y="691"/>
                    </a:lnTo>
                    <a:lnTo>
                      <a:pt x="143" y="691"/>
                    </a:lnTo>
                    <a:lnTo>
                      <a:pt x="150" y="688"/>
                    </a:lnTo>
                    <a:lnTo>
                      <a:pt x="158" y="684"/>
                    </a:lnTo>
                    <a:lnTo>
                      <a:pt x="154" y="674"/>
                    </a:lnTo>
                    <a:lnTo>
                      <a:pt x="152" y="667"/>
                    </a:lnTo>
                    <a:lnTo>
                      <a:pt x="147" y="669"/>
                    </a:lnTo>
                    <a:lnTo>
                      <a:pt x="143" y="657"/>
                    </a:lnTo>
                    <a:lnTo>
                      <a:pt x="137" y="661"/>
                    </a:lnTo>
                    <a:lnTo>
                      <a:pt x="130" y="661"/>
                    </a:lnTo>
                    <a:lnTo>
                      <a:pt x="126" y="663"/>
                    </a:lnTo>
                    <a:lnTo>
                      <a:pt x="118" y="667"/>
                    </a:lnTo>
                    <a:lnTo>
                      <a:pt x="111" y="663"/>
                    </a:lnTo>
                    <a:lnTo>
                      <a:pt x="109" y="661"/>
                    </a:lnTo>
                    <a:lnTo>
                      <a:pt x="109" y="659"/>
                    </a:lnTo>
                    <a:lnTo>
                      <a:pt x="102" y="656"/>
                    </a:lnTo>
                    <a:lnTo>
                      <a:pt x="98" y="654"/>
                    </a:lnTo>
                    <a:lnTo>
                      <a:pt x="98" y="650"/>
                    </a:lnTo>
                    <a:lnTo>
                      <a:pt x="98" y="648"/>
                    </a:lnTo>
                    <a:lnTo>
                      <a:pt x="96" y="640"/>
                    </a:lnTo>
                    <a:lnTo>
                      <a:pt x="87" y="639"/>
                    </a:lnTo>
                    <a:lnTo>
                      <a:pt x="73" y="635"/>
                    </a:lnTo>
                    <a:lnTo>
                      <a:pt x="73" y="624"/>
                    </a:lnTo>
                    <a:lnTo>
                      <a:pt x="73" y="620"/>
                    </a:lnTo>
                    <a:lnTo>
                      <a:pt x="71" y="622"/>
                    </a:lnTo>
                    <a:lnTo>
                      <a:pt x="71" y="614"/>
                    </a:lnTo>
                    <a:lnTo>
                      <a:pt x="71" y="612"/>
                    </a:lnTo>
                    <a:lnTo>
                      <a:pt x="62" y="607"/>
                    </a:lnTo>
                    <a:lnTo>
                      <a:pt x="64" y="599"/>
                    </a:lnTo>
                    <a:lnTo>
                      <a:pt x="66" y="599"/>
                    </a:lnTo>
                    <a:lnTo>
                      <a:pt x="66" y="595"/>
                    </a:lnTo>
                    <a:lnTo>
                      <a:pt x="70" y="593"/>
                    </a:lnTo>
                    <a:lnTo>
                      <a:pt x="66" y="588"/>
                    </a:lnTo>
                    <a:lnTo>
                      <a:pt x="70" y="588"/>
                    </a:lnTo>
                    <a:lnTo>
                      <a:pt x="73" y="588"/>
                    </a:lnTo>
                    <a:lnTo>
                      <a:pt x="75" y="584"/>
                    </a:lnTo>
                    <a:lnTo>
                      <a:pt x="85" y="588"/>
                    </a:lnTo>
                    <a:lnTo>
                      <a:pt x="88" y="575"/>
                    </a:lnTo>
                    <a:lnTo>
                      <a:pt x="88" y="571"/>
                    </a:lnTo>
                    <a:lnTo>
                      <a:pt x="100" y="561"/>
                    </a:lnTo>
                    <a:lnTo>
                      <a:pt x="103" y="563"/>
                    </a:lnTo>
                    <a:lnTo>
                      <a:pt x="111" y="565"/>
                    </a:lnTo>
                    <a:lnTo>
                      <a:pt x="113" y="565"/>
                    </a:lnTo>
                    <a:lnTo>
                      <a:pt x="118" y="567"/>
                    </a:lnTo>
                    <a:lnTo>
                      <a:pt x="132" y="567"/>
                    </a:lnTo>
                    <a:lnTo>
                      <a:pt x="132" y="565"/>
                    </a:lnTo>
                    <a:lnTo>
                      <a:pt x="135" y="575"/>
                    </a:lnTo>
                    <a:lnTo>
                      <a:pt x="141" y="571"/>
                    </a:lnTo>
                    <a:lnTo>
                      <a:pt x="149" y="571"/>
                    </a:lnTo>
                    <a:lnTo>
                      <a:pt x="150" y="573"/>
                    </a:lnTo>
                    <a:lnTo>
                      <a:pt x="158" y="571"/>
                    </a:lnTo>
                    <a:lnTo>
                      <a:pt x="160" y="573"/>
                    </a:lnTo>
                    <a:lnTo>
                      <a:pt x="164" y="563"/>
                    </a:lnTo>
                    <a:lnTo>
                      <a:pt x="164" y="561"/>
                    </a:lnTo>
                    <a:lnTo>
                      <a:pt x="162" y="556"/>
                    </a:lnTo>
                    <a:lnTo>
                      <a:pt x="162" y="548"/>
                    </a:lnTo>
                    <a:lnTo>
                      <a:pt x="164" y="546"/>
                    </a:lnTo>
                    <a:lnTo>
                      <a:pt x="164" y="539"/>
                    </a:lnTo>
                    <a:lnTo>
                      <a:pt x="166" y="537"/>
                    </a:lnTo>
                    <a:lnTo>
                      <a:pt x="164" y="535"/>
                    </a:lnTo>
                    <a:lnTo>
                      <a:pt x="164" y="533"/>
                    </a:lnTo>
                    <a:lnTo>
                      <a:pt x="171" y="537"/>
                    </a:lnTo>
                    <a:lnTo>
                      <a:pt x="177" y="539"/>
                    </a:lnTo>
                    <a:lnTo>
                      <a:pt x="179" y="535"/>
                    </a:lnTo>
                    <a:lnTo>
                      <a:pt x="179" y="533"/>
                    </a:lnTo>
                    <a:lnTo>
                      <a:pt x="181" y="524"/>
                    </a:lnTo>
                    <a:lnTo>
                      <a:pt x="179" y="520"/>
                    </a:lnTo>
                    <a:lnTo>
                      <a:pt x="177" y="520"/>
                    </a:lnTo>
                    <a:lnTo>
                      <a:pt x="179" y="518"/>
                    </a:lnTo>
                    <a:lnTo>
                      <a:pt x="182" y="507"/>
                    </a:lnTo>
                    <a:lnTo>
                      <a:pt x="186" y="501"/>
                    </a:lnTo>
                    <a:lnTo>
                      <a:pt x="186" y="499"/>
                    </a:lnTo>
                    <a:lnTo>
                      <a:pt x="188" y="497"/>
                    </a:lnTo>
                    <a:lnTo>
                      <a:pt x="186" y="497"/>
                    </a:lnTo>
                    <a:lnTo>
                      <a:pt x="186" y="496"/>
                    </a:lnTo>
                    <a:lnTo>
                      <a:pt x="182" y="494"/>
                    </a:lnTo>
                    <a:lnTo>
                      <a:pt x="181" y="494"/>
                    </a:lnTo>
                    <a:lnTo>
                      <a:pt x="182" y="490"/>
                    </a:lnTo>
                    <a:lnTo>
                      <a:pt x="182" y="484"/>
                    </a:lnTo>
                    <a:lnTo>
                      <a:pt x="184" y="477"/>
                    </a:lnTo>
                    <a:lnTo>
                      <a:pt x="190" y="477"/>
                    </a:lnTo>
                    <a:lnTo>
                      <a:pt x="196" y="475"/>
                    </a:lnTo>
                    <a:lnTo>
                      <a:pt x="209" y="469"/>
                    </a:lnTo>
                    <a:lnTo>
                      <a:pt x="207" y="465"/>
                    </a:lnTo>
                    <a:lnTo>
                      <a:pt x="211" y="465"/>
                    </a:lnTo>
                    <a:lnTo>
                      <a:pt x="209" y="464"/>
                    </a:lnTo>
                    <a:lnTo>
                      <a:pt x="203" y="462"/>
                    </a:lnTo>
                    <a:lnTo>
                      <a:pt x="203" y="456"/>
                    </a:lnTo>
                    <a:lnTo>
                      <a:pt x="205" y="452"/>
                    </a:lnTo>
                    <a:lnTo>
                      <a:pt x="203" y="448"/>
                    </a:lnTo>
                    <a:lnTo>
                      <a:pt x="201" y="447"/>
                    </a:lnTo>
                    <a:lnTo>
                      <a:pt x="209" y="445"/>
                    </a:lnTo>
                    <a:lnTo>
                      <a:pt x="211" y="443"/>
                    </a:lnTo>
                    <a:lnTo>
                      <a:pt x="214" y="443"/>
                    </a:lnTo>
                    <a:lnTo>
                      <a:pt x="218" y="439"/>
                    </a:lnTo>
                    <a:lnTo>
                      <a:pt x="216" y="437"/>
                    </a:lnTo>
                    <a:lnTo>
                      <a:pt x="214" y="428"/>
                    </a:lnTo>
                    <a:lnTo>
                      <a:pt x="213" y="428"/>
                    </a:lnTo>
                    <a:lnTo>
                      <a:pt x="209" y="433"/>
                    </a:lnTo>
                    <a:lnTo>
                      <a:pt x="209" y="435"/>
                    </a:lnTo>
                    <a:lnTo>
                      <a:pt x="207" y="435"/>
                    </a:lnTo>
                    <a:lnTo>
                      <a:pt x="205" y="435"/>
                    </a:lnTo>
                    <a:lnTo>
                      <a:pt x="205" y="433"/>
                    </a:lnTo>
                    <a:lnTo>
                      <a:pt x="203" y="435"/>
                    </a:lnTo>
                    <a:lnTo>
                      <a:pt x="201" y="435"/>
                    </a:lnTo>
                    <a:lnTo>
                      <a:pt x="199" y="433"/>
                    </a:lnTo>
                    <a:lnTo>
                      <a:pt x="197" y="433"/>
                    </a:lnTo>
                    <a:lnTo>
                      <a:pt x="197" y="431"/>
                    </a:lnTo>
                    <a:lnTo>
                      <a:pt x="196" y="431"/>
                    </a:lnTo>
                    <a:lnTo>
                      <a:pt x="197" y="437"/>
                    </a:lnTo>
                    <a:lnTo>
                      <a:pt x="196" y="437"/>
                    </a:lnTo>
                    <a:lnTo>
                      <a:pt x="196" y="439"/>
                    </a:lnTo>
                    <a:lnTo>
                      <a:pt x="192" y="441"/>
                    </a:lnTo>
                    <a:lnTo>
                      <a:pt x="190" y="439"/>
                    </a:lnTo>
                    <a:lnTo>
                      <a:pt x="192" y="445"/>
                    </a:lnTo>
                    <a:lnTo>
                      <a:pt x="194" y="447"/>
                    </a:lnTo>
                    <a:lnTo>
                      <a:pt x="196" y="450"/>
                    </a:lnTo>
                    <a:lnTo>
                      <a:pt x="194" y="450"/>
                    </a:lnTo>
                    <a:lnTo>
                      <a:pt x="186" y="454"/>
                    </a:lnTo>
                    <a:lnTo>
                      <a:pt x="179" y="456"/>
                    </a:lnTo>
                    <a:lnTo>
                      <a:pt x="177" y="454"/>
                    </a:lnTo>
                    <a:lnTo>
                      <a:pt x="175" y="452"/>
                    </a:lnTo>
                    <a:lnTo>
                      <a:pt x="173" y="448"/>
                    </a:lnTo>
                    <a:lnTo>
                      <a:pt x="171" y="445"/>
                    </a:lnTo>
                    <a:lnTo>
                      <a:pt x="169" y="435"/>
                    </a:lnTo>
                    <a:lnTo>
                      <a:pt x="156" y="448"/>
                    </a:lnTo>
                    <a:lnTo>
                      <a:pt x="160" y="437"/>
                    </a:lnTo>
                    <a:lnTo>
                      <a:pt x="162" y="435"/>
                    </a:lnTo>
                    <a:lnTo>
                      <a:pt x="160" y="435"/>
                    </a:lnTo>
                    <a:lnTo>
                      <a:pt x="158" y="433"/>
                    </a:lnTo>
                    <a:lnTo>
                      <a:pt x="156" y="430"/>
                    </a:lnTo>
                    <a:lnTo>
                      <a:pt x="149" y="433"/>
                    </a:lnTo>
                    <a:lnTo>
                      <a:pt x="147" y="435"/>
                    </a:lnTo>
                    <a:lnTo>
                      <a:pt x="145" y="437"/>
                    </a:lnTo>
                    <a:lnTo>
                      <a:pt x="143" y="439"/>
                    </a:lnTo>
                    <a:lnTo>
                      <a:pt x="141" y="441"/>
                    </a:lnTo>
                    <a:lnTo>
                      <a:pt x="143" y="445"/>
                    </a:lnTo>
                    <a:lnTo>
                      <a:pt x="145" y="448"/>
                    </a:lnTo>
                    <a:lnTo>
                      <a:pt x="149" y="448"/>
                    </a:lnTo>
                    <a:lnTo>
                      <a:pt x="150" y="448"/>
                    </a:lnTo>
                    <a:lnTo>
                      <a:pt x="152" y="447"/>
                    </a:lnTo>
                    <a:lnTo>
                      <a:pt x="154" y="452"/>
                    </a:lnTo>
                    <a:lnTo>
                      <a:pt x="154" y="456"/>
                    </a:lnTo>
                    <a:lnTo>
                      <a:pt x="156" y="462"/>
                    </a:lnTo>
                    <a:lnTo>
                      <a:pt x="156" y="465"/>
                    </a:lnTo>
                    <a:lnTo>
                      <a:pt x="156" y="467"/>
                    </a:lnTo>
                    <a:lnTo>
                      <a:pt x="158" y="467"/>
                    </a:lnTo>
                    <a:lnTo>
                      <a:pt x="160" y="467"/>
                    </a:lnTo>
                    <a:lnTo>
                      <a:pt x="160" y="469"/>
                    </a:lnTo>
                    <a:lnTo>
                      <a:pt x="160" y="473"/>
                    </a:lnTo>
                    <a:lnTo>
                      <a:pt x="154" y="471"/>
                    </a:lnTo>
                    <a:lnTo>
                      <a:pt x="152" y="473"/>
                    </a:lnTo>
                    <a:lnTo>
                      <a:pt x="150" y="469"/>
                    </a:lnTo>
                    <a:lnTo>
                      <a:pt x="150" y="467"/>
                    </a:lnTo>
                    <a:lnTo>
                      <a:pt x="147" y="469"/>
                    </a:lnTo>
                    <a:lnTo>
                      <a:pt x="145" y="469"/>
                    </a:lnTo>
                    <a:lnTo>
                      <a:pt x="145" y="471"/>
                    </a:lnTo>
                    <a:lnTo>
                      <a:pt x="145" y="473"/>
                    </a:lnTo>
                    <a:lnTo>
                      <a:pt x="149" y="473"/>
                    </a:lnTo>
                    <a:lnTo>
                      <a:pt x="154" y="480"/>
                    </a:lnTo>
                    <a:lnTo>
                      <a:pt x="152" y="480"/>
                    </a:lnTo>
                    <a:lnTo>
                      <a:pt x="150" y="482"/>
                    </a:lnTo>
                    <a:lnTo>
                      <a:pt x="149" y="482"/>
                    </a:lnTo>
                    <a:lnTo>
                      <a:pt x="147" y="484"/>
                    </a:lnTo>
                    <a:lnTo>
                      <a:pt x="145" y="482"/>
                    </a:lnTo>
                    <a:lnTo>
                      <a:pt x="139" y="486"/>
                    </a:lnTo>
                    <a:lnTo>
                      <a:pt x="137" y="486"/>
                    </a:lnTo>
                    <a:lnTo>
                      <a:pt x="134" y="484"/>
                    </a:lnTo>
                    <a:lnTo>
                      <a:pt x="134" y="486"/>
                    </a:lnTo>
                    <a:lnTo>
                      <a:pt x="132" y="486"/>
                    </a:lnTo>
                    <a:lnTo>
                      <a:pt x="132" y="484"/>
                    </a:lnTo>
                    <a:lnTo>
                      <a:pt x="130" y="484"/>
                    </a:lnTo>
                    <a:lnTo>
                      <a:pt x="132" y="479"/>
                    </a:lnTo>
                    <a:lnTo>
                      <a:pt x="132" y="475"/>
                    </a:lnTo>
                    <a:lnTo>
                      <a:pt x="134" y="471"/>
                    </a:lnTo>
                    <a:lnTo>
                      <a:pt x="126" y="467"/>
                    </a:lnTo>
                    <a:lnTo>
                      <a:pt x="122" y="465"/>
                    </a:lnTo>
                    <a:lnTo>
                      <a:pt x="122" y="469"/>
                    </a:lnTo>
                    <a:lnTo>
                      <a:pt x="122" y="471"/>
                    </a:lnTo>
                    <a:lnTo>
                      <a:pt x="120" y="475"/>
                    </a:lnTo>
                    <a:lnTo>
                      <a:pt x="118" y="480"/>
                    </a:lnTo>
                    <a:lnTo>
                      <a:pt x="117" y="480"/>
                    </a:lnTo>
                    <a:lnTo>
                      <a:pt x="113" y="479"/>
                    </a:lnTo>
                    <a:lnTo>
                      <a:pt x="109" y="475"/>
                    </a:lnTo>
                    <a:lnTo>
                      <a:pt x="109" y="473"/>
                    </a:lnTo>
                    <a:lnTo>
                      <a:pt x="107" y="465"/>
                    </a:lnTo>
                    <a:lnTo>
                      <a:pt x="105" y="464"/>
                    </a:lnTo>
                    <a:lnTo>
                      <a:pt x="103" y="456"/>
                    </a:lnTo>
                    <a:lnTo>
                      <a:pt x="102" y="454"/>
                    </a:lnTo>
                    <a:lnTo>
                      <a:pt x="103" y="452"/>
                    </a:lnTo>
                    <a:lnTo>
                      <a:pt x="102" y="452"/>
                    </a:lnTo>
                    <a:lnTo>
                      <a:pt x="100" y="445"/>
                    </a:lnTo>
                    <a:lnTo>
                      <a:pt x="98" y="437"/>
                    </a:lnTo>
                    <a:lnTo>
                      <a:pt x="98" y="435"/>
                    </a:lnTo>
                    <a:lnTo>
                      <a:pt x="100" y="433"/>
                    </a:lnTo>
                    <a:lnTo>
                      <a:pt x="100" y="426"/>
                    </a:lnTo>
                    <a:lnTo>
                      <a:pt x="98" y="424"/>
                    </a:lnTo>
                    <a:lnTo>
                      <a:pt x="96" y="420"/>
                    </a:lnTo>
                    <a:lnTo>
                      <a:pt x="94" y="420"/>
                    </a:lnTo>
                    <a:lnTo>
                      <a:pt x="96" y="418"/>
                    </a:lnTo>
                    <a:lnTo>
                      <a:pt x="98" y="416"/>
                    </a:lnTo>
                    <a:lnTo>
                      <a:pt x="98" y="415"/>
                    </a:lnTo>
                    <a:lnTo>
                      <a:pt x="98" y="413"/>
                    </a:lnTo>
                    <a:lnTo>
                      <a:pt x="98" y="411"/>
                    </a:lnTo>
                    <a:lnTo>
                      <a:pt x="96" y="403"/>
                    </a:lnTo>
                    <a:lnTo>
                      <a:pt x="102" y="398"/>
                    </a:lnTo>
                    <a:lnTo>
                      <a:pt x="96" y="381"/>
                    </a:lnTo>
                    <a:lnTo>
                      <a:pt x="100" y="381"/>
                    </a:lnTo>
                    <a:lnTo>
                      <a:pt x="102" y="379"/>
                    </a:lnTo>
                    <a:lnTo>
                      <a:pt x="105" y="377"/>
                    </a:lnTo>
                    <a:lnTo>
                      <a:pt x="109" y="375"/>
                    </a:lnTo>
                    <a:lnTo>
                      <a:pt x="111" y="373"/>
                    </a:lnTo>
                    <a:lnTo>
                      <a:pt x="113" y="371"/>
                    </a:lnTo>
                    <a:lnTo>
                      <a:pt x="115" y="369"/>
                    </a:lnTo>
                    <a:lnTo>
                      <a:pt x="120" y="367"/>
                    </a:lnTo>
                    <a:lnTo>
                      <a:pt x="122" y="367"/>
                    </a:lnTo>
                    <a:lnTo>
                      <a:pt x="124" y="367"/>
                    </a:lnTo>
                    <a:lnTo>
                      <a:pt x="126" y="369"/>
                    </a:lnTo>
                    <a:lnTo>
                      <a:pt x="124" y="364"/>
                    </a:lnTo>
                    <a:lnTo>
                      <a:pt x="126" y="362"/>
                    </a:lnTo>
                    <a:lnTo>
                      <a:pt x="128" y="358"/>
                    </a:lnTo>
                    <a:lnTo>
                      <a:pt x="130" y="356"/>
                    </a:lnTo>
                    <a:lnTo>
                      <a:pt x="134" y="349"/>
                    </a:lnTo>
                    <a:lnTo>
                      <a:pt x="137" y="352"/>
                    </a:lnTo>
                    <a:lnTo>
                      <a:pt x="135" y="339"/>
                    </a:lnTo>
                    <a:lnTo>
                      <a:pt x="135" y="337"/>
                    </a:lnTo>
                    <a:lnTo>
                      <a:pt x="132" y="330"/>
                    </a:lnTo>
                    <a:lnTo>
                      <a:pt x="132" y="328"/>
                    </a:lnTo>
                    <a:lnTo>
                      <a:pt x="130" y="322"/>
                    </a:lnTo>
                    <a:lnTo>
                      <a:pt x="128" y="319"/>
                    </a:lnTo>
                    <a:lnTo>
                      <a:pt x="118" y="320"/>
                    </a:lnTo>
                    <a:lnTo>
                      <a:pt x="117" y="320"/>
                    </a:lnTo>
                    <a:lnTo>
                      <a:pt x="113" y="322"/>
                    </a:lnTo>
                    <a:lnTo>
                      <a:pt x="111" y="324"/>
                    </a:lnTo>
                    <a:lnTo>
                      <a:pt x="109" y="326"/>
                    </a:lnTo>
                    <a:lnTo>
                      <a:pt x="103" y="328"/>
                    </a:lnTo>
                    <a:lnTo>
                      <a:pt x="103" y="319"/>
                    </a:lnTo>
                    <a:lnTo>
                      <a:pt x="102" y="320"/>
                    </a:lnTo>
                    <a:lnTo>
                      <a:pt x="100" y="320"/>
                    </a:lnTo>
                    <a:lnTo>
                      <a:pt x="100" y="322"/>
                    </a:lnTo>
                    <a:lnTo>
                      <a:pt x="100" y="324"/>
                    </a:lnTo>
                    <a:lnTo>
                      <a:pt x="90" y="326"/>
                    </a:lnTo>
                    <a:lnTo>
                      <a:pt x="90" y="328"/>
                    </a:lnTo>
                    <a:lnTo>
                      <a:pt x="85" y="328"/>
                    </a:lnTo>
                    <a:lnTo>
                      <a:pt x="75" y="330"/>
                    </a:lnTo>
                    <a:lnTo>
                      <a:pt x="73" y="335"/>
                    </a:lnTo>
                    <a:lnTo>
                      <a:pt x="71" y="335"/>
                    </a:lnTo>
                    <a:lnTo>
                      <a:pt x="70" y="337"/>
                    </a:lnTo>
                    <a:lnTo>
                      <a:pt x="64" y="339"/>
                    </a:lnTo>
                    <a:lnTo>
                      <a:pt x="58" y="341"/>
                    </a:lnTo>
                    <a:lnTo>
                      <a:pt x="56" y="345"/>
                    </a:lnTo>
                    <a:lnTo>
                      <a:pt x="53" y="345"/>
                    </a:lnTo>
                    <a:lnTo>
                      <a:pt x="41" y="347"/>
                    </a:lnTo>
                    <a:lnTo>
                      <a:pt x="36" y="347"/>
                    </a:lnTo>
                    <a:lnTo>
                      <a:pt x="43" y="345"/>
                    </a:lnTo>
                    <a:lnTo>
                      <a:pt x="38" y="334"/>
                    </a:lnTo>
                    <a:lnTo>
                      <a:pt x="34" y="332"/>
                    </a:lnTo>
                    <a:lnTo>
                      <a:pt x="38" y="330"/>
                    </a:lnTo>
                    <a:lnTo>
                      <a:pt x="39" y="328"/>
                    </a:lnTo>
                    <a:lnTo>
                      <a:pt x="47" y="324"/>
                    </a:lnTo>
                    <a:lnTo>
                      <a:pt x="51" y="324"/>
                    </a:lnTo>
                    <a:lnTo>
                      <a:pt x="51" y="326"/>
                    </a:lnTo>
                    <a:lnTo>
                      <a:pt x="64" y="324"/>
                    </a:lnTo>
                    <a:lnTo>
                      <a:pt x="64" y="322"/>
                    </a:lnTo>
                    <a:lnTo>
                      <a:pt x="58" y="313"/>
                    </a:lnTo>
                    <a:lnTo>
                      <a:pt x="70" y="311"/>
                    </a:lnTo>
                    <a:lnTo>
                      <a:pt x="83" y="309"/>
                    </a:lnTo>
                    <a:lnTo>
                      <a:pt x="92" y="307"/>
                    </a:lnTo>
                    <a:lnTo>
                      <a:pt x="94" y="303"/>
                    </a:lnTo>
                    <a:lnTo>
                      <a:pt x="100" y="303"/>
                    </a:lnTo>
                    <a:lnTo>
                      <a:pt x="100" y="302"/>
                    </a:lnTo>
                    <a:lnTo>
                      <a:pt x="98" y="302"/>
                    </a:lnTo>
                    <a:lnTo>
                      <a:pt x="96" y="296"/>
                    </a:lnTo>
                    <a:lnTo>
                      <a:pt x="92" y="288"/>
                    </a:lnTo>
                    <a:lnTo>
                      <a:pt x="94" y="287"/>
                    </a:lnTo>
                    <a:lnTo>
                      <a:pt x="100" y="283"/>
                    </a:lnTo>
                    <a:lnTo>
                      <a:pt x="102" y="283"/>
                    </a:lnTo>
                    <a:lnTo>
                      <a:pt x="103" y="281"/>
                    </a:lnTo>
                    <a:lnTo>
                      <a:pt x="105" y="279"/>
                    </a:lnTo>
                    <a:lnTo>
                      <a:pt x="113" y="277"/>
                    </a:lnTo>
                    <a:lnTo>
                      <a:pt x="120" y="273"/>
                    </a:lnTo>
                    <a:lnTo>
                      <a:pt x="132" y="262"/>
                    </a:lnTo>
                    <a:lnTo>
                      <a:pt x="137" y="262"/>
                    </a:lnTo>
                    <a:lnTo>
                      <a:pt x="145" y="264"/>
                    </a:lnTo>
                    <a:lnTo>
                      <a:pt x="152" y="264"/>
                    </a:lnTo>
                    <a:lnTo>
                      <a:pt x="154" y="268"/>
                    </a:lnTo>
                    <a:lnTo>
                      <a:pt x="164" y="264"/>
                    </a:lnTo>
                    <a:lnTo>
                      <a:pt x="173" y="260"/>
                    </a:lnTo>
                    <a:lnTo>
                      <a:pt x="177" y="266"/>
                    </a:lnTo>
                    <a:lnTo>
                      <a:pt x="179" y="268"/>
                    </a:lnTo>
                    <a:lnTo>
                      <a:pt x="166" y="275"/>
                    </a:lnTo>
                    <a:lnTo>
                      <a:pt x="169" y="283"/>
                    </a:lnTo>
                    <a:lnTo>
                      <a:pt x="169" y="287"/>
                    </a:lnTo>
                    <a:lnTo>
                      <a:pt x="169" y="288"/>
                    </a:lnTo>
                    <a:lnTo>
                      <a:pt x="171" y="288"/>
                    </a:lnTo>
                    <a:lnTo>
                      <a:pt x="177" y="287"/>
                    </a:lnTo>
                    <a:lnTo>
                      <a:pt x="179" y="292"/>
                    </a:lnTo>
                    <a:lnTo>
                      <a:pt x="181" y="292"/>
                    </a:lnTo>
                    <a:lnTo>
                      <a:pt x="181" y="294"/>
                    </a:lnTo>
                    <a:lnTo>
                      <a:pt x="182" y="298"/>
                    </a:lnTo>
                    <a:lnTo>
                      <a:pt x="182" y="300"/>
                    </a:lnTo>
                    <a:lnTo>
                      <a:pt x="182" y="302"/>
                    </a:lnTo>
                    <a:lnTo>
                      <a:pt x="184" y="303"/>
                    </a:lnTo>
                    <a:lnTo>
                      <a:pt x="186" y="307"/>
                    </a:lnTo>
                    <a:lnTo>
                      <a:pt x="190" y="305"/>
                    </a:lnTo>
                    <a:lnTo>
                      <a:pt x="192" y="305"/>
                    </a:lnTo>
                    <a:lnTo>
                      <a:pt x="194" y="305"/>
                    </a:lnTo>
                    <a:lnTo>
                      <a:pt x="196" y="303"/>
                    </a:lnTo>
                    <a:lnTo>
                      <a:pt x="197" y="303"/>
                    </a:lnTo>
                    <a:lnTo>
                      <a:pt x="211" y="305"/>
                    </a:lnTo>
                    <a:lnTo>
                      <a:pt x="213" y="307"/>
                    </a:lnTo>
                    <a:lnTo>
                      <a:pt x="214" y="313"/>
                    </a:lnTo>
                    <a:lnTo>
                      <a:pt x="216" y="313"/>
                    </a:lnTo>
                    <a:lnTo>
                      <a:pt x="214" y="315"/>
                    </a:lnTo>
                    <a:lnTo>
                      <a:pt x="216" y="317"/>
                    </a:lnTo>
                    <a:lnTo>
                      <a:pt x="216" y="315"/>
                    </a:lnTo>
                    <a:lnTo>
                      <a:pt x="216" y="317"/>
                    </a:lnTo>
                    <a:lnTo>
                      <a:pt x="218" y="315"/>
                    </a:lnTo>
                    <a:lnTo>
                      <a:pt x="218" y="317"/>
                    </a:lnTo>
                    <a:lnTo>
                      <a:pt x="220" y="315"/>
                    </a:lnTo>
                    <a:lnTo>
                      <a:pt x="222" y="317"/>
                    </a:lnTo>
                    <a:lnTo>
                      <a:pt x="224" y="317"/>
                    </a:lnTo>
                    <a:lnTo>
                      <a:pt x="226" y="319"/>
                    </a:lnTo>
                    <a:lnTo>
                      <a:pt x="214" y="326"/>
                    </a:lnTo>
                    <a:lnTo>
                      <a:pt x="216" y="330"/>
                    </a:lnTo>
                    <a:lnTo>
                      <a:pt x="214" y="328"/>
                    </a:lnTo>
                    <a:lnTo>
                      <a:pt x="213" y="328"/>
                    </a:lnTo>
                    <a:lnTo>
                      <a:pt x="207" y="328"/>
                    </a:lnTo>
                    <a:lnTo>
                      <a:pt x="203" y="326"/>
                    </a:lnTo>
                    <a:lnTo>
                      <a:pt x="205" y="345"/>
                    </a:lnTo>
                    <a:lnTo>
                      <a:pt x="201" y="358"/>
                    </a:lnTo>
                    <a:lnTo>
                      <a:pt x="203" y="360"/>
                    </a:lnTo>
                    <a:lnTo>
                      <a:pt x="201" y="362"/>
                    </a:lnTo>
                    <a:lnTo>
                      <a:pt x="203" y="366"/>
                    </a:lnTo>
                    <a:lnTo>
                      <a:pt x="205" y="366"/>
                    </a:lnTo>
                    <a:lnTo>
                      <a:pt x="207" y="366"/>
                    </a:lnTo>
                    <a:lnTo>
                      <a:pt x="209" y="367"/>
                    </a:lnTo>
                    <a:lnTo>
                      <a:pt x="211" y="367"/>
                    </a:lnTo>
                    <a:lnTo>
                      <a:pt x="213" y="367"/>
                    </a:lnTo>
                    <a:lnTo>
                      <a:pt x="214" y="367"/>
                    </a:lnTo>
                    <a:lnTo>
                      <a:pt x="214" y="369"/>
                    </a:lnTo>
                    <a:lnTo>
                      <a:pt x="216" y="369"/>
                    </a:lnTo>
                    <a:lnTo>
                      <a:pt x="218" y="379"/>
                    </a:lnTo>
                    <a:lnTo>
                      <a:pt x="224" y="375"/>
                    </a:lnTo>
                    <a:lnTo>
                      <a:pt x="229" y="375"/>
                    </a:lnTo>
                    <a:lnTo>
                      <a:pt x="233" y="373"/>
                    </a:lnTo>
                    <a:lnTo>
                      <a:pt x="235" y="373"/>
                    </a:lnTo>
                    <a:lnTo>
                      <a:pt x="237" y="375"/>
                    </a:lnTo>
                    <a:lnTo>
                      <a:pt x="237" y="377"/>
                    </a:lnTo>
                    <a:lnTo>
                      <a:pt x="235" y="388"/>
                    </a:lnTo>
                    <a:lnTo>
                      <a:pt x="229" y="396"/>
                    </a:lnTo>
                    <a:lnTo>
                      <a:pt x="243" y="392"/>
                    </a:lnTo>
                    <a:lnTo>
                      <a:pt x="246" y="405"/>
                    </a:lnTo>
                    <a:lnTo>
                      <a:pt x="254" y="401"/>
                    </a:lnTo>
                    <a:lnTo>
                      <a:pt x="256" y="401"/>
                    </a:lnTo>
                    <a:lnTo>
                      <a:pt x="256" y="398"/>
                    </a:lnTo>
                    <a:lnTo>
                      <a:pt x="258" y="396"/>
                    </a:lnTo>
                    <a:lnTo>
                      <a:pt x="261" y="394"/>
                    </a:lnTo>
                    <a:lnTo>
                      <a:pt x="275" y="394"/>
                    </a:lnTo>
                    <a:lnTo>
                      <a:pt x="280" y="392"/>
                    </a:lnTo>
                    <a:lnTo>
                      <a:pt x="282" y="401"/>
                    </a:lnTo>
                    <a:lnTo>
                      <a:pt x="284" y="401"/>
                    </a:lnTo>
                    <a:lnTo>
                      <a:pt x="286" y="401"/>
                    </a:lnTo>
                    <a:lnTo>
                      <a:pt x="286" y="403"/>
                    </a:lnTo>
                    <a:lnTo>
                      <a:pt x="295" y="405"/>
                    </a:lnTo>
                    <a:lnTo>
                      <a:pt x="295" y="403"/>
                    </a:lnTo>
                    <a:lnTo>
                      <a:pt x="308" y="401"/>
                    </a:lnTo>
                    <a:lnTo>
                      <a:pt x="316" y="403"/>
                    </a:lnTo>
                    <a:lnTo>
                      <a:pt x="325" y="407"/>
                    </a:lnTo>
                    <a:lnTo>
                      <a:pt x="327" y="401"/>
                    </a:lnTo>
                    <a:lnTo>
                      <a:pt x="342" y="399"/>
                    </a:lnTo>
                    <a:lnTo>
                      <a:pt x="350" y="399"/>
                    </a:lnTo>
                    <a:lnTo>
                      <a:pt x="365" y="392"/>
                    </a:lnTo>
                    <a:lnTo>
                      <a:pt x="378" y="396"/>
                    </a:lnTo>
                    <a:lnTo>
                      <a:pt x="384" y="398"/>
                    </a:lnTo>
                    <a:lnTo>
                      <a:pt x="386" y="399"/>
                    </a:lnTo>
                    <a:lnTo>
                      <a:pt x="389" y="401"/>
                    </a:lnTo>
                    <a:lnTo>
                      <a:pt x="391" y="398"/>
                    </a:lnTo>
                    <a:lnTo>
                      <a:pt x="395" y="390"/>
                    </a:lnTo>
                    <a:lnTo>
                      <a:pt x="397" y="390"/>
                    </a:lnTo>
                    <a:lnTo>
                      <a:pt x="403" y="390"/>
                    </a:lnTo>
                    <a:lnTo>
                      <a:pt x="403" y="388"/>
                    </a:lnTo>
                    <a:lnTo>
                      <a:pt x="403" y="390"/>
                    </a:lnTo>
                    <a:lnTo>
                      <a:pt x="404" y="390"/>
                    </a:lnTo>
                    <a:lnTo>
                      <a:pt x="406" y="390"/>
                    </a:lnTo>
                    <a:lnTo>
                      <a:pt x="406" y="392"/>
                    </a:lnTo>
                    <a:lnTo>
                      <a:pt x="406" y="394"/>
                    </a:lnTo>
                    <a:lnTo>
                      <a:pt x="406" y="396"/>
                    </a:lnTo>
                    <a:lnTo>
                      <a:pt x="408" y="396"/>
                    </a:lnTo>
                    <a:lnTo>
                      <a:pt x="419" y="390"/>
                    </a:lnTo>
                    <a:lnTo>
                      <a:pt x="419" y="383"/>
                    </a:lnTo>
                    <a:lnTo>
                      <a:pt x="433" y="381"/>
                    </a:lnTo>
                    <a:lnTo>
                      <a:pt x="446" y="383"/>
                    </a:lnTo>
                    <a:lnTo>
                      <a:pt x="450" y="383"/>
                    </a:lnTo>
                    <a:lnTo>
                      <a:pt x="450" y="366"/>
                    </a:lnTo>
                    <a:lnTo>
                      <a:pt x="450" y="362"/>
                    </a:lnTo>
                    <a:lnTo>
                      <a:pt x="450" y="360"/>
                    </a:lnTo>
                    <a:lnTo>
                      <a:pt x="451" y="358"/>
                    </a:lnTo>
                    <a:lnTo>
                      <a:pt x="451" y="352"/>
                    </a:lnTo>
                    <a:lnTo>
                      <a:pt x="451" y="351"/>
                    </a:lnTo>
                    <a:lnTo>
                      <a:pt x="451" y="347"/>
                    </a:lnTo>
                    <a:lnTo>
                      <a:pt x="451" y="345"/>
                    </a:lnTo>
                    <a:lnTo>
                      <a:pt x="450" y="328"/>
                    </a:lnTo>
                    <a:lnTo>
                      <a:pt x="448" y="324"/>
                    </a:lnTo>
                    <a:lnTo>
                      <a:pt x="448" y="322"/>
                    </a:lnTo>
                    <a:lnTo>
                      <a:pt x="444" y="313"/>
                    </a:lnTo>
                    <a:lnTo>
                      <a:pt x="457" y="311"/>
                    </a:lnTo>
                    <a:lnTo>
                      <a:pt x="457" y="305"/>
                    </a:lnTo>
                    <a:lnTo>
                      <a:pt x="463" y="311"/>
                    </a:lnTo>
                    <a:lnTo>
                      <a:pt x="472" y="319"/>
                    </a:lnTo>
                    <a:lnTo>
                      <a:pt x="472" y="322"/>
                    </a:lnTo>
                    <a:lnTo>
                      <a:pt x="480" y="320"/>
                    </a:lnTo>
                    <a:lnTo>
                      <a:pt x="485" y="322"/>
                    </a:lnTo>
                    <a:lnTo>
                      <a:pt x="485" y="313"/>
                    </a:lnTo>
                    <a:lnTo>
                      <a:pt x="487" y="313"/>
                    </a:lnTo>
                    <a:lnTo>
                      <a:pt x="487" y="302"/>
                    </a:lnTo>
                    <a:lnTo>
                      <a:pt x="487" y="296"/>
                    </a:lnTo>
                    <a:lnTo>
                      <a:pt x="489" y="296"/>
                    </a:lnTo>
                    <a:lnTo>
                      <a:pt x="498" y="298"/>
                    </a:lnTo>
                    <a:lnTo>
                      <a:pt x="498" y="296"/>
                    </a:lnTo>
                    <a:lnTo>
                      <a:pt x="498" y="294"/>
                    </a:lnTo>
                    <a:lnTo>
                      <a:pt x="495" y="287"/>
                    </a:lnTo>
                    <a:lnTo>
                      <a:pt x="495" y="285"/>
                    </a:lnTo>
                    <a:lnTo>
                      <a:pt x="493" y="285"/>
                    </a:lnTo>
                    <a:lnTo>
                      <a:pt x="493" y="279"/>
                    </a:lnTo>
                    <a:lnTo>
                      <a:pt x="493" y="273"/>
                    </a:lnTo>
                    <a:lnTo>
                      <a:pt x="495" y="268"/>
                    </a:lnTo>
                    <a:lnTo>
                      <a:pt x="495" y="266"/>
                    </a:lnTo>
                    <a:lnTo>
                      <a:pt x="497" y="253"/>
                    </a:lnTo>
                    <a:lnTo>
                      <a:pt x="497" y="251"/>
                    </a:lnTo>
                    <a:lnTo>
                      <a:pt x="498" y="247"/>
                    </a:lnTo>
                    <a:lnTo>
                      <a:pt x="506" y="247"/>
                    </a:lnTo>
                    <a:lnTo>
                      <a:pt x="512" y="249"/>
                    </a:lnTo>
                    <a:lnTo>
                      <a:pt x="521" y="249"/>
                    </a:lnTo>
                    <a:lnTo>
                      <a:pt x="525" y="251"/>
                    </a:lnTo>
                    <a:lnTo>
                      <a:pt x="527" y="255"/>
                    </a:lnTo>
                    <a:lnTo>
                      <a:pt x="529" y="255"/>
                    </a:lnTo>
                    <a:lnTo>
                      <a:pt x="529" y="253"/>
                    </a:lnTo>
                    <a:lnTo>
                      <a:pt x="527" y="253"/>
                    </a:lnTo>
                    <a:lnTo>
                      <a:pt x="527" y="251"/>
                    </a:lnTo>
                    <a:lnTo>
                      <a:pt x="529" y="251"/>
                    </a:lnTo>
                    <a:lnTo>
                      <a:pt x="529" y="253"/>
                    </a:lnTo>
                    <a:lnTo>
                      <a:pt x="530" y="253"/>
                    </a:lnTo>
                    <a:lnTo>
                      <a:pt x="538" y="255"/>
                    </a:lnTo>
                    <a:lnTo>
                      <a:pt x="538" y="251"/>
                    </a:lnTo>
                    <a:lnTo>
                      <a:pt x="538" y="249"/>
                    </a:lnTo>
                    <a:lnTo>
                      <a:pt x="540" y="245"/>
                    </a:lnTo>
                    <a:lnTo>
                      <a:pt x="549" y="251"/>
                    </a:lnTo>
                    <a:lnTo>
                      <a:pt x="551" y="251"/>
                    </a:lnTo>
                    <a:lnTo>
                      <a:pt x="549" y="249"/>
                    </a:lnTo>
                    <a:lnTo>
                      <a:pt x="549" y="247"/>
                    </a:lnTo>
                    <a:lnTo>
                      <a:pt x="549" y="249"/>
                    </a:lnTo>
                    <a:lnTo>
                      <a:pt x="547" y="249"/>
                    </a:lnTo>
                    <a:lnTo>
                      <a:pt x="547" y="247"/>
                    </a:lnTo>
                    <a:lnTo>
                      <a:pt x="547" y="245"/>
                    </a:lnTo>
                    <a:lnTo>
                      <a:pt x="549" y="245"/>
                    </a:lnTo>
                    <a:lnTo>
                      <a:pt x="547" y="245"/>
                    </a:lnTo>
                    <a:lnTo>
                      <a:pt x="557" y="247"/>
                    </a:lnTo>
                    <a:lnTo>
                      <a:pt x="561" y="249"/>
                    </a:lnTo>
                    <a:lnTo>
                      <a:pt x="562" y="255"/>
                    </a:lnTo>
                    <a:lnTo>
                      <a:pt x="562" y="258"/>
                    </a:lnTo>
                    <a:lnTo>
                      <a:pt x="564" y="262"/>
                    </a:lnTo>
                    <a:lnTo>
                      <a:pt x="566" y="264"/>
                    </a:lnTo>
                    <a:lnTo>
                      <a:pt x="568" y="266"/>
                    </a:lnTo>
                    <a:lnTo>
                      <a:pt x="570" y="268"/>
                    </a:lnTo>
                    <a:lnTo>
                      <a:pt x="572" y="271"/>
                    </a:lnTo>
                    <a:lnTo>
                      <a:pt x="574" y="271"/>
                    </a:lnTo>
                    <a:lnTo>
                      <a:pt x="574" y="273"/>
                    </a:lnTo>
                    <a:lnTo>
                      <a:pt x="576" y="273"/>
                    </a:lnTo>
                    <a:lnTo>
                      <a:pt x="576" y="270"/>
                    </a:lnTo>
                    <a:lnTo>
                      <a:pt x="576" y="268"/>
                    </a:lnTo>
                    <a:lnTo>
                      <a:pt x="576" y="266"/>
                    </a:lnTo>
                    <a:lnTo>
                      <a:pt x="576" y="264"/>
                    </a:lnTo>
                    <a:lnTo>
                      <a:pt x="581" y="260"/>
                    </a:lnTo>
                    <a:lnTo>
                      <a:pt x="587" y="260"/>
                    </a:lnTo>
                    <a:lnTo>
                      <a:pt x="589" y="258"/>
                    </a:lnTo>
                    <a:lnTo>
                      <a:pt x="592" y="258"/>
                    </a:lnTo>
                    <a:lnTo>
                      <a:pt x="596" y="264"/>
                    </a:lnTo>
                    <a:lnTo>
                      <a:pt x="596" y="255"/>
                    </a:lnTo>
                    <a:lnTo>
                      <a:pt x="602" y="253"/>
                    </a:lnTo>
                    <a:lnTo>
                      <a:pt x="604" y="251"/>
                    </a:lnTo>
                    <a:lnTo>
                      <a:pt x="606" y="243"/>
                    </a:lnTo>
                    <a:lnTo>
                      <a:pt x="611" y="245"/>
                    </a:lnTo>
                    <a:lnTo>
                      <a:pt x="617" y="234"/>
                    </a:lnTo>
                    <a:lnTo>
                      <a:pt x="619" y="224"/>
                    </a:lnTo>
                    <a:lnTo>
                      <a:pt x="611" y="219"/>
                    </a:lnTo>
                    <a:lnTo>
                      <a:pt x="611" y="213"/>
                    </a:lnTo>
                    <a:lnTo>
                      <a:pt x="623" y="213"/>
                    </a:lnTo>
                    <a:lnTo>
                      <a:pt x="624" y="211"/>
                    </a:lnTo>
                    <a:lnTo>
                      <a:pt x="632" y="204"/>
                    </a:lnTo>
                    <a:lnTo>
                      <a:pt x="630" y="194"/>
                    </a:lnTo>
                    <a:lnTo>
                      <a:pt x="623" y="181"/>
                    </a:lnTo>
                    <a:lnTo>
                      <a:pt x="628" y="170"/>
                    </a:lnTo>
                    <a:lnTo>
                      <a:pt x="632" y="175"/>
                    </a:lnTo>
                    <a:lnTo>
                      <a:pt x="636" y="177"/>
                    </a:lnTo>
                    <a:lnTo>
                      <a:pt x="636" y="168"/>
                    </a:lnTo>
                    <a:lnTo>
                      <a:pt x="636" y="162"/>
                    </a:lnTo>
                    <a:lnTo>
                      <a:pt x="636" y="160"/>
                    </a:lnTo>
                    <a:lnTo>
                      <a:pt x="636" y="145"/>
                    </a:lnTo>
                    <a:lnTo>
                      <a:pt x="643" y="136"/>
                    </a:lnTo>
                    <a:lnTo>
                      <a:pt x="649" y="142"/>
                    </a:lnTo>
                    <a:lnTo>
                      <a:pt x="653" y="145"/>
                    </a:lnTo>
                    <a:lnTo>
                      <a:pt x="653" y="147"/>
                    </a:lnTo>
                    <a:lnTo>
                      <a:pt x="660" y="151"/>
                    </a:lnTo>
                    <a:lnTo>
                      <a:pt x="671" y="157"/>
                    </a:lnTo>
                    <a:lnTo>
                      <a:pt x="679" y="155"/>
                    </a:lnTo>
                    <a:lnTo>
                      <a:pt x="681" y="153"/>
                    </a:lnTo>
                    <a:lnTo>
                      <a:pt x="683" y="153"/>
                    </a:lnTo>
                    <a:lnTo>
                      <a:pt x="692" y="153"/>
                    </a:lnTo>
                    <a:lnTo>
                      <a:pt x="694" y="170"/>
                    </a:lnTo>
                    <a:lnTo>
                      <a:pt x="705" y="168"/>
                    </a:lnTo>
                    <a:lnTo>
                      <a:pt x="711" y="166"/>
                    </a:lnTo>
                    <a:lnTo>
                      <a:pt x="713" y="166"/>
                    </a:lnTo>
                    <a:lnTo>
                      <a:pt x="718" y="166"/>
                    </a:lnTo>
                    <a:lnTo>
                      <a:pt x="720" y="166"/>
                    </a:lnTo>
                    <a:lnTo>
                      <a:pt x="722" y="166"/>
                    </a:lnTo>
                    <a:lnTo>
                      <a:pt x="726" y="166"/>
                    </a:lnTo>
                    <a:lnTo>
                      <a:pt x="730" y="166"/>
                    </a:lnTo>
                    <a:lnTo>
                      <a:pt x="730" y="164"/>
                    </a:lnTo>
                    <a:lnTo>
                      <a:pt x="732" y="164"/>
                    </a:lnTo>
                    <a:lnTo>
                      <a:pt x="734" y="164"/>
                    </a:lnTo>
                    <a:lnTo>
                      <a:pt x="735" y="164"/>
                    </a:lnTo>
                    <a:lnTo>
                      <a:pt x="737" y="164"/>
                    </a:lnTo>
                    <a:lnTo>
                      <a:pt x="739" y="164"/>
                    </a:lnTo>
                    <a:lnTo>
                      <a:pt x="741" y="164"/>
                    </a:lnTo>
                    <a:lnTo>
                      <a:pt x="743" y="164"/>
                    </a:lnTo>
                    <a:lnTo>
                      <a:pt x="750" y="162"/>
                    </a:lnTo>
                    <a:lnTo>
                      <a:pt x="756" y="162"/>
                    </a:lnTo>
                    <a:lnTo>
                      <a:pt x="762" y="162"/>
                    </a:lnTo>
                    <a:lnTo>
                      <a:pt x="769" y="147"/>
                    </a:lnTo>
                    <a:lnTo>
                      <a:pt x="769" y="145"/>
                    </a:lnTo>
                    <a:lnTo>
                      <a:pt x="760" y="132"/>
                    </a:lnTo>
                    <a:lnTo>
                      <a:pt x="756" y="127"/>
                    </a:lnTo>
                    <a:lnTo>
                      <a:pt x="745" y="128"/>
                    </a:lnTo>
                    <a:lnTo>
                      <a:pt x="745" y="127"/>
                    </a:lnTo>
                    <a:lnTo>
                      <a:pt x="745" y="125"/>
                    </a:lnTo>
                    <a:lnTo>
                      <a:pt x="745" y="123"/>
                    </a:lnTo>
                    <a:lnTo>
                      <a:pt x="745" y="119"/>
                    </a:lnTo>
                    <a:lnTo>
                      <a:pt x="745" y="117"/>
                    </a:lnTo>
                    <a:lnTo>
                      <a:pt x="745" y="115"/>
                    </a:lnTo>
                    <a:lnTo>
                      <a:pt x="745" y="111"/>
                    </a:lnTo>
                    <a:lnTo>
                      <a:pt x="766" y="108"/>
                    </a:lnTo>
                    <a:lnTo>
                      <a:pt x="762" y="104"/>
                    </a:lnTo>
                    <a:lnTo>
                      <a:pt x="760" y="100"/>
                    </a:lnTo>
                    <a:lnTo>
                      <a:pt x="756" y="95"/>
                    </a:lnTo>
                    <a:lnTo>
                      <a:pt x="754" y="91"/>
                    </a:lnTo>
                    <a:lnTo>
                      <a:pt x="747" y="95"/>
                    </a:lnTo>
                    <a:lnTo>
                      <a:pt x="743" y="96"/>
                    </a:lnTo>
                    <a:lnTo>
                      <a:pt x="739" y="96"/>
                    </a:lnTo>
                    <a:lnTo>
                      <a:pt x="730" y="96"/>
                    </a:lnTo>
                    <a:lnTo>
                      <a:pt x="718" y="96"/>
                    </a:lnTo>
                    <a:lnTo>
                      <a:pt x="718" y="95"/>
                    </a:lnTo>
                    <a:lnTo>
                      <a:pt x="718" y="93"/>
                    </a:lnTo>
                    <a:lnTo>
                      <a:pt x="718" y="83"/>
                    </a:lnTo>
                    <a:lnTo>
                      <a:pt x="718" y="79"/>
                    </a:lnTo>
                    <a:lnTo>
                      <a:pt x="718" y="78"/>
                    </a:lnTo>
                    <a:lnTo>
                      <a:pt x="718" y="76"/>
                    </a:lnTo>
                    <a:lnTo>
                      <a:pt x="718" y="74"/>
                    </a:lnTo>
                    <a:lnTo>
                      <a:pt x="718" y="72"/>
                    </a:lnTo>
                    <a:lnTo>
                      <a:pt x="717" y="59"/>
                    </a:lnTo>
                    <a:lnTo>
                      <a:pt x="724" y="53"/>
                    </a:lnTo>
                    <a:lnTo>
                      <a:pt x="730" y="47"/>
                    </a:lnTo>
                    <a:lnTo>
                      <a:pt x="732" y="47"/>
                    </a:lnTo>
                    <a:lnTo>
                      <a:pt x="728" y="40"/>
                    </a:lnTo>
                    <a:lnTo>
                      <a:pt x="734" y="40"/>
                    </a:lnTo>
                    <a:lnTo>
                      <a:pt x="734" y="34"/>
                    </a:lnTo>
                    <a:lnTo>
                      <a:pt x="735" y="30"/>
                    </a:lnTo>
                    <a:lnTo>
                      <a:pt x="734" y="32"/>
                    </a:lnTo>
                    <a:lnTo>
                      <a:pt x="726" y="32"/>
                    </a:lnTo>
                    <a:lnTo>
                      <a:pt x="720" y="32"/>
                    </a:lnTo>
                    <a:lnTo>
                      <a:pt x="720" y="30"/>
                    </a:lnTo>
                    <a:lnTo>
                      <a:pt x="722" y="30"/>
                    </a:lnTo>
                    <a:lnTo>
                      <a:pt x="722" y="29"/>
                    </a:lnTo>
                    <a:lnTo>
                      <a:pt x="724" y="29"/>
                    </a:lnTo>
                    <a:lnTo>
                      <a:pt x="726" y="29"/>
                    </a:lnTo>
                    <a:lnTo>
                      <a:pt x="726" y="27"/>
                    </a:lnTo>
                    <a:lnTo>
                      <a:pt x="728" y="27"/>
                    </a:lnTo>
                    <a:lnTo>
                      <a:pt x="730" y="27"/>
                    </a:lnTo>
                    <a:lnTo>
                      <a:pt x="732" y="27"/>
                    </a:lnTo>
                    <a:lnTo>
                      <a:pt x="732" y="25"/>
                    </a:lnTo>
                    <a:lnTo>
                      <a:pt x="734" y="25"/>
                    </a:lnTo>
                    <a:lnTo>
                      <a:pt x="735" y="25"/>
                    </a:lnTo>
                    <a:lnTo>
                      <a:pt x="737" y="27"/>
                    </a:lnTo>
                    <a:lnTo>
                      <a:pt x="739" y="27"/>
                    </a:lnTo>
                    <a:lnTo>
                      <a:pt x="741" y="25"/>
                    </a:lnTo>
                    <a:lnTo>
                      <a:pt x="743" y="25"/>
                    </a:lnTo>
                    <a:lnTo>
                      <a:pt x="745" y="23"/>
                    </a:lnTo>
                    <a:lnTo>
                      <a:pt x="747" y="23"/>
                    </a:lnTo>
                    <a:lnTo>
                      <a:pt x="747" y="21"/>
                    </a:lnTo>
                    <a:lnTo>
                      <a:pt x="747" y="19"/>
                    </a:lnTo>
                    <a:lnTo>
                      <a:pt x="749" y="19"/>
                    </a:lnTo>
                    <a:lnTo>
                      <a:pt x="749" y="17"/>
                    </a:lnTo>
                    <a:lnTo>
                      <a:pt x="749" y="15"/>
                    </a:lnTo>
                    <a:lnTo>
                      <a:pt x="750" y="15"/>
                    </a:lnTo>
                    <a:lnTo>
                      <a:pt x="752" y="15"/>
                    </a:lnTo>
                    <a:lnTo>
                      <a:pt x="754" y="15"/>
                    </a:lnTo>
                    <a:lnTo>
                      <a:pt x="756" y="17"/>
                    </a:lnTo>
                    <a:lnTo>
                      <a:pt x="758" y="17"/>
                    </a:lnTo>
                    <a:lnTo>
                      <a:pt x="760" y="19"/>
                    </a:lnTo>
                    <a:lnTo>
                      <a:pt x="762" y="21"/>
                    </a:lnTo>
                    <a:lnTo>
                      <a:pt x="764" y="23"/>
                    </a:lnTo>
                    <a:lnTo>
                      <a:pt x="766" y="23"/>
                    </a:lnTo>
                    <a:lnTo>
                      <a:pt x="766" y="25"/>
                    </a:lnTo>
                    <a:lnTo>
                      <a:pt x="767" y="27"/>
                    </a:lnTo>
                    <a:lnTo>
                      <a:pt x="767" y="29"/>
                    </a:lnTo>
                    <a:lnTo>
                      <a:pt x="767" y="30"/>
                    </a:lnTo>
                    <a:lnTo>
                      <a:pt x="769" y="34"/>
                    </a:lnTo>
                    <a:lnTo>
                      <a:pt x="771" y="34"/>
                    </a:lnTo>
                    <a:lnTo>
                      <a:pt x="773" y="32"/>
                    </a:lnTo>
                    <a:lnTo>
                      <a:pt x="775" y="32"/>
                    </a:lnTo>
                    <a:lnTo>
                      <a:pt x="777" y="30"/>
                    </a:lnTo>
                    <a:lnTo>
                      <a:pt x="777" y="29"/>
                    </a:lnTo>
                    <a:lnTo>
                      <a:pt x="779" y="27"/>
                    </a:lnTo>
                    <a:lnTo>
                      <a:pt x="781" y="27"/>
                    </a:lnTo>
                    <a:lnTo>
                      <a:pt x="782" y="27"/>
                    </a:lnTo>
                    <a:lnTo>
                      <a:pt x="782" y="29"/>
                    </a:lnTo>
                    <a:lnTo>
                      <a:pt x="784" y="29"/>
                    </a:lnTo>
                    <a:lnTo>
                      <a:pt x="786" y="29"/>
                    </a:lnTo>
                    <a:lnTo>
                      <a:pt x="788" y="29"/>
                    </a:lnTo>
                    <a:lnTo>
                      <a:pt x="790" y="29"/>
                    </a:lnTo>
                    <a:lnTo>
                      <a:pt x="792" y="27"/>
                    </a:lnTo>
                    <a:lnTo>
                      <a:pt x="794" y="27"/>
                    </a:lnTo>
                    <a:lnTo>
                      <a:pt x="796" y="27"/>
                    </a:lnTo>
                    <a:lnTo>
                      <a:pt x="797" y="25"/>
                    </a:lnTo>
                    <a:lnTo>
                      <a:pt x="799" y="23"/>
                    </a:lnTo>
                    <a:lnTo>
                      <a:pt x="801" y="21"/>
                    </a:lnTo>
                    <a:lnTo>
                      <a:pt x="803" y="21"/>
                    </a:lnTo>
                    <a:lnTo>
                      <a:pt x="803" y="23"/>
                    </a:lnTo>
                    <a:lnTo>
                      <a:pt x="805" y="25"/>
                    </a:lnTo>
                    <a:lnTo>
                      <a:pt x="809" y="23"/>
                    </a:lnTo>
                    <a:lnTo>
                      <a:pt x="811" y="23"/>
                    </a:lnTo>
                    <a:lnTo>
                      <a:pt x="811" y="21"/>
                    </a:lnTo>
                    <a:lnTo>
                      <a:pt x="813" y="21"/>
                    </a:lnTo>
                    <a:lnTo>
                      <a:pt x="814" y="21"/>
                    </a:lnTo>
                    <a:lnTo>
                      <a:pt x="814" y="19"/>
                    </a:lnTo>
                    <a:lnTo>
                      <a:pt x="816" y="17"/>
                    </a:lnTo>
                    <a:lnTo>
                      <a:pt x="816" y="15"/>
                    </a:lnTo>
                    <a:lnTo>
                      <a:pt x="816" y="14"/>
                    </a:lnTo>
                    <a:lnTo>
                      <a:pt x="816" y="12"/>
                    </a:lnTo>
                    <a:lnTo>
                      <a:pt x="818" y="12"/>
                    </a:lnTo>
                    <a:lnTo>
                      <a:pt x="820" y="12"/>
                    </a:lnTo>
                    <a:lnTo>
                      <a:pt x="820" y="14"/>
                    </a:lnTo>
                    <a:lnTo>
                      <a:pt x="822" y="14"/>
                    </a:lnTo>
                    <a:lnTo>
                      <a:pt x="824" y="15"/>
                    </a:lnTo>
                    <a:lnTo>
                      <a:pt x="828" y="15"/>
                    </a:lnTo>
                    <a:lnTo>
                      <a:pt x="829" y="17"/>
                    </a:lnTo>
                    <a:lnTo>
                      <a:pt x="831" y="17"/>
                    </a:lnTo>
                    <a:lnTo>
                      <a:pt x="833" y="17"/>
                    </a:lnTo>
                    <a:lnTo>
                      <a:pt x="835" y="17"/>
                    </a:lnTo>
                    <a:lnTo>
                      <a:pt x="835" y="19"/>
                    </a:lnTo>
                    <a:lnTo>
                      <a:pt x="837" y="21"/>
                    </a:lnTo>
                    <a:lnTo>
                      <a:pt x="839" y="21"/>
                    </a:lnTo>
                    <a:lnTo>
                      <a:pt x="839" y="23"/>
                    </a:lnTo>
                    <a:lnTo>
                      <a:pt x="841" y="21"/>
                    </a:lnTo>
                    <a:lnTo>
                      <a:pt x="843" y="21"/>
                    </a:lnTo>
                    <a:lnTo>
                      <a:pt x="843" y="19"/>
                    </a:lnTo>
                    <a:lnTo>
                      <a:pt x="843" y="17"/>
                    </a:lnTo>
                    <a:lnTo>
                      <a:pt x="845" y="17"/>
                    </a:lnTo>
                    <a:lnTo>
                      <a:pt x="845" y="15"/>
                    </a:lnTo>
                    <a:lnTo>
                      <a:pt x="846" y="15"/>
                    </a:lnTo>
                    <a:lnTo>
                      <a:pt x="848" y="15"/>
                    </a:lnTo>
                    <a:lnTo>
                      <a:pt x="850" y="15"/>
                    </a:lnTo>
                    <a:lnTo>
                      <a:pt x="850" y="17"/>
                    </a:lnTo>
                    <a:lnTo>
                      <a:pt x="852" y="17"/>
                    </a:lnTo>
                    <a:lnTo>
                      <a:pt x="852" y="19"/>
                    </a:lnTo>
                    <a:lnTo>
                      <a:pt x="854" y="21"/>
                    </a:lnTo>
                    <a:lnTo>
                      <a:pt x="856" y="21"/>
                    </a:lnTo>
                    <a:lnTo>
                      <a:pt x="858" y="21"/>
                    </a:lnTo>
                    <a:lnTo>
                      <a:pt x="860" y="21"/>
                    </a:lnTo>
                    <a:lnTo>
                      <a:pt x="860" y="19"/>
                    </a:lnTo>
                    <a:lnTo>
                      <a:pt x="860" y="17"/>
                    </a:lnTo>
                    <a:lnTo>
                      <a:pt x="860" y="15"/>
                    </a:lnTo>
                    <a:lnTo>
                      <a:pt x="861" y="15"/>
                    </a:lnTo>
                    <a:lnTo>
                      <a:pt x="863" y="14"/>
                    </a:lnTo>
                    <a:lnTo>
                      <a:pt x="863" y="12"/>
                    </a:lnTo>
                    <a:lnTo>
                      <a:pt x="865" y="12"/>
                    </a:lnTo>
                    <a:lnTo>
                      <a:pt x="867" y="12"/>
                    </a:lnTo>
                    <a:lnTo>
                      <a:pt x="871" y="10"/>
                    </a:lnTo>
                    <a:lnTo>
                      <a:pt x="873" y="10"/>
                    </a:lnTo>
                    <a:lnTo>
                      <a:pt x="875" y="12"/>
                    </a:lnTo>
                    <a:lnTo>
                      <a:pt x="875" y="14"/>
                    </a:lnTo>
                    <a:lnTo>
                      <a:pt x="875" y="15"/>
                    </a:lnTo>
                    <a:lnTo>
                      <a:pt x="876" y="15"/>
                    </a:lnTo>
                    <a:lnTo>
                      <a:pt x="876" y="17"/>
                    </a:lnTo>
                    <a:lnTo>
                      <a:pt x="876" y="19"/>
                    </a:lnTo>
                    <a:lnTo>
                      <a:pt x="876" y="21"/>
                    </a:lnTo>
                    <a:lnTo>
                      <a:pt x="878" y="21"/>
                    </a:lnTo>
                    <a:lnTo>
                      <a:pt x="878" y="23"/>
                    </a:lnTo>
                    <a:lnTo>
                      <a:pt x="880" y="23"/>
                    </a:lnTo>
                    <a:lnTo>
                      <a:pt x="884" y="23"/>
                    </a:lnTo>
                    <a:lnTo>
                      <a:pt x="886" y="23"/>
                    </a:lnTo>
                    <a:lnTo>
                      <a:pt x="888" y="23"/>
                    </a:lnTo>
                    <a:lnTo>
                      <a:pt x="890" y="21"/>
                    </a:lnTo>
                    <a:lnTo>
                      <a:pt x="892" y="19"/>
                    </a:lnTo>
                    <a:lnTo>
                      <a:pt x="892" y="17"/>
                    </a:lnTo>
                    <a:lnTo>
                      <a:pt x="892" y="15"/>
                    </a:lnTo>
                    <a:lnTo>
                      <a:pt x="892" y="14"/>
                    </a:lnTo>
                    <a:lnTo>
                      <a:pt x="892" y="12"/>
                    </a:lnTo>
                    <a:lnTo>
                      <a:pt x="892" y="10"/>
                    </a:lnTo>
                    <a:lnTo>
                      <a:pt x="892" y="8"/>
                    </a:lnTo>
                    <a:lnTo>
                      <a:pt x="893" y="8"/>
                    </a:lnTo>
                    <a:lnTo>
                      <a:pt x="895" y="8"/>
                    </a:lnTo>
                    <a:lnTo>
                      <a:pt x="895" y="6"/>
                    </a:lnTo>
                    <a:lnTo>
                      <a:pt x="897" y="4"/>
                    </a:lnTo>
                    <a:lnTo>
                      <a:pt x="899" y="2"/>
                    </a:lnTo>
                    <a:lnTo>
                      <a:pt x="901" y="2"/>
                    </a:lnTo>
                    <a:lnTo>
                      <a:pt x="903" y="0"/>
                    </a:lnTo>
                    <a:lnTo>
                      <a:pt x="905" y="0"/>
                    </a:lnTo>
                    <a:lnTo>
                      <a:pt x="905" y="2"/>
                    </a:lnTo>
                    <a:lnTo>
                      <a:pt x="907" y="2"/>
                    </a:lnTo>
                    <a:lnTo>
                      <a:pt x="907" y="4"/>
                    </a:lnTo>
                    <a:lnTo>
                      <a:pt x="908" y="4"/>
                    </a:lnTo>
                    <a:lnTo>
                      <a:pt x="910" y="6"/>
                    </a:lnTo>
                    <a:lnTo>
                      <a:pt x="912" y="6"/>
                    </a:lnTo>
                    <a:lnTo>
                      <a:pt x="914" y="6"/>
                    </a:lnTo>
                    <a:lnTo>
                      <a:pt x="914" y="4"/>
                    </a:lnTo>
                    <a:lnTo>
                      <a:pt x="914" y="2"/>
                    </a:lnTo>
                    <a:lnTo>
                      <a:pt x="916" y="2"/>
                    </a:lnTo>
                    <a:lnTo>
                      <a:pt x="918" y="2"/>
                    </a:lnTo>
                    <a:lnTo>
                      <a:pt x="920" y="2"/>
                    </a:lnTo>
                    <a:lnTo>
                      <a:pt x="922" y="2"/>
                    </a:lnTo>
                    <a:lnTo>
                      <a:pt x="925" y="2"/>
                    </a:lnTo>
                    <a:lnTo>
                      <a:pt x="929" y="2"/>
                    </a:lnTo>
                    <a:close/>
                  </a:path>
                </a:pathLst>
              </a:custGeom>
              <a:grp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36"/>
              <p:cNvSpPr>
                <a:spLocks/>
              </p:cNvSpPr>
              <p:nvPr/>
            </p:nvSpPr>
            <p:spPr bwMode="auto">
              <a:xfrm>
                <a:off x="5432425" y="1770063"/>
                <a:ext cx="787400" cy="817563"/>
              </a:xfrm>
              <a:custGeom>
                <a:avLst/>
                <a:gdLst>
                  <a:gd name="T0" fmla="*/ 274 w 496"/>
                  <a:gd name="T1" fmla="*/ 515 h 515"/>
                  <a:gd name="T2" fmla="*/ 263 w 496"/>
                  <a:gd name="T3" fmla="*/ 498 h 515"/>
                  <a:gd name="T4" fmla="*/ 259 w 496"/>
                  <a:gd name="T5" fmla="*/ 502 h 515"/>
                  <a:gd name="T6" fmla="*/ 246 w 496"/>
                  <a:gd name="T7" fmla="*/ 500 h 515"/>
                  <a:gd name="T8" fmla="*/ 233 w 496"/>
                  <a:gd name="T9" fmla="*/ 487 h 515"/>
                  <a:gd name="T10" fmla="*/ 220 w 496"/>
                  <a:gd name="T11" fmla="*/ 476 h 515"/>
                  <a:gd name="T12" fmla="*/ 214 w 496"/>
                  <a:gd name="T13" fmla="*/ 463 h 515"/>
                  <a:gd name="T14" fmla="*/ 210 w 496"/>
                  <a:gd name="T15" fmla="*/ 446 h 515"/>
                  <a:gd name="T16" fmla="*/ 197 w 496"/>
                  <a:gd name="T17" fmla="*/ 453 h 515"/>
                  <a:gd name="T18" fmla="*/ 182 w 496"/>
                  <a:gd name="T19" fmla="*/ 465 h 515"/>
                  <a:gd name="T20" fmla="*/ 163 w 496"/>
                  <a:gd name="T21" fmla="*/ 465 h 515"/>
                  <a:gd name="T22" fmla="*/ 156 w 496"/>
                  <a:gd name="T23" fmla="*/ 480 h 515"/>
                  <a:gd name="T24" fmla="*/ 141 w 496"/>
                  <a:gd name="T25" fmla="*/ 468 h 515"/>
                  <a:gd name="T26" fmla="*/ 124 w 496"/>
                  <a:gd name="T27" fmla="*/ 470 h 515"/>
                  <a:gd name="T28" fmla="*/ 116 w 496"/>
                  <a:gd name="T29" fmla="*/ 461 h 515"/>
                  <a:gd name="T30" fmla="*/ 107 w 496"/>
                  <a:gd name="T31" fmla="*/ 446 h 515"/>
                  <a:gd name="T32" fmla="*/ 62 w 496"/>
                  <a:gd name="T33" fmla="*/ 431 h 515"/>
                  <a:gd name="T34" fmla="*/ 35 w 496"/>
                  <a:gd name="T35" fmla="*/ 429 h 515"/>
                  <a:gd name="T36" fmla="*/ 28 w 496"/>
                  <a:gd name="T37" fmla="*/ 431 h 515"/>
                  <a:gd name="T38" fmla="*/ 5 w 496"/>
                  <a:gd name="T39" fmla="*/ 408 h 515"/>
                  <a:gd name="T40" fmla="*/ 17 w 496"/>
                  <a:gd name="T41" fmla="*/ 382 h 515"/>
                  <a:gd name="T42" fmla="*/ 39 w 496"/>
                  <a:gd name="T43" fmla="*/ 337 h 515"/>
                  <a:gd name="T44" fmla="*/ 43 w 496"/>
                  <a:gd name="T45" fmla="*/ 293 h 515"/>
                  <a:gd name="T46" fmla="*/ 71 w 496"/>
                  <a:gd name="T47" fmla="*/ 257 h 515"/>
                  <a:gd name="T48" fmla="*/ 96 w 496"/>
                  <a:gd name="T49" fmla="*/ 209 h 515"/>
                  <a:gd name="T50" fmla="*/ 126 w 496"/>
                  <a:gd name="T51" fmla="*/ 205 h 515"/>
                  <a:gd name="T52" fmla="*/ 173 w 496"/>
                  <a:gd name="T53" fmla="*/ 212 h 515"/>
                  <a:gd name="T54" fmla="*/ 186 w 496"/>
                  <a:gd name="T55" fmla="*/ 205 h 515"/>
                  <a:gd name="T56" fmla="*/ 205 w 496"/>
                  <a:gd name="T57" fmla="*/ 195 h 515"/>
                  <a:gd name="T58" fmla="*/ 208 w 496"/>
                  <a:gd name="T59" fmla="*/ 178 h 515"/>
                  <a:gd name="T60" fmla="*/ 205 w 496"/>
                  <a:gd name="T61" fmla="*/ 152 h 515"/>
                  <a:gd name="T62" fmla="*/ 218 w 496"/>
                  <a:gd name="T63" fmla="*/ 124 h 515"/>
                  <a:gd name="T64" fmla="*/ 225 w 496"/>
                  <a:gd name="T65" fmla="*/ 101 h 515"/>
                  <a:gd name="T66" fmla="*/ 229 w 496"/>
                  <a:gd name="T67" fmla="*/ 80 h 515"/>
                  <a:gd name="T68" fmla="*/ 287 w 496"/>
                  <a:gd name="T69" fmla="*/ 64 h 515"/>
                  <a:gd name="T70" fmla="*/ 327 w 496"/>
                  <a:gd name="T71" fmla="*/ 56 h 515"/>
                  <a:gd name="T72" fmla="*/ 389 w 496"/>
                  <a:gd name="T73" fmla="*/ 35 h 515"/>
                  <a:gd name="T74" fmla="*/ 389 w 496"/>
                  <a:gd name="T75" fmla="*/ 5 h 515"/>
                  <a:gd name="T76" fmla="*/ 406 w 496"/>
                  <a:gd name="T77" fmla="*/ 39 h 515"/>
                  <a:gd name="T78" fmla="*/ 378 w 496"/>
                  <a:gd name="T79" fmla="*/ 62 h 515"/>
                  <a:gd name="T80" fmla="*/ 378 w 496"/>
                  <a:gd name="T81" fmla="*/ 114 h 515"/>
                  <a:gd name="T82" fmla="*/ 395 w 496"/>
                  <a:gd name="T83" fmla="*/ 161 h 515"/>
                  <a:gd name="T84" fmla="*/ 412 w 496"/>
                  <a:gd name="T85" fmla="*/ 167 h 515"/>
                  <a:gd name="T86" fmla="*/ 423 w 496"/>
                  <a:gd name="T87" fmla="*/ 150 h 515"/>
                  <a:gd name="T88" fmla="*/ 432 w 496"/>
                  <a:gd name="T89" fmla="*/ 137 h 515"/>
                  <a:gd name="T90" fmla="*/ 436 w 496"/>
                  <a:gd name="T91" fmla="*/ 114 h 515"/>
                  <a:gd name="T92" fmla="*/ 474 w 496"/>
                  <a:gd name="T93" fmla="*/ 131 h 515"/>
                  <a:gd name="T94" fmla="*/ 481 w 496"/>
                  <a:gd name="T95" fmla="*/ 116 h 515"/>
                  <a:gd name="T96" fmla="*/ 479 w 496"/>
                  <a:gd name="T97" fmla="*/ 128 h 515"/>
                  <a:gd name="T98" fmla="*/ 460 w 496"/>
                  <a:gd name="T99" fmla="*/ 171 h 515"/>
                  <a:gd name="T100" fmla="*/ 457 w 496"/>
                  <a:gd name="T101" fmla="*/ 214 h 515"/>
                  <a:gd name="T102" fmla="*/ 438 w 496"/>
                  <a:gd name="T103" fmla="*/ 254 h 515"/>
                  <a:gd name="T104" fmla="*/ 366 w 496"/>
                  <a:gd name="T105" fmla="*/ 252 h 515"/>
                  <a:gd name="T106" fmla="*/ 349 w 496"/>
                  <a:gd name="T107" fmla="*/ 295 h 515"/>
                  <a:gd name="T108" fmla="*/ 389 w 496"/>
                  <a:gd name="T109" fmla="*/ 344 h 515"/>
                  <a:gd name="T110" fmla="*/ 417 w 496"/>
                  <a:gd name="T111" fmla="*/ 372 h 515"/>
                  <a:gd name="T112" fmla="*/ 378 w 496"/>
                  <a:gd name="T113" fmla="*/ 399 h 515"/>
                  <a:gd name="T114" fmla="*/ 351 w 496"/>
                  <a:gd name="T115" fmla="*/ 395 h 515"/>
                  <a:gd name="T116" fmla="*/ 346 w 496"/>
                  <a:gd name="T117" fmla="*/ 423 h 515"/>
                  <a:gd name="T118" fmla="*/ 321 w 496"/>
                  <a:gd name="T119" fmla="*/ 438 h 515"/>
                  <a:gd name="T120" fmla="*/ 297 w 496"/>
                  <a:gd name="T121" fmla="*/ 483 h 515"/>
                  <a:gd name="T122" fmla="*/ 282 w 496"/>
                  <a:gd name="T123" fmla="*/ 50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6" h="515">
                    <a:moveTo>
                      <a:pt x="278" y="504"/>
                    </a:moveTo>
                    <a:lnTo>
                      <a:pt x="276" y="504"/>
                    </a:lnTo>
                    <a:lnTo>
                      <a:pt x="276" y="502"/>
                    </a:lnTo>
                    <a:lnTo>
                      <a:pt x="276" y="504"/>
                    </a:lnTo>
                    <a:lnTo>
                      <a:pt x="274" y="504"/>
                    </a:lnTo>
                    <a:lnTo>
                      <a:pt x="274" y="506"/>
                    </a:lnTo>
                    <a:lnTo>
                      <a:pt x="274" y="508"/>
                    </a:lnTo>
                    <a:lnTo>
                      <a:pt x="274" y="510"/>
                    </a:lnTo>
                    <a:lnTo>
                      <a:pt x="274" y="512"/>
                    </a:lnTo>
                    <a:lnTo>
                      <a:pt x="276" y="512"/>
                    </a:lnTo>
                    <a:lnTo>
                      <a:pt x="276" y="513"/>
                    </a:lnTo>
                    <a:lnTo>
                      <a:pt x="276" y="515"/>
                    </a:lnTo>
                    <a:lnTo>
                      <a:pt x="274" y="515"/>
                    </a:lnTo>
                    <a:lnTo>
                      <a:pt x="272" y="515"/>
                    </a:lnTo>
                    <a:lnTo>
                      <a:pt x="272" y="513"/>
                    </a:lnTo>
                    <a:lnTo>
                      <a:pt x="270" y="512"/>
                    </a:lnTo>
                    <a:lnTo>
                      <a:pt x="269" y="512"/>
                    </a:lnTo>
                    <a:lnTo>
                      <a:pt x="267" y="512"/>
                    </a:lnTo>
                    <a:lnTo>
                      <a:pt x="267" y="510"/>
                    </a:lnTo>
                    <a:lnTo>
                      <a:pt x="265" y="508"/>
                    </a:lnTo>
                    <a:lnTo>
                      <a:pt x="265" y="506"/>
                    </a:lnTo>
                    <a:lnTo>
                      <a:pt x="263" y="506"/>
                    </a:lnTo>
                    <a:lnTo>
                      <a:pt x="263" y="504"/>
                    </a:lnTo>
                    <a:lnTo>
                      <a:pt x="263" y="502"/>
                    </a:lnTo>
                    <a:lnTo>
                      <a:pt x="263" y="500"/>
                    </a:lnTo>
                    <a:lnTo>
                      <a:pt x="263" y="498"/>
                    </a:lnTo>
                    <a:lnTo>
                      <a:pt x="261" y="498"/>
                    </a:lnTo>
                    <a:lnTo>
                      <a:pt x="261" y="497"/>
                    </a:lnTo>
                    <a:lnTo>
                      <a:pt x="261" y="495"/>
                    </a:lnTo>
                    <a:lnTo>
                      <a:pt x="259" y="493"/>
                    </a:lnTo>
                    <a:lnTo>
                      <a:pt x="257" y="493"/>
                    </a:lnTo>
                    <a:lnTo>
                      <a:pt x="255" y="493"/>
                    </a:lnTo>
                    <a:lnTo>
                      <a:pt x="255" y="495"/>
                    </a:lnTo>
                    <a:lnTo>
                      <a:pt x="255" y="497"/>
                    </a:lnTo>
                    <a:lnTo>
                      <a:pt x="257" y="497"/>
                    </a:lnTo>
                    <a:lnTo>
                      <a:pt x="257" y="498"/>
                    </a:lnTo>
                    <a:lnTo>
                      <a:pt x="259" y="498"/>
                    </a:lnTo>
                    <a:lnTo>
                      <a:pt x="259" y="500"/>
                    </a:lnTo>
                    <a:lnTo>
                      <a:pt x="259" y="502"/>
                    </a:lnTo>
                    <a:lnTo>
                      <a:pt x="259" y="504"/>
                    </a:lnTo>
                    <a:lnTo>
                      <a:pt x="259" y="506"/>
                    </a:lnTo>
                    <a:lnTo>
                      <a:pt x="257" y="506"/>
                    </a:lnTo>
                    <a:lnTo>
                      <a:pt x="257" y="504"/>
                    </a:lnTo>
                    <a:lnTo>
                      <a:pt x="255" y="504"/>
                    </a:lnTo>
                    <a:lnTo>
                      <a:pt x="254" y="504"/>
                    </a:lnTo>
                    <a:lnTo>
                      <a:pt x="252" y="506"/>
                    </a:lnTo>
                    <a:lnTo>
                      <a:pt x="250" y="504"/>
                    </a:lnTo>
                    <a:lnTo>
                      <a:pt x="248" y="506"/>
                    </a:lnTo>
                    <a:lnTo>
                      <a:pt x="246" y="506"/>
                    </a:lnTo>
                    <a:lnTo>
                      <a:pt x="246" y="504"/>
                    </a:lnTo>
                    <a:lnTo>
                      <a:pt x="246" y="502"/>
                    </a:lnTo>
                    <a:lnTo>
                      <a:pt x="246" y="500"/>
                    </a:lnTo>
                    <a:lnTo>
                      <a:pt x="246" y="498"/>
                    </a:lnTo>
                    <a:lnTo>
                      <a:pt x="246" y="497"/>
                    </a:lnTo>
                    <a:lnTo>
                      <a:pt x="246" y="495"/>
                    </a:lnTo>
                    <a:lnTo>
                      <a:pt x="246" y="493"/>
                    </a:lnTo>
                    <a:lnTo>
                      <a:pt x="244" y="493"/>
                    </a:lnTo>
                    <a:lnTo>
                      <a:pt x="242" y="491"/>
                    </a:lnTo>
                    <a:lnTo>
                      <a:pt x="240" y="491"/>
                    </a:lnTo>
                    <a:lnTo>
                      <a:pt x="238" y="491"/>
                    </a:lnTo>
                    <a:lnTo>
                      <a:pt x="237" y="491"/>
                    </a:lnTo>
                    <a:lnTo>
                      <a:pt x="237" y="489"/>
                    </a:lnTo>
                    <a:lnTo>
                      <a:pt x="235" y="489"/>
                    </a:lnTo>
                    <a:lnTo>
                      <a:pt x="235" y="487"/>
                    </a:lnTo>
                    <a:lnTo>
                      <a:pt x="233" y="487"/>
                    </a:lnTo>
                    <a:lnTo>
                      <a:pt x="233" y="485"/>
                    </a:lnTo>
                    <a:lnTo>
                      <a:pt x="231" y="485"/>
                    </a:lnTo>
                    <a:lnTo>
                      <a:pt x="229" y="483"/>
                    </a:lnTo>
                    <a:lnTo>
                      <a:pt x="229" y="481"/>
                    </a:lnTo>
                    <a:lnTo>
                      <a:pt x="227" y="481"/>
                    </a:lnTo>
                    <a:lnTo>
                      <a:pt x="229" y="481"/>
                    </a:lnTo>
                    <a:lnTo>
                      <a:pt x="227" y="480"/>
                    </a:lnTo>
                    <a:lnTo>
                      <a:pt x="225" y="480"/>
                    </a:lnTo>
                    <a:lnTo>
                      <a:pt x="225" y="478"/>
                    </a:lnTo>
                    <a:lnTo>
                      <a:pt x="223" y="478"/>
                    </a:lnTo>
                    <a:lnTo>
                      <a:pt x="222" y="478"/>
                    </a:lnTo>
                    <a:lnTo>
                      <a:pt x="220" y="478"/>
                    </a:lnTo>
                    <a:lnTo>
                      <a:pt x="220" y="476"/>
                    </a:lnTo>
                    <a:lnTo>
                      <a:pt x="222" y="476"/>
                    </a:lnTo>
                    <a:lnTo>
                      <a:pt x="223" y="476"/>
                    </a:lnTo>
                    <a:lnTo>
                      <a:pt x="223" y="474"/>
                    </a:lnTo>
                    <a:lnTo>
                      <a:pt x="222" y="474"/>
                    </a:lnTo>
                    <a:lnTo>
                      <a:pt x="222" y="472"/>
                    </a:lnTo>
                    <a:lnTo>
                      <a:pt x="220" y="472"/>
                    </a:lnTo>
                    <a:lnTo>
                      <a:pt x="218" y="472"/>
                    </a:lnTo>
                    <a:lnTo>
                      <a:pt x="218" y="470"/>
                    </a:lnTo>
                    <a:lnTo>
                      <a:pt x="218" y="468"/>
                    </a:lnTo>
                    <a:lnTo>
                      <a:pt x="216" y="466"/>
                    </a:lnTo>
                    <a:lnTo>
                      <a:pt x="216" y="465"/>
                    </a:lnTo>
                    <a:lnTo>
                      <a:pt x="216" y="463"/>
                    </a:lnTo>
                    <a:lnTo>
                      <a:pt x="214" y="463"/>
                    </a:lnTo>
                    <a:lnTo>
                      <a:pt x="214" y="461"/>
                    </a:lnTo>
                    <a:lnTo>
                      <a:pt x="214" y="459"/>
                    </a:lnTo>
                    <a:lnTo>
                      <a:pt x="214" y="457"/>
                    </a:lnTo>
                    <a:lnTo>
                      <a:pt x="214" y="455"/>
                    </a:lnTo>
                    <a:lnTo>
                      <a:pt x="216" y="455"/>
                    </a:lnTo>
                    <a:lnTo>
                      <a:pt x="216" y="453"/>
                    </a:lnTo>
                    <a:lnTo>
                      <a:pt x="216" y="451"/>
                    </a:lnTo>
                    <a:lnTo>
                      <a:pt x="216" y="449"/>
                    </a:lnTo>
                    <a:lnTo>
                      <a:pt x="214" y="449"/>
                    </a:lnTo>
                    <a:lnTo>
                      <a:pt x="214" y="448"/>
                    </a:lnTo>
                    <a:lnTo>
                      <a:pt x="212" y="448"/>
                    </a:lnTo>
                    <a:lnTo>
                      <a:pt x="212" y="446"/>
                    </a:lnTo>
                    <a:lnTo>
                      <a:pt x="210" y="446"/>
                    </a:lnTo>
                    <a:lnTo>
                      <a:pt x="210" y="444"/>
                    </a:lnTo>
                    <a:lnTo>
                      <a:pt x="208" y="442"/>
                    </a:lnTo>
                    <a:lnTo>
                      <a:pt x="207" y="442"/>
                    </a:lnTo>
                    <a:lnTo>
                      <a:pt x="207" y="444"/>
                    </a:lnTo>
                    <a:lnTo>
                      <a:pt x="205" y="444"/>
                    </a:lnTo>
                    <a:lnTo>
                      <a:pt x="203" y="444"/>
                    </a:lnTo>
                    <a:lnTo>
                      <a:pt x="201" y="444"/>
                    </a:lnTo>
                    <a:lnTo>
                      <a:pt x="201" y="446"/>
                    </a:lnTo>
                    <a:lnTo>
                      <a:pt x="199" y="446"/>
                    </a:lnTo>
                    <a:lnTo>
                      <a:pt x="199" y="448"/>
                    </a:lnTo>
                    <a:lnTo>
                      <a:pt x="199" y="449"/>
                    </a:lnTo>
                    <a:lnTo>
                      <a:pt x="197" y="451"/>
                    </a:lnTo>
                    <a:lnTo>
                      <a:pt x="197" y="453"/>
                    </a:lnTo>
                    <a:lnTo>
                      <a:pt x="195" y="453"/>
                    </a:lnTo>
                    <a:lnTo>
                      <a:pt x="193" y="453"/>
                    </a:lnTo>
                    <a:lnTo>
                      <a:pt x="191" y="453"/>
                    </a:lnTo>
                    <a:lnTo>
                      <a:pt x="190" y="453"/>
                    </a:lnTo>
                    <a:lnTo>
                      <a:pt x="188" y="455"/>
                    </a:lnTo>
                    <a:lnTo>
                      <a:pt x="190" y="455"/>
                    </a:lnTo>
                    <a:lnTo>
                      <a:pt x="190" y="457"/>
                    </a:lnTo>
                    <a:lnTo>
                      <a:pt x="188" y="459"/>
                    </a:lnTo>
                    <a:lnTo>
                      <a:pt x="186" y="461"/>
                    </a:lnTo>
                    <a:lnTo>
                      <a:pt x="186" y="463"/>
                    </a:lnTo>
                    <a:lnTo>
                      <a:pt x="186" y="465"/>
                    </a:lnTo>
                    <a:lnTo>
                      <a:pt x="184" y="465"/>
                    </a:lnTo>
                    <a:lnTo>
                      <a:pt x="182" y="465"/>
                    </a:lnTo>
                    <a:lnTo>
                      <a:pt x="180" y="465"/>
                    </a:lnTo>
                    <a:lnTo>
                      <a:pt x="178" y="465"/>
                    </a:lnTo>
                    <a:lnTo>
                      <a:pt x="176" y="465"/>
                    </a:lnTo>
                    <a:lnTo>
                      <a:pt x="175" y="465"/>
                    </a:lnTo>
                    <a:lnTo>
                      <a:pt x="173" y="466"/>
                    </a:lnTo>
                    <a:lnTo>
                      <a:pt x="171" y="466"/>
                    </a:lnTo>
                    <a:lnTo>
                      <a:pt x="171" y="465"/>
                    </a:lnTo>
                    <a:lnTo>
                      <a:pt x="169" y="465"/>
                    </a:lnTo>
                    <a:lnTo>
                      <a:pt x="169" y="466"/>
                    </a:lnTo>
                    <a:lnTo>
                      <a:pt x="167" y="466"/>
                    </a:lnTo>
                    <a:lnTo>
                      <a:pt x="165" y="466"/>
                    </a:lnTo>
                    <a:lnTo>
                      <a:pt x="165" y="465"/>
                    </a:lnTo>
                    <a:lnTo>
                      <a:pt x="163" y="465"/>
                    </a:lnTo>
                    <a:lnTo>
                      <a:pt x="161" y="465"/>
                    </a:lnTo>
                    <a:lnTo>
                      <a:pt x="161" y="466"/>
                    </a:lnTo>
                    <a:lnTo>
                      <a:pt x="159" y="466"/>
                    </a:lnTo>
                    <a:lnTo>
                      <a:pt x="158" y="466"/>
                    </a:lnTo>
                    <a:lnTo>
                      <a:pt x="158" y="468"/>
                    </a:lnTo>
                    <a:lnTo>
                      <a:pt x="156" y="470"/>
                    </a:lnTo>
                    <a:lnTo>
                      <a:pt x="156" y="472"/>
                    </a:lnTo>
                    <a:lnTo>
                      <a:pt x="156" y="474"/>
                    </a:lnTo>
                    <a:lnTo>
                      <a:pt x="156" y="476"/>
                    </a:lnTo>
                    <a:lnTo>
                      <a:pt x="158" y="476"/>
                    </a:lnTo>
                    <a:lnTo>
                      <a:pt x="158" y="478"/>
                    </a:lnTo>
                    <a:lnTo>
                      <a:pt x="158" y="480"/>
                    </a:lnTo>
                    <a:lnTo>
                      <a:pt x="156" y="480"/>
                    </a:lnTo>
                    <a:lnTo>
                      <a:pt x="154" y="480"/>
                    </a:lnTo>
                    <a:lnTo>
                      <a:pt x="154" y="478"/>
                    </a:lnTo>
                    <a:lnTo>
                      <a:pt x="152" y="478"/>
                    </a:lnTo>
                    <a:lnTo>
                      <a:pt x="152" y="476"/>
                    </a:lnTo>
                    <a:lnTo>
                      <a:pt x="152" y="474"/>
                    </a:lnTo>
                    <a:lnTo>
                      <a:pt x="150" y="474"/>
                    </a:lnTo>
                    <a:lnTo>
                      <a:pt x="150" y="472"/>
                    </a:lnTo>
                    <a:lnTo>
                      <a:pt x="150" y="470"/>
                    </a:lnTo>
                    <a:lnTo>
                      <a:pt x="148" y="470"/>
                    </a:lnTo>
                    <a:lnTo>
                      <a:pt x="146" y="468"/>
                    </a:lnTo>
                    <a:lnTo>
                      <a:pt x="144" y="468"/>
                    </a:lnTo>
                    <a:lnTo>
                      <a:pt x="143" y="468"/>
                    </a:lnTo>
                    <a:lnTo>
                      <a:pt x="141" y="468"/>
                    </a:lnTo>
                    <a:lnTo>
                      <a:pt x="141" y="470"/>
                    </a:lnTo>
                    <a:lnTo>
                      <a:pt x="139" y="470"/>
                    </a:lnTo>
                    <a:lnTo>
                      <a:pt x="137" y="470"/>
                    </a:lnTo>
                    <a:lnTo>
                      <a:pt x="137" y="468"/>
                    </a:lnTo>
                    <a:lnTo>
                      <a:pt x="135" y="468"/>
                    </a:lnTo>
                    <a:lnTo>
                      <a:pt x="135" y="470"/>
                    </a:lnTo>
                    <a:lnTo>
                      <a:pt x="133" y="470"/>
                    </a:lnTo>
                    <a:lnTo>
                      <a:pt x="133" y="472"/>
                    </a:lnTo>
                    <a:lnTo>
                      <a:pt x="131" y="472"/>
                    </a:lnTo>
                    <a:lnTo>
                      <a:pt x="129" y="472"/>
                    </a:lnTo>
                    <a:lnTo>
                      <a:pt x="128" y="472"/>
                    </a:lnTo>
                    <a:lnTo>
                      <a:pt x="126" y="470"/>
                    </a:lnTo>
                    <a:lnTo>
                      <a:pt x="124" y="470"/>
                    </a:lnTo>
                    <a:lnTo>
                      <a:pt x="124" y="472"/>
                    </a:lnTo>
                    <a:lnTo>
                      <a:pt x="122" y="472"/>
                    </a:lnTo>
                    <a:lnTo>
                      <a:pt x="122" y="470"/>
                    </a:lnTo>
                    <a:lnTo>
                      <a:pt x="120" y="470"/>
                    </a:lnTo>
                    <a:lnTo>
                      <a:pt x="120" y="468"/>
                    </a:lnTo>
                    <a:lnTo>
                      <a:pt x="122" y="468"/>
                    </a:lnTo>
                    <a:lnTo>
                      <a:pt x="122" y="466"/>
                    </a:lnTo>
                    <a:lnTo>
                      <a:pt x="122" y="465"/>
                    </a:lnTo>
                    <a:lnTo>
                      <a:pt x="122" y="463"/>
                    </a:lnTo>
                    <a:lnTo>
                      <a:pt x="122" y="461"/>
                    </a:lnTo>
                    <a:lnTo>
                      <a:pt x="120" y="461"/>
                    </a:lnTo>
                    <a:lnTo>
                      <a:pt x="118" y="461"/>
                    </a:lnTo>
                    <a:lnTo>
                      <a:pt x="116" y="461"/>
                    </a:lnTo>
                    <a:lnTo>
                      <a:pt x="116" y="463"/>
                    </a:lnTo>
                    <a:lnTo>
                      <a:pt x="114" y="463"/>
                    </a:lnTo>
                    <a:lnTo>
                      <a:pt x="112" y="463"/>
                    </a:lnTo>
                    <a:lnTo>
                      <a:pt x="111" y="463"/>
                    </a:lnTo>
                    <a:lnTo>
                      <a:pt x="111" y="461"/>
                    </a:lnTo>
                    <a:lnTo>
                      <a:pt x="109" y="461"/>
                    </a:lnTo>
                    <a:lnTo>
                      <a:pt x="109" y="459"/>
                    </a:lnTo>
                    <a:lnTo>
                      <a:pt x="111" y="459"/>
                    </a:lnTo>
                    <a:lnTo>
                      <a:pt x="114" y="457"/>
                    </a:lnTo>
                    <a:lnTo>
                      <a:pt x="114" y="455"/>
                    </a:lnTo>
                    <a:lnTo>
                      <a:pt x="114" y="449"/>
                    </a:lnTo>
                    <a:lnTo>
                      <a:pt x="107" y="455"/>
                    </a:lnTo>
                    <a:lnTo>
                      <a:pt x="107" y="446"/>
                    </a:lnTo>
                    <a:lnTo>
                      <a:pt x="105" y="446"/>
                    </a:lnTo>
                    <a:lnTo>
                      <a:pt x="105" y="444"/>
                    </a:lnTo>
                    <a:lnTo>
                      <a:pt x="105" y="436"/>
                    </a:lnTo>
                    <a:lnTo>
                      <a:pt x="90" y="436"/>
                    </a:lnTo>
                    <a:lnTo>
                      <a:pt x="86" y="434"/>
                    </a:lnTo>
                    <a:lnTo>
                      <a:pt x="79" y="433"/>
                    </a:lnTo>
                    <a:lnTo>
                      <a:pt x="77" y="431"/>
                    </a:lnTo>
                    <a:lnTo>
                      <a:pt x="71" y="433"/>
                    </a:lnTo>
                    <a:lnTo>
                      <a:pt x="69" y="436"/>
                    </a:lnTo>
                    <a:lnTo>
                      <a:pt x="67" y="436"/>
                    </a:lnTo>
                    <a:lnTo>
                      <a:pt x="65" y="433"/>
                    </a:lnTo>
                    <a:lnTo>
                      <a:pt x="64" y="433"/>
                    </a:lnTo>
                    <a:lnTo>
                      <a:pt x="62" y="431"/>
                    </a:lnTo>
                    <a:lnTo>
                      <a:pt x="58" y="427"/>
                    </a:lnTo>
                    <a:lnTo>
                      <a:pt x="56" y="425"/>
                    </a:lnTo>
                    <a:lnTo>
                      <a:pt x="58" y="423"/>
                    </a:lnTo>
                    <a:lnTo>
                      <a:pt x="56" y="419"/>
                    </a:lnTo>
                    <a:lnTo>
                      <a:pt x="54" y="417"/>
                    </a:lnTo>
                    <a:lnTo>
                      <a:pt x="54" y="416"/>
                    </a:lnTo>
                    <a:lnTo>
                      <a:pt x="47" y="414"/>
                    </a:lnTo>
                    <a:lnTo>
                      <a:pt x="47" y="416"/>
                    </a:lnTo>
                    <a:lnTo>
                      <a:pt x="45" y="419"/>
                    </a:lnTo>
                    <a:lnTo>
                      <a:pt x="49" y="427"/>
                    </a:lnTo>
                    <a:lnTo>
                      <a:pt x="39" y="429"/>
                    </a:lnTo>
                    <a:lnTo>
                      <a:pt x="37" y="429"/>
                    </a:lnTo>
                    <a:lnTo>
                      <a:pt x="35" y="429"/>
                    </a:lnTo>
                    <a:lnTo>
                      <a:pt x="33" y="429"/>
                    </a:lnTo>
                    <a:lnTo>
                      <a:pt x="32" y="429"/>
                    </a:lnTo>
                    <a:lnTo>
                      <a:pt x="32" y="431"/>
                    </a:lnTo>
                    <a:lnTo>
                      <a:pt x="32" y="429"/>
                    </a:lnTo>
                    <a:lnTo>
                      <a:pt x="32" y="431"/>
                    </a:lnTo>
                    <a:lnTo>
                      <a:pt x="30" y="431"/>
                    </a:lnTo>
                    <a:lnTo>
                      <a:pt x="30" y="433"/>
                    </a:lnTo>
                    <a:lnTo>
                      <a:pt x="30" y="431"/>
                    </a:lnTo>
                    <a:lnTo>
                      <a:pt x="30" y="433"/>
                    </a:lnTo>
                    <a:lnTo>
                      <a:pt x="28" y="433"/>
                    </a:lnTo>
                    <a:lnTo>
                      <a:pt x="28" y="431"/>
                    </a:lnTo>
                    <a:lnTo>
                      <a:pt x="28" y="433"/>
                    </a:lnTo>
                    <a:lnTo>
                      <a:pt x="28" y="431"/>
                    </a:lnTo>
                    <a:lnTo>
                      <a:pt x="28" y="433"/>
                    </a:lnTo>
                    <a:lnTo>
                      <a:pt x="26" y="433"/>
                    </a:lnTo>
                    <a:lnTo>
                      <a:pt x="26" y="431"/>
                    </a:lnTo>
                    <a:lnTo>
                      <a:pt x="26" y="433"/>
                    </a:lnTo>
                    <a:lnTo>
                      <a:pt x="24" y="433"/>
                    </a:lnTo>
                    <a:lnTo>
                      <a:pt x="22" y="433"/>
                    </a:lnTo>
                    <a:lnTo>
                      <a:pt x="20" y="429"/>
                    </a:lnTo>
                    <a:lnTo>
                      <a:pt x="20" y="423"/>
                    </a:lnTo>
                    <a:lnTo>
                      <a:pt x="20" y="421"/>
                    </a:lnTo>
                    <a:lnTo>
                      <a:pt x="18" y="414"/>
                    </a:lnTo>
                    <a:lnTo>
                      <a:pt x="7" y="416"/>
                    </a:lnTo>
                    <a:lnTo>
                      <a:pt x="7" y="412"/>
                    </a:lnTo>
                    <a:lnTo>
                      <a:pt x="5" y="408"/>
                    </a:lnTo>
                    <a:lnTo>
                      <a:pt x="3" y="408"/>
                    </a:lnTo>
                    <a:lnTo>
                      <a:pt x="1" y="401"/>
                    </a:lnTo>
                    <a:lnTo>
                      <a:pt x="0" y="401"/>
                    </a:lnTo>
                    <a:lnTo>
                      <a:pt x="5" y="401"/>
                    </a:lnTo>
                    <a:lnTo>
                      <a:pt x="9" y="401"/>
                    </a:lnTo>
                    <a:lnTo>
                      <a:pt x="7" y="401"/>
                    </a:lnTo>
                    <a:lnTo>
                      <a:pt x="11" y="399"/>
                    </a:lnTo>
                    <a:lnTo>
                      <a:pt x="13" y="399"/>
                    </a:lnTo>
                    <a:lnTo>
                      <a:pt x="15" y="399"/>
                    </a:lnTo>
                    <a:lnTo>
                      <a:pt x="18" y="395"/>
                    </a:lnTo>
                    <a:lnTo>
                      <a:pt x="18" y="391"/>
                    </a:lnTo>
                    <a:lnTo>
                      <a:pt x="18" y="382"/>
                    </a:lnTo>
                    <a:lnTo>
                      <a:pt x="17" y="382"/>
                    </a:lnTo>
                    <a:lnTo>
                      <a:pt x="17" y="380"/>
                    </a:lnTo>
                    <a:lnTo>
                      <a:pt x="18" y="380"/>
                    </a:lnTo>
                    <a:lnTo>
                      <a:pt x="18" y="378"/>
                    </a:lnTo>
                    <a:lnTo>
                      <a:pt x="15" y="372"/>
                    </a:lnTo>
                    <a:lnTo>
                      <a:pt x="9" y="359"/>
                    </a:lnTo>
                    <a:lnTo>
                      <a:pt x="13" y="355"/>
                    </a:lnTo>
                    <a:lnTo>
                      <a:pt x="18" y="348"/>
                    </a:lnTo>
                    <a:lnTo>
                      <a:pt x="20" y="348"/>
                    </a:lnTo>
                    <a:lnTo>
                      <a:pt x="26" y="344"/>
                    </a:lnTo>
                    <a:lnTo>
                      <a:pt x="30" y="340"/>
                    </a:lnTo>
                    <a:lnTo>
                      <a:pt x="32" y="340"/>
                    </a:lnTo>
                    <a:lnTo>
                      <a:pt x="37" y="338"/>
                    </a:lnTo>
                    <a:lnTo>
                      <a:pt x="39" y="337"/>
                    </a:lnTo>
                    <a:lnTo>
                      <a:pt x="41" y="335"/>
                    </a:lnTo>
                    <a:lnTo>
                      <a:pt x="45" y="331"/>
                    </a:lnTo>
                    <a:lnTo>
                      <a:pt x="43" y="329"/>
                    </a:lnTo>
                    <a:lnTo>
                      <a:pt x="43" y="325"/>
                    </a:lnTo>
                    <a:lnTo>
                      <a:pt x="41" y="323"/>
                    </a:lnTo>
                    <a:lnTo>
                      <a:pt x="41" y="320"/>
                    </a:lnTo>
                    <a:lnTo>
                      <a:pt x="39" y="318"/>
                    </a:lnTo>
                    <a:lnTo>
                      <a:pt x="39" y="316"/>
                    </a:lnTo>
                    <a:lnTo>
                      <a:pt x="37" y="308"/>
                    </a:lnTo>
                    <a:lnTo>
                      <a:pt x="35" y="293"/>
                    </a:lnTo>
                    <a:lnTo>
                      <a:pt x="37" y="293"/>
                    </a:lnTo>
                    <a:lnTo>
                      <a:pt x="39" y="293"/>
                    </a:lnTo>
                    <a:lnTo>
                      <a:pt x="43" y="293"/>
                    </a:lnTo>
                    <a:lnTo>
                      <a:pt x="45" y="293"/>
                    </a:lnTo>
                    <a:lnTo>
                      <a:pt x="47" y="295"/>
                    </a:lnTo>
                    <a:lnTo>
                      <a:pt x="52" y="295"/>
                    </a:lnTo>
                    <a:lnTo>
                      <a:pt x="52" y="293"/>
                    </a:lnTo>
                    <a:lnTo>
                      <a:pt x="52" y="284"/>
                    </a:lnTo>
                    <a:lnTo>
                      <a:pt x="67" y="286"/>
                    </a:lnTo>
                    <a:lnTo>
                      <a:pt x="67" y="280"/>
                    </a:lnTo>
                    <a:lnTo>
                      <a:pt x="67" y="276"/>
                    </a:lnTo>
                    <a:lnTo>
                      <a:pt x="69" y="276"/>
                    </a:lnTo>
                    <a:lnTo>
                      <a:pt x="69" y="273"/>
                    </a:lnTo>
                    <a:lnTo>
                      <a:pt x="71" y="267"/>
                    </a:lnTo>
                    <a:lnTo>
                      <a:pt x="71" y="259"/>
                    </a:lnTo>
                    <a:lnTo>
                      <a:pt x="71" y="257"/>
                    </a:lnTo>
                    <a:lnTo>
                      <a:pt x="73" y="256"/>
                    </a:lnTo>
                    <a:lnTo>
                      <a:pt x="75" y="256"/>
                    </a:lnTo>
                    <a:lnTo>
                      <a:pt x="77" y="252"/>
                    </a:lnTo>
                    <a:lnTo>
                      <a:pt x="77" y="246"/>
                    </a:lnTo>
                    <a:lnTo>
                      <a:pt x="77" y="229"/>
                    </a:lnTo>
                    <a:lnTo>
                      <a:pt x="79" y="229"/>
                    </a:lnTo>
                    <a:lnTo>
                      <a:pt x="77" y="220"/>
                    </a:lnTo>
                    <a:lnTo>
                      <a:pt x="80" y="220"/>
                    </a:lnTo>
                    <a:lnTo>
                      <a:pt x="79" y="214"/>
                    </a:lnTo>
                    <a:lnTo>
                      <a:pt x="84" y="212"/>
                    </a:lnTo>
                    <a:lnTo>
                      <a:pt x="88" y="212"/>
                    </a:lnTo>
                    <a:lnTo>
                      <a:pt x="92" y="212"/>
                    </a:lnTo>
                    <a:lnTo>
                      <a:pt x="96" y="209"/>
                    </a:lnTo>
                    <a:lnTo>
                      <a:pt x="99" y="210"/>
                    </a:lnTo>
                    <a:lnTo>
                      <a:pt x="99" y="209"/>
                    </a:lnTo>
                    <a:lnTo>
                      <a:pt x="103" y="207"/>
                    </a:lnTo>
                    <a:lnTo>
                      <a:pt x="107" y="205"/>
                    </a:lnTo>
                    <a:lnTo>
                      <a:pt x="112" y="201"/>
                    </a:lnTo>
                    <a:lnTo>
                      <a:pt x="112" y="199"/>
                    </a:lnTo>
                    <a:lnTo>
                      <a:pt x="114" y="197"/>
                    </a:lnTo>
                    <a:lnTo>
                      <a:pt x="124" y="193"/>
                    </a:lnTo>
                    <a:lnTo>
                      <a:pt x="126" y="199"/>
                    </a:lnTo>
                    <a:lnTo>
                      <a:pt x="124" y="197"/>
                    </a:lnTo>
                    <a:lnTo>
                      <a:pt x="124" y="199"/>
                    </a:lnTo>
                    <a:lnTo>
                      <a:pt x="126" y="201"/>
                    </a:lnTo>
                    <a:lnTo>
                      <a:pt x="126" y="205"/>
                    </a:lnTo>
                    <a:lnTo>
                      <a:pt x="126" y="207"/>
                    </a:lnTo>
                    <a:lnTo>
                      <a:pt x="128" y="207"/>
                    </a:lnTo>
                    <a:lnTo>
                      <a:pt x="129" y="207"/>
                    </a:lnTo>
                    <a:lnTo>
                      <a:pt x="131" y="210"/>
                    </a:lnTo>
                    <a:lnTo>
                      <a:pt x="135" y="216"/>
                    </a:lnTo>
                    <a:lnTo>
                      <a:pt x="141" y="214"/>
                    </a:lnTo>
                    <a:lnTo>
                      <a:pt x="146" y="210"/>
                    </a:lnTo>
                    <a:lnTo>
                      <a:pt x="148" y="210"/>
                    </a:lnTo>
                    <a:lnTo>
                      <a:pt x="150" y="209"/>
                    </a:lnTo>
                    <a:lnTo>
                      <a:pt x="150" y="212"/>
                    </a:lnTo>
                    <a:lnTo>
                      <a:pt x="150" y="222"/>
                    </a:lnTo>
                    <a:lnTo>
                      <a:pt x="161" y="216"/>
                    </a:lnTo>
                    <a:lnTo>
                      <a:pt x="173" y="212"/>
                    </a:lnTo>
                    <a:lnTo>
                      <a:pt x="176" y="209"/>
                    </a:lnTo>
                    <a:lnTo>
                      <a:pt x="178" y="209"/>
                    </a:lnTo>
                    <a:lnTo>
                      <a:pt x="176" y="207"/>
                    </a:lnTo>
                    <a:lnTo>
                      <a:pt x="178" y="203"/>
                    </a:lnTo>
                    <a:lnTo>
                      <a:pt x="178" y="201"/>
                    </a:lnTo>
                    <a:lnTo>
                      <a:pt x="180" y="199"/>
                    </a:lnTo>
                    <a:lnTo>
                      <a:pt x="182" y="199"/>
                    </a:lnTo>
                    <a:lnTo>
                      <a:pt x="182" y="201"/>
                    </a:lnTo>
                    <a:lnTo>
                      <a:pt x="184" y="201"/>
                    </a:lnTo>
                    <a:lnTo>
                      <a:pt x="186" y="201"/>
                    </a:lnTo>
                    <a:lnTo>
                      <a:pt x="188" y="201"/>
                    </a:lnTo>
                    <a:lnTo>
                      <a:pt x="188" y="203"/>
                    </a:lnTo>
                    <a:lnTo>
                      <a:pt x="186" y="205"/>
                    </a:lnTo>
                    <a:lnTo>
                      <a:pt x="186" y="207"/>
                    </a:lnTo>
                    <a:lnTo>
                      <a:pt x="186" y="209"/>
                    </a:lnTo>
                    <a:lnTo>
                      <a:pt x="186" y="210"/>
                    </a:lnTo>
                    <a:lnTo>
                      <a:pt x="186" y="212"/>
                    </a:lnTo>
                    <a:lnTo>
                      <a:pt x="188" y="212"/>
                    </a:lnTo>
                    <a:lnTo>
                      <a:pt x="190" y="212"/>
                    </a:lnTo>
                    <a:lnTo>
                      <a:pt x="190" y="207"/>
                    </a:lnTo>
                    <a:lnTo>
                      <a:pt x="197" y="205"/>
                    </a:lnTo>
                    <a:lnTo>
                      <a:pt x="201" y="205"/>
                    </a:lnTo>
                    <a:lnTo>
                      <a:pt x="197" y="201"/>
                    </a:lnTo>
                    <a:lnTo>
                      <a:pt x="201" y="201"/>
                    </a:lnTo>
                    <a:lnTo>
                      <a:pt x="205" y="199"/>
                    </a:lnTo>
                    <a:lnTo>
                      <a:pt x="205" y="195"/>
                    </a:lnTo>
                    <a:lnTo>
                      <a:pt x="207" y="193"/>
                    </a:lnTo>
                    <a:lnTo>
                      <a:pt x="207" y="192"/>
                    </a:lnTo>
                    <a:lnTo>
                      <a:pt x="205" y="190"/>
                    </a:lnTo>
                    <a:lnTo>
                      <a:pt x="205" y="192"/>
                    </a:lnTo>
                    <a:lnTo>
                      <a:pt x="205" y="190"/>
                    </a:lnTo>
                    <a:lnTo>
                      <a:pt x="203" y="186"/>
                    </a:lnTo>
                    <a:lnTo>
                      <a:pt x="203" y="184"/>
                    </a:lnTo>
                    <a:lnTo>
                      <a:pt x="203" y="182"/>
                    </a:lnTo>
                    <a:lnTo>
                      <a:pt x="205" y="182"/>
                    </a:lnTo>
                    <a:lnTo>
                      <a:pt x="207" y="182"/>
                    </a:lnTo>
                    <a:lnTo>
                      <a:pt x="208" y="182"/>
                    </a:lnTo>
                    <a:lnTo>
                      <a:pt x="210" y="180"/>
                    </a:lnTo>
                    <a:lnTo>
                      <a:pt x="208" y="178"/>
                    </a:lnTo>
                    <a:lnTo>
                      <a:pt x="208" y="177"/>
                    </a:lnTo>
                    <a:lnTo>
                      <a:pt x="207" y="173"/>
                    </a:lnTo>
                    <a:lnTo>
                      <a:pt x="205" y="169"/>
                    </a:lnTo>
                    <a:lnTo>
                      <a:pt x="203" y="165"/>
                    </a:lnTo>
                    <a:lnTo>
                      <a:pt x="205" y="165"/>
                    </a:lnTo>
                    <a:lnTo>
                      <a:pt x="205" y="163"/>
                    </a:lnTo>
                    <a:lnTo>
                      <a:pt x="205" y="160"/>
                    </a:lnTo>
                    <a:lnTo>
                      <a:pt x="205" y="158"/>
                    </a:lnTo>
                    <a:lnTo>
                      <a:pt x="203" y="158"/>
                    </a:lnTo>
                    <a:lnTo>
                      <a:pt x="203" y="156"/>
                    </a:lnTo>
                    <a:lnTo>
                      <a:pt x="203" y="154"/>
                    </a:lnTo>
                    <a:lnTo>
                      <a:pt x="203" y="152"/>
                    </a:lnTo>
                    <a:lnTo>
                      <a:pt x="205" y="152"/>
                    </a:lnTo>
                    <a:lnTo>
                      <a:pt x="205" y="150"/>
                    </a:lnTo>
                    <a:lnTo>
                      <a:pt x="207" y="150"/>
                    </a:lnTo>
                    <a:lnTo>
                      <a:pt x="207" y="148"/>
                    </a:lnTo>
                    <a:lnTo>
                      <a:pt x="210" y="146"/>
                    </a:lnTo>
                    <a:lnTo>
                      <a:pt x="210" y="143"/>
                    </a:lnTo>
                    <a:lnTo>
                      <a:pt x="208" y="139"/>
                    </a:lnTo>
                    <a:lnTo>
                      <a:pt x="208" y="137"/>
                    </a:lnTo>
                    <a:lnTo>
                      <a:pt x="205" y="135"/>
                    </a:lnTo>
                    <a:lnTo>
                      <a:pt x="207" y="131"/>
                    </a:lnTo>
                    <a:lnTo>
                      <a:pt x="208" y="129"/>
                    </a:lnTo>
                    <a:lnTo>
                      <a:pt x="210" y="122"/>
                    </a:lnTo>
                    <a:lnTo>
                      <a:pt x="214" y="124"/>
                    </a:lnTo>
                    <a:lnTo>
                      <a:pt x="218" y="124"/>
                    </a:lnTo>
                    <a:lnTo>
                      <a:pt x="223" y="126"/>
                    </a:lnTo>
                    <a:lnTo>
                      <a:pt x="227" y="126"/>
                    </a:lnTo>
                    <a:lnTo>
                      <a:pt x="229" y="126"/>
                    </a:lnTo>
                    <a:lnTo>
                      <a:pt x="229" y="124"/>
                    </a:lnTo>
                    <a:lnTo>
                      <a:pt x="229" y="120"/>
                    </a:lnTo>
                    <a:lnTo>
                      <a:pt x="223" y="118"/>
                    </a:lnTo>
                    <a:lnTo>
                      <a:pt x="222" y="118"/>
                    </a:lnTo>
                    <a:lnTo>
                      <a:pt x="214" y="114"/>
                    </a:lnTo>
                    <a:lnTo>
                      <a:pt x="218" y="107"/>
                    </a:lnTo>
                    <a:lnTo>
                      <a:pt x="218" y="105"/>
                    </a:lnTo>
                    <a:lnTo>
                      <a:pt x="218" y="103"/>
                    </a:lnTo>
                    <a:lnTo>
                      <a:pt x="220" y="103"/>
                    </a:lnTo>
                    <a:lnTo>
                      <a:pt x="225" y="101"/>
                    </a:lnTo>
                    <a:lnTo>
                      <a:pt x="223" y="99"/>
                    </a:lnTo>
                    <a:lnTo>
                      <a:pt x="218" y="94"/>
                    </a:lnTo>
                    <a:lnTo>
                      <a:pt x="216" y="90"/>
                    </a:lnTo>
                    <a:lnTo>
                      <a:pt x="214" y="88"/>
                    </a:lnTo>
                    <a:lnTo>
                      <a:pt x="208" y="92"/>
                    </a:lnTo>
                    <a:lnTo>
                      <a:pt x="205" y="88"/>
                    </a:lnTo>
                    <a:lnTo>
                      <a:pt x="201" y="82"/>
                    </a:lnTo>
                    <a:lnTo>
                      <a:pt x="208" y="71"/>
                    </a:lnTo>
                    <a:lnTo>
                      <a:pt x="210" y="71"/>
                    </a:lnTo>
                    <a:lnTo>
                      <a:pt x="216" y="69"/>
                    </a:lnTo>
                    <a:lnTo>
                      <a:pt x="218" y="73"/>
                    </a:lnTo>
                    <a:lnTo>
                      <a:pt x="227" y="82"/>
                    </a:lnTo>
                    <a:lnTo>
                      <a:pt x="229" y="80"/>
                    </a:lnTo>
                    <a:lnTo>
                      <a:pt x="233" y="80"/>
                    </a:lnTo>
                    <a:lnTo>
                      <a:pt x="237" y="77"/>
                    </a:lnTo>
                    <a:lnTo>
                      <a:pt x="244" y="71"/>
                    </a:lnTo>
                    <a:lnTo>
                      <a:pt x="244" y="75"/>
                    </a:lnTo>
                    <a:lnTo>
                      <a:pt x="248" y="75"/>
                    </a:lnTo>
                    <a:lnTo>
                      <a:pt x="261" y="71"/>
                    </a:lnTo>
                    <a:lnTo>
                      <a:pt x="261" y="62"/>
                    </a:lnTo>
                    <a:lnTo>
                      <a:pt x="267" y="60"/>
                    </a:lnTo>
                    <a:lnTo>
                      <a:pt x="272" y="65"/>
                    </a:lnTo>
                    <a:lnTo>
                      <a:pt x="274" y="67"/>
                    </a:lnTo>
                    <a:lnTo>
                      <a:pt x="284" y="65"/>
                    </a:lnTo>
                    <a:lnTo>
                      <a:pt x="287" y="65"/>
                    </a:lnTo>
                    <a:lnTo>
                      <a:pt x="287" y="64"/>
                    </a:lnTo>
                    <a:lnTo>
                      <a:pt x="289" y="64"/>
                    </a:lnTo>
                    <a:lnTo>
                      <a:pt x="289" y="65"/>
                    </a:lnTo>
                    <a:lnTo>
                      <a:pt x="291" y="64"/>
                    </a:lnTo>
                    <a:lnTo>
                      <a:pt x="291" y="56"/>
                    </a:lnTo>
                    <a:lnTo>
                      <a:pt x="297" y="54"/>
                    </a:lnTo>
                    <a:lnTo>
                      <a:pt x="299" y="54"/>
                    </a:lnTo>
                    <a:lnTo>
                      <a:pt x="301" y="54"/>
                    </a:lnTo>
                    <a:lnTo>
                      <a:pt x="312" y="50"/>
                    </a:lnTo>
                    <a:lnTo>
                      <a:pt x="312" y="54"/>
                    </a:lnTo>
                    <a:lnTo>
                      <a:pt x="314" y="58"/>
                    </a:lnTo>
                    <a:lnTo>
                      <a:pt x="314" y="60"/>
                    </a:lnTo>
                    <a:lnTo>
                      <a:pt x="327" y="60"/>
                    </a:lnTo>
                    <a:lnTo>
                      <a:pt x="327" y="56"/>
                    </a:lnTo>
                    <a:lnTo>
                      <a:pt x="334" y="56"/>
                    </a:lnTo>
                    <a:lnTo>
                      <a:pt x="344" y="56"/>
                    </a:lnTo>
                    <a:lnTo>
                      <a:pt x="344" y="43"/>
                    </a:lnTo>
                    <a:lnTo>
                      <a:pt x="348" y="41"/>
                    </a:lnTo>
                    <a:lnTo>
                      <a:pt x="359" y="39"/>
                    </a:lnTo>
                    <a:lnTo>
                      <a:pt x="368" y="39"/>
                    </a:lnTo>
                    <a:lnTo>
                      <a:pt x="370" y="39"/>
                    </a:lnTo>
                    <a:lnTo>
                      <a:pt x="378" y="47"/>
                    </a:lnTo>
                    <a:lnTo>
                      <a:pt x="383" y="35"/>
                    </a:lnTo>
                    <a:lnTo>
                      <a:pt x="385" y="39"/>
                    </a:lnTo>
                    <a:lnTo>
                      <a:pt x="387" y="37"/>
                    </a:lnTo>
                    <a:lnTo>
                      <a:pt x="387" y="35"/>
                    </a:lnTo>
                    <a:lnTo>
                      <a:pt x="389" y="35"/>
                    </a:lnTo>
                    <a:lnTo>
                      <a:pt x="389" y="33"/>
                    </a:lnTo>
                    <a:lnTo>
                      <a:pt x="389" y="32"/>
                    </a:lnTo>
                    <a:lnTo>
                      <a:pt x="389" y="30"/>
                    </a:lnTo>
                    <a:lnTo>
                      <a:pt x="389" y="28"/>
                    </a:lnTo>
                    <a:lnTo>
                      <a:pt x="383" y="28"/>
                    </a:lnTo>
                    <a:lnTo>
                      <a:pt x="380" y="20"/>
                    </a:lnTo>
                    <a:lnTo>
                      <a:pt x="378" y="20"/>
                    </a:lnTo>
                    <a:lnTo>
                      <a:pt x="380" y="20"/>
                    </a:lnTo>
                    <a:lnTo>
                      <a:pt x="372" y="11"/>
                    </a:lnTo>
                    <a:lnTo>
                      <a:pt x="378" y="9"/>
                    </a:lnTo>
                    <a:lnTo>
                      <a:pt x="381" y="9"/>
                    </a:lnTo>
                    <a:lnTo>
                      <a:pt x="387" y="7"/>
                    </a:lnTo>
                    <a:lnTo>
                      <a:pt x="389" y="5"/>
                    </a:lnTo>
                    <a:lnTo>
                      <a:pt x="391" y="3"/>
                    </a:lnTo>
                    <a:lnTo>
                      <a:pt x="395" y="1"/>
                    </a:lnTo>
                    <a:lnTo>
                      <a:pt x="396" y="1"/>
                    </a:lnTo>
                    <a:lnTo>
                      <a:pt x="406" y="0"/>
                    </a:lnTo>
                    <a:lnTo>
                      <a:pt x="408" y="3"/>
                    </a:lnTo>
                    <a:lnTo>
                      <a:pt x="410" y="9"/>
                    </a:lnTo>
                    <a:lnTo>
                      <a:pt x="410" y="11"/>
                    </a:lnTo>
                    <a:lnTo>
                      <a:pt x="413" y="18"/>
                    </a:lnTo>
                    <a:lnTo>
                      <a:pt x="413" y="20"/>
                    </a:lnTo>
                    <a:lnTo>
                      <a:pt x="415" y="33"/>
                    </a:lnTo>
                    <a:lnTo>
                      <a:pt x="412" y="30"/>
                    </a:lnTo>
                    <a:lnTo>
                      <a:pt x="408" y="37"/>
                    </a:lnTo>
                    <a:lnTo>
                      <a:pt x="406" y="39"/>
                    </a:lnTo>
                    <a:lnTo>
                      <a:pt x="404" y="43"/>
                    </a:lnTo>
                    <a:lnTo>
                      <a:pt x="402" y="45"/>
                    </a:lnTo>
                    <a:lnTo>
                      <a:pt x="404" y="50"/>
                    </a:lnTo>
                    <a:lnTo>
                      <a:pt x="402" y="48"/>
                    </a:lnTo>
                    <a:lnTo>
                      <a:pt x="400" y="48"/>
                    </a:lnTo>
                    <a:lnTo>
                      <a:pt x="398" y="48"/>
                    </a:lnTo>
                    <a:lnTo>
                      <a:pt x="393" y="50"/>
                    </a:lnTo>
                    <a:lnTo>
                      <a:pt x="391" y="52"/>
                    </a:lnTo>
                    <a:lnTo>
                      <a:pt x="389" y="54"/>
                    </a:lnTo>
                    <a:lnTo>
                      <a:pt x="387" y="56"/>
                    </a:lnTo>
                    <a:lnTo>
                      <a:pt x="383" y="58"/>
                    </a:lnTo>
                    <a:lnTo>
                      <a:pt x="380" y="60"/>
                    </a:lnTo>
                    <a:lnTo>
                      <a:pt x="378" y="62"/>
                    </a:lnTo>
                    <a:lnTo>
                      <a:pt x="374" y="62"/>
                    </a:lnTo>
                    <a:lnTo>
                      <a:pt x="380" y="79"/>
                    </a:lnTo>
                    <a:lnTo>
                      <a:pt x="374" y="84"/>
                    </a:lnTo>
                    <a:lnTo>
                      <a:pt x="376" y="92"/>
                    </a:lnTo>
                    <a:lnTo>
                      <a:pt x="376" y="94"/>
                    </a:lnTo>
                    <a:lnTo>
                      <a:pt x="376" y="96"/>
                    </a:lnTo>
                    <a:lnTo>
                      <a:pt x="376" y="97"/>
                    </a:lnTo>
                    <a:lnTo>
                      <a:pt x="374" y="99"/>
                    </a:lnTo>
                    <a:lnTo>
                      <a:pt x="372" y="101"/>
                    </a:lnTo>
                    <a:lnTo>
                      <a:pt x="374" y="101"/>
                    </a:lnTo>
                    <a:lnTo>
                      <a:pt x="376" y="105"/>
                    </a:lnTo>
                    <a:lnTo>
                      <a:pt x="378" y="107"/>
                    </a:lnTo>
                    <a:lnTo>
                      <a:pt x="378" y="114"/>
                    </a:lnTo>
                    <a:lnTo>
                      <a:pt x="376" y="116"/>
                    </a:lnTo>
                    <a:lnTo>
                      <a:pt x="376" y="118"/>
                    </a:lnTo>
                    <a:lnTo>
                      <a:pt x="378" y="126"/>
                    </a:lnTo>
                    <a:lnTo>
                      <a:pt x="380" y="133"/>
                    </a:lnTo>
                    <a:lnTo>
                      <a:pt x="381" y="133"/>
                    </a:lnTo>
                    <a:lnTo>
                      <a:pt x="380" y="135"/>
                    </a:lnTo>
                    <a:lnTo>
                      <a:pt x="381" y="137"/>
                    </a:lnTo>
                    <a:lnTo>
                      <a:pt x="383" y="145"/>
                    </a:lnTo>
                    <a:lnTo>
                      <a:pt x="385" y="146"/>
                    </a:lnTo>
                    <a:lnTo>
                      <a:pt x="387" y="154"/>
                    </a:lnTo>
                    <a:lnTo>
                      <a:pt x="387" y="156"/>
                    </a:lnTo>
                    <a:lnTo>
                      <a:pt x="391" y="160"/>
                    </a:lnTo>
                    <a:lnTo>
                      <a:pt x="395" y="161"/>
                    </a:lnTo>
                    <a:lnTo>
                      <a:pt x="396" y="161"/>
                    </a:lnTo>
                    <a:lnTo>
                      <a:pt x="398" y="156"/>
                    </a:lnTo>
                    <a:lnTo>
                      <a:pt x="400" y="152"/>
                    </a:lnTo>
                    <a:lnTo>
                      <a:pt x="400" y="150"/>
                    </a:lnTo>
                    <a:lnTo>
                      <a:pt x="400" y="146"/>
                    </a:lnTo>
                    <a:lnTo>
                      <a:pt x="404" y="148"/>
                    </a:lnTo>
                    <a:lnTo>
                      <a:pt x="412" y="152"/>
                    </a:lnTo>
                    <a:lnTo>
                      <a:pt x="410" y="156"/>
                    </a:lnTo>
                    <a:lnTo>
                      <a:pt x="410" y="160"/>
                    </a:lnTo>
                    <a:lnTo>
                      <a:pt x="408" y="165"/>
                    </a:lnTo>
                    <a:lnTo>
                      <a:pt x="410" y="165"/>
                    </a:lnTo>
                    <a:lnTo>
                      <a:pt x="410" y="167"/>
                    </a:lnTo>
                    <a:lnTo>
                      <a:pt x="412" y="167"/>
                    </a:lnTo>
                    <a:lnTo>
                      <a:pt x="412" y="165"/>
                    </a:lnTo>
                    <a:lnTo>
                      <a:pt x="415" y="167"/>
                    </a:lnTo>
                    <a:lnTo>
                      <a:pt x="417" y="167"/>
                    </a:lnTo>
                    <a:lnTo>
                      <a:pt x="423" y="163"/>
                    </a:lnTo>
                    <a:lnTo>
                      <a:pt x="425" y="165"/>
                    </a:lnTo>
                    <a:lnTo>
                      <a:pt x="427" y="163"/>
                    </a:lnTo>
                    <a:lnTo>
                      <a:pt x="428" y="163"/>
                    </a:lnTo>
                    <a:lnTo>
                      <a:pt x="430" y="161"/>
                    </a:lnTo>
                    <a:lnTo>
                      <a:pt x="432" y="161"/>
                    </a:lnTo>
                    <a:lnTo>
                      <a:pt x="427" y="154"/>
                    </a:lnTo>
                    <a:lnTo>
                      <a:pt x="423" y="154"/>
                    </a:lnTo>
                    <a:lnTo>
                      <a:pt x="423" y="152"/>
                    </a:lnTo>
                    <a:lnTo>
                      <a:pt x="423" y="150"/>
                    </a:lnTo>
                    <a:lnTo>
                      <a:pt x="425" y="150"/>
                    </a:lnTo>
                    <a:lnTo>
                      <a:pt x="428" y="148"/>
                    </a:lnTo>
                    <a:lnTo>
                      <a:pt x="428" y="150"/>
                    </a:lnTo>
                    <a:lnTo>
                      <a:pt x="430" y="154"/>
                    </a:lnTo>
                    <a:lnTo>
                      <a:pt x="432" y="152"/>
                    </a:lnTo>
                    <a:lnTo>
                      <a:pt x="438" y="154"/>
                    </a:lnTo>
                    <a:lnTo>
                      <a:pt x="438" y="150"/>
                    </a:lnTo>
                    <a:lnTo>
                      <a:pt x="438" y="148"/>
                    </a:lnTo>
                    <a:lnTo>
                      <a:pt x="436" y="148"/>
                    </a:lnTo>
                    <a:lnTo>
                      <a:pt x="434" y="148"/>
                    </a:lnTo>
                    <a:lnTo>
                      <a:pt x="434" y="146"/>
                    </a:lnTo>
                    <a:lnTo>
                      <a:pt x="434" y="143"/>
                    </a:lnTo>
                    <a:lnTo>
                      <a:pt x="432" y="137"/>
                    </a:lnTo>
                    <a:lnTo>
                      <a:pt x="432" y="133"/>
                    </a:lnTo>
                    <a:lnTo>
                      <a:pt x="430" y="128"/>
                    </a:lnTo>
                    <a:lnTo>
                      <a:pt x="428" y="129"/>
                    </a:lnTo>
                    <a:lnTo>
                      <a:pt x="427" y="129"/>
                    </a:lnTo>
                    <a:lnTo>
                      <a:pt x="423" y="129"/>
                    </a:lnTo>
                    <a:lnTo>
                      <a:pt x="421" y="126"/>
                    </a:lnTo>
                    <a:lnTo>
                      <a:pt x="419" y="122"/>
                    </a:lnTo>
                    <a:lnTo>
                      <a:pt x="421" y="120"/>
                    </a:lnTo>
                    <a:lnTo>
                      <a:pt x="423" y="118"/>
                    </a:lnTo>
                    <a:lnTo>
                      <a:pt x="425" y="116"/>
                    </a:lnTo>
                    <a:lnTo>
                      <a:pt x="427" y="114"/>
                    </a:lnTo>
                    <a:lnTo>
                      <a:pt x="434" y="111"/>
                    </a:lnTo>
                    <a:lnTo>
                      <a:pt x="436" y="114"/>
                    </a:lnTo>
                    <a:lnTo>
                      <a:pt x="438" y="116"/>
                    </a:lnTo>
                    <a:lnTo>
                      <a:pt x="440" y="116"/>
                    </a:lnTo>
                    <a:lnTo>
                      <a:pt x="438" y="118"/>
                    </a:lnTo>
                    <a:lnTo>
                      <a:pt x="434" y="129"/>
                    </a:lnTo>
                    <a:lnTo>
                      <a:pt x="447" y="116"/>
                    </a:lnTo>
                    <a:lnTo>
                      <a:pt x="449" y="126"/>
                    </a:lnTo>
                    <a:lnTo>
                      <a:pt x="451" y="129"/>
                    </a:lnTo>
                    <a:lnTo>
                      <a:pt x="453" y="133"/>
                    </a:lnTo>
                    <a:lnTo>
                      <a:pt x="455" y="135"/>
                    </a:lnTo>
                    <a:lnTo>
                      <a:pt x="457" y="137"/>
                    </a:lnTo>
                    <a:lnTo>
                      <a:pt x="464" y="135"/>
                    </a:lnTo>
                    <a:lnTo>
                      <a:pt x="472" y="131"/>
                    </a:lnTo>
                    <a:lnTo>
                      <a:pt x="474" y="131"/>
                    </a:lnTo>
                    <a:lnTo>
                      <a:pt x="472" y="128"/>
                    </a:lnTo>
                    <a:lnTo>
                      <a:pt x="470" y="126"/>
                    </a:lnTo>
                    <a:lnTo>
                      <a:pt x="468" y="120"/>
                    </a:lnTo>
                    <a:lnTo>
                      <a:pt x="470" y="122"/>
                    </a:lnTo>
                    <a:lnTo>
                      <a:pt x="474" y="120"/>
                    </a:lnTo>
                    <a:lnTo>
                      <a:pt x="474" y="118"/>
                    </a:lnTo>
                    <a:lnTo>
                      <a:pt x="475" y="118"/>
                    </a:lnTo>
                    <a:lnTo>
                      <a:pt x="474" y="112"/>
                    </a:lnTo>
                    <a:lnTo>
                      <a:pt x="475" y="112"/>
                    </a:lnTo>
                    <a:lnTo>
                      <a:pt x="475" y="114"/>
                    </a:lnTo>
                    <a:lnTo>
                      <a:pt x="477" y="114"/>
                    </a:lnTo>
                    <a:lnTo>
                      <a:pt x="479" y="116"/>
                    </a:lnTo>
                    <a:lnTo>
                      <a:pt x="481" y="116"/>
                    </a:lnTo>
                    <a:lnTo>
                      <a:pt x="483" y="114"/>
                    </a:lnTo>
                    <a:lnTo>
                      <a:pt x="483" y="116"/>
                    </a:lnTo>
                    <a:lnTo>
                      <a:pt x="485" y="116"/>
                    </a:lnTo>
                    <a:lnTo>
                      <a:pt x="487" y="116"/>
                    </a:lnTo>
                    <a:lnTo>
                      <a:pt x="487" y="114"/>
                    </a:lnTo>
                    <a:lnTo>
                      <a:pt x="491" y="109"/>
                    </a:lnTo>
                    <a:lnTo>
                      <a:pt x="492" y="109"/>
                    </a:lnTo>
                    <a:lnTo>
                      <a:pt x="494" y="118"/>
                    </a:lnTo>
                    <a:lnTo>
                      <a:pt x="496" y="120"/>
                    </a:lnTo>
                    <a:lnTo>
                      <a:pt x="492" y="124"/>
                    </a:lnTo>
                    <a:lnTo>
                      <a:pt x="489" y="124"/>
                    </a:lnTo>
                    <a:lnTo>
                      <a:pt x="487" y="126"/>
                    </a:lnTo>
                    <a:lnTo>
                      <a:pt x="479" y="128"/>
                    </a:lnTo>
                    <a:lnTo>
                      <a:pt x="481" y="129"/>
                    </a:lnTo>
                    <a:lnTo>
                      <a:pt x="483" y="133"/>
                    </a:lnTo>
                    <a:lnTo>
                      <a:pt x="481" y="137"/>
                    </a:lnTo>
                    <a:lnTo>
                      <a:pt x="481" y="143"/>
                    </a:lnTo>
                    <a:lnTo>
                      <a:pt x="487" y="145"/>
                    </a:lnTo>
                    <a:lnTo>
                      <a:pt x="489" y="146"/>
                    </a:lnTo>
                    <a:lnTo>
                      <a:pt x="485" y="146"/>
                    </a:lnTo>
                    <a:lnTo>
                      <a:pt x="487" y="150"/>
                    </a:lnTo>
                    <a:lnTo>
                      <a:pt x="474" y="156"/>
                    </a:lnTo>
                    <a:lnTo>
                      <a:pt x="468" y="158"/>
                    </a:lnTo>
                    <a:lnTo>
                      <a:pt x="462" y="158"/>
                    </a:lnTo>
                    <a:lnTo>
                      <a:pt x="460" y="165"/>
                    </a:lnTo>
                    <a:lnTo>
                      <a:pt x="460" y="171"/>
                    </a:lnTo>
                    <a:lnTo>
                      <a:pt x="459" y="175"/>
                    </a:lnTo>
                    <a:lnTo>
                      <a:pt x="460" y="175"/>
                    </a:lnTo>
                    <a:lnTo>
                      <a:pt x="464" y="177"/>
                    </a:lnTo>
                    <a:lnTo>
                      <a:pt x="464" y="178"/>
                    </a:lnTo>
                    <a:lnTo>
                      <a:pt x="466" y="178"/>
                    </a:lnTo>
                    <a:lnTo>
                      <a:pt x="464" y="180"/>
                    </a:lnTo>
                    <a:lnTo>
                      <a:pt x="464" y="182"/>
                    </a:lnTo>
                    <a:lnTo>
                      <a:pt x="460" y="188"/>
                    </a:lnTo>
                    <a:lnTo>
                      <a:pt x="457" y="199"/>
                    </a:lnTo>
                    <a:lnTo>
                      <a:pt x="455" y="201"/>
                    </a:lnTo>
                    <a:lnTo>
                      <a:pt x="457" y="201"/>
                    </a:lnTo>
                    <a:lnTo>
                      <a:pt x="459" y="205"/>
                    </a:lnTo>
                    <a:lnTo>
                      <a:pt x="457" y="214"/>
                    </a:lnTo>
                    <a:lnTo>
                      <a:pt x="457" y="216"/>
                    </a:lnTo>
                    <a:lnTo>
                      <a:pt x="455" y="220"/>
                    </a:lnTo>
                    <a:lnTo>
                      <a:pt x="449" y="218"/>
                    </a:lnTo>
                    <a:lnTo>
                      <a:pt x="442" y="214"/>
                    </a:lnTo>
                    <a:lnTo>
                      <a:pt x="442" y="216"/>
                    </a:lnTo>
                    <a:lnTo>
                      <a:pt x="444" y="218"/>
                    </a:lnTo>
                    <a:lnTo>
                      <a:pt x="442" y="220"/>
                    </a:lnTo>
                    <a:lnTo>
                      <a:pt x="442" y="227"/>
                    </a:lnTo>
                    <a:lnTo>
                      <a:pt x="440" y="229"/>
                    </a:lnTo>
                    <a:lnTo>
                      <a:pt x="440" y="237"/>
                    </a:lnTo>
                    <a:lnTo>
                      <a:pt x="442" y="242"/>
                    </a:lnTo>
                    <a:lnTo>
                      <a:pt x="442" y="244"/>
                    </a:lnTo>
                    <a:lnTo>
                      <a:pt x="438" y="254"/>
                    </a:lnTo>
                    <a:lnTo>
                      <a:pt x="436" y="252"/>
                    </a:lnTo>
                    <a:lnTo>
                      <a:pt x="428" y="254"/>
                    </a:lnTo>
                    <a:lnTo>
                      <a:pt x="427" y="252"/>
                    </a:lnTo>
                    <a:lnTo>
                      <a:pt x="419" y="252"/>
                    </a:lnTo>
                    <a:lnTo>
                      <a:pt x="413" y="256"/>
                    </a:lnTo>
                    <a:lnTo>
                      <a:pt x="410" y="246"/>
                    </a:lnTo>
                    <a:lnTo>
                      <a:pt x="410" y="248"/>
                    </a:lnTo>
                    <a:lnTo>
                      <a:pt x="396" y="248"/>
                    </a:lnTo>
                    <a:lnTo>
                      <a:pt x="391" y="246"/>
                    </a:lnTo>
                    <a:lnTo>
                      <a:pt x="389" y="246"/>
                    </a:lnTo>
                    <a:lnTo>
                      <a:pt x="381" y="244"/>
                    </a:lnTo>
                    <a:lnTo>
                      <a:pt x="378" y="242"/>
                    </a:lnTo>
                    <a:lnTo>
                      <a:pt x="366" y="252"/>
                    </a:lnTo>
                    <a:lnTo>
                      <a:pt x="366" y="256"/>
                    </a:lnTo>
                    <a:lnTo>
                      <a:pt x="363" y="269"/>
                    </a:lnTo>
                    <a:lnTo>
                      <a:pt x="353" y="265"/>
                    </a:lnTo>
                    <a:lnTo>
                      <a:pt x="351" y="269"/>
                    </a:lnTo>
                    <a:lnTo>
                      <a:pt x="348" y="269"/>
                    </a:lnTo>
                    <a:lnTo>
                      <a:pt x="344" y="269"/>
                    </a:lnTo>
                    <a:lnTo>
                      <a:pt x="348" y="274"/>
                    </a:lnTo>
                    <a:lnTo>
                      <a:pt x="344" y="276"/>
                    </a:lnTo>
                    <a:lnTo>
                      <a:pt x="344" y="280"/>
                    </a:lnTo>
                    <a:lnTo>
                      <a:pt x="342" y="280"/>
                    </a:lnTo>
                    <a:lnTo>
                      <a:pt x="340" y="288"/>
                    </a:lnTo>
                    <a:lnTo>
                      <a:pt x="349" y="293"/>
                    </a:lnTo>
                    <a:lnTo>
                      <a:pt x="349" y="295"/>
                    </a:lnTo>
                    <a:lnTo>
                      <a:pt x="349" y="303"/>
                    </a:lnTo>
                    <a:lnTo>
                      <a:pt x="351" y="301"/>
                    </a:lnTo>
                    <a:lnTo>
                      <a:pt x="351" y="305"/>
                    </a:lnTo>
                    <a:lnTo>
                      <a:pt x="351" y="316"/>
                    </a:lnTo>
                    <a:lnTo>
                      <a:pt x="365" y="320"/>
                    </a:lnTo>
                    <a:lnTo>
                      <a:pt x="374" y="321"/>
                    </a:lnTo>
                    <a:lnTo>
                      <a:pt x="376" y="329"/>
                    </a:lnTo>
                    <a:lnTo>
                      <a:pt x="376" y="331"/>
                    </a:lnTo>
                    <a:lnTo>
                      <a:pt x="376" y="335"/>
                    </a:lnTo>
                    <a:lnTo>
                      <a:pt x="380" y="337"/>
                    </a:lnTo>
                    <a:lnTo>
                      <a:pt x="387" y="340"/>
                    </a:lnTo>
                    <a:lnTo>
                      <a:pt x="387" y="342"/>
                    </a:lnTo>
                    <a:lnTo>
                      <a:pt x="389" y="344"/>
                    </a:lnTo>
                    <a:lnTo>
                      <a:pt x="396" y="348"/>
                    </a:lnTo>
                    <a:lnTo>
                      <a:pt x="404" y="344"/>
                    </a:lnTo>
                    <a:lnTo>
                      <a:pt x="408" y="342"/>
                    </a:lnTo>
                    <a:lnTo>
                      <a:pt x="415" y="342"/>
                    </a:lnTo>
                    <a:lnTo>
                      <a:pt x="421" y="338"/>
                    </a:lnTo>
                    <a:lnTo>
                      <a:pt x="425" y="350"/>
                    </a:lnTo>
                    <a:lnTo>
                      <a:pt x="430" y="348"/>
                    </a:lnTo>
                    <a:lnTo>
                      <a:pt x="432" y="355"/>
                    </a:lnTo>
                    <a:lnTo>
                      <a:pt x="436" y="365"/>
                    </a:lnTo>
                    <a:lnTo>
                      <a:pt x="428" y="369"/>
                    </a:lnTo>
                    <a:lnTo>
                      <a:pt x="421" y="372"/>
                    </a:lnTo>
                    <a:lnTo>
                      <a:pt x="419" y="372"/>
                    </a:lnTo>
                    <a:lnTo>
                      <a:pt x="417" y="372"/>
                    </a:lnTo>
                    <a:lnTo>
                      <a:pt x="415" y="376"/>
                    </a:lnTo>
                    <a:lnTo>
                      <a:pt x="415" y="378"/>
                    </a:lnTo>
                    <a:lnTo>
                      <a:pt x="417" y="380"/>
                    </a:lnTo>
                    <a:lnTo>
                      <a:pt x="415" y="380"/>
                    </a:lnTo>
                    <a:lnTo>
                      <a:pt x="412" y="385"/>
                    </a:lnTo>
                    <a:lnTo>
                      <a:pt x="412" y="399"/>
                    </a:lnTo>
                    <a:lnTo>
                      <a:pt x="391" y="397"/>
                    </a:lnTo>
                    <a:lnTo>
                      <a:pt x="389" y="397"/>
                    </a:lnTo>
                    <a:lnTo>
                      <a:pt x="385" y="395"/>
                    </a:lnTo>
                    <a:lnTo>
                      <a:pt x="383" y="397"/>
                    </a:lnTo>
                    <a:lnTo>
                      <a:pt x="381" y="397"/>
                    </a:lnTo>
                    <a:lnTo>
                      <a:pt x="380" y="397"/>
                    </a:lnTo>
                    <a:lnTo>
                      <a:pt x="378" y="399"/>
                    </a:lnTo>
                    <a:lnTo>
                      <a:pt x="378" y="401"/>
                    </a:lnTo>
                    <a:lnTo>
                      <a:pt x="380" y="408"/>
                    </a:lnTo>
                    <a:lnTo>
                      <a:pt x="365" y="404"/>
                    </a:lnTo>
                    <a:lnTo>
                      <a:pt x="365" y="402"/>
                    </a:lnTo>
                    <a:lnTo>
                      <a:pt x="366" y="401"/>
                    </a:lnTo>
                    <a:lnTo>
                      <a:pt x="365" y="399"/>
                    </a:lnTo>
                    <a:lnTo>
                      <a:pt x="363" y="402"/>
                    </a:lnTo>
                    <a:lnTo>
                      <a:pt x="361" y="401"/>
                    </a:lnTo>
                    <a:lnTo>
                      <a:pt x="363" y="399"/>
                    </a:lnTo>
                    <a:lnTo>
                      <a:pt x="359" y="397"/>
                    </a:lnTo>
                    <a:lnTo>
                      <a:pt x="355" y="397"/>
                    </a:lnTo>
                    <a:lnTo>
                      <a:pt x="353" y="395"/>
                    </a:lnTo>
                    <a:lnTo>
                      <a:pt x="351" y="395"/>
                    </a:lnTo>
                    <a:lnTo>
                      <a:pt x="349" y="402"/>
                    </a:lnTo>
                    <a:lnTo>
                      <a:pt x="349" y="408"/>
                    </a:lnTo>
                    <a:lnTo>
                      <a:pt x="349" y="410"/>
                    </a:lnTo>
                    <a:lnTo>
                      <a:pt x="349" y="412"/>
                    </a:lnTo>
                    <a:lnTo>
                      <a:pt x="351" y="412"/>
                    </a:lnTo>
                    <a:lnTo>
                      <a:pt x="351" y="414"/>
                    </a:lnTo>
                    <a:lnTo>
                      <a:pt x="351" y="416"/>
                    </a:lnTo>
                    <a:lnTo>
                      <a:pt x="351" y="419"/>
                    </a:lnTo>
                    <a:lnTo>
                      <a:pt x="349" y="419"/>
                    </a:lnTo>
                    <a:lnTo>
                      <a:pt x="344" y="419"/>
                    </a:lnTo>
                    <a:lnTo>
                      <a:pt x="346" y="419"/>
                    </a:lnTo>
                    <a:lnTo>
                      <a:pt x="346" y="421"/>
                    </a:lnTo>
                    <a:lnTo>
                      <a:pt x="346" y="423"/>
                    </a:lnTo>
                    <a:lnTo>
                      <a:pt x="344" y="423"/>
                    </a:lnTo>
                    <a:lnTo>
                      <a:pt x="342" y="423"/>
                    </a:lnTo>
                    <a:lnTo>
                      <a:pt x="342" y="425"/>
                    </a:lnTo>
                    <a:lnTo>
                      <a:pt x="340" y="425"/>
                    </a:lnTo>
                    <a:lnTo>
                      <a:pt x="340" y="427"/>
                    </a:lnTo>
                    <a:lnTo>
                      <a:pt x="338" y="427"/>
                    </a:lnTo>
                    <a:lnTo>
                      <a:pt x="338" y="429"/>
                    </a:lnTo>
                    <a:lnTo>
                      <a:pt x="338" y="427"/>
                    </a:lnTo>
                    <a:lnTo>
                      <a:pt x="340" y="433"/>
                    </a:lnTo>
                    <a:lnTo>
                      <a:pt x="329" y="434"/>
                    </a:lnTo>
                    <a:lnTo>
                      <a:pt x="329" y="438"/>
                    </a:lnTo>
                    <a:lnTo>
                      <a:pt x="323" y="438"/>
                    </a:lnTo>
                    <a:lnTo>
                      <a:pt x="321" y="438"/>
                    </a:lnTo>
                    <a:lnTo>
                      <a:pt x="317" y="438"/>
                    </a:lnTo>
                    <a:lnTo>
                      <a:pt x="316" y="446"/>
                    </a:lnTo>
                    <a:lnTo>
                      <a:pt x="314" y="457"/>
                    </a:lnTo>
                    <a:lnTo>
                      <a:pt x="316" y="455"/>
                    </a:lnTo>
                    <a:lnTo>
                      <a:pt x="319" y="468"/>
                    </a:lnTo>
                    <a:lnTo>
                      <a:pt x="304" y="472"/>
                    </a:lnTo>
                    <a:lnTo>
                      <a:pt x="304" y="474"/>
                    </a:lnTo>
                    <a:lnTo>
                      <a:pt x="302" y="474"/>
                    </a:lnTo>
                    <a:lnTo>
                      <a:pt x="302" y="476"/>
                    </a:lnTo>
                    <a:lnTo>
                      <a:pt x="299" y="478"/>
                    </a:lnTo>
                    <a:lnTo>
                      <a:pt x="297" y="478"/>
                    </a:lnTo>
                    <a:lnTo>
                      <a:pt x="299" y="483"/>
                    </a:lnTo>
                    <a:lnTo>
                      <a:pt x="297" y="483"/>
                    </a:lnTo>
                    <a:lnTo>
                      <a:pt x="297" y="485"/>
                    </a:lnTo>
                    <a:lnTo>
                      <a:pt x="299" y="485"/>
                    </a:lnTo>
                    <a:lnTo>
                      <a:pt x="299" y="491"/>
                    </a:lnTo>
                    <a:lnTo>
                      <a:pt x="297" y="497"/>
                    </a:lnTo>
                    <a:lnTo>
                      <a:pt x="297" y="498"/>
                    </a:lnTo>
                    <a:lnTo>
                      <a:pt x="295" y="500"/>
                    </a:lnTo>
                    <a:lnTo>
                      <a:pt x="295" y="502"/>
                    </a:lnTo>
                    <a:lnTo>
                      <a:pt x="293" y="502"/>
                    </a:lnTo>
                    <a:lnTo>
                      <a:pt x="287" y="502"/>
                    </a:lnTo>
                    <a:lnTo>
                      <a:pt x="287" y="500"/>
                    </a:lnTo>
                    <a:lnTo>
                      <a:pt x="287" y="498"/>
                    </a:lnTo>
                    <a:lnTo>
                      <a:pt x="284" y="498"/>
                    </a:lnTo>
                    <a:lnTo>
                      <a:pt x="282" y="500"/>
                    </a:lnTo>
                    <a:lnTo>
                      <a:pt x="282" y="502"/>
                    </a:lnTo>
                    <a:lnTo>
                      <a:pt x="278" y="500"/>
                    </a:lnTo>
                    <a:lnTo>
                      <a:pt x="278" y="502"/>
                    </a:lnTo>
                    <a:lnTo>
                      <a:pt x="280" y="504"/>
                    </a:lnTo>
                    <a:lnTo>
                      <a:pt x="278" y="504"/>
                    </a:lnTo>
                    <a:close/>
                  </a:path>
                </a:pathLst>
              </a:custGeom>
              <a:grp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37"/>
              <p:cNvSpPr>
                <a:spLocks/>
              </p:cNvSpPr>
              <p:nvPr/>
            </p:nvSpPr>
            <p:spPr bwMode="auto">
              <a:xfrm>
                <a:off x="5130800" y="446088"/>
                <a:ext cx="2217738" cy="1463675"/>
              </a:xfrm>
              <a:custGeom>
                <a:avLst/>
                <a:gdLst>
                  <a:gd name="T0" fmla="*/ 1354 w 1397"/>
                  <a:gd name="T1" fmla="*/ 538 h 922"/>
                  <a:gd name="T2" fmla="*/ 1313 w 1397"/>
                  <a:gd name="T3" fmla="*/ 532 h 922"/>
                  <a:gd name="T4" fmla="*/ 1267 w 1397"/>
                  <a:gd name="T5" fmla="*/ 538 h 922"/>
                  <a:gd name="T6" fmla="*/ 1217 w 1397"/>
                  <a:gd name="T7" fmla="*/ 532 h 922"/>
                  <a:gd name="T8" fmla="*/ 1186 w 1397"/>
                  <a:gd name="T9" fmla="*/ 587 h 922"/>
                  <a:gd name="T10" fmla="*/ 1211 w 1397"/>
                  <a:gd name="T11" fmla="*/ 679 h 922"/>
                  <a:gd name="T12" fmla="*/ 1096 w 1397"/>
                  <a:gd name="T13" fmla="*/ 685 h 922"/>
                  <a:gd name="T14" fmla="*/ 1030 w 1397"/>
                  <a:gd name="T15" fmla="*/ 770 h 922"/>
                  <a:gd name="T16" fmla="*/ 963 w 1397"/>
                  <a:gd name="T17" fmla="*/ 783 h 922"/>
                  <a:gd name="T18" fmla="*/ 918 w 1397"/>
                  <a:gd name="T19" fmla="*/ 898 h 922"/>
                  <a:gd name="T20" fmla="*/ 750 w 1397"/>
                  <a:gd name="T21" fmla="*/ 916 h 922"/>
                  <a:gd name="T22" fmla="*/ 675 w 1397"/>
                  <a:gd name="T23" fmla="*/ 843 h 922"/>
                  <a:gd name="T24" fmla="*/ 639 w 1397"/>
                  <a:gd name="T25" fmla="*/ 803 h 922"/>
                  <a:gd name="T26" fmla="*/ 519 w 1397"/>
                  <a:gd name="T27" fmla="*/ 841 h 922"/>
                  <a:gd name="T28" fmla="*/ 579 w 1397"/>
                  <a:gd name="T29" fmla="*/ 862 h 922"/>
                  <a:gd name="T30" fmla="*/ 472 w 1397"/>
                  <a:gd name="T31" fmla="*/ 869 h 922"/>
                  <a:gd name="T32" fmla="*/ 455 w 1397"/>
                  <a:gd name="T33" fmla="*/ 811 h 922"/>
                  <a:gd name="T34" fmla="*/ 302 w 1397"/>
                  <a:gd name="T35" fmla="*/ 807 h 922"/>
                  <a:gd name="T36" fmla="*/ 203 w 1397"/>
                  <a:gd name="T37" fmla="*/ 802 h 922"/>
                  <a:gd name="T38" fmla="*/ 54 w 1397"/>
                  <a:gd name="T39" fmla="*/ 749 h 922"/>
                  <a:gd name="T40" fmla="*/ 3 w 1397"/>
                  <a:gd name="T41" fmla="*/ 715 h 922"/>
                  <a:gd name="T42" fmla="*/ 18 w 1397"/>
                  <a:gd name="T43" fmla="*/ 675 h 922"/>
                  <a:gd name="T44" fmla="*/ 37 w 1397"/>
                  <a:gd name="T45" fmla="*/ 647 h 922"/>
                  <a:gd name="T46" fmla="*/ 62 w 1397"/>
                  <a:gd name="T47" fmla="*/ 628 h 922"/>
                  <a:gd name="T48" fmla="*/ 77 w 1397"/>
                  <a:gd name="T49" fmla="*/ 610 h 922"/>
                  <a:gd name="T50" fmla="*/ 103 w 1397"/>
                  <a:gd name="T51" fmla="*/ 600 h 922"/>
                  <a:gd name="T52" fmla="*/ 114 w 1397"/>
                  <a:gd name="T53" fmla="*/ 581 h 922"/>
                  <a:gd name="T54" fmla="*/ 118 w 1397"/>
                  <a:gd name="T55" fmla="*/ 547 h 922"/>
                  <a:gd name="T56" fmla="*/ 133 w 1397"/>
                  <a:gd name="T57" fmla="*/ 498 h 922"/>
                  <a:gd name="T58" fmla="*/ 139 w 1397"/>
                  <a:gd name="T59" fmla="*/ 461 h 922"/>
                  <a:gd name="T60" fmla="*/ 150 w 1397"/>
                  <a:gd name="T61" fmla="*/ 421 h 922"/>
                  <a:gd name="T62" fmla="*/ 171 w 1397"/>
                  <a:gd name="T63" fmla="*/ 419 h 922"/>
                  <a:gd name="T64" fmla="*/ 186 w 1397"/>
                  <a:gd name="T65" fmla="*/ 402 h 922"/>
                  <a:gd name="T66" fmla="*/ 197 w 1397"/>
                  <a:gd name="T67" fmla="*/ 389 h 922"/>
                  <a:gd name="T68" fmla="*/ 222 w 1397"/>
                  <a:gd name="T69" fmla="*/ 374 h 922"/>
                  <a:gd name="T70" fmla="*/ 240 w 1397"/>
                  <a:gd name="T71" fmla="*/ 361 h 922"/>
                  <a:gd name="T72" fmla="*/ 261 w 1397"/>
                  <a:gd name="T73" fmla="*/ 352 h 922"/>
                  <a:gd name="T74" fmla="*/ 293 w 1397"/>
                  <a:gd name="T75" fmla="*/ 329 h 922"/>
                  <a:gd name="T76" fmla="*/ 321 w 1397"/>
                  <a:gd name="T77" fmla="*/ 299 h 922"/>
                  <a:gd name="T78" fmla="*/ 349 w 1397"/>
                  <a:gd name="T79" fmla="*/ 284 h 922"/>
                  <a:gd name="T80" fmla="*/ 374 w 1397"/>
                  <a:gd name="T81" fmla="*/ 267 h 922"/>
                  <a:gd name="T82" fmla="*/ 393 w 1397"/>
                  <a:gd name="T83" fmla="*/ 231 h 922"/>
                  <a:gd name="T84" fmla="*/ 415 w 1397"/>
                  <a:gd name="T85" fmla="*/ 197 h 922"/>
                  <a:gd name="T86" fmla="*/ 445 w 1397"/>
                  <a:gd name="T87" fmla="*/ 165 h 922"/>
                  <a:gd name="T88" fmla="*/ 477 w 1397"/>
                  <a:gd name="T89" fmla="*/ 135 h 922"/>
                  <a:gd name="T90" fmla="*/ 526 w 1397"/>
                  <a:gd name="T91" fmla="*/ 124 h 922"/>
                  <a:gd name="T92" fmla="*/ 573 w 1397"/>
                  <a:gd name="T93" fmla="*/ 118 h 922"/>
                  <a:gd name="T94" fmla="*/ 617 w 1397"/>
                  <a:gd name="T95" fmla="*/ 96 h 922"/>
                  <a:gd name="T96" fmla="*/ 652 w 1397"/>
                  <a:gd name="T97" fmla="*/ 73 h 922"/>
                  <a:gd name="T98" fmla="*/ 665 w 1397"/>
                  <a:gd name="T99" fmla="*/ 28 h 922"/>
                  <a:gd name="T100" fmla="*/ 716 w 1397"/>
                  <a:gd name="T101" fmla="*/ 16 h 922"/>
                  <a:gd name="T102" fmla="*/ 760 w 1397"/>
                  <a:gd name="T103" fmla="*/ 18 h 922"/>
                  <a:gd name="T104" fmla="*/ 805 w 1397"/>
                  <a:gd name="T105" fmla="*/ 7 h 922"/>
                  <a:gd name="T106" fmla="*/ 852 w 1397"/>
                  <a:gd name="T107" fmla="*/ 5 h 922"/>
                  <a:gd name="T108" fmla="*/ 906 w 1397"/>
                  <a:gd name="T109" fmla="*/ 24 h 922"/>
                  <a:gd name="T110" fmla="*/ 951 w 1397"/>
                  <a:gd name="T111" fmla="*/ 52 h 922"/>
                  <a:gd name="T112" fmla="*/ 998 w 1397"/>
                  <a:gd name="T113" fmla="*/ 62 h 922"/>
                  <a:gd name="T114" fmla="*/ 1047 w 1397"/>
                  <a:gd name="T115" fmla="*/ 54 h 922"/>
                  <a:gd name="T116" fmla="*/ 1098 w 1397"/>
                  <a:gd name="T117" fmla="*/ 52 h 922"/>
                  <a:gd name="T118" fmla="*/ 1153 w 1397"/>
                  <a:gd name="T119" fmla="*/ 48 h 922"/>
                  <a:gd name="T120" fmla="*/ 1196 w 1397"/>
                  <a:gd name="T121" fmla="*/ 62 h 922"/>
                  <a:gd name="T122" fmla="*/ 1243 w 1397"/>
                  <a:gd name="T123" fmla="*/ 71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7" h="922">
                    <a:moveTo>
                      <a:pt x="1397" y="517"/>
                    </a:moveTo>
                    <a:lnTo>
                      <a:pt x="1393" y="517"/>
                    </a:lnTo>
                    <a:lnTo>
                      <a:pt x="1390" y="517"/>
                    </a:lnTo>
                    <a:lnTo>
                      <a:pt x="1388" y="517"/>
                    </a:lnTo>
                    <a:lnTo>
                      <a:pt x="1386" y="517"/>
                    </a:lnTo>
                    <a:lnTo>
                      <a:pt x="1384" y="517"/>
                    </a:lnTo>
                    <a:lnTo>
                      <a:pt x="1382" y="517"/>
                    </a:lnTo>
                    <a:lnTo>
                      <a:pt x="1382" y="519"/>
                    </a:lnTo>
                    <a:lnTo>
                      <a:pt x="1382" y="521"/>
                    </a:lnTo>
                    <a:lnTo>
                      <a:pt x="1380" y="521"/>
                    </a:lnTo>
                    <a:lnTo>
                      <a:pt x="1378" y="521"/>
                    </a:lnTo>
                    <a:lnTo>
                      <a:pt x="1376" y="519"/>
                    </a:lnTo>
                    <a:lnTo>
                      <a:pt x="1375" y="519"/>
                    </a:lnTo>
                    <a:lnTo>
                      <a:pt x="1375" y="517"/>
                    </a:lnTo>
                    <a:lnTo>
                      <a:pt x="1373" y="517"/>
                    </a:lnTo>
                    <a:lnTo>
                      <a:pt x="1373" y="515"/>
                    </a:lnTo>
                    <a:lnTo>
                      <a:pt x="1371" y="515"/>
                    </a:lnTo>
                    <a:lnTo>
                      <a:pt x="1369" y="517"/>
                    </a:lnTo>
                    <a:lnTo>
                      <a:pt x="1367" y="517"/>
                    </a:lnTo>
                    <a:lnTo>
                      <a:pt x="1365" y="519"/>
                    </a:lnTo>
                    <a:lnTo>
                      <a:pt x="1363" y="521"/>
                    </a:lnTo>
                    <a:lnTo>
                      <a:pt x="1363" y="523"/>
                    </a:lnTo>
                    <a:lnTo>
                      <a:pt x="1361" y="523"/>
                    </a:lnTo>
                    <a:lnTo>
                      <a:pt x="1360" y="523"/>
                    </a:lnTo>
                    <a:lnTo>
                      <a:pt x="1360" y="525"/>
                    </a:lnTo>
                    <a:lnTo>
                      <a:pt x="1360" y="527"/>
                    </a:lnTo>
                    <a:lnTo>
                      <a:pt x="1360" y="529"/>
                    </a:lnTo>
                    <a:lnTo>
                      <a:pt x="1360" y="530"/>
                    </a:lnTo>
                    <a:lnTo>
                      <a:pt x="1360" y="532"/>
                    </a:lnTo>
                    <a:lnTo>
                      <a:pt x="1360" y="534"/>
                    </a:lnTo>
                    <a:lnTo>
                      <a:pt x="1358" y="536"/>
                    </a:lnTo>
                    <a:lnTo>
                      <a:pt x="1356" y="538"/>
                    </a:lnTo>
                    <a:lnTo>
                      <a:pt x="1354" y="538"/>
                    </a:lnTo>
                    <a:lnTo>
                      <a:pt x="1352" y="538"/>
                    </a:lnTo>
                    <a:lnTo>
                      <a:pt x="1348" y="538"/>
                    </a:lnTo>
                    <a:lnTo>
                      <a:pt x="1346" y="538"/>
                    </a:lnTo>
                    <a:lnTo>
                      <a:pt x="1346" y="536"/>
                    </a:lnTo>
                    <a:lnTo>
                      <a:pt x="1344" y="536"/>
                    </a:lnTo>
                    <a:lnTo>
                      <a:pt x="1344" y="534"/>
                    </a:lnTo>
                    <a:lnTo>
                      <a:pt x="1344" y="532"/>
                    </a:lnTo>
                    <a:lnTo>
                      <a:pt x="1344" y="530"/>
                    </a:lnTo>
                    <a:lnTo>
                      <a:pt x="1343" y="530"/>
                    </a:lnTo>
                    <a:lnTo>
                      <a:pt x="1343" y="529"/>
                    </a:lnTo>
                    <a:lnTo>
                      <a:pt x="1343" y="527"/>
                    </a:lnTo>
                    <a:lnTo>
                      <a:pt x="1341" y="525"/>
                    </a:lnTo>
                    <a:lnTo>
                      <a:pt x="1339" y="525"/>
                    </a:lnTo>
                    <a:lnTo>
                      <a:pt x="1335" y="527"/>
                    </a:lnTo>
                    <a:lnTo>
                      <a:pt x="1333" y="527"/>
                    </a:lnTo>
                    <a:lnTo>
                      <a:pt x="1331" y="527"/>
                    </a:lnTo>
                    <a:lnTo>
                      <a:pt x="1331" y="529"/>
                    </a:lnTo>
                    <a:lnTo>
                      <a:pt x="1329" y="530"/>
                    </a:lnTo>
                    <a:lnTo>
                      <a:pt x="1328" y="530"/>
                    </a:lnTo>
                    <a:lnTo>
                      <a:pt x="1328" y="532"/>
                    </a:lnTo>
                    <a:lnTo>
                      <a:pt x="1328" y="534"/>
                    </a:lnTo>
                    <a:lnTo>
                      <a:pt x="1328" y="536"/>
                    </a:lnTo>
                    <a:lnTo>
                      <a:pt x="1326" y="536"/>
                    </a:lnTo>
                    <a:lnTo>
                      <a:pt x="1324" y="536"/>
                    </a:lnTo>
                    <a:lnTo>
                      <a:pt x="1322" y="536"/>
                    </a:lnTo>
                    <a:lnTo>
                      <a:pt x="1320" y="534"/>
                    </a:lnTo>
                    <a:lnTo>
                      <a:pt x="1320" y="532"/>
                    </a:lnTo>
                    <a:lnTo>
                      <a:pt x="1318" y="532"/>
                    </a:lnTo>
                    <a:lnTo>
                      <a:pt x="1318" y="530"/>
                    </a:lnTo>
                    <a:lnTo>
                      <a:pt x="1316" y="530"/>
                    </a:lnTo>
                    <a:lnTo>
                      <a:pt x="1314" y="530"/>
                    </a:lnTo>
                    <a:lnTo>
                      <a:pt x="1313" y="530"/>
                    </a:lnTo>
                    <a:lnTo>
                      <a:pt x="1313" y="532"/>
                    </a:lnTo>
                    <a:lnTo>
                      <a:pt x="1311" y="532"/>
                    </a:lnTo>
                    <a:lnTo>
                      <a:pt x="1311" y="534"/>
                    </a:lnTo>
                    <a:lnTo>
                      <a:pt x="1311" y="536"/>
                    </a:lnTo>
                    <a:lnTo>
                      <a:pt x="1309" y="536"/>
                    </a:lnTo>
                    <a:lnTo>
                      <a:pt x="1307" y="538"/>
                    </a:lnTo>
                    <a:lnTo>
                      <a:pt x="1307" y="536"/>
                    </a:lnTo>
                    <a:lnTo>
                      <a:pt x="1305" y="536"/>
                    </a:lnTo>
                    <a:lnTo>
                      <a:pt x="1303" y="534"/>
                    </a:lnTo>
                    <a:lnTo>
                      <a:pt x="1303" y="532"/>
                    </a:lnTo>
                    <a:lnTo>
                      <a:pt x="1301" y="532"/>
                    </a:lnTo>
                    <a:lnTo>
                      <a:pt x="1299" y="532"/>
                    </a:lnTo>
                    <a:lnTo>
                      <a:pt x="1297" y="532"/>
                    </a:lnTo>
                    <a:lnTo>
                      <a:pt x="1296" y="530"/>
                    </a:lnTo>
                    <a:lnTo>
                      <a:pt x="1292" y="530"/>
                    </a:lnTo>
                    <a:lnTo>
                      <a:pt x="1290" y="529"/>
                    </a:lnTo>
                    <a:lnTo>
                      <a:pt x="1288" y="529"/>
                    </a:lnTo>
                    <a:lnTo>
                      <a:pt x="1288" y="527"/>
                    </a:lnTo>
                    <a:lnTo>
                      <a:pt x="1286" y="527"/>
                    </a:lnTo>
                    <a:lnTo>
                      <a:pt x="1284" y="527"/>
                    </a:lnTo>
                    <a:lnTo>
                      <a:pt x="1284" y="529"/>
                    </a:lnTo>
                    <a:lnTo>
                      <a:pt x="1284" y="530"/>
                    </a:lnTo>
                    <a:lnTo>
                      <a:pt x="1284" y="532"/>
                    </a:lnTo>
                    <a:lnTo>
                      <a:pt x="1282" y="534"/>
                    </a:lnTo>
                    <a:lnTo>
                      <a:pt x="1282" y="536"/>
                    </a:lnTo>
                    <a:lnTo>
                      <a:pt x="1281" y="536"/>
                    </a:lnTo>
                    <a:lnTo>
                      <a:pt x="1279" y="536"/>
                    </a:lnTo>
                    <a:lnTo>
                      <a:pt x="1279" y="538"/>
                    </a:lnTo>
                    <a:lnTo>
                      <a:pt x="1277" y="538"/>
                    </a:lnTo>
                    <a:lnTo>
                      <a:pt x="1273" y="540"/>
                    </a:lnTo>
                    <a:lnTo>
                      <a:pt x="1271" y="538"/>
                    </a:lnTo>
                    <a:lnTo>
                      <a:pt x="1271" y="536"/>
                    </a:lnTo>
                    <a:lnTo>
                      <a:pt x="1269" y="536"/>
                    </a:lnTo>
                    <a:lnTo>
                      <a:pt x="1267" y="538"/>
                    </a:lnTo>
                    <a:lnTo>
                      <a:pt x="1265" y="540"/>
                    </a:lnTo>
                    <a:lnTo>
                      <a:pt x="1264" y="542"/>
                    </a:lnTo>
                    <a:lnTo>
                      <a:pt x="1262" y="542"/>
                    </a:lnTo>
                    <a:lnTo>
                      <a:pt x="1260" y="542"/>
                    </a:lnTo>
                    <a:lnTo>
                      <a:pt x="1258" y="544"/>
                    </a:lnTo>
                    <a:lnTo>
                      <a:pt x="1256" y="544"/>
                    </a:lnTo>
                    <a:lnTo>
                      <a:pt x="1254" y="544"/>
                    </a:lnTo>
                    <a:lnTo>
                      <a:pt x="1252" y="544"/>
                    </a:lnTo>
                    <a:lnTo>
                      <a:pt x="1250" y="544"/>
                    </a:lnTo>
                    <a:lnTo>
                      <a:pt x="1250" y="542"/>
                    </a:lnTo>
                    <a:lnTo>
                      <a:pt x="1249" y="542"/>
                    </a:lnTo>
                    <a:lnTo>
                      <a:pt x="1247" y="542"/>
                    </a:lnTo>
                    <a:lnTo>
                      <a:pt x="1245" y="544"/>
                    </a:lnTo>
                    <a:lnTo>
                      <a:pt x="1245" y="545"/>
                    </a:lnTo>
                    <a:lnTo>
                      <a:pt x="1243" y="547"/>
                    </a:lnTo>
                    <a:lnTo>
                      <a:pt x="1241" y="547"/>
                    </a:lnTo>
                    <a:lnTo>
                      <a:pt x="1239" y="549"/>
                    </a:lnTo>
                    <a:lnTo>
                      <a:pt x="1237" y="549"/>
                    </a:lnTo>
                    <a:lnTo>
                      <a:pt x="1235" y="545"/>
                    </a:lnTo>
                    <a:lnTo>
                      <a:pt x="1235" y="544"/>
                    </a:lnTo>
                    <a:lnTo>
                      <a:pt x="1235" y="542"/>
                    </a:lnTo>
                    <a:lnTo>
                      <a:pt x="1234" y="540"/>
                    </a:lnTo>
                    <a:lnTo>
                      <a:pt x="1234" y="538"/>
                    </a:lnTo>
                    <a:lnTo>
                      <a:pt x="1232" y="538"/>
                    </a:lnTo>
                    <a:lnTo>
                      <a:pt x="1230" y="536"/>
                    </a:lnTo>
                    <a:lnTo>
                      <a:pt x="1228" y="534"/>
                    </a:lnTo>
                    <a:lnTo>
                      <a:pt x="1226" y="532"/>
                    </a:lnTo>
                    <a:lnTo>
                      <a:pt x="1224" y="532"/>
                    </a:lnTo>
                    <a:lnTo>
                      <a:pt x="1222" y="530"/>
                    </a:lnTo>
                    <a:lnTo>
                      <a:pt x="1220" y="530"/>
                    </a:lnTo>
                    <a:lnTo>
                      <a:pt x="1218" y="530"/>
                    </a:lnTo>
                    <a:lnTo>
                      <a:pt x="1217" y="530"/>
                    </a:lnTo>
                    <a:lnTo>
                      <a:pt x="1217" y="532"/>
                    </a:lnTo>
                    <a:lnTo>
                      <a:pt x="1217" y="534"/>
                    </a:lnTo>
                    <a:lnTo>
                      <a:pt x="1215" y="534"/>
                    </a:lnTo>
                    <a:lnTo>
                      <a:pt x="1215" y="536"/>
                    </a:lnTo>
                    <a:lnTo>
                      <a:pt x="1215" y="538"/>
                    </a:lnTo>
                    <a:lnTo>
                      <a:pt x="1213" y="538"/>
                    </a:lnTo>
                    <a:lnTo>
                      <a:pt x="1211" y="540"/>
                    </a:lnTo>
                    <a:lnTo>
                      <a:pt x="1209" y="540"/>
                    </a:lnTo>
                    <a:lnTo>
                      <a:pt x="1207" y="542"/>
                    </a:lnTo>
                    <a:lnTo>
                      <a:pt x="1205" y="542"/>
                    </a:lnTo>
                    <a:lnTo>
                      <a:pt x="1203" y="540"/>
                    </a:lnTo>
                    <a:lnTo>
                      <a:pt x="1202" y="540"/>
                    </a:lnTo>
                    <a:lnTo>
                      <a:pt x="1200" y="540"/>
                    </a:lnTo>
                    <a:lnTo>
                      <a:pt x="1200" y="542"/>
                    </a:lnTo>
                    <a:lnTo>
                      <a:pt x="1198" y="542"/>
                    </a:lnTo>
                    <a:lnTo>
                      <a:pt x="1196" y="542"/>
                    </a:lnTo>
                    <a:lnTo>
                      <a:pt x="1194" y="542"/>
                    </a:lnTo>
                    <a:lnTo>
                      <a:pt x="1194" y="544"/>
                    </a:lnTo>
                    <a:lnTo>
                      <a:pt x="1192" y="544"/>
                    </a:lnTo>
                    <a:lnTo>
                      <a:pt x="1190" y="544"/>
                    </a:lnTo>
                    <a:lnTo>
                      <a:pt x="1190" y="545"/>
                    </a:lnTo>
                    <a:lnTo>
                      <a:pt x="1188" y="545"/>
                    </a:lnTo>
                    <a:lnTo>
                      <a:pt x="1188" y="547"/>
                    </a:lnTo>
                    <a:lnTo>
                      <a:pt x="1194" y="547"/>
                    </a:lnTo>
                    <a:lnTo>
                      <a:pt x="1202" y="547"/>
                    </a:lnTo>
                    <a:lnTo>
                      <a:pt x="1203" y="545"/>
                    </a:lnTo>
                    <a:lnTo>
                      <a:pt x="1202" y="549"/>
                    </a:lnTo>
                    <a:lnTo>
                      <a:pt x="1202" y="555"/>
                    </a:lnTo>
                    <a:lnTo>
                      <a:pt x="1196" y="555"/>
                    </a:lnTo>
                    <a:lnTo>
                      <a:pt x="1200" y="562"/>
                    </a:lnTo>
                    <a:lnTo>
                      <a:pt x="1198" y="562"/>
                    </a:lnTo>
                    <a:lnTo>
                      <a:pt x="1192" y="568"/>
                    </a:lnTo>
                    <a:lnTo>
                      <a:pt x="1185" y="574"/>
                    </a:lnTo>
                    <a:lnTo>
                      <a:pt x="1186" y="587"/>
                    </a:lnTo>
                    <a:lnTo>
                      <a:pt x="1186" y="589"/>
                    </a:lnTo>
                    <a:lnTo>
                      <a:pt x="1186" y="591"/>
                    </a:lnTo>
                    <a:lnTo>
                      <a:pt x="1186" y="593"/>
                    </a:lnTo>
                    <a:lnTo>
                      <a:pt x="1186" y="594"/>
                    </a:lnTo>
                    <a:lnTo>
                      <a:pt x="1186" y="598"/>
                    </a:lnTo>
                    <a:lnTo>
                      <a:pt x="1186" y="608"/>
                    </a:lnTo>
                    <a:lnTo>
                      <a:pt x="1186" y="610"/>
                    </a:lnTo>
                    <a:lnTo>
                      <a:pt x="1186" y="611"/>
                    </a:lnTo>
                    <a:lnTo>
                      <a:pt x="1198" y="611"/>
                    </a:lnTo>
                    <a:lnTo>
                      <a:pt x="1207" y="611"/>
                    </a:lnTo>
                    <a:lnTo>
                      <a:pt x="1211" y="611"/>
                    </a:lnTo>
                    <a:lnTo>
                      <a:pt x="1215" y="610"/>
                    </a:lnTo>
                    <a:lnTo>
                      <a:pt x="1222" y="606"/>
                    </a:lnTo>
                    <a:lnTo>
                      <a:pt x="1224" y="610"/>
                    </a:lnTo>
                    <a:lnTo>
                      <a:pt x="1228" y="615"/>
                    </a:lnTo>
                    <a:lnTo>
                      <a:pt x="1230" y="619"/>
                    </a:lnTo>
                    <a:lnTo>
                      <a:pt x="1234" y="623"/>
                    </a:lnTo>
                    <a:lnTo>
                      <a:pt x="1213" y="626"/>
                    </a:lnTo>
                    <a:lnTo>
                      <a:pt x="1213" y="630"/>
                    </a:lnTo>
                    <a:lnTo>
                      <a:pt x="1213" y="632"/>
                    </a:lnTo>
                    <a:lnTo>
                      <a:pt x="1213" y="634"/>
                    </a:lnTo>
                    <a:lnTo>
                      <a:pt x="1213" y="638"/>
                    </a:lnTo>
                    <a:lnTo>
                      <a:pt x="1213" y="640"/>
                    </a:lnTo>
                    <a:lnTo>
                      <a:pt x="1213" y="642"/>
                    </a:lnTo>
                    <a:lnTo>
                      <a:pt x="1213" y="643"/>
                    </a:lnTo>
                    <a:lnTo>
                      <a:pt x="1224" y="642"/>
                    </a:lnTo>
                    <a:lnTo>
                      <a:pt x="1228" y="647"/>
                    </a:lnTo>
                    <a:lnTo>
                      <a:pt x="1237" y="660"/>
                    </a:lnTo>
                    <a:lnTo>
                      <a:pt x="1237" y="662"/>
                    </a:lnTo>
                    <a:lnTo>
                      <a:pt x="1230" y="677"/>
                    </a:lnTo>
                    <a:lnTo>
                      <a:pt x="1224" y="677"/>
                    </a:lnTo>
                    <a:lnTo>
                      <a:pt x="1218" y="677"/>
                    </a:lnTo>
                    <a:lnTo>
                      <a:pt x="1211" y="679"/>
                    </a:lnTo>
                    <a:lnTo>
                      <a:pt x="1209" y="679"/>
                    </a:lnTo>
                    <a:lnTo>
                      <a:pt x="1207" y="679"/>
                    </a:lnTo>
                    <a:lnTo>
                      <a:pt x="1205" y="679"/>
                    </a:lnTo>
                    <a:lnTo>
                      <a:pt x="1203" y="679"/>
                    </a:lnTo>
                    <a:lnTo>
                      <a:pt x="1202" y="679"/>
                    </a:lnTo>
                    <a:lnTo>
                      <a:pt x="1200" y="679"/>
                    </a:lnTo>
                    <a:lnTo>
                      <a:pt x="1198" y="679"/>
                    </a:lnTo>
                    <a:lnTo>
                      <a:pt x="1198" y="681"/>
                    </a:lnTo>
                    <a:lnTo>
                      <a:pt x="1194" y="681"/>
                    </a:lnTo>
                    <a:lnTo>
                      <a:pt x="1190" y="681"/>
                    </a:lnTo>
                    <a:lnTo>
                      <a:pt x="1188" y="681"/>
                    </a:lnTo>
                    <a:lnTo>
                      <a:pt x="1186" y="681"/>
                    </a:lnTo>
                    <a:lnTo>
                      <a:pt x="1181" y="681"/>
                    </a:lnTo>
                    <a:lnTo>
                      <a:pt x="1179" y="681"/>
                    </a:lnTo>
                    <a:lnTo>
                      <a:pt x="1173" y="683"/>
                    </a:lnTo>
                    <a:lnTo>
                      <a:pt x="1162" y="685"/>
                    </a:lnTo>
                    <a:lnTo>
                      <a:pt x="1160" y="668"/>
                    </a:lnTo>
                    <a:lnTo>
                      <a:pt x="1151" y="668"/>
                    </a:lnTo>
                    <a:lnTo>
                      <a:pt x="1149" y="668"/>
                    </a:lnTo>
                    <a:lnTo>
                      <a:pt x="1147" y="670"/>
                    </a:lnTo>
                    <a:lnTo>
                      <a:pt x="1139" y="672"/>
                    </a:lnTo>
                    <a:lnTo>
                      <a:pt x="1128" y="666"/>
                    </a:lnTo>
                    <a:lnTo>
                      <a:pt x="1121" y="662"/>
                    </a:lnTo>
                    <a:lnTo>
                      <a:pt x="1121" y="660"/>
                    </a:lnTo>
                    <a:lnTo>
                      <a:pt x="1117" y="657"/>
                    </a:lnTo>
                    <a:lnTo>
                      <a:pt x="1111" y="651"/>
                    </a:lnTo>
                    <a:lnTo>
                      <a:pt x="1104" y="660"/>
                    </a:lnTo>
                    <a:lnTo>
                      <a:pt x="1104" y="675"/>
                    </a:lnTo>
                    <a:lnTo>
                      <a:pt x="1104" y="677"/>
                    </a:lnTo>
                    <a:lnTo>
                      <a:pt x="1104" y="683"/>
                    </a:lnTo>
                    <a:lnTo>
                      <a:pt x="1104" y="692"/>
                    </a:lnTo>
                    <a:lnTo>
                      <a:pt x="1100" y="690"/>
                    </a:lnTo>
                    <a:lnTo>
                      <a:pt x="1096" y="685"/>
                    </a:lnTo>
                    <a:lnTo>
                      <a:pt x="1091" y="696"/>
                    </a:lnTo>
                    <a:lnTo>
                      <a:pt x="1098" y="709"/>
                    </a:lnTo>
                    <a:lnTo>
                      <a:pt x="1100" y="719"/>
                    </a:lnTo>
                    <a:lnTo>
                      <a:pt x="1092" y="726"/>
                    </a:lnTo>
                    <a:lnTo>
                      <a:pt x="1091" y="728"/>
                    </a:lnTo>
                    <a:lnTo>
                      <a:pt x="1079" y="728"/>
                    </a:lnTo>
                    <a:lnTo>
                      <a:pt x="1079" y="734"/>
                    </a:lnTo>
                    <a:lnTo>
                      <a:pt x="1087" y="739"/>
                    </a:lnTo>
                    <a:lnTo>
                      <a:pt x="1085" y="749"/>
                    </a:lnTo>
                    <a:lnTo>
                      <a:pt x="1079" y="760"/>
                    </a:lnTo>
                    <a:lnTo>
                      <a:pt x="1074" y="758"/>
                    </a:lnTo>
                    <a:lnTo>
                      <a:pt x="1072" y="766"/>
                    </a:lnTo>
                    <a:lnTo>
                      <a:pt x="1070" y="768"/>
                    </a:lnTo>
                    <a:lnTo>
                      <a:pt x="1064" y="770"/>
                    </a:lnTo>
                    <a:lnTo>
                      <a:pt x="1064" y="779"/>
                    </a:lnTo>
                    <a:lnTo>
                      <a:pt x="1060" y="773"/>
                    </a:lnTo>
                    <a:lnTo>
                      <a:pt x="1057" y="773"/>
                    </a:lnTo>
                    <a:lnTo>
                      <a:pt x="1055" y="775"/>
                    </a:lnTo>
                    <a:lnTo>
                      <a:pt x="1049" y="775"/>
                    </a:lnTo>
                    <a:lnTo>
                      <a:pt x="1044" y="779"/>
                    </a:lnTo>
                    <a:lnTo>
                      <a:pt x="1044" y="781"/>
                    </a:lnTo>
                    <a:lnTo>
                      <a:pt x="1044" y="783"/>
                    </a:lnTo>
                    <a:lnTo>
                      <a:pt x="1044" y="785"/>
                    </a:lnTo>
                    <a:lnTo>
                      <a:pt x="1044" y="788"/>
                    </a:lnTo>
                    <a:lnTo>
                      <a:pt x="1042" y="788"/>
                    </a:lnTo>
                    <a:lnTo>
                      <a:pt x="1042" y="786"/>
                    </a:lnTo>
                    <a:lnTo>
                      <a:pt x="1040" y="786"/>
                    </a:lnTo>
                    <a:lnTo>
                      <a:pt x="1038" y="783"/>
                    </a:lnTo>
                    <a:lnTo>
                      <a:pt x="1036" y="781"/>
                    </a:lnTo>
                    <a:lnTo>
                      <a:pt x="1034" y="779"/>
                    </a:lnTo>
                    <a:lnTo>
                      <a:pt x="1032" y="777"/>
                    </a:lnTo>
                    <a:lnTo>
                      <a:pt x="1030" y="773"/>
                    </a:lnTo>
                    <a:lnTo>
                      <a:pt x="1030" y="770"/>
                    </a:lnTo>
                    <a:lnTo>
                      <a:pt x="1029" y="764"/>
                    </a:lnTo>
                    <a:lnTo>
                      <a:pt x="1025" y="762"/>
                    </a:lnTo>
                    <a:lnTo>
                      <a:pt x="1015" y="760"/>
                    </a:lnTo>
                    <a:lnTo>
                      <a:pt x="1017" y="760"/>
                    </a:lnTo>
                    <a:lnTo>
                      <a:pt x="1015" y="760"/>
                    </a:lnTo>
                    <a:lnTo>
                      <a:pt x="1015" y="762"/>
                    </a:lnTo>
                    <a:lnTo>
                      <a:pt x="1015" y="764"/>
                    </a:lnTo>
                    <a:lnTo>
                      <a:pt x="1017" y="764"/>
                    </a:lnTo>
                    <a:lnTo>
                      <a:pt x="1017" y="762"/>
                    </a:lnTo>
                    <a:lnTo>
                      <a:pt x="1017" y="764"/>
                    </a:lnTo>
                    <a:lnTo>
                      <a:pt x="1019" y="766"/>
                    </a:lnTo>
                    <a:lnTo>
                      <a:pt x="1017" y="766"/>
                    </a:lnTo>
                    <a:lnTo>
                      <a:pt x="1008" y="760"/>
                    </a:lnTo>
                    <a:lnTo>
                      <a:pt x="1006" y="764"/>
                    </a:lnTo>
                    <a:lnTo>
                      <a:pt x="1006" y="766"/>
                    </a:lnTo>
                    <a:lnTo>
                      <a:pt x="1006" y="770"/>
                    </a:lnTo>
                    <a:lnTo>
                      <a:pt x="998" y="768"/>
                    </a:lnTo>
                    <a:lnTo>
                      <a:pt x="997" y="768"/>
                    </a:lnTo>
                    <a:lnTo>
                      <a:pt x="997" y="766"/>
                    </a:lnTo>
                    <a:lnTo>
                      <a:pt x="995" y="766"/>
                    </a:lnTo>
                    <a:lnTo>
                      <a:pt x="995" y="768"/>
                    </a:lnTo>
                    <a:lnTo>
                      <a:pt x="997" y="768"/>
                    </a:lnTo>
                    <a:lnTo>
                      <a:pt x="997" y="770"/>
                    </a:lnTo>
                    <a:lnTo>
                      <a:pt x="995" y="770"/>
                    </a:lnTo>
                    <a:lnTo>
                      <a:pt x="993" y="766"/>
                    </a:lnTo>
                    <a:lnTo>
                      <a:pt x="989" y="764"/>
                    </a:lnTo>
                    <a:lnTo>
                      <a:pt x="980" y="764"/>
                    </a:lnTo>
                    <a:lnTo>
                      <a:pt x="974" y="762"/>
                    </a:lnTo>
                    <a:lnTo>
                      <a:pt x="966" y="762"/>
                    </a:lnTo>
                    <a:lnTo>
                      <a:pt x="965" y="766"/>
                    </a:lnTo>
                    <a:lnTo>
                      <a:pt x="965" y="768"/>
                    </a:lnTo>
                    <a:lnTo>
                      <a:pt x="963" y="781"/>
                    </a:lnTo>
                    <a:lnTo>
                      <a:pt x="963" y="783"/>
                    </a:lnTo>
                    <a:lnTo>
                      <a:pt x="961" y="788"/>
                    </a:lnTo>
                    <a:lnTo>
                      <a:pt x="961" y="794"/>
                    </a:lnTo>
                    <a:lnTo>
                      <a:pt x="961" y="800"/>
                    </a:lnTo>
                    <a:lnTo>
                      <a:pt x="963" y="800"/>
                    </a:lnTo>
                    <a:lnTo>
                      <a:pt x="963" y="802"/>
                    </a:lnTo>
                    <a:lnTo>
                      <a:pt x="966" y="809"/>
                    </a:lnTo>
                    <a:lnTo>
                      <a:pt x="966" y="811"/>
                    </a:lnTo>
                    <a:lnTo>
                      <a:pt x="966" y="813"/>
                    </a:lnTo>
                    <a:lnTo>
                      <a:pt x="957" y="811"/>
                    </a:lnTo>
                    <a:lnTo>
                      <a:pt x="955" y="811"/>
                    </a:lnTo>
                    <a:lnTo>
                      <a:pt x="955" y="817"/>
                    </a:lnTo>
                    <a:lnTo>
                      <a:pt x="955" y="828"/>
                    </a:lnTo>
                    <a:lnTo>
                      <a:pt x="953" y="828"/>
                    </a:lnTo>
                    <a:lnTo>
                      <a:pt x="953" y="837"/>
                    </a:lnTo>
                    <a:lnTo>
                      <a:pt x="948" y="835"/>
                    </a:lnTo>
                    <a:lnTo>
                      <a:pt x="940" y="837"/>
                    </a:lnTo>
                    <a:lnTo>
                      <a:pt x="940" y="834"/>
                    </a:lnTo>
                    <a:lnTo>
                      <a:pt x="931" y="826"/>
                    </a:lnTo>
                    <a:lnTo>
                      <a:pt x="925" y="820"/>
                    </a:lnTo>
                    <a:lnTo>
                      <a:pt x="925" y="826"/>
                    </a:lnTo>
                    <a:lnTo>
                      <a:pt x="912" y="828"/>
                    </a:lnTo>
                    <a:lnTo>
                      <a:pt x="916" y="837"/>
                    </a:lnTo>
                    <a:lnTo>
                      <a:pt x="916" y="839"/>
                    </a:lnTo>
                    <a:lnTo>
                      <a:pt x="918" y="843"/>
                    </a:lnTo>
                    <a:lnTo>
                      <a:pt x="919" y="860"/>
                    </a:lnTo>
                    <a:lnTo>
                      <a:pt x="919" y="862"/>
                    </a:lnTo>
                    <a:lnTo>
                      <a:pt x="919" y="866"/>
                    </a:lnTo>
                    <a:lnTo>
                      <a:pt x="919" y="867"/>
                    </a:lnTo>
                    <a:lnTo>
                      <a:pt x="919" y="873"/>
                    </a:lnTo>
                    <a:lnTo>
                      <a:pt x="918" y="875"/>
                    </a:lnTo>
                    <a:lnTo>
                      <a:pt x="918" y="877"/>
                    </a:lnTo>
                    <a:lnTo>
                      <a:pt x="918" y="881"/>
                    </a:lnTo>
                    <a:lnTo>
                      <a:pt x="918" y="898"/>
                    </a:lnTo>
                    <a:lnTo>
                      <a:pt x="914" y="898"/>
                    </a:lnTo>
                    <a:lnTo>
                      <a:pt x="901" y="896"/>
                    </a:lnTo>
                    <a:lnTo>
                      <a:pt x="887" y="898"/>
                    </a:lnTo>
                    <a:lnTo>
                      <a:pt x="887" y="905"/>
                    </a:lnTo>
                    <a:lnTo>
                      <a:pt x="876" y="911"/>
                    </a:lnTo>
                    <a:lnTo>
                      <a:pt x="874" y="911"/>
                    </a:lnTo>
                    <a:lnTo>
                      <a:pt x="874" y="909"/>
                    </a:lnTo>
                    <a:lnTo>
                      <a:pt x="874" y="907"/>
                    </a:lnTo>
                    <a:lnTo>
                      <a:pt x="874" y="905"/>
                    </a:lnTo>
                    <a:lnTo>
                      <a:pt x="872" y="905"/>
                    </a:lnTo>
                    <a:lnTo>
                      <a:pt x="871" y="905"/>
                    </a:lnTo>
                    <a:lnTo>
                      <a:pt x="871" y="903"/>
                    </a:lnTo>
                    <a:lnTo>
                      <a:pt x="871" y="905"/>
                    </a:lnTo>
                    <a:lnTo>
                      <a:pt x="865" y="905"/>
                    </a:lnTo>
                    <a:lnTo>
                      <a:pt x="863" y="905"/>
                    </a:lnTo>
                    <a:lnTo>
                      <a:pt x="859" y="913"/>
                    </a:lnTo>
                    <a:lnTo>
                      <a:pt x="857" y="916"/>
                    </a:lnTo>
                    <a:lnTo>
                      <a:pt x="854" y="914"/>
                    </a:lnTo>
                    <a:lnTo>
                      <a:pt x="852" y="913"/>
                    </a:lnTo>
                    <a:lnTo>
                      <a:pt x="846" y="911"/>
                    </a:lnTo>
                    <a:lnTo>
                      <a:pt x="833" y="907"/>
                    </a:lnTo>
                    <a:lnTo>
                      <a:pt x="818" y="914"/>
                    </a:lnTo>
                    <a:lnTo>
                      <a:pt x="810" y="914"/>
                    </a:lnTo>
                    <a:lnTo>
                      <a:pt x="795" y="916"/>
                    </a:lnTo>
                    <a:lnTo>
                      <a:pt x="793" y="922"/>
                    </a:lnTo>
                    <a:lnTo>
                      <a:pt x="784" y="918"/>
                    </a:lnTo>
                    <a:lnTo>
                      <a:pt x="776" y="916"/>
                    </a:lnTo>
                    <a:lnTo>
                      <a:pt x="763" y="918"/>
                    </a:lnTo>
                    <a:lnTo>
                      <a:pt x="763" y="920"/>
                    </a:lnTo>
                    <a:lnTo>
                      <a:pt x="754" y="918"/>
                    </a:lnTo>
                    <a:lnTo>
                      <a:pt x="754" y="916"/>
                    </a:lnTo>
                    <a:lnTo>
                      <a:pt x="752" y="916"/>
                    </a:lnTo>
                    <a:lnTo>
                      <a:pt x="750" y="916"/>
                    </a:lnTo>
                    <a:lnTo>
                      <a:pt x="748" y="907"/>
                    </a:lnTo>
                    <a:lnTo>
                      <a:pt x="743" y="909"/>
                    </a:lnTo>
                    <a:lnTo>
                      <a:pt x="729" y="909"/>
                    </a:lnTo>
                    <a:lnTo>
                      <a:pt x="726" y="911"/>
                    </a:lnTo>
                    <a:lnTo>
                      <a:pt x="724" y="913"/>
                    </a:lnTo>
                    <a:lnTo>
                      <a:pt x="724" y="916"/>
                    </a:lnTo>
                    <a:lnTo>
                      <a:pt x="722" y="916"/>
                    </a:lnTo>
                    <a:lnTo>
                      <a:pt x="714" y="920"/>
                    </a:lnTo>
                    <a:lnTo>
                      <a:pt x="711" y="907"/>
                    </a:lnTo>
                    <a:lnTo>
                      <a:pt x="697" y="911"/>
                    </a:lnTo>
                    <a:lnTo>
                      <a:pt x="703" y="903"/>
                    </a:lnTo>
                    <a:lnTo>
                      <a:pt x="705" y="892"/>
                    </a:lnTo>
                    <a:lnTo>
                      <a:pt x="705" y="890"/>
                    </a:lnTo>
                    <a:lnTo>
                      <a:pt x="703" y="888"/>
                    </a:lnTo>
                    <a:lnTo>
                      <a:pt x="701" y="888"/>
                    </a:lnTo>
                    <a:lnTo>
                      <a:pt x="697" y="890"/>
                    </a:lnTo>
                    <a:lnTo>
                      <a:pt x="692" y="890"/>
                    </a:lnTo>
                    <a:lnTo>
                      <a:pt x="686" y="894"/>
                    </a:lnTo>
                    <a:lnTo>
                      <a:pt x="684" y="884"/>
                    </a:lnTo>
                    <a:lnTo>
                      <a:pt x="682" y="884"/>
                    </a:lnTo>
                    <a:lnTo>
                      <a:pt x="682" y="882"/>
                    </a:lnTo>
                    <a:lnTo>
                      <a:pt x="681" y="882"/>
                    </a:lnTo>
                    <a:lnTo>
                      <a:pt x="679" y="882"/>
                    </a:lnTo>
                    <a:lnTo>
                      <a:pt x="677" y="882"/>
                    </a:lnTo>
                    <a:lnTo>
                      <a:pt x="675" y="881"/>
                    </a:lnTo>
                    <a:lnTo>
                      <a:pt x="673" y="881"/>
                    </a:lnTo>
                    <a:lnTo>
                      <a:pt x="671" y="881"/>
                    </a:lnTo>
                    <a:lnTo>
                      <a:pt x="669" y="877"/>
                    </a:lnTo>
                    <a:lnTo>
                      <a:pt x="671" y="875"/>
                    </a:lnTo>
                    <a:lnTo>
                      <a:pt x="669" y="873"/>
                    </a:lnTo>
                    <a:lnTo>
                      <a:pt x="673" y="860"/>
                    </a:lnTo>
                    <a:lnTo>
                      <a:pt x="671" y="841"/>
                    </a:lnTo>
                    <a:lnTo>
                      <a:pt x="675" y="843"/>
                    </a:lnTo>
                    <a:lnTo>
                      <a:pt x="681" y="843"/>
                    </a:lnTo>
                    <a:lnTo>
                      <a:pt x="682" y="843"/>
                    </a:lnTo>
                    <a:lnTo>
                      <a:pt x="684" y="845"/>
                    </a:lnTo>
                    <a:lnTo>
                      <a:pt x="682" y="841"/>
                    </a:lnTo>
                    <a:lnTo>
                      <a:pt x="694" y="834"/>
                    </a:lnTo>
                    <a:lnTo>
                      <a:pt x="692" y="832"/>
                    </a:lnTo>
                    <a:lnTo>
                      <a:pt x="690" y="832"/>
                    </a:lnTo>
                    <a:lnTo>
                      <a:pt x="688" y="830"/>
                    </a:lnTo>
                    <a:lnTo>
                      <a:pt x="686" y="832"/>
                    </a:lnTo>
                    <a:lnTo>
                      <a:pt x="686" y="830"/>
                    </a:lnTo>
                    <a:lnTo>
                      <a:pt x="684" y="832"/>
                    </a:lnTo>
                    <a:lnTo>
                      <a:pt x="684" y="830"/>
                    </a:lnTo>
                    <a:lnTo>
                      <a:pt x="684" y="832"/>
                    </a:lnTo>
                    <a:lnTo>
                      <a:pt x="682" y="830"/>
                    </a:lnTo>
                    <a:lnTo>
                      <a:pt x="684" y="828"/>
                    </a:lnTo>
                    <a:lnTo>
                      <a:pt x="682" y="828"/>
                    </a:lnTo>
                    <a:lnTo>
                      <a:pt x="681" y="822"/>
                    </a:lnTo>
                    <a:lnTo>
                      <a:pt x="679" y="820"/>
                    </a:lnTo>
                    <a:lnTo>
                      <a:pt x="665" y="818"/>
                    </a:lnTo>
                    <a:lnTo>
                      <a:pt x="664" y="818"/>
                    </a:lnTo>
                    <a:lnTo>
                      <a:pt x="662" y="820"/>
                    </a:lnTo>
                    <a:lnTo>
                      <a:pt x="660" y="820"/>
                    </a:lnTo>
                    <a:lnTo>
                      <a:pt x="658" y="820"/>
                    </a:lnTo>
                    <a:lnTo>
                      <a:pt x="654" y="822"/>
                    </a:lnTo>
                    <a:lnTo>
                      <a:pt x="652" y="818"/>
                    </a:lnTo>
                    <a:lnTo>
                      <a:pt x="650" y="817"/>
                    </a:lnTo>
                    <a:lnTo>
                      <a:pt x="650" y="815"/>
                    </a:lnTo>
                    <a:lnTo>
                      <a:pt x="650" y="813"/>
                    </a:lnTo>
                    <a:lnTo>
                      <a:pt x="649" y="809"/>
                    </a:lnTo>
                    <a:lnTo>
                      <a:pt x="649" y="807"/>
                    </a:lnTo>
                    <a:lnTo>
                      <a:pt x="647" y="807"/>
                    </a:lnTo>
                    <a:lnTo>
                      <a:pt x="645" y="802"/>
                    </a:lnTo>
                    <a:lnTo>
                      <a:pt x="639" y="803"/>
                    </a:lnTo>
                    <a:lnTo>
                      <a:pt x="637" y="803"/>
                    </a:lnTo>
                    <a:lnTo>
                      <a:pt x="637" y="802"/>
                    </a:lnTo>
                    <a:lnTo>
                      <a:pt x="637" y="798"/>
                    </a:lnTo>
                    <a:lnTo>
                      <a:pt x="634" y="790"/>
                    </a:lnTo>
                    <a:lnTo>
                      <a:pt x="647" y="783"/>
                    </a:lnTo>
                    <a:lnTo>
                      <a:pt x="645" y="781"/>
                    </a:lnTo>
                    <a:lnTo>
                      <a:pt x="641" y="775"/>
                    </a:lnTo>
                    <a:lnTo>
                      <a:pt x="632" y="779"/>
                    </a:lnTo>
                    <a:lnTo>
                      <a:pt x="622" y="783"/>
                    </a:lnTo>
                    <a:lnTo>
                      <a:pt x="620" y="779"/>
                    </a:lnTo>
                    <a:lnTo>
                      <a:pt x="613" y="779"/>
                    </a:lnTo>
                    <a:lnTo>
                      <a:pt x="605" y="777"/>
                    </a:lnTo>
                    <a:lnTo>
                      <a:pt x="600" y="777"/>
                    </a:lnTo>
                    <a:lnTo>
                      <a:pt x="588" y="788"/>
                    </a:lnTo>
                    <a:lnTo>
                      <a:pt x="581" y="792"/>
                    </a:lnTo>
                    <a:lnTo>
                      <a:pt x="573" y="794"/>
                    </a:lnTo>
                    <a:lnTo>
                      <a:pt x="571" y="796"/>
                    </a:lnTo>
                    <a:lnTo>
                      <a:pt x="570" y="798"/>
                    </a:lnTo>
                    <a:lnTo>
                      <a:pt x="568" y="798"/>
                    </a:lnTo>
                    <a:lnTo>
                      <a:pt x="562" y="802"/>
                    </a:lnTo>
                    <a:lnTo>
                      <a:pt x="560" y="803"/>
                    </a:lnTo>
                    <a:lnTo>
                      <a:pt x="564" y="811"/>
                    </a:lnTo>
                    <a:lnTo>
                      <a:pt x="566" y="817"/>
                    </a:lnTo>
                    <a:lnTo>
                      <a:pt x="568" y="817"/>
                    </a:lnTo>
                    <a:lnTo>
                      <a:pt x="568" y="818"/>
                    </a:lnTo>
                    <a:lnTo>
                      <a:pt x="562" y="818"/>
                    </a:lnTo>
                    <a:lnTo>
                      <a:pt x="560" y="822"/>
                    </a:lnTo>
                    <a:lnTo>
                      <a:pt x="551" y="824"/>
                    </a:lnTo>
                    <a:lnTo>
                      <a:pt x="538" y="826"/>
                    </a:lnTo>
                    <a:lnTo>
                      <a:pt x="526" y="828"/>
                    </a:lnTo>
                    <a:lnTo>
                      <a:pt x="532" y="837"/>
                    </a:lnTo>
                    <a:lnTo>
                      <a:pt x="532" y="839"/>
                    </a:lnTo>
                    <a:lnTo>
                      <a:pt x="519" y="841"/>
                    </a:lnTo>
                    <a:lnTo>
                      <a:pt x="519" y="839"/>
                    </a:lnTo>
                    <a:lnTo>
                      <a:pt x="515" y="839"/>
                    </a:lnTo>
                    <a:lnTo>
                      <a:pt x="507" y="843"/>
                    </a:lnTo>
                    <a:lnTo>
                      <a:pt x="506" y="845"/>
                    </a:lnTo>
                    <a:lnTo>
                      <a:pt x="502" y="847"/>
                    </a:lnTo>
                    <a:lnTo>
                      <a:pt x="506" y="849"/>
                    </a:lnTo>
                    <a:lnTo>
                      <a:pt x="511" y="860"/>
                    </a:lnTo>
                    <a:lnTo>
                      <a:pt x="504" y="862"/>
                    </a:lnTo>
                    <a:lnTo>
                      <a:pt x="509" y="862"/>
                    </a:lnTo>
                    <a:lnTo>
                      <a:pt x="521" y="860"/>
                    </a:lnTo>
                    <a:lnTo>
                      <a:pt x="524" y="860"/>
                    </a:lnTo>
                    <a:lnTo>
                      <a:pt x="526" y="856"/>
                    </a:lnTo>
                    <a:lnTo>
                      <a:pt x="532" y="854"/>
                    </a:lnTo>
                    <a:lnTo>
                      <a:pt x="538" y="852"/>
                    </a:lnTo>
                    <a:lnTo>
                      <a:pt x="539" y="850"/>
                    </a:lnTo>
                    <a:lnTo>
                      <a:pt x="541" y="850"/>
                    </a:lnTo>
                    <a:lnTo>
                      <a:pt x="543" y="845"/>
                    </a:lnTo>
                    <a:lnTo>
                      <a:pt x="553" y="843"/>
                    </a:lnTo>
                    <a:lnTo>
                      <a:pt x="558" y="843"/>
                    </a:lnTo>
                    <a:lnTo>
                      <a:pt x="558" y="841"/>
                    </a:lnTo>
                    <a:lnTo>
                      <a:pt x="568" y="839"/>
                    </a:lnTo>
                    <a:lnTo>
                      <a:pt x="568" y="837"/>
                    </a:lnTo>
                    <a:lnTo>
                      <a:pt x="568" y="835"/>
                    </a:lnTo>
                    <a:lnTo>
                      <a:pt x="570" y="835"/>
                    </a:lnTo>
                    <a:lnTo>
                      <a:pt x="571" y="834"/>
                    </a:lnTo>
                    <a:lnTo>
                      <a:pt x="571" y="843"/>
                    </a:lnTo>
                    <a:lnTo>
                      <a:pt x="568" y="843"/>
                    </a:lnTo>
                    <a:lnTo>
                      <a:pt x="562" y="845"/>
                    </a:lnTo>
                    <a:lnTo>
                      <a:pt x="570" y="854"/>
                    </a:lnTo>
                    <a:lnTo>
                      <a:pt x="568" y="854"/>
                    </a:lnTo>
                    <a:lnTo>
                      <a:pt x="570" y="854"/>
                    </a:lnTo>
                    <a:lnTo>
                      <a:pt x="573" y="862"/>
                    </a:lnTo>
                    <a:lnTo>
                      <a:pt x="579" y="862"/>
                    </a:lnTo>
                    <a:lnTo>
                      <a:pt x="579" y="864"/>
                    </a:lnTo>
                    <a:lnTo>
                      <a:pt x="579" y="866"/>
                    </a:lnTo>
                    <a:lnTo>
                      <a:pt x="579" y="867"/>
                    </a:lnTo>
                    <a:lnTo>
                      <a:pt x="579" y="869"/>
                    </a:lnTo>
                    <a:lnTo>
                      <a:pt x="577" y="869"/>
                    </a:lnTo>
                    <a:lnTo>
                      <a:pt x="577" y="871"/>
                    </a:lnTo>
                    <a:lnTo>
                      <a:pt x="575" y="873"/>
                    </a:lnTo>
                    <a:lnTo>
                      <a:pt x="573" y="869"/>
                    </a:lnTo>
                    <a:lnTo>
                      <a:pt x="568" y="881"/>
                    </a:lnTo>
                    <a:lnTo>
                      <a:pt x="560" y="873"/>
                    </a:lnTo>
                    <a:lnTo>
                      <a:pt x="558" y="873"/>
                    </a:lnTo>
                    <a:lnTo>
                      <a:pt x="549" y="873"/>
                    </a:lnTo>
                    <a:lnTo>
                      <a:pt x="538" y="875"/>
                    </a:lnTo>
                    <a:lnTo>
                      <a:pt x="534" y="877"/>
                    </a:lnTo>
                    <a:lnTo>
                      <a:pt x="534" y="890"/>
                    </a:lnTo>
                    <a:lnTo>
                      <a:pt x="524" y="890"/>
                    </a:lnTo>
                    <a:lnTo>
                      <a:pt x="517" y="890"/>
                    </a:lnTo>
                    <a:lnTo>
                      <a:pt x="517" y="894"/>
                    </a:lnTo>
                    <a:lnTo>
                      <a:pt x="504" y="894"/>
                    </a:lnTo>
                    <a:lnTo>
                      <a:pt x="504" y="892"/>
                    </a:lnTo>
                    <a:lnTo>
                      <a:pt x="502" y="888"/>
                    </a:lnTo>
                    <a:lnTo>
                      <a:pt x="502" y="884"/>
                    </a:lnTo>
                    <a:lnTo>
                      <a:pt x="491" y="888"/>
                    </a:lnTo>
                    <a:lnTo>
                      <a:pt x="489" y="888"/>
                    </a:lnTo>
                    <a:lnTo>
                      <a:pt x="487" y="888"/>
                    </a:lnTo>
                    <a:lnTo>
                      <a:pt x="481" y="890"/>
                    </a:lnTo>
                    <a:lnTo>
                      <a:pt x="481" y="884"/>
                    </a:lnTo>
                    <a:lnTo>
                      <a:pt x="479" y="882"/>
                    </a:lnTo>
                    <a:lnTo>
                      <a:pt x="479" y="881"/>
                    </a:lnTo>
                    <a:lnTo>
                      <a:pt x="477" y="877"/>
                    </a:lnTo>
                    <a:lnTo>
                      <a:pt x="474" y="873"/>
                    </a:lnTo>
                    <a:lnTo>
                      <a:pt x="474" y="871"/>
                    </a:lnTo>
                    <a:lnTo>
                      <a:pt x="472" y="869"/>
                    </a:lnTo>
                    <a:lnTo>
                      <a:pt x="470" y="866"/>
                    </a:lnTo>
                    <a:lnTo>
                      <a:pt x="468" y="864"/>
                    </a:lnTo>
                    <a:lnTo>
                      <a:pt x="468" y="862"/>
                    </a:lnTo>
                    <a:lnTo>
                      <a:pt x="466" y="862"/>
                    </a:lnTo>
                    <a:lnTo>
                      <a:pt x="460" y="858"/>
                    </a:lnTo>
                    <a:lnTo>
                      <a:pt x="459" y="858"/>
                    </a:lnTo>
                    <a:lnTo>
                      <a:pt x="449" y="862"/>
                    </a:lnTo>
                    <a:lnTo>
                      <a:pt x="447" y="862"/>
                    </a:lnTo>
                    <a:lnTo>
                      <a:pt x="440" y="860"/>
                    </a:lnTo>
                    <a:lnTo>
                      <a:pt x="440" y="850"/>
                    </a:lnTo>
                    <a:lnTo>
                      <a:pt x="438" y="843"/>
                    </a:lnTo>
                    <a:lnTo>
                      <a:pt x="434" y="843"/>
                    </a:lnTo>
                    <a:lnTo>
                      <a:pt x="430" y="845"/>
                    </a:lnTo>
                    <a:lnTo>
                      <a:pt x="427" y="830"/>
                    </a:lnTo>
                    <a:lnTo>
                      <a:pt x="432" y="830"/>
                    </a:lnTo>
                    <a:lnTo>
                      <a:pt x="436" y="830"/>
                    </a:lnTo>
                    <a:lnTo>
                      <a:pt x="440" y="828"/>
                    </a:lnTo>
                    <a:lnTo>
                      <a:pt x="445" y="826"/>
                    </a:lnTo>
                    <a:lnTo>
                      <a:pt x="451" y="834"/>
                    </a:lnTo>
                    <a:lnTo>
                      <a:pt x="451" y="835"/>
                    </a:lnTo>
                    <a:lnTo>
                      <a:pt x="449" y="835"/>
                    </a:lnTo>
                    <a:lnTo>
                      <a:pt x="457" y="837"/>
                    </a:lnTo>
                    <a:lnTo>
                      <a:pt x="460" y="839"/>
                    </a:lnTo>
                    <a:lnTo>
                      <a:pt x="460" y="837"/>
                    </a:lnTo>
                    <a:lnTo>
                      <a:pt x="460" y="834"/>
                    </a:lnTo>
                    <a:lnTo>
                      <a:pt x="466" y="824"/>
                    </a:lnTo>
                    <a:lnTo>
                      <a:pt x="468" y="822"/>
                    </a:lnTo>
                    <a:lnTo>
                      <a:pt x="470" y="822"/>
                    </a:lnTo>
                    <a:lnTo>
                      <a:pt x="470" y="820"/>
                    </a:lnTo>
                    <a:lnTo>
                      <a:pt x="472" y="817"/>
                    </a:lnTo>
                    <a:lnTo>
                      <a:pt x="464" y="815"/>
                    </a:lnTo>
                    <a:lnTo>
                      <a:pt x="464" y="813"/>
                    </a:lnTo>
                    <a:lnTo>
                      <a:pt x="455" y="811"/>
                    </a:lnTo>
                    <a:lnTo>
                      <a:pt x="445" y="807"/>
                    </a:lnTo>
                    <a:lnTo>
                      <a:pt x="438" y="803"/>
                    </a:lnTo>
                    <a:lnTo>
                      <a:pt x="436" y="796"/>
                    </a:lnTo>
                    <a:lnTo>
                      <a:pt x="427" y="796"/>
                    </a:lnTo>
                    <a:lnTo>
                      <a:pt x="415" y="798"/>
                    </a:lnTo>
                    <a:lnTo>
                      <a:pt x="410" y="794"/>
                    </a:lnTo>
                    <a:lnTo>
                      <a:pt x="406" y="794"/>
                    </a:lnTo>
                    <a:lnTo>
                      <a:pt x="404" y="794"/>
                    </a:lnTo>
                    <a:lnTo>
                      <a:pt x="402" y="790"/>
                    </a:lnTo>
                    <a:lnTo>
                      <a:pt x="398" y="792"/>
                    </a:lnTo>
                    <a:lnTo>
                      <a:pt x="395" y="794"/>
                    </a:lnTo>
                    <a:lnTo>
                      <a:pt x="393" y="802"/>
                    </a:lnTo>
                    <a:lnTo>
                      <a:pt x="385" y="800"/>
                    </a:lnTo>
                    <a:lnTo>
                      <a:pt x="383" y="800"/>
                    </a:lnTo>
                    <a:lnTo>
                      <a:pt x="376" y="800"/>
                    </a:lnTo>
                    <a:lnTo>
                      <a:pt x="376" y="798"/>
                    </a:lnTo>
                    <a:lnTo>
                      <a:pt x="363" y="794"/>
                    </a:lnTo>
                    <a:lnTo>
                      <a:pt x="361" y="796"/>
                    </a:lnTo>
                    <a:lnTo>
                      <a:pt x="355" y="794"/>
                    </a:lnTo>
                    <a:lnTo>
                      <a:pt x="353" y="794"/>
                    </a:lnTo>
                    <a:lnTo>
                      <a:pt x="351" y="792"/>
                    </a:lnTo>
                    <a:lnTo>
                      <a:pt x="348" y="792"/>
                    </a:lnTo>
                    <a:lnTo>
                      <a:pt x="344" y="794"/>
                    </a:lnTo>
                    <a:lnTo>
                      <a:pt x="338" y="798"/>
                    </a:lnTo>
                    <a:lnTo>
                      <a:pt x="331" y="800"/>
                    </a:lnTo>
                    <a:lnTo>
                      <a:pt x="325" y="800"/>
                    </a:lnTo>
                    <a:lnTo>
                      <a:pt x="325" y="798"/>
                    </a:lnTo>
                    <a:lnTo>
                      <a:pt x="310" y="794"/>
                    </a:lnTo>
                    <a:lnTo>
                      <a:pt x="304" y="798"/>
                    </a:lnTo>
                    <a:lnTo>
                      <a:pt x="302" y="798"/>
                    </a:lnTo>
                    <a:lnTo>
                      <a:pt x="302" y="802"/>
                    </a:lnTo>
                    <a:lnTo>
                      <a:pt x="302" y="803"/>
                    </a:lnTo>
                    <a:lnTo>
                      <a:pt x="302" y="807"/>
                    </a:lnTo>
                    <a:lnTo>
                      <a:pt x="302" y="809"/>
                    </a:lnTo>
                    <a:lnTo>
                      <a:pt x="302" y="811"/>
                    </a:lnTo>
                    <a:lnTo>
                      <a:pt x="297" y="817"/>
                    </a:lnTo>
                    <a:lnTo>
                      <a:pt x="295" y="818"/>
                    </a:lnTo>
                    <a:lnTo>
                      <a:pt x="295" y="820"/>
                    </a:lnTo>
                    <a:lnTo>
                      <a:pt x="293" y="824"/>
                    </a:lnTo>
                    <a:lnTo>
                      <a:pt x="295" y="824"/>
                    </a:lnTo>
                    <a:lnTo>
                      <a:pt x="295" y="826"/>
                    </a:lnTo>
                    <a:lnTo>
                      <a:pt x="293" y="826"/>
                    </a:lnTo>
                    <a:lnTo>
                      <a:pt x="289" y="830"/>
                    </a:lnTo>
                    <a:lnTo>
                      <a:pt x="287" y="830"/>
                    </a:lnTo>
                    <a:lnTo>
                      <a:pt x="286" y="830"/>
                    </a:lnTo>
                    <a:lnTo>
                      <a:pt x="286" y="828"/>
                    </a:lnTo>
                    <a:lnTo>
                      <a:pt x="286" y="826"/>
                    </a:lnTo>
                    <a:lnTo>
                      <a:pt x="287" y="826"/>
                    </a:lnTo>
                    <a:lnTo>
                      <a:pt x="284" y="824"/>
                    </a:lnTo>
                    <a:lnTo>
                      <a:pt x="278" y="822"/>
                    </a:lnTo>
                    <a:lnTo>
                      <a:pt x="274" y="824"/>
                    </a:lnTo>
                    <a:lnTo>
                      <a:pt x="272" y="820"/>
                    </a:lnTo>
                    <a:lnTo>
                      <a:pt x="261" y="826"/>
                    </a:lnTo>
                    <a:lnTo>
                      <a:pt x="259" y="822"/>
                    </a:lnTo>
                    <a:lnTo>
                      <a:pt x="250" y="824"/>
                    </a:lnTo>
                    <a:lnTo>
                      <a:pt x="248" y="824"/>
                    </a:lnTo>
                    <a:lnTo>
                      <a:pt x="237" y="826"/>
                    </a:lnTo>
                    <a:lnTo>
                      <a:pt x="235" y="822"/>
                    </a:lnTo>
                    <a:lnTo>
                      <a:pt x="231" y="815"/>
                    </a:lnTo>
                    <a:lnTo>
                      <a:pt x="225" y="813"/>
                    </a:lnTo>
                    <a:lnTo>
                      <a:pt x="220" y="813"/>
                    </a:lnTo>
                    <a:lnTo>
                      <a:pt x="214" y="817"/>
                    </a:lnTo>
                    <a:lnTo>
                      <a:pt x="207" y="820"/>
                    </a:lnTo>
                    <a:lnTo>
                      <a:pt x="208" y="813"/>
                    </a:lnTo>
                    <a:lnTo>
                      <a:pt x="203" y="811"/>
                    </a:lnTo>
                    <a:lnTo>
                      <a:pt x="203" y="802"/>
                    </a:lnTo>
                    <a:lnTo>
                      <a:pt x="208" y="792"/>
                    </a:lnTo>
                    <a:lnTo>
                      <a:pt x="197" y="788"/>
                    </a:lnTo>
                    <a:lnTo>
                      <a:pt x="190" y="796"/>
                    </a:lnTo>
                    <a:lnTo>
                      <a:pt x="188" y="788"/>
                    </a:lnTo>
                    <a:lnTo>
                      <a:pt x="188" y="786"/>
                    </a:lnTo>
                    <a:lnTo>
                      <a:pt x="186" y="786"/>
                    </a:lnTo>
                    <a:lnTo>
                      <a:pt x="182" y="781"/>
                    </a:lnTo>
                    <a:lnTo>
                      <a:pt x="176" y="775"/>
                    </a:lnTo>
                    <a:lnTo>
                      <a:pt x="176" y="773"/>
                    </a:lnTo>
                    <a:lnTo>
                      <a:pt x="161" y="770"/>
                    </a:lnTo>
                    <a:lnTo>
                      <a:pt x="160" y="760"/>
                    </a:lnTo>
                    <a:lnTo>
                      <a:pt x="160" y="753"/>
                    </a:lnTo>
                    <a:lnTo>
                      <a:pt x="160" y="749"/>
                    </a:lnTo>
                    <a:lnTo>
                      <a:pt x="158" y="722"/>
                    </a:lnTo>
                    <a:lnTo>
                      <a:pt x="144" y="722"/>
                    </a:lnTo>
                    <a:lnTo>
                      <a:pt x="144" y="724"/>
                    </a:lnTo>
                    <a:lnTo>
                      <a:pt x="144" y="732"/>
                    </a:lnTo>
                    <a:lnTo>
                      <a:pt x="144" y="739"/>
                    </a:lnTo>
                    <a:lnTo>
                      <a:pt x="135" y="739"/>
                    </a:lnTo>
                    <a:lnTo>
                      <a:pt x="135" y="741"/>
                    </a:lnTo>
                    <a:lnTo>
                      <a:pt x="126" y="745"/>
                    </a:lnTo>
                    <a:lnTo>
                      <a:pt x="114" y="749"/>
                    </a:lnTo>
                    <a:lnTo>
                      <a:pt x="107" y="751"/>
                    </a:lnTo>
                    <a:lnTo>
                      <a:pt x="97" y="754"/>
                    </a:lnTo>
                    <a:lnTo>
                      <a:pt x="94" y="756"/>
                    </a:lnTo>
                    <a:lnTo>
                      <a:pt x="90" y="762"/>
                    </a:lnTo>
                    <a:lnTo>
                      <a:pt x="86" y="770"/>
                    </a:lnTo>
                    <a:lnTo>
                      <a:pt x="84" y="768"/>
                    </a:lnTo>
                    <a:lnTo>
                      <a:pt x="77" y="764"/>
                    </a:lnTo>
                    <a:lnTo>
                      <a:pt x="75" y="762"/>
                    </a:lnTo>
                    <a:lnTo>
                      <a:pt x="73" y="764"/>
                    </a:lnTo>
                    <a:lnTo>
                      <a:pt x="64" y="756"/>
                    </a:lnTo>
                    <a:lnTo>
                      <a:pt x="54" y="749"/>
                    </a:lnTo>
                    <a:lnTo>
                      <a:pt x="49" y="751"/>
                    </a:lnTo>
                    <a:lnTo>
                      <a:pt x="39" y="751"/>
                    </a:lnTo>
                    <a:lnTo>
                      <a:pt x="30" y="749"/>
                    </a:lnTo>
                    <a:lnTo>
                      <a:pt x="24" y="749"/>
                    </a:lnTo>
                    <a:lnTo>
                      <a:pt x="11" y="749"/>
                    </a:lnTo>
                    <a:lnTo>
                      <a:pt x="13" y="749"/>
                    </a:lnTo>
                    <a:lnTo>
                      <a:pt x="13" y="747"/>
                    </a:lnTo>
                    <a:lnTo>
                      <a:pt x="13" y="745"/>
                    </a:lnTo>
                    <a:lnTo>
                      <a:pt x="13" y="743"/>
                    </a:lnTo>
                    <a:lnTo>
                      <a:pt x="11" y="743"/>
                    </a:lnTo>
                    <a:lnTo>
                      <a:pt x="9" y="743"/>
                    </a:lnTo>
                    <a:lnTo>
                      <a:pt x="7" y="743"/>
                    </a:lnTo>
                    <a:lnTo>
                      <a:pt x="7" y="741"/>
                    </a:lnTo>
                    <a:lnTo>
                      <a:pt x="5" y="741"/>
                    </a:lnTo>
                    <a:lnTo>
                      <a:pt x="5" y="739"/>
                    </a:lnTo>
                    <a:lnTo>
                      <a:pt x="3" y="739"/>
                    </a:lnTo>
                    <a:lnTo>
                      <a:pt x="3" y="738"/>
                    </a:lnTo>
                    <a:lnTo>
                      <a:pt x="5" y="736"/>
                    </a:lnTo>
                    <a:lnTo>
                      <a:pt x="3" y="734"/>
                    </a:lnTo>
                    <a:lnTo>
                      <a:pt x="3" y="732"/>
                    </a:lnTo>
                    <a:lnTo>
                      <a:pt x="3" y="730"/>
                    </a:lnTo>
                    <a:lnTo>
                      <a:pt x="3" y="728"/>
                    </a:lnTo>
                    <a:lnTo>
                      <a:pt x="2" y="728"/>
                    </a:lnTo>
                    <a:lnTo>
                      <a:pt x="2" y="726"/>
                    </a:lnTo>
                    <a:lnTo>
                      <a:pt x="2" y="724"/>
                    </a:lnTo>
                    <a:lnTo>
                      <a:pt x="3" y="724"/>
                    </a:lnTo>
                    <a:lnTo>
                      <a:pt x="3" y="722"/>
                    </a:lnTo>
                    <a:lnTo>
                      <a:pt x="2" y="722"/>
                    </a:lnTo>
                    <a:lnTo>
                      <a:pt x="2" y="721"/>
                    </a:lnTo>
                    <a:lnTo>
                      <a:pt x="3" y="721"/>
                    </a:lnTo>
                    <a:lnTo>
                      <a:pt x="3" y="719"/>
                    </a:lnTo>
                    <a:lnTo>
                      <a:pt x="3" y="717"/>
                    </a:lnTo>
                    <a:lnTo>
                      <a:pt x="3" y="715"/>
                    </a:lnTo>
                    <a:lnTo>
                      <a:pt x="2" y="715"/>
                    </a:lnTo>
                    <a:lnTo>
                      <a:pt x="3" y="713"/>
                    </a:lnTo>
                    <a:lnTo>
                      <a:pt x="3" y="711"/>
                    </a:lnTo>
                    <a:lnTo>
                      <a:pt x="2" y="709"/>
                    </a:lnTo>
                    <a:lnTo>
                      <a:pt x="3" y="709"/>
                    </a:lnTo>
                    <a:lnTo>
                      <a:pt x="3" y="707"/>
                    </a:lnTo>
                    <a:lnTo>
                      <a:pt x="3" y="706"/>
                    </a:lnTo>
                    <a:lnTo>
                      <a:pt x="2" y="706"/>
                    </a:lnTo>
                    <a:lnTo>
                      <a:pt x="2" y="704"/>
                    </a:lnTo>
                    <a:lnTo>
                      <a:pt x="0" y="704"/>
                    </a:lnTo>
                    <a:lnTo>
                      <a:pt x="0" y="702"/>
                    </a:lnTo>
                    <a:lnTo>
                      <a:pt x="2" y="702"/>
                    </a:lnTo>
                    <a:lnTo>
                      <a:pt x="2" y="700"/>
                    </a:lnTo>
                    <a:lnTo>
                      <a:pt x="3" y="698"/>
                    </a:lnTo>
                    <a:lnTo>
                      <a:pt x="3" y="696"/>
                    </a:lnTo>
                    <a:lnTo>
                      <a:pt x="3" y="694"/>
                    </a:lnTo>
                    <a:lnTo>
                      <a:pt x="5" y="694"/>
                    </a:lnTo>
                    <a:lnTo>
                      <a:pt x="7" y="694"/>
                    </a:lnTo>
                    <a:lnTo>
                      <a:pt x="7" y="692"/>
                    </a:lnTo>
                    <a:lnTo>
                      <a:pt x="9" y="692"/>
                    </a:lnTo>
                    <a:lnTo>
                      <a:pt x="11" y="692"/>
                    </a:lnTo>
                    <a:lnTo>
                      <a:pt x="11" y="690"/>
                    </a:lnTo>
                    <a:lnTo>
                      <a:pt x="13" y="689"/>
                    </a:lnTo>
                    <a:lnTo>
                      <a:pt x="15" y="687"/>
                    </a:lnTo>
                    <a:lnTo>
                      <a:pt x="15" y="685"/>
                    </a:lnTo>
                    <a:lnTo>
                      <a:pt x="17" y="685"/>
                    </a:lnTo>
                    <a:lnTo>
                      <a:pt x="17" y="683"/>
                    </a:lnTo>
                    <a:lnTo>
                      <a:pt x="17" y="681"/>
                    </a:lnTo>
                    <a:lnTo>
                      <a:pt x="18" y="681"/>
                    </a:lnTo>
                    <a:lnTo>
                      <a:pt x="18" y="679"/>
                    </a:lnTo>
                    <a:lnTo>
                      <a:pt x="17" y="679"/>
                    </a:lnTo>
                    <a:lnTo>
                      <a:pt x="18" y="677"/>
                    </a:lnTo>
                    <a:lnTo>
                      <a:pt x="18" y="675"/>
                    </a:lnTo>
                    <a:lnTo>
                      <a:pt x="20" y="675"/>
                    </a:lnTo>
                    <a:lnTo>
                      <a:pt x="20" y="674"/>
                    </a:lnTo>
                    <a:lnTo>
                      <a:pt x="18" y="674"/>
                    </a:lnTo>
                    <a:lnTo>
                      <a:pt x="20" y="674"/>
                    </a:lnTo>
                    <a:lnTo>
                      <a:pt x="20" y="672"/>
                    </a:lnTo>
                    <a:lnTo>
                      <a:pt x="20" y="670"/>
                    </a:lnTo>
                    <a:lnTo>
                      <a:pt x="22" y="670"/>
                    </a:lnTo>
                    <a:lnTo>
                      <a:pt x="22" y="668"/>
                    </a:lnTo>
                    <a:lnTo>
                      <a:pt x="22" y="666"/>
                    </a:lnTo>
                    <a:lnTo>
                      <a:pt x="22" y="664"/>
                    </a:lnTo>
                    <a:lnTo>
                      <a:pt x="24" y="664"/>
                    </a:lnTo>
                    <a:lnTo>
                      <a:pt x="22" y="664"/>
                    </a:lnTo>
                    <a:lnTo>
                      <a:pt x="24" y="662"/>
                    </a:lnTo>
                    <a:lnTo>
                      <a:pt x="24" y="664"/>
                    </a:lnTo>
                    <a:lnTo>
                      <a:pt x="24" y="662"/>
                    </a:lnTo>
                    <a:lnTo>
                      <a:pt x="26" y="662"/>
                    </a:lnTo>
                    <a:lnTo>
                      <a:pt x="26" y="660"/>
                    </a:lnTo>
                    <a:lnTo>
                      <a:pt x="24" y="660"/>
                    </a:lnTo>
                    <a:lnTo>
                      <a:pt x="26" y="660"/>
                    </a:lnTo>
                    <a:lnTo>
                      <a:pt x="26" y="658"/>
                    </a:lnTo>
                    <a:lnTo>
                      <a:pt x="26" y="657"/>
                    </a:lnTo>
                    <a:lnTo>
                      <a:pt x="28" y="657"/>
                    </a:lnTo>
                    <a:lnTo>
                      <a:pt x="30" y="657"/>
                    </a:lnTo>
                    <a:lnTo>
                      <a:pt x="30" y="655"/>
                    </a:lnTo>
                    <a:lnTo>
                      <a:pt x="32" y="655"/>
                    </a:lnTo>
                    <a:lnTo>
                      <a:pt x="32" y="653"/>
                    </a:lnTo>
                    <a:lnTo>
                      <a:pt x="33" y="651"/>
                    </a:lnTo>
                    <a:lnTo>
                      <a:pt x="35" y="651"/>
                    </a:lnTo>
                    <a:lnTo>
                      <a:pt x="35" y="649"/>
                    </a:lnTo>
                    <a:lnTo>
                      <a:pt x="35" y="647"/>
                    </a:lnTo>
                    <a:lnTo>
                      <a:pt x="37" y="647"/>
                    </a:lnTo>
                    <a:lnTo>
                      <a:pt x="37" y="649"/>
                    </a:lnTo>
                    <a:lnTo>
                      <a:pt x="37" y="647"/>
                    </a:lnTo>
                    <a:lnTo>
                      <a:pt x="39" y="647"/>
                    </a:lnTo>
                    <a:lnTo>
                      <a:pt x="39" y="645"/>
                    </a:lnTo>
                    <a:lnTo>
                      <a:pt x="39" y="643"/>
                    </a:lnTo>
                    <a:lnTo>
                      <a:pt x="41" y="643"/>
                    </a:lnTo>
                    <a:lnTo>
                      <a:pt x="41" y="642"/>
                    </a:lnTo>
                    <a:lnTo>
                      <a:pt x="43" y="642"/>
                    </a:lnTo>
                    <a:lnTo>
                      <a:pt x="45" y="642"/>
                    </a:lnTo>
                    <a:lnTo>
                      <a:pt x="45" y="640"/>
                    </a:lnTo>
                    <a:lnTo>
                      <a:pt x="43" y="640"/>
                    </a:lnTo>
                    <a:lnTo>
                      <a:pt x="43" y="642"/>
                    </a:lnTo>
                    <a:lnTo>
                      <a:pt x="43" y="640"/>
                    </a:lnTo>
                    <a:lnTo>
                      <a:pt x="45" y="640"/>
                    </a:lnTo>
                    <a:lnTo>
                      <a:pt x="45" y="638"/>
                    </a:lnTo>
                    <a:lnTo>
                      <a:pt x="45" y="636"/>
                    </a:lnTo>
                    <a:lnTo>
                      <a:pt x="47" y="636"/>
                    </a:lnTo>
                    <a:lnTo>
                      <a:pt x="49" y="636"/>
                    </a:lnTo>
                    <a:lnTo>
                      <a:pt x="50" y="636"/>
                    </a:lnTo>
                    <a:lnTo>
                      <a:pt x="52" y="636"/>
                    </a:lnTo>
                    <a:lnTo>
                      <a:pt x="52" y="634"/>
                    </a:lnTo>
                    <a:lnTo>
                      <a:pt x="52" y="632"/>
                    </a:lnTo>
                    <a:lnTo>
                      <a:pt x="52" y="634"/>
                    </a:lnTo>
                    <a:lnTo>
                      <a:pt x="52" y="632"/>
                    </a:lnTo>
                    <a:lnTo>
                      <a:pt x="54" y="632"/>
                    </a:lnTo>
                    <a:lnTo>
                      <a:pt x="56" y="632"/>
                    </a:lnTo>
                    <a:lnTo>
                      <a:pt x="56" y="630"/>
                    </a:lnTo>
                    <a:lnTo>
                      <a:pt x="58" y="630"/>
                    </a:lnTo>
                    <a:lnTo>
                      <a:pt x="58" y="628"/>
                    </a:lnTo>
                    <a:lnTo>
                      <a:pt x="58" y="630"/>
                    </a:lnTo>
                    <a:lnTo>
                      <a:pt x="58" y="628"/>
                    </a:lnTo>
                    <a:lnTo>
                      <a:pt x="60" y="628"/>
                    </a:lnTo>
                    <a:lnTo>
                      <a:pt x="62" y="628"/>
                    </a:lnTo>
                    <a:lnTo>
                      <a:pt x="62" y="630"/>
                    </a:lnTo>
                    <a:lnTo>
                      <a:pt x="62" y="628"/>
                    </a:lnTo>
                    <a:lnTo>
                      <a:pt x="64" y="628"/>
                    </a:lnTo>
                    <a:lnTo>
                      <a:pt x="62" y="628"/>
                    </a:lnTo>
                    <a:lnTo>
                      <a:pt x="64" y="628"/>
                    </a:lnTo>
                    <a:lnTo>
                      <a:pt x="65" y="628"/>
                    </a:lnTo>
                    <a:lnTo>
                      <a:pt x="65" y="626"/>
                    </a:lnTo>
                    <a:lnTo>
                      <a:pt x="65" y="625"/>
                    </a:lnTo>
                    <a:lnTo>
                      <a:pt x="65" y="626"/>
                    </a:lnTo>
                    <a:lnTo>
                      <a:pt x="65" y="625"/>
                    </a:lnTo>
                    <a:lnTo>
                      <a:pt x="65" y="623"/>
                    </a:lnTo>
                    <a:lnTo>
                      <a:pt x="64" y="623"/>
                    </a:lnTo>
                    <a:lnTo>
                      <a:pt x="65" y="623"/>
                    </a:lnTo>
                    <a:lnTo>
                      <a:pt x="65" y="621"/>
                    </a:lnTo>
                    <a:lnTo>
                      <a:pt x="67" y="619"/>
                    </a:lnTo>
                    <a:lnTo>
                      <a:pt x="67" y="617"/>
                    </a:lnTo>
                    <a:lnTo>
                      <a:pt x="67" y="619"/>
                    </a:lnTo>
                    <a:lnTo>
                      <a:pt x="67" y="617"/>
                    </a:lnTo>
                    <a:lnTo>
                      <a:pt x="69" y="617"/>
                    </a:lnTo>
                    <a:lnTo>
                      <a:pt x="69" y="615"/>
                    </a:lnTo>
                    <a:lnTo>
                      <a:pt x="71" y="615"/>
                    </a:lnTo>
                    <a:lnTo>
                      <a:pt x="73" y="615"/>
                    </a:lnTo>
                    <a:lnTo>
                      <a:pt x="73" y="617"/>
                    </a:lnTo>
                    <a:lnTo>
                      <a:pt x="73" y="615"/>
                    </a:lnTo>
                    <a:lnTo>
                      <a:pt x="75" y="615"/>
                    </a:lnTo>
                    <a:lnTo>
                      <a:pt x="73" y="615"/>
                    </a:lnTo>
                    <a:lnTo>
                      <a:pt x="75" y="615"/>
                    </a:lnTo>
                    <a:lnTo>
                      <a:pt x="75" y="613"/>
                    </a:lnTo>
                    <a:lnTo>
                      <a:pt x="73" y="613"/>
                    </a:lnTo>
                    <a:lnTo>
                      <a:pt x="75" y="613"/>
                    </a:lnTo>
                    <a:lnTo>
                      <a:pt x="75" y="611"/>
                    </a:lnTo>
                    <a:lnTo>
                      <a:pt x="77" y="611"/>
                    </a:lnTo>
                    <a:lnTo>
                      <a:pt x="75" y="611"/>
                    </a:lnTo>
                    <a:lnTo>
                      <a:pt x="77" y="611"/>
                    </a:lnTo>
                    <a:lnTo>
                      <a:pt x="77" y="610"/>
                    </a:lnTo>
                    <a:lnTo>
                      <a:pt x="77" y="611"/>
                    </a:lnTo>
                    <a:lnTo>
                      <a:pt x="79" y="611"/>
                    </a:lnTo>
                    <a:lnTo>
                      <a:pt x="79" y="610"/>
                    </a:lnTo>
                    <a:lnTo>
                      <a:pt x="81" y="610"/>
                    </a:lnTo>
                    <a:lnTo>
                      <a:pt x="81" y="608"/>
                    </a:lnTo>
                    <a:lnTo>
                      <a:pt x="82" y="608"/>
                    </a:lnTo>
                    <a:lnTo>
                      <a:pt x="81" y="608"/>
                    </a:lnTo>
                    <a:lnTo>
                      <a:pt x="82" y="608"/>
                    </a:lnTo>
                    <a:lnTo>
                      <a:pt x="82" y="606"/>
                    </a:lnTo>
                    <a:lnTo>
                      <a:pt x="84" y="606"/>
                    </a:lnTo>
                    <a:lnTo>
                      <a:pt x="84" y="608"/>
                    </a:lnTo>
                    <a:lnTo>
                      <a:pt x="84" y="606"/>
                    </a:lnTo>
                    <a:lnTo>
                      <a:pt x="84" y="608"/>
                    </a:lnTo>
                    <a:lnTo>
                      <a:pt x="86" y="608"/>
                    </a:lnTo>
                    <a:lnTo>
                      <a:pt x="86" y="610"/>
                    </a:lnTo>
                    <a:lnTo>
                      <a:pt x="88" y="610"/>
                    </a:lnTo>
                    <a:lnTo>
                      <a:pt x="88" y="608"/>
                    </a:lnTo>
                    <a:lnTo>
                      <a:pt x="90" y="608"/>
                    </a:lnTo>
                    <a:lnTo>
                      <a:pt x="90" y="606"/>
                    </a:lnTo>
                    <a:lnTo>
                      <a:pt x="90" y="608"/>
                    </a:lnTo>
                    <a:lnTo>
                      <a:pt x="92" y="608"/>
                    </a:lnTo>
                    <a:lnTo>
                      <a:pt x="92" y="606"/>
                    </a:lnTo>
                    <a:lnTo>
                      <a:pt x="94" y="606"/>
                    </a:lnTo>
                    <a:lnTo>
                      <a:pt x="96" y="606"/>
                    </a:lnTo>
                    <a:lnTo>
                      <a:pt x="96" y="608"/>
                    </a:lnTo>
                    <a:lnTo>
                      <a:pt x="96" y="606"/>
                    </a:lnTo>
                    <a:lnTo>
                      <a:pt x="97" y="606"/>
                    </a:lnTo>
                    <a:lnTo>
                      <a:pt x="99" y="606"/>
                    </a:lnTo>
                    <a:lnTo>
                      <a:pt x="99" y="604"/>
                    </a:lnTo>
                    <a:lnTo>
                      <a:pt x="99" y="602"/>
                    </a:lnTo>
                    <a:lnTo>
                      <a:pt x="101" y="602"/>
                    </a:lnTo>
                    <a:lnTo>
                      <a:pt x="103" y="602"/>
                    </a:lnTo>
                    <a:lnTo>
                      <a:pt x="103" y="600"/>
                    </a:lnTo>
                    <a:lnTo>
                      <a:pt x="105" y="600"/>
                    </a:lnTo>
                    <a:lnTo>
                      <a:pt x="103" y="600"/>
                    </a:lnTo>
                    <a:lnTo>
                      <a:pt x="105" y="600"/>
                    </a:lnTo>
                    <a:lnTo>
                      <a:pt x="105" y="598"/>
                    </a:lnTo>
                    <a:lnTo>
                      <a:pt x="105" y="600"/>
                    </a:lnTo>
                    <a:lnTo>
                      <a:pt x="105" y="598"/>
                    </a:lnTo>
                    <a:lnTo>
                      <a:pt x="107" y="598"/>
                    </a:lnTo>
                    <a:lnTo>
                      <a:pt x="107" y="596"/>
                    </a:lnTo>
                    <a:lnTo>
                      <a:pt x="107" y="598"/>
                    </a:lnTo>
                    <a:lnTo>
                      <a:pt x="109" y="598"/>
                    </a:lnTo>
                    <a:lnTo>
                      <a:pt x="107" y="596"/>
                    </a:lnTo>
                    <a:lnTo>
                      <a:pt x="109" y="596"/>
                    </a:lnTo>
                    <a:lnTo>
                      <a:pt x="109" y="598"/>
                    </a:lnTo>
                    <a:lnTo>
                      <a:pt x="109" y="596"/>
                    </a:lnTo>
                    <a:lnTo>
                      <a:pt x="109" y="598"/>
                    </a:lnTo>
                    <a:lnTo>
                      <a:pt x="111" y="598"/>
                    </a:lnTo>
                    <a:lnTo>
                      <a:pt x="111" y="596"/>
                    </a:lnTo>
                    <a:lnTo>
                      <a:pt x="112" y="596"/>
                    </a:lnTo>
                    <a:lnTo>
                      <a:pt x="112" y="594"/>
                    </a:lnTo>
                    <a:lnTo>
                      <a:pt x="114" y="593"/>
                    </a:lnTo>
                    <a:lnTo>
                      <a:pt x="114" y="591"/>
                    </a:lnTo>
                    <a:lnTo>
                      <a:pt x="116" y="591"/>
                    </a:lnTo>
                    <a:lnTo>
                      <a:pt x="116" y="589"/>
                    </a:lnTo>
                    <a:lnTo>
                      <a:pt x="114" y="589"/>
                    </a:lnTo>
                    <a:lnTo>
                      <a:pt x="114" y="587"/>
                    </a:lnTo>
                    <a:lnTo>
                      <a:pt x="116" y="587"/>
                    </a:lnTo>
                    <a:lnTo>
                      <a:pt x="114" y="587"/>
                    </a:lnTo>
                    <a:lnTo>
                      <a:pt x="116" y="585"/>
                    </a:lnTo>
                    <a:lnTo>
                      <a:pt x="114" y="585"/>
                    </a:lnTo>
                    <a:lnTo>
                      <a:pt x="114" y="587"/>
                    </a:lnTo>
                    <a:lnTo>
                      <a:pt x="114" y="585"/>
                    </a:lnTo>
                    <a:lnTo>
                      <a:pt x="114" y="583"/>
                    </a:lnTo>
                    <a:lnTo>
                      <a:pt x="114" y="581"/>
                    </a:lnTo>
                    <a:lnTo>
                      <a:pt x="116" y="581"/>
                    </a:lnTo>
                    <a:lnTo>
                      <a:pt x="118" y="581"/>
                    </a:lnTo>
                    <a:lnTo>
                      <a:pt x="118" y="579"/>
                    </a:lnTo>
                    <a:lnTo>
                      <a:pt x="118" y="578"/>
                    </a:lnTo>
                    <a:lnTo>
                      <a:pt x="120" y="578"/>
                    </a:lnTo>
                    <a:lnTo>
                      <a:pt x="120" y="576"/>
                    </a:lnTo>
                    <a:lnTo>
                      <a:pt x="120" y="574"/>
                    </a:lnTo>
                    <a:lnTo>
                      <a:pt x="120" y="576"/>
                    </a:lnTo>
                    <a:lnTo>
                      <a:pt x="118" y="574"/>
                    </a:lnTo>
                    <a:lnTo>
                      <a:pt x="118" y="576"/>
                    </a:lnTo>
                    <a:lnTo>
                      <a:pt x="118" y="574"/>
                    </a:lnTo>
                    <a:lnTo>
                      <a:pt x="116" y="574"/>
                    </a:lnTo>
                    <a:lnTo>
                      <a:pt x="116" y="572"/>
                    </a:lnTo>
                    <a:lnTo>
                      <a:pt x="116" y="570"/>
                    </a:lnTo>
                    <a:lnTo>
                      <a:pt x="118" y="570"/>
                    </a:lnTo>
                    <a:lnTo>
                      <a:pt x="118" y="568"/>
                    </a:lnTo>
                    <a:lnTo>
                      <a:pt x="120" y="568"/>
                    </a:lnTo>
                    <a:lnTo>
                      <a:pt x="120" y="566"/>
                    </a:lnTo>
                    <a:lnTo>
                      <a:pt x="118" y="564"/>
                    </a:lnTo>
                    <a:lnTo>
                      <a:pt x="118" y="562"/>
                    </a:lnTo>
                    <a:lnTo>
                      <a:pt x="116" y="562"/>
                    </a:lnTo>
                    <a:lnTo>
                      <a:pt x="116" y="561"/>
                    </a:lnTo>
                    <a:lnTo>
                      <a:pt x="114" y="561"/>
                    </a:lnTo>
                    <a:lnTo>
                      <a:pt x="114" y="559"/>
                    </a:lnTo>
                    <a:lnTo>
                      <a:pt x="116" y="559"/>
                    </a:lnTo>
                    <a:lnTo>
                      <a:pt x="116" y="557"/>
                    </a:lnTo>
                    <a:lnTo>
                      <a:pt x="116" y="555"/>
                    </a:lnTo>
                    <a:lnTo>
                      <a:pt x="116" y="553"/>
                    </a:lnTo>
                    <a:lnTo>
                      <a:pt x="114" y="551"/>
                    </a:lnTo>
                    <a:lnTo>
                      <a:pt x="114" y="549"/>
                    </a:lnTo>
                    <a:lnTo>
                      <a:pt x="116" y="549"/>
                    </a:lnTo>
                    <a:lnTo>
                      <a:pt x="118" y="549"/>
                    </a:lnTo>
                    <a:lnTo>
                      <a:pt x="118" y="547"/>
                    </a:lnTo>
                    <a:lnTo>
                      <a:pt x="120" y="547"/>
                    </a:lnTo>
                    <a:lnTo>
                      <a:pt x="120" y="545"/>
                    </a:lnTo>
                    <a:lnTo>
                      <a:pt x="122" y="545"/>
                    </a:lnTo>
                    <a:lnTo>
                      <a:pt x="122" y="544"/>
                    </a:lnTo>
                    <a:lnTo>
                      <a:pt x="122" y="542"/>
                    </a:lnTo>
                    <a:lnTo>
                      <a:pt x="122" y="540"/>
                    </a:lnTo>
                    <a:lnTo>
                      <a:pt x="122" y="538"/>
                    </a:lnTo>
                    <a:lnTo>
                      <a:pt x="122" y="536"/>
                    </a:lnTo>
                    <a:lnTo>
                      <a:pt x="122" y="534"/>
                    </a:lnTo>
                    <a:lnTo>
                      <a:pt x="124" y="534"/>
                    </a:lnTo>
                    <a:lnTo>
                      <a:pt x="124" y="532"/>
                    </a:lnTo>
                    <a:lnTo>
                      <a:pt x="126" y="532"/>
                    </a:lnTo>
                    <a:lnTo>
                      <a:pt x="126" y="530"/>
                    </a:lnTo>
                    <a:lnTo>
                      <a:pt x="128" y="529"/>
                    </a:lnTo>
                    <a:lnTo>
                      <a:pt x="128" y="527"/>
                    </a:lnTo>
                    <a:lnTo>
                      <a:pt x="128" y="525"/>
                    </a:lnTo>
                    <a:lnTo>
                      <a:pt x="128" y="523"/>
                    </a:lnTo>
                    <a:lnTo>
                      <a:pt x="128" y="521"/>
                    </a:lnTo>
                    <a:lnTo>
                      <a:pt x="128" y="519"/>
                    </a:lnTo>
                    <a:lnTo>
                      <a:pt x="128" y="517"/>
                    </a:lnTo>
                    <a:lnTo>
                      <a:pt x="128" y="515"/>
                    </a:lnTo>
                    <a:lnTo>
                      <a:pt x="128" y="513"/>
                    </a:lnTo>
                    <a:lnTo>
                      <a:pt x="129" y="512"/>
                    </a:lnTo>
                    <a:lnTo>
                      <a:pt x="131" y="512"/>
                    </a:lnTo>
                    <a:lnTo>
                      <a:pt x="131" y="510"/>
                    </a:lnTo>
                    <a:lnTo>
                      <a:pt x="133" y="510"/>
                    </a:lnTo>
                    <a:lnTo>
                      <a:pt x="133" y="508"/>
                    </a:lnTo>
                    <a:lnTo>
                      <a:pt x="133" y="506"/>
                    </a:lnTo>
                    <a:lnTo>
                      <a:pt x="133" y="504"/>
                    </a:lnTo>
                    <a:lnTo>
                      <a:pt x="133" y="502"/>
                    </a:lnTo>
                    <a:lnTo>
                      <a:pt x="131" y="500"/>
                    </a:lnTo>
                    <a:lnTo>
                      <a:pt x="131" y="498"/>
                    </a:lnTo>
                    <a:lnTo>
                      <a:pt x="133" y="498"/>
                    </a:lnTo>
                    <a:lnTo>
                      <a:pt x="133" y="497"/>
                    </a:lnTo>
                    <a:lnTo>
                      <a:pt x="135" y="497"/>
                    </a:lnTo>
                    <a:lnTo>
                      <a:pt x="135" y="495"/>
                    </a:lnTo>
                    <a:lnTo>
                      <a:pt x="135" y="493"/>
                    </a:lnTo>
                    <a:lnTo>
                      <a:pt x="135" y="491"/>
                    </a:lnTo>
                    <a:lnTo>
                      <a:pt x="135" y="489"/>
                    </a:lnTo>
                    <a:lnTo>
                      <a:pt x="137" y="489"/>
                    </a:lnTo>
                    <a:lnTo>
                      <a:pt x="137" y="487"/>
                    </a:lnTo>
                    <a:lnTo>
                      <a:pt x="139" y="487"/>
                    </a:lnTo>
                    <a:lnTo>
                      <a:pt x="139" y="485"/>
                    </a:lnTo>
                    <a:lnTo>
                      <a:pt x="139" y="483"/>
                    </a:lnTo>
                    <a:lnTo>
                      <a:pt x="137" y="483"/>
                    </a:lnTo>
                    <a:lnTo>
                      <a:pt x="137" y="481"/>
                    </a:lnTo>
                    <a:lnTo>
                      <a:pt x="135" y="481"/>
                    </a:lnTo>
                    <a:lnTo>
                      <a:pt x="133" y="481"/>
                    </a:lnTo>
                    <a:lnTo>
                      <a:pt x="133" y="480"/>
                    </a:lnTo>
                    <a:lnTo>
                      <a:pt x="133" y="478"/>
                    </a:lnTo>
                    <a:lnTo>
                      <a:pt x="135" y="478"/>
                    </a:lnTo>
                    <a:lnTo>
                      <a:pt x="137" y="478"/>
                    </a:lnTo>
                    <a:lnTo>
                      <a:pt x="137" y="476"/>
                    </a:lnTo>
                    <a:lnTo>
                      <a:pt x="139" y="476"/>
                    </a:lnTo>
                    <a:lnTo>
                      <a:pt x="139" y="474"/>
                    </a:lnTo>
                    <a:lnTo>
                      <a:pt x="139" y="472"/>
                    </a:lnTo>
                    <a:lnTo>
                      <a:pt x="137" y="472"/>
                    </a:lnTo>
                    <a:lnTo>
                      <a:pt x="137" y="470"/>
                    </a:lnTo>
                    <a:lnTo>
                      <a:pt x="137" y="468"/>
                    </a:lnTo>
                    <a:lnTo>
                      <a:pt x="139" y="468"/>
                    </a:lnTo>
                    <a:lnTo>
                      <a:pt x="139" y="466"/>
                    </a:lnTo>
                    <a:lnTo>
                      <a:pt x="139" y="465"/>
                    </a:lnTo>
                    <a:lnTo>
                      <a:pt x="137" y="465"/>
                    </a:lnTo>
                    <a:lnTo>
                      <a:pt x="137" y="463"/>
                    </a:lnTo>
                    <a:lnTo>
                      <a:pt x="139" y="463"/>
                    </a:lnTo>
                    <a:lnTo>
                      <a:pt x="139" y="461"/>
                    </a:lnTo>
                    <a:lnTo>
                      <a:pt x="141" y="461"/>
                    </a:lnTo>
                    <a:lnTo>
                      <a:pt x="141" y="459"/>
                    </a:lnTo>
                    <a:lnTo>
                      <a:pt x="141" y="457"/>
                    </a:lnTo>
                    <a:lnTo>
                      <a:pt x="141" y="455"/>
                    </a:lnTo>
                    <a:lnTo>
                      <a:pt x="141" y="453"/>
                    </a:lnTo>
                    <a:lnTo>
                      <a:pt x="141" y="451"/>
                    </a:lnTo>
                    <a:lnTo>
                      <a:pt x="141" y="449"/>
                    </a:lnTo>
                    <a:lnTo>
                      <a:pt x="141" y="448"/>
                    </a:lnTo>
                    <a:lnTo>
                      <a:pt x="143" y="448"/>
                    </a:lnTo>
                    <a:lnTo>
                      <a:pt x="143" y="446"/>
                    </a:lnTo>
                    <a:lnTo>
                      <a:pt x="141" y="446"/>
                    </a:lnTo>
                    <a:lnTo>
                      <a:pt x="143" y="446"/>
                    </a:lnTo>
                    <a:lnTo>
                      <a:pt x="143" y="444"/>
                    </a:lnTo>
                    <a:lnTo>
                      <a:pt x="143" y="442"/>
                    </a:lnTo>
                    <a:lnTo>
                      <a:pt x="144" y="442"/>
                    </a:lnTo>
                    <a:lnTo>
                      <a:pt x="144" y="440"/>
                    </a:lnTo>
                    <a:lnTo>
                      <a:pt x="143" y="440"/>
                    </a:lnTo>
                    <a:lnTo>
                      <a:pt x="143" y="438"/>
                    </a:lnTo>
                    <a:lnTo>
                      <a:pt x="144" y="438"/>
                    </a:lnTo>
                    <a:lnTo>
                      <a:pt x="144" y="436"/>
                    </a:lnTo>
                    <a:lnTo>
                      <a:pt x="146" y="436"/>
                    </a:lnTo>
                    <a:lnTo>
                      <a:pt x="148" y="434"/>
                    </a:lnTo>
                    <a:lnTo>
                      <a:pt x="150" y="434"/>
                    </a:lnTo>
                    <a:lnTo>
                      <a:pt x="150" y="433"/>
                    </a:lnTo>
                    <a:lnTo>
                      <a:pt x="150" y="431"/>
                    </a:lnTo>
                    <a:lnTo>
                      <a:pt x="150" y="429"/>
                    </a:lnTo>
                    <a:lnTo>
                      <a:pt x="150" y="427"/>
                    </a:lnTo>
                    <a:lnTo>
                      <a:pt x="150" y="425"/>
                    </a:lnTo>
                    <a:lnTo>
                      <a:pt x="148" y="425"/>
                    </a:lnTo>
                    <a:lnTo>
                      <a:pt x="150" y="423"/>
                    </a:lnTo>
                    <a:lnTo>
                      <a:pt x="150" y="425"/>
                    </a:lnTo>
                    <a:lnTo>
                      <a:pt x="150" y="423"/>
                    </a:lnTo>
                    <a:lnTo>
                      <a:pt x="150" y="421"/>
                    </a:lnTo>
                    <a:lnTo>
                      <a:pt x="152" y="421"/>
                    </a:lnTo>
                    <a:lnTo>
                      <a:pt x="152" y="419"/>
                    </a:lnTo>
                    <a:lnTo>
                      <a:pt x="154" y="419"/>
                    </a:lnTo>
                    <a:lnTo>
                      <a:pt x="154" y="421"/>
                    </a:lnTo>
                    <a:lnTo>
                      <a:pt x="156" y="421"/>
                    </a:lnTo>
                    <a:lnTo>
                      <a:pt x="158" y="421"/>
                    </a:lnTo>
                    <a:lnTo>
                      <a:pt x="156" y="423"/>
                    </a:lnTo>
                    <a:lnTo>
                      <a:pt x="158" y="423"/>
                    </a:lnTo>
                    <a:lnTo>
                      <a:pt x="156" y="423"/>
                    </a:lnTo>
                    <a:lnTo>
                      <a:pt x="156" y="425"/>
                    </a:lnTo>
                    <a:lnTo>
                      <a:pt x="158" y="427"/>
                    </a:lnTo>
                    <a:lnTo>
                      <a:pt x="158" y="425"/>
                    </a:lnTo>
                    <a:lnTo>
                      <a:pt x="160" y="425"/>
                    </a:lnTo>
                    <a:lnTo>
                      <a:pt x="160" y="427"/>
                    </a:lnTo>
                    <a:lnTo>
                      <a:pt x="160" y="429"/>
                    </a:lnTo>
                    <a:lnTo>
                      <a:pt x="158" y="429"/>
                    </a:lnTo>
                    <a:lnTo>
                      <a:pt x="158" y="431"/>
                    </a:lnTo>
                    <a:lnTo>
                      <a:pt x="160" y="431"/>
                    </a:lnTo>
                    <a:lnTo>
                      <a:pt x="160" y="433"/>
                    </a:lnTo>
                    <a:lnTo>
                      <a:pt x="161" y="433"/>
                    </a:lnTo>
                    <a:lnTo>
                      <a:pt x="163" y="433"/>
                    </a:lnTo>
                    <a:lnTo>
                      <a:pt x="163" y="431"/>
                    </a:lnTo>
                    <a:lnTo>
                      <a:pt x="165" y="431"/>
                    </a:lnTo>
                    <a:lnTo>
                      <a:pt x="167" y="429"/>
                    </a:lnTo>
                    <a:lnTo>
                      <a:pt x="169" y="429"/>
                    </a:lnTo>
                    <a:lnTo>
                      <a:pt x="169" y="427"/>
                    </a:lnTo>
                    <a:lnTo>
                      <a:pt x="171" y="427"/>
                    </a:lnTo>
                    <a:lnTo>
                      <a:pt x="171" y="425"/>
                    </a:lnTo>
                    <a:lnTo>
                      <a:pt x="169" y="425"/>
                    </a:lnTo>
                    <a:lnTo>
                      <a:pt x="171" y="425"/>
                    </a:lnTo>
                    <a:lnTo>
                      <a:pt x="171" y="423"/>
                    </a:lnTo>
                    <a:lnTo>
                      <a:pt x="171" y="421"/>
                    </a:lnTo>
                    <a:lnTo>
                      <a:pt x="171" y="419"/>
                    </a:lnTo>
                    <a:lnTo>
                      <a:pt x="169" y="419"/>
                    </a:lnTo>
                    <a:lnTo>
                      <a:pt x="169" y="417"/>
                    </a:lnTo>
                    <a:lnTo>
                      <a:pt x="167" y="417"/>
                    </a:lnTo>
                    <a:lnTo>
                      <a:pt x="167" y="416"/>
                    </a:lnTo>
                    <a:lnTo>
                      <a:pt x="167" y="417"/>
                    </a:lnTo>
                    <a:lnTo>
                      <a:pt x="167" y="416"/>
                    </a:lnTo>
                    <a:lnTo>
                      <a:pt x="165" y="416"/>
                    </a:lnTo>
                    <a:lnTo>
                      <a:pt x="165" y="414"/>
                    </a:lnTo>
                    <a:lnTo>
                      <a:pt x="165" y="412"/>
                    </a:lnTo>
                    <a:lnTo>
                      <a:pt x="167" y="412"/>
                    </a:lnTo>
                    <a:lnTo>
                      <a:pt x="169" y="412"/>
                    </a:lnTo>
                    <a:lnTo>
                      <a:pt x="169" y="414"/>
                    </a:lnTo>
                    <a:lnTo>
                      <a:pt x="171" y="414"/>
                    </a:lnTo>
                    <a:lnTo>
                      <a:pt x="171" y="412"/>
                    </a:lnTo>
                    <a:lnTo>
                      <a:pt x="173" y="412"/>
                    </a:lnTo>
                    <a:lnTo>
                      <a:pt x="171" y="412"/>
                    </a:lnTo>
                    <a:lnTo>
                      <a:pt x="171" y="410"/>
                    </a:lnTo>
                    <a:lnTo>
                      <a:pt x="173" y="410"/>
                    </a:lnTo>
                    <a:lnTo>
                      <a:pt x="175" y="410"/>
                    </a:lnTo>
                    <a:lnTo>
                      <a:pt x="176" y="410"/>
                    </a:lnTo>
                    <a:lnTo>
                      <a:pt x="176" y="408"/>
                    </a:lnTo>
                    <a:lnTo>
                      <a:pt x="178" y="408"/>
                    </a:lnTo>
                    <a:lnTo>
                      <a:pt x="178" y="406"/>
                    </a:lnTo>
                    <a:lnTo>
                      <a:pt x="178" y="404"/>
                    </a:lnTo>
                    <a:lnTo>
                      <a:pt x="178" y="402"/>
                    </a:lnTo>
                    <a:lnTo>
                      <a:pt x="178" y="401"/>
                    </a:lnTo>
                    <a:lnTo>
                      <a:pt x="180" y="401"/>
                    </a:lnTo>
                    <a:lnTo>
                      <a:pt x="180" y="399"/>
                    </a:lnTo>
                    <a:lnTo>
                      <a:pt x="180" y="401"/>
                    </a:lnTo>
                    <a:lnTo>
                      <a:pt x="182" y="401"/>
                    </a:lnTo>
                    <a:lnTo>
                      <a:pt x="184" y="401"/>
                    </a:lnTo>
                    <a:lnTo>
                      <a:pt x="184" y="402"/>
                    </a:lnTo>
                    <a:lnTo>
                      <a:pt x="186" y="402"/>
                    </a:lnTo>
                    <a:lnTo>
                      <a:pt x="188" y="402"/>
                    </a:lnTo>
                    <a:lnTo>
                      <a:pt x="190" y="402"/>
                    </a:lnTo>
                    <a:lnTo>
                      <a:pt x="190" y="401"/>
                    </a:lnTo>
                    <a:lnTo>
                      <a:pt x="188" y="401"/>
                    </a:lnTo>
                    <a:lnTo>
                      <a:pt x="190" y="401"/>
                    </a:lnTo>
                    <a:lnTo>
                      <a:pt x="190" y="399"/>
                    </a:lnTo>
                    <a:lnTo>
                      <a:pt x="188" y="399"/>
                    </a:lnTo>
                    <a:lnTo>
                      <a:pt x="188" y="397"/>
                    </a:lnTo>
                    <a:lnTo>
                      <a:pt x="188" y="395"/>
                    </a:lnTo>
                    <a:lnTo>
                      <a:pt x="188" y="397"/>
                    </a:lnTo>
                    <a:lnTo>
                      <a:pt x="186" y="397"/>
                    </a:lnTo>
                    <a:lnTo>
                      <a:pt x="186" y="395"/>
                    </a:lnTo>
                    <a:lnTo>
                      <a:pt x="184" y="395"/>
                    </a:lnTo>
                    <a:lnTo>
                      <a:pt x="184" y="393"/>
                    </a:lnTo>
                    <a:lnTo>
                      <a:pt x="184" y="391"/>
                    </a:lnTo>
                    <a:lnTo>
                      <a:pt x="186" y="391"/>
                    </a:lnTo>
                    <a:lnTo>
                      <a:pt x="186" y="389"/>
                    </a:lnTo>
                    <a:lnTo>
                      <a:pt x="184" y="389"/>
                    </a:lnTo>
                    <a:lnTo>
                      <a:pt x="184" y="387"/>
                    </a:lnTo>
                    <a:lnTo>
                      <a:pt x="186" y="387"/>
                    </a:lnTo>
                    <a:lnTo>
                      <a:pt x="186" y="389"/>
                    </a:lnTo>
                    <a:lnTo>
                      <a:pt x="188" y="389"/>
                    </a:lnTo>
                    <a:lnTo>
                      <a:pt x="188" y="387"/>
                    </a:lnTo>
                    <a:lnTo>
                      <a:pt x="188" y="389"/>
                    </a:lnTo>
                    <a:lnTo>
                      <a:pt x="190" y="389"/>
                    </a:lnTo>
                    <a:lnTo>
                      <a:pt x="190" y="391"/>
                    </a:lnTo>
                    <a:lnTo>
                      <a:pt x="191" y="391"/>
                    </a:lnTo>
                    <a:lnTo>
                      <a:pt x="193" y="391"/>
                    </a:lnTo>
                    <a:lnTo>
                      <a:pt x="193" y="389"/>
                    </a:lnTo>
                    <a:lnTo>
                      <a:pt x="193" y="387"/>
                    </a:lnTo>
                    <a:lnTo>
                      <a:pt x="195" y="387"/>
                    </a:lnTo>
                    <a:lnTo>
                      <a:pt x="195" y="389"/>
                    </a:lnTo>
                    <a:lnTo>
                      <a:pt x="197" y="389"/>
                    </a:lnTo>
                    <a:lnTo>
                      <a:pt x="199" y="391"/>
                    </a:lnTo>
                    <a:lnTo>
                      <a:pt x="201" y="391"/>
                    </a:lnTo>
                    <a:lnTo>
                      <a:pt x="201" y="389"/>
                    </a:lnTo>
                    <a:lnTo>
                      <a:pt x="203" y="389"/>
                    </a:lnTo>
                    <a:lnTo>
                      <a:pt x="205" y="389"/>
                    </a:lnTo>
                    <a:lnTo>
                      <a:pt x="205" y="387"/>
                    </a:lnTo>
                    <a:lnTo>
                      <a:pt x="203" y="387"/>
                    </a:lnTo>
                    <a:lnTo>
                      <a:pt x="201" y="385"/>
                    </a:lnTo>
                    <a:lnTo>
                      <a:pt x="199" y="385"/>
                    </a:lnTo>
                    <a:lnTo>
                      <a:pt x="199" y="384"/>
                    </a:lnTo>
                    <a:lnTo>
                      <a:pt x="199" y="382"/>
                    </a:lnTo>
                    <a:lnTo>
                      <a:pt x="199" y="380"/>
                    </a:lnTo>
                    <a:lnTo>
                      <a:pt x="201" y="380"/>
                    </a:lnTo>
                    <a:lnTo>
                      <a:pt x="203" y="380"/>
                    </a:lnTo>
                    <a:lnTo>
                      <a:pt x="203" y="378"/>
                    </a:lnTo>
                    <a:lnTo>
                      <a:pt x="205" y="378"/>
                    </a:lnTo>
                    <a:lnTo>
                      <a:pt x="207" y="378"/>
                    </a:lnTo>
                    <a:lnTo>
                      <a:pt x="208" y="378"/>
                    </a:lnTo>
                    <a:lnTo>
                      <a:pt x="208" y="380"/>
                    </a:lnTo>
                    <a:lnTo>
                      <a:pt x="207" y="380"/>
                    </a:lnTo>
                    <a:lnTo>
                      <a:pt x="208" y="380"/>
                    </a:lnTo>
                    <a:lnTo>
                      <a:pt x="210" y="380"/>
                    </a:lnTo>
                    <a:lnTo>
                      <a:pt x="210" y="378"/>
                    </a:lnTo>
                    <a:lnTo>
                      <a:pt x="210" y="376"/>
                    </a:lnTo>
                    <a:lnTo>
                      <a:pt x="212" y="376"/>
                    </a:lnTo>
                    <a:lnTo>
                      <a:pt x="214" y="376"/>
                    </a:lnTo>
                    <a:lnTo>
                      <a:pt x="216" y="376"/>
                    </a:lnTo>
                    <a:lnTo>
                      <a:pt x="216" y="374"/>
                    </a:lnTo>
                    <a:lnTo>
                      <a:pt x="218" y="374"/>
                    </a:lnTo>
                    <a:lnTo>
                      <a:pt x="218" y="376"/>
                    </a:lnTo>
                    <a:lnTo>
                      <a:pt x="220" y="376"/>
                    </a:lnTo>
                    <a:lnTo>
                      <a:pt x="220" y="374"/>
                    </a:lnTo>
                    <a:lnTo>
                      <a:pt x="222" y="374"/>
                    </a:lnTo>
                    <a:lnTo>
                      <a:pt x="223" y="374"/>
                    </a:lnTo>
                    <a:lnTo>
                      <a:pt x="223" y="372"/>
                    </a:lnTo>
                    <a:lnTo>
                      <a:pt x="223" y="370"/>
                    </a:lnTo>
                    <a:lnTo>
                      <a:pt x="225" y="370"/>
                    </a:lnTo>
                    <a:lnTo>
                      <a:pt x="227" y="370"/>
                    </a:lnTo>
                    <a:lnTo>
                      <a:pt x="229" y="370"/>
                    </a:lnTo>
                    <a:lnTo>
                      <a:pt x="229" y="369"/>
                    </a:lnTo>
                    <a:lnTo>
                      <a:pt x="231" y="369"/>
                    </a:lnTo>
                    <a:lnTo>
                      <a:pt x="231" y="367"/>
                    </a:lnTo>
                    <a:lnTo>
                      <a:pt x="229" y="367"/>
                    </a:lnTo>
                    <a:lnTo>
                      <a:pt x="231" y="367"/>
                    </a:lnTo>
                    <a:lnTo>
                      <a:pt x="231" y="365"/>
                    </a:lnTo>
                    <a:lnTo>
                      <a:pt x="231" y="363"/>
                    </a:lnTo>
                    <a:lnTo>
                      <a:pt x="229" y="363"/>
                    </a:lnTo>
                    <a:lnTo>
                      <a:pt x="231" y="363"/>
                    </a:lnTo>
                    <a:lnTo>
                      <a:pt x="231" y="361"/>
                    </a:lnTo>
                    <a:lnTo>
                      <a:pt x="231" y="359"/>
                    </a:lnTo>
                    <a:lnTo>
                      <a:pt x="233" y="359"/>
                    </a:lnTo>
                    <a:lnTo>
                      <a:pt x="233" y="357"/>
                    </a:lnTo>
                    <a:lnTo>
                      <a:pt x="233" y="355"/>
                    </a:lnTo>
                    <a:lnTo>
                      <a:pt x="235" y="355"/>
                    </a:lnTo>
                    <a:lnTo>
                      <a:pt x="235" y="353"/>
                    </a:lnTo>
                    <a:lnTo>
                      <a:pt x="237" y="353"/>
                    </a:lnTo>
                    <a:lnTo>
                      <a:pt x="239" y="353"/>
                    </a:lnTo>
                    <a:lnTo>
                      <a:pt x="240" y="353"/>
                    </a:lnTo>
                    <a:lnTo>
                      <a:pt x="242" y="353"/>
                    </a:lnTo>
                    <a:lnTo>
                      <a:pt x="240" y="353"/>
                    </a:lnTo>
                    <a:lnTo>
                      <a:pt x="240" y="355"/>
                    </a:lnTo>
                    <a:lnTo>
                      <a:pt x="240" y="357"/>
                    </a:lnTo>
                    <a:lnTo>
                      <a:pt x="240" y="359"/>
                    </a:lnTo>
                    <a:lnTo>
                      <a:pt x="239" y="359"/>
                    </a:lnTo>
                    <a:lnTo>
                      <a:pt x="239" y="361"/>
                    </a:lnTo>
                    <a:lnTo>
                      <a:pt x="240" y="361"/>
                    </a:lnTo>
                    <a:lnTo>
                      <a:pt x="242" y="361"/>
                    </a:lnTo>
                    <a:lnTo>
                      <a:pt x="244" y="361"/>
                    </a:lnTo>
                    <a:lnTo>
                      <a:pt x="246" y="361"/>
                    </a:lnTo>
                    <a:lnTo>
                      <a:pt x="246" y="359"/>
                    </a:lnTo>
                    <a:lnTo>
                      <a:pt x="248" y="359"/>
                    </a:lnTo>
                    <a:lnTo>
                      <a:pt x="246" y="359"/>
                    </a:lnTo>
                    <a:lnTo>
                      <a:pt x="246" y="357"/>
                    </a:lnTo>
                    <a:lnTo>
                      <a:pt x="246" y="355"/>
                    </a:lnTo>
                    <a:lnTo>
                      <a:pt x="246" y="353"/>
                    </a:lnTo>
                    <a:lnTo>
                      <a:pt x="248" y="353"/>
                    </a:lnTo>
                    <a:lnTo>
                      <a:pt x="248" y="352"/>
                    </a:lnTo>
                    <a:lnTo>
                      <a:pt x="250" y="352"/>
                    </a:lnTo>
                    <a:lnTo>
                      <a:pt x="252" y="352"/>
                    </a:lnTo>
                    <a:lnTo>
                      <a:pt x="252" y="350"/>
                    </a:lnTo>
                    <a:lnTo>
                      <a:pt x="254" y="350"/>
                    </a:lnTo>
                    <a:lnTo>
                      <a:pt x="255" y="352"/>
                    </a:lnTo>
                    <a:lnTo>
                      <a:pt x="255" y="353"/>
                    </a:lnTo>
                    <a:lnTo>
                      <a:pt x="254" y="355"/>
                    </a:lnTo>
                    <a:lnTo>
                      <a:pt x="254" y="357"/>
                    </a:lnTo>
                    <a:lnTo>
                      <a:pt x="252" y="357"/>
                    </a:lnTo>
                    <a:lnTo>
                      <a:pt x="254" y="357"/>
                    </a:lnTo>
                    <a:lnTo>
                      <a:pt x="254" y="359"/>
                    </a:lnTo>
                    <a:lnTo>
                      <a:pt x="255" y="361"/>
                    </a:lnTo>
                    <a:lnTo>
                      <a:pt x="257" y="361"/>
                    </a:lnTo>
                    <a:lnTo>
                      <a:pt x="259" y="361"/>
                    </a:lnTo>
                    <a:lnTo>
                      <a:pt x="259" y="359"/>
                    </a:lnTo>
                    <a:lnTo>
                      <a:pt x="261" y="359"/>
                    </a:lnTo>
                    <a:lnTo>
                      <a:pt x="259" y="359"/>
                    </a:lnTo>
                    <a:lnTo>
                      <a:pt x="261" y="359"/>
                    </a:lnTo>
                    <a:lnTo>
                      <a:pt x="261" y="357"/>
                    </a:lnTo>
                    <a:lnTo>
                      <a:pt x="261" y="355"/>
                    </a:lnTo>
                    <a:lnTo>
                      <a:pt x="261" y="353"/>
                    </a:lnTo>
                    <a:lnTo>
                      <a:pt x="261" y="352"/>
                    </a:lnTo>
                    <a:lnTo>
                      <a:pt x="263" y="352"/>
                    </a:lnTo>
                    <a:lnTo>
                      <a:pt x="263" y="350"/>
                    </a:lnTo>
                    <a:lnTo>
                      <a:pt x="265" y="350"/>
                    </a:lnTo>
                    <a:lnTo>
                      <a:pt x="267" y="350"/>
                    </a:lnTo>
                    <a:lnTo>
                      <a:pt x="269" y="350"/>
                    </a:lnTo>
                    <a:lnTo>
                      <a:pt x="270" y="350"/>
                    </a:lnTo>
                    <a:lnTo>
                      <a:pt x="272" y="350"/>
                    </a:lnTo>
                    <a:lnTo>
                      <a:pt x="274" y="350"/>
                    </a:lnTo>
                    <a:lnTo>
                      <a:pt x="276" y="350"/>
                    </a:lnTo>
                    <a:lnTo>
                      <a:pt x="278" y="350"/>
                    </a:lnTo>
                    <a:lnTo>
                      <a:pt x="280" y="350"/>
                    </a:lnTo>
                    <a:lnTo>
                      <a:pt x="282" y="350"/>
                    </a:lnTo>
                    <a:lnTo>
                      <a:pt x="284" y="350"/>
                    </a:lnTo>
                    <a:lnTo>
                      <a:pt x="286" y="350"/>
                    </a:lnTo>
                    <a:lnTo>
                      <a:pt x="286" y="348"/>
                    </a:lnTo>
                    <a:lnTo>
                      <a:pt x="287" y="348"/>
                    </a:lnTo>
                    <a:lnTo>
                      <a:pt x="287" y="346"/>
                    </a:lnTo>
                    <a:lnTo>
                      <a:pt x="287" y="344"/>
                    </a:lnTo>
                    <a:lnTo>
                      <a:pt x="289" y="344"/>
                    </a:lnTo>
                    <a:lnTo>
                      <a:pt x="289" y="342"/>
                    </a:lnTo>
                    <a:lnTo>
                      <a:pt x="291" y="342"/>
                    </a:lnTo>
                    <a:lnTo>
                      <a:pt x="291" y="340"/>
                    </a:lnTo>
                    <a:lnTo>
                      <a:pt x="293" y="340"/>
                    </a:lnTo>
                    <a:lnTo>
                      <a:pt x="295" y="340"/>
                    </a:lnTo>
                    <a:lnTo>
                      <a:pt x="295" y="338"/>
                    </a:lnTo>
                    <a:lnTo>
                      <a:pt x="295" y="337"/>
                    </a:lnTo>
                    <a:lnTo>
                      <a:pt x="295" y="335"/>
                    </a:lnTo>
                    <a:lnTo>
                      <a:pt x="295" y="333"/>
                    </a:lnTo>
                    <a:lnTo>
                      <a:pt x="297" y="333"/>
                    </a:lnTo>
                    <a:lnTo>
                      <a:pt x="295" y="333"/>
                    </a:lnTo>
                    <a:lnTo>
                      <a:pt x="295" y="331"/>
                    </a:lnTo>
                    <a:lnTo>
                      <a:pt x="293" y="331"/>
                    </a:lnTo>
                    <a:lnTo>
                      <a:pt x="293" y="329"/>
                    </a:lnTo>
                    <a:lnTo>
                      <a:pt x="295" y="327"/>
                    </a:lnTo>
                    <a:lnTo>
                      <a:pt x="295" y="325"/>
                    </a:lnTo>
                    <a:lnTo>
                      <a:pt x="297" y="325"/>
                    </a:lnTo>
                    <a:lnTo>
                      <a:pt x="297" y="323"/>
                    </a:lnTo>
                    <a:lnTo>
                      <a:pt x="297" y="321"/>
                    </a:lnTo>
                    <a:lnTo>
                      <a:pt x="297" y="320"/>
                    </a:lnTo>
                    <a:lnTo>
                      <a:pt x="297" y="318"/>
                    </a:lnTo>
                    <a:lnTo>
                      <a:pt x="297" y="316"/>
                    </a:lnTo>
                    <a:lnTo>
                      <a:pt x="297" y="314"/>
                    </a:lnTo>
                    <a:lnTo>
                      <a:pt x="299" y="314"/>
                    </a:lnTo>
                    <a:lnTo>
                      <a:pt x="301" y="314"/>
                    </a:lnTo>
                    <a:lnTo>
                      <a:pt x="302" y="314"/>
                    </a:lnTo>
                    <a:lnTo>
                      <a:pt x="302" y="312"/>
                    </a:lnTo>
                    <a:lnTo>
                      <a:pt x="304" y="312"/>
                    </a:lnTo>
                    <a:lnTo>
                      <a:pt x="304" y="310"/>
                    </a:lnTo>
                    <a:lnTo>
                      <a:pt x="302" y="308"/>
                    </a:lnTo>
                    <a:lnTo>
                      <a:pt x="302" y="306"/>
                    </a:lnTo>
                    <a:lnTo>
                      <a:pt x="302" y="305"/>
                    </a:lnTo>
                    <a:lnTo>
                      <a:pt x="302" y="303"/>
                    </a:lnTo>
                    <a:lnTo>
                      <a:pt x="304" y="303"/>
                    </a:lnTo>
                    <a:lnTo>
                      <a:pt x="306" y="303"/>
                    </a:lnTo>
                    <a:lnTo>
                      <a:pt x="308" y="303"/>
                    </a:lnTo>
                    <a:lnTo>
                      <a:pt x="310" y="303"/>
                    </a:lnTo>
                    <a:lnTo>
                      <a:pt x="310" y="305"/>
                    </a:lnTo>
                    <a:lnTo>
                      <a:pt x="312" y="305"/>
                    </a:lnTo>
                    <a:lnTo>
                      <a:pt x="314" y="305"/>
                    </a:lnTo>
                    <a:lnTo>
                      <a:pt x="316" y="305"/>
                    </a:lnTo>
                    <a:lnTo>
                      <a:pt x="318" y="305"/>
                    </a:lnTo>
                    <a:lnTo>
                      <a:pt x="319" y="305"/>
                    </a:lnTo>
                    <a:lnTo>
                      <a:pt x="319" y="303"/>
                    </a:lnTo>
                    <a:lnTo>
                      <a:pt x="319" y="301"/>
                    </a:lnTo>
                    <a:lnTo>
                      <a:pt x="321" y="301"/>
                    </a:lnTo>
                    <a:lnTo>
                      <a:pt x="321" y="299"/>
                    </a:lnTo>
                    <a:lnTo>
                      <a:pt x="323" y="297"/>
                    </a:lnTo>
                    <a:lnTo>
                      <a:pt x="325" y="297"/>
                    </a:lnTo>
                    <a:lnTo>
                      <a:pt x="327" y="297"/>
                    </a:lnTo>
                    <a:lnTo>
                      <a:pt x="329" y="297"/>
                    </a:lnTo>
                    <a:lnTo>
                      <a:pt x="329" y="299"/>
                    </a:lnTo>
                    <a:lnTo>
                      <a:pt x="331" y="299"/>
                    </a:lnTo>
                    <a:lnTo>
                      <a:pt x="331" y="301"/>
                    </a:lnTo>
                    <a:lnTo>
                      <a:pt x="331" y="303"/>
                    </a:lnTo>
                    <a:lnTo>
                      <a:pt x="333" y="303"/>
                    </a:lnTo>
                    <a:lnTo>
                      <a:pt x="333" y="305"/>
                    </a:lnTo>
                    <a:lnTo>
                      <a:pt x="333" y="306"/>
                    </a:lnTo>
                    <a:lnTo>
                      <a:pt x="334" y="306"/>
                    </a:lnTo>
                    <a:lnTo>
                      <a:pt x="336" y="306"/>
                    </a:lnTo>
                    <a:lnTo>
                      <a:pt x="338" y="306"/>
                    </a:lnTo>
                    <a:lnTo>
                      <a:pt x="340" y="306"/>
                    </a:lnTo>
                    <a:lnTo>
                      <a:pt x="342" y="305"/>
                    </a:lnTo>
                    <a:lnTo>
                      <a:pt x="342" y="303"/>
                    </a:lnTo>
                    <a:lnTo>
                      <a:pt x="342" y="301"/>
                    </a:lnTo>
                    <a:lnTo>
                      <a:pt x="342" y="299"/>
                    </a:lnTo>
                    <a:lnTo>
                      <a:pt x="344" y="299"/>
                    </a:lnTo>
                    <a:lnTo>
                      <a:pt x="344" y="297"/>
                    </a:lnTo>
                    <a:lnTo>
                      <a:pt x="344" y="295"/>
                    </a:lnTo>
                    <a:lnTo>
                      <a:pt x="346" y="295"/>
                    </a:lnTo>
                    <a:lnTo>
                      <a:pt x="346" y="293"/>
                    </a:lnTo>
                    <a:lnTo>
                      <a:pt x="348" y="293"/>
                    </a:lnTo>
                    <a:lnTo>
                      <a:pt x="346" y="293"/>
                    </a:lnTo>
                    <a:lnTo>
                      <a:pt x="348" y="293"/>
                    </a:lnTo>
                    <a:lnTo>
                      <a:pt x="348" y="291"/>
                    </a:lnTo>
                    <a:lnTo>
                      <a:pt x="349" y="291"/>
                    </a:lnTo>
                    <a:lnTo>
                      <a:pt x="351" y="289"/>
                    </a:lnTo>
                    <a:lnTo>
                      <a:pt x="351" y="288"/>
                    </a:lnTo>
                    <a:lnTo>
                      <a:pt x="349" y="286"/>
                    </a:lnTo>
                    <a:lnTo>
                      <a:pt x="349" y="284"/>
                    </a:lnTo>
                    <a:lnTo>
                      <a:pt x="348" y="284"/>
                    </a:lnTo>
                    <a:lnTo>
                      <a:pt x="348" y="282"/>
                    </a:lnTo>
                    <a:lnTo>
                      <a:pt x="346" y="282"/>
                    </a:lnTo>
                    <a:lnTo>
                      <a:pt x="346" y="280"/>
                    </a:lnTo>
                    <a:lnTo>
                      <a:pt x="348" y="278"/>
                    </a:lnTo>
                    <a:lnTo>
                      <a:pt x="349" y="278"/>
                    </a:lnTo>
                    <a:lnTo>
                      <a:pt x="349" y="280"/>
                    </a:lnTo>
                    <a:lnTo>
                      <a:pt x="349" y="282"/>
                    </a:lnTo>
                    <a:lnTo>
                      <a:pt x="351" y="282"/>
                    </a:lnTo>
                    <a:lnTo>
                      <a:pt x="353" y="282"/>
                    </a:lnTo>
                    <a:lnTo>
                      <a:pt x="353" y="280"/>
                    </a:lnTo>
                    <a:lnTo>
                      <a:pt x="355" y="280"/>
                    </a:lnTo>
                    <a:lnTo>
                      <a:pt x="357" y="280"/>
                    </a:lnTo>
                    <a:lnTo>
                      <a:pt x="357" y="278"/>
                    </a:lnTo>
                    <a:lnTo>
                      <a:pt x="359" y="278"/>
                    </a:lnTo>
                    <a:lnTo>
                      <a:pt x="359" y="276"/>
                    </a:lnTo>
                    <a:lnTo>
                      <a:pt x="359" y="274"/>
                    </a:lnTo>
                    <a:lnTo>
                      <a:pt x="357" y="274"/>
                    </a:lnTo>
                    <a:lnTo>
                      <a:pt x="357" y="273"/>
                    </a:lnTo>
                    <a:lnTo>
                      <a:pt x="359" y="273"/>
                    </a:lnTo>
                    <a:lnTo>
                      <a:pt x="359" y="271"/>
                    </a:lnTo>
                    <a:lnTo>
                      <a:pt x="359" y="273"/>
                    </a:lnTo>
                    <a:lnTo>
                      <a:pt x="361" y="273"/>
                    </a:lnTo>
                    <a:lnTo>
                      <a:pt x="363" y="273"/>
                    </a:lnTo>
                    <a:lnTo>
                      <a:pt x="365" y="273"/>
                    </a:lnTo>
                    <a:lnTo>
                      <a:pt x="366" y="273"/>
                    </a:lnTo>
                    <a:lnTo>
                      <a:pt x="366" y="271"/>
                    </a:lnTo>
                    <a:lnTo>
                      <a:pt x="368" y="271"/>
                    </a:lnTo>
                    <a:lnTo>
                      <a:pt x="370" y="271"/>
                    </a:lnTo>
                    <a:lnTo>
                      <a:pt x="370" y="269"/>
                    </a:lnTo>
                    <a:lnTo>
                      <a:pt x="372" y="269"/>
                    </a:lnTo>
                    <a:lnTo>
                      <a:pt x="374" y="269"/>
                    </a:lnTo>
                    <a:lnTo>
                      <a:pt x="374" y="267"/>
                    </a:lnTo>
                    <a:lnTo>
                      <a:pt x="376" y="267"/>
                    </a:lnTo>
                    <a:lnTo>
                      <a:pt x="378" y="267"/>
                    </a:lnTo>
                    <a:lnTo>
                      <a:pt x="378" y="265"/>
                    </a:lnTo>
                    <a:lnTo>
                      <a:pt x="380" y="265"/>
                    </a:lnTo>
                    <a:lnTo>
                      <a:pt x="380" y="263"/>
                    </a:lnTo>
                    <a:lnTo>
                      <a:pt x="381" y="263"/>
                    </a:lnTo>
                    <a:lnTo>
                      <a:pt x="383" y="263"/>
                    </a:lnTo>
                    <a:lnTo>
                      <a:pt x="383" y="261"/>
                    </a:lnTo>
                    <a:lnTo>
                      <a:pt x="385" y="261"/>
                    </a:lnTo>
                    <a:lnTo>
                      <a:pt x="387" y="259"/>
                    </a:lnTo>
                    <a:lnTo>
                      <a:pt x="387" y="257"/>
                    </a:lnTo>
                    <a:lnTo>
                      <a:pt x="389" y="257"/>
                    </a:lnTo>
                    <a:lnTo>
                      <a:pt x="389" y="256"/>
                    </a:lnTo>
                    <a:lnTo>
                      <a:pt x="391" y="256"/>
                    </a:lnTo>
                    <a:lnTo>
                      <a:pt x="391" y="254"/>
                    </a:lnTo>
                    <a:lnTo>
                      <a:pt x="391" y="252"/>
                    </a:lnTo>
                    <a:lnTo>
                      <a:pt x="391" y="250"/>
                    </a:lnTo>
                    <a:lnTo>
                      <a:pt x="391" y="248"/>
                    </a:lnTo>
                    <a:lnTo>
                      <a:pt x="389" y="248"/>
                    </a:lnTo>
                    <a:lnTo>
                      <a:pt x="389" y="246"/>
                    </a:lnTo>
                    <a:lnTo>
                      <a:pt x="389" y="244"/>
                    </a:lnTo>
                    <a:lnTo>
                      <a:pt x="391" y="242"/>
                    </a:lnTo>
                    <a:lnTo>
                      <a:pt x="391" y="241"/>
                    </a:lnTo>
                    <a:lnTo>
                      <a:pt x="391" y="239"/>
                    </a:lnTo>
                    <a:lnTo>
                      <a:pt x="391" y="237"/>
                    </a:lnTo>
                    <a:lnTo>
                      <a:pt x="391" y="235"/>
                    </a:lnTo>
                    <a:lnTo>
                      <a:pt x="389" y="235"/>
                    </a:lnTo>
                    <a:lnTo>
                      <a:pt x="389" y="233"/>
                    </a:lnTo>
                    <a:lnTo>
                      <a:pt x="389" y="231"/>
                    </a:lnTo>
                    <a:lnTo>
                      <a:pt x="391" y="231"/>
                    </a:lnTo>
                    <a:lnTo>
                      <a:pt x="391" y="229"/>
                    </a:lnTo>
                    <a:lnTo>
                      <a:pt x="391" y="231"/>
                    </a:lnTo>
                    <a:lnTo>
                      <a:pt x="393" y="231"/>
                    </a:lnTo>
                    <a:lnTo>
                      <a:pt x="395" y="231"/>
                    </a:lnTo>
                    <a:lnTo>
                      <a:pt x="397" y="231"/>
                    </a:lnTo>
                    <a:lnTo>
                      <a:pt x="397" y="229"/>
                    </a:lnTo>
                    <a:lnTo>
                      <a:pt x="398" y="229"/>
                    </a:lnTo>
                    <a:lnTo>
                      <a:pt x="400" y="229"/>
                    </a:lnTo>
                    <a:lnTo>
                      <a:pt x="400" y="227"/>
                    </a:lnTo>
                    <a:lnTo>
                      <a:pt x="402" y="227"/>
                    </a:lnTo>
                    <a:lnTo>
                      <a:pt x="402" y="225"/>
                    </a:lnTo>
                    <a:lnTo>
                      <a:pt x="404" y="225"/>
                    </a:lnTo>
                    <a:lnTo>
                      <a:pt x="406" y="225"/>
                    </a:lnTo>
                    <a:lnTo>
                      <a:pt x="406" y="224"/>
                    </a:lnTo>
                    <a:lnTo>
                      <a:pt x="408" y="224"/>
                    </a:lnTo>
                    <a:lnTo>
                      <a:pt x="410" y="224"/>
                    </a:lnTo>
                    <a:lnTo>
                      <a:pt x="410" y="222"/>
                    </a:lnTo>
                    <a:lnTo>
                      <a:pt x="412" y="222"/>
                    </a:lnTo>
                    <a:lnTo>
                      <a:pt x="412" y="220"/>
                    </a:lnTo>
                    <a:lnTo>
                      <a:pt x="413" y="220"/>
                    </a:lnTo>
                    <a:lnTo>
                      <a:pt x="413" y="218"/>
                    </a:lnTo>
                    <a:lnTo>
                      <a:pt x="415" y="218"/>
                    </a:lnTo>
                    <a:lnTo>
                      <a:pt x="415" y="216"/>
                    </a:lnTo>
                    <a:lnTo>
                      <a:pt x="417" y="216"/>
                    </a:lnTo>
                    <a:lnTo>
                      <a:pt x="417" y="214"/>
                    </a:lnTo>
                    <a:lnTo>
                      <a:pt x="417" y="212"/>
                    </a:lnTo>
                    <a:lnTo>
                      <a:pt x="419" y="212"/>
                    </a:lnTo>
                    <a:lnTo>
                      <a:pt x="419" y="210"/>
                    </a:lnTo>
                    <a:lnTo>
                      <a:pt x="419" y="209"/>
                    </a:lnTo>
                    <a:lnTo>
                      <a:pt x="417" y="209"/>
                    </a:lnTo>
                    <a:lnTo>
                      <a:pt x="417" y="207"/>
                    </a:lnTo>
                    <a:lnTo>
                      <a:pt x="417" y="205"/>
                    </a:lnTo>
                    <a:lnTo>
                      <a:pt x="417" y="203"/>
                    </a:lnTo>
                    <a:lnTo>
                      <a:pt x="417" y="201"/>
                    </a:lnTo>
                    <a:lnTo>
                      <a:pt x="415" y="199"/>
                    </a:lnTo>
                    <a:lnTo>
                      <a:pt x="415" y="197"/>
                    </a:lnTo>
                    <a:lnTo>
                      <a:pt x="415" y="195"/>
                    </a:lnTo>
                    <a:lnTo>
                      <a:pt x="417" y="195"/>
                    </a:lnTo>
                    <a:lnTo>
                      <a:pt x="419" y="195"/>
                    </a:lnTo>
                    <a:lnTo>
                      <a:pt x="421" y="195"/>
                    </a:lnTo>
                    <a:lnTo>
                      <a:pt x="423" y="195"/>
                    </a:lnTo>
                    <a:lnTo>
                      <a:pt x="423" y="193"/>
                    </a:lnTo>
                    <a:lnTo>
                      <a:pt x="425" y="193"/>
                    </a:lnTo>
                    <a:lnTo>
                      <a:pt x="427" y="192"/>
                    </a:lnTo>
                    <a:lnTo>
                      <a:pt x="428" y="192"/>
                    </a:lnTo>
                    <a:lnTo>
                      <a:pt x="430" y="192"/>
                    </a:lnTo>
                    <a:lnTo>
                      <a:pt x="430" y="190"/>
                    </a:lnTo>
                    <a:lnTo>
                      <a:pt x="432" y="190"/>
                    </a:lnTo>
                    <a:lnTo>
                      <a:pt x="432" y="188"/>
                    </a:lnTo>
                    <a:lnTo>
                      <a:pt x="434" y="188"/>
                    </a:lnTo>
                    <a:lnTo>
                      <a:pt x="434" y="186"/>
                    </a:lnTo>
                    <a:lnTo>
                      <a:pt x="436" y="184"/>
                    </a:lnTo>
                    <a:lnTo>
                      <a:pt x="436" y="182"/>
                    </a:lnTo>
                    <a:lnTo>
                      <a:pt x="438" y="182"/>
                    </a:lnTo>
                    <a:lnTo>
                      <a:pt x="440" y="182"/>
                    </a:lnTo>
                    <a:lnTo>
                      <a:pt x="440" y="180"/>
                    </a:lnTo>
                    <a:lnTo>
                      <a:pt x="442" y="180"/>
                    </a:lnTo>
                    <a:lnTo>
                      <a:pt x="444" y="180"/>
                    </a:lnTo>
                    <a:lnTo>
                      <a:pt x="444" y="178"/>
                    </a:lnTo>
                    <a:lnTo>
                      <a:pt x="445" y="178"/>
                    </a:lnTo>
                    <a:lnTo>
                      <a:pt x="445" y="177"/>
                    </a:lnTo>
                    <a:lnTo>
                      <a:pt x="445" y="175"/>
                    </a:lnTo>
                    <a:lnTo>
                      <a:pt x="447" y="175"/>
                    </a:lnTo>
                    <a:lnTo>
                      <a:pt x="447" y="173"/>
                    </a:lnTo>
                    <a:lnTo>
                      <a:pt x="447" y="171"/>
                    </a:lnTo>
                    <a:lnTo>
                      <a:pt x="447" y="169"/>
                    </a:lnTo>
                    <a:lnTo>
                      <a:pt x="447" y="167"/>
                    </a:lnTo>
                    <a:lnTo>
                      <a:pt x="445" y="167"/>
                    </a:lnTo>
                    <a:lnTo>
                      <a:pt x="445" y="165"/>
                    </a:lnTo>
                    <a:lnTo>
                      <a:pt x="447" y="163"/>
                    </a:lnTo>
                    <a:lnTo>
                      <a:pt x="447" y="161"/>
                    </a:lnTo>
                    <a:lnTo>
                      <a:pt x="449" y="161"/>
                    </a:lnTo>
                    <a:lnTo>
                      <a:pt x="449" y="160"/>
                    </a:lnTo>
                    <a:lnTo>
                      <a:pt x="451" y="160"/>
                    </a:lnTo>
                    <a:lnTo>
                      <a:pt x="451" y="158"/>
                    </a:lnTo>
                    <a:lnTo>
                      <a:pt x="451" y="156"/>
                    </a:lnTo>
                    <a:lnTo>
                      <a:pt x="453" y="156"/>
                    </a:lnTo>
                    <a:lnTo>
                      <a:pt x="453" y="154"/>
                    </a:lnTo>
                    <a:lnTo>
                      <a:pt x="455" y="154"/>
                    </a:lnTo>
                    <a:lnTo>
                      <a:pt x="457" y="154"/>
                    </a:lnTo>
                    <a:lnTo>
                      <a:pt x="457" y="152"/>
                    </a:lnTo>
                    <a:lnTo>
                      <a:pt x="459" y="150"/>
                    </a:lnTo>
                    <a:lnTo>
                      <a:pt x="459" y="148"/>
                    </a:lnTo>
                    <a:lnTo>
                      <a:pt x="460" y="148"/>
                    </a:lnTo>
                    <a:lnTo>
                      <a:pt x="460" y="150"/>
                    </a:lnTo>
                    <a:lnTo>
                      <a:pt x="462" y="150"/>
                    </a:lnTo>
                    <a:lnTo>
                      <a:pt x="462" y="148"/>
                    </a:lnTo>
                    <a:lnTo>
                      <a:pt x="464" y="148"/>
                    </a:lnTo>
                    <a:lnTo>
                      <a:pt x="466" y="148"/>
                    </a:lnTo>
                    <a:lnTo>
                      <a:pt x="466" y="146"/>
                    </a:lnTo>
                    <a:lnTo>
                      <a:pt x="468" y="146"/>
                    </a:lnTo>
                    <a:lnTo>
                      <a:pt x="470" y="146"/>
                    </a:lnTo>
                    <a:lnTo>
                      <a:pt x="470" y="145"/>
                    </a:lnTo>
                    <a:lnTo>
                      <a:pt x="472" y="145"/>
                    </a:lnTo>
                    <a:lnTo>
                      <a:pt x="472" y="143"/>
                    </a:lnTo>
                    <a:lnTo>
                      <a:pt x="474" y="143"/>
                    </a:lnTo>
                    <a:lnTo>
                      <a:pt x="474" y="141"/>
                    </a:lnTo>
                    <a:lnTo>
                      <a:pt x="476" y="141"/>
                    </a:lnTo>
                    <a:lnTo>
                      <a:pt x="476" y="139"/>
                    </a:lnTo>
                    <a:lnTo>
                      <a:pt x="476" y="137"/>
                    </a:lnTo>
                    <a:lnTo>
                      <a:pt x="476" y="135"/>
                    </a:lnTo>
                    <a:lnTo>
                      <a:pt x="477" y="135"/>
                    </a:lnTo>
                    <a:lnTo>
                      <a:pt x="479" y="135"/>
                    </a:lnTo>
                    <a:lnTo>
                      <a:pt x="481" y="135"/>
                    </a:lnTo>
                    <a:lnTo>
                      <a:pt x="481" y="133"/>
                    </a:lnTo>
                    <a:lnTo>
                      <a:pt x="483" y="133"/>
                    </a:lnTo>
                    <a:lnTo>
                      <a:pt x="485" y="133"/>
                    </a:lnTo>
                    <a:lnTo>
                      <a:pt x="487" y="133"/>
                    </a:lnTo>
                    <a:lnTo>
                      <a:pt x="487" y="131"/>
                    </a:lnTo>
                    <a:lnTo>
                      <a:pt x="489" y="131"/>
                    </a:lnTo>
                    <a:lnTo>
                      <a:pt x="491" y="129"/>
                    </a:lnTo>
                    <a:lnTo>
                      <a:pt x="491" y="128"/>
                    </a:lnTo>
                    <a:lnTo>
                      <a:pt x="492" y="128"/>
                    </a:lnTo>
                    <a:lnTo>
                      <a:pt x="492" y="126"/>
                    </a:lnTo>
                    <a:lnTo>
                      <a:pt x="492" y="124"/>
                    </a:lnTo>
                    <a:lnTo>
                      <a:pt x="494" y="124"/>
                    </a:lnTo>
                    <a:lnTo>
                      <a:pt x="496" y="124"/>
                    </a:lnTo>
                    <a:lnTo>
                      <a:pt x="498" y="124"/>
                    </a:lnTo>
                    <a:lnTo>
                      <a:pt x="500" y="124"/>
                    </a:lnTo>
                    <a:lnTo>
                      <a:pt x="502" y="124"/>
                    </a:lnTo>
                    <a:lnTo>
                      <a:pt x="504" y="124"/>
                    </a:lnTo>
                    <a:lnTo>
                      <a:pt x="506" y="124"/>
                    </a:lnTo>
                    <a:lnTo>
                      <a:pt x="507" y="124"/>
                    </a:lnTo>
                    <a:lnTo>
                      <a:pt x="509" y="124"/>
                    </a:lnTo>
                    <a:lnTo>
                      <a:pt x="511" y="124"/>
                    </a:lnTo>
                    <a:lnTo>
                      <a:pt x="513" y="124"/>
                    </a:lnTo>
                    <a:lnTo>
                      <a:pt x="515" y="124"/>
                    </a:lnTo>
                    <a:lnTo>
                      <a:pt x="517" y="124"/>
                    </a:lnTo>
                    <a:lnTo>
                      <a:pt x="519" y="124"/>
                    </a:lnTo>
                    <a:lnTo>
                      <a:pt x="519" y="122"/>
                    </a:lnTo>
                    <a:lnTo>
                      <a:pt x="519" y="124"/>
                    </a:lnTo>
                    <a:lnTo>
                      <a:pt x="521" y="124"/>
                    </a:lnTo>
                    <a:lnTo>
                      <a:pt x="523" y="124"/>
                    </a:lnTo>
                    <a:lnTo>
                      <a:pt x="524" y="124"/>
                    </a:lnTo>
                    <a:lnTo>
                      <a:pt x="526" y="124"/>
                    </a:lnTo>
                    <a:lnTo>
                      <a:pt x="528" y="124"/>
                    </a:lnTo>
                    <a:lnTo>
                      <a:pt x="530" y="124"/>
                    </a:lnTo>
                    <a:lnTo>
                      <a:pt x="532" y="124"/>
                    </a:lnTo>
                    <a:lnTo>
                      <a:pt x="532" y="126"/>
                    </a:lnTo>
                    <a:lnTo>
                      <a:pt x="534" y="126"/>
                    </a:lnTo>
                    <a:lnTo>
                      <a:pt x="534" y="128"/>
                    </a:lnTo>
                    <a:lnTo>
                      <a:pt x="536" y="128"/>
                    </a:lnTo>
                    <a:lnTo>
                      <a:pt x="538" y="128"/>
                    </a:lnTo>
                    <a:lnTo>
                      <a:pt x="539" y="128"/>
                    </a:lnTo>
                    <a:lnTo>
                      <a:pt x="541" y="128"/>
                    </a:lnTo>
                    <a:lnTo>
                      <a:pt x="541" y="126"/>
                    </a:lnTo>
                    <a:lnTo>
                      <a:pt x="543" y="126"/>
                    </a:lnTo>
                    <a:lnTo>
                      <a:pt x="545" y="126"/>
                    </a:lnTo>
                    <a:lnTo>
                      <a:pt x="545" y="124"/>
                    </a:lnTo>
                    <a:lnTo>
                      <a:pt x="547" y="124"/>
                    </a:lnTo>
                    <a:lnTo>
                      <a:pt x="547" y="122"/>
                    </a:lnTo>
                    <a:lnTo>
                      <a:pt x="549" y="122"/>
                    </a:lnTo>
                    <a:lnTo>
                      <a:pt x="549" y="120"/>
                    </a:lnTo>
                    <a:lnTo>
                      <a:pt x="551" y="120"/>
                    </a:lnTo>
                    <a:lnTo>
                      <a:pt x="553" y="120"/>
                    </a:lnTo>
                    <a:lnTo>
                      <a:pt x="555" y="120"/>
                    </a:lnTo>
                    <a:lnTo>
                      <a:pt x="556" y="120"/>
                    </a:lnTo>
                    <a:lnTo>
                      <a:pt x="558" y="120"/>
                    </a:lnTo>
                    <a:lnTo>
                      <a:pt x="560" y="120"/>
                    </a:lnTo>
                    <a:lnTo>
                      <a:pt x="562" y="120"/>
                    </a:lnTo>
                    <a:lnTo>
                      <a:pt x="562" y="122"/>
                    </a:lnTo>
                    <a:lnTo>
                      <a:pt x="564" y="122"/>
                    </a:lnTo>
                    <a:lnTo>
                      <a:pt x="564" y="120"/>
                    </a:lnTo>
                    <a:lnTo>
                      <a:pt x="566" y="120"/>
                    </a:lnTo>
                    <a:lnTo>
                      <a:pt x="568" y="120"/>
                    </a:lnTo>
                    <a:lnTo>
                      <a:pt x="570" y="120"/>
                    </a:lnTo>
                    <a:lnTo>
                      <a:pt x="571" y="118"/>
                    </a:lnTo>
                    <a:lnTo>
                      <a:pt x="573" y="118"/>
                    </a:lnTo>
                    <a:lnTo>
                      <a:pt x="573" y="116"/>
                    </a:lnTo>
                    <a:lnTo>
                      <a:pt x="575" y="116"/>
                    </a:lnTo>
                    <a:lnTo>
                      <a:pt x="575" y="114"/>
                    </a:lnTo>
                    <a:lnTo>
                      <a:pt x="577" y="114"/>
                    </a:lnTo>
                    <a:lnTo>
                      <a:pt x="577" y="112"/>
                    </a:lnTo>
                    <a:lnTo>
                      <a:pt x="579" y="112"/>
                    </a:lnTo>
                    <a:lnTo>
                      <a:pt x="581" y="112"/>
                    </a:lnTo>
                    <a:lnTo>
                      <a:pt x="583" y="112"/>
                    </a:lnTo>
                    <a:lnTo>
                      <a:pt x="585" y="111"/>
                    </a:lnTo>
                    <a:lnTo>
                      <a:pt x="585" y="109"/>
                    </a:lnTo>
                    <a:lnTo>
                      <a:pt x="586" y="109"/>
                    </a:lnTo>
                    <a:lnTo>
                      <a:pt x="588" y="107"/>
                    </a:lnTo>
                    <a:lnTo>
                      <a:pt x="590" y="107"/>
                    </a:lnTo>
                    <a:lnTo>
                      <a:pt x="592" y="107"/>
                    </a:lnTo>
                    <a:lnTo>
                      <a:pt x="592" y="105"/>
                    </a:lnTo>
                    <a:lnTo>
                      <a:pt x="594" y="105"/>
                    </a:lnTo>
                    <a:lnTo>
                      <a:pt x="596" y="105"/>
                    </a:lnTo>
                    <a:lnTo>
                      <a:pt x="598" y="105"/>
                    </a:lnTo>
                    <a:lnTo>
                      <a:pt x="600" y="105"/>
                    </a:lnTo>
                    <a:lnTo>
                      <a:pt x="602" y="103"/>
                    </a:lnTo>
                    <a:lnTo>
                      <a:pt x="603" y="103"/>
                    </a:lnTo>
                    <a:lnTo>
                      <a:pt x="605" y="103"/>
                    </a:lnTo>
                    <a:lnTo>
                      <a:pt x="607" y="103"/>
                    </a:lnTo>
                    <a:lnTo>
                      <a:pt x="609" y="103"/>
                    </a:lnTo>
                    <a:lnTo>
                      <a:pt x="611" y="101"/>
                    </a:lnTo>
                    <a:lnTo>
                      <a:pt x="613" y="101"/>
                    </a:lnTo>
                    <a:lnTo>
                      <a:pt x="615" y="101"/>
                    </a:lnTo>
                    <a:lnTo>
                      <a:pt x="617" y="101"/>
                    </a:lnTo>
                    <a:lnTo>
                      <a:pt x="618" y="101"/>
                    </a:lnTo>
                    <a:lnTo>
                      <a:pt x="618" y="99"/>
                    </a:lnTo>
                    <a:lnTo>
                      <a:pt x="618" y="97"/>
                    </a:lnTo>
                    <a:lnTo>
                      <a:pt x="618" y="96"/>
                    </a:lnTo>
                    <a:lnTo>
                      <a:pt x="617" y="96"/>
                    </a:lnTo>
                    <a:lnTo>
                      <a:pt x="617" y="94"/>
                    </a:lnTo>
                    <a:lnTo>
                      <a:pt x="618" y="94"/>
                    </a:lnTo>
                    <a:lnTo>
                      <a:pt x="620" y="92"/>
                    </a:lnTo>
                    <a:lnTo>
                      <a:pt x="622" y="92"/>
                    </a:lnTo>
                    <a:lnTo>
                      <a:pt x="624" y="90"/>
                    </a:lnTo>
                    <a:lnTo>
                      <a:pt x="626" y="90"/>
                    </a:lnTo>
                    <a:lnTo>
                      <a:pt x="628" y="90"/>
                    </a:lnTo>
                    <a:lnTo>
                      <a:pt x="630" y="90"/>
                    </a:lnTo>
                    <a:lnTo>
                      <a:pt x="632" y="90"/>
                    </a:lnTo>
                    <a:lnTo>
                      <a:pt x="634" y="90"/>
                    </a:lnTo>
                    <a:lnTo>
                      <a:pt x="635" y="90"/>
                    </a:lnTo>
                    <a:lnTo>
                      <a:pt x="635" y="92"/>
                    </a:lnTo>
                    <a:lnTo>
                      <a:pt x="637" y="92"/>
                    </a:lnTo>
                    <a:lnTo>
                      <a:pt x="637" y="94"/>
                    </a:lnTo>
                    <a:lnTo>
                      <a:pt x="639" y="94"/>
                    </a:lnTo>
                    <a:lnTo>
                      <a:pt x="641" y="94"/>
                    </a:lnTo>
                    <a:lnTo>
                      <a:pt x="641" y="92"/>
                    </a:lnTo>
                    <a:lnTo>
                      <a:pt x="641" y="90"/>
                    </a:lnTo>
                    <a:lnTo>
                      <a:pt x="643" y="90"/>
                    </a:lnTo>
                    <a:lnTo>
                      <a:pt x="643" y="88"/>
                    </a:lnTo>
                    <a:lnTo>
                      <a:pt x="645" y="88"/>
                    </a:lnTo>
                    <a:lnTo>
                      <a:pt x="645" y="86"/>
                    </a:lnTo>
                    <a:lnTo>
                      <a:pt x="647" y="86"/>
                    </a:lnTo>
                    <a:lnTo>
                      <a:pt x="647" y="84"/>
                    </a:lnTo>
                    <a:lnTo>
                      <a:pt x="647" y="82"/>
                    </a:lnTo>
                    <a:lnTo>
                      <a:pt x="649" y="82"/>
                    </a:lnTo>
                    <a:lnTo>
                      <a:pt x="649" y="80"/>
                    </a:lnTo>
                    <a:lnTo>
                      <a:pt x="649" y="79"/>
                    </a:lnTo>
                    <a:lnTo>
                      <a:pt x="649" y="77"/>
                    </a:lnTo>
                    <a:lnTo>
                      <a:pt x="650" y="77"/>
                    </a:lnTo>
                    <a:lnTo>
                      <a:pt x="650" y="75"/>
                    </a:lnTo>
                    <a:lnTo>
                      <a:pt x="650" y="73"/>
                    </a:lnTo>
                    <a:lnTo>
                      <a:pt x="652" y="73"/>
                    </a:lnTo>
                    <a:lnTo>
                      <a:pt x="652" y="71"/>
                    </a:lnTo>
                    <a:lnTo>
                      <a:pt x="654" y="71"/>
                    </a:lnTo>
                    <a:lnTo>
                      <a:pt x="654" y="69"/>
                    </a:lnTo>
                    <a:lnTo>
                      <a:pt x="654" y="67"/>
                    </a:lnTo>
                    <a:lnTo>
                      <a:pt x="654" y="65"/>
                    </a:lnTo>
                    <a:lnTo>
                      <a:pt x="652" y="65"/>
                    </a:lnTo>
                    <a:lnTo>
                      <a:pt x="652" y="64"/>
                    </a:lnTo>
                    <a:lnTo>
                      <a:pt x="652" y="62"/>
                    </a:lnTo>
                    <a:lnTo>
                      <a:pt x="652" y="60"/>
                    </a:lnTo>
                    <a:lnTo>
                      <a:pt x="652" y="58"/>
                    </a:lnTo>
                    <a:lnTo>
                      <a:pt x="652" y="56"/>
                    </a:lnTo>
                    <a:lnTo>
                      <a:pt x="652" y="54"/>
                    </a:lnTo>
                    <a:lnTo>
                      <a:pt x="652" y="52"/>
                    </a:lnTo>
                    <a:lnTo>
                      <a:pt x="652" y="50"/>
                    </a:lnTo>
                    <a:lnTo>
                      <a:pt x="654" y="50"/>
                    </a:lnTo>
                    <a:lnTo>
                      <a:pt x="654" y="48"/>
                    </a:lnTo>
                    <a:lnTo>
                      <a:pt x="656" y="48"/>
                    </a:lnTo>
                    <a:lnTo>
                      <a:pt x="656" y="47"/>
                    </a:lnTo>
                    <a:lnTo>
                      <a:pt x="656" y="45"/>
                    </a:lnTo>
                    <a:lnTo>
                      <a:pt x="658" y="45"/>
                    </a:lnTo>
                    <a:lnTo>
                      <a:pt x="660" y="43"/>
                    </a:lnTo>
                    <a:lnTo>
                      <a:pt x="662" y="43"/>
                    </a:lnTo>
                    <a:lnTo>
                      <a:pt x="662" y="41"/>
                    </a:lnTo>
                    <a:lnTo>
                      <a:pt x="662" y="39"/>
                    </a:lnTo>
                    <a:lnTo>
                      <a:pt x="662" y="37"/>
                    </a:lnTo>
                    <a:lnTo>
                      <a:pt x="664" y="37"/>
                    </a:lnTo>
                    <a:lnTo>
                      <a:pt x="665" y="37"/>
                    </a:lnTo>
                    <a:lnTo>
                      <a:pt x="665" y="35"/>
                    </a:lnTo>
                    <a:lnTo>
                      <a:pt x="664" y="33"/>
                    </a:lnTo>
                    <a:lnTo>
                      <a:pt x="664" y="32"/>
                    </a:lnTo>
                    <a:lnTo>
                      <a:pt x="664" y="30"/>
                    </a:lnTo>
                    <a:lnTo>
                      <a:pt x="665" y="30"/>
                    </a:lnTo>
                    <a:lnTo>
                      <a:pt x="665" y="28"/>
                    </a:lnTo>
                    <a:lnTo>
                      <a:pt x="667" y="28"/>
                    </a:lnTo>
                    <a:lnTo>
                      <a:pt x="667" y="30"/>
                    </a:lnTo>
                    <a:lnTo>
                      <a:pt x="669" y="28"/>
                    </a:lnTo>
                    <a:lnTo>
                      <a:pt x="669" y="26"/>
                    </a:lnTo>
                    <a:lnTo>
                      <a:pt x="671" y="26"/>
                    </a:lnTo>
                    <a:lnTo>
                      <a:pt x="673" y="26"/>
                    </a:lnTo>
                    <a:lnTo>
                      <a:pt x="675" y="26"/>
                    </a:lnTo>
                    <a:lnTo>
                      <a:pt x="677" y="26"/>
                    </a:lnTo>
                    <a:lnTo>
                      <a:pt x="679" y="26"/>
                    </a:lnTo>
                    <a:lnTo>
                      <a:pt x="681" y="26"/>
                    </a:lnTo>
                    <a:lnTo>
                      <a:pt x="682" y="26"/>
                    </a:lnTo>
                    <a:lnTo>
                      <a:pt x="684" y="26"/>
                    </a:lnTo>
                    <a:lnTo>
                      <a:pt x="686" y="26"/>
                    </a:lnTo>
                    <a:lnTo>
                      <a:pt x="688" y="24"/>
                    </a:lnTo>
                    <a:lnTo>
                      <a:pt x="690" y="24"/>
                    </a:lnTo>
                    <a:lnTo>
                      <a:pt x="692" y="24"/>
                    </a:lnTo>
                    <a:lnTo>
                      <a:pt x="694" y="24"/>
                    </a:lnTo>
                    <a:lnTo>
                      <a:pt x="696" y="24"/>
                    </a:lnTo>
                    <a:lnTo>
                      <a:pt x="697" y="26"/>
                    </a:lnTo>
                    <a:lnTo>
                      <a:pt x="699" y="26"/>
                    </a:lnTo>
                    <a:lnTo>
                      <a:pt x="701" y="24"/>
                    </a:lnTo>
                    <a:lnTo>
                      <a:pt x="703" y="24"/>
                    </a:lnTo>
                    <a:lnTo>
                      <a:pt x="703" y="22"/>
                    </a:lnTo>
                    <a:lnTo>
                      <a:pt x="705" y="22"/>
                    </a:lnTo>
                    <a:lnTo>
                      <a:pt x="705" y="20"/>
                    </a:lnTo>
                    <a:lnTo>
                      <a:pt x="707" y="20"/>
                    </a:lnTo>
                    <a:lnTo>
                      <a:pt x="707" y="18"/>
                    </a:lnTo>
                    <a:lnTo>
                      <a:pt x="709" y="18"/>
                    </a:lnTo>
                    <a:lnTo>
                      <a:pt x="709" y="16"/>
                    </a:lnTo>
                    <a:lnTo>
                      <a:pt x="711" y="16"/>
                    </a:lnTo>
                    <a:lnTo>
                      <a:pt x="713" y="16"/>
                    </a:lnTo>
                    <a:lnTo>
                      <a:pt x="714" y="16"/>
                    </a:lnTo>
                    <a:lnTo>
                      <a:pt x="716" y="16"/>
                    </a:lnTo>
                    <a:lnTo>
                      <a:pt x="716" y="15"/>
                    </a:lnTo>
                    <a:lnTo>
                      <a:pt x="718" y="15"/>
                    </a:lnTo>
                    <a:lnTo>
                      <a:pt x="720" y="15"/>
                    </a:lnTo>
                    <a:lnTo>
                      <a:pt x="722" y="16"/>
                    </a:lnTo>
                    <a:lnTo>
                      <a:pt x="724" y="16"/>
                    </a:lnTo>
                    <a:lnTo>
                      <a:pt x="726" y="18"/>
                    </a:lnTo>
                    <a:lnTo>
                      <a:pt x="728" y="18"/>
                    </a:lnTo>
                    <a:lnTo>
                      <a:pt x="729" y="18"/>
                    </a:lnTo>
                    <a:lnTo>
                      <a:pt x="731" y="18"/>
                    </a:lnTo>
                    <a:lnTo>
                      <a:pt x="733" y="18"/>
                    </a:lnTo>
                    <a:lnTo>
                      <a:pt x="733" y="16"/>
                    </a:lnTo>
                    <a:lnTo>
                      <a:pt x="735" y="16"/>
                    </a:lnTo>
                    <a:lnTo>
                      <a:pt x="735" y="18"/>
                    </a:lnTo>
                    <a:lnTo>
                      <a:pt x="737" y="16"/>
                    </a:lnTo>
                    <a:lnTo>
                      <a:pt x="739" y="16"/>
                    </a:lnTo>
                    <a:lnTo>
                      <a:pt x="739" y="18"/>
                    </a:lnTo>
                    <a:lnTo>
                      <a:pt x="741" y="18"/>
                    </a:lnTo>
                    <a:lnTo>
                      <a:pt x="743" y="16"/>
                    </a:lnTo>
                    <a:lnTo>
                      <a:pt x="743" y="18"/>
                    </a:lnTo>
                    <a:lnTo>
                      <a:pt x="744" y="18"/>
                    </a:lnTo>
                    <a:lnTo>
                      <a:pt x="744" y="20"/>
                    </a:lnTo>
                    <a:lnTo>
                      <a:pt x="744" y="22"/>
                    </a:lnTo>
                    <a:lnTo>
                      <a:pt x="746" y="22"/>
                    </a:lnTo>
                    <a:lnTo>
                      <a:pt x="748" y="22"/>
                    </a:lnTo>
                    <a:lnTo>
                      <a:pt x="748" y="20"/>
                    </a:lnTo>
                    <a:lnTo>
                      <a:pt x="750" y="18"/>
                    </a:lnTo>
                    <a:lnTo>
                      <a:pt x="750" y="20"/>
                    </a:lnTo>
                    <a:lnTo>
                      <a:pt x="752" y="20"/>
                    </a:lnTo>
                    <a:lnTo>
                      <a:pt x="754" y="20"/>
                    </a:lnTo>
                    <a:lnTo>
                      <a:pt x="756" y="20"/>
                    </a:lnTo>
                    <a:lnTo>
                      <a:pt x="758" y="20"/>
                    </a:lnTo>
                    <a:lnTo>
                      <a:pt x="758" y="18"/>
                    </a:lnTo>
                    <a:lnTo>
                      <a:pt x="760" y="18"/>
                    </a:lnTo>
                    <a:lnTo>
                      <a:pt x="761" y="18"/>
                    </a:lnTo>
                    <a:lnTo>
                      <a:pt x="761" y="16"/>
                    </a:lnTo>
                    <a:lnTo>
                      <a:pt x="763" y="16"/>
                    </a:lnTo>
                    <a:lnTo>
                      <a:pt x="765" y="16"/>
                    </a:lnTo>
                    <a:lnTo>
                      <a:pt x="765" y="15"/>
                    </a:lnTo>
                    <a:lnTo>
                      <a:pt x="767" y="15"/>
                    </a:lnTo>
                    <a:lnTo>
                      <a:pt x="769" y="15"/>
                    </a:lnTo>
                    <a:lnTo>
                      <a:pt x="769" y="13"/>
                    </a:lnTo>
                    <a:lnTo>
                      <a:pt x="771" y="13"/>
                    </a:lnTo>
                    <a:lnTo>
                      <a:pt x="773" y="13"/>
                    </a:lnTo>
                    <a:lnTo>
                      <a:pt x="776" y="13"/>
                    </a:lnTo>
                    <a:lnTo>
                      <a:pt x="778" y="13"/>
                    </a:lnTo>
                    <a:lnTo>
                      <a:pt x="778" y="11"/>
                    </a:lnTo>
                    <a:lnTo>
                      <a:pt x="780" y="11"/>
                    </a:lnTo>
                    <a:lnTo>
                      <a:pt x="782" y="11"/>
                    </a:lnTo>
                    <a:lnTo>
                      <a:pt x="784" y="11"/>
                    </a:lnTo>
                    <a:lnTo>
                      <a:pt x="784" y="13"/>
                    </a:lnTo>
                    <a:lnTo>
                      <a:pt x="786" y="13"/>
                    </a:lnTo>
                    <a:lnTo>
                      <a:pt x="788" y="13"/>
                    </a:lnTo>
                    <a:lnTo>
                      <a:pt x="790" y="13"/>
                    </a:lnTo>
                    <a:lnTo>
                      <a:pt x="790" y="15"/>
                    </a:lnTo>
                    <a:lnTo>
                      <a:pt x="792" y="15"/>
                    </a:lnTo>
                    <a:lnTo>
                      <a:pt x="793" y="15"/>
                    </a:lnTo>
                    <a:lnTo>
                      <a:pt x="795" y="15"/>
                    </a:lnTo>
                    <a:lnTo>
                      <a:pt x="797" y="15"/>
                    </a:lnTo>
                    <a:lnTo>
                      <a:pt x="797" y="13"/>
                    </a:lnTo>
                    <a:lnTo>
                      <a:pt x="797" y="11"/>
                    </a:lnTo>
                    <a:lnTo>
                      <a:pt x="797" y="9"/>
                    </a:lnTo>
                    <a:lnTo>
                      <a:pt x="799" y="9"/>
                    </a:lnTo>
                    <a:lnTo>
                      <a:pt x="799" y="7"/>
                    </a:lnTo>
                    <a:lnTo>
                      <a:pt x="801" y="7"/>
                    </a:lnTo>
                    <a:lnTo>
                      <a:pt x="803" y="7"/>
                    </a:lnTo>
                    <a:lnTo>
                      <a:pt x="805" y="7"/>
                    </a:lnTo>
                    <a:lnTo>
                      <a:pt x="807" y="7"/>
                    </a:lnTo>
                    <a:lnTo>
                      <a:pt x="808" y="5"/>
                    </a:lnTo>
                    <a:lnTo>
                      <a:pt x="810" y="5"/>
                    </a:lnTo>
                    <a:lnTo>
                      <a:pt x="812" y="5"/>
                    </a:lnTo>
                    <a:lnTo>
                      <a:pt x="812" y="7"/>
                    </a:lnTo>
                    <a:lnTo>
                      <a:pt x="814" y="7"/>
                    </a:lnTo>
                    <a:lnTo>
                      <a:pt x="814" y="9"/>
                    </a:lnTo>
                    <a:lnTo>
                      <a:pt x="816" y="9"/>
                    </a:lnTo>
                    <a:lnTo>
                      <a:pt x="818" y="9"/>
                    </a:lnTo>
                    <a:lnTo>
                      <a:pt x="818" y="7"/>
                    </a:lnTo>
                    <a:lnTo>
                      <a:pt x="820" y="7"/>
                    </a:lnTo>
                    <a:lnTo>
                      <a:pt x="820" y="5"/>
                    </a:lnTo>
                    <a:lnTo>
                      <a:pt x="820" y="3"/>
                    </a:lnTo>
                    <a:lnTo>
                      <a:pt x="822" y="3"/>
                    </a:lnTo>
                    <a:lnTo>
                      <a:pt x="823" y="3"/>
                    </a:lnTo>
                    <a:lnTo>
                      <a:pt x="823" y="1"/>
                    </a:lnTo>
                    <a:lnTo>
                      <a:pt x="825" y="1"/>
                    </a:lnTo>
                    <a:lnTo>
                      <a:pt x="827" y="1"/>
                    </a:lnTo>
                    <a:lnTo>
                      <a:pt x="827" y="0"/>
                    </a:lnTo>
                    <a:lnTo>
                      <a:pt x="829" y="0"/>
                    </a:lnTo>
                    <a:lnTo>
                      <a:pt x="831" y="1"/>
                    </a:lnTo>
                    <a:lnTo>
                      <a:pt x="831" y="3"/>
                    </a:lnTo>
                    <a:lnTo>
                      <a:pt x="833" y="3"/>
                    </a:lnTo>
                    <a:lnTo>
                      <a:pt x="835" y="3"/>
                    </a:lnTo>
                    <a:lnTo>
                      <a:pt x="837" y="3"/>
                    </a:lnTo>
                    <a:lnTo>
                      <a:pt x="839" y="3"/>
                    </a:lnTo>
                    <a:lnTo>
                      <a:pt x="840" y="3"/>
                    </a:lnTo>
                    <a:lnTo>
                      <a:pt x="842" y="5"/>
                    </a:lnTo>
                    <a:lnTo>
                      <a:pt x="844" y="5"/>
                    </a:lnTo>
                    <a:lnTo>
                      <a:pt x="846" y="5"/>
                    </a:lnTo>
                    <a:lnTo>
                      <a:pt x="848" y="5"/>
                    </a:lnTo>
                    <a:lnTo>
                      <a:pt x="850" y="5"/>
                    </a:lnTo>
                    <a:lnTo>
                      <a:pt x="852" y="5"/>
                    </a:lnTo>
                    <a:lnTo>
                      <a:pt x="854" y="5"/>
                    </a:lnTo>
                    <a:lnTo>
                      <a:pt x="855" y="5"/>
                    </a:lnTo>
                    <a:lnTo>
                      <a:pt x="857" y="5"/>
                    </a:lnTo>
                    <a:lnTo>
                      <a:pt x="859" y="5"/>
                    </a:lnTo>
                    <a:lnTo>
                      <a:pt x="861" y="7"/>
                    </a:lnTo>
                    <a:lnTo>
                      <a:pt x="863" y="7"/>
                    </a:lnTo>
                    <a:lnTo>
                      <a:pt x="865" y="9"/>
                    </a:lnTo>
                    <a:lnTo>
                      <a:pt x="865" y="11"/>
                    </a:lnTo>
                    <a:lnTo>
                      <a:pt x="867" y="11"/>
                    </a:lnTo>
                    <a:lnTo>
                      <a:pt x="869" y="13"/>
                    </a:lnTo>
                    <a:lnTo>
                      <a:pt x="871" y="13"/>
                    </a:lnTo>
                    <a:lnTo>
                      <a:pt x="872" y="13"/>
                    </a:lnTo>
                    <a:lnTo>
                      <a:pt x="872" y="15"/>
                    </a:lnTo>
                    <a:lnTo>
                      <a:pt x="874" y="15"/>
                    </a:lnTo>
                    <a:lnTo>
                      <a:pt x="876" y="15"/>
                    </a:lnTo>
                    <a:lnTo>
                      <a:pt x="880" y="15"/>
                    </a:lnTo>
                    <a:lnTo>
                      <a:pt x="882" y="15"/>
                    </a:lnTo>
                    <a:lnTo>
                      <a:pt x="884" y="16"/>
                    </a:lnTo>
                    <a:lnTo>
                      <a:pt x="884" y="18"/>
                    </a:lnTo>
                    <a:lnTo>
                      <a:pt x="886" y="18"/>
                    </a:lnTo>
                    <a:lnTo>
                      <a:pt x="887" y="18"/>
                    </a:lnTo>
                    <a:lnTo>
                      <a:pt x="887" y="20"/>
                    </a:lnTo>
                    <a:lnTo>
                      <a:pt x="889" y="20"/>
                    </a:lnTo>
                    <a:lnTo>
                      <a:pt x="889" y="18"/>
                    </a:lnTo>
                    <a:lnTo>
                      <a:pt x="891" y="18"/>
                    </a:lnTo>
                    <a:lnTo>
                      <a:pt x="893" y="18"/>
                    </a:lnTo>
                    <a:lnTo>
                      <a:pt x="895" y="18"/>
                    </a:lnTo>
                    <a:lnTo>
                      <a:pt x="897" y="18"/>
                    </a:lnTo>
                    <a:lnTo>
                      <a:pt x="899" y="18"/>
                    </a:lnTo>
                    <a:lnTo>
                      <a:pt x="901" y="20"/>
                    </a:lnTo>
                    <a:lnTo>
                      <a:pt x="902" y="22"/>
                    </a:lnTo>
                    <a:lnTo>
                      <a:pt x="904" y="24"/>
                    </a:lnTo>
                    <a:lnTo>
                      <a:pt x="906" y="24"/>
                    </a:lnTo>
                    <a:lnTo>
                      <a:pt x="906" y="26"/>
                    </a:lnTo>
                    <a:lnTo>
                      <a:pt x="908" y="26"/>
                    </a:lnTo>
                    <a:lnTo>
                      <a:pt x="908" y="28"/>
                    </a:lnTo>
                    <a:lnTo>
                      <a:pt x="910" y="28"/>
                    </a:lnTo>
                    <a:lnTo>
                      <a:pt x="912" y="28"/>
                    </a:lnTo>
                    <a:lnTo>
                      <a:pt x="914" y="28"/>
                    </a:lnTo>
                    <a:lnTo>
                      <a:pt x="916" y="30"/>
                    </a:lnTo>
                    <a:lnTo>
                      <a:pt x="916" y="28"/>
                    </a:lnTo>
                    <a:lnTo>
                      <a:pt x="918" y="28"/>
                    </a:lnTo>
                    <a:lnTo>
                      <a:pt x="919" y="28"/>
                    </a:lnTo>
                    <a:lnTo>
                      <a:pt x="921" y="28"/>
                    </a:lnTo>
                    <a:lnTo>
                      <a:pt x="921" y="30"/>
                    </a:lnTo>
                    <a:lnTo>
                      <a:pt x="921" y="32"/>
                    </a:lnTo>
                    <a:lnTo>
                      <a:pt x="921" y="33"/>
                    </a:lnTo>
                    <a:lnTo>
                      <a:pt x="921" y="35"/>
                    </a:lnTo>
                    <a:lnTo>
                      <a:pt x="923" y="35"/>
                    </a:lnTo>
                    <a:lnTo>
                      <a:pt x="925" y="37"/>
                    </a:lnTo>
                    <a:lnTo>
                      <a:pt x="927" y="35"/>
                    </a:lnTo>
                    <a:lnTo>
                      <a:pt x="929" y="35"/>
                    </a:lnTo>
                    <a:lnTo>
                      <a:pt x="931" y="35"/>
                    </a:lnTo>
                    <a:lnTo>
                      <a:pt x="931" y="37"/>
                    </a:lnTo>
                    <a:lnTo>
                      <a:pt x="933" y="37"/>
                    </a:lnTo>
                    <a:lnTo>
                      <a:pt x="933" y="39"/>
                    </a:lnTo>
                    <a:lnTo>
                      <a:pt x="934" y="39"/>
                    </a:lnTo>
                    <a:lnTo>
                      <a:pt x="936" y="41"/>
                    </a:lnTo>
                    <a:lnTo>
                      <a:pt x="938" y="43"/>
                    </a:lnTo>
                    <a:lnTo>
                      <a:pt x="940" y="43"/>
                    </a:lnTo>
                    <a:lnTo>
                      <a:pt x="942" y="45"/>
                    </a:lnTo>
                    <a:lnTo>
                      <a:pt x="944" y="47"/>
                    </a:lnTo>
                    <a:lnTo>
                      <a:pt x="946" y="48"/>
                    </a:lnTo>
                    <a:lnTo>
                      <a:pt x="948" y="50"/>
                    </a:lnTo>
                    <a:lnTo>
                      <a:pt x="950" y="52"/>
                    </a:lnTo>
                    <a:lnTo>
                      <a:pt x="951" y="52"/>
                    </a:lnTo>
                    <a:lnTo>
                      <a:pt x="951" y="50"/>
                    </a:lnTo>
                    <a:lnTo>
                      <a:pt x="953" y="50"/>
                    </a:lnTo>
                    <a:lnTo>
                      <a:pt x="953" y="48"/>
                    </a:lnTo>
                    <a:lnTo>
                      <a:pt x="955" y="48"/>
                    </a:lnTo>
                    <a:lnTo>
                      <a:pt x="957" y="48"/>
                    </a:lnTo>
                    <a:lnTo>
                      <a:pt x="959" y="48"/>
                    </a:lnTo>
                    <a:lnTo>
                      <a:pt x="961" y="48"/>
                    </a:lnTo>
                    <a:lnTo>
                      <a:pt x="963" y="48"/>
                    </a:lnTo>
                    <a:lnTo>
                      <a:pt x="965" y="47"/>
                    </a:lnTo>
                    <a:lnTo>
                      <a:pt x="966" y="47"/>
                    </a:lnTo>
                    <a:lnTo>
                      <a:pt x="968" y="47"/>
                    </a:lnTo>
                    <a:lnTo>
                      <a:pt x="970" y="47"/>
                    </a:lnTo>
                    <a:lnTo>
                      <a:pt x="972" y="47"/>
                    </a:lnTo>
                    <a:lnTo>
                      <a:pt x="974" y="47"/>
                    </a:lnTo>
                    <a:lnTo>
                      <a:pt x="976" y="47"/>
                    </a:lnTo>
                    <a:lnTo>
                      <a:pt x="976" y="48"/>
                    </a:lnTo>
                    <a:lnTo>
                      <a:pt x="978" y="48"/>
                    </a:lnTo>
                    <a:lnTo>
                      <a:pt x="978" y="50"/>
                    </a:lnTo>
                    <a:lnTo>
                      <a:pt x="980" y="52"/>
                    </a:lnTo>
                    <a:lnTo>
                      <a:pt x="981" y="52"/>
                    </a:lnTo>
                    <a:lnTo>
                      <a:pt x="981" y="54"/>
                    </a:lnTo>
                    <a:lnTo>
                      <a:pt x="983" y="54"/>
                    </a:lnTo>
                    <a:lnTo>
                      <a:pt x="983" y="56"/>
                    </a:lnTo>
                    <a:lnTo>
                      <a:pt x="985" y="58"/>
                    </a:lnTo>
                    <a:lnTo>
                      <a:pt x="985" y="60"/>
                    </a:lnTo>
                    <a:lnTo>
                      <a:pt x="987" y="62"/>
                    </a:lnTo>
                    <a:lnTo>
                      <a:pt x="987" y="64"/>
                    </a:lnTo>
                    <a:lnTo>
                      <a:pt x="989" y="64"/>
                    </a:lnTo>
                    <a:lnTo>
                      <a:pt x="991" y="64"/>
                    </a:lnTo>
                    <a:lnTo>
                      <a:pt x="993" y="64"/>
                    </a:lnTo>
                    <a:lnTo>
                      <a:pt x="995" y="64"/>
                    </a:lnTo>
                    <a:lnTo>
                      <a:pt x="997" y="62"/>
                    </a:lnTo>
                    <a:lnTo>
                      <a:pt x="998" y="62"/>
                    </a:lnTo>
                    <a:lnTo>
                      <a:pt x="1000" y="62"/>
                    </a:lnTo>
                    <a:lnTo>
                      <a:pt x="1002" y="62"/>
                    </a:lnTo>
                    <a:lnTo>
                      <a:pt x="1004" y="62"/>
                    </a:lnTo>
                    <a:lnTo>
                      <a:pt x="1006" y="62"/>
                    </a:lnTo>
                    <a:lnTo>
                      <a:pt x="1008" y="62"/>
                    </a:lnTo>
                    <a:lnTo>
                      <a:pt x="1010" y="62"/>
                    </a:lnTo>
                    <a:lnTo>
                      <a:pt x="1012" y="62"/>
                    </a:lnTo>
                    <a:lnTo>
                      <a:pt x="1013" y="62"/>
                    </a:lnTo>
                    <a:lnTo>
                      <a:pt x="1013" y="64"/>
                    </a:lnTo>
                    <a:lnTo>
                      <a:pt x="1013" y="62"/>
                    </a:lnTo>
                    <a:lnTo>
                      <a:pt x="1015" y="62"/>
                    </a:lnTo>
                    <a:lnTo>
                      <a:pt x="1017" y="62"/>
                    </a:lnTo>
                    <a:lnTo>
                      <a:pt x="1019" y="62"/>
                    </a:lnTo>
                    <a:lnTo>
                      <a:pt x="1019" y="60"/>
                    </a:lnTo>
                    <a:lnTo>
                      <a:pt x="1021" y="60"/>
                    </a:lnTo>
                    <a:lnTo>
                      <a:pt x="1023" y="60"/>
                    </a:lnTo>
                    <a:lnTo>
                      <a:pt x="1025" y="60"/>
                    </a:lnTo>
                    <a:lnTo>
                      <a:pt x="1027" y="60"/>
                    </a:lnTo>
                    <a:lnTo>
                      <a:pt x="1029" y="58"/>
                    </a:lnTo>
                    <a:lnTo>
                      <a:pt x="1030" y="58"/>
                    </a:lnTo>
                    <a:lnTo>
                      <a:pt x="1032" y="58"/>
                    </a:lnTo>
                    <a:lnTo>
                      <a:pt x="1032" y="56"/>
                    </a:lnTo>
                    <a:lnTo>
                      <a:pt x="1034" y="56"/>
                    </a:lnTo>
                    <a:lnTo>
                      <a:pt x="1036" y="56"/>
                    </a:lnTo>
                    <a:lnTo>
                      <a:pt x="1036" y="54"/>
                    </a:lnTo>
                    <a:lnTo>
                      <a:pt x="1038" y="54"/>
                    </a:lnTo>
                    <a:lnTo>
                      <a:pt x="1040" y="54"/>
                    </a:lnTo>
                    <a:lnTo>
                      <a:pt x="1040" y="52"/>
                    </a:lnTo>
                    <a:lnTo>
                      <a:pt x="1042" y="52"/>
                    </a:lnTo>
                    <a:lnTo>
                      <a:pt x="1044" y="52"/>
                    </a:lnTo>
                    <a:lnTo>
                      <a:pt x="1044" y="54"/>
                    </a:lnTo>
                    <a:lnTo>
                      <a:pt x="1045" y="54"/>
                    </a:lnTo>
                    <a:lnTo>
                      <a:pt x="1047" y="54"/>
                    </a:lnTo>
                    <a:lnTo>
                      <a:pt x="1049" y="54"/>
                    </a:lnTo>
                    <a:lnTo>
                      <a:pt x="1051" y="56"/>
                    </a:lnTo>
                    <a:lnTo>
                      <a:pt x="1053" y="56"/>
                    </a:lnTo>
                    <a:lnTo>
                      <a:pt x="1055" y="56"/>
                    </a:lnTo>
                    <a:lnTo>
                      <a:pt x="1057" y="58"/>
                    </a:lnTo>
                    <a:lnTo>
                      <a:pt x="1059" y="58"/>
                    </a:lnTo>
                    <a:lnTo>
                      <a:pt x="1059" y="56"/>
                    </a:lnTo>
                    <a:lnTo>
                      <a:pt x="1060" y="56"/>
                    </a:lnTo>
                    <a:lnTo>
                      <a:pt x="1060" y="54"/>
                    </a:lnTo>
                    <a:lnTo>
                      <a:pt x="1062" y="54"/>
                    </a:lnTo>
                    <a:lnTo>
                      <a:pt x="1064" y="54"/>
                    </a:lnTo>
                    <a:lnTo>
                      <a:pt x="1066" y="54"/>
                    </a:lnTo>
                    <a:lnTo>
                      <a:pt x="1068" y="54"/>
                    </a:lnTo>
                    <a:lnTo>
                      <a:pt x="1070" y="54"/>
                    </a:lnTo>
                    <a:lnTo>
                      <a:pt x="1072" y="54"/>
                    </a:lnTo>
                    <a:lnTo>
                      <a:pt x="1072" y="56"/>
                    </a:lnTo>
                    <a:lnTo>
                      <a:pt x="1074" y="56"/>
                    </a:lnTo>
                    <a:lnTo>
                      <a:pt x="1076" y="58"/>
                    </a:lnTo>
                    <a:lnTo>
                      <a:pt x="1077" y="58"/>
                    </a:lnTo>
                    <a:lnTo>
                      <a:pt x="1079" y="58"/>
                    </a:lnTo>
                    <a:lnTo>
                      <a:pt x="1079" y="56"/>
                    </a:lnTo>
                    <a:lnTo>
                      <a:pt x="1081" y="56"/>
                    </a:lnTo>
                    <a:lnTo>
                      <a:pt x="1081" y="54"/>
                    </a:lnTo>
                    <a:lnTo>
                      <a:pt x="1083" y="54"/>
                    </a:lnTo>
                    <a:lnTo>
                      <a:pt x="1083" y="52"/>
                    </a:lnTo>
                    <a:lnTo>
                      <a:pt x="1085" y="52"/>
                    </a:lnTo>
                    <a:lnTo>
                      <a:pt x="1087" y="52"/>
                    </a:lnTo>
                    <a:lnTo>
                      <a:pt x="1089" y="52"/>
                    </a:lnTo>
                    <a:lnTo>
                      <a:pt x="1091" y="52"/>
                    </a:lnTo>
                    <a:lnTo>
                      <a:pt x="1092" y="52"/>
                    </a:lnTo>
                    <a:lnTo>
                      <a:pt x="1094" y="52"/>
                    </a:lnTo>
                    <a:lnTo>
                      <a:pt x="1096" y="52"/>
                    </a:lnTo>
                    <a:lnTo>
                      <a:pt x="1098" y="52"/>
                    </a:lnTo>
                    <a:lnTo>
                      <a:pt x="1100" y="52"/>
                    </a:lnTo>
                    <a:lnTo>
                      <a:pt x="1102" y="52"/>
                    </a:lnTo>
                    <a:lnTo>
                      <a:pt x="1104" y="50"/>
                    </a:lnTo>
                    <a:lnTo>
                      <a:pt x="1106" y="50"/>
                    </a:lnTo>
                    <a:lnTo>
                      <a:pt x="1107" y="50"/>
                    </a:lnTo>
                    <a:lnTo>
                      <a:pt x="1109" y="50"/>
                    </a:lnTo>
                    <a:lnTo>
                      <a:pt x="1111" y="50"/>
                    </a:lnTo>
                    <a:lnTo>
                      <a:pt x="1113" y="50"/>
                    </a:lnTo>
                    <a:lnTo>
                      <a:pt x="1115" y="50"/>
                    </a:lnTo>
                    <a:lnTo>
                      <a:pt x="1115" y="48"/>
                    </a:lnTo>
                    <a:lnTo>
                      <a:pt x="1117" y="48"/>
                    </a:lnTo>
                    <a:lnTo>
                      <a:pt x="1119" y="48"/>
                    </a:lnTo>
                    <a:lnTo>
                      <a:pt x="1121" y="48"/>
                    </a:lnTo>
                    <a:lnTo>
                      <a:pt x="1123" y="48"/>
                    </a:lnTo>
                    <a:lnTo>
                      <a:pt x="1124" y="47"/>
                    </a:lnTo>
                    <a:lnTo>
                      <a:pt x="1126" y="47"/>
                    </a:lnTo>
                    <a:lnTo>
                      <a:pt x="1128" y="47"/>
                    </a:lnTo>
                    <a:lnTo>
                      <a:pt x="1130" y="47"/>
                    </a:lnTo>
                    <a:lnTo>
                      <a:pt x="1132" y="47"/>
                    </a:lnTo>
                    <a:lnTo>
                      <a:pt x="1134" y="47"/>
                    </a:lnTo>
                    <a:lnTo>
                      <a:pt x="1136" y="47"/>
                    </a:lnTo>
                    <a:lnTo>
                      <a:pt x="1136" y="48"/>
                    </a:lnTo>
                    <a:lnTo>
                      <a:pt x="1138" y="48"/>
                    </a:lnTo>
                    <a:lnTo>
                      <a:pt x="1139" y="48"/>
                    </a:lnTo>
                    <a:lnTo>
                      <a:pt x="1141" y="48"/>
                    </a:lnTo>
                    <a:lnTo>
                      <a:pt x="1141" y="50"/>
                    </a:lnTo>
                    <a:lnTo>
                      <a:pt x="1143" y="50"/>
                    </a:lnTo>
                    <a:lnTo>
                      <a:pt x="1143" y="48"/>
                    </a:lnTo>
                    <a:lnTo>
                      <a:pt x="1145" y="48"/>
                    </a:lnTo>
                    <a:lnTo>
                      <a:pt x="1147" y="47"/>
                    </a:lnTo>
                    <a:lnTo>
                      <a:pt x="1149" y="48"/>
                    </a:lnTo>
                    <a:lnTo>
                      <a:pt x="1151" y="48"/>
                    </a:lnTo>
                    <a:lnTo>
                      <a:pt x="1153" y="48"/>
                    </a:lnTo>
                    <a:lnTo>
                      <a:pt x="1155" y="48"/>
                    </a:lnTo>
                    <a:lnTo>
                      <a:pt x="1156" y="50"/>
                    </a:lnTo>
                    <a:lnTo>
                      <a:pt x="1156" y="52"/>
                    </a:lnTo>
                    <a:lnTo>
                      <a:pt x="1158" y="52"/>
                    </a:lnTo>
                    <a:lnTo>
                      <a:pt x="1160" y="52"/>
                    </a:lnTo>
                    <a:lnTo>
                      <a:pt x="1162" y="52"/>
                    </a:lnTo>
                    <a:lnTo>
                      <a:pt x="1164" y="52"/>
                    </a:lnTo>
                    <a:lnTo>
                      <a:pt x="1164" y="54"/>
                    </a:lnTo>
                    <a:lnTo>
                      <a:pt x="1166" y="54"/>
                    </a:lnTo>
                    <a:lnTo>
                      <a:pt x="1166" y="56"/>
                    </a:lnTo>
                    <a:lnTo>
                      <a:pt x="1168" y="56"/>
                    </a:lnTo>
                    <a:lnTo>
                      <a:pt x="1170" y="56"/>
                    </a:lnTo>
                    <a:lnTo>
                      <a:pt x="1170" y="54"/>
                    </a:lnTo>
                    <a:lnTo>
                      <a:pt x="1171" y="54"/>
                    </a:lnTo>
                    <a:lnTo>
                      <a:pt x="1171" y="52"/>
                    </a:lnTo>
                    <a:lnTo>
                      <a:pt x="1173" y="52"/>
                    </a:lnTo>
                    <a:lnTo>
                      <a:pt x="1173" y="54"/>
                    </a:lnTo>
                    <a:lnTo>
                      <a:pt x="1175" y="54"/>
                    </a:lnTo>
                    <a:lnTo>
                      <a:pt x="1177" y="54"/>
                    </a:lnTo>
                    <a:lnTo>
                      <a:pt x="1177" y="56"/>
                    </a:lnTo>
                    <a:lnTo>
                      <a:pt x="1179" y="56"/>
                    </a:lnTo>
                    <a:lnTo>
                      <a:pt x="1181" y="56"/>
                    </a:lnTo>
                    <a:lnTo>
                      <a:pt x="1181" y="58"/>
                    </a:lnTo>
                    <a:lnTo>
                      <a:pt x="1183" y="58"/>
                    </a:lnTo>
                    <a:lnTo>
                      <a:pt x="1185" y="58"/>
                    </a:lnTo>
                    <a:lnTo>
                      <a:pt x="1185" y="60"/>
                    </a:lnTo>
                    <a:lnTo>
                      <a:pt x="1186" y="60"/>
                    </a:lnTo>
                    <a:lnTo>
                      <a:pt x="1188" y="60"/>
                    </a:lnTo>
                    <a:lnTo>
                      <a:pt x="1190" y="60"/>
                    </a:lnTo>
                    <a:lnTo>
                      <a:pt x="1190" y="62"/>
                    </a:lnTo>
                    <a:lnTo>
                      <a:pt x="1192" y="62"/>
                    </a:lnTo>
                    <a:lnTo>
                      <a:pt x="1194" y="62"/>
                    </a:lnTo>
                    <a:lnTo>
                      <a:pt x="1196" y="62"/>
                    </a:lnTo>
                    <a:lnTo>
                      <a:pt x="1198" y="62"/>
                    </a:lnTo>
                    <a:lnTo>
                      <a:pt x="1200" y="60"/>
                    </a:lnTo>
                    <a:lnTo>
                      <a:pt x="1202" y="60"/>
                    </a:lnTo>
                    <a:lnTo>
                      <a:pt x="1203" y="60"/>
                    </a:lnTo>
                    <a:lnTo>
                      <a:pt x="1203" y="58"/>
                    </a:lnTo>
                    <a:lnTo>
                      <a:pt x="1205" y="58"/>
                    </a:lnTo>
                    <a:lnTo>
                      <a:pt x="1207" y="58"/>
                    </a:lnTo>
                    <a:lnTo>
                      <a:pt x="1209" y="58"/>
                    </a:lnTo>
                    <a:lnTo>
                      <a:pt x="1211" y="56"/>
                    </a:lnTo>
                    <a:lnTo>
                      <a:pt x="1213" y="56"/>
                    </a:lnTo>
                    <a:lnTo>
                      <a:pt x="1215" y="56"/>
                    </a:lnTo>
                    <a:lnTo>
                      <a:pt x="1217" y="58"/>
                    </a:lnTo>
                    <a:lnTo>
                      <a:pt x="1218" y="58"/>
                    </a:lnTo>
                    <a:lnTo>
                      <a:pt x="1218" y="60"/>
                    </a:lnTo>
                    <a:lnTo>
                      <a:pt x="1220" y="60"/>
                    </a:lnTo>
                    <a:lnTo>
                      <a:pt x="1220" y="62"/>
                    </a:lnTo>
                    <a:lnTo>
                      <a:pt x="1222" y="64"/>
                    </a:lnTo>
                    <a:lnTo>
                      <a:pt x="1222" y="65"/>
                    </a:lnTo>
                    <a:lnTo>
                      <a:pt x="1224" y="65"/>
                    </a:lnTo>
                    <a:lnTo>
                      <a:pt x="1224" y="67"/>
                    </a:lnTo>
                    <a:lnTo>
                      <a:pt x="1226" y="67"/>
                    </a:lnTo>
                    <a:lnTo>
                      <a:pt x="1228" y="67"/>
                    </a:lnTo>
                    <a:lnTo>
                      <a:pt x="1230" y="67"/>
                    </a:lnTo>
                    <a:lnTo>
                      <a:pt x="1232" y="67"/>
                    </a:lnTo>
                    <a:lnTo>
                      <a:pt x="1234" y="65"/>
                    </a:lnTo>
                    <a:lnTo>
                      <a:pt x="1235" y="65"/>
                    </a:lnTo>
                    <a:lnTo>
                      <a:pt x="1237" y="65"/>
                    </a:lnTo>
                    <a:lnTo>
                      <a:pt x="1239" y="65"/>
                    </a:lnTo>
                    <a:lnTo>
                      <a:pt x="1239" y="67"/>
                    </a:lnTo>
                    <a:lnTo>
                      <a:pt x="1241" y="67"/>
                    </a:lnTo>
                    <a:lnTo>
                      <a:pt x="1241" y="69"/>
                    </a:lnTo>
                    <a:lnTo>
                      <a:pt x="1243" y="69"/>
                    </a:lnTo>
                    <a:lnTo>
                      <a:pt x="1243" y="71"/>
                    </a:lnTo>
                    <a:lnTo>
                      <a:pt x="1243" y="73"/>
                    </a:lnTo>
                    <a:lnTo>
                      <a:pt x="1243" y="75"/>
                    </a:lnTo>
                    <a:lnTo>
                      <a:pt x="1245" y="75"/>
                    </a:lnTo>
                    <a:lnTo>
                      <a:pt x="1245" y="77"/>
                    </a:lnTo>
                    <a:lnTo>
                      <a:pt x="1245" y="79"/>
                    </a:lnTo>
                    <a:lnTo>
                      <a:pt x="1247" y="79"/>
                    </a:lnTo>
                    <a:lnTo>
                      <a:pt x="1249" y="79"/>
                    </a:lnTo>
                    <a:lnTo>
                      <a:pt x="1249" y="80"/>
                    </a:lnTo>
                    <a:lnTo>
                      <a:pt x="1250" y="82"/>
                    </a:lnTo>
                    <a:lnTo>
                      <a:pt x="1250" y="84"/>
                    </a:lnTo>
                    <a:lnTo>
                      <a:pt x="1260" y="112"/>
                    </a:lnTo>
                    <a:lnTo>
                      <a:pt x="1260" y="116"/>
                    </a:lnTo>
                    <a:lnTo>
                      <a:pt x="1294" y="222"/>
                    </a:lnTo>
                    <a:lnTo>
                      <a:pt x="1311" y="280"/>
                    </a:lnTo>
                    <a:lnTo>
                      <a:pt x="1316" y="297"/>
                    </a:lnTo>
                    <a:lnTo>
                      <a:pt x="1316" y="305"/>
                    </a:lnTo>
                    <a:lnTo>
                      <a:pt x="1314" y="305"/>
                    </a:lnTo>
                    <a:lnTo>
                      <a:pt x="1314" y="306"/>
                    </a:lnTo>
                    <a:lnTo>
                      <a:pt x="1314" y="318"/>
                    </a:lnTo>
                    <a:lnTo>
                      <a:pt x="1313" y="357"/>
                    </a:lnTo>
                    <a:lnTo>
                      <a:pt x="1314" y="376"/>
                    </a:lnTo>
                    <a:lnTo>
                      <a:pt x="1343" y="406"/>
                    </a:lnTo>
                    <a:lnTo>
                      <a:pt x="1348" y="417"/>
                    </a:lnTo>
                    <a:lnTo>
                      <a:pt x="1350" y="444"/>
                    </a:lnTo>
                    <a:lnTo>
                      <a:pt x="1369" y="489"/>
                    </a:lnTo>
                    <a:lnTo>
                      <a:pt x="1397" y="508"/>
                    </a:lnTo>
                    <a:lnTo>
                      <a:pt x="1397" y="510"/>
                    </a:lnTo>
                    <a:lnTo>
                      <a:pt x="1397" y="512"/>
                    </a:lnTo>
                    <a:lnTo>
                      <a:pt x="1397" y="517"/>
                    </a:lnTo>
                    <a:close/>
                  </a:path>
                </a:pathLst>
              </a:custGeom>
              <a:grp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38"/>
              <p:cNvSpPr>
                <a:spLocks/>
              </p:cNvSpPr>
              <p:nvPr/>
            </p:nvSpPr>
            <p:spPr bwMode="auto">
              <a:xfrm>
                <a:off x="1093788" y="1614488"/>
                <a:ext cx="3687763" cy="3795713"/>
              </a:xfrm>
              <a:custGeom>
                <a:avLst/>
                <a:gdLst>
                  <a:gd name="T0" fmla="*/ 1913 w 2323"/>
                  <a:gd name="T1" fmla="*/ 600 h 2391"/>
                  <a:gd name="T2" fmla="*/ 2039 w 2323"/>
                  <a:gd name="T3" fmla="*/ 858 h 2391"/>
                  <a:gd name="T4" fmla="*/ 2087 w 2323"/>
                  <a:gd name="T5" fmla="*/ 905 h 2391"/>
                  <a:gd name="T6" fmla="*/ 2101 w 2323"/>
                  <a:gd name="T7" fmla="*/ 830 h 2391"/>
                  <a:gd name="T8" fmla="*/ 2144 w 2323"/>
                  <a:gd name="T9" fmla="*/ 898 h 2391"/>
                  <a:gd name="T10" fmla="*/ 2016 w 2323"/>
                  <a:gd name="T11" fmla="*/ 1406 h 2391"/>
                  <a:gd name="T12" fmla="*/ 2072 w 2323"/>
                  <a:gd name="T13" fmla="*/ 1474 h 2391"/>
                  <a:gd name="T14" fmla="*/ 2134 w 2323"/>
                  <a:gd name="T15" fmla="*/ 1532 h 2391"/>
                  <a:gd name="T16" fmla="*/ 2193 w 2323"/>
                  <a:gd name="T17" fmla="*/ 1598 h 2391"/>
                  <a:gd name="T18" fmla="*/ 2245 w 2323"/>
                  <a:gd name="T19" fmla="*/ 1660 h 2391"/>
                  <a:gd name="T20" fmla="*/ 2304 w 2323"/>
                  <a:gd name="T21" fmla="*/ 1728 h 2391"/>
                  <a:gd name="T22" fmla="*/ 2227 w 2323"/>
                  <a:gd name="T23" fmla="*/ 1877 h 2391"/>
                  <a:gd name="T24" fmla="*/ 2039 w 2323"/>
                  <a:gd name="T25" fmla="*/ 2018 h 2391"/>
                  <a:gd name="T26" fmla="*/ 1841 w 2323"/>
                  <a:gd name="T27" fmla="*/ 2001 h 2391"/>
                  <a:gd name="T28" fmla="*/ 1568 w 2323"/>
                  <a:gd name="T29" fmla="*/ 2035 h 2391"/>
                  <a:gd name="T30" fmla="*/ 1358 w 2323"/>
                  <a:gd name="T31" fmla="*/ 2176 h 2391"/>
                  <a:gd name="T32" fmla="*/ 1057 w 2323"/>
                  <a:gd name="T33" fmla="*/ 2385 h 2391"/>
                  <a:gd name="T34" fmla="*/ 872 w 2323"/>
                  <a:gd name="T35" fmla="*/ 2221 h 2391"/>
                  <a:gd name="T36" fmla="*/ 775 w 2323"/>
                  <a:gd name="T37" fmla="*/ 2182 h 2391"/>
                  <a:gd name="T38" fmla="*/ 677 w 2323"/>
                  <a:gd name="T39" fmla="*/ 2074 h 2391"/>
                  <a:gd name="T40" fmla="*/ 673 w 2323"/>
                  <a:gd name="T41" fmla="*/ 1984 h 2391"/>
                  <a:gd name="T42" fmla="*/ 588 w 2323"/>
                  <a:gd name="T43" fmla="*/ 1677 h 2391"/>
                  <a:gd name="T44" fmla="*/ 376 w 2323"/>
                  <a:gd name="T45" fmla="*/ 1807 h 2391"/>
                  <a:gd name="T46" fmla="*/ 301 w 2323"/>
                  <a:gd name="T47" fmla="*/ 1788 h 2391"/>
                  <a:gd name="T48" fmla="*/ 261 w 2323"/>
                  <a:gd name="T49" fmla="*/ 1713 h 2391"/>
                  <a:gd name="T50" fmla="*/ 223 w 2323"/>
                  <a:gd name="T51" fmla="*/ 1632 h 2391"/>
                  <a:gd name="T52" fmla="*/ 188 w 2323"/>
                  <a:gd name="T53" fmla="*/ 1549 h 2391"/>
                  <a:gd name="T54" fmla="*/ 161 w 2323"/>
                  <a:gd name="T55" fmla="*/ 1462 h 2391"/>
                  <a:gd name="T56" fmla="*/ 139 w 2323"/>
                  <a:gd name="T57" fmla="*/ 1368 h 2391"/>
                  <a:gd name="T58" fmla="*/ 99 w 2323"/>
                  <a:gd name="T59" fmla="*/ 1280 h 2391"/>
                  <a:gd name="T60" fmla="*/ 56 w 2323"/>
                  <a:gd name="T61" fmla="*/ 1189 h 2391"/>
                  <a:gd name="T62" fmla="*/ 13 w 2323"/>
                  <a:gd name="T63" fmla="*/ 1118 h 2391"/>
                  <a:gd name="T64" fmla="*/ 54 w 2323"/>
                  <a:gd name="T65" fmla="*/ 1060 h 2391"/>
                  <a:gd name="T66" fmla="*/ 77 w 2323"/>
                  <a:gd name="T67" fmla="*/ 1003 h 2391"/>
                  <a:gd name="T68" fmla="*/ 111 w 2323"/>
                  <a:gd name="T69" fmla="*/ 962 h 2391"/>
                  <a:gd name="T70" fmla="*/ 175 w 2323"/>
                  <a:gd name="T71" fmla="*/ 950 h 2391"/>
                  <a:gd name="T72" fmla="*/ 229 w 2323"/>
                  <a:gd name="T73" fmla="*/ 994 h 2391"/>
                  <a:gd name="T74" fmla="*/ 233 w 2323"/>
                  <a:gd name="T75" fmla="*/ 1073 h 2391"/>
                  <a:gd name="T76" fmla="*/ 267 w 2323"/>
                  <a:gd name="T77" fmla="*/ 1125 h 2391"/>
                  <a:gd name="T78" fmla="*/ 333 w 2323"/>
                  <a:gd name="T79" fmla="*/ 1139 h 2391"/>
                  <a:gd name="T80" fmla="*/ 413 w 2323"/>
                  <a:gd name="T81" fmla="*/ 1176 h 2391"/>
                  <a:gd name="T82" fmla="*/ 504 w 2323"/>
                  <a:gd name="T83" fmla="*/ 1186 h 2391"/>
                  <a:gd name="T84" fmla="*/ 594 w 2323"/>
                  <a:gd name="T85" fmla="*/ 1169 h 2391"/>
                  <a:gd name="T86" fmla="*/ 669 w 2323"/>
                  <a:gd name="T87" fmla="*/ 1203 h 2391"/>
                  <a:gd name="T88" fmla="*/ 711 w 2323"/>
                  <a:gd name="T89" fmla="*/ 1161 h 2391"/>
                  <a:gd name="T90" fmla="*/ 776 w 2323"/>
                  <a:gd name="T91" fmla="*/ 1109 h 2391"/>
                  <a:gd name="T92" fmla="*/ 846 w 2323"/>
                  <a:gd name="T93" fmla="*/ 1067 h 2391"/>
                  <a:gd name="T94" fmla="*/ 904 w 2323"/>
                  <a:gd name="T95" fmla="*/ 350 h 2391"/>
                  <a:gd name="T96" fmla="*/ 959 w 2323"/>
                  <a:gd name="T97" fmla="*/ 39 h 2391"/>
                  <a:gd name="T98" fmla="*/ 1013 w 2323"/>
                  <a:gd name="T99" fmla="*/ 109 h 2391"/>
                  <a:gd name="T100" fmla="*/ 1044 w 2323"/>
                  <a:gd name="T101" fmla="*/ 160 h 2391"/>
                  <a:gd name="T102" fmla="*/ 1074 w 2323"/>
                  <a:gd name="T103" fmla="*/ 218 h 2391"/>
                  <a:gd name="T104" fmla="*/ 1100 w 2323"/>
                  <a:gd name="T105" fmla="*/ 288 h 2391"/>
                  <a:gd name="T106" fmla="*/ 1117 w 2323"/>
                  <a:gd name="T107" fmla="*/ 355 h 2391"/>
                  <a:gd name="T108" fmla="*/ 1098 w 2323"/>
                  <a:gd name="T109" fmla="*/ 435 h 2391"/>
                  <a:gd name="T110" fmla="*/ 1066 w 2323"/>
                  <a:gd name="T111" fmla="*/ 529 h 2391"/>
                  <a:gd name="T112" fmla="*/ 1081 w 2323"/>
                  <a:gd name="T113" fmla="*/ 608 h 2391"/>
                  <a:gd name="T114" fmla="*/ 1173 w 2323"/>
                  <a:gd name="T115" fmla="*/ 593 h 2391"/>
                  <a:gd name="T116" fmla="*/ 1273 w 2323"/>
                  <a:gd name="T117" fmla="*/ 585 h 2391"/>
                  <a:gd name="T118" fmla="*/ 1363 w 2323"/>
                  <a:gd name="T119" fmla="*/ 568 h 2391"/>
                  <a:gd name="T120" fmla="*/ 1437 w 2323"/>
                  <a:gd name="T121" fmla="*/ 515 h 2391"/>
                  <a:gd name="T122" fmla="*/ 1487 w 2323"/>
                  <a:gd name="T123" fmla="*/ 446 h 2391"/>
                  <a:gd name="T124" fmla="*/ 1559 w 2323"/>
                  <a:gd name="T125" fmla="*/ 412 h 2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3" h="2391">
                    <a:moveTo>
                      <a:pt x="1578" y="384"/>
                    </a:moveTo>
                    <a:lnTo>
                      <a:pt x="1595" y="384"/>
                    </a:lnTo>
                    <a:lnTo>
                      <a:pt x="1595" y="389"/>
                    </a:lnTo>
                    <a:lnTo>
                      <a:pt x="1597" y="391"/>
                    </a:lnTo>
                    <a:lnTo>
                      <a:pt x="1597" y="397"/>
                    </a:lnTo>
                    <a:lnTo>
                      <a:pt x="1597" y="401"/>
                    </a:lnTo>
                    <a:lnTo>
                      <a:pt x="1597" y="416"/>
                    </a:lnTo>
                    <a:lnTo>
                      <a:pt x="1597" y="421"/>
                    </a:lnTo>
                    <a:lnTo>
                      <a:pt x="1597" y="435"/>
                    </a:lnTo>
                    <a:lnTo>
                      <a:pt x="1597" y="451"/>
                    </a:lnTo>
                    <a:lnTo>
                      <a:pt x="1597" y="453"/>
                    </a:lnTo>
                    <a:lnTo>
                      <a:pt x="1597" y="467"/>
                    </a:lnTo>
                    <a:lnTo>
                      <a:pt x="1606" y="470"/>
                    </a:lnTo>
                    <a:lnTo>
                      <a:pt x="1621" y="478"/>
                    </a:lnTo>
                    <a:lnTo>
                      <a:pt x="1625" y="472"/>
                    </a:lnTo>
                    <a:lnTo>
                      <a:pt x="1630" y="461"/>
                    </a:lnTo>
                    <a:lnTo>
                      <a:pt x="1632" y="457"/>
                    </a:lnTo>
                    <a:lnTo>
                      <a:pt x="1642" y="423"/>
                    </a:lnTo>
                    <a:lnTo>
                      <a:pt x="1645" y="410"/>
                    </a:lnTo>
                    <a:lnTo>
                      <a:pt x="1647" y="391"/>
                    </a:lnTo>
                    <a:lnTo>
                      <a:pt x="1666" y="393"/>
                    </a:lnTo>
                    <a:lnTo>
                      <a:pt x="1668" y="374"/>
                    </a:lnTo>
                    <a:lnTo>
                      <a:pt x="1689" y="378"/>
                    </a:lnTo>
                    <a:lnTo>
                      <a:pt x="1694" y="361"/>
                    </a:lnTo>
                    <a:lnTo>
                      <a:pt x="1694" y="350"/>
                    </a:lnTo>
                    <a:lnTo>
                      <a:pt x="1694" y="344"/>
                    </a:lnTo>
                    <a:lnTo>
                      <a:pt x="1753" y="348"/>
                    </a:lnTo>
                    <a:lnTo>
                      <a:pt x="1770" y="352"/>
                    </a:lnTo>
                    <a:lnTo>
                      <a:pt x="1768" y="357"/>
                    </a:lnTo>
                    <a:lnTo>
                      <a:pt x="1762" y="374"/>
                    </a:lnTo>
                    <a:lnTo>
                      <a:pt x="1749" y="369"/>
                    </a:lnTo>
                    <a:lnTo>
                      <a:pt x="1730" y="365"/>
                    </a:lnTo>
                    <a:lnTo>
                      <a:pt x="1726" y="382"/>
                    </a:lnTo>
                    <a:lnTo>
                      <a:pt x="1736" y="382"/>
                    </a:lnTo>
                    <a:lnTo>
                      <a:pt x="1751" y="389"/>
                    </a:lnTo>
                    <a:lnTo>
                      <a:pt x="1739" y="408"/>
                    </a:lnTo>
                    <a:lnTo>
                      <a:pt x="1728" y="427"/>
                    </a:lnTo>
                    <a:lnTo>
                      <a:pt x="1743" y="446"/>
                    </a:lnTo>
                    <a:lnTo>
                      <a:pt x="1739" y="487"/>
                    </a:lnTo>
                    <a:lnTo>
                      <a:pt x="1790" y="500"/>
                    </a:lnTo>
                    <a:lnTo>
                      <a:pt x="1796" y="506"/>
                    </a:lnTo>
                    <a:lnTo>
                      <a:pt x="1798" y="508"/>
                    </a:lnTo>
                    <a:lnTo>
                      <a:pt x="1820" y="525"/>
                    </a:lnTo>
                    <a:lnTo>
                      <a:pt x="1811" y="538"/>
                    </a:lnTo>
                    <a:lnTo>
                      <a:pt x="1798" y="557"/>
                    </a:lnTo>
                    <a:lnTo>
                      <a:pt x="1796" y="561"/>
                    </a:lnTo>
                    <a:lnTo>
                      <a:pt x="1805" y="564"/>
                    </a:lnTo>
                    <a:lnTo>
                      <a:pt x="1817" y="570"/>
                    </a:lnTo>
                    <a:lnTo>
                      <a:pt x="1828" y="576"/>
                    </a:lnTo>
                    <a:lnTo>
                      <a:pt x="1837" y="579"/>
                    </a:lnTo>
                    <a:lnTo>
                      <a:pt x="1847" y="583"/>
                    </a:lnTo>
                    <a:lnTo>
                      <a:pt x="1856" y="587"/>
                    </a:lnTo>
                    <a:lnTo>
                      <a:pt x="1865" y="589"/>
                    </a:lnTo>
                    <a:lnTo>
                      <a:pt x="1869" y="591"/>
                    </a:lnTo>
                    <a:lnTo>
                      <a:pt x="1877" y="596"/>
                    </a:lnTo>
                    <a:lnTo>
                      <a:pt x="1881" y="598"/>
                    </a:lnTo>
                    <a:lnTo>
                      <a:pt x="1890" y="604"/>
                    </a:lnTo>
                    <a:lnTo>
                      <a:pt x="1894" y="595"/>
                    </a:lnTo>
                    <a:lnTo>
                      <a:pt x="1901" y="595"/>
                    </a:lnTo>
                    <a:lnTo>
                      <a:pt x="1905" y="595"/>
                    </a:lnTo>
                    <a:lnTo>
                      <a:pt x="1911" y="598"/>
                    </a:lnTo>
                    <a:lnTo>
                      <a:pt x="1911" y="600"/>
                    </a:lnTo>
                    <a:lnTo>
                      <a:pt x="1913" y="600"/>
                    </a:lnTo>
                    <a:lnTo>
                      <a:pt x="1914" y="602"/>
                    </a:lnTo>
                    <a:lnTo>
                      <a:pt x="1914" y="604"/>
                    </a:lnTo>
                    <a:lnTo>
                      <a:pt x="1916" y="606"/>
                    </a:lnTo>
                    <a:lnTo>
                      <a:pt x="1918" y="606"/>
                    </a:lnTo>
                    <a:lnTo>
                      <a:pt x="1920" y="604"/>
                    </a:lnTo>
                    <a:lnTo>
                      <a:pt x="1924" y="613"/>
                    </a:lnTo>
                    <a:lnTo>
                      <a:pt x="1926" y="615"/>
                    </a:lnTo>
                    <a:lnTo>
                      <a:pt x="1928" y="619"/>
                    </a:lnTo>
                    <a:lnTo>
                      <a:pt x="1933" y="634"/>
                    </a:lnTo>
                    <a:lnTo>
                      <a:pt x="1937" y="649"/>
                    </a:lnTo>
                    <a:lnTo>
                      <a:pt x="1937" y="651"/>
                    </a:lnTo>
                    <a:lnTo>
                      <a:pt x="1928" y="655"/>
                    </a:lnTo>
                    <a:lnTo>
                      <a:pt x="1920" y="659"/>
                    </a:lnTo>
                    <a:lnTo>
                      <a:pt x="1920" y="662"/>
                    </a:lnTo>
                    <a:lnTo>
                      <a:pt x="1920" y="664"/>
                    </a:lnTo>
                    <a:lnTo>
                      <a:pt x="1918" y="670"/>
                    </a:lnTo>
                    <a:lnTo>
                      <a:pt x="1914" y="674"/>
                    </a:lnTo>
                    <a:lnTo>
                      <a:pt x="1914" y="677"/>
                    </a:lnTo>
                    <a:lnTo>
                      <a:pt x="1911" y="683"/>
                    </a:lnTo>
                    <a:lnTo>
                      <a:pt x="1911" y="685"/>
                    </a:lnTo>
                    <a:lnTo>
                      <a:pt x="1909" y="687"/>
                    </a:lnTo>
                    <a:lnTo>
                      <a:pt x="1905" y="696"/>
                    </a:lnTo>
                    <a:lnTo>
                      <a:pt x="1903" y="700"/>
                    </a:lnTo>
                    <a:lnTo>
                      <a:pt x="1901" y="702"/>
                    </a:lnTo>
                    <a:lnTo>
                      <a:pt x="1901" y="708"/>
                    </a:lnTo>
                    <a:lnTo>
                      <a:pt x="1913" y="715"/>
                    </a:lnTo>
                    <a:lnTo>
                      <a:pt x="1914" y="717"/>
                    </a:lnTo>
                    <a:lnTo>
                      <a:pt x="1914" y="715"/>
                    </a:lnTo>
                    <a:lnTo>
                      <a:pt x="1918" y="719"/>
                    </a:lnTo>
                    <a:lnTo>
                      <a:pt x="1920" y="721"/>
                    </a:lnTo>
                    <a:lnTo>
                      <a:pt x="1931" y="728"/>
                    </a:lnTo>
                    <a:lnTo>
                      <a:pt x="1943" y="736"/>
                    </a:lnTo>
                    <a:lnTo>
                      <a:pt x="1944" y="738"/>
                    </a:lnTo>
                    <a:lnTo>
                      <a:pt x="1948" y="738"/>
                    </a:lnTo>
                    <a:lnTo>
                      <a:pt x="1941" y="758"/>
                    </a:lnTo>
                    <a:lnTo>
                      <a:pt x="1941" y="768"/>
                    </a:lnTo>
                    <a:lnTo>
                      <a:pt x="1941" y="777"/>
                    </a:lnTo>
                    <a:lnTo>
                      <a:pt x="1941" y="781"/>
                    </a:lnTo>
                    <a:lnTo>
                      <a:pt x="1941" y="783"/>
                    </a:lnTo>
                    <a:lnTo>
                      <a:pt x="1941" y="788"/>
                    </a:lnTo>
                    <a:lnTo>
                      <a:pt x="1939" y="796"/>
                    </a:lnTo>
                    <a:lnTo>
                      <a:pt x="1939" y="809"/>
                    </a:lnTo>
                    <a:lnTo>
                      <a:pt x="1956" y="813"/>
                    </a:lnTo>
                    <a:lnTo>
                      <a:pt x="1958" y="815"/>
                    </a:lnTo>
                    <a:lnTo>
                      <a:pt x="1954" y="822"/>
                    </a:lnTo>
                    <a:lnTo>
                      <a:pt x="1954" y="824"/>
                    </a:lnTo>
                    <a:lnTo>
                      <a:pt x="1954" y="826"/>
                    </a:lnTo>
                    <a:lnTo>
                      <a:pt x="1952" y="828"/>
                    </a:lnTo>
                    <a:lnTo>
                      <a:pt x="1952" y="830"/>
                    </a:lnTo>
                    <a:lnTo>
                      <a:pt x="1952" y="836"/>
                    </a:lnTo>
                    <a:lnTo>
                      <a:pt x="1950" y="837"/>
                    </a:lnTo>
                    <a:lnTo>
                      <a:pt x="1952" y="839"/>
                    </a:lnTo>
                    <a:lnTo>
                      <a:pt x="1956" y="849"/>
                    </a:lnTo>
                    <a:lnTo>
                      <a:pt x="1973" y="843"/>
                    </a:lnTo>
                    <a:lnTo>
                      <a:pt x="1982" y="841"/>
                    </a:lnTo>
                    <a:lnTo>
                      <a:pt x="2022" y="834"/>
                    </a:lnTo>
                    <a:lnTo>
                      <a:pt x="2025" y="832"/>
                    </a:lnTo>
                    <a:lnTo>
                      <a:pt x="2029" y="832"/>
                    </a:lnTo>
                    <a:lnTo>
                      <a:pt x="2031" y="832"/>
                    </a:lnTo>
                    <a:lnTo>
                      <a:pt x="2040" y="837"/>
                    </a:lnTo>
                    <a:lnTo>
                      <a:pt x="2033" y="852"/>
                    </a:lnTo>
                    <a:lnTo>
                      <a:pt x="2031" y="854"/>
                    </a:lnTo>
                    <a:lnTo>
                      <a:pt x="2039" y="858"/>
                    </a:lnTo>
                    <a:lnTo>
                      <a:pt x="2042" y="860"/>
                    </a:lnTo>
                    <a:lnTo>
                      <a:pt x="2040" y="868"/>
                    </a:lnTo>
                    <a:lnTo>
                      <a:pt x="2037" y="877"/>
                    </a:lnTo>
                    <a:lnTo>
                      <a:pt x="2031" y="877"/>
                    </a:lnTo>
                    <a:lnTo>
                      <a:pt x="2022" y="894"/>
                    </a:lnTo>
                    <a:lnTo>
                      <a:pt x="2020" y="896"/>
                    </a:lnTo>
                    <a:lnTo>
                      <a:pt x="2020" y="898"/>
                    </a:lnTo>
                    <a:lnTo>
                      <a:pt x="2027" y="907"/>
                    </a:lnTo>
                    <a:lnTo>
                      <a:pt x="2031" y="901"/>
                    </a:lnTo>
                    <a:lnTo>
                      <a:pt x="2042" y="913"/>
                    </a:lnTo>
                    <a:lnTo>
                      <a:pt x="2046" y="918"/>
                    </a:lnTo>
                    <a:lnTo>
                      <a:pt x="2046" y="922"/>
                    </a:lnTo>
                    <a:lnTo>
                      <a:pt x="2046" y="924"/>
                    </a:lnTo>
                    <a:lnTo>
                      <a:pt x="2044" y="926"/>
                    </a:lnTo>
                    <a:lnTo>
                      <a:pt x="2044" y="928"/>
                    </a:lnTo>
                    <a:lnTo>
                      <a:pt x="2040" y="933"/>
                    </a:lnTo>
                    <a:lnTo>
                      <a:pt x="2044" y="933"/>
                    </a:lnTo>
                    <a:lnTo>
                      <a:pt x="2046" y="933"/>
                    </a:lnTo>
                    <a:lnTo>
                      <a:pt x="2048" y="935"/>
                    </a:lnTo>
                    <a:lnTo>
                      <a:pt x="2054" y="941"/>
                    </a:lnTo>
                    <a:lnTo>
                      <a:pt x="2061" y="948"/>
                    </a:lnTo>
                    <a:lnTo>
                      <a:pt x="2063" y="950"/>
                    </a:lnTo>
                    <a:lnTo>
                      <a:pt x="2065" y="948"/>
                    </a:lnTo>
                    <a:lnTo>
                      <a:pt x="2067" y="947"/>
                    </a:lnTo>
                    <a:lnTo>
                      <a:pt x="2069" y="947"/>
                    </a:lnTo>
                    <a:lnTo>
                      <a:pt x="2069" y="945"/>
                    </a:lnTo>
                    <a:lnTo>
                      <a:pt x="2071" y="945"/>
                    </a:lnTo>
                    <a:lnTo>
                      <a:pt x="2071" y="943"/>
                    </a:lnTo>
                    <a:lnTo>
                      <a:pt x="2071" y="941"/>
                    </a:lnTo>
                    <a:lnTo>
                      <a:pt x="2071" y="939"/>
                    </a:lnTo>
                    <a:lnTo>
                      <a:pt x="2071" y="937"/>
                    </a:lnTo>
                    <a:lnTo>
                      <a:pt x="2069" y="937"/>
                    </a:lnTo>
                    <a:lnTo>
                      <a:pt x="2069" y="935"/>
                    </a:lnTo>
                    <a:lnTo>
                      <a:pt x="2071" y="935"/>
                    </a:lnTo>
                    <a:lnTo>
                      <a:pt x="2071" y="933"/>
                    </a:lnTo>
                    <a:lnTo>
                      <a:pt x="2072" y="933"/>
                    </a:lnTo>
                    <a:lnTo>
                      <a:pt x="2074" y="933"/>
                    </a:lnTo>
                    <a:lnTo>
                      <a:pt x="2076" y="932"/>
                    </a:lnTo>
                    <a:lnTo>
                      <a:pt x="2078" y="932"/>
                    </a:lnTo>
                    <a:lnTo>
                      <a:pt x="2080" y="932"/>
                    </a:lnTo>
                    <a:lnTo>
                      <a:pt x="2082" y="932"/>
                    </a:lnTo>
                    <a:lnTo>
                      <a:pt x="2084" y="932"/>
                    </a:lnTo>
                    <a:lnTo>
                      <a:pt x="2084" y="930"/>
                    </a:lnTo>
                    <a:lnTo>
                      <a:pt x="2084" y="928"/>
                    </a:lnTo>
                    <a:lnTo>
                      <a:pt x="2082" y="928"/>
                    </a:lnTo>
                    <a:lnTo>
                      <a:pt x="2082" y="926"/>
                    </a:lnTo>
                    <a:lnTo>
                      <a:pt x="2084" y="926"/>
                    </a:lnTo>
                    <a:lnTo>
                      <a:pt x="2086" y="924"/>
                    </a:lnTo>
                    <a:lnTo>
                      <a:pt x="2087" y="924"/>
                    </a:lnTo>
                    <a:lnTo>
                      <a:pt x="2087" y="922"/>
                    </a:lnTo>
                    <a:lnTo>
                      <a:pt x="2087" y="920"/>
                    </a:lnTo>
                    <a:lnTo>
                      <a:pt x="2086" y="920"/>
                    </a:lnTo>
                    <a:lnTo>
                      <a:pt x="2086" y="918"/>
                    </a:lnTo>
                    <a:lnTo>
                      <a:pt x="2086" y="916"/>
                    </a:lnTo>
                    <a:lnTo>
                      <a:pt x="2086" y="915"/>
                    </a:lnTo>
                    <a:lnTo>
                      <a:pt x="2087" y="915"/>
                    </a:lnTo>
                    <a:lnTo>
                      <a:pt x="2087" y="913"/>
                    </a:lnTo>
                    <a:lnTo>
                      <a:pt x="2086" y="913"/>
                    </a:lnTo>
                    <a:lnTo>
                      <a:pt x="2086" y="911"/>
                    </a:lnTo>
                    <a:lnTo>
                      <a:pt x="2086" y="909"/>
                    </a:lnTo>
                    <a:lnTo>
                      <a:pt x="2086" y="907"/>
                    </a:lnTo>
                    <a:lnTo>
                      <a:pt x="2087" y="907"/>
                    </a:lnTo>
                    <a:lnTo>
                      <a:pt x="2087" y="905"/>
                    </a:lnTo>
                    <a:lnTo>
                      <a:pt x="2087" y="903"/>
                    </a:lnTo>
                    <a:lnTo>
                      <a:pt x="2086" y="903"/>
                    </a:lnTo>
                    <a:lnTo>
                      <a:pt x="2086" y="901"/>
                    </a:lnTo>
                    <a:lnTo>
                      <a:pt x="2086" y="900"/>
                    </a:lnTo>
                    <a:lnTo>
                      <a:pt x="2084" y="900"/>
                    </a:lnTo>
                    <a:lnTo>
                      <a:pt x="2086" y="900"/>
                    </a:lnTo>
                    <a:lnTo>
                      <a:pt x="2084" y="900"/>
                    </a:lnTo>
                    <a:lnTo>
                      <a:pt x="2084" y="898"/>
                    </a:lnTo>
                    <a:lnTo>
                      <a:pt x="2082" y="898"/>
                    </a:lnTo>
                    <a:lnTo>
                      <a:pt x="2082" y="896"/>
                    </a:lnTo>
                    <a:lnTo>
                      <a:pt x="2082" y="894"/>
                    </a:lnTo>
                    <a:lnTo>
                      <a:pt x="2084" y="894"/>
                    </a:lnTo>
                    <a:lnTo>
                      <a:pt x="2084" y="896"/>
                    </a:lnTo>
                    <a:lnTo>
                      <a:pt x="2086" y="896"/>
                    </a:lnTo>
                    <a:lnTo>
                      <a:pt x="2087" y="896"/>
                    </a:lnTo>
                    <a:lnTo>
                      <a:pt x="2087" y="894"/>
                    </a:lnTo>
                    <a:lnTo>
                      <a:pt x="2087" y="892"/>
                    </a:lnTo>
                    <a:lnTo>
                      <a:pt x="2089" y="892"/>
                    </a:lnTo>
                    <a:lnTo>
                      <a:pt x="2091" y="890"/>
                    </a:lnTo>
                    <a:lnTo>
                      <a:pt x="2093" y="890"/>
                    </a:lnTo>
                    <a:lnTo>
                      <a:pt x="2093" y="888"/>
                    </a:lnTo>
                    <a:lnTo>
                      <a:pt x="2093" y="886"/>
                    </a:lnTo>
                    <a:lnTo>
                      <a:pt x="2093" y="884"/>
                    </a:lnTo>
                    <a:lnTo>
                      <a:pt x="2095" y="884"/>
                    </a:lnTo>
                    <a:lnTo>
                      <a:pt x="2095" y="883"/>
                    </a:lnTo>
                    <a:lnTo>
                      <a:pt x="2095" y="881"/>
                    </a:lnTo>
                    <a:lnTo>
                      <a:pt x="2097" y="881"/>
                    </a:lnTo>
                    <a:lnTo>
                      <a:pt x="2099" y="881"/>
                    </a:lnTo>
                    <a:lnTo>
                      <a:pt x="2101" y="881"/>
                    </a:lnTo>
                    <a:lnTo>
                      <a:pt x="2101" y="879"/>
                    </a:lnTo>
                    <a:lnTo>
                      <a:pt x="2101" y="881"/>
                    </a:lnTo>
                    <a:lnTo>
                      <a:pt x="2102" y="881"/>
                    </a:lnTo>
                    <a:lnTo>
                      <a:pt x="2102" y="879"/>
                    </a:lnTo>
                    <a:lnTo>
                      <a:pt x="2102" y="881"/>
                    </a:lnTo>
                    <a:lnTo>
                      <a:pt x="2104" y="879"/>
                    </a:lnTo>
                    <a:lnTo>
                      <a:pt x="2104" y="877"/>
                    </a:lnTo>
                    <a:lnTo>
                      <a:pt x="2102" y="877"/>
                    </a:lnTo>
                    <a:lnTo>
                      <a:pt x="2102" y="875"/>
                    </a:lnTo>
                    <a:lnTo>
                      <a:pt x="2104" y="875"/>
                    </a:lnTo>
                    <a:lnTo>
                      <a:pt x="2104" y="873"/>
                    </a:lnTo>
                    <a:lnTo>
                      <a:pt x="2106" y="873"/>
                    </a:lnTo>
                    <a:lnTo>
                      <a:pt x="2097" y="866"/>
                    </a:lnTo>
                    <a:lnTo>
                      <a:pt x="2095" y="864"/>
                    </a:lnTo>
                    <a:lnTo>
                      <a:pt x="2097" y="862"/>
                    </a:lnTo>
                    <a:lnTo>
                      <a:pt x="2099" y="860"/>
                    </a:lnTo>
                    <a:lnTo>
                      <a:pt x="2099" y="858"/>
                    </a:lnTo>
                    <a:lnTo>
                      <a:pt x="2099" y="856"/>
                    </a:lnTo>
                    <a:lnTo>
                      <a:pt x="2099" y="854"/>
                    </a:lnTo>
                    <a:lnTo>
                      <a:pt x="2101" y="849"/>
                    </a:lnTo>
                    <a:lnTo>
                      <a:pt x="2104" y="847"/>
                    </a:lnTo>
                    <a:lnTo>
                      <a:pt x="2104" y="843"/>
                    </a:lnTo>
                    <a:lnTo>
                      <a:pt x="2104" y="841"/>
                    </a:lnTo>
                    <a:lnTo>
                      <a:pt x="2102" y="841"/>
                    </a:lnTo>
                    <a:lnTo>
                      <a:pt x="2102" y="839"/>
                    </a:lnTo>
                    <a:lnTo>
                      <a:pt x="2101" y="837"/>
                    </a:lnTo>
                    <a:lnTo>
                      <a:pt x="2101" y="836"/>
                    </a:lnTo>
                    <a:lnTo>
                      <a:pt x="2099" y="836"/>
                    </a:lnTo>
                    <a:lnTo>
                      <a:pt x="2099" y="834"/>
                    </a:lnTo>
                    <a:lnTo>
                      <a:pt x="2099" y="832"/>
                    </a:lnTo>
                    <a:lnTo>
                      <a:pt x="2101" y="832"/>
                    </a:lnTo>
                    <a:lnTo>
                      <a:pt x="2101" y="830"/>
                    </a:lnTo>
                    <a:lnTo>
                      <a:pt x="2101" y="832"/>
                    </a:lnTo>
                    <a:lnTo>
                      <a:pt x="2101" y="830"/>
                    </a:lnTo>
                    <a:lnTo>
                      <a:pt x="2101" y="832"/>
                    </a:lnTo>
                    <a:lnTo>
                      <a:pt x="2102" y="830"/>
                    </a:lnTo>
                    <a:lnTo>
                      <a:pt x="2101" y="828"/>
                    </a:lnTo>
                    <a:lnTo>
                      <a:pt x="2101" y="826"/>
                    </a:lnTo>
                    <a:lnTo>
                      <a:pt x="2102" y="826"/>
                    </a:lnTo>
                    <a:lnTo>
                      <a:pt x="2102" y="824"/>
                    </a:lnTo>
                    <a:lnTo>
                      <a:pt x="2104" y="824"/>
                    </a:lnTo>
                    <a:lnTo>
                      <a:pt x="2104" y="822"/>
                    </a:lnTo>
                    <a:lnTo>
                      <a:pt x="2104" y="820"/>
                    </a:lnTo>
                    <a:lnTo>
                      <a:pt x="2106" y="820"/>
                    </a:lnTo>
                    <a:lnTo>
                      <a:pt x="2114" y="819"/>
                    </a:lnTo>
                    <a:lnTo>
                      <a:pt x="2116" y="819"/>
                    </a:lnTo>
                    <a:lnTo>
                      <a:pt x="2119" y="819"/>
                    </a:lnTo>
                    <a:lnTo>
                      <a:pt x="2121" y="817"/>
                    </a:lnTo>
                    <a:lnTo>
                      <a:pt x="2121" y="813"/>
                    </a:lnTo>
                    <a:lnTo>
                      <a:pt x="2119" y="811"/>
                    </a:lnTo>
                    <a:lnTo>
                      <a:pt x="2123" y="809"/>
                    </a:lnTo>
                    <a:lnTo>
                      <a:pt x="2125" y="809"/>
                    </a:lnTo>
                    <a:lnTo>
                      <a:pt x="2127" y="809"/>
                    </a:lnTo>
                    <a:lnTo>
                      <a:pt x="2127" y="811"/>
                    </a:lnTo>
                    <a:lnTo>
                      <a:pt x="2127" y="813"/>
                    </a:lnTo>
                    <a:lnTo>
                      <a:pt x="2127" y="815"/>
                    </a:lnTo>
                    <a:lnTo>
                      <a:pt x="2127" y="817"/>
                    </a:lnTo>
                    <a:lnTo>
                      <a:pt x="2127" y="819"/>
                    </a:lnTo>
                    <a:lnTo>
                      <a:pt x="2127" y="820"/>
                    </a:lnTo>
                    <a:lnTo>
                      <a:pt x="2129" y="820"/>
                    </a:lnTo>
                    <a:lnTo>
                      <a:pt x="2131" y="824"/>
                    </a:lnTo>
                    <a:lnTo>
                      <a:pt x="2131" y="826"/>
                    </a:lnTo>
                    <a:lnTo>
                      <a:pt x="2131" y="828"/>
                    </a:lnTo>
                    <a:lnTo>
                      <a:pt x="2131" y="830"/>
                    </a:lnTo>
                    <a:lnTo>
                      <a:pt x="2129" y="830"/>
                    </a:lnTo>
                    <a:lnTo>
                      <a:pt x="2131" y="830"/>
                    </a:lnTo>
                    <a:lnTo>
                      <a:pt x="2131" y="832"/>
                    </a:lnTo>
                    <a:lnTo>
                      <a:pt x="2129" y="832"/>
                    </a:lnTo>
                    <a:lnTo>
                      <a:pt x="2129" y="834"/>
                    </a:lnTo>
                    <a:lnTo>
                      <a:pt x="2131" y="834"/>
                    </a:lnTo>
                    <a:lnTo>
                      <a:pt x="2131" y="836"/>
                    </a:lnTo>
                    <a:lnTo>
                      <a:pt x="2131" y="837"/>
                    </a:lnTo>
                    <a:lnTo>
                      <a:pt x="2140" y="836"/>
                    </a:lnTo>
                    <a:lnTo>
                      <a:pt x="2146" y="836"/>
                    </a:lnTo>
                    <a:lnTo>
                      <a:pt x="2148" y="836"/>
                    </a:lnTo>
                    <a:lnTo>
                      <a:pt x="2150" y="836"/>
                    </a:lnTo>
                    <a:lnTo>
                      <a:pt x="2151" y="836"/>
                    </a:lnTo>
                    <a:lnTo>
                      <a:pt x="2153" y="836"/>
                    </a:lnTo>
                    <a:lnTo>
                      <a:pt x="2155" y="834"/>
                    </a:lnTo>
                    <a:lnTo>
                      <a:pt x="2163" y="834"/>
                    </a:lnTo>
                    <a:lnTo>
                      <a:pt x="2168" y="834"/>
                    </a:lnTo>
                    <a:lnTo>
                      <a:pt x="2168" y="832"/>
                    </a:lnTo>
                    <a:lnTo>
                      <a:pt x="2172" y="832"/>
                    </a:lnTo>
                    <a:lnTo>
                      <a:pt x="2176" y="832"/>
                    </a:lnTo>
                    <a:lnTo>
                      <a:pt x="2178" y="832"/>
                    </a:lnTo>
                    <a:lnTo>
                      <a:pt x="2181" y="832"/>
                    </a:lnTo>
                    <a:lnTo>
                      <a:pt x="2183" y="832"/>
                    </a:lnTo>
                    <a:lnTo>
                      <a:pt x="2191" y="836"/>
                    </a:lnTo>
                    <a:lnTo>
                      <a:pt x="2193" y="836"/>
                    </a:lnTo>
                    <a:lnTo>
                      <a:pt x="2195" y="837"/>
                    </a:lnTo>
                    <a:lnTo>
                      <a:pt x="2174" y="862"/>
                    </a:lnTo>
                    <a:lnTo>
                      <a:pt x="2168" y="868"/>
                    </a:lnTo>
                    <a:lnTo>
                      <a:pt x="2161" y="875"/>
                    </a:lnTo>
                    <a:lnTo>
                      <a:pt x="2153" y="886"/>
                    </a:lnTo>
                    <a:lnTo>
                      <a:pt x="2150" y="890"/>
                    </a:lnTo>
                    <a:lnTo>
                      <a:pt x="2146" y="894"/>
                    </a:lnTo>
                    <a:lnTo>
                      <a:pt x="2144" y="898"/>
                    </a:lnTo>
                    <a:lnTo>
                      <a:pt x="2148" y="898"/>
                    </a:lnTo>
                    <a:lnTo>
                      <a:pt x="2146" y="898"/>
                    </a:lnTo>
                    <a:lnTo>
                      <a:pt x="2146" y="900"/>
                    </a:lnTo>
                    <a:lnTo>
                      <a:pt x="2146" y="901"/>
                    </a:lnTo>
                    <a:lnTo>
                      <a:pt x="2146" y="900"/>
                    </a:lnTo>
                    <a:lnTo>
                      <a:pt x="2146" y="901"/>
                    </a:lnTo>
                    <a:lnTo>
                      <a:pt x="2144" y="901"/>
                    </a:lnTo>
                    <a:lnTo>
                      <a:pt x="2142" y="901"/>
                    </a:lnTo>
                    <a:lnTo>
                      <a:pt x="2140" y="903"/>
                    </a:lnTo>
                    <a:lnTo>
                      <a:pt x="2138" y="903"/>
                    </a:lnTo>
                    <a:lnTo>
                      <a:pt x="2140" y="903"/>
                    </a:lnTo>
                    <a:lnTo>
                      <a:pt x="2140" y="905"/>
                    </a:lnTo>
                    <a:lnTo>
                      <a:pt x="2140" y="907"/>
                    </a:lnTo>
                    <a:lnTo>
                      <a:pt x="2148" y="918"/>
                    </a:lnTo>
                    <a:lnTo>
                      <a:pt x="2163" y="943"/>
                    </a:lnTo>
                    <a:lnTo>
                      <a:pt x="2168" y="956"/>
                    </a:lnTo>
                    <a:lnTo>
                      <a:pt x="2170" y="956"/>
                    </a:lnTo>
                    <a:lnTo>
                      <a:pt x="2170" y="954"/>
                    </a:lnTo>
                    <a:lnTo>
                      <a:pt x="2172" y="954"/>
                    </a:lnTo>
                    <a:lnTo>
                      <a:pt x="2174" y="950"/>
                    </a:lnTo>
                    <a:lnTo>
                      <a:pt x="2174" y="948"/>
                    </a:lnTo>
                    <a:lnTo>
                      <a:pt x="2174" y="947"/>
                    </a:lnTo>
                    <a:lnTo>
                      <a:pt x="2176" y="947"/>
                    </a:lnTo>
                    <a:lnTo>
                      <a:pt x="2178" y="947"/>
                    </a:lnTo>
                    <a:lnTo>
                      <a:pt x="2180" y="947"/>
                    </a:lnTo>
                    <a:lnTo>
                      <a:pt x="2181" y="947"/>
                    </a:lnTo>
                    <a:lnTo>
                      <a:pt x="2183" y="947"/>
                    </a:lnTo>
                    <a:lnTo>
                      <a:pt x="2185" y="945"/>
                    </a:lnTo>
                    <a:lnTo>
                      <a:pt x="2187" y="947"/>
                    </a:lnTo>
                    <a:lnTo>
                      <a:pt x="2189" y="945"/>
                    </a:lnTo>
                    <a:lnTo>
                      <a:pt x="2183" y="965"/>
                    </a:lnTo>
                    <a:lnTo>
                      <a:pt x="2181" y="973"/>
                    </a:lnTo>
                    <a:lnTo>
                      <a:pt x="2174" y="996"/>
                    </a:lnTo>
                    <a:lnTo>
                      <a:pt x="2163" y="996"/>
                    </a:lnTo>
                    <a:lnTo>
                      <a:pt x="2159" y="1003"/>
                    </a:lnTo>
                    <a:lnTo>
                      <a:pt x="2150" y="1001"/>
                    </a:lnTo>
                    <a:lnTo>
                      <a:pt x="2155" y="1012"/>
                    </a:lnTo>
                    <a:lnTo>
                      <a:pt x="2166" y="1018"/>
                    </a:lnTo>
                    <a:lnTo>
                      <a:pt x="2159" y="1044"/>
                    </a:lnTo>
                    <a:lnTo>
                      <a:pt x="2157" y="1048"/>
                    </a:lnTo>
                    <a:lnTo>
                      <a:pt x="2153" y="1058"/>
                    </a:lnTo>
                    <a:lnTo>
                      <a:pt x="2151" y="1058"/>
                    </a:lnTo>
                    <a:lnTo>
                      <a:pt x="2150" y="1061"/>
                    </a:lnTo>
                    <a:lnTo>
                      <a:pt x="2144" y="1069"/>
                    </a:lnTo>
                    <a:lnTo>
                      <a:pt x="2148" y="1073"/>
                    </a:lnTo>
                    <a:lnTo>
                      <a:pt x="2138" y="1105"/>
                    </a:lnTo>
                    <a:lnTo>
                      <a:pt x="2157" y="1112"/>
                    </a:lnTo>
                    <a:lnTo>
                      <a:pt x="2146" y="1135"/>
                    </a:lnTo>
                    <a:lnTo>
                      <a:pt x="2136" y="1156"/>
                    </a:lnTo>
                    <a:lnTo>
                      <a:pt x="2134" y="1159"/>
                    </a:lnTo>
                    <a:lnTo>
                      <a:pt x="2133" y="1165"/>
                    </a:lnTo>
                    <a:lnTo>
                      <a:pt x="2129" y="1171"/>
                    </a:lnTo>
                    <a:lnTo>
                      <a:pt x="2119" y="1189"/>
                    </a:lnTo>
                    <a:lnTo>
                      <a:pt x="2104" y="1221"/>
                    </a:lnTo>
                    <a:lnTo>
                      <a:pt x="2097" y="1237"/>
                    </a:lnTo>
                    <a:lnTo>
                      <a:pt x="2095" y="1240"/>
                    </a:lnTo>
                    <a:lnTo>
                      <a:pt x="2082" y="1269"/>
                    </a:lnTo>
                    <a:lnTo>
                      <a:pt x="2078" y="1276"/>
                    </a:lnTo>
                    <a:lnTo>
                      <a:pt x="2063" y="1306"/>
                    </a:lnTo>
                    <a:lnTo>
                      <a:pt x="2050" y="1336"/>
                    </a:lnTo>
                    <a:lnTo>
                      <a:pt x="2033" y="1370"/>
                    </a:lnTo>
                    <a:lnTo>
                      <a:pt x="2018" y="1402"/>
                    </a:lnTo>
                    <a:lnTo>
                      <a:pt x="2016" y="1406"/>
                    </a:lnTo>
                    <a:lnTo>
                      <a:pt x="2016" y="1408"/>
                    </a:lnTo>
                    <a:lnTo>
                      <a:pt x="2018" y="1408"/>
                    </a:lnTo>
                    <a:lnTo>
                      <a:pt x="2018" y="1410"/>
                    </a:lnTo>
                    <a:lnTo>
                      <a:pt x="2016" y="1413"/>
                    </a:lnTo>
                    <a:lnTo>
                      <a:pt x="2016" y="1415"/>
                    </a:lnTo>
                    <a:lnTo>
                      <a:pt x="2016" y="1417"/>
                    </a:lnTo>
                    <a:lnTo>
                      <a:pt x="2016" y="1419"/>
                    </a:lnTo>
                    <a:lnTo>
                      <a:pt x="2016" y="1421"/>
                    </a:lnTo>
                    <a:lnTo>
                      <a:pt x="2016" y="1423"/>
                    </a:lnTo>
                    <a:lnTo>
                      <a:pt x="2018" y="1423"/>
                    </a:lnTo>
                    <a:lnTo>
                      <a:pt x="2018" y="1425"/>
                    </a:lnTo>
                    <a:lnTo>
                      <a:pt x="2020" y="1425"/>
                    </a:lnTo>
                    <a:lnTo>
                      <a:pt x="2022" y="1425"/>
                    </a:lnTo>
                    <a:lnTo>
                      <a:pt x="2022" y="1427"/>
                    </a:lnTo>
                    <a:lnTo>
                      <a:pt x="2023" y="1427"/>
                    </a:lnTo>
                    <a:lnTo>
                      <a:pt x="2023" y="1429"/>
                    </a:lnTo>
                    <a:lnTo>
                      <a:pt x="2023" y="1430"/>
                    </a:lnTo>
                    <a:lnTo>
                      <a:pt x="2023" y="1432"/>
                    </a:lnTo>
                    <a:lnTo>
                      <a:pt x="2025" y="1432"/>
                    </a:lnTo>
                    <a:lnTo>
                      <a:pt x="2025" y="1434"/>
                    </a:lnTo>
                    <a:lnTo>
                      <a:pt x="2025" y="1436"/>
                    </a:lnTo>
                    <a:lnTo>
                      <a:pt x="2027" y="1438"/>
                    </a:lnTo>
                    <a:lnTo>
                      <a:pt x="2027" y="1440"/>
                    </a:lnTo>
                    <a:lnTo>
                      <a:pt x="2029" y="1440"/>
                    </a:lnTo>
                    <a:lnTo>
                      <a:pt x="2029" y="1442"/>
                    </a:lnTo>
                    <a:lnTo>
                      <a:pt x="2031" y="1442"/>
                    </a:lnTo>
                    <a:lnTo>
                      <a:pt x="2031" y="1444"/>
                    </a:lnTo>
                    <a:lnTo>
                      <a:pt x="2031" y="1445"/>
                    </a:lnTo>
                    <a:lnTo>
                      <a:pt x="2033" y="1447"/>
                    </a:lnTo>
                    <a:lnTo>
                      <a:pt x="2035" y="1449"/>
                    </a:lnTo>
                    <a:lnTo>
                      <a:pt x="2037" y="1449"/>
                    </a:lnTo>
                    <a:lnTo>
                      <a:pt x="2037" y="1451"/>
                    </a:lnTo>
                    <a:lnTo>
                      <a:pt x="2039" y="1451"/>
                    </a:lnTo>
                    <a:lnTo>
                      <a:pt x="2039" y="1453"/>
                    </a:lnTo>
                    <a:lnTo>
                      <a:pt x="2040" y="1453"/>
                    </a:lnTo>
                    <a:lnTo>
                      <a:pt x="2042" y="1453"/>
                    </a:lnTo>
                    <a:lnTo>
                      <a:pt x="2044" y="1453"/>
                    </a:lnTo>
                    <a:lnTo>
                      <a:pt x="2046" y="1453"/>
                    </a:lnTo>
                    <a:lnTo>
                      <a:pt x="2048" y="1453"/>
                    </a:lnTo>
                    <a:lnTo>
                      <a:pt x="2050" y="1453"/>
                    </a:lnTo>
                    <a:lnTo>
                      <a:pt x="2052" y="1453"/>
                    </a:lnTo>
                    <a:lnTo>
                      <a:pt x="2054" y="1453"/>
                    </a:lnTo>
                    <a:lnTo>
                      <a:pt x="2054" y="1455"/>
                    </a:lnTo>
                    <a:lnTo>
                      <a:pt x="2055" y="1455"/>
                    </a:lnTo>
                    <a:lnTo>
                      <a:pt x="2055" y="1457"/>
                    </a:lnTo>
                    <a:lnTo>
                      <a:pt x="2055" y="1459"/>
                    </a:lnTo>
                    <a:lnTo>
                      <a:pt x="2055" y="1461"/>
                    </a:lnTo>
                    <a:lnTo>
                      <a:pt x="2057" y="1461"/>
                    </a:lnTo>
                    <a:lnTo>
                      <a:pt x="2057" y="1462"/>
                    </a:lnTo>
                    <a:lnTo>
                      <a:pt x="2059" y="1462"/>
                    </a:lnTo>
                    <a:lnTo>
                      <a:pt x="2061" y="1462"/>
                    </a:lnTo>
                    <a:lnTo>
                      <a:pt x="2063" y="1462"/>
                    </a:lnTo>
                    <a:lnTo>
                      <a:pt x="2065" y="1462"/>
                    </a:lnTo>
                    <a:lnTo>
                      <a:pt x="2067" y="1462"/>
                    </a:lnTo>
                    <a:lnTo>
                      <a:pt x="2067" y="1464"/>
                    </a:lnTo>
                    <a:lnTo>
                      <a:pt x="2069" y="1464"/>
                    </a:lnTo>
                    <a:lnTo>
                      <a:pt x="2069" y="1466"/>
                    </a:lnTo>
                    <a:lnTo>
                      <a:pt x="2069" y="1468"/>
                    </a:lnTo>
                    <a:lnTo>
                      <a:pt x="2069" y="1470"/>
                    </a:lnTo>
                    <a:lnTo>
                      <a:pt x="2071" y="1470"/>
                    </a:lnTo>
                    <a:lnTo>
                      <a:pt x="2071" y="1472"/>
                    </a:lnTo>
                    <a:lnTo>
                      <a:pt x="2072" y="1472"/>
                    </a:lnTo>
                    <a:lnTo>
                      <a:pt x="2072" y="1474"/>
                    </a:lnTo>
                    <a:lnTo>
                      <a:pt x="2074" y="1476"/>
                    </a:lnTo>
                    <a:lnTo>
                      <a:pt x="2076" y="1477"/>
                    </a:lnTo>
                    <a:lnTo>
                      <a:pt x="2078" y="1479"/>
                    </a:lnTo>
                    <a:lnTo>
                      <a:pt x="2080" y="1479"/>
                    </a:lnTo>
                    <a:lnTo>
                      <a:pt x="2080" y="1481"/>
                    </a:lnTo>
                    <a:lnTo>
                      <a:pt x="2082" y="1481"/>
                    </a:lnTo>
                    <a:lnTo>
                      <a:pt x="2084" y="1481"/>
                    </a:lnTo>
                    <a:lnTo>
                      <a:pt x="2086" y="1481"/>
                    </a:lnTo>
                    <a:lnTo>
                      <a:pt x="2087" y="1481"/>
                    </a:lnTo>
                    <a:lnTo>
                      <a:pt x="2089" y="1481"/>
                    </a:lnTo>
                    <a:lnTo>
                      <a:pt x="2091" y="1481"/>
                    </a:lnTo>
                    <a:lnTo>
                      <a:pt x="2093" y="1481"/>
                    </a:lnTo>
                    <a:lnTo>
                      <a:pt x="2093" y="1479"/>
                    </a:lnTo>
                    <a:lnTo>
                      <a:pt x="2093" y="1477"/>
                    </a:lnTo>
                    <a:lnTo>
                      <a:pt x="2095" y="1477"/>
                    </a:lnTo>
                    <a:lnTo>
                      <a:pt x="2097" y="1479"/>
                    </a:lnTo>
                    <a:lnTo>
                      <a:pt x="2097" y="1481"/>
                    </a:lnTo>
                    <a:lnTo>
                      <a:pt x="2097" y="1483"/>
                    </a:lnTo>
                    <a:lnTo>
                      <a:pt x="2097" y="1485"/>
                    </a:lnTo>
                    <a:lnTo>
                      <a:pt x="2097" y="1487"/>
                    </a:lnTo>
                    <a:lnTo>
                      <a:pt x="2097" y="1489"/>
                    </a:lnTo>
                    <a:lnTo>
                      <a:pt x="2097" y="1491"/>
                    </a:lnTo>
                    <a:lnTo>
                      <a:pt x="2097" y="1493"/>
                    </a:lnTo>
                    <a:lnTo>
                      <a:pt x="2097" y="1494"/>
                    </a:lnTo>
                    <a:lnTo>
                      <a:pt x="2097" y="1496"/>
                    </a:lnTo>
                    <a:lnTo>
                      <a:pt x="2099" y="1496"/>
                    </a:lnTo>
                    <a:lnTo>
                      <a:pt x="2099" y="1498"/>
                    </a:lnTo>
                    <a:lnTo>
                      <a:pt x="2099" y="1500"/>
                    </a:lnTo>
                    <a:lnTo>
                      <a:pt x="2101" y="1502"/>
                    </a:lnTo>
                    <a:lnTo>
                      <a:pt x="2102" y="1502"/>
                    </a:lnTo>
                    <a:lnTo>
                      <a:pt x="2104" y="1502"/>
                    </a:lnTo>
                    <a:lnTo>
                      <a:pt x="2104" y="1504"/>
                    </a:lnTo>
                    <a:lnTo>
                      <a:pt x="2104" y="1502"/>
                    </a:lnTo>
                    <a:lnTo>
                      <a:pt x="2106" y="1504"/>
                    </a:lnTo>
                    <a:lnTo>
                      <a:pt x="2108" y="1504"/>
                    </a:lnTo>
                    <a:lnTo>
                      <a:pt x="2110" y="1506"/>
                    </a:lnTo>
                    <a:lnTo>
                      <a:pt x="2112" y="1506"/>
                    </a:lnTo>
                    <a:lnTo>
                      <a:pt x="2114" y="1506"/>
                    </a:lnTo>
                    <a:lnTo>
                      <a:pt x="2116" y="1506"/>
                    </a:lnTo>
                    <a:lnTo>
                      <a:pt x="2118" y="1506"/>
                    </a:lnTo>
                    <a:lnTo>
                      <a:pt x="2119" y="1506"/>
                    </a:lnTo>
                    <a:lnTo>
                      <a:pt x="2121" y="1506"/>
                    </a:lnTo>
                    <a:lnTo>
                      <a:pt x="2123" y="1506"/>
                    </a:lnTo>
                    <a:lnTo>
                      <a:pt x="2125" y="1506"/>
                    </a:lnTo>
                    <a:lnTo>
                      <a:pt x="2127" y="1506"/>
                    </a:lnTo>
                    <a:lnTo>
                      <a:pt x="2127" y="1508"/>
                    </a:lnTo>
                    <a:lnTo>
                      <a:pt x="2129" y="1508"/>
                    </a:lnTo>
                    <a:lnTo>
                      <a:pt x="2131" y="1508"/>
                    </a:lnTo>
                    <a:lnTo>
                      <a:pt x="2131" y="1509"/>
                    </a:lnTo>
                    <a:lnTo>
                      <a:pt x="2133" y="1511"/>
                    </a:lnTo>
                    <a:lnTo>
                      <a:pt x="2133" y="1513"/>
                    </a:lnTo>
                    <a:lnTo>
                      <a:pt x="2133" y="1515"/>
                    </a:lnTo>
                    <a:lnTo>
                      <a:pt x="2133" y="1517"/>
                    </a:lnTo>
                    <a:lnTo>
                      <a:pt x="2131" y="1517"/>
                    </a:lnTo>
                    <a:lnTo>
                      <a:pt x="2131" y="1519"/>
                    </a:lnTo>
                    <a:lnTo>
                      <a:pt x="2131" y="1521"/>
                    </a:lnTo>
                    <a:lnTo>
                      <a:pt x="2131" y="1523"/>
                    </a:lnTo>
                    <a:lnTo>
                      <a:pt x="2131" y="1525"/>
                    </a:lnTo>
                    <a:lnTo>
                      <a:pt x="2133" y="1525"/>
                    </a:lnTo>
                    <a:lnTo>
                      <a:pt x="2133" y="1526"/>
                    </a:lnTo>
                    <a:lnTo>
                      <a:pt x="2134" y="1528"/>
                    </a:lnTo>
                    <a:lnTo>
                      <a:pt x="2134" y="1530"/>
                    </a:lnTo>
                    <a:lnTo>
                      <a:pt x="2134" y="1532"/>
                    </a:lnTo>
                    <a:lnTo>
                      <a:pt x="2136" y="1532"/>
                    </a:lnTo>
                    <a:lnTo>
                      <a:pt x="2138" y="1532"/>
                    </a:lnTo>
                    <a:lnTo>
                      <a:pt x="2138" y="1534"/>
                    </a:lnTo>
                    <a:lnTo>
                      <a:pt x="2140" y="1536"/>
                    </a:lnTo>
                    <a:lnTo>
                      <a:pt x="2142" y="1536"/>
                    </a:lnTo>
                    <a:lnTo>
                      <a:pt x="2142" y="1538"/>
                    </a:lnTo>
                    <a:lnTo>
                      <a:pt x="2140" y="1540"/>
                    </a:lnTo>
                    <a:lnTo>
                      <a:pt x="2140" y="1542"/>
                    </a:lnTo>
                    <a:lnTo>
                      <a:pt x="2140" y="1543"/>
                    </a:lnTo>
                    <a:lnTo>
                      <a:pt x="2142" y="1543"/>
                    </a:lnTo>
                    <a:lnTo>
                      <a:pt x="2142" y="1545"/>
                    </a:lnTo>
                    <a:lnTo>
                      <a:pt x="2144" y="1545"/>
                    </a:lnTo>
                    <a:lnTo>
                      <a:pt x="2146" y="1545"/>
                    </a:lnTo>
                    <a:lnTo>
                      <a:pt x="2148" y="1545"/>
                    </a:lnTo>
                    <a:lnTo>
                      <a:pt x="2148" y="1547"/>
                    </a:lnTo>
                    <a:lnTo>
                      <a:pt x="2150" y="1547"/>
                    </a:lnTo>
                    <a:lnTo>
                      <a:pt x="2150" y="1549"/>
                    </a:lnTo>
                    <a:lnTo>
                      <a:pt x="2151" y="1551"/>
                    </a:lnTo>
                    <a:lnTo>
                      <a:pt x="2151" y="1553"/>
                    </a:lnTo>
                    <a:lnTo>
                      <a:pt x="2151" y="1555"/>
                    </a:lnTo>
                    <a:lnTo>
                      <a:pt x="2151" y="1557"/>
                    </a:lnTo>
                    <a:lnTo>
                      <a:pt x="2151" y="1558"/>
                    </a:lnTo>
                    <a:lnTo>
                      <a:pt x="2151" y="1560"/>
                    </a:lnTo>
                    <a:lnTo>
                      <a:pt x="2153" y="1560"/>
                    </a:lnTo>
                    <a:lnTo>
                      <a:pt x="2155" y="1562"/>
                    </a:lnTo>
                    <a:lnTo>
                      <a:pt x="2155" y="1564"/>
                    </a:lnTo>
                    <a:lnTo>
                      <a:pt x="2155" y="1566"/>
                    </a:lnTo>
                    <a:lnTo>
                      <a:pt x="2157" y="1568"/>
                    </a:lnTo>
                    <a:lnTo>
                      <a:pt x="2157" y="1570"/>
                    </a:lnTo>
                    <a:lnTo>
                      <a:pt x="2159" y="1570"/>
                    </a:lnTo>
                    <a:lnTo>
                      <a:pt x="2161" y="1570"/>
                    </a:lnTo>
                    <a:lnTo>
                      <a:pt x="2161" y="1568"/>
                    </a:lnTo>
                    <a:lnTo>
                      <a:pt x="2163" y="1568"/>
                    </a:lnTo>
                    <a:lnTo>
                      <a:pt x="2165" y="1568"/>
                    </a:lnTo>
                    <a:lnTo>
                      <a:pt x="2165" y="1570"/>
                    </a:lnTo>
                    <a:lnTo>
                      <a:pt x="2165" y="1572"/>
                    </a:lnTo>
                    <a:lnTo>
                      <a:pt x="2166" y="1574"/>
                    </a:lnTo>
                    <a:lnTo>
                      <a:pt x="2168" y="1574"/>
                    </a:lnTo>
                    <a:lnTo>
                      <a:pt x="2168" y="1575"/>
                    </a:lnTo>
                    <a:lnTo>
                      <a:pt x="2170" y="1575"/>
                    </a:lnTo>
                    <a:lnTo>
                      <a:pt x="2170" y="1577"/>
                    </a:lnTo>
                    <a:lnTo>
                      <a:pt x="2170" y="1579"/>
                    </a:lnTo>
                    <a:lnTo>
                      <a:pt x="2168" y="1581"/>
                    </a:lnTo>
                    <a:lnTo>
                      <a:pt x="2168" y="1583"/>
                    </a:lnTo>
                    <a:lnTo>
                      <a:pt x="2170" y="1583"/>
                    </a:lnTo>
                    <a:lnTo>
                      <a:pt x="2170" y="1585"/>
                    </a:lnTo>
                    <a:lnTo>
                      <a:pt x="2172" y="1585"/>
                    </a:lnTo>
                    <a:lnTo>
                      <a:pt x="2172" y="1587"/>
                    </a:lnTo>
                    <a:lnTo>
                      <a:pt x="2174" y="1589"/>
                    </a:lnTo>
                    <a:lnTo>
                      <a:pt x="2176" y="1589"/>
                    </a:lnTo>
                    <a:lnTo>
                      <a:pt x="2178" y="1590"/>
                    </a:lnTo>
                    <a:lnTo>
                      <a:pt x="2178" y="1592"/>
                    </a:lnTo>
                    <a:lnTo>
                      <a:pt x="2178" y="1594"/>
                    </a:lnTo>
                    <a:lnTo>
                      <a:pt x="2180" y="1594"/>
                    </a:lnTo>
                    <a:lnTo>
                      <a:pt x="2181" y="1594"/>
                    </a:lnTo>
                    <a:lnTo>
                      <a:pt x="2183" y="1594"/>
                    </a:lnTo>
                    <a:lnTo>
                      <a:pt x="2185" y="1594"/>
                    </a:lnTo>
                    <a:lnTo>
                      <a:pt x="2187" y="1592"/>
                    </a:lnTo>
                    <a:lnTo>
                      <a:pt x="2189" y="1592"/>
                    </a:lnTo>
                    <a:lnTo>
                      <a:pt x="2191" y="1592"/>
                    </a:lnTo>
                    <a:lnTo>
                      <a:pt x="2191" y="1594"/>
                    </a:lnTo>
                    <a:lnTo>
                      <a:pt x="2193" y="1596"/>
                    </a:lnTo>
                    <a:lnTo>
                      <a:pt x="2193" y="1598"/>
                    </a:lnTo>
                    <a:lnTo>
                      <a:pt x="2193" y="1600"/>
                    </a:lnTo>
                    <a:lnTo>
                      <a:pt x="2195" y="1600"/>
                    </a:lnTo>
                    <a:lnTo>
                      <a:pt x="2195" y="1602"/>
                    </a:lnTo>
                    <a:lnTo>
                      <a:pt x="2195" y="1604"/>
                    </a:lnTo>
                    <a:lnTo>
                      <a:pt x="2195" y="1606"/>
                    </a:lnTo>
                    <a:lnTo>
                      <a:pt x="2193" y="1607"/>
                    </a:lnTo>
                    <a:lnTo>
                      <a:pt x="2193" y="1609"/>
                    </a:lnTo>
                    <a:lnTo>
                      <a:pt x="2191" y="1609"/>
                    </a:lnTo>
                    <a:lnTo>
                      <a:pt x="2191" y="1611"/>
                    </a:lnTo>
                    <a:lnTo>
                      <a:pt x="2193" y="1613"/>
                    </a:lnTo>
                    <a:lnTo>
                      <a:pt x="2193" y="1615"/>
                    </a:lnTo>
                    <a:lnTo>
                      <a:pt x="2191" y="1615"/>
                    </a:lnTo>
                    <a:lnTo>
                      <a:pt x="2193" y="1615"/>
                    </a:lnTo>
                    <a:lnTo>
                      <a:pt x="2195" y="1615"/>
                    </a:lnTo>
                    <a:lnTo>
                      <a:pt x="2195" y="1613"/>
                    </a:lnTo>
                    <a:lnTo>
                      <a:pt x="2197" y="1613"/>
                    </a:lnTo>
                    <a:lnTo>
                      <a:pt x="2198" y="1613"/>
                    </a:lnTo>
                    <a:lnTo>
                      <a:pt x="2200" y="1615"/>
                    </a:lnTo>
                    <a:lnTo>
                      <a:pt x="2202" y="1617"/>
                    </a:lnTo>
                    <a:lnTo>
                      <a:pt x="2204" y="1617"/>
                    </a:lnTo>
                    <a:lnTo>
                      <a:pt x="2206" y="1617"/>
                    </a:lnTo>
                    <a:lnTo>
                      <a:pt x="2206" y="1619"/>
                    </a:lnTo>
                    <a:lnTo>
                      <a:pt x="2208" y="1619"/>
                    </a:lnTo>
                    <a:lnTo>
                      <a:pt x="2208" y="1621"/>
                    </a:lnTo>
                    <a:lnTo>
                      <a:pt x="2208" y="1622"/>
                    </a:lnTo>
                    <a:lnTo>
                      <a:pt x="2208" y="1624"/>
                    </a:lnTo>
                    <a:lnTo>
                      <a:pt x="2210" y="1624"/>
                    </a:lnTo>
                    <a:lnTo>
                      <a:pt x="2210" y="1626"/>
                    </a:lnTo>
                    <a:lnTo>
                      <a:pt x="2212" y="1628"/>
                    </a:lnTo>
                    <a:lnTo>
                      <a:pt x="2212" y="1630"/>
                    </a:lnTo>
                    <a:lnTo>
                      <a:pt x="2213" y="1632"/>
                    </a:lnTo>
                    <a:lnTo>
                      <a:pt x="2215" y="1632"/>
                    </a:lnTo>
                    <a:lnTo>
                      <a:pt x="2215" y="1634"/>
                    </a:lnTo>
                    <a:lnTo>
                      <a:pt x="2217" y="1634"/>
                    </a:lnTo>
                    <a:lnTo>
                      <a:pt x="2219" y="1634"/>
                    </a:lnTo>
                    <a:lnTo>
                      <a:pt x="2219" y="1636"/>
                    </a:lnTo>
                    <a:lnTo>
                      <a:pt x="2221" y="1636"/>
                    </a:lnTo>
                    <a:lnTo>
                      <a:pt x="2221" y="1638"/>
                    </a:lnTo>
                    <a:lnTo>
                      <a:pt x="2223" y="1639"/>
                    </a:lnTo>
                    <a:lnTo>
                      <a:pt x="2223" y="1641"/>
                    </a:lnTo>
                    <a:lnTo>
                      <a:pt x="2221" y="1641"/>
                    </a:lnTo>
                    <a:lnTo>
                      <a:pt x="2221" y="1643"/>
                    </a:lnTo>
                    <a:lnTo>
                      <a:pt x="2221" y="1645"/>
                    </a:lnTo>
                    <a:lnTo>
                      <a:pt x="2223" y="1645"/>
                    </a:lnTo>
                    <a:lnTo>
                      <a:pt x="2225" y="1647"/>
                    </a:lnTo>
                    <a:lnTo>
                      <a:pt x="2225" y="1649"/>
                    </a:lnTo>
                    <a:lnTo>
                      <a:pt x="2227" y="1649"/>
                    </a:lnTo>
                    <a:lnTo>
                      <a:pt x="2227" y="1651"/>
                    </a:lnTo>
                    <a:lnTo>
                      <a:pt x="2229" y="1651"/>
                    </a:lnTo>
                    <a:lnTo>
                      <a:pt x="2230" y="1653"/>
                    </a:lnTo>
                    <a:lnTo>
                      <a:pt x="2230" y="1654"/>
                    </a:lnTo>
                    <a:lnTo>
                      <a:pt x="2230" y="1656"/>
                    </a:lnTo>
                    <a:lnTo>
                      <a:pt x="2232" y="1656"/>
                    </a:lnTo>
                    <a:lnTo>
                      <a:pt x="2234" y="1656"/>
                    </a:lnTo>
                    <a:lnTo>
                      <a:pt x="2234" y="1658"/>
                    </a:lnTo>
                    <a:lnTo>
                      <a:pt x="2236" y="1658"/>
                    </a:lnTo>
                    <a:lnTo>
                      <a:pt x="2238" y="1658"/>
                    </a:lnTo>
                    <a:lnTo>
                      <a:pt x="2240" y="1656"/>
                    </a:lnTo>
                    <a:lnTo>
                      <a:pt x="2242" y="1656"/>
                    </a:lnTo>
                    <a:lnTo>
                      <a:pt x="2244" y="1656"/>
                    </a:lnTo>
                    <a:lnTo>
                      <a:pt x="2244" y="1658"/>
                    </a:lnTo>
                    <a:lnTo>
                      <a:pt x="2244" y="1660"/>
                    </a:lnTo>
                    <a:lnTo>
                      <a:pt x="2245" y="1660"/>
                    </a:lnTo>
                    <a:lnTo>
                      <a:pt x="2247" y="1662"/>
                    </a:lnTo>
                    <a:lnTo>
                      <a:pt x="2249" y="1664"/>
                    </a:lnTo>
                    <a:lnTo>
                      <a:pt x="2249" y="1666"/>
                    </a:lnTo>
                    <a:lnTo>
                      <a:pt x="2251" y="1666"/>
                    </a:lnTo>
                    <a:lnTo>
                      <a:pt x="2251" y="1668"/>
                    </a:lnTo>
                    <a:lnTo>
                      <a:pt x="2253" y="1668"/>
                    </a:lnTo>
                    <a:lnTo>
                      <a:pt x="2253" y="1670"/>
                    </a:lnTo>
                    <a:lnTo>
                      <a:pt x="2255" y="1670"/>
                    </a:lnTo>
                    <a:lnTo>
                      <a:pt x="2255" y="1671"/>
                    </a:lnTo>
                    <a:lnTo>
                      <a:pt x="2255" y="1673"/>
                    </a:lnTo>
                    <a:lnTo>
                      <a:pt x="2257" y="1675"/>
                    </a:lnTo>
                    <a:lnTo>
                      <a:pt x="2259" y="1677"/>
                    </a:lnTo>
                    <a:lnTo>
                      <a:pt x="2260" y="1679"/>
                    </a:lnTo>
                    <a:lnTo>
                      <a:pt x="2262" y="1679"/>
                    </a:lnTo>
                    <a:lnTo>
                      <a:pt x="2264" y="1679"/>
                    </a:lnTo>
                    <a:lnTo>
                      <a:pt x="2264" y="1677"/>
                    </a:lnTo>
                    <a:lnTo>
                      <a:pt x="2266" y="1677"/>
                    </a:lnTo>
                    <a:lnTo>
                      <a:pt x="2266" y="1675"/>
                    </a:lnTo>
                    <a:lnTo>
                      <a:pt x="2266" y="1673"/>
                    </a:lnTo>
                    <a:lnTo>
                      <a:pt x="2268" y="1673"/>
                    </a:lnTo>
                    <a:lnTo>
                      <a:pt x="2270" y="1673"/>
                    </a:lnTo>
                    <a:lnTo>
                      <a:pt x="2270" y="1675"/>
                    </a:lnTo>
                    <a:lnTo>
                      <a:pt x="2272" y="1675"/>
                    </a:lnTo>
                    <a:lnTo>
                      <a:pt x="2274" y="1675"/>
                    </a:lnTo>
                    <a:lnTo>
                      <a:pt x="2274" y="1673"/>
                    </a:lnTo>
                    <a:lnTo>
                      <a:pt x="2276" y="1673"/>
                    </a:lnTo>
                    <a:lnTo>
                      <a:pt x="2277" y="1673"/>
                    </a:lnTo>
                    <a:lnTo>
                      <a:pt x="2279" y="1673"/>
                    </a:lnTo>
                    <a:lnTo>
                      <a:pt x="2281" y="1675"/>
                    </a:lnTo>
                    <a:lnTo>
                      <a:pt x="2281" y="1677"/>
                    </a:lnTo>
                    <a:lnTo>
                      <a:pt x="2283" y="1677"/>
                    </a:lnTo>
                    <a:lnTo>
                      <a:pt x="2285" y="1677"/>
                    </a:lnTo>
                    <a:lnTo>
                      <a:pt x="2287" y="1677"/>
                    </a:lnTo>
                    <a:lnTo>
                      <a:pt x="2289" y="1679"/>
                    </a:lnTo>
                    <a:lnTo>
                      <a:pt x="2289" y="1681"/>
                    </a:lnTo>
                    <a:lnTo>
                      <a:pt x="2291" y="1683"/>
                    </a:lnTo>
                    <a:lnTo>
                      <a:pt x="2292" y="1683"/>
                    </a:lnTo>
                    <a:lnTo>
                      <a:pt x="2294" y="1685"/>
                    </a:lnTo>
                    <a:lnTo>
                      <a:pt x="2294" y="1686"/>
                    </a:lnTo>
                    <a:lnTo>
                      <a:pt x="2296" y="1686"/>
                    </a:lnTo>
                    <a:lnTo>
                      <a:pt x="2298" y="1688"/>
                    </a:lnTo>
                    <a:lnTo>
                      <a:pt x="2298" y="1690"/>
                    </a:lnTo>
                    <a:lnTo>
                      <a:pt x="2300" y="1690"/>
                    </a:lnTo>
                    <a:lnTo>
                      <a:pt x="2300" y="1692"/>
                    </a:lnTo>
                    <a:lnTo>
                      <a:pt x="2302" y="1692"/>
                    </a:lnTo>
                    <a:lnTo>
                      <a:pt x="2300" y="1694"/>
                    </a:lnTo>
                    <a:lnTo>
                      <a:pt x="2298" y="1696"/>
                    </a:lnTo>
                    <a:lnTo>
                      <a:pt x="2300" y="1700"/>
                    </a:lnTo>
                    <a:lnTo>
                      <a:pt x="2300" y="1703"/>
                    </a:lnTo>
                    <a:lnTo>
                      <a:pt x="2302" y="1705"/>
                    </a:lnTo>
                    <a:lnTo>
                      <a:pt x="2304" y="1707"/>
                    </a:lnTo>
                    <a:lnTo>
                      <a:pt x="2300" y="1709"/>
                    </a:lnTo>
                    <a:lnTo>
                      <a:pt x="2300" y="1711"/>
                    </a:lnTo>
                    <a:lnTo>
                      <a:pt x="2300" y="1713"/>
                    </a:lnTo>
                    <a:lnTo>
                      <a:pt x="2302" y="1715"/>
                    </a:lnTo>
                    <a:lnTo>
                      <a:pt x="2302" y="1717"/>
                    </a:lnTo>
                    <a:lnTo>
                      <a:pt x="2302" y="1718"/>
                    </a:lnTo>
                    <a:lnTo>
                      <a:pt x="2300" y="1720"/>
                    </a:lnTo>
                    <a:lnTo>
                      <a:pt x="2300" y="1722"/>
                    </a:lnTo>
                    <a:lnTo>
                      <a:pt x="2304" y="1722"/>
                    </a:lnTo>
                    <a:lnTo>
                      <a:pt x="2304" y="1724"/>
                    </a:lnTo>
                    <a:lnTo>
                      <a:pt x="2304" y="1726"/>
                    </a:lnTo>
                    <a:lnTo>
                      <a:pt x="2304" y="1728"/>
                    </a:lnTo>
                    <a:lnTo>
                      <a:pt x="2306" y="1734"/>
                    </a:lnTo>
                    <a:lnTo>
                      <a:pt x="2306" y="1735"/>
                    </a:lnTo>
                    <a:lnTo>
                      <a:pt x="2306" y="1739"/>
                    </a:lnTo>
                    <a:lnTo>
                      <a:pt x="2306" y="1741"/>
                    </a:lnTo>
                    <a:lnTo>
                      <a:pt x="2311" y="1741"/>
                    </a:lnTo>
                    <a:lnTo>
                      <a:pt x="2317" y="1745"/>
                    </a:lnTo>
                    <a:lnTo>
                      <a:pt x="2323" y="1743"/>
                    </a:lnTo>
                    <a:lnTo>
                      <a:pt x="2315" y="1754"/>
                    </a:lnTo>
                    <a:lnTo>
                      <a:pt x="2306" y="1760"/>
                    </a:lnTo>
                    <a:lnTo>
                      <a:pt x="2302" y="1766"/>
                    </a:lnTo>
                    <a:lnTo>
                      <a:pt x="2309" y="1771"/>
                    </a:lnTo>
                    <a:lnTo>
                      <a:pt x="2311" y="1775"/>
                    </a:lnTo>
                    <a:lnTo>
                      <a:pt x="2313" y="1775"/>
                    </a:lnTo>
                    <a:lnTo>
                      <a:pt x="2315" y="1775"/>
                    </a:lnTo>
                    <a:lnTo>
                      <a:pt x="2315" y="1777"/>
                    </a:lnTo>
                    <a:lnTo>
                      <a:pt x="2313" y="1779"/>
                    </a:lnTo>
                    <a:lnTo>
                      <a:pt x="2313" y="1781"/>
                    </a:lnTo>
                    <a:lnTo>
                      <a:pt x="2313" y="1782"/>
                    </a:lnTo>
                    <a:lnTo>
                      <a:pt x="2311" y="1784"/>
                    </a:lnTo>
                    <a:lnTo>
                      <a:pt x="2311" y="1788"/>
                    </a:lnTo>
                    <a:lnTo>
                      <a:pt x="2311" y="1790"/>
                    </a:lnTo>
                    <a:lnTo>
                      <a:pt x="2313" y="1792"/>
                    </a:lnTo>
                    <a:lnTo>
                      <a:pt x="2308" y="1796"/>
                    </a:lnTo>
                    <a:lnTo>
                      <a:pt x="2306" y="1798"/>
                    </a:lnTo>
                    <a:lnTo>
                      <a:pt x="2304" y="1799"/>
                    </a:lnTo>
                    <a:lnTo>
                      <a:pt x="2304" y="1801"/>
                    </a:lnTo>
                    <a:lnTo>
                      <a:pt x="2306" y="1807"/>
                    </a:lnTo>
                    <a:lnTo>
                      <a:pt x="2311" y="1807"/>
                    </a:lnTo>
                    <a:lnTo>
                      <a:pt x="2308" y="1816"/>
                    </a:lnTo>
                    <a:lnTo>
                      <a:pt x="2304" y="1818"/>
                    </a:lnTo>
                    <a:lnTo>
                      <a:pt x="2300" y="1822"/>
                    </a:lnTo>
                    <a:lnTo>
                      <a:pt x="2298" y="1820"/>
                    </a:lnTo>
                    <a:lnTo>
                      <a:pt x="2294" y="1824"/>
                    </a:lnTo>
                    <a:lnTo>
                      <a:pt x="2298" y="1828"/>
                    </a:lnTo>
                    <a:lnTo>
                      <a:pt x="2296" y="1833"/>
                    </a:lnTo>
                    <a:lnTo>
                      <a:pt x="2296" y="1835"/>
                    </a:lnTo>
                    <a:lnTo>
                      <a:pt x="2291" y="1843"/>
                    </a:lnTo>
                    <a:lnTo>
                      <a:pt x="2289" y="1845"/>
                    </a:lnTo>
                    <a:lnTo>
                      <a:pt x="2283" y="1845"/>
                    </a:lnTo>
                    <a:lnTo>
                      <a:pt x="2283" y="1846"/>
                    </a:lnTo>
                    <a:lnTo>
                      <a:pt x="2281" y="1850"/>
                    </a:lnTo>
                    <a:lnTo>
                      <a:pt x="2279" y="1863"/>
                    </a:lnTo>
                    <a:lnTo>
                      <a:pt x="2279" y="1865"/>
                    </a:lnTo>
                    <a:lnTo>
                      <a:pt x="2281" y="1869"/>
                    </a:lnTo>
                    <a:lnTo>
                      <a:pt x="2277" y="1873"/>
                    </a:lnTo>
                    <a:lnTo>
                      <a:pt x="2274" y="1875"/>
                    </a:lnTo>
                    <a:lnTo>
                      <a:pt x="2257" y="1869"/>
                    </a:lnTo>
                    <a:lnTo>
                      <a:pt x="2255" y="1871"/>
                    </a:lnTo>
                    <a:lnTo>
                      <a:pt x="2253" y="1871"/>
                    </a:lnTo>
                    <a:lnTo>
                      <a:pt x="2251" y="1871"/>
                    </a:lnTo>
                    <a:lnTo>
                      <a:pt x="2251" y="1869"/>
                    </a:lnTo>
                    <a:lnTo>
                      <a:pt x="2240" y="1863"/>
                    </a:lnTo>
                    <a:lnTo>
                      <a:pt x="2240" y="1862"/>
                    </a:lnTo>
                    <a:lnTo>
                      <a:pt x="2238" y="1862"/>
                    </a:lnTo>
                    <a:lnTo>
                      <a:pt x="2236" y="1862"/>
                    </a:lnTo>
                    <a:lnTo>
                      <a:pt x="2234" y="1865"/>
                    </a:lnTo>
                    <a:lnTo>
                      <a:pt x="2236" y="1865"/>
                    </a:lnTo>
                    <a:lnTo>
                      <a:pt x="2236" y="1867"/>
                    </a:lnTo>
                    <a:lnTo>
                      <a:pt x="2234" y="1869"/>
                    </a:lnTo>
                    <a:lnTo>
                      <a:pt x="2232" y="1869"/>
                    </a:lnTo>
                    <a:lnTo>
                      <a:pt x="2229" y="1871"/>
                    </a:lnTo>
                    <a:lnTo>
                      <a:pt x="2227" y="1875"/>
                    </a:lnTo>
                    <a:lnTo>
                      <a:pt x="2227" y="1877"/>
                    </a:lnTo>
                    <a:lnTo>
                      <a:pt x="2225" y="1875"/>
                    </a:lnTo>
                    <a:lnTo>
                      <a:pt x="2223" y="1873"/>
                    </a:lnTo>
                    <a:lnTo>
                      <a:pt x="2221" y="1877"/>
                    </a:lnTo>
                    <a:lnTo>
                      <a:pt x="2215" y="1877"/>
                    </a:lnTo>
                    <a:lnTo>
                      <a:pt x="2212" y="1878"/>
                    </a:lnTo>
                    <a:lnTo>
                      <a:pt x="2208" y="1882"/>
                    </a:lnTo>
                    <a:lnTo>
                      <a:pt x="2204" y="1882"/>
                    </a:lnTo>
                    <a:lnTo>
                      <a:pt x="2200" y="1880"/>
                    </a:lnTo>
                    <a:lnTo>
                      <a:pt x="2197" y="1886"/>
                    </a:lnTo>
                    <a:lnTo>
                      <a:pt x="2193" y="1884"/>
                    </a:lnTo>
                    <a:lnTo>
                      <a:pt x="2187" y="1884"/>
                    </a:lnTo>
                    <a:lnTo>
                      <a:pt x="2183" y="1884"/>
                    </a:lnTo>
                    <a:lnTo>
                      <a:pt x="2180" y="1886"/>
                    </a:lnTo>
                    <a:lnTo>
                      <a:pt x="2178" y="1886"/>
                    </a:lnTo>
                    <a:lnTo>
                      <a:pt x="2172" y="1890"/>
                    </a:lnTo>
                    <a:lnTo>
                      <a:pt x="2170" y="1894"/>
                    </a:lnTo>
                    <a:lnTo>
                      <a:pt x="2168" y="1894"/>
                    </a:lnTo>
                    <a:lnTo>
                      <a:pt x="2168" y="1895"/>
                    </a:lnTo>
                    <a:lnTo>
                      <a:pt x="2168" y="1899"/>
                    </a:lnTo>
                    <a:lnTo>
                      <a:pt x="2165" y="1901"/>
                    </a:lnTo>
                    <a:lnTo>
                      <a:pt x="2163" y="1899"/>
                    </a:lnTo>
                    <a:lnTo>
                      <a:pt x="2157" y="1899"/>
                    </a:lnTo>
                    <a:lnTo>
                      <a:pt x="2153" y="1899"/>
                    </a:lnTo>
                    <a:lnTo>
                      <a:pt x="2144" y="1903"/>
                    </a:lnTo>
                    <a:lnTo>
                      <a:pt x="2146" y="1905"/>
                    </a:lnTo>
                    <a:lnTo>
                      <a:pt x="2148" y="1910"/>
                    </a:lnTo>
                    <a:lnTo>
                      <a:pt x="2148" y="1914"/>
                    </a:lnTo>
                    <a:lnTo>
                      <a:pt x="2148" y="1916"/>
                    </a:lnTo>
                    <a:lnTo>
                      <a:pt x="2146" y="1916"/>
                    </a:lnTo>
                    <a:lnTo>
                      <a:pt x="2144" y="1914"/>
                    </a:lnTo>
                    <a:lnTo>
                      <a:pt x="2138" y="1910"/>
                    </a:lnTo>
                    <a:lnTo>
                      <a:pt x="2136" y="1912"/>
                    </a:lnTo>
                    <a:lnTo>
                      <a:pt x="2129" y="1920"/>
                    </a:lnTo>
                    <a:lnTo>
                      <a:pt x="2129" y="1922"/>
                    </a:lnTo>
                    <a:lnTo>
                      <a:pt x="2125" y="1922"/>
                    </a:lnTo>
                    <a:lnTo>
                      <a:pt x="2119" y="1924"/>
                    </a:lnTo>
                    <a:lnTo>
                      <a:pt x="2118" y="1924"/>
                    </a:lnTo>
                    <a:lnTo>
                      <a:pt x="2112" y="1924"/>
                    </a:lnTo>
                    <a:lnTo>
                      <a:pt x="2108" y="1927"/>
                    </a:lnTo>
                    <a:lnTo>
                      <a:pt x="2108" y="1926"/>
                    </a:lnTo>
                    <a:lnTo>
                      <a:pt x="2106" y="1924"/>
                    </a:lnTo>
                    <a:lnTo>
                      <a:pt x="2099" y="1920"/>
                    </a:lnTo>
                    <a:lnTo>
                      <a:pt x="2097" y="1920"/>
                    </a:lnTo>
                    <a:lnTo>
                      <a:pt x="2093" y="1920"/>
                    </a:lnTo>
                    <a:lnTo>
                      <a:pt x="2080" y="1924"/>
                    </a:lnTo>
                    <a:lnTo>
                      <a:pt x="2072" y="1929"/>
                    </a:lnTo>
                    <a:lnTo>
                      <a:pt x="2072" y="1933"/>
                    </a:lnTo>
                    <a:lnTo>
                      <a:pt x="2071" y="1948"/>
                    </a:lnTo>
                    <a:lnTo>
                      <a:pt x="2065" y="1950"/>
                    </a:lnTo>
                    <a:lnTo>
                      <a:pt x="2059" y="1954"/>
                    </a:lnTo>
                    <a:lnTo>
                      <a:pt x="2063" y="1958"/>
                    </a:lnTo>
                    <a:lnTo>
                      <a:pt x="2061" y="1965"/>
                    </a:lnTo>
                    <a:lnTo>
                      <a:pt x="2061" y="1967"/>
                    </a:lnTo>
                    <a:lnTo>
                      <a:pt x="2055" y="1975"/>
                    </a:lnTo>
                    <a:lnTo>
                      <a:pt x="2061" y="1986"/>
                    </a:lnTo>
                    <a:lnTo>
                      <a:pt x="2059" y="1997"/>
                    </a:lnTo>
                    <a:lnTo>
                      <a:pt x="2059" y="2007"/>
                    </a:lnTo>
                    <a:lnTo>
                      <a:pt x="2057" y="2014"/>
                    </a:lnTo>
                    <a:lnTo>
                      <a:pt x="2057" y="2016"/>
                    </a:lnTo>
                    <a:lnTo>
                      <a:pt x="2055" y="2016"/>
                    </a:lnTo>
                    <a:lnTo>
                      <a:pt x="2046" y="2016"/>
                    </a:lnTo>
                    <a:lnTo>
                      <a:pt x="2040" y="2018"/>
                    </a:lnTo>
                    <a:lnTo>
                      <a:pt x="2039" y="2018"/>
                    </a:lnTo>
                    <a:lnTo>
                      <a:pt x="2033" y="2010"/>
                    </a:lnTo>
                    <a:lnTo>
                      <a:pt x="2035" y="2016"/>
                    </a:lnTo>
                    <a:lnTo>
                      <a:pt x="2035" y="2018"/>
                    </a:lnTo>
                    <a:lnTo>
                      <a:pt x="2016" y="2018"/>
                    </a:lnTo>
                    <a:lnTo>
                      <a:pt x="2014" y="2018"/>
                    </a:lnTo>
                    <a:lnTo>
                      <a:pt x="2010" y="2022"/>
                    </a:lnTo>
                    <a:lnTo>
                      <a:pt x="2008" y="2027"/>
                    </a:lnTo>
                    <a:lnTo>
                      <a:pt x="2007" y="2029"/>
                    </a:lnTo>
                    <a:lnTo>
                      <a:pt x="2005" y="2031"/>
                    </a:lnTo>
                    <a:lnTo>
                      <a:pt x="2003" y="2033"/>
                    </a:lnTo>
                    <a:lnTo>
                      <a:pt x="1999" y="2035"/>
                    </a:lnTo>
                    <a:lnTo>
                      <a:pt x="1997" y="2033"/>
                    </a:lnTo>
                    <a:lnTo>
                      <a:pt x="1995" y="2031"/>
                    </a:lnTo>
                    <a:lnTo>
                      <a:pt x="1995" y="2035"/>
                    </a:lnTo>
                    <a:lnTo>
                      <a:pt x="1993" y="2033"/>
                    </a:lnTo>
                    <a:lnTo>
                      <a:pt x="1992" y="2033"/>
                    </a:lnTo>
                    <a:lnTo>
                      <a:pt x="1990" y="2033"/>
                    </a:lnTo>
                    <a:lnTo>
                      <a:pt x="1988" y="2029"/>
                    </a:lnTo>
                    <a:lnTo>
                      <a:pt x="1984" y="2029"/>
                    </a:lnTo>
                    <a:lnTo>
                      <a:pt x="1980" y="2027"/>
                    </a:lnTo>
                    <a:lnTo>
                      <a:pt x="1969" y="2027"/>
                    </a:lnTo>
                    <a:lnTo>
                      <a:pt x="1965" y="2035"/>
                    </a:lnTo>
                    <a:lnTo>
                      <a:pt x="1965" y="2040"/>
                    </a:lnTo>
                    <a:lnTo>
                      <a:pt x="1960" y="2042"/>
                    </a:lnTo>
                    <a:lnTo>
                      <a:pt x="1956" y="2042"/>
                    </a:lnTo>
                    <a:lnTo>
                      <a:pt x="1954" y="2042"/>
                    </a:lnTo>
                    <a:lnTo>
                      <a:pt x="1952" y="2042"/>
                    </a:lnTo>
                    <a:lnTo>
                      <a:pt x="1950" y="2044"/>
                    </a:lnTo>
                    <a:lnTo>
                      <a:pt x="1944" y="2046"/>
                    </a:lnTo>
                    <a:lnTo>
                      <a:pt x="1941" y="2037"/>
                    </a:lnTo>
                    <a:lnTo>
                      <a:pt x="1937" y="2035"/>
                    </a:lnTo>
                    <a:lnTo>
                      <a:pt x="1933" y="2023"/>
                    </a:lnTo>
                    <a:lnTo>
                      <a:pt x="1935" y="2022"/>
                    </a:lnTo>
                    <a:lnTo>
                      <a:pt x="1939" y="2016"/>
                    </a:lnTo>
                    <a:lnTo>
                      <a:pt x="1926" y="2016"/>
                    </a:lnTo>
                    <a:lnTo>
                      <a:pt x="1918" y="2016"/>
                    </a:lnTo>
                    <a:lnTo>
                      <a:pt x="1918" y="2020"/>
                    </a:lnTo>
                    <a:lnTo>
                      <a:pt x="1914" y="2029"/>
                    </a:lnTo>
                    <a:lnTo>
                      <a:pt x="1914" y="2033"/>
                    </a:lnTo>
                    <a:lnTo>
                      <a:pt x="1914" y="2037"/>
                    </a:lnTo>
                    <a:lnTo>
                      <a:pt x="1913" y="2037"/>
                    </a:lnTo>
                    <a:lnTo>
                      <a:pt x="1905" y="2042"/>
                    </a:lnTo>
                    <a:lnTo>
                      <a:pt x="1905" y="2044"/>
                    </a:lnTo>
                    <a:lnTo>
                      <a:pt x="1905" y="2048"/>
                    </a:lnTo>
                    <a:lnTo>
                      <a:pt x="1905" y="2050"/>
                    </a:lnTo>
                    <a:lnTo>
                      <a:pt x="1905" y="2052"/>
                    </a:lnTo>
                    <a:lnTo>
                      <a:pt x="1901" y="2054"/>
                    </a:lnTo>
                    <a:lnTo>
                      <a:pt x="1899" y="2055"/>
                    </a:lnTo>
                    <a:lnTo>
                      <a:pt x="1896" y="2055"/>
                    </a:lnTo>
                    <a:lnTo>
                      <a:pt x="1886" y="2039"/>
                    </a:lnTo>
                    <a:lnTo>
                      <a:pt x="1882" y="2039"/>
                    </a:lnTo>
                    <a:lnTo>
                      <a:pt x="1886" y="2035"/>
                    </a:lnTo>
                    <a:lnTo>
                      <a:pt x="1879" y="2033"/>
                    </a:lnTo>
                    <a:lnTo>
                      <a:pt x="1888" y="2023"/>
                    </a:lnTo>
                    <a:lnTo>
                      <a:pt x="1886" y="2020"/>
                    </a:lnTo>
                    <a:lnTo>
                      <a:pt x="1881" y="2018"/>
                    </a:lnTo>
                    <a:lnTo>
                      <a:pt x="1875" y="2016"/>
                    </a:lnTo>
                    <a:lnTo>
                      <a:pt x="1869" y="2014"/>
                    </a:lnTo>
                    <a:lnTo>
                      <a:pt x="1865" y="2012"/>
                    </a:lnTo>
                    <a:lnTo>
                      <a:pt x="1860" y="2001"/>
                    </a:lnTo>
                    <a:lnTo>
                      <a:pt x="1854" y="1999"/>
                    </a:lnTo>
                    <a:lnTo>
                      <a:pt x="1847" y="1999"/>
                    </a:lnTo>
                    <a:lnTo>
                      <a:pt x="1841" y="2001"/>
                    </a:lnTo>
                    <a:lnTo>
                      <a:pt x="1835" y="2003"/>
                    </a:lnTo>
                    <a:lnTo>
                      <a:pt x="1830" y="1999"/>
                    </a:lnTo>
                    <a:lnTo>
                      <a:pt x="1824" y="2003"/>
                    </a:lnTo>
                    <a:lnTo>
                      <a:pt x="1820" y="2008"/>
                    </a:lnTo>
                    <a:lnTo>
                      <a:pt x="1818" y="2010"/>
                    </a:lnTo>
                    <a:lnTo>
                      <a:pt x="1809" y="2012"/>
                    </a:lnTo>
                    <a:lnTo>
                      <a:pt x="1805" y="2016"/>
                    </a:lnTo>
                    <a:lnTo>
                      <a:pt x="1798" y="2016"/>
                    </a:lnTo>
                    <a:lnTo>
                      <a:pt x="1786" y="2012"/>
                    </a:lnTo>
                    <a:lnTo>
                      <a:pt x="1779" y="2008"/>
                    </a:lnTo>
                    <a:lnTo>
                      <a:pt x="1777" y="2007"/>
                    </a:lnTo>
                    <a:lnTo>
                      <a:pt x="1775" y="2014"/>
                    </a:lnTo>
                    <a:lnTo>
                      <a:pt x="1773" y="2014"/>
                    </a:lnTo>
                    <a:lnTo>
                      <a:pt x="1775" y="2018"/>
                    </a:lnTo>
                    <a:lnTo>
                      <a:pt x="1771" y="2018"/>
                    </a:lnTo>
                    <a:lnTo>
                      <a:pt x="1770" y="2020"/>
                    </a:lnTo>
                    <a:lnTo>
                      <a:pt x="1760" y="2018"/>
                    </a:lnTo>
                    <a:lnTo>
                      <a:pt x="1749" y="2023"/>
                    </a:lnTo>
                    <a:lnTo>
                      <a:pt x="1739" y="2037"/>
                    </a:lnTo>
                    <a:lnTo>
                      <a:pt x="1739" y="2039"/>
                    </a:lnTo>
                    <a:lnTo>
                      <a:pt x="1738" y="2050"/>
                    </a:lnTo>
                    <a:lnTo>
                      <a:pt x="1730" y="2059"/>
                    </a:lnTo>
                    <a:lnTo>
                      <a:pt x="1728" y="2061"/>
                    </a:lnTo>
                    <a:lnTo>
                      <a:pt x="1730" y="2067"/>
                    </a:lnTo>
                    <a:lnTo>
                      <a:pt x="1726" y="2071"/>
                    </a:lnTo>
                    <a:lnTo>
                      <a:pt x="1721" y="2076"/>
                    </a:lnTo>
                    <a:lnTo>
                      <a:pt x="1715" y="2080"/>
                    </a:lnTo>
                    <a:lnTo>
                      <a:pt x="1709" y="2086"/>
                    </a:lnTo>
                    <a:lnTo>
                      <a:pt x="1707" y="2087"/>
                    </a:lnTo>
                    <a:lnTo>
                      <a:pt x="1707" y="2089"/>
                    </a:lnTo>
                    <a:lnTo>
                      <a:pt x="1702" y="2093"/>
                    </a:lnTo>
                    <a:lnTo>
                      <a:pt x="1698" y="2093"/>
                    </a:lnTo>
                    <a:lnTo>
                      <a:pt x="1696" y="2099"/>
                    </a:lnTo>
                    <a:lnTo>
                      <a:pt x="1694" y="2097"/>
                    </a:lnTo>
                    <a:lnTo>
                      <a:pt x="1689" y="2091"/>
                    </a:lnTo>
                    <a:lnTo>
                      <a:pt x="1687" y="2091"/>
                    </a:lnTo>
                    <a:lnTo>
                      <a:pt x="1685" y="2086"/>
                    </a:lnTo>
                    <a:lnTo>
                      <a:pt x="1685" y="2078"/>
                    </a:lnTo>
                    <a:lnTo>
                      <a:pt x="1687" y="2072"/>
                    </a:lnTo>
                    <a:lnTo>
                      <a:pt x="1689" y="2072"/>
                    </a:lnTo>
                    <a:lnTo>
                      <a:pt x="1681" y="2069"/>
                    </a:lnTo>
                    <a:lnTo>
                      <a:pt x="1674" y="2065"/>
                    </a:lnTo>
                    <a:lnTo>
                      <a:pt x="1666" y="2063"/>
                    </a:lnTo>
                    <a:lnTo>
                      <a:pt x="1660" y="2063"/>
                    </a:lnTo>
                    <a:lnTo>
                      <a:pt x="1645" y="2067"/>
                    </a:lnTo>
                    <a:lnTo>
                      <a:pt x="1640" y="2063"/>
                    </a:lnTo>
                    <a:lnTo>
                      <a:pt x="1636" y="2050"/>
                    </a:lnTo>
                    <a:lnTo>
                      <a:pt x="1627" y="2055"/>
                    </a:lnTo>
                    <a:lnTo>
                      <a:pt x="1615" y="2061"/>
                    </a:lnTo>
                    <a:lnTo>
                      <a:pt x="1610" y="2054"/>
                    </a:lnTo>
                    <a:lnTo>
                      <a:pt x="1604" y="2044"/>
                    </a:lnTo>
                    <a:lnTo>
                      <a:pt x="1589" y="2050"/>
                    </a:lnTo>
                    <a:lnTo>
                      <a:pt x="1581" y="2052"/>
                    </a:lnTo>
                    <a:lnTo>
                      <a:pt x="1581" y="2050"/>
                    </a:lnTo>
                    <a:lnTo>
                      <a:pt x="1581" y="2048"/>
                    </a:lnTo>
                    <a:lnTo>
                      <a:pt x="1580" y="2048"/>
                    </a:lnTo>
                    <a:lnTo>
                      <a:pt x="1580" y="2050"/>
                    </a:lnTo>
                    <a:lnTo>
                      <a:pt x="1578" y="2050"/>
                    </a:lnTo>
                    <a:lnTo>
                      <a:pt x="1578" y="2052"/>
                    </a:lnTo>
                    <a:lnTo>
                      <a:pt x="1576" y="2052"/>
                    </a:lnTo>
                    <a:lnTo>
                      <a:pt x="1574" y="2052"/>
                    </a:lnTo>
                    <a:lnTo>
                      <a:pt x="1565" y="2046"/>
                    </a:lnTo>
                    <a:lnTo>
                      <a:pt x="1568" y="2035"/>
                    </a:lnTo>
                    <a:lnTo>
                      <a:pt x="1572" y="2027"/>
                    </a:lnTo>
                    <a:lnTo>
                      <a:pt x="1574" y="2022"/>
                    </a:lnTo>
                    <a:lnTo>
                      <a:pt x="1561" y="2018"/>
                    </a:lnTo>
                    <a:lnTo>
                      <a:pt x="1561" y="2014"/>
                    </a:lnTo>
                    <a:lnTo>
                      <a:pt x="1561" y="2010"/>
                    </a:lnTo>
                    <a:lnTo>
                      <a:pt x="1561" y="2008"/>
                    </a:lnTo>
                    <a:lnTo>
                      <a:pt x="1555" y="2007"/>
                    </a:lnTo>
                    <a:lnTo>
                      <a:pt x="1549" y="2007"/>
                    </a:lnTo>
                    <a:lnTo>
                      <a:pt x="1544" y="2005"/>
                    </a:lnTo>
                    <a:lnTo>
                      <a:pt x="1542" y="2005"/>
                    </a:lnTo>
                    <a:lnTo>
                      <a:pt x="1527" y="1995"/>
                    </a:lnTo>
                    <a:lnTo>
                      <a:pt x="1506" y="1986"/>
                    </a:lnTo>
                    <a:lnTo>
                      <a:pt x="1504" y="1984"/>
                    </a:lnTo>
                    <a:lnTo>
                      <a:pt x="1495" y="1980"/>
                    </a:lnTo>
                    <a:lnTo>
                      <a:pt x="1486" y="1982"/>
                    </a:lnTo>
                    <a:lnTo>
                      <a:pt x="1482" y="2003"/>
                    </a:lnTo>
                    <a:lnTo>
                      <a:pt x="1480" y="2005"/>
                    </a:lnTo>
                    <a:lnTo>
                      <a:pt x="1476" y="2016"/>
                    </a:lnTo>
                    <a:lnTo>
                      <a:pt x="1472" y="2023"/>
                    </a:lnTo>
                    <a:lnTo>
                      <a:pt x="1469" y="2033"/>
                    </a:lnTo>
                    <a:lnTo>
                      <a:pt x="1469" y="2042"/>
                    </a:lnTo>
                    <a:lnTo>
                      <a:pt x="1457" y="2048"/>
                    </a:lnTo>
                    <a:lnTo>
                      <a:pt x="1461" y="2050"/>
                    </a:lnTo>
                    <a:lnTo>
                      <a:pt x="1461" y="2052"/>
                    </a:lnTo>
                    <a:lnTo>
                      <a:pt x="1459" y="2072"/>
                    </a:lnTo>
                    <a:lnTo>
                      <a:pt x="1450" y="2071"/>
                    </a:lnTo>
                    <a:lnTo>
                      <a:pt x="1446" y="2063"/>
                    </a:lnTo>
                    <a:lnTo>
                      <a:pt x="1437" y="2061"/>
                    </a:lnTo>
                    <a:lnTo>
                      <a:pt x="1437" y="2063"/>
                    </a:lnTo>
                    <a:lnTo>
                      <a:pt x="1437" y="2065"/>
                    </a:lnTo>
                    <a:lnTo>
                      <a:pt x="1437" y="2067"/>
                    </a:lnTo>
                    <a:lnTo>
                      <a:pt x="1439" y="2067"/>
                    </a:lnTo>
                    <a:lnTo>
                      <a:pt x="1439" y="2069"/>
                    </a:lnTo>
                    <a:lnTo>
                      <a:pt x="1439" y="2071"/>
                    </a:lnTo>
                    <a:lnTo>
                      <a:pt x="1440" y="2071"/>
                    </a:lnTo>
                    <a:lnTo>
                      <a:pt x="1440" y="2072"/>
                    </a:lnTo>
                    <a:lnTo>
                      <a:pt x="1442" y="2072"/>
                    </a:lnTo>
                    <a:lnTo>
                      <a:pt x="1442" y="2074"/>
                    </a:lnTo>
                    <a:lnTo>
                      <a:pt x="1442" y="2082"/>
                    </a:lnTo>
                    <a:lnTo>
                      <a:pt x="1435" y="2086"/>
                    </a:lnTo>
                    <a:lnTo>
                      <a:pt x="1439" y="2097"/>
                    </a:lnTo>
                    <a:lnTo>
                      <a:pt x="1440" y="2104"/>
                    </a:lnTo>
                    <a:lnTo>
                      <a:pt x="1435" y="2110"/>
                    </a:lnTo>
                    <a:lnTo>
                      <a:pt x="1440" y="2118"/>
                    </a:lnTo>
                    <a:lnTo>
                      <a:pt x="1450" y="2123"/>
                    </a:lnTo>
                    <a:lnTo>
                      <a:pt x="1446" y="2127"/>
                    </a:lnTo>
                    <a:lnTo>
                      <a:pt x="1439" y="2150"/>
                    </a:lnTo>
                    <a:lnTo>
                      <a:pt x="1433" y="2129"/>
                    </a:lnTo>
                    <a:lnTo>
                      <a:pt x="1420" y="2138"/>
                    </a:lnTo>
                    <a:lnTo>
                      <a:pt x="1416" y="2157"/>
                    </a:lnTo>
                    <a:lnTo>
                      <a:pt x="1416" y="2167"/>
                    </a:lnTo>
                    <a:lnTo>
                      <a:pt x="1414" y="2167"/>
                    </a:lnTo>
                    <a:lnTo>
                      <a:pt x="1408" y="2170"/>
                    </a:lnTo>
                    <a:lnTo>
                      <a:pt x="1399" y="2172"/>
                    </a:lnTo>
                    <a:lnTo>
                      <a:pt x="1397" y="2183"/>
                    </a:lnTo>
                    <a:lnTo>
                      <a:pt x="1391" y="2182"/>
                    </a:lnTo>
                    <a:lnTo>
                      <a:pt x="1391" y="2185"/>
                    </a:lnTo>
                    <a:lnTo>
                      <a:pt x="1391" y="2187"/>
                    </a:lnTo>
                    <a:lnTo>
                      <a:pt x="1384" y="2187"/>
                    </a:lnTo>
                    <a:lnTo>
                      <a:pt x="1378" y="2187"/>
                    </a:lnTo>
                    <a:lnTo>
                      <a:pt x="1363" y="2182"/>
                    </a:lnTo>
                    <a:lnTo>
                      <a:pt x="1360" y="2180"/>
                    </a:lnTo>
                    <a:lnTo>
                      <a:pt x="1358" y="2176"/>
                    </a:lnTo>
                    <a:lnTo>
                      <a:pt x="1358" y="2172"/>
                    </a:lnTo>
                    <a:lnTo>
                      <a:pt x="1354" y="2172"/>
                    </a:lnTo>
                    <a:lnTo>
                      <a:pt x="1352" y="2172"/>
                    </a:lnTo>
                    <a:lnTo>
                      <a:pt x="1348" y="2167"/>
                    </a:lnTo>
                    <a:lnTo>
                      <a:pt x="1344" y="2170"/>
                    </a:lnTo>
                    <a:lnTo>
                      <a:pt x="1343" y="2172"/>
                    </a:lnTo>
                    <a:lnTo>
                      <a:pt x="1341" y="2174"/>
                    </a:lnTo>
                    <a:lnTo>
                      <a:pt x="1337" y="2180"/>
                    </a:lnTo>
                    <a:lnTo>
                      <a:pt x="1333" y="2178"/>
                    </a:lnTo>
                    <a:lnTo>
                      <a:pt x="1331" y="2174"/>
                    </a:lnTo>
                    <a:lnTo>
                      <a:pt x="1326" y="2168"/>
                    </a:lnTo>
                    <a:lnTo>
                      <a:pt x="1320" y="2168"/>
                    </a:lnTo>
                    <a:lnTo>
                      <a:pt x="1316" y="2168"/>
                    </a:lnTo>
                    <a:lnTo>
                      <a:pt x="1312" y="2170"/>
                    </a:lnTo>
                    <a:lnTo>
                      <a:pt x="1309" y="2172"/>
                    </a:lnTo>
                    <a:lnTo>
                      <a:pt x="1301" y="2174"/>
                    </a:lnTo>
                    <a:lnTo>
                      <a:pt x="1297" y="2174"/>
                    </a:lnTo>
                    <a:lnTo>
                      <a:pt x="1299" y="2180"/>
                    </a:lnTo>
                    <a:lnTo>
                      <a:pt x="1301" y="2193"/>
                    </a:lnTo>
                    <a:lnTo>
                      <a:pt x="1303" y="2200"/>
                    </a:lnTo>
                    <a:lnTo>
                      <a:pt x="1301" y="2204"/>
                    </a:lnTo>
                    <a:lnTo>
                      <a:pt x="1294" y="2206"/>
                    </a:lnTo>
                    <a:lnTo>
                      <a:pt x="1288" y="2206"/>
                    </a:lnTo>
                    <a:lnTo>
                      <a:pt x="1282" y="2204"/>
                    </a:lnTo>
                    <a:lnTo>
                      <a:pt x="1282" y="2206"/>
                    </a:lnTo>
                    <a:lnTo>
                      <a:pt x="1273" y="2212"/>
                    </a:lnTo>
                    <a:lnTo>
                      <a:pt x="1271" y="2217"/>
                    </a:lnTo>
                    <a:lnTo>
                      <a:pt x="1265" y="2215"/>
                    </a:lnTo>
                    <a:lnTo>
                      <a:pt x="1250" y="2223"/>
                    </a:lnTo>
                    <a:lnTo>
                      <a:pt x="1237" y="2219"/>
                    </a:lnTo>
                    <a:lnTo>
                      <a:pt x="1237" y="2227"/>
                    </a:lnTo>
                    <a:lnTo>
                      <a:pt x="1232" y="2238"/>
                    </a:lnTo>
                    <a:lnTo>
                      <a:pt x="1230" y="2240"/>
                    </a:lnTo>
                    <a:lnTo>
                      <a:pt x="1220" y="2244"/>
                    </a:lnTo>
                    <a:lnTo>
                      <a:pt x="1211" y="2255"/>
                    </a:lnTo>
                    <a:lnTo>
                      <a:pt x="1209" y="2257"/>
                    </a:lnTo>
                    <a:lnTo>
                      <a:pt x="1207" y="2257"/>
                    </a:lnTo>
                    <a:lnTo>
                      <a:pt x="1207" y="2259"/>
                    </a:lnTo>
                    <a:lnTo>
                      <a:pt x="1196" y="2283"/>
                    </a:lnTo>
                    <a:lnTo>
                      <a:pt x="1202" y="2295"/>
                    </a:lnTo>
                    <a:lnTo>
                      <a:pt x="1190" y="2300"/>
                    </a:lnTo>
                    <a:lnTo>
                      <a:pt x="1185" y="2302"/>
                    </a:lnTo>
                    <a:lnTo>
                      <a:pt x="1175" y="2302"/>
                    </a:lnTo>
                    <a:lnTo>
                      <a:pt x="1170" y="2300"/>
                    </a:lnTo>
                    <a:lnTo>
                      <a:pt x="1151" y="2298"/>
                    </a:lnTo>
                    <a:lnTo>
                      <a:pt x="1121" y="2306"/>
                    </a:lnTo>
                    <a:lnTo>
                      <a:pt x="1115" y="2315"/>
                    </a:lnTo>
                    <a:lnTo>
                      <a:pt x="1107" y="2319"/>
                    </a:lnTo>
                    <a:lnTo>
                      <a:pt x="1107" y="2327"/>
                    </a:lnTo>
                    <a:lnTo>
                      <a:pt x="1111" y="2332"/>
                    </a:lnTo>
                    <a:lnTo>
                      <a:pt x="1117" y="2342"/>
                    </a:lnTo>
                    <a:lnTo>
                      <a:pt x="1117" y="2353"/>
                    </a:lnTo>
                    <a:lnTo>
                      <a:pt x="1115" y="2359"/>
                    </a:lnTo>
                    <a:lnTo>
                      <a:pt x="1113" y="2364"/>
                    </a:lnTo>
                    <a:lnTo>
                      <a:pt x="1109" y="2376"/>
                    </a:lnTo>
                    <a:lnTo>
                      <a:pt x="1094" y="2381"/>
                    </a:lnTo>
                    <a:lnTo>
                      <a:pt x="1092" y="2391"/>
                    </a:lnTo>
                    <a:lnTo>
                      <a:pt x="1089" y="2391"/>
                    </a:lnTo>
                    <a:lnTo>
                      <a:pt x="1074" y="2387"/>
                    </a:lnTo>
                    <a:lnTo>
                      <a:pt x="1072" y="2387"/>
                    </a:lnTo>
                    <a:lnTo>
                      <a:pt x="1064" y="2391"/>
                    </a:lnTo>
                    <a:lnTo>
                      <a:pt x="1057" y="2391"/>
                    </a:lnTo>
                    <a:lnTo>
                      <a:pt x="1057" y="2385"/>
                    </a:lnTo>
                    <a:lnTo>
                      <a:pt x="1049" y="2372"/>
                    </a:lnTo>
                    <a:lnTo>
                      <a:pt x="1047" y="2372"/>
                    </a:lnTo>
                    <a:lnTo>
                      <a:pt x="1032" y="2391"/>
                    </a:lnTo>
                    <a:lnTo>
                      <a:pt x="1017" y="2389"/>
                    </a:lnTo>
                    <a:lnTo>
                      <a:pt x="1002" y="2377"/>
                    </a:lnTo>
                    <a:lnTo>
                      <a:pt x="998" y="2381"/>
                    </a:lnTo>
                    <a:lnTo>
                      <a:pt x="998" y="2374"/>
                    </a:lnTo>
                    <a:lnTo>
                      <a:pt x="996" y="2366"/>
                    </a:lnTo>
                    <a:lnTo>
                      <a:pt x="993" y="2364"/>
                    </a:lnTo>
                    <a:lnTo>
                      <a:pt x="989" y="2360"/>
                    </a:lnTo>
                    <a:lnTo>
                      <a:pt x="981" y="2349"/>
                    </a:lnTo>
                    <a:lnTo>
                      <a:pt x="970" y="2347"/>
                    </a:lnTo>
                    <a:lnTo>
                      <a:pt x="961" y="2342"/>
                    </a:lnTo>
                    <a:lnTo>
                      <a:pt x="953" y="2332"/>
                    </a:lnTo>
                    <a:lnTo>
                      <a:pt x="953" y="2311"/>
                    </a:lnTo>
                    <a:lnTo>
                      <a:pt x="951" y="2306"/>
                    </a:lnTo>
                    <a:lnTo>
                      <a:pt x="942" y="2300"/>
                    </a:lnTo>
                    <a:lnTo>
                      <a:pt x="940" y="2289"/>
                    </a:lnTo>
                    <a:lnTo>
                      <a:pt x="934" y="2278"/>
                    </a:lnTo>
                    <a:lnTo>
                      <a:pt x="936" y="2274"/>
                    </a:lnTo>
                    <a:lnTo>
                      <a:pt x="931" y="2257"/>
                    </a:lnTo>
                    <a:lnTo>
                      <a:pt x="929" y="2249"/>
                    </a:lnTo>
                    <a:lnTo>
                      <a:pt x="929" y="2244"/>
                    </a:lnTo>
                    <a:lnTo>
                      <a:pt x="925" y="2225"/>
                    </a:lnTo>
                    <a:lnTo>
                      <a:pt x="927" y="2225"/>
                    </a:lnTo>
                    <a:lnTo>
                      <a:pt x="938" y="2231"/>
                    </a:lnTo>
                    <a:lnTo>
                      <a:pt x="938" y="2232"/>
                    </a:lnTo>
                    <a:lnTo>
                      <a:pt x="944" y="2225"/>
                    </a:lnTo>
                    <a:lnTo>
                      <a:pt x="948" y="2221"/>
                    </a:lnTo>
                    <a:lnTo>
                      <a:pt x="949" y="2219"/>
                    </a:lnTo>
                    <a:lnTo>
                      <a:pt x="948" y="2210"/>
                    </a:lnTo>
                    <a:lnTo>
                      <a:pt x="961" y="2197"/>
                    </a:lnTo>
                    <a:lnTo>
                      <a:pt x="970" y="2199"/>
                    </a:lnTo>
                    <a:lnTo>
                      <a:pt x="968" y="2189"/>
                    </a:lnTo>
                    <a:lnTo>
                      <a:pt x="968" y="2187"/>
                    </a:lnTo>
                    <a:lnTo>
                      <a:pt x="968" y="2182"/>
                    </a:lnTo>
                    <a:lnTo>
                      <a:pt x="966" y="2174"/>
                    </a:lnTo>
                    <a:lnTo>
                      <a:pt x="966" y="2172"/>
                    </a:lnTo>
                    <a:lnTo>
                      <a:pt x="948" y="2174"/>
                    </a:lnTo>
                    <a:lnTo>
                      <a:pt x="951" y="2161"/>
                    </a:lnTo>
                    <a:lnTo>
                      <a:pt x="948" y="2161"/>
                    </a:lnTo>
                    <a:lnTo>
                      <a:pt x="944" y="2161"/>
                    </a:lnTo>
                    <a:lnTo>
                      <a:pt x="940" y="2163"/>
                    </a:lnTo>
                    <a:lnTo>
                      <a:pt x="938" y="2165"/>
                    </a:lnTo>
                    <a:lnTo>
                      <a:pt x="936" y="2167"/>
                    </a:lnTo>
                    <a:lnTo>
                      <a:pt x="934" y="2168"/>
                    </a:lnTo>
                    <a:lnTo>
                      <a:pt x="933" y="2172"/>
                    </a:lnTo>
                    <a:lnTo>
                      <a:pt x="933" y="2174"/>
                    </a:lnTo>
                    <a:lnTo>
                      <a:pt x="933" y="2176"/>
                    </a:lnTo>
                    <a:lnTo>
                      <a:pt x="931" y="2178"/>
                    </a:lnTo>
                    <a:lnTo>
                      <a:pt x="931" y="2180"/>
                    </a:lnTo>
                    <a:lnTo>
                      <a:pt x="927" y="2180"/>
                    </a:lnTo>
                    <a:lnTo>
                      <a:pt x="919" y="2182"/>
                    </a:lnTo>
                    <a:lnTo>
                      <a:pt x="916" y="2191"/>
                    </a:lnTo>
                    <a:lnTo>
                      <a:pt x="916" y="2195"/>
                    </a:lnTo>
                    <a:lnTo>
                      <a:pt x="908" y="2200"/>
                    </a:lnTo>
                    <a:lnTo>
                      <a:pt x="906" y="2204"/>
                    </a:lnTo>
                    <a:lnTo>
                      <a:pt x="902" y="2206"/>
                    </a:lnTo>
                    <a:lnTo>
                      <a:pt x="897" y="2210"/>
                    </a:lnTo>
                    <a:lnTo>
                      <a:pt x="897" y="2212"/>
                    </a:lnTo>
                    <a:lnTo>
                      <a:pt x="889" y="2219"/>
                    </a:lnTo>
                    <a:lnTo>
                      <a:pt x="874" y="2219"/>
                    </a:lnTo>
                    <a:lnTo>
                      <a:pt x="872" y="2221"/>
                    </a:lnTo>
                    <a:lnTo>
                      <a:pt x="867" y="2215"/>
                    </a:lnTo>
                    <a:lnTo>
                      <a:pt x="859" y="2214"/>
                    </a:lnTo>
                    <a:lnTo>
                      <a:pt x="855" y="2223"/>
                    </a:lnTo>
                    <a:lnTo>
                      <a:pt x="844" y="2229"/>
                    </a:lnTo>
                    <a:lnTo>
                      <a:pt x="838" y="2221"/>
                    </a:lnTo>
                    <a:lnTo>
                      <a:pt x="837" y="2225"/>
                    </a:lnTo>
                    <a:lnTo>
                      <a:pt x="837" y="2229"/>
                    </a:lnTo>
                    <a:lnTo>
                      <a:pt x="831" y="2232"/>
                    </a:lnTo>
                    <a:lnTo>
                      <a:pt x="837" y="2238"/>
                    </a:lnTo>
                    <a:lnTo>
                      <a:pt x="835" y="2238"/>
                    </a:lnTo>
                    <a:lnTo>
                      <a:pt x="829" y="2242"/>
                    </a:lnTo>
                    <a:lnTo>
                      <a:pt x="823" y="2246"/>
                    </a:lnTo>
                    <a:lnTo>
                      <a:pt x="820" y="2242"/>
                    </a:lnTo>
                    <a:lnTo>
                      <a:pt x="818" y="2238"/>
                    </a:lnTo>
                    <a:lnTo>
                      <a:pt x="816" y="2238"/>
                    </a:lnTo>
                    <a:lnTo>
                      <a:pt x="808" y="2247"/>
                    </a:lnTo>
                    <a:lnTo>
                      <a:pt x="808" y="2253"/>
                    </a:lnTo>
                    <a:lnTo>
                      <a:pt x="810" y="2257"/>
                    </a:lnTo>
                    <a:lnTo>
                      <a:pt x="807" y="2263"/>
                    </a:lnTo>
                    <a:lnTo>
                      <a:pt x="807" y="2264"/>
                    </a:lnTo>
                    <a:lnTo>
                      <a:pt x="805" y="2270"/>
                    </a:lnTo>
                    <a:lnTo>
                      <a:pt x="805" y="2274"/>
                    </a:lnTo>
                    <a:lnTo>
                      <a:pt x="807" y="2276"/>
                    </a:lnTo>
                    <a:lnTo>
                      <a:pt x="805" y="2287"/>
                    </a:lnTo>
                    <a:lnTo>
                      <a:pt x="805" y="2295"/>
                    </a:lnTo>
                    <a:lnTo>
                      <a:pt x="801" y="2298"/>
                    </a:lnTo>
                    <a:lnTo>
                      <a:pt x="799" y="2300"/>
                    </a:lnTo>
                    <a:lnTo>
                      <a:pt x="784" y="2308"/>
                    </a:lnTo>
                    <a:lnTo>
                      <a:pt x="780" y="2298"/>
                    </a:lnTo>
                    <a:lnTo>
                      <a:pt x="776" y="2289"/>
                    </a:lnTo>
                    <a:lnTo>
                      <a:pt x="775" y="2276"/>
                    </a:lnTo>
                    <a:lnTo>
                      <a:pt x="776" y="2255"/>
                    </a:lnTo>
                    <a:lnTo>
                      <a:pt x="782" y="2251"/>
                    </a:lnTo>
                    <a:lnTo>
                      <a:pt x="780" y="2251"/>
                    </a:lnTo>
                    <a:lnTo>
                      <a:pt x="780" y="2249"/>
                    </a:lnTo>
                    <a:lnTo>
                      <a:pt x="780" y="2247"/>
                    </a:lnTo>
                    <a:lnTo>
                      <a:pt x="778" y="2247"/>
                    </a:lnTo>
                    <a:lnTo>
                      <a:pt x="776" y="2247"/>
                    </a:lnTo>
                    <a:lnTo>
                      <a:pt x="775" y="2246"/>
                    </a:lnTo>
                    <a:lnTo>
                      <a:pt x="775" y="2244"/>
                    </a:lnTo>
                    <a:lnTo>
                      <a:pt x="775" y="2242"/>
                    </a:lnTo>
                    <a:lnTo>
                      <a:pt x="773" y="2242"/>
                    </a:lnTo>
                    <a:lnTo>
                      <a:pt x="773" y="2240"/>
                    </a:lnTo>
                    <a:lnTo>
                      <a:pt x="773" y="2238"/>
                    </a:lnTo>
                    <a:lnTo>
                      <a:pt x="771" y="2238"/>
                    </a:lnTo>
                    <a:lnTo>
                      <a:pt x="771" y="2236"/>
                    </a:lnTo>
                    <a:lnTo>
                      <a:pt x="771" y="2234"/>
                    </a:lnTo>
                    <a:lnTo>
                      <a:pt x="771" y="2232"/>
                    </a:lnTo>
                    <a:lnTo>
                      <a:pt x="769" y="2232"/>
                    </a:lnTo>
                    <a:lnTo>
                      <a:pt x="769" y="2231"/>
                    </a:lnTo>
                    <a:lnTo>
                      <a:pt x="767" y="2229"/>
                    </a:lnTo>
                    <a:lnTo>
                      <a:pt x="767" y="2227"/>
                    </a:lnTo>
                    <a:lnTo>
                      <a:pt x="765" y="2225"/>
                    </a:lnTo>
                    <a:lnTo>
                      <a:pt x="765" y="2223"/>
                    </a:lnTo>
                    <a:lnTo>
                      <a:pt x="763" y="2223"/>
                    </a:lnTo>
                    <a:lnTo>
                      <a:pt x="763" y="2221"/>
                    </a:lnTo>
                    <a:lnTo>
                      <a:pt x="761" y="2221"/>
                    </a:lnTo>
                    <a:lnTo>
                      <a:pt x="761" y="2219"/>
                    </a:lnTo>
                    <a:lnTo>
                      <a:pt x="761" y="2217"/>
                    </a:lnTo>
                    <a:lnTo>
                      <a:pt x="761" y="2215"/>
                    </a:lnTo>
                    <a:lnTo>
                      <a:pt x="759" y="2215"/>
                    </a:lnTo>
                    <a:lnTo>
                      <a:pt x="754" y="2193"/>
                    </a:lnTo>
                    <a:lnTo>
                      <a:pt x="775" y="2182"/>
                    </a:lnTo>
                    <a:lnTo>
                      <a:pt x="775" y="2180"/>
                    </a:lnTo>
                    <a:lnTo>
                      <a:pt x="776" y="2178"/>
                    </a:lnTo>
                    <a:lnTo>
                      <a:pt x="775" y="2178"/>
                    </a:lnTo>
                    <a:lnTo>
                      <a:pt x="775" y="2176"/>
                    </a:lnTo>
                    <a:lnTo>
                      <a:pt x="775" y="2174"/>
                    </a:lnTo>
                    <a:lnTo>
                      <a:pt x="775" y="2172"/>
                    </a:lnTo>
                    <a:lnTo>
                      <a:pt x="776" y="2172"/>
                    </a:lnTo>
                    <a:lnTo>
                      <a:pt x="776" y="2170"/>
                    </a:lnTo>
                    <a:lnTo>
                      <a:pt x="776" y="2168"/>
                    </a:lnTo>
                    <a:lnTo>
                      <a:pt x="778" y="2167"/>
                    </a:lnTo>
                    <a:lnTo>
                      <a:pt x="776" y="2165"/>
                    </a:lnTo>
                    <a:lnTo>
                      <a:pt x="776" y="2163"/>
                    </a:lnTo>
                    <a:lnTo>
                      <a:pt x="778" y="2159"/>
                    </a:lnTo>
                    <a:lnTo>
                      <a:pt x="775" y="2153"/>
                    </a:lnTo>
                    <a:lnTo>
                      <a:pt x="773" y="2155"/>
                    </a:lnTo>
                    <a:lnTo>
                      <a:pt x="773" y="2153"/>
                    </a:lnTo>
                    <a:lnTo>
                      <a:pt x="771" y="2150"/>
                    </a:lnTo>
                    <a:lnTo>
                      <a:pt x="775" y="2146"/>
                    </a:lnTo>
                    <a:lnTo>
                      <a:pt x="775" y="2144"/>
                    </a:lnTo>
                    <a:lnTo>
                      <a:pt x="780" y="2142"/>
                    </a:lnTo>
                    <a:lnTo>
                      <a:pt x="782" y="2140"/>
                    </a:lnTo>
                    <a:lnTo>
                      <a:pt x="780" y="2131"/>
                    </a:lnTo>
                    <a:lnTo>
                      <a:pt x="775" y="2142"/>
                    </a:lnTo>
                    <a:lnTo>
                      <a:pt x="775" y="2140"/>
                    </a:lnTo>
                    <a:lnTo>
                      <a:pt x="773" y="2138"/>
                    </a:lnTo>
                    <a:lnTo>
                      <a:pt x="775" y="2133"/>
                    </a:lnTo>
                    <a:lnTo>
                      <a:pt x="775" y="2131"/>
                    </a:lnTo>
                    <a:lnTo>
                      <a:pt x="775" y="2129"/>
                    </a:lnTo>
                    <a:lnTo>
                      <a:pt x="775" y="2127"/>
                    </a:lnTo>
                    <a:lnTo>
                      <a:pt x="773" y="2127"/>
                    </a:lnTo>
                    <a:lnTo>
                      <a:pt x="771" y="2127"/>
                    </a:lnTo>
                    <a:lnTo>
                      <a:pt x="769" y="2127"/>
                    </a:lnTo>
                    <a:lnTo>
                      <a:pt x="763" y="2119"/>
                    </a:lnTo>
                    <a:lnTo>
                      <a:pt x="758" y="2114"/>
                    </a:lnTo>
                    <a:lnTo>
                      <a:pt x="750" y="2110"/>
                    </a:lnTo>
                    <a:lnTo>
                      <a:pt x="746" y="2116"/>
                    </a:lnTo>
                    <a:lnTo>
                      <a:pt x="743" y="2118"/>
                    </a:lnTo>
                    <a:lnTo>
                      <a:pt x="741" y="2114"/>
                    </a:lnTo>
                    <a:lnTo>
                      <a:pt x="733" y="2108"/>
                    </a:lnTo>
                    <a:lnTo>
                      <a:pt x="733" y="2101"/>
                    </a:lnTo>
                    <a:lnTo>
                      <a:pt x="724" y="2095"/>
                    </a:lnTo>
                    <a:lnTo>
                      <a:pt x="720" y="2099"/>
                    </a:lnTo>
                    <a:lnTo>
                      <a:pt x="718" y="2095"/>
                    </a:lnTo>
                    <a:lnTo>
                      <a:pt x="722" y="2082"/>
                    </a:lnTo>
                    <a:lnTo>
                      <a:pt x="724" y="2063"/>
                    </a:lnTo>
                    <a:lnTo>
                      <a:pt x="714" y="2076"/>
                    </a:lnTo>
                    <a:lnTo>
                      <a:pt x="712" y="2078"/>
                    </a:lnTo>
                    <a:lnTo>
                      <a:pt x="703" y="2089"/>
                    </a:lnTo>
                    <a:lnTo>
                      <a:pt x="701" y="2076"/>
                    </a:lnTo>
                    <a:lnTo>
                      <a:pt x="696" y="2076"/>
                    </a:lnTo>
                    <a:lnTo>
                      <a:pt x="694" y="2078"/>
                    </a:lnTo>
                    <a:lnTo>
                      <a:pt x="692" y="2076"/>
                    </a:lnTo>
                    <a:lnTo>
                      <a:pt x="690" y="2074"/>
                    </a:lnTo>
                    <a:lnTo>
                      <a:pt x="688" y="2074"/>
                    </a:lnTo>
                    <a:lnTo>
                      <a:pt x="688" y="2076"/>
                    </a:lnTo>
                    <a:lnTo>
                      <a:pt x="686" y="2078"/>
                    </a:lnTo>
                    <a:lnTo>
                      <a:pt x="684" y="2078"/>
                    </a:lnTo>
                    <a:lnTo>
                      <a:pt x="684" y="2076"/>
                    </a:lnTo>
                    <a:lnTo>
                      <a:pt x="682" y="2076"/>
                    </a:lnTo>
                    <a:lnTo>
                      <a:pt x="680" y="2076"/>
                    </a:lnTo>
                    <a:lnTo>
                      <a:pt x="679" y="2076"/>
                    </a:lnTo>
                    <a:lnTo>
                      <a:pt x="679" y="2074"/>
                    </a:lnTo>
                    <a:lnTo>
                      <a:pt x="677" y="2074"/>
                    </a:lnTo>
                    <a:lnTo>
                      <a:pt x="675" y="2074"/>
                    </a:lnTo>
                    <a:lnTo>
                      <a:pt x="675" y="2072"/>
                    </a:lnTo>
                    <a:lnTo>
                      <a:pt x="673" y="2072"/>
                    </a:lnTo>
                    <a:lnTo>
                      <a:pt x="671" y="2072"/>
                    </a:lnTo>
                    <a:lnTo>
                      <a:pt x="671" y="2071"/>
                    </a:lnTo>
                    <a:lnTo>
                      <a:pt x="669" y="2071"/>
                    </a:lnTo>
                    <a:lnTo>
                      <a:pt x="667" y="2071"/>
                    </a:lnTo>
                    <a:lnTo>
                      <a:pt x="665" y="2069"/>
                    </a:lnTo>
                    <a:lnTo>
                      <a:pt x="664" y="2069"/>
                    </a:lnTo>
                    <a:lnTo>
                      <a:pt x="662" y="2069"/>
                    </a:lnTo>
                    <a:lnTo>
                      <a:pt x="660" y="2069"/>
                    </a:lnTo>
                    <a:lnTo>
                      <a:pt x="660" y="2067"/>
                    </a:lnTo>
                    <a:lnTo>
                      <a:pt x="658" y="2067"/>
                    </a:lnTo>
                    <a:lnTo>
                      <a:pt x="656" y="2067"/>
                    </a:lnTo>
                    <a:lnTo>
                      <a:pt x="656" y="2065"/>
                    </a:lnTo>
                    <a:lnTo>
                      <a:pt x="658" y="2065"/>
                    </a:lnTo>
                    <a:lnTo>
                      <a:pt x="658" y="2063"/>
                    </a:lnTo>
                    <a:lnTo>
                      <a:pt x="658" y="2061"/>
                    </a:lnTo>
                    <a:lnTo>
                      <a:pt x="658" y="2059"/>
                    </a:lnTo>
                    <a:lnTo>
                      <a:pt x="658" y="2057"/>
                    </a:lnTo>
                    <a:lnTo>
                      <a:pt x="656" y="2057"/>
                    </a:lnTo>
                    <a:lnTo>
                      <a:pt x="658" y="2057"/>
                    </a:lnTo>
                    <a:lnTo>
                      <a:pt x="658" y="2055"/>
                    </a:lnTo>
                    <a:lnTo>
                      <a:pt x="658" y="2054"/>
                    </a:lnTo>
                    <a:lnTo>
                      <a:pt x="660" y="2054"/>
                    </a:lnTo>
                    <a:lnTo>
                      <a:pt x="662" y="2054"/>
                    </a:lnTo>
                    <a:lnTo>
                      <a:pt x="662" y="2052"/>
                    </a:lnTo>
                    <a:lnTo>
                      <a:pt x="664" y="2052"/>
                    </a:lnTo>
                    <a:lnTo>
                      <a:pt x="664" y="2050"/>
                    </a:lnTo>
                    <a:lnTo>
                      <a:pt x="665" y="2050"/>
                    </a:lnTo>
                    <a:lnTo>
                      <a:pt x="665" y="2048"/>
                    </a:lnTo>
                    <a:lnTo>
                      <a:pt x="667" y="2048"/>
                    </a:lnTo>
                    <a:lnTo>
                      <a:pt x="667" y="2046"/>
                    </a:lnTo>
                    <a:lnTo>
                      <a:pt x="669" y="2046"/>
                    </a:lnTo>
                    <a:lnTo>
                      <a:pt x="669" y="2044"/>
                    </a:lnTo>
                    <a:lnTo>
                      <a:pt x="669" y="2042"/>
                    </a:lnTo>
                    <a:lnTo>
                      <a:pt x="671" y="2042"/>
                    </a:lnTo>
                    <a:lnTo>
                      <a:pt x="671" y="2040"/>
                    </a:lnTo>
                    <a:lnTo>
                      <a:pt x="669" y="2040"/>
                    </a:lnTo>
                    <a:lnTo>
                      <a:pt x="669" y="2039"/>
                    </a:lnTo>
                    <a:lnTo>
                      <a:pt x="667" y="2039"/>
                    </a:lnTo>
                    <a:lnTo>
                      <a:pt x="667" y="2040"/>
                    </a:lnTo>
                    <a:lnTo>
                      <a:pt x="667" y="2039"/>
                    </a:lnTo>
                    <a:lnTo>
                      <a:pt x="665" y="2039"/>
                    </a:lnTo>
                    <a:lnTo>
                      <a:pt x="665" y="2037"/>
                    </a:lnTo>
                    <a:lnTo>
                      <a:pt x="667" y="2037"/>
                    </a:lnTo>
                    <a:lnTo>
                      <a:pt x="667" y="2035"/>
                    </a:lnTo>
                    <a:lnTo>
                      <a:pt x="667" y="2033"/>
                    </a:lnTo>
                    <a:lnTo>
                      <a:pt x="669" y="2033"/>
                    </a:lnTo>
                    <a:lnTo>
                      <a:pt x="671" y="2033"/>
                    </a:lnTo>
                    <a:lnTo>
                      <a:pt x="673" y="2033"/>
                    </a:lnTo>
                    <a:lnTo>
                      <a:pt x="673" y="2029"/>
                    </a:lnTo>
                    <a:lnTo>
                      <a:pt x="671" y="2025"/>
                    </a:lnTo>
                    <a:lnTo>
                      <a:pt x="671" y="2023"/>
                    </a:lnTo>
                    <a:lnTo>
                      <a:pt x="669" y="2020"/>
                    </a:lnTo>
                    <a:lnTo>
                      <a:pt x="665" y="2016"/>
                    </a:lnTo>
                    <a:lnTo>
                      <a:pt x="664" y="2010"/>
                    </a:lnTo>
                    <a:lnTo>
                      <a:pt x="664" y="2005"/>
                    </a:lnTo>
                    <a:lnTo>
                      <a:pt x="669" y="2005"/>
                    </a:lnTo>
                    <a:lnTo>
                      <a:pt x="669" y="1997"/>
                    </a:lnTo>
                    <a:lnTo>
                      <a:pt x="667" y="1991"/>
                    </a:lnTo>
                    <a:lnTo>
                      <a:pt x="671" y="1986"/>
                    </a:lnTo>
                    <a:lnTo>
                      <a:pt x="673" y="1984"/>
                    </a:lnTo>
                    <a:lnTo>
                      <a:pt x="671" y="1976"/>
                    </a:lnTo>
                    <a:lnTo>
                      <a:pt x="669" y="1976"/>
                    </a:lnTo>
                    <a:lnTo>
                      <a:pt x="667" y="1976"/>
                    </a:lnTo>
                    <a:lnTo>
                      <a:pt x="665" y="1976"/>
                    </a:lnTo>
                    <a:lnTo>
                      <a:pt x="664" y="1976"/>
                    </a:lnTo>
                    <a:lnTo>
                      <a:pt x="667" y="1971"/>
                    </a:lnTo>
                    <a:lnTo>
                      <a:pt x="671" y="1963"/>
                    </a:lnTo>
                    <a:lnTo>
                      <a:pt x="669" y="1961"/>
                    </a:lnTo>
                    <a:lnTo>
                      <a:pt x="667" y="1959"/>
                    </a:lnTo>
                    <a:lnTo>
                      <a:pt x="665" y="1959"/>
                    </a:lnTo>
                    <a:lnTo>
                      <a:pt x="660" y="1959"/>
                    </a:lnTo>
                    <a:lnTo>
                      <a:pt x="656" y="1956"/>
                    </a:lnTo>
                    <a:lnTo>
                      <a:pt x="654" y="1958"/>
                    </a:lnTo>
                    <a:lnTo>
                      <a:pt x="652" y="1959"/>
                    </a:lnTo>
                    <a:lnTo>
                      <a:pt x="650" y="1958"/>
                    </a:lnTo>
                    <a:lnTo>
                      <a:pt x="652" y="1958"/>
                    </a:lnTo>
                    <a:lnTo>
                      <a:pt x="654" y="1956"/>
                    </a:lnTo>
                    <a:lnTo>
                      <a:pt x="654" y="1954"/>
                    </a:lnTo>
                    <a:lnTo>
                      <a:pt x="656" y="1948"/>
                    </a:lnTo>
                    <a:lnTo>
                      <a:pt x="658" y="1946"/>
                    </a:lnTo>
                    <a:lnTo>
                      <a:pt x="658" y="1944"/>
                    </a:lnTo>
                    <a:lnTo>
                      <a:pt x="660" y="1944"/>
                    </a:lnTo>
                    <a:lnTo>
                      <a:pt x="660" y="1941"/>
                    </a:lnTo>
                    <a:lnTo>
                      <a:pt x="660" y="1935"/>
                    </a:lnTo>
                    <a:lnTo>
                      <a:pt x="660" y="1933"/>
                    </a:lnTo>
                    <a:lnTo>
                      <a:pt x="660" y="1931"/>
                    </a:lnTo>
                    <a:lnTo>
                      <a:pt x="658" y="1929"/>
                    </a:lnTo>
                    <a:lnTo>
                      <a:pt x="658" y="1926"/>
                    </a:lnTo>
                    <a:lnTo>
                      <a:pt x="658" y="1922"/>
                    </a:lnTo>
                    <a:lnTo>
                      <a:pt x="654" y="1916"/>
                    </a:lnTo>
                    <a:lnTo>
                      <a:pt x="652" y="1916"/>
                    </a:lnTo>
                    <a:lnTo>
                      <a:pt x="645" y="1910"/>
                    </a:lnTo>
                    <a:lnTo>
                      <a:pt x="645" y="1909"/>
                    </a:lnTo>
                    <a:lnTo>
                      <a:pt x="652" y="1895"/>
                    </a:lnTo>
                    <a:lnTo>
                      <a:pt x="641" y="1890"/>
                    </a:lnTo>
                    <a:lnTo>
                      <a:pt x="635" y="1875"/>
                    </a:lnTo>
                    <a:lnTo>
                      <a:pt x="637" y="1863"/>
                    </a:lnTo>
                    <a:lnTo>
                      <a:pt x="635" y="1839"/>
                    </a:lnTo>
                    <a:lnTo>
                      <a:pt x="633" y="1835"/>
                    </a:lnTo>
                    <a:lnTo>
                      <a:pt x="628" y="1822"/>
                    </a:lnTo>
                    <a:lnTo>
                      <a:pt x="624" y="1816"/>
                    </a:lnTo>
                    <a:lnTo>
                      <a:pt x="628" y="1798"/>
                    </a:lnTo>
                    <a:lnTo>
                      <a:pt x="645" y="1788"/>
                    </a:lnTo>
                    <a:lnTo>
                      <a:pt x="630" y="1781"/>
                    </a:lnTo>
                    <a:lnTo>
                      <a:pt x="620" y="1773"/>
                    </a:lnTo>
                    <a:lnTo>
                      <a:pt x="618" y="1771"/>
                    </a:lnTo>
                    <a:lnTo>
                      <a:pt x="639" y="1766"/>
                    </a:lnTo>
                    <a:lnTo>
                      <a:pt x="639" y="1762"/>
                    </a:lnTo>
                    <a:lnTo>
                      <a:pt x="639" y="1747"/>
                    </a:lnTo>
                    <a:lnTo>
                      <a:pt x="637" y="1739"/>
                    </a:lnTo>
                    <a:lnTo>
                      <a:pt x="637" y="1735"/>
                    </a:lnTo>
                    <a:lnTo>
                      <a:pt x="637" y="1728"/>
                    </a:lnTo>
                    <a:lnTo>
                      <a:pt x="630" y="1726"/>
                    </a:lnTo>
                    <a:lnTo>
                      <a:pt x="624" y="1724"/>
                    </a:lnTo>
                    <a:lnTo>
                      <a:pt x="615" y="1720"/>
                    </a:lnTo>
                    <a:lnTo>
                      <a:pt x="605" y="1713"/>
                    </a:lnTo>
                    <a:lnTo>
                      <a:pt x="600" y="1707"/>
                    </a:lnTo>
                    <a:lnTo>
                      <a:pt x="598" y="1705"/>
                    </a:lnTo>
                    <a:lnTo>
                      <a:pt x="598" y="1698"/>
                    </a:lnTo>
                    <a:lnTo>
                      <a:pt x="598" y="1694"/>
                    </a:lnTo>
                    <a:lnTo>
                      <a:pt x="594" y="1686"/>
                    </a:lnTo>
                    <a:lnTo>
                      <a:pt x="590" y="1681"/>
                    </a:lnTo>
                    <a:lnTo>
                      <a:pt x="588" y="1677"/>
                    </a:lnTo>
                    <a:lnTo>
                      <a:pt x="571" y="1673"/>
                    </a:lnTo>
                    <a:lnTo>
                      <a:pt x="562" y="1673"/>
                    </a:lnTo>
                    <a:lnTo>
                      <a:pt x="558" y="1668"/>
                    </a:lnTo>
                    <a:lnTo>
                      <a:pt x="556" y="1662"/>
                    </a:lnTo>
                    <a:lnTo>
                      <a:pt x="554" y="1660"/>
                    </a:lnTo>
                    <a:lnTo>
                      <a:pt x="551" y="1653"/>
                    </a:lnTo>
                    <a:lnTo>
                      <a:pt x="547" y="1647"/>
                    </a:lnTo>
                    <a:lnTo>
                      <a:pt x="545" y="1645"/>
                    </a:lnTo>
                    <a:lnTo>
                      <a:pt x="539" y="1636"/>
                    </a:lnTo>
                    <a:lnTo>
                      <a:pt x="522" y="1639"/>
                    </a:lnTo>
                    <a:lnTo>
                      <a:pt x="521" y="1649"/>
                    </a:lnTo>
                    <a:lnTo>
                      <a:pt x="521" y="1651"/>
                    </a:lnTo>
                    <a:lnTo>
                      <a:pt x="519" y="1660"/>
                    </a:lnTo>
                    <a:lnTo>
                      <a:pt x="517" y="1662"/>
                    </a:lnTo>
                    <a:lnTo>
                      <a:pt x="521" y="1668"/>
                    </a:lnTo>
                    <a:lnTo>
                      <a:pt x="524" y="1677"/>
                    </a:lnTo>
                    <a:lnTo>
                      <a:pt x="528" y="1688"/>
                    </a:lnTo>
                    <a:lnTo>
                      <a:pt x="522" y="1681"/>
                    </a:lnTo>
                    <a:lnTo>
                      <a:pt x="522" y="1679"/>
                    </a:lnTo>
                    <a:lnTo>
                      <a:pt x="507" y="1660"/>
                    </a:lnTo>
                    <a:lnTo>
                      <a:pt x="504" y="1656"/>
                    </a:lnTo>
                    <a:lnTo>
                      <a:pt x="491" y="1643"/>
                    </a:lnTo>
                    <a:lnTo>
                      <a:pt x="492" y="1645"/>
                    </a:lnTo>
                    <a:lnTo>
                      <a:pt x="498" y="1658"/>
                    </a:lnTo>
                    <a:lnTo>
                      <a:pt x="500" y="1664"/>
                    </a:lnTo>
                    <a:lnTo>
                      <a:pt x="498" y="1668"/>
                    </a:lnTo>
                    <a:lnTo>
                      <a:pt x="496" y="1670"/>
                    </a:lnTo>
                    <a:lnTo>
                      <a:pt x="489" y="1683"/>
                    </a:lnTo>
                    <a:lnTo>
                      <a:pt x="489" y="1703"/>
                    </a:lnTo>
                    <a:lnTo>
                      <a:pt x="485" y="1711"/>
                    </a:lnTo>
                    <a:lnTo>
                      <a:pt x="474" y="1728"/>
                    </a:lnTo>
                    <a:lnTo>
                      <a:pt x="464" y="1745"/>
                    </a:lnTo>
                    <a:lnTo>
                      <a:pt x="462" y="1750"/>
                    </a:lnTo>
                    <a:lnTo>
                      <a:pt x="459" y="1754"/>
                    </a:lnTo>
                    <a:lnTo>
                      <a:pt x="453" y="1750"/>
                    </a:lnTo>
                    <a:lnTo>
                      <a:pt x="449" y="1749"/>
                    </a:lnTo>
                    <a:lnTo>
                      <a:pt x="447" y="1749"/>
                    </a:lnTo>
                    <a:lnTo>
                      <a:pt x="443" y="1750"/>
                    </a:lnTo>
                    <a:lnTo>
                      <a:pt x="447" y="1754"/>
                    </a:lnTo>
                    <a:lnTo>
                      <a:pt x="443" y="1756"/>
                    </a:lnTo>
                    <a:lnTo>
                      <a:pt x="438" y="1760"/>
                    </a:lnTo>
                    <a:lnTo>
                      <a:pt x="430" y="1754"/>
                    </a:lnTo>
                    <a:lnTo>
                      <a:pt x="425" y="1749"/>
                    </a:lnTo>
                    <a:lnTo>
                      <a:pt x="419" y="1743"/>
                    </a:lnTo>
                    <a:lnTo>
                      <a:pt x="417" y="1741"/>
                    </a:lnTo>
                    <a:lnTo>
                      <a:pt x="415" y="1741"/>
                    </a:lnTo>
                    <a:lnTo>
                      <a:pt x="410" y="1739"/>
                    </a:lnTo>
                    <a:lnTo>
                      <a:pt x="396" y="1743"/>
                    </a:lnTo>
                    <a:lnTo>
                      <a:pt x="393" y="1750"/>
                    </a:lnTo>
                    <a:lnTo>
                      <a:pt x="393" y="1754"/>
                    </a:lnTo>
                    <a:lnTo>
                      <a:pt x="393" y="1777"/>
                    </a:lnTo>
                    <a:lnTo>
                      <a:pt x="393" y="1781"/>
                    </a:lnTo>
                    <a:lnTo>
                      <a:pt x="389" y="1779"/>
                    </a:lnTo>
                    <a:lnTo>
                      <a:pt x="387" y="1779"/>
                    </a:lnTo>
                    <a:lnTo>
                      <a:pt x="378" y="1781"/>
                    </a:lnTo>
                    <a:lnTo>
                      <a:pt x="372" y="1782"/>
                    </a:lnTo>
                    <a:lnTo>
                      <a:pt x="368" y="1782"/>
                    </a:lnTo>
                    <a:lnTo>
                      <a:pt x="364" y="1782"/>
                    </a:lnTo>
                    <a:lnTo>
                      <a:pt x="363" y="1790"/>
                    </a:lnTo>
                    <a:lnTo>
                      <a:pt x="364" y="1790"/>
                    </a:lnTo>
                    <a:lnTo>
                      <a:pt x="370" y="1801"/>
                    </a:lnTo>
                    <a:lnTo>
                      <a:pt x="372" y="1803"/>
                    </a:lnTo>
                    <a:lnTo>
                      <a:pt x="376" y="1807"/>
                    </a:lnTo>
                    <a:lnTo>
                      <a:pt x="376" y="1809"/>
                    </a:lnTo>
                    <a:lnTo>
                      <a:pt x="374" y="1809"/>
                    </a:lnTo>
                    <a:lnTo>
                      <a:pt x="366" y="1814"/>
                    </a:lnTo>
                    <a:lnTo>
                      <a:pt x="366" y="1816"/>
                    </a:lnTo>
                    <a:lnTo>
                      <a:pt x="363" y="1816"/>
                    </a:lnTo>
                    <a:lnTo>
                      <a:pt x="359" y="1820"/>
                    </a:lnTo>
                    <a:lnTo>
                      <a:pt x="351" y="1826"/>
                    </a:lnTo>
                    <a:lnTo>
                      <a:pt x="346" y="1833"/>
                    </a:lnTo>
                    <a:lnTo>
                      <a:pt x="351" y="1858"/>
                    </a:lnTo>
                    <a:lnTo>
                      <a:pt x="340" y="1852"/>
                    </a:lnTo>
                    <a:lnTo>
                      <a:pt x="336" y="1852"/>
                    </a:lnTo>
                    <a:lnTo>
                      <a:pt x="333" y="1850"/>
                    </a:lnTo>
                    <a:lnTo>
                      <a:pt x="331" y="1848"/>
                    </a:lnTo>
                    <a:lnTo>
                      <a:pt x="331" y="1846"/>
                    </a:lnTo>
                    <a:lnTo>
                      <a:pt x="329" y="1846"/>
                    </a:lnTo>
                    <a:lnTo>
                      <a:pt x="329" y="1845"/>
                    </a:lnTo>
                    <a:lnTo>
                      <a:pt x="329" y="1843"/>
                    </a:lnTo>
                    <a:lnTo>
                      <a:pt x="327" y="1843"/>
                    </a:lnTo>
                    <a:lnTo>
                      <a:pt x="327" y="1841"/>
                    </a:lnTo>
                    <a:lnTo>
                      <a:pt x="327" y="1839"/>
                    </a:lnTo>
                    <a:lnTo>
                      <a:pt x="327" y="1837"/>
                    </a:lnTo>
                    <a:lnTo>
                      <a:pt x="325" y="1837"/>
                    </a:lnTo>
                    <a:lnTo>
                      <a:pt x="325" y="1835"/>
                    </a:lnTo>
                    <a:lnTo>
                      <a:pt x="325" y="1833"/>
                    </a:lnTo>
                    <a:lnTo>
                      <a:pt x="323" y="1833"/>
                    </a:lnTo>
                    <a:lnTo>
                      <a:pt x="323" y="1831"/>
                    </a:lnTo>
                    <a:lnTo>
                      <a:pt x="323" y="1830"/>
                    </a:lnTo>
                    <a:lnTo>
                      <a:pt x="321" y="1830"/>
                    </a:lnTo>
                    <a:lnTo>
                      <a:pt x="321" y="1828"/>
                    </a:lnTo>
                    <a:lnTo>
                      <a:pt x="321" y="1826"/>
                    </a:lnTo>
                    <a:lnTo>
                      <a:pt x="319" y="1826"/>
                    </a:lnTo>
                    <a:lnTo>
                      <a:pt x="319" y="1824"/>
                    </a:lnTo>
                    <a:lnTo>
                      <a:pt x="319" y="1822"/>
                    </a:lnTo>
                    <a:lnTo>
                      <a:pt x="319" y="1820"/>
                    </a:lnTo>
                    <a:lnTo>
                      <a:pt x="317" y="1820"/>
                    </a:lnTo>
                    <a:lnTo>
                      <a:pt x="317" y="1818"/>
                    </a:lnTo>
                    <a:lnTo>
                      <a:pt x="317" y="1816"/>
                    </a:lnTo>
                    <a:lnTo>
                      <a:pt x="316" y="1816"/>
                    </a:lnTo>
                    <a:lnTo>
                      <a:pt x="316" y="1814"/>
                    </a:lnTo>
                    <a:lnTo>
                      <a:pt x="316" y="1813"/>
                    </a:lnTo>
                    <a:lnTo>
                      <a:pt x="314" y="1813"/>
                    </a:lnTo>
                    <a:lnTo>
                      <a:pt x="314" y="1811"/>
                    </a:lnTo>
                    <a:lnTo>
                      <a:pt x="316" y="1811"/>
                    </a:lnTo>
                    <a:lnTo>
                      <a:pt x="314" y="1811"/>
                    </a:lnTo>
                    <a:lnTo>
                      <a:pt x="314" y="1809"/>
                    </a:lnTo>
                    <a:lnTo>
                      <a:pt x="314" y="1807"/>
                    </a:lnTo>
                    <a:lnTo>
                      <a:pt x="314" y="1805"/>
                    </a:lnTo>
                    <a:lnTo>
                      <a:pt x="312" y="1805"/>
                    </a:lnTo>
                    <a:lnTo>
                      <a:pt x="312" y="1803"/>
                    </a:lnTo>
                    <a:lnTo>
                      <a:pt x="310" y="1803"/>
                    </a:lnTo>
                    <a:lnTo>
                      <a:pt x="310" y="1801"/>
                    </a:lnTo>
                    <a:lnTo>
                      <a:pt x="310" y="1799"/>
                    </a:lnTo>
                    <a:lnTo>
                      <a:pt x="308" y="1799"/>
                    </a:lnTo>
                    <a:lnTo>
                      <a:pt x="308" y="1798"/>
                    </a:lnTo>
                    <a:lnTo>
                      <a:pt x="306" y="1798"/>
                    </a:lnTo>
                    <a:lnTo>
                      <a:pt x="308" y="1798"/>
                    </a:lnTo>
                    <a:lnTo>
                      <a:pt x="308" y="1796"/>
                    </a:lnTo>
                    <a:lnTo>
                      <a:pt x="306" y="1796"/>
                    </a:lnTo>
                    <a:lnTo>
                      <a:pt x="306" y="1794"/>
                    </a:lnTo>
                    <a:lnTo>
                      <a:pt x="304" y="1794"/>
                    </a:lnTo>
                    <a:lnTo>
                      <a:pt x="304" y="1792"/>
                    </a:lnTo>
                    <a:lnTo>
                      <a:pt x="302" y="1790"/>
                    </a:lnTo>
                    <a:lnTo>
                      <a:pt x="301" y="1788"/>
                    </a:lnTo>
                    <a:lnTo>
                      <a:pt x="301" y="1786"/>
                    </a:lnTo>
                    <a:lnTo>
                      <a:pt x="299" y="1786"/>
                    </a:lnTo>
                    <a:lnTo>
                      <a:pt x="299" y="1784"/>
                    </a:lnTo>
                    <a:lnTo>
                      <a:pt x="297" y="1784"/>
                    </a:lnTo>
                    <a:lnTo>
                      <a:pt x="297" y="1782"/>
                    </a:lnTo>
                    <a:lnTo>
                      <a:pt x="295" y="1781"/>
                    </a:lnTo>
                    <a:lnTo>
                      <a:pt x="293" y="1781"/>
                    </a:lnTo>
                    <a:lnTo>
                      <a:pt x="293" y="1779"/>
                    </a:lnTo>
                    <a:lnTo>
                      <a:pt x="293" y="1777"/>
                    </a:lnTo>
                    <a:lnTo>
                      <a:pt x="291" y="1777"/>
                    </a:lnTo>
                    <a:lnTo>
                      <a:pt x="291" y="1775"/>
                    </a:lnTo>
                    <a:lnTo>
                      <a:pt x="291" y="1773"/>
                    </a:lnTo>
                    <a:lnTo>
                      <a:pt x="291" y="1771"/>
                    </a:lnTo>
                    <a:lnTo>
                      <a:pt x="289" y="1771"/>
                    </a:lnTo>
                    <a:lnTo>
                      <a:pt x="289" y="1769"/>
                    </a:lnTo>
                    <a:lnTo>
                      <a:pt x="287" y="1769"/>
                    </a:lnTo>
                    <a:lnTo>
                      <a:pt x="287" y="1767"/>
                    </a:lnTo>
                    <a:lnTo>
                      <a:pt x="287" y="1766"/>
                    </a:lnTo>
                    <a:lnTo>
                      <a:pt x="287" y="1764"/>
                    </a:lnTo>
                    <a:lnTo>
                      <a:pt x="285" y="1764"/>
                    </a:lnTo>
                    <a:lnTo>
                      <a:pt x="287" y="1764"/>
                    </a:lnTo>
                    <a:lnTo>
                      <a:pt x="285" y="1764"/>
                    </a:lnTo>
                    <a:lnTo>
                      <a:pt x="285" y="1762"/>
                    </a:lnTo>
                    <a:lnTo>
                      <a:pt x="285" y="1760"/>
                    </a:lnTo>
                    <a:lnTo>
                      <a:pt x="285" y="1758"/>
                    </a:lnTo>
                    <a:lnTo>
                      <a:pt x="284" y="1758"/>
                    </a:lnTo>
                    <a:lnTo>
                      <a:pt x="284" y="1756"/>
                    </a:lnTo>
                    <a:lnTo>
                      <a:pt x="284" y="1754"/>
                    </a:lnTo>
                    <a:lnTo>
                      <a:pt x="284" y="1752"/>
                    </a:lnTo>
                    <a:lnTo>
                      <a:pt x="282" y="1752"/>
                    </a:lnTo>
                    <a:lnTo>
                      <a:pt x="282" y="1750"/>
                    </a:lnTo>
                    <a:lnTo>
                      <a:pt x="280" y="1750"/>
                    </a:lnTo>
                    <a:lnTo>
                      <a:pt x="280" y="1749"/>
                    </a:lnTo>
                    <a:lnTo>
                      <a:pt x="280" y="1747"/>
                    </a:lnTo>
                    <a:lnTo>
                      <a:pt x="280" y="1745"/>
                    </a:lnTo>
                    <a:lnTo>
                      <a:pt x="278" y="1743"/>
                    </a:lnTo>
                    <a:lnTo>
                      <a:pt x="276" y="1741"/>
                    </a:lnTo>
                    <a:lnTo>
                      <a:pt x="276" y="1739"/>
                    </a:lnTo>
                    <a:lnTo>
                      <a:pt x="276" y="1737"/>
                    </a:lnTo>
                    <a:lnTo>
                      <a:pt x="274" y="1737"/>
                    </a:lnTo>
                    <a:lnTo>
                      <a:pt x="276" y="1737"/>
                    </a:lnTo>
                    <a:lnTo>
                      <a:pt x="274" y="1737"/>
                    </a:lnTo>
                    <a:lnTo>
                      <a:pt x="276" y="1737"/>
                    </a:lnTo>
                    <a:lnTo>
                      <a:pt x="274" y="1737"/>
                    </a:lnTo>
                    <a:lnTo>
                      <a:pt x="276" y="1735"/>
                    </a:lnTo>
                    <a:lnTo>
                      <a:pt x="274" y="1735"/>
                    </a:lnTo>
                    <a:lnTo>
                      <a:pt x="274" y="1734"/>
                    </a:lnTo>
                    <a:lnTo>
                      <a:pt x="274" y="1732"/>
                    </a:lnTo>
                    <a:lnTo>
                      <a:pt x="274" y="1730"/>
                    </a:lnTo>
                    <a:lnTo>
                      <a:pt x="274" y="1728"/>
                    </a:lnTo>
                    <a:lnTo>
                      <a:pt x="272" y="1728"/>
                    </a:lnTo>
                    <a:lnTo>
                      <a:pt x="272" y="1726"/>
                    </a:lnTo>
                    <a:lnTo>
                      <a:pt x="272" y="1724"/>
                    </a:lnTo>
                    <a:lnTo>
                      <a:pt x="270" y="1724"/>
                    </a:lnTo>
                    <a:lnTo>
                      <a:pt x="270" y="1722"/>
                    </a:lnTo>
                    <a:lnTo>
                      <a:pt x="269" y="1722"/>
                    </a:lnTo>
                    <a:lnTo>
                      <a:pt x="269" y="1720"/>
                    </a:lnTo>
                    <a:lnTo>
                      <a:pt x="267" y="1718"/>
                    </a:lnTo>
                    <a:lnTo>
                      <a:pt x="265" y="1717"/>
                    </a:lnTo>
                    <a:lnTo>
                      <a:pt x="265" y="1715"/>
                    </a:lnTo>
                    <a:lnTo>
                      <a:pt x="263" y="1715"/>
                    </a:lnTo>
                    <a:lnTo>
                      <a:pt x="263" y="1713"/>
                    </a:lnTo>
                    <a:lnTo>
                      <a:pt x="261" y="1713"/>
                    </a:lnTo>
                    <a:lnTo>
                      <a:pt x="261" y="1711"/>
                    </a:lnTo>
                    <a:lnTo>
                      <a:pt x="259" y="1711"/>
                    </a:lnTo>
                    <a:lnTo>
                      <a:pt x="259" y="1709"/>
                    </a:lnTo>
                    <a:lnTo>
                      <a:pt x="259" y="1707"/>
                    </a:lnTo>
                    <a:lnTo>
                      <a:pt x="259" y="1705"/>
                    </a:lnTo>
                    <a:lnTo>
                      <a:pt x="257" y="1705"/>
                    </a:lnTo>
                    <a:lnTo>
                      <a:pt x="257" y="1703"/>
                    </a:lnTo>
                    <a:lnTo>
                      <a:pt x="257" y="1702"/>
                    </a:lnTo>
                    <a:lnTo>
                      <a:pt x="257" y="1700"/>
                    </a:lnTo>
                    <a:lnTo>
                      <a:pt x="255" y="1700"/>
                    </a:lnTo>
                    <a:lnTo>
                      <a:pt x="255" y="1698"/>
                    </a:lnTo>
                    <a:lnTo>
                      <a:pt x="254" y="1698"/>
                    </a:lnTo>
                    <a:lnTo>
                      <a:pt x="254" y="1696"/>
                    </a:lnTo>
                    <a:lnTo>
                      <a:pt x="252" y="1696"/>
                    </a:lnTo>
                    <a:lnTo>
                      <a:pt x="252" y="1694"/>
                    </a:lnTo>
                    <a:lnTo>
                      <a:pt x="250" y="1692"/>
                    </a:lnTo>
                    <a:lnTo>
                      <a:pt x="250" y="1690"/>
                    </a:lnTo>
                    <a:lnTo>
                      <a:pt x="252" y="1688"/>
                    </a:lnTo>
                    <a:lnTo>
                      <a:pt x="252" y="1686"/>
                    </a:lnTo>
                    <a:lnTo>
                      <a:pt x="252" y="1685"/>
                    </a:lnTo>
                    <a:lnTo>
                      <a:pt x="250" y="1683"/>
                    </a:lnTo>
                    <a:lnTo>
                      <a:pt x="248" y="1681"/>
                    </a:lnTo>
                    <a:lnTo>
                      <a:pt x="246" y="1677"/>
                    </a:lnTo>
                    <a:lnTo>
                      <a:pt x="244" y="1675"/>
                    </a:lnTo>
                    <a:lnTo>
                      <a:pt x="244" y="1673"/>
                    </a:lnTo>
                    <a:lnTo>
                      <a:pt x="244" y="1671"/>
                    </a:lnTo>
                    <a:lnTo>
                      <a:pt x="242" y="1671"/>
                    </a:lnTo>
                    <a:lnTo>
                      <a:pt x="242" y="1670"/>
                    </a:lnTo>
                    <a:lnTo>
                      <a:pt x="242" y="1668"/>
                    </a:lnTo>
                    <a:lnTo>
                      <a:pt x="242" y="1666"/>
                    </a:lnTo>
                    <a:lnTo>
                      <a:pt x="240" y="1666"/>
                    </a:lnTo>
                    <a:lnTo>
                      <a:pt x="240" y="1664"/>
                    </a:lnTo>
                    <a:lnTo>
                      <a:pt x="238" y="1664"/>
                    </a:lnTo>
                    <a:lnTo>
                      <a:pt x="238" y="1662"/>
                    </a:lnTo>
                    <a:lnTo>
                      <a:pt x="238" y="1660"/>
                    </a:lnTo>
                    <a:lnTo>
                      <a:pt x="237" y="1660"/>
                    </a:lnTo>
                    <a:lnTo>
                      <a:pt x="237" y="1658"/>
                    </a:lnTo>
                    <a:lnTo>
                      <a:pt x="235" y="1658"/>
                    </a:lnTo>
                    <a:lnTo>
                      <a:pt x="235" y="1656"/>
                    </a:lnTo>
                    <a:lnTo>
                      <a:pt x="233" y="1656"/>
                    </a:lnTo>
                    <a:lnTo>
                      <a:pt x="233" y="1654"/>
                    </a:lnTo>
                    <a:lnTo>
                      <a:pt x="233" y="1653"/>
                    </a:lnTo>
                    <a:lnTo>
                      <a:pt x="231" y="1653"/>
                    </a:lnTo>
                    <a:lnTo>
                      <a:pt x="233" y="1653"/>
                    </a:lnTo>
                    <a:lnTo>
                      <a:pt x="231" y="1651"/>
                    </a:lnTo>
                    <a:lnTo>
                      <a:pt x="231" y="1649"/>
                    </a:lnTo>
                    <a:lnTo>
                      <a:pt x="229" y="1649"/>
                    </a:lnTo>
                    <a:lnTo>
                      <a:pt x="231" y="1649"/>
                    </a:lnTo>
                    <a:lnTo>
                      <a:pt x="231" y="1647"/>
                    </a:lnTo>
                    <a:lnTo>
                      <a:pt x="229" y="1647"/>
                    </a:lnTo>
                    <a:lnTo>
                      <a:pt x="229" y="1645"/>
                    </a:lnTo>
                    <a:lnTo>
                      <a:pt x="227" y="1645"/>
                    </a:lnTo>
                    <a:lnTo>
                      <a:pt x="227" y="1643"/>
                    </a:lnTo>
                    <a:lnTo>
                      <a:pt x="229" y="1643"/>
                    </a:lnTo>
                    <a:lnTo>
                      <a:pt x="229" y="1641"/>
                    </a:lnTo>
                    <a:lnTo>
                      <a:pt x="227" y="1641"/>
                    </a:lnTo>
                    <a:lnTo>
                      <a:pt x="227" y="1639"/>
                    </a:lnTo>
                    <a:lnTo>
                      <a:pt x="225" y="1639"/>
                    </a:lnTo>
                    <a:lnTo>
                      <a:pt x="225" y="1638"/>
                    </a:lnTo>
                    <a:lnTo>
                      <a:pt x="225" y="1636"/>
                    </a:lnTo>
                    <a:lnTo>
                      <a:pt x="223" y="1636"/>
                    </a:lnTo>
                    <a:lnTo>
                      <a:pt x="223" y="1634"/>
                    </a:lnTo>
                    <a:lnTo>
                      <a:pt x="223" y="1632"/>
                    </a:lnTo>
                    <a:lnTo>
                      <a:pt x="222" y="1630"/>
                    </a:lnTo>
                    <a:lnTo>
                      <a:pt x="222" y="1628"/>
                    </a:lnTo>
                    <a:lnTo>
                      <a:pt x="220" y="1628"/>
                    </a:lnTo>
                    <a:lnTo>
                      <a:pt x="220" y="1626"/>
                    </a:lnTo>
                    <a:lnTo>
                      <a:pt x="218" y="1624"/>
                    </a:lnTo>
                    <a:lnTo>
                      <a:pt x="218" y="1622"/>
                    </a:lnTo>
                    <a:lnTo>
                      <a:pt x="218" y="1621"/>
                    </a:lnTo>
                    <a:lnTo>
                      <a:pt x="218" y="1619"/>
                    </a:lnTo>
                    <a:lnTo>
                      <a:pt x="216" y="1619"/>
                    </a:lnTo>
                    <a:lnTo>
                      <a:pt x="216" y="1617"/>
                    </a:lnTo>
                    <a:lnTo>
                      <a:pt x="214" y="1617"/>
                    </a:lnTo>
                    <a:lnTo>
                      <a:pt x="212" y="1615"/>
                    </a:lnTo>
                    <a:lnTo>
                      <a:pt x="212" y="1613"/>
                    </a:lnTo>
                    <a:lnTo>
                      <a:pt x="212" y="1611"/>
                    </a:lnTo>
                    <a:lnTo>
                      <a:pt x="210" y="1611"/>
                    </a:lnTo>
                    <a:lnTo>
                      <a:pt x="210" y="1609"/>
                    </a:lnTo>
                    <a:lnTo>
                      <a:pt x="208" y="1607"/>
                    </a:lnTo>
                    <a:lnTo>
                      <a:pt x="208" y="1606"/>
                    </a:lnTo>
                    <a:lnTo>
                      <a:pt x="208" y="1604"/>
                    </a:lnTo>
                    <a:lnTo>
                      <a:pt x="208" y="1602"/>
                    </a:lnTo>
                    <a:lnTo>
                      <a:pt x="208" y="1600"/>
                    </a:lnTo>
                    <a:lnTo>
                      <a:pt x="206" y="1600"/>
                    </a:lnTo>
                    <a:lnTo>
                      <a:pt x="208" y="1600"/>
                    </a:lnTo>
                    <a:lnTo>
                      <a:pt x="208" y="1598"/>
                    </a:lnTo>
                    <a:lnTo>
                      <a:pt x="208" y="1596"/>
                    </a:lnTo>
                    <a:lnTo>
                      <a:pt x="206" y="1596"/>
                    </a:lnTo>
                    <a:lnTo>
                      <a:pt x="208" y="1594"/>
                    </a:lnTo>
                    <a:lnTo>
                      <a:pt x="206" y="1594"/>
                    </a:lnTo>
                    <a:lnTo>
                      <a:pt x="206" y="1592"/>
                    </a:lnTo>
                    <a:lnTo>
                      <a:pt x="206" y="1590"/>
                    </a:lnTo>
                    <a:lnTo>
                      <a:pt x="206" y="1589"/>
                    </a:lnTo>
                    <a:lnTo>
                      <a:pt x="205" y="1589"/>
                    </a:lnTo>
                    <a:lnTo>
                      <a:pt x="205" y="1587"/>
                    </a:lnTo>
                    <a:lnTo>
                      <a:pt x="205" y="1585"/>
                    </a:lnTo>
                    <a:lnTo>
                      <a:pt x="205" y="1583"/>
                    </a:lnTo>
                    <a:lnTo>
                      <a:pt x="203" y="1581"/>
                    </a:lnTo>
                    <a:lnTo>
                      <a:pt x="203" y="1579"/>
                    </a:lnTo>
                    <a:lnTo>
                      <a:pt x="201" y="1579"/>
                    </a:lnTo>
                    <a:lnTo>
                      <a:pt x="201" y="1577"/>
                    </a:lnTo>
                    <a:lnTo>
                      <a:pt x="201" y="1575"/>
                    </a:lnTo>
                    <a:lnTo>
                      <a:pt x="199" y="1575"/>
                    </a:lnTo>
                    <a:lnTo>
                      <a:pt x="199" y="1574"/>
                    </a:lnTo>
                    <a:lnTo>
                      <a:pt x="199" y="1572"/>
                    </a:lnTo>
                    <a:lnTo>
                      <a:pt x="197" y="1572"/>
                    </a:lnTo>
                    <a:lnTo>
                      <a:pt x="197" y="1570"/>
                    </a:lnTo>
                    <a:lnTo>
                      <a:pt x="199" y="1570"/>
                    </a:lnTo>
                    <a:lnTo>
                      <a:pt x="199" y="1568"/>
                    </a:lnTo>
                    <a:lnTo>
                      <a:pt x="197" y="1566"/>
                    </a:lnTo>
                    <a:lnTo>
                      <a:pt x="197" y="1564"/>
                    </a:lnTo>
                    <a:lnTo>
                      <a:pt x="195" y="1564"/>
                    </a:lnTo>
                    <a:lnTo>
                      <a:pt x="195" y="1562"/>
                    </a:lnTo>
                    <a:lnTo>
                      <a:pt x="195" y="1560"/>
                    </a:lnTo>
                    <a:lnTo>
                      <a:pt x="195" y="1557"/>
                    </a:lnTo>
                    <a:lnTo>
                      <a:pt x="195" y="1555"/>
                    </a:lnTo>
                    <a:lnTo>
                      <a:pt x="193" y="1555"/>
                    </a:lnTo>
                    <a:lnTo>
                      <a:pt x="193" y="1553"/>
                    </a:lnTo>
                    <a:lnTo>
                      <a:pt x="191" y="1553"/>
                    </a:lnTo>
                    <a:lnTo>
                      <a:pt x="191" y="1551"/>
                    </a:lnTo>
                    <a:lnTo>
                      <a:pt x="190" y="1551"/>
                    </a:lnTo>
                    <a:lnTo>
                      <a:pt x="190" y="1549"/>
                    </a:lnTo>
                    <a:lnTo>
                      <a:pt x="190" y="1547"/>
                    </a:lnTo>
                    <a:lnTo>
                      <a:pt x="190" y="1549"/>
                    </a:lnTo>
                    <a:lnTo>
                      <a:pt x="188" y="1549"/>
                    </a:lnTo>
                    <a:lnTo>
                      <a:pt x="188" y="1547"/>
                    </a:lnTo>
                    <a:lnTo>
                      <a:pt x="190" y="1547"/>
                    </a:lnTo>
                    <a:lnTo>
                      <a:pt x="190" y="1545"/>
                    </a:lnTo>
                    <a:lnTo>
                      <a:pt x="188" y="1545"/>
                    </a:lnTo>
                    <a:lnTo>
                      <a:pt x="188" y="1543"/>
                    </a:lnTo>
                    <a:lnTo>
                      <a:pt x="188" y="1542"/>
                    </a:lnTo>
                    <a:lnTo>
                      <a:pt x="188" y="1540"/>
                    </a:lnTo>
                    <a:lnTo>
                      <a:pt x="188" y="1538"/>
                    </a:lnTo>
                    <a:lnTo>
                      <a:pt x="186" y="1538"/>
                    </a:lnTo>
                    <a:lnTo>
                      <a:pt x="186" y="1536"/>
                    </a:lnTo>
                    <a:lnTo>
                      <a:pt x="186" y="1534"/>
                    </a:lnTo>
                    <a:lnTo>
                      <a:pt x="186" y="1532"/>
                    </a:lnTo>
                    <a:lnTo>
                      <a:pt x="186" y="1530"/>
                    </a:lnTo>
                    <a:lnTo>
                      <a:pt x="184" y="1528"/>
                    </a:lnTo>
                    <a:lnTo>
                      <a:pt x="184" y="1526"/>
                    </a:lnTo>
                    <a:lnTo>
                      <a:pt x="186" y="1526"/>
                    </a:lnTo>
                    <a:lnTo>
                      <a:pt x="184" y="1526"/>
                    </a:lnTo>
                    <a:lnTo>
                      <a:pt x="184" y="1525"/>
                    </a:lnTo>
                    <a:lnTo>
                      <a:pt x="184" y="1523"/>
                    </a:lnTo>
                    <a:lnTo>
                      <a:pt x="184" y="1521"/>
                    </a:lnTo>
                    <a:lnTo>
                      <a:pt x="182" y="1519"/>
                    </a:lnTo>
                    <a:lnTo>
                      <a:pt x="182" y="1517"/>
                    </a:lnTo>
                    <a:lnTo>
                      <a:pt x="180" y="1517"/>
                    </a:lnTo>
                    <a:lnTo>
                      <a:pt x="182" y="1517"/>
                    </a:lnTo>
                    <a:lnTo>
                      <a:pt x="182" y="1515"/>
                    </a:lnTo>
                    <a:lnTo>
                      <a:pt x="180" y="1515"/>
                    </a:lnTo>
                    <a:lnTo>
                      <a:pt x="180" y="1513"/>
                    </a:lnTo>
                    <a:lnTo>
                      <a:pt x="180" y="1511"/>
                    </a:lnTo>
                    <a:lnTo>
                      <a:pt x="180" y="1509"/>
                    </a:lnTo>
                    <a:lnTo>
                      <a:pt x="180" y="1508"/>
                    </a:lnTo>
                    <a:lnTo>
                      <a:pt x="178" y="1506"/>
                    </a:lnTo>
                    <a:lnTo>
                      <a:pt x="180" y="1506"/>
                    </a:lnTo>
                    <a:lnTo>
                      <a:pt x="180" y="1504"/>
                    </a:lnTo>
                    <a:lnTo>
                      <a:pt x="180" y="1502"/>
                    </a:lnTo>
                    <a:lnTo>
                      <a:pt x="178" y="1502"/>
                    </a:lnTo>
                    <a:lnTo>
                      <a:pt x="178" y="1500"/>
                    </a:lnTo>
                    <a:lnTo>
                      <a:pt x="176" y="1500"/>
                    </a:lnTo>
                    <a:lnTo>
                      <a:pt x="176" y="1498"/>
                    </a:lnTo>
                    <a:lnTo>
                      <a:pt x="176" y="1496"/>
                    </a:lnTo>
                    <a:lnTo>
                      <a:pt x="175" y="1496"/>
                    </a:lnTo>
                    <a:lnTo>
                      <a:pt x="175" y="1494"/>
                    </a:lnTo>
                    <a:lnTo>
                      <a:pt x="175" y="1493"/>
                    </a:lnTo>
                    <a:lnTo>
                      <a:pt x="173" y="1493"/>
                    </a:lnTo>
                    <a:lnTo>
                      <a:pt x="173" y="1491"/>
                    </a:lnTo>
                    <a:lnTo>
                      <a:pt x="171" y="1491"/>
                    </a:lnTo>
                    <a:lnTo>
                      <a:pt x="171" y="1489"/>
                    </a:lnTo>
                    <a:lnTo>
                      <a:pt x="169" y="1489"/>
                    </a:lnTo>
                    <a:lnTo>
                      <a:pt x="169" y="1487"/>
                    </a:lnTo>
                    <a:lnTo>
                      <a:pt x="169" y="1485"/>
                    </a:lnTo>
                    <a:lnTo>
                      <a:pt x="169" y="1483"/>
                    </a:lnTo>
                    <a:lnTo>
                      <a:pt x="167" y="1483"/>
                    </a:lnTo>
                    <a:lnTo>
                      <a:pt x="167" y="1481"/>
                    </a:lnTo>
                    <a:lnTo>
                      <a:pt x="167" y="1479"/>
                    </a:lnTo>
                    <a:lnTo>
                      <a:pt x="167" y="1477"/>
                    </a:lnTo>
                    <a:lnTo>
                      <a:pt x="165" y="1476"/>
                    </a:lnTo>
                    <a:lnTo>
                      <a:pt x="165" y="1474"/>
                    </a:lnTo>
                    <a:lnTo>
                      <a:pt x="165" y="1472"/>
                    </a:lnTo>
                    <a:lnTo>
                      <a:pt x="165" y="1470"/>
                    </a:lnTo>
                    <a:lnTo>
                      <a:pt x="165" y="1468"/>
                    </a:lnTo>
                    <a:lnTo>
                      <a:pt x="163" y="1466"/>
                    </a:lnTo>
                    <a:lnTo>
                      <a:pt x="163" y="1464"/>
                    </a:lnTo>
                    <a:lnTo>
                      <a:pt x="161" y="1464"/>
                    </a:lnTo>
                    <a:lnTo>
                      <a:pt x="161" y="1462"/>
                    </a:lnTo>
                    <a:lnTo>
                      <a:pt x="161" y="1461"/>
                    </a:lnTo>
                    <a:lnTo>
                      <a:pt x="159" y="1459"/>
                    </a:lnTo>
                    <a:lnTo>
                      <a:pt x="159" y="1457"/>
                    </a:lnTo>
                    <a:lnTo>
                      <a:pt x="159" y="1455"/>
                    </a:lnTo>
                    <a:lnTo>
                      <a:pt x="158" y="1455"/>
                    </a:lnTo>
                    <a:lnTo>
                      <a:pt x="158" y="1453"/>
                    </a:lnTo>
                    <a:lnTo>
                      <a:pt x="159" y="1453"/>
                    </a:lnTo>
                    <a:lnTo>
                      <a:pt x="159" y="1451"/>
                    </a:lnTo>
                    <a:lnTo>
                      <a:pt x="159" y="1449"/>
                    </a:lnTo>
                    <a:lnTo>
                      <a:pt x="158" y="1449"/>
                    </a:lnTo>
                    <a:lnTo>
                      <a:pt x="158" y="1447"/>
                    </a:lnTo>
                    <a:lnTo>
                      <a:pt x="158" y="1445"/>
                    </a:lnTo>
                    <a:lnTo>
                      <a:pt x="158" y="1444"/>
                    </a:lnTo>
                    <a:lnTo>
                      <a:pt x="158" y="1442"/>
                    </a:lnTo>
                    <a:lnTo>
                      <a:pt x="156" y="1442"/>
                    </a:lnTo>
                    <a:lnTo>
                      <a:pt x="156" y="1440"/>
                    </a:lnTo>
                    <a:lnTo>
                      <a:pt x="156" y="1438"/>
                    </a:lnTo>
                    <a:lnTo>
                      <a:pt x="154" y="1438"/>
                    </a:lnTo>
                    <a:lnTo>
                      <a:pt x="154" y="1436"/>
                    </a:lnTo>
                    <a:lnTo>
                      <a:pt x="154" y="1434"/>
                    </a:lnTo>
                    <a:lnTo>
                      <a:pt x="154" y="1432"/>
                    </a:lnTo>
                    <a:lnTo>
                      <a:pt x="154" y="1430"/>
                    </a:lnTo>
                    <a:lnTo>
                      <a:pt x="154" y="1429"/>
                    </a:lnTo>
                    <a:lnTo>
                      <a:pt x="154" y="1427"/>
                    </a:lnTo>
                    <a:lnTo>
                      <a:pt x="154" y="1425"/>
                    </a:lnTo>
                    <a:lnTo>
                      <a:pt x="154" y="1423"/>
                    </a:lnTo>
                    <a:lnTo>
                      <a:pt x="152" y="1423"/>
                    </a:lnTo>
                    <a:lnTo>
                      <a:pt x="152" y="1421"/>
                    </a:lnTo>
                    <a:lnTo>
                      <a:pt x="152" y="1419"/>
                    </a:lnTo>
                    <a:lnTo>
                      <a:pt x="154" y="1419"/>
                    </a:lnTo>
                    <a:lnTo>
                      <a:pt x="154" y="1417"/>
                    </a:lnTo>
                    <a:lnTo>
                      <a:pt x="152" y="1415"/>
                    </a:lnTo>
                    <a:lnTo>
                      <a:pt x="152" y="1413"/>
                    </a:lnTo>
                    <a:lnTo>
                      <a:pt x="150" y="1412"/>
                    </a:lnTo>
                    <a:lnTo>
                      <a:pt x="150" y="1410"/>
                    </a:lnTo>
                    <a:lnTo>
                      <a:pt x="150" y="1408"/>
                    </a:lnTo>
                    <a:lnTo>
                      <a:pt x="148" y="1406"/>
                    </a:lnTo>
                    <a:lnTo>
                      <a:pt x="148" y="1404"/>
                    </a:lnTo>
                    <a:lnTo>
                      <a:pt x="148" y="1402"/>
                    </a:lnTo>
                    <a:lnTo>
                      <a:pt x="148" y="1400"/>
                    </a:lnTo>
                    <a:lnTo>
                      <a:pt x="148" y="1398"/>
                    </a:lnTo>
                    <a:lnTo>
                      <a:pt x="146" y="1398"/>
                    </a:lnTo>
                    <a:lnTo>
                      <a:pt x="148" y="1397"/>
                    </a:lnTo>
                    <a:lnTo>
                      <a:pt x="148" y="1395"/>
                    </a:lnTo>
                    <a:lnTo>
                      <a:pt x="146" y="1393"/>
                    </a:lnTo>
                    <a:lnTo>
                      <a:pt x="144" y="1391"/>
                    </a:lnTo>
                    <a:lnTo>
                      <a:pt x="144" y="1389"/>
                    </a:lnTo>
                    <a:lnTo>
                      <a:pt x="143" y="1389"/>
                    </a:lnTo>
                    <a:lnTo>
                      <a:pt x="143" y="1387"/>
                    </a:lnTo>
                    <a:lnTo>
                      <a:pt x="141" y="1385"/>
                    </a:lnTo>
                    <a:lnTo>
                      <a:pt x="141" y="1383"/>
                    </a:lnTo>
                    <a:lnTo>
                      <a:pt x="139" y="1383"/>
                    </a:lnTo>
                    <a:lnTo>
                      <a:pt x="139" y="1381"/>
                    </a:lnTo>
                    <a:lnTo>
                      <a:pt x="139" y="1380"/>
                    </a:lnTo>
                    <a:lnTo>
                      <a:pt x="141" y="1380"/>
                    </a:lnTo>
                    <a:lnTo>
                      <a:pt x="141" y="1378"/>
                    </a:lnTo>
                    <a:lnTo>
                      <a:pt x="141" y="1376"/>
                    </a:lnTo>
                    <a:lnTo>
                      <a:pt x="139" y="1376"/>
                    </a:lnTo>
                    <a:lnTo>
                      <a:pt x="141" y="1376"/>
                    </a:lnTo>
                    <a:lnTo>
                      <a:pt x="139" y="1374"/>
                    </a:lnTo>
                    <a:lnTo>
                      <a:pt x="139" y="1372"/>
                    </a:lnTo>
                    <a:lnTo>
                      <a:pt x="139" y="1370"/>
                    </a:lnTo>
                    <a:lnTo>
                      <a:pt x="139" y="1368"/>
                    </a:lnTo>
                    <a:lnTo>
                      <a:pt x="139" y="1366"/>
                    </a:lnTo>
                    <a:lnTo>
                      <a:pt x="137" y="1366"/>
                    </a:lnTo>
                    <a:lnTo>
                      <a:pt x="137" y="1365"/>
                    </a:lnTo>
                    <a:lnTo>
                      <a:pt x="137" y="1363"/>
                    </a:lnTo>
                    <a:lnTo>
                      <a:pt x="135" y="1363"/>
                    </a:lnTo>
                    <a:lnTo>
                      <a:pt x="135" y="1361"/>
                    </a:lnTo>
                    <a:lnTo>
                      <a:pt x="135" y="1359"/>
                    </a:lnTo>
                    <a:lnTo>
                      <a:pt x="135" y="1357"/>
                    </a:lnTo>
                    <a:lnTo>
                      <a:pt x="133" y="1357"/>
                    </a:lnTo>
                    <a:lnTo>
                      <a:pt x="133" y="1355"/>
                    </a:lnTo>
                    <a:lnTo>
                      <a:pt x="133" y="1353"/>
                    </a:lnTo>
                    <a:lnTo>
                      <a:pt x="133" y="1351"/>
                    </a:lnTo>
                    <a:lnTo>
                      <a:pt x="133" y="1349"/>
                    </a:lnTo>
                    <a:lnTo>
                      <a:pt x="131" y="1348"/>
                    </a:lnTo>
                    <a:lnTo>
                      <a:pt x="131" y="1346"/>
                    </a:lnTo>
                    <a:lnTo>
                      <a:pt x="131" y="1344"/>
                    </a:lnTo>
                    <a:lnTo>
                      <a:pt x="131" y="1342"/>
                    </a:lnTo>
                    <a:lnTo>
                      <a:pt x="131" y="1340"/>
                    </a:lnTo>
                    <a:lnTo>
                      <a:pt x="129" y="1340"/>
                    </a:lnTo>
                    <a:lnTo>
                      <a:pt x="129" y="1338"/>
                    </a:lnTo>
                    <a:lnTo>
                      <a:pt x="127" y="1338"/>
                    </a:lnTo>
                    <a:lnTo>
                      <a:pt x="127" y="1336"/>
                    </a:lnTo>
                    <a:lnTo>
                      <a:pt x="127" y="1334"/>
                    </a:lnTo>
                    <a:lnTo>
                      <a:pt x="126" y="1334"/>
                    </a:lnTo>
                    <a:lnTo>
                      <a:pt x="126" y="1333"/>
                    </a:lnTo>
                    <a:lnTo>
                      <a:pt x="124" y="1331"/>
                    </a:lnTo>
                    <a:lnTo>
                      <a:pt x="124" y="1329"/>
                    </a:lnTo>
                    <a:lnTo>
                      <a:pt x="124" y="1327"/>
                    </a:lnTo>
                    <a:lnTo>
                      <a:pt x="124" y="1323"/>
                    </a:lnTo>
                    <a:lnTo>
                      <a:pt x="124" y="1321"/>
                    </a:lnTo>
                    <a:lnTo>
                      <a:pt x="122" y="1321"/>
                    </a:lnTo>
                    <a:lnTo>
                      <a:pt x="122" y="1319"/>
                    </a:lnTo>
                    <a:lnTo>
                      <a:pt x="120" y="1319"/>
                    </a:lnTo>
                    <a:lnTo>
                      <a:pt x="120" y="1317"/>
                    </a:lnTo>
                    <a:lnTo>
                      <a:pt x="118" y="1316"/>
                    </a:lnTo>
                    <a:lnTo>
                      <a:pt x="116" y="1314"/>
                    </a:lnTo>
                    <a:lnTo>
                      <a:pt x="116" y="1312"/>
                    </a:lnTo>
                    <a:lnTo>
                      <a:pt x="116" y="1310"/>
                    </a:lnTo>
                    <a:lnTo>
                      <a:pt x="114" y="1310"/>
                    </a:lnTo>
                    <a:lnTo>
                      <a:pt x="112" y="1308"/>
                    </a:lnTo>
                    <a:lnTo>
                      <a:pt x="112" y="1306"/>
                    </a:lnTo>
                    <a:lnTo>
                      <a:pt x="111" y="1304"/>
                    </a:lnTo>
                    <a:lnTo>
                      <a:pt x="109" y="1302"/>
                    </a:lnTo>
                    <a:lnTo>
                      <a:pt x="109" y="1301"/>
                    </a:lnTo>
                    <a:lnTo>
                      <a:pt x="107" y="1301"/>
                    </a:lnTo>
                    <a:lnTo>
                      <a:pt x="107" y="1299"/>
                    </a:lnTo>
                    <a:lnTo>
                      <a:pt x="109" y="1299"/>
                    </a:lnTo>
                    <a:lnTo>
                      <a:pt x="107" y="1299"/>
                    </a:lnTo>
                    <a:lnTo>
                      <a:pt x="109" y="1297"/>
                    </a:lnTo>
                    <a:lnTo>
                      <a:pt x="109" y="1295"/>
                    </a:lnTo>
                    <a:lnTo>
                      <a:pt x="107" y="1295"/>
                    </a:lnTo>
                    <a:lnTo>
                      <a:pt x="107" y="1293"/>
                    </a:lnTo>
                    <a:lnTo>
                      <a:pt x="105" y="1293"/>
                    </a:lnTo>
                    <a:lnTo>
                      <a:pt x="105" y="1291"/>
                    </a:lnTo>
                    <a:lnTo>
                      <a:pt x="105" y="1289"/>
                    </a:lnTo>
                    <a:lnTo>
                      <a:pt x="105" y="1287"/>
                    </a:lnTo>
                    <a:lnTo>
                      <a:pt x="105" y="1285"/>
                    </a:lnTo>
                    <a:lnTo>
                      <a:pt x="103" y="1285"/>
                    </a:lnTo>
                    <a:lnTo>
                      <a:pt x="101" y="1285"/>
                    </a:lnTo>
                    <a:lnTo>
                      <a:pt x="101" y="1284"/>
                    </a:lnTo>
                    <a:lnTo>
                      <a:pt x="101" y="1282"/>
                    </a:lnTo>
                    <a:lnTo>
                      <a:pt x="99" y="1282"/>
                    </a:lnTo>
                    <a:lnTo>
                      <a:pt x="99" y="1280"/>
                    </a:lnTo>
                    <a:lnTo>
                      <a:pt x="99" y="1278"/>
                    </a:lnTo>
                    <a:lnTo>
                      <a:pt x="97" y="1276"/>
                    </a:lnTo>
                    <a:lnTo>
                      <a:pt x="97" y="1274"/>
                    </a:lnTo>
                    <a:lnTo>
                      <a:pt x="99" y="1274"/>
                    </a:lnTo>
                    <a:lnTo>
                      <a:pt x="99" y="1272"/>
                    </a:lnTo>
                    <a:lnTo>
                      <a:pt x="99" y="1270"/>
                    </a:lnTo>
                    <a:lnTo>
                      <a:pt x="99" y="1269"/>
                    </a:lnTo>
                    <a:lnTo>
                      <a:pt x="97" y="1267"/>
                    </a:lnTo>
                    <a:lnTo>
                      <a:pt x="97" y="1265"/>
                    </a:lnTo>
                    <a:lnTo>
                      <a:pt x="96" y="1265"/>
                    </a:lnTo>
                    <a:lnTo>
                      <a:pt x="96" y="1263"/>
                    </a:lnTo>
                    <a:lnTo>
                      <a:pt x="96" y="1261"/>
                    </a:lnTo>
                    <a:lnTo>
                      <a:pt x="97" y="1261"/>
                    </a:lnTo>
                    <a:lnTo>
                      <a:pt x="96" y="1259"/>
                    </a:lnTo>
                    <a:lnTo>
                      <a:pt x="96" y="1257"/>
                    </a:lnTo>
                    <a:lnTo>
                      <a:pt x="96" y="1255"/>
                    </a:lnTo>
                    <a:lnTo>
                      <a:pt x="94" y="1255"/>
                    </a:lnTo>
                    <a:lnTo>
                      <a:pt x="94" y="1253"/>
                    </a:lnTo>
                    <a:lnTo>
                      <a:pt x="94" y="1252"/>
                    </a:lnTo>
                    <a:lnTo>
                      <a:pt x="94" y="1250"/>
                    </a:lnTo>
                    <a:lnTo>
                      <a:pt x="92" y="1250"/>
                    </a:lnTo>
                    <a:lnTo>
                      <a:pt x="92" y="1248"/>
                    </a:lnTo>
                    <a:lnTo>
                      <a:pt x="92" y="1246"/>
                    </a:lnTo>
                    <a:lnTo>
                      <a:pt x="92" y="1244"/>
                    </a:lnTo>
                    <a:lnTo>
                      <a:pt x="92" y="1242"/>
                    </a:lnTo>
                    <a:lnTo>
                      <a:pt x="92" y="1240"/>
                    </a:lnTo>
                    <a:lnTo>
                      <a:pt x="90" y="1240"/>
                    </a:lnTo>
                    <a:lnTo>
                      <a:pt x="90" y="1238"/>
                    </a:lnTo>
                    <a:lnTo>
                      <a:pt x="88" y="1238"/>
                    </a:lnTo>
                    <a:lnTo>
                      <a:pt x="88" y="1237"/>
                    </a:lnTo>
                    <a:lnTo>
                      <a:pt x="86" y="1237"/>
                    </a:lnTo>
                    <a:lnTo>
                      <a:pt x="86" y="1235"/>
                    </a:lnTo>
                    <a:lnTo>
                      <a:pt x="84" y="1233"/>
                    </a:lnTo>
                    <a:lnTo>
                      <a:pt x="82" y="1231"/>
                    </a:lnTo>
                    <a:lnTo>
                      <a:pt x="79" y="1229"/>
                    </a:lnTo>
                    <a:lnTo>
                      <a:pt x="77" y="1229"/>
                    </a:lnTo>
                    <a:lnTo>
                      <a:pt x="77" y="1227"/>
                    </a:lnTo>
                    <a:lnTo>
                      <a:pt x="75" y="1227"/>
                    </a:lnTo>
                    <a:lnTo>
                      <a:pt x="73" y="1225"/>
                    </a:lnTo>
                    <a:lnTo>
                      <a:pt x="73" y="1223"/>
                    </a:lnTo>
                    <a:lnTo>
                      <a:pt x="71" y="1223"/>
                    </a:lnTo>
                    <a:lnTo>
                      <a:pt x="71" y="1221"/>
                    </a:lnTo>
                    <a:lnTo>
                      <a:pt x="71" y="1220"/>
                    </a:lnTo>
                    <a:lnTo>
                      <a:pt x="69" y="1220"/>
                    </a:lnTo>
                    <a:lnTo>
                      <a:pt x="69" y="1218"/>
                    </a:lnTo>
                    <a:lnTo>
                      <a:pt x="69" y="1216"/>
                    </a:lnTo>
                    <a:lnTo>
                      <a:pt x="67" y="1216"/>
                    </a:lnTo>
                    <a:lnTo>
                      <a:pt x="67" y="1214"/>
                    </a:lnTo>
                    <a:lnTo>
                      <a:pt x="67" y="1212"/>
                    </a:lnTo>
                    <a:lnTo>
                      <a:pt x="67" y="1210"/>
                    </a:lnTo>
                    <a:lnTo>
                      <a:pt x="67" y="1208"/>
                    </a:lnTo>
                    <a:lnTo>
                      <a:pt x="65" y="1208"/>
                    </a:lnTo>
                    <a:lnTo>
                      <a:pt x="65" y="1206"/>
                    </a:lnTo>
                    <a:lnTo>
                      <a:pt x="65" y="1205"/>
                    </a:lnTo>
                    <a:lnTo>
                      <a:pt x="64" y="1205"/>
                    </a:lnTo>
                    <a:lnTo>
                      <a:pt x="64" y="1203"/>
                    </a:lnTo>
                    <a:lnTo>
                      <a:pt x="62" y="1201"/>
                    </a:lnTo>
                    <a:lnTo>
                      <a:pt x="62" y="1199"/>
                    </a:lnTo>
                    <a:lnTo>
                      <a:pt x="62" y="1197"/>
                    </a:lnTo>
                    <a:lnTo>
                      <a:pt x="60" y="1195"/>
                    </a:lnTo>
                    <a:lnTo>
                      <a:pt x="60" y="1193"/>
                    </a:lnTo>
                    <a:lnTo>
                      <a:pt x="58" y="1191"/>
                    </a:lnTo>
                    <a:lnTo>
                      <a:pt x="56" y="1189"/>
                    </a:lnTo>
                    <a:lnTo>
                      <a:pt x="54" y="1188"/>
                    </a:lnTo>
                    <a:lnTo>
                      <a:pt x="52" y="1188"/>
                    </a:lnTo>
                    <a:lnTo>
                      <a:pt x="52" y="1186"/>
                    </a:lnTo>
                    <a:lnTo>
                      <a:pt x="50" y="1184"/>
                    </a:lnTo>
                    <a:lnTo>
                      <a:pt x="48" y="1184"/>
                    </a:lnTo>
                    <a:lnTo>
                      <a:pt x="47" y="1182"/>
                    </a:lnTo>
                    <a:lnTo>
                      <a:pt x="45" y="1182"/>
                    </a:lnTo>
                    <a:lnTo>
                      <a:pt x="43" y="1180"/>
                    </a:lnTo>
                    <a:lnTo>
                      <a:pt x="41" y="1178"/>
                    </a:lnTo>
                    <a:lnTo>
                      <a:pt x="39" y="1178"/>
                    </a:lnTo>
                    <a:lnTo>
                      <a:pt x="37" y="1178"/>
                    </a:lnTo>
                    <a:lnTo>
                      <a:pt x="37" y="1176"/>
                    </a:lnTo>
                    <a:lnTo>
                      <a:pt x="37" y="1174"/>
                    </a:lnTo>
                    <a:lnTo>
                      <a:pt x="37" y="1173"/>
                    </a:lnTo>
                    <a:lnTo>
                      <a:pt x="37" y="1171"/>
                    </a:lnTo>
                    <a:lnTo>
                      <a:pt x="35" y="1171"/>
                    </a:lnTo>
                    <a:lnTo>
                      <a:pt x="35" y="1169"/>
                    </a:lnTo>
                    <a:lnTo>
                      <a:pt x="35" y="1167"/>
                    </a:lnTo>
                    <a:lnTo>
                      <a:pt x="33" y="1165"/>
                    </a:lnTo>
                    <a:lnTo>
                      <a:pt x="33" y="1163"/>
                    </a:lnTo>
                    <a:lnTo>
                      <a:pt x="32" y="1163"/>
                    </a:lnTo>
                    <a:lnTo>
                      <a:pt x="32" y="1161"/>
                    </a:lnTo>
                    <a:lnTo>
                      <a:pt x="32" y="1159"/>
                    </a:lnTo>
                    <a:lnTo>
                      <a:pt x="33" y="1159"/>
                    </a:lnTo>
                    <a:lnTo>
                      <a:pt x="33" y="1157"/>
                    </a:lnTo>
                    <a:lnTo>
                      <a:pt x="32" y="1157"/>
                    </a:lnTo>
                    <a:lnTo>
                      <a:pt x="32" y="1156"/>
                    </a:lnTo>
                    <a:lnTo>
                      <a:pt x="32" y="1154"/>
                    </a:lnTo>
                    <a:lnTo>
                      <a:pt x="30" y="1154"/>
                    </a:lnTo>
                    <a:lnTo>
                      <a:pt x="30" y="1152"/>
                    </a:lnTo>
                    <a:lnTo>
                      <a:pt x="30" y="1150"/>
                    </a:lnTo>
                    <a:lnTo>
                      <a:pt x="30" y="1148"/>
                    </a:lnTo>
                    <a:lnTo>
                      <a:pt x="30" y="1146"/>
                    </a:lnTo>
                    <a:lnTo>
                      <a:pt x="28" y="1146"/>
                    </a:lnTo>
                    <a:lnTo>
                      <a:pt x="26" y="1146"/>
                    </a:lnTo>
                    <a:lnTo>
                      <a:pt x="26" y="1144"/>
                    </a:lnTo>
                    <a:lnTo>
                      <a:pt x="28" y="1144"/>
                    </a:lnTo>
                    <a:lnTo>
                      <a:pt x="28" y="1142"/>
                    </a:lnTo>
                    <a:lnTo>
                      <a:pt x="28" y="1141"/>
                    </a:lnTo>
                    <a:lnTo>
                      <a:pt x="30" y="1141"/>
                    </a:lnTo>
                    <a:lnTo>
                      <a:pt x="30" y="1139"/>
                    </a:lnTo>
                    <a:lnTo>
                      <a:pt x="30" y="1137"/>
                    </a:lnTo>
                    <a:lnTo>
                      <a:pt x="28" y="1135"/>
                    </a:lnTo>
                    <a:lnTo>
                      <a:pt x="30" y="1135"/>
                    </a:lnTo>
                    <a:lnTo>
                      <a:pt x="28" y="1135"/>
                    </a:lnTo>
                    <a:lnTo>
                      <a:pt x="28" y="1133"/>
                    </a:lnTo>
                    <a:lnTo>
                      <a:pt x="26" y="1133"/>
                    </a:lnTo>
                    <a:lnTo>
                      <a:pt x="26" y="1131"/>
                    </a:lnTo>
                    <a:lnTo>
                      <a:pt x="24" y="1131"/>
                    </a:lnTo>
                    <a:lnTo>
                      <a:pt x="24" y="1129"/>
                    </a:lnTo>
                    <a:lnTo>
                      <a:pt x="22" y="1129"/>
                    </a:lnTo>
                    <a:lnTo>
                      <a:pt x="20" y="1129"/>
                    </a:lnTo>
                    <a:lnTo>
                      <a:pt x="20" y="1127"/>
                    </a:lnTo>
                    <a:lnTo>
                      <a:pt x="18" y="1127"/>
                    </a:lnTo>
                    <a:lnTo>
                      <a:pt x="18" y="1125"/>
                    </a:lnTo>
                    <a:lnTo>
                      <a:pt x="17" y="1124"/>
                    </a:lnTo>
                    <a:lnTo>
                      <a:pt x="15" y="1124"/>
                    </a:lnTo>
                    <a:lnTo>
                      <a:pt x="15" y="1122"/>
                    </a:lnTo>
                    <a:lnTo>
                      <a:pt x="15" y="1120"/>
                    </a:lnTo>
                    <a:lnTo>
                      <a:pt x="13" y="1120"/>
                    </a:lnTo>
                    <a:lnTo>
                      <a:pt x="13" y="1118"/>
                    </a:lnTo>
                    <a:lnTo>
                      <a:pt x="15" y="1118"/>
                    </a:lnTo>
                    <a:lnTo>
                      <a:pt x="13" y="1118"/>
                    </a:lnTo>
                    <a:lnTo>
                      <a:pt x="13" y="1116"/>
                    </a:lnTo>
                    <a:lnTo>
                      <a:pt x="11" y="1116"/>
                    </a:lnTo>
                    <a:lnTo>
                      <a:pt x="9" y="1116"/>
                    </a:lnTo>
                    <a:lnTo>
                      <a:pt x="9" y="1114"/>
                    </a:lnTo>
                    <a:lnTo>
                      <a:pt x="7" y="1114"/>
                    </a:lnTo>
                    <a:lnTo>
                      <a:pt x="7" y="1112"/>
                    </a:lnTo>
                    <a:lnTo>
                      <a:pt x="5" y="1112"/>
                    </a:lnTo>
                    <a:lnTo>
                      <a:pt x="3" y="1110"/>
                    </a:lnTo>
                    <a:lnTo>
                      <a:pt x="1" y="1109"/>
                    </a:lnTo>
                    <a:lnTo>
                      <a:pt x="0" y="1109"/>
                    </a:lnTo>
                    <a:lnTo>
                      <a:pt x="0" y="1107"/>
                    </a:lnTo>
                    <a:lnTo>
                      <a:pt x="0" y="1105"/>
                    </a:lnTo>
                    <a:lnTo>
                      <a:pt x="0" y="1103"/>
                    </a:lnTo>
                    <a:lnTo>
                      <a:pt x="0" y="1101"/>
                    </a:lnTo>
                    <a:lnTo>
                      <a:pt x="0" y="1099"/>
                    </a:lnTo>
                    <a:lnTo>
                      <a:pt x="0" y="1097"/>
                    </a:lnTo>
                    <a:lnTo>
                      <a:pt x="0" y="1095"/>
                    </a:lnTo>
                    <a:lnTo>
                      <a:pt x="1" y="1093"/>
                    </a:lnTo>
                    <a:lnTo>
                      <a:pt x="1" y="1092"/>
                    </a:lnTo>
                    <a:lnTo>
                      <a:pt x="3" y="1092"/>
                    </a:lnTo>
                    <a:lnTo>
                      <a:pt x="1" y="1092"/>
                    </a:lnTo>
                    <a:lnTo>
                      <a:pt x="3" y="1092"/>
                    </a:lnTo>
                    <a:lnTo>
                      <a:pt x="3" y="1090"/>
                    </a:lnTo>
                    <a:lnTo>
                      <a:pt x="5" y="1090"/>
                    </a:lnTo>
                    <a:lnTo>
                      <a:pt x="5" y="1088"/>
                    </a:lnTo>
                    <a:lnTo>
                      <a:pt x="7" y="1088"/>
                    </a:lnTo>
                    <a:lnTo>
                      <a:pt x="9" y="1086"/>
                    </a:lnTo>
                    <a:lnTo>
                      <a:pt x="11" y="1086"/>
                    </a:lnTo>
                    <a:lnTo>
                      <a:pt x="13" y="1086"/>
                    </a:lnTo>
                    <a:lnTo>
                      <a:pt x="15" y="1086"/>
                    </a:lnTo>
                    <a:lnTo>
                      <a:pt x="17" y="1084"/>
                    </a:lnTo>
                    <a:lnTo>
                      <a:pt x="18" y="1084"/>
                    </a:lnTo>
                    <a:lnTo>
                      <a:pt x="20" y="1084"/>
                    </a:lnTo>
                    <a:lnTo>
                      <a:pt x="22" y="1084"/>
                    </a:lnTo>
                    <a:lnTo>
                      <a:pt x="22" y="1082"/>
                    </a:lnTo>
                    <a:lnTo>
                      <a:pt x="24" y="1082"/>
                    </a:lnTo>
                    <a:lnTo>
                      <a:pt x="26" y="1082"/>
                    </a:lnTo>
                    <a:lnTo>
                      <a:pt x="26" y="1080"/>
                    </a:lnTo>
                    <a:lnTo>
                      <a:pt x="28" y="1080"/>
                    </a:lnTo>
                    <a:lnTo>
                      <a:pt x="30" y="1080"/>
                    </a:lnTo>
                    <a:lnTo>
                      <a:pt x="32" y="1080"/>
                    </a:lnTo>
                    <a:lnTo>
                      <a:pt x="32" y="1078"/>
                    </a:lnTo>
                    <a:lnTo>
                      <a:pt x="33" y="1078"/>
                    </a:lnTo>
                    <a:lnTo>
                      <a:pt x="35" y="1078"/>
                    </a:lnTo>
                    <a:lnTo>
                      <a:pt x="37" y="1078"/>
                    </a:lnTo>
                    <a:lnTo>
                      <a:pt x="37" y="1076"/>
                    </a:lnTo>
                    <a:lnTo>
                      <a:pt x="39" y="1076"/>
                    </a:lnTo>
                    <a:lnTo>
                      <a:pt x="39" y="1075"/>
                    </a:lnTo>
                    <a:lnTo>
                      <a:pt x="41" y="1075"/>
                    </a:lnTo>
                    <a:lnTo>
                      <a:pt x="41" y="1073"/>
                    </a:lnTo>
                    <a:lnTo>
                      <a:pt x="41" y="1071"/>
                    </a:lnTo>
                    <a:lnTo>
                      <a:pt x="41" y="1069"/>
                    </a:lnTo>
                    <a:lnTo>
                      <a:pt x="43" y="1069"/>
                    </a:lnTo>
                    <a:lnTo>
                      <a:pt x="43" y="1067"/>
                    </a:lnTo>
                    <a:lnTo>
                      <a:pt x="45" y="1067"/>
                    </a:lnTo>
                    <a:lnTo>
                      <a:pt x="47" y="1065"/>
                    </a:lnTo>
                    <a:lnTo>
                      <a:pt x="48" y="1065"/>
                    </a:lnTo>
                    <a:lnTo>
                      <a:pt x="48" y="1063"/>
                    </a:lnTo>
                    <a:lnTo>
                      <a:pt x="50" y="1063"/>
                    </a:lnTo>
                    <a:lnTo>
                      <a:pt x="52" y="1063"/>
                    </a:lnTo>
                    <a:lnTo>
                      <a:pt x="52" y="1061"/>
                    </a:lnTo>
                    <a:lnTo>
                      <a:pt x="54" y="1061"/>
                    </a:lnTo>
                    <a:lnTo>
                      <a:pt x="54" y="1060"/>
                    </a:lnTo>
                    <a:lnTo>
                      <a:pt x="56" y="1060"/>
                    </a:lnTo>
                    <a:lnTo>
                      <a:pt x="58" y="1060"/>
                    </a:lnTo>
                    <a:lnTo>
                      <a:pt x="60" y="1060"/>
                    </a:lnTo>
                    <a:lnTo>
                      <a:pt x="60" y="1061"/>
                    </a:lnTo>
                    <a:lnTo>
                      <a:pt x="62" y="1061"/>
                    </a:lnTo>
                    <a:lnTo>
                      <a:pt x="62" y="1063"/>
                    </a:lnTo>
                    <a:lnTo>
                      <a:pt x="62" y="1065"/>
                    </a:lnTo>
                    <a:lnTo>
                      <a:pt x="62" y="1067"/>
                    </a:lnTo>
                    <a:lnTo>
                      <a:pt x="64" y="1067"/>
                    </a:lnTo>
                    <a:lnTo>
                      <a:pt x="64" y="1069"/>
                    </a:lnTo>
                    <a:lnTo>
                      <a:pt x="65" y="1069"/>
                    </a:lnTo>
                    <a:lnTo>
                      <a:pt x="67" y="1069"/>
                    </a:lnTo>
                    <a:lnTo>
                      <a:pt x="69" y="1069"/>
                    </a:lnTo>
                    <a:lnTo>
                      <a:pt x="69" y="1067"/>
                    </a:lnTo>
                    <a:lnTo>
                      <a:pt x="71" y="1067"/>
                    </a:lnTo>
                    <a:lnTo>
                      <a:pt x="71" y="1065"/>
                    </a:lnTo>
                    <a:lnTo>
                      <a:pt x="73" y="1063"/>
                    </a:lnTo>
                    <a:lnTo>
                      <a:pt x="73" y="1061"/>
                    </a:lnTo>
                    <a:lnTo>
                      <a:pt x="73" y="1060"/>
                    </a:lnTo>
                    <a:lnTo>
                      <a:pt x="75" y="1060"/>
                    </a:lnTo>
                    <a:lnTo>
                      <a:pt x="75" y="1058"/>
                    </a:lnTo>
                    <a:lnTo>
                      <a:pt x="77" y="1056"/>
                    </a:lnTo>
                    <a:lnTo>
                      <a:pt x="79" y="1056"/>
                    </a:lnTo>
                    <a:lnTo>
                      <a:pt x="80" y="1056"/>
                    </a:lnTo>
                    <a:lnTo>
                      <a:pt x="80" y="1054"/>
                    </a:lnTo>
                    <a:lnTo>
                      <a:pt x="80" y="1052"/>
                    </a:lnTo>
                    <a:lnTo>
                      <a:pt x="82" y="1052"/>
                    </a:lnTo>
                    <a:lnTo>
                      <a:pt x="82" y="1050"/>
                    </a:lnTo>
                    <a:lnTo>
                      <a:pt x="80" y="1048"/>
                    </a:lnTo>
                    <a:lnTo>
                      <a:pt x="80" y="1046"/>
                    </a:lnTo>
                    <a:lnTo>
                      <a:pt x="80" y="1044"/>
                    </a:lnTo>
                    <a:lnTo>
                      <a:pt x="79" y="1043"/>
                    </a:lnTo>
                    <a:lnTo>
                      <a:pt x="79" y="1041"/>
                    </a:lnTo>
                    <a:lnTo>
                      <a:pt x="80" y="1039"/>
                    </a:lnTo>
                    <a:lnTo>
                      <a:pt x="80" y="1037"/>
                    </a:lnTo>
                    <a:lnTo>
                      <a:pt x="82" y="1037"/>
                    </a:lnTo>
                    <a:lnTo>
                      <a:pt x="84" y="1035"/>
                    </a:lnTo>
                    <a:lnTo>
                      <a:pt x="84" y="1033"/>
                    </a:lnTo>
                    <a:lnTo>
                      <a:pt x="86" y="1033"/>
                    </a:lnTo>
                    <a:lnTo>
                      <a:pt x="86" y="1031"/>
                    </a:lnTo>
                    <a:lnTo>
                      <a:pt x="88" y="1031"/>
                    </a:lnTo>
                    <a:lnTo>
                      <a:pt x="88" y="1029"/>
                    </a:lnTo>
                    <a:lnTo>
                      <a:pt x="90" y="1029"/>
                    </a:lnTo>
                    <a:lnTo>
                      <a:pt x="90" y="1028"/>
                    </a:lnTo>
                    <a:lnTo>
                      <a:pt x="88" y="1028"/>
                    </a:lnTo>
                    <a:lnTo>
                      <a:pt x="88" y="1026"/>
                    </a:lnTo>
                    <a:lnTo>
                      <a:pt x="86" y="1026"/>
                    </a:lnTo>
                    <a:lnTo>
                      <a:pt x="86" y="1024"/>
                    </a:lnTo>
                    <a:lnTo>
                      <a:pt x="84" y="1024"/>
                    </a:lnTo>
                    <a:lnTo>
                      <a:pt x="84" y="1022"/>
                    </a:lnTo>
                    <a:lnTo>
                      <a:pt x="84" y="1020"/>
                    </a:lnTo>
                    <a:lnTo>
                      <a:pt x="82" y="1018"/>
                    </a:lnTo>
                    <a:lnTo>
                      <a:pt x="82" y="1016"/>
                    </a:lnTo>
                    <a:lnTo>
                      <a:pt x="80" y="1016"/>
                    </a:lnTo>
                    <a:lnTo>
                      <a:pt x="80" y="1014"/>
                    </a:lnTo>
                    <a:lnTo>
                      <a:pt x="79" y="1014"/>
                    </a:lnTo>
                    <a:lnTo>
                      <a:pt x="77" y="1012"/>
                    </a:lnTo>
                    <a:lnTo>
                      <a:pt x="77" y="1011"/>
                    </a:lnTo>
                    <a:lnTo>
                      <a:pt x="75" y="1009"/>
                    </a:lnTo>
                    <a:lnTo>
                      <a:pt x="75" y="1007"/>
                    </a:lnTo>
                    <a:lnTo>
                      <a:pt x="75" y="1005"/>
                    </a:lnTo>
                    <a:lnTo>
                      <a:pt x="77" y="1005"/>
                    </a:lnTo>
                    <a:lnTo>
                      <a:pt x="77" y="1003"/>
                    </a:lnTo>
                    <a:lnTo>
                      <a:pt x="77" y="1001"/>
                    </a:lnTo>
                    <a:lnTo>
                      <a:pt x="77" y="999"/>
                    </a:lnTo>
                    <a:lnTo>
                      <a:pt x="79" y="999"/>
                    </a:lnTo>
                    <a:lnTo>
                      <a:pt x="80" y="999"/>
                    </a:lnTo>
                    <a:lnTo>
                      <a:pt x="82" y="999"/>
                    </a:lnTo>
                    <a:lnTo>
                      <a:pt x="84" y="999"/>
                    </a:lnTo>
                    <a:lnTo>
                      <a:pt x="84" y="1001"/>
                    </a:lnTo>
                    <a:lnTo>
                      <a:pt x="86" y="1001"/>
                    </a:lnTo>
                    <a:lnTo>
                      <a:pt x="88" y="1003"/>
                    </a:lnTo>
                    <a:lnTo>
                      <a:pt x="90" y="1003"/>
                    </a:lnTo>
                    <a:lnTo>
                      <a:pt x="92" y="1003"/>
                    </a:lnTo>
                    <a:lnTo>
                      <a:pt x="94" y="1003"/>
                    </a:lnTo>
                    <a:lnTo>
                      <a:pt x="94" y="1001"/>
                    </a:lnTo>
                    <a:lnTo>
                      <a:pt x="94" y="999"/>
                    </a:lnTo>
                    <a:lnTo>
                      <a:pt x="96" y="997"/>
                    </a:lnTo>
                    <a:lnTo>
                      <a:pt x="96" y="996"/>
                    </a:lnTo>
                    <a:lnTo>
                      <a:pt x="94" y="996"/>
                    </a:lnTo>
                    <a:lnTo>
                      <a:pt x="94" y="994"/>
                    </a:lnTo>
                    <a:lnTo>
                      <a:pt x="92" y="994"/>
                    </a:lnTo>
                    <a:lnTo>
                      <a:pt x="92" y="992"/>
                    </a:lnTo>
                    <a:lnTo>
                      <a:pt x="90" y="992"/>
                    </a:lnTo>
                    <a:lnTo>
                      <a:pt x="90" y="990"/>
                    </a:lnTo>
                    <a:lnTo>
                      <a:pt x="88" y="990"/>
                    </a:lnTo>
                    <a:lnTo>
                      <a:pt x="88" y="988"/>
                    </a:lnTo>
                    <a:lnTo>
                      <a:pt x="90" y="986"/>
                    </a:lnTo>
                    <a:lnTo>
                      <a:pt x="92" y="986"/>
                    </a:lnTo>
                    <a:lnTo>
                      <a:pt x="94" y="986"/>
                    </a:lnTo>
                    <a:lnTo>
                      <a:pt x="96" y="986"/>
                    </a:lnTo>
                    <a:lnTo>
                      <a:pt x="97" y="986"/>
                    </a:lnTo>
                    <a:lnTo>
                      <a:pt x="99" y="986"/>
                    </a:lnTo>
                    <a:lnTo>
                      <a:pt x="101" y="986"/>
                    </a:lnTo>
                    <a:lnTo>
                      <a:pt x="101" y="984"/>
                    </a:lnTo>
                    <a:lnTo>
                      <a:pt x="103" y="984"/>
                    </a:lnTo>
                    <a:lnTo>
                      <a:pt x="103" y="982"/>
                    </a:lnTo>
                    <a:lnTo>
                      <a:pt x="101" y="982"/>
                    </a:lnTo>
                    <a:lnTo>
                      <a:pt x="101" y="980"/>
                    </a:lnTo>
                    <a:lnTo>
                      <a:pt x="99" y="980"/>
                    </a:lnTo>
                    <a:lnTo>
                      <a:pt x="99" y="979"/>
                    </a:lnTo>
                    <a:lnTo>
                      <a:pt x="97" y="979"/>
                    </a:lnTo>
                    <a:lnTo>
                      <a:pt x="96" y="979"/>
                    </a:lnTo>
                    <a:lnTo>
                      <a:pt x="96" y="977"/>
                    </a:lnTo>
                    <a:lnTo>
                      <a:pt x="96" y="975"/>
                    </a:lnTo>
                    <a:lnTo>
                      <a:pt x="94" y="975"/>
                    </a:lnTo>
                    <a:lnTo>
                      <a:pt x="96" y="973"/>
                    </a:lnTo>
                    <a:lnTo>
                      <a:pt x="96" y="971"/>
                    </a:lnTo>
                    <a:lnTo>
                      <a:pt x="97" y="971"/>
                    </a:lnTo>
                    <a:lnTo>
                      <a:pt x="99" y="971"/>
                    </a:lnTo>
                    <a:lnTo>
                      <a:pt x="101" y="973"/>
                    </a:lnTo>
                    <a:lnTo>
                      <a:pt x="103" y="973"/>
                    </a:lnTo>
                    <a:lnTo>
                      <a:pt x="105" y="975"/>
                    </a:lnTo>
                    <a:lnTo>
                      <a:pt x="105" y="977"/>
                    </a:lnTo>
                    <a:lnTo>
                      <a:pt x="107" y="977"/>
                    </a:lnTo>
                    <a:lnTo>
                      <a:pt x="107" y="975"/>
                    </a:lnTo>
                    <a:lnTo>
                      <a:pt x="109" y="975"/>
                    </a:lnTo>
                    <a:lnTo>
                      <a:pt x="111" y="975"/>
                    </a:lnTo>
                    <a:lnTo>
                      <a:pt x="111" y="973"/>
                    </a:lnTo>
                    <a:lnTo>
                      <a:pt x="109" y="971"/>
                    </a:lnTo>
                    <a:lnTo>
                      <a:pt x="109" y="969"/>
                    </a:lnTo>
                    <a:lnTo>
                      <a:pt x="109" y="967"/>
                    </a:lnTo>
                    <a:lnTo>
                      <a:pt x="109" y="965"/>
                    </a:lnTo>
                    <a:lnTo>
                      <a:pt x="111" y="965"/>
                    </a:lnTo>
                    <a:lnTo>
                      <a:pt x="111" y="964"/>
                    </a:lnTo>
                    <a:lnTo>
                      <a:pt x="111" y="962"/>
                    </a:lnTo>
                    <a:lnTo>
                      <a:pt x="111" y="960"/>
                    </a:lnTo>
                    <a:lnTo>
                      <a:pt x="111" y="958"/>
                    </a:lnTo>
                    <a:lnTo>
                      <a:pt x="111" y="956"/>
                    </a:lnTo>
                    <a:lnTo>
                      <a:pt x="109" y="956"/>
                    </a:lnTo>
                    <a:lnTo>
                      <a:pt x="109" y="954"/>
                    </a:lnTo>
                    <a:lnTo>
                      <a:pt x="109" y="952"/>
                    </a:lnTo>
                    <a:lnTo>
                      <a:pt x="109" y="950"/>
                    </a:lnTo>
                    <a:lnTo>
                      <a:pt x="109" y="948"/>
                    </a:lnTo>
                    <a:lnTo>
                      <a:pt x="111" y="948"/>
                    </a:lnTo>
                    <a:lnTo>
                      <a:pt x="111" y="947"/>
                    </a:lnTo>
                    <a:lnTo>
                      <a:pt x="112" y="947"/>
                    </a:lnTo>
                    <a:lnTo>
                      <a:pt x="112" y="945"/>
                    </a:lnTo>
                    <a:lnTo>
                      <a:pt x="114" y="945"/>
                    </a:lnTo>
                    <a:lnTo>
                      <a:pt x="114" y="943"/>
                    </a:lnTo>
                    <a:lnTo>
                      <a:pt x="116" y="943"/>
                    </a:lnTo>
                    <a:lnTo>
                      <a:pt x="116" y="945"/>
                    </a:lnTo>
                    <a:lnTo>
                      <a:pt x="118" y="943"/>
                    </a:lnTo>
                    <a:lnTo>
                      <a:pt x="120" y="943"/>
                    </a:lnTo>
                    <a:lnTo>
                      <a:pt x="122" y="945"/>
                    </a:lnTo>
                    <a:lnTo>
                      <a:pt x="124" y="945"/>
                    </a:lnTo>
                    <a:lnTo>
                      <a:pt x="126" y="945"/>
                    </a:lnTo>
                    <a:lnTo>
                      <a:pt x="127" y="945"/>
                    </a:lnTo>
                    <a:lnTo>
                      <a:pt x="129" y="945"/>
                    </a:lnTo>
                    <a:lnTo>
                      <a:pt x="129" y="943"/>
                    </a:lnTo>
                    <a:lnTo>
                      <a:pt x="131" y="943"/>
                    </a:lnTo>
                    <a:lnTo>
                      <a:pt x="131" y="941"/>
                    </a:lnTo>
                    <a:lnTo>
                      <a:pt x="133" y="941"/>
                    </a:lnTo>
                    <a:lnTo>
                      <a:pt x="135" y="941"/>
                    </a:lnTo>
                    <a:lnTo>
                      <a:pt x="135" y="943"/>
                    </a:lnTo>
                    <a:lnTo>
                      <a:pt x="137" y="943"/>
                    </a:lnTo>
                    <a:lnTo>
                      <a:pt x="137" y="945"/>
                    </a:lnTo>
                    <a:lnTo>
                      <a:pt x="139" y="945"/>
                    </a:lnTo>
                    <a:lnTo>
                      <a:pt x="141" y="945"/>
                    </a:lnTo>
                    <a:lnTo>
                      <a:pt x="141" y="943"/>
                    </a:lnTo>
                    <a:lnTo>
                      <a:pt x="143" y="943"/>
                    </a:lnTo>
                    <a:lnTo>
                      <a:pt x="143" y="941"/>
                    </a:lnTo>
                    <a:lnTo>
                      <a:pt x="143" y="939"/>
                    </a:lnTo>
                    <a:lnTo>
                      <a:pt x="144" y="939"/>
                    </a:lnTo>
                    <a:lnTo>
                      <a:pt x="146" y="937"/>
                    </a:lnTo>
                    <a:lnTo>
                      <a:pt x="148" y="937"/>
                    </a:lnTo>
                    <a:lnTo>
                      <a:pt x="150" y="937"/>
                    </a:lnTo>
                    <a:lnTo>
                      <a:pt x="152" y="937"/>
                    </a:lnTo>
                    <a:lnTo>
                      <a:pt x="154" y="937"/>
                    </a:lnTo>
                    <a:lnTo>
                      <a:pt x="154" y="935"/>
                    </a:lnTo>
                    <a:lnTo>
                      <a:pt x="156" y="935"/>
                    </a:lnTo>
                    <a:lnTo>
                      <a:pt x="158" y="933"/>
                    </a:lnTo>
                    <a:lnTo>
                      <a:pt x="159" y="933"/>
                    </a:lnTo>
                    <a:lnTo>
                      <a:pt x="161" y="933"/>
                    </a:lnTo>
                    <a:lnTo>
                      <a:pt x="161" y="935"/>
                    </a:lnTo>
                    <a:lnTo>
                      <a:pt x="163" y="935"/>
                    </a:lnTo>
                    <a:lnTo>
                      <a:pt x="165" y="937"/>
                    </a:lnTo>
                    <a:lnTo>
                      <a:pt x="167" y="937"/>
                    </a:lnTo>
                    <a:lnTo>
                      <a:pt x="167" y="939"/>
                    </a:lnTo>
                    <a:lnTo>
                      <a:pt x="169" y="939"/>
                    </a:lnTo>
                    <a:lnTo>
                      <a:pt x="169" y="941"/>
                    </a:lnTo>
                    <a:lnTo>
                      <a:pt x="169" y="943"/>
                    </a:lnTo>
                    <a:lnTo>
                      <a:pt x="171" y="943"/>
                    </a:lnTo>
                    <a:lnTo>
                      <a:pt x="171" y="945"/>
                    </a:lnTo>
                    <a:lnTo>
                      <a:pt x="171" y="947"/>
                    </a:lnTo>
                    <a:lnTo>
                      <a:pt x="173" y="947"/>
                    </a:lnTo>
                    <a:lnTo>
                      <a:pt x="173" y="948"/>
                    </a:lnTo>
                    <a:lnTo>
                      <a:pt x="173" y="950"/>
                    </a:lnTo>
                    <a:lnTo>
                      <a:pt x="175" y="950"/>
                    </a:lnTo>
                    <a:lnTo>
                      <a:pt x="176" y="950"/>
                    </a:lnTo>
                    <a:lnTo>
                      <a:pt x="178" y="952"/>
                    </a:lnTo>
                    <a:lnTo>
                      <a:pt x="180" y="952"/>
                    </a:lnTo>
                    <a:lnTo>
                      <a:pt x="182" y="952"/>
                    </a:lnTo>
                    <a:lnTo>
                      <a:pt x="184" y="952"/>
                    </a:lnTo>
                    <a:lnTo>
                      <a:pt x="186" y="952"/>
                    </a:lnTo>
                    <a:lnTo>
                      <a:pt x="186" y="954"/>
                    </a:lnTo>
                    <a:lnTo>
                      <a:pt x="188" y="954"/>
                    </a:lnTo>
                    <a:lnTo>
                      <a:pt x="188" y="956"/>
                    </a:lnTo>
                    <a:lnTo>
                      <a:pt x="188" y="958"/>
                    </a:lnTo>
                    <a:lnTo>
                      <a:pt x="188" y="960"/>
                    </a:lnTo>
                    <a:lnTo>
                      <a:pt x="190" y="960"/>
                    </a:lnTo>
                    <a:lnTo>
                      <a:pt x="190" y="962"/>
                    </a:lnTo>
                    <a:lnTo>
                      <a:pt x="190" y="964"/>
                    </a:lnTo>
                    <a:lnTo>
                      <a:pt x="188" y="964"/>
                    </a:lnTo>
                    <a:lnTo>
                      <a:pt x="188" y="965"/>
                    </a:lnTo>
                    <a:lnTo>
                      <a:pt x="188" y="967"/>
                    </a:lnTo>
                    <a:lnTo>
                      <a:pt x="188" y="969"/>
                    </a:lnTo>
                    <a:lnTo>
                      <a:pt x="188" y="971"/>
                    </a:lnTo>
                    <a:lnTo>
                      <a:pt x="188" y="973"/>
                    </a:lnTo>
                    <a:lnTo>
                      <a:pt x="186" y="973"/>
                    </a:lnTo>
                    <a:lnTo>
                      <a:pt x="186" y="975"/>
                    </a:lnTo>
                    <a:lnTo>
                      <a:pt x="186" y="977"/>
                    </a:lnTo>
                    <a:lnTo>
                      <a:pt x="186" y="979"/>
                    </a:lnTo>
                    <a:lnTo>
                      <a:pt x="186" y="980"/>
                    </a:lnTo>
                    <a:lnTo>
                      <a:pt x="186" y="982"/>
                    </a:lnTo>
                    <a:lnTo>
                      <a:pt x="186" y="984"/>
                    </a:lnTo>
                    <a:lnTo>
                      <a:pt x="186" y="986"/>
                    </a:lnTo>
                    <a:lnTo>
                      <a:pt x="188" y="986"/>
                    </a:lnTo>
                    <a:lnTo>
                      <a:pt x="188" y="988"/>
                    </a:lnTo>
                    <a:lnTo>
                      <a:pt x="188" y="990"/>
                    </a:lnTo>
                    <a:lnTo>
                      <a:pt x="190" y="990"/>
                    </a:lnTo>
                    <a:lnTo>
                      <a:pt x="190" y="992"/>
                    </a:lnTo>
                    <a:lnTo>
                      <a:pt x="191" y="992"/>
                    </a:lnTo>
                    <a:lnTo>
                      <a:pt x="191" y="994"/>
                    </a:lnTo>
                    <a:lnTo>
                      <a:pt x="193" y="994"/>
                    </a:lnTo>
                    <a:lnTo>
                      <a:pt x="193" y="996"/>
                    </a:lnTo>
                    <a:lnTo>
                      <a:pt x="195" y="996"/>
                    </a:lnTo>
                    <a:lnTo>
                      <a:pt x="197" y="996"/>
                    </a:lnTo>
                    <a:lnTo>
                      <a:pt x="199" y="996"/>
                    </a:lnTo>
                    <a:lnTo>
                      <a:pt x="201" y="996"/>
                    </a:lnTo>
                    <a:lnTo>
                      <a:pt x="201" y="994"/>
                    </a:lnTo>
                    <a:lnTo>
                      <a:pt x="203" y="994"/>
                    </a:lnTo>
                    <a:lnTo>
                      <a:pt x="203" y="992"/>
                    </a:lnTo>
                    <a:lnTo>
                      <a:pt x="205" y="992"/>
                    </a:lnTo>
                    <a:lnTo>
                      <a:pt x="206" y="994"/>
                    </a:lnTo>
                    <a:lnTo>
                      <a:pt x="208" y="994"/>
                    </a:lnTo>
                    <a:lnTo>
                      <a:pt x="210" y="994"/>
                    </a:lnTo>
                    <a:lnTo>
                      <a:pt x="212" y="994"/>
                    </a:lnTo>
                    <a:lnTo>
                      <a:pt x="212" y="992"/>
                    </a:lnTo>
                    <a:lnTo>
                      <a:pt x="214" y="992"/>
                    </a:lnTo>
                    <a:lnTo>
                      <a:pt x="214" y="990"/>
                    </a:lnTo>
                    <a:lnTo>
                      <a:pt x="216" y="990"/>
                    </a:lnTo>
                    <a:lnTo>
                      <a:pt x="216" y="988"/>
                    </a:lnTo>
                    <a:lnTo>
                      <a:pt x="218" y="988"/>
                    </a:lnTo>
                    <a:lnTo>
                      <a:pt x="220" y="988"/>
                    </a:lnTo>
                    <a:lnTo>
                      <a:pt x="222" y="988"/>
                    </a:lnTo>
                    <a:lnTo>
                      <a:pt x="223" y="988"/>
                    </a:lnTo>
                    <a:lnTo>
                      <a:pt x="225" y="990"/>
                    </a:lnTo>
                    <a:lnTo>
                      <a:pt x="225" y="992"/>
                    </a:lnTo>
                    <a:lnTo>
                      <a:pt x="227" y="992"/>
                    </a:lnTo>
                    <a:lnTo>
                      <a:pt x="227" y="994"/>
                    </a:lnTo>
                    <a:lnTo>
                      <a:pt x="229" y="994"/>
                    </a:lnTo>
                    <a:lnTo>
                      <a:pt x="229" y="996"/>
                    </a:lnTo>
                    <a:lnTo>
                      <a:pt x="229" y="997"/>
                    </a:lnTo>
                    <a:lnTo>
                      <a:pt x="229" y="999"/>
                    </a:lnTo>
                    <a:lnTo>
                      <a:pt x="231" y="999"/>
                    </a:lnTo>
                    <a:lnTo>
                      <a:pt x="231" y="1001"/>
                    </a:lnTo>
                    <a:lnTo>
                      <a:pt x="231" y="1003"/>
                    </a:lnTo>
                    <a:lnTo>
                      <a:pt x="233" y="1003"/>
                    </a:lnTo>
                    <a:lnTo>
                      <a:pt x="233" y="1005"/>
                    </a:lnTo>
                    <a:lnTo>
                      <a:pt x="235" y="1005"/>
                    </a:lnTo>
                    <a:lnTo>
                      <a:pt x="235" y="1007"/>
                    </a:lnTo>
                    <a:lnTo>
                      <a:pt x="235" y="1009"/>
                    </a:lnTo>
                    <a:lnTo>
                      <a:pt x="237" y="1009"/>
                    </a:lnTo>
                    <a:lnTo>
                      <a:pt x="237" y="1011"/>
                    </a:lnTo>
                    <a:lnTo>
                      <a:pt x="237" y="1012"/>
                    </a:lnTo>
                    <a:lnTo>
                      <a:pt x="235" y="1014"/>
                    </a:lnTo>
                    <a:lnTo>
                      <a:pt x="235" y="1016"/>
                    </a:lnTo>
                    <a:lnTo>
                      <a:pt x="235" y="1018"/>
                    </a:lnTo>
                    <a:lnTo>
                      <a:pt x="237" y="1018"/>
                    </a:lnTo>
                    <a:lnTo>
                      <a:pt x="237" y="1020"/>
                    </a:lnTo>
                    <a:lnTo>
                      <a:pt x="238" y="1020"/>
                    </a:lnTo>
                    <a:lnTo>
                      <a:pt x="238" y="1022"/>
                    </a:lnTo>
                    <a:lnTo>
                      <a:pt x="240" y="1022"/>
                    </a:lnTo>
                    <a:lnTo>
                      <a:pt x="240" y="1024"/>
                    </a:lnTo>
                    <a:lnTo>
                      <a:pt x="242" y="1026"/>
                    </a:lnTo>
                    <a:lnTo>
                      <a:pt x="242" y="1028"/>
                    </a:lnTo>
                    <a:lnTo>
                      <a:pt x="242" y="1029"/>
                    </a:lnTo>
                    <a:lnTo>
                      <a:pt x="244" y="1029"/>
                    </a:lnTo>
                    <a:lnTo>
                      <a:pt x="244" y="1031"/>
                    </a:lnTo>
                    <a:lnTo>
                      <a:pt x="244" y="1033"/>
                    </a:lnTo>
                    <a:lnTo>
                      <a:pt x="244" y="1035"/>
                    </a:lnTo>
                    <a:lnTo>
                      <a:pt x="244" y="1037"/>
                    </a:lnTo>
                    <a:lnTo>
                      <a:pt x="244" y="1039"/>
                    </a:lnTo>
                    <a:lnTo>
                      <a:pt x="242" y="1041"/>
                    </a:lnTo>
                    <a:lnTo>
                      <a:pt x="242" y="1043"/>
                    </a:lnTo>
                    <a:lnTo>
                      <a:pt x="240" y="1044"/>
                    </a:lnTo>
                    <a:lnTo>
                      <a:pt x="240" y="1046"/>
                    </a:lnTo>
                    <a:lnTo>
                      <a:pt x="240" y="1048"/>
                    </a:lnTo>
                    <a:lnTo>
                      <a:pt x="238" y="1048"/>
                    </a:lnTo>
                    <a:lnTo>
                      <a:pt x="238" y="1050"/>
                    </a:lnTo>
                    <a:lnTo>
                      <a:pt x="237" y="1050"/>
                    </a:lnTo>
                    <a:lnTo>
                      <a:pt x="235" y="1050"/>
                    </a:lnTo>
                    <a:lnTo>
                      <a:pt x="233" y="1050"/>
                    </a:lnTo>
                    <a:lnTo>
                      <a:pt x="231" y="1050"/>
                    </a:lnTo>
                    <a:lnTo>
                      <a:pt x="229" y="1050"/>
                    </a:lnTo>
                    <a:lnTo>
                      <a:pt x="227" y="1050"/>
                    </a:lnTo>
                    <a:lnTo>
                      <a:pt x="227" y="1052"/>
                    </a:lnTo>
                    <a:lnTo>
                      <a:pt x="227" y="1054"/>
                    </a:lnTo>
                    <a:lnTo>
                      <a:pt x="225" y="1054"/>
                    </a:lnTo>
                    <a:lnTo>
                      <a:pt x="225" y="1056"/>
                    </a:lnTo>
                    <a:lnTo>
                      <a:pt x="225" y="1058"/>
                    </a:lnTo>
                    <a:lnTo>
                      <a:pt x="223" y="1060"/>
                    </a:lnTo>
                    <a:lnTo>
                      <a:pt x="223" y="1061"/>
                    </a:lnTo>
                    <a:lnTo>
                      <a:pt x="223" y="1063"/>
                    </a:lnTo>
                    <a:lnTo>
                      <a:pt x="225" y="1063"/>
                    </a:lnTo>
                    <a:lnTo>
                      <a:pt x="225" y="1065"/>
                    </a:lnTo>
                    <a:lnTo>
                      <a:pt x="225" y="1067"/>
                    </a:lnTo>
                    <a:lnTo>
                      <a:pt x="227" y="1067"/>
                    </a:lnTo>
                    <a:lnTo>
                      <a:pt x="227" y="1069"/>
                    </a:lnTo>
                    <a:lnTo>
                      <a:pt x="229" y="1069"/>
                    </a:lnTo>
                    <a:lnTo>
                      <a:pt x="231" y="1069"/>
                    </a:lnTo>
                    <a:lnTo>
                      <a:pt x="231" y="1071"/>
                    </a:lnTo>
                    <a:lnTo>
                      <a:pt x="233" y="1071"/>
                    </a:lnTo>
                    <a:lnTo>
                      <a:pt x="233" y="1073"/>
                    </a:lnTo>
                    <a:lnTo>
                      <a:pt x="233" y="1075"/>
                    </a:lnTo>
                    <a:lnTo>
                      <a:pt x="235" y="1076"/>
                    </a:lnTo>
                    <a:lnTo>
                      <a:pt x="235" y="1078"/>
                    </a:lnTo>
                    <a:lnTo>
                      <a:pt x="235" y="1080"/>
                    </a:lnTo>
                    <a:lnTo>
                      <a:pt x="235" y="1078"/>
                    </a:lnTo>
                    <a:lnTo>
                      <a:pt x="235" y="1080"/>
                    </a:lnTo>
                    <a:lnTo>
                      <a:pt x="235" y="1082"/>
                    </a:lnTo>
                    <a:lnTo>
                      <a:pt x="235" y="1084"/>
                    </a:lnTo>
                    <a:lnTo>
                      <a:pt x="235" y="1086"/>
                    </a:lnTo>
                    <a:lnTo>
                      <a:pt x="235" y="1088"/>
                    </a:lnTo>
                    <a:lnTo>
                      <a:pt x="237" y="1088"/>
                    </a:lnTo>
                    <a:lnTo>
                      <a:pt x="237" y="1090"/>
                    </a:lnTo>
                    <a:lnTo>
                      <a:pt x="238" y="1090"/>
                    </a:lnTo>
                    <a:lnTo>
                      <a:pt x="238" y="1088"/>
                    </a:lnTo>
                    <a:lnTo>
                      <a:pt x="240" y="1088"/>
                    </a:lnTo>
                    <a:lnTo>
                      <a:pt x="242" y="1088"/>
                    </a:lnTo>
                    <a:lnTo>
                      <a:pt x="244" y="1086"/>
                    </a:lnTo>
                    <a:lnTo>
                      <a:pt x="246" y="1088"/>
                    </a:lnTo>
                    <a:lnTo>
                      <a:pt x="248" y="1088"/>
                    </a:lnTo>
                    <a:lnTo>
                      <a:pt x="248" y="1090"/>
                    </a:lnTo>
                    <a:lnTo>
                      <a:pt x="250" y="1090"/>
                    </a:lnTo>
                    <a:lnTo>
                      <a:pt x="250" y="1092"/>
                    </a:lnTo>
                    <a:lnTo>
                      <a:pt x="250" y="1093"/>
                    </a:lnTo>
                    <a:lnTo>
                      <a:pt x="248" y="1093"/>
                    </a:lnTo>
                    <a:lnTo>
                      <a:pt x="248" y="1095"/>
                    </a:lnTo>
                    <a:lnTo>
                      <a:pt x="248" y="1097"/>
                    </a:lnTo>
                    <a:lnTo>
                      <a:pt x="248" y="1099"/>
                    </a:lnTo>
                    <a:lnTo>
                      <a:pt x="248" y="1101"/>
                    </a:lnTo>
                    <a:lnTo>
                      <a:pt x="250" y="1101"/>
                    </a:lnTo>
                    <a:lnTo>
                      <a:pt x="250" y="1103"/>
                    </a:lnTo>
                    <a:lnTo>
                      <a:pt x="248" y="1105"/>
                    </a:lnTo>
                    <a:lnTo>
                      <a:pt x="248" y="1107"/>
                    </a:lnTo>
                    <a:lnTo>
                      <a:pt x="248" y="1109"/>
                    </a:lnTo>
                    <a:lnTo>
                      <a:pt x="248" y="1110"/>
                    </a:lnTo>
                    <a:lnTo>
                      <a:pt x="248" y="1112"/>
                    </a:lnTo>
                    <a:lnTo>
                      <a:pt x="248" y="1114"/>
                    </a:lnTo>
                    <a:lnTo>
                      <a:pt x="246" y="1114"/>
                    </a:lnTo>
                    <a:lnTo>
                      <a:pt x="246" y="1116"/>
                    </a:lnTo>
                    <a:lnTo>
                      <a:pt x="244" y="1118"/>
                    </a:lnTo>
                    <a:lnTo>
                      <a:pt x="244" y="1120"/>
                    </a:lnTo>
                    <a:lnTo>
                      <a:pt x="244" y="1122"/>
                    </a:lnTo>
                    <a:lnTo>
                      <a:pt x="244" y="1124"/>
                    </a:lnTo>
                    <a:lnTo>
                      <a:pt x="246" y="1124"/>
                    </a:lnTo>
                    <a:lnTo>
                      <a:pt x="246" y="1125"/>
                    </a:lnTo>
                    <a:lnTo>
                      <a:pt x="244" y="1127"/>
                    </a:lnTo>
                    <a:lnTo>
                      <a:pt x="244" y="1129"/>
                    </a:lnTo>
                    <a:lnTo>
                      <a:pt x="244" y="1131"/>
                    </a:lnTo>
                    <a:lnTo>
                      <a:pt x="244" y="1133"/>
                    </a:lnTo>
                    <a:lnTo>
                      <a:pt x="246" y="1133"/>
                    </a:lnTo>
                    <a:lnTo>
                      <a:pt x="248" y="1133"/>
                    </a:lnTo>
                    <a:lnTo>
                      <a:pt x="250" y="1133"/>
                    </a:lnTo>
                    <a:lnTo>
                      <a:pt x="250" y="1131"/>
                    </a:lnTo>
                    <a:lnTo>
                      <a:pt x="252" y="1131"/>
                    </a:lnTo>
                    <a:lnTo>
                      <a:pt x="254" y="1129"/>
                    </a:lnTo>
                    <a:lnTo>
                      <a:pt x="255" y="1129"/>
                    </a:lnTo>
                    <a:lnTo>
                      <a:pt x="255" y="1127"/>
                    </a:lnTo>
                    <a:lnTo>
                      <a:pt x="257" y="1127"/>
                    </a:lnTo>
                    <a:lnTo>
                      <a:pt x="259" y="1127"/>
                    </a:lnTo>
                    <a:lnTo>
                      <a:pt x="261" y="1127"/>
                    </a:lnTo>
                    <a:lnTo>
                      <a:pt x="261" y="1125"/>
                    </a:lnTo>
                    <a:lnTo>
                      <a:pt x="263" y="1125"/>
                    </a:lnTo>
                    <a:lnTo>
                      <a:pt x="265" y="1125"/>
                    </a:lnTo>
                    <a:lnTo>
                      <a:pt x="267" y="1125"/>
                    </a:lnTo>
                    <a:lnTo>
                      <a:pt x="269" y="1125"/>
                    </a:lnTo>
                    <a:lnTo>
                      <a:pt x="270" y="1125"/>
                    </a:lnTo>
                    <a:lnTo>
                      <a:pt x="272" y="1125"/>
                    </a:lnTo>
                    <a:lnTo>
                      <a:pt x="272" y="1127"/>
                    </a:lnTo>
                    <a:lnTo>
                      <a:pt x="274" y="1127"/>
                    </a:lnTo>
                    <a:lnTo>
                      <a:pt x="276" y="1127"/>
                    </a:lnTo>
                    <a:lnTo>
                      <a:pt x="278" y="1127"/>
                    </a:lnTo>
                    <a:lnTo>
                      <a:pt x="280" y="1125"/>
                    </a:lnTo>
                    <a:lnTo>
                      <a:pt x="280" y="1124"/>
                    </a:lnTo>
                    <a:lnTo>
                      <a:pt x="282" y="1124"/>
                    </a:lnTo>
                    <a:lnTo>
                      <a:pt x="284" y="1124"/>
                    </a:lnTo>
                    <a:lnTo>
                      <a:pt x="284" y="1122"/>
                    </a:lnTo>
                    <a:lnTo>
                      <a:pt x="285" y="1124"/>
                    </a:lnTo>
                    <a:lnTo>
                      <a:pt x="287" y="1124"/>
                    </a:lnTo>
                    <a:lnTo>
                      <a:pt x="289" y="1124"/>
                    </a:lnTo>
                    <a:lnTo>
                      <a:pt x="291" y="1124"/>
                    </a:lnTo>
                    <a:lnTo>
                      <a:pt x="291" y="1125"/>
                    </a:lnTo>
                    <a:lnTo>
                      <a:pt x="293" y="1125"/>
                    </a:lnTo>
                    <a:lnTo>
                      <a:pt x="293" y="1127"/>
                    </a:lnTo>
                    <a:lnTo>
                      <a:pt x="293" y="1129"/>
                    </a:lnTo>
                    <a:lnTo>
                      <a:pt x="295" y="1129"/>
                    </a:lnTo>
                    <a:lnTo>
                      <a:pt x="295" y="1131"/>
                    </a:lnTo>
                    <a:lnTo>
                      <a:pt x="295" y="1133"/>
                    </a:lnTo>
                    <a:lnTo>
                      <a:pt x="295" y="1135"/>
                    </a:lnTo>
                    <a:lnTo>
                      <a:pt x="295" y="1137"/>
                    </a:lnTo>
                    <a:lnTo>
                      <a:pt x="295" y="1139"/>
                    </a:lnTo>
                    <a:lnTo>
                      <a:pt x="295" y="1141"/>
                    </a:lnTo>
                    <a:lnTo>
                      <a:pt x="295" y="1142"/>
                    </a:lnTo>
                    <a:lnTo>
                      <a:pt x="295" y="1144"/>
                    </a:lnTo>
                    <a:lnTo>
                      <a:pt x="297" y="1144"/>
                    </a:lnTo>
                    <a:lnTo>
                      <a:pt x="297" y="1146"/>
                    </a:lnTo>
                    <a:lnTo>
                      <a:pt x="299" y="1146"/>
                    </a:lnTo>
                    <a:lnTo>
                      <a:pt x="297" y="1144"/>
                    </a:lnTo>
                    <a:lnTo>
                      <a:pt x="299" y="1144"/>
                    </a:lnTo>
                    <a:lnTo>
                      <a:pt x="299" y="1146"/>
                    </a:lnTo>
                    <a:lnTo>
                      <a:pt x="301" y="1146"/>
                    </a:lnTo>
                    <a:lnTo>
                      <a:pt x="302" y="1146"/>
                    </a:lnTo>
                    <a:lnTo>
                      <a:pt x="302" y="1148"/>
                    </a:lnTo>
                    <a:lnTo>
                      <a:pt x="304" y="1148"/>
                    </a:lnTo>
                    <a:lnTo>
                      <a:pt x="306" y="1148"/>
                    </a:lnTo>
                    <a:lnTo>
                      <a:pt x="308" y="1148"/>
                    </a:lnTo>
                    <a:lnTo>
                      <a:pt x="310" y="1148"/>
                    </a:lnTo>
                    <a:lnTo>
                      <a:pt x="310" y="1146"/>
                    </a:lnTo>
                    <a:lnTo>
                      <a:pt x="312" y="1146"/>
                    </a:lnTo>
                    <a:lnTo>
                      <a:pt x="314" y="1146"/>
                    </a:lnTo>
                    <a:lnTo>
                      <a:pt x="314" y="1144"/>
                    </a:lnTo>
                    <a:lnTo>
                      <a:pt x="314" y="1142"/>
                    </a:lnTo>
                    <a:lnTo>
                      <a:pt x="316" y="1142"/>
                    </a:lnTo>
                    <a:lnTo>
                      <a:pt x="316" y="1141"/>
                    </a:lnTo>
                    <a:lnTo>
                      <a:pt x="317" y="1141"/>
                    </a:lnTo>
                    <a:lnTo>
                      <a:pt x="319" y="1141"/>
                    </a:lnTo>
                    <a:lnTo>
                      <a:pt x="321" y="1141"/>
                    </a:lnTo>
                    <a:lnTo>
                      <a:pt x="321" y="1142"/>
                    </a:lnTo>
                    <a:lnTo>
                      <a:pt x="323" y="1142"/>
                    </a:lnTo>
                    <a:lnTo>
                      <a:pt x="323" y="1144"/>
                    </a:lnTo>
                    <a:lnTo>
                      <a:pt x="325" y="1144"/>
                    </a:lnTo>
                    <a:lnTo>
                      <a:pt x="327" y="1144"/>
                    </a:lnTo>
                    <a:lnTo>
                      <a:pt x="327" y="1142"/>
                    </a:lnTo>
                    <a:lnTo>
                      <a:pt x="327" y="1141"/>
                    </a:lnTo>
                    <a:lnTo>
                      <a:pt x="329" y="1141"/>
                    </a:lnTo>
                    <a:lnTo>
                      <a:pt x="329" y="1139"/>
                    </a:lnTo>
                    <a:lnTo>
                      <a:pt x="331" y="1139"/>
                    </a:lnTo>
                    <a:lnTo>
                      <a:pt x="333" y="1139"/>
                    </a:lnTo>
                    <a:lnTo>
                      <a:pt x="333" y="1141"/>
                    </a:lnTo>
                    <a:lnTo>
                      <a:pt x="334" y="1141"/>
                    </a:lnTo>
                    <a:lnTo>
                      <a:pt x="334" y="1142"/>
                    </a:lnTo>
                    <a:lnTo>
                      <a:pt x="336" y="1142"/>
                    </a:lnTo>
                    <a:lnTo>
                      <a:pt x="338" y="1144"/>
                    </a:lnTo>
                    <a:lnTo>
                      <a:pt x="340" y="1142"/>
                    </a:lnTo>
                    <a:lnTo>
                      <a:pt x="342" y="1142"/>
                    </a:lnTo>
                    <a:lnTo>
                      <a:pt x="344" y="1142"/>
                    </a:lnTo>
                    <a:lnTo>
                      <a:pt x="346" y="1142"/>
                    </a:lnTo>
                    <a:lnTo>
                      <a:pt x="348" y="1142"/>
                    </a:lnTo>
                    <a:lnTo>
                      <a:pt x="349" y="1142"/>
                    </a:lnTo>
                    <a:lnTo>
                      <a:pt x="349" y="1144"/>
                    </a:lnTo>
                    <a:lnTo>
                      <a:pt x="351" y="1144"/>
                    </a:lnTo>
                    <a:lnTo>
                      <a:pt x="353" y="1144"/>
                    </a:lnTo>
                    <a:lnTo>
                      <a:pt x="355" y="1144"/>
                    </a:lnTo>
                    <a:lnTo>
                      <a:pt x="357" y="1144"/>
                    </a:lnTo>
                    <a:lnTo>
                      <a:pt x="359" y="1144"/>
                    </a:lnTo>
                    <a:lnTo>
                      <a:pt x="361" y="1144"/>
                    </a:lnTo>
                    <a:lnTo>
                      <a:pt x="361" y="1146"/>
                    </a:lnTo>
                    <a:lnTo>
                      <a:pt x="363" y="1146"/>
                    </a:lnTo>
                    <a:lnTo>
                      <a:pt x="364" y="1146"/>
                    </a:lnTo>
                    <a:lnTo>
                      <a:pt x="366" y="1146"/>
                    </a:lnTo>
                    <a:lnTo>
                      <a:pt x="368" y="1146"/>
                    </a:lnTo>
                    <a:lnTo>
                      <a:pt x="370" y="1146"/>
                    </a:lnTo>
                    <a:lnTo>
                      <a:pt x="370" y="1148"/>
                    </a:lnTo>
                    <a:lnTo>
                      <a:pt x="372" y="1146"/>
                    </a:lnTo>
                    <a:lnTo>
                      <a:pt x="374" y="1146"/>
                    </a:lnTo>
                    <a:lnTo>
                      <a:pt x="376" y="1146"/>
                    </a:lnTo>
                    <a:lnTo>
                      <a:pt x="376" y="1148"/>
                    </a:lnTo>
                    <a:lnTo>
                      <a:pt x="376" y="1150"/>
                    </a:lnTo>
                    <a:lnTo>
                      <a:pt x="378" y="1150"/>
                    </a:lnTo>
                    <a:lnTo>
                      <a:pt x="378" y="1152"/>
                    </a:lnTo>
                    <a:lnTo>
                      <a:pt x="380" y="1152"/>
                    </a:lnTo>
                    <a:lnTo>
                      <a:pt x="381" y="1152"/>
                    </a:lnTo>
                    <a:lnTo>
                      <a:pt x="383" y="1152"/>
                    </a:lnTo>
                    <a:lnTo>
                      <a:pt x="385" y="1152"/>
                    </a:lnTo>
                    <a:lnTo>
                      <a:pt x="387" y="1154"/>
                    </a:lnTo>
                    <a:lnTo>
                      <a:pt x="389" y="1154"/>
                    </a:lnTo>
                    <a:lnTo>
                      <a:pt x="389" y="1156"/>
                    </a:lnTo>
                    <a:lnTo>
                      <a:pt x="389" y="1157"/>
                    </a:lnTo>
                    <a:lnTo>
                      <a:pt x="391" y="1157"/>
                    </a:lnTo>
                    <a:lnTo>
                      <a:pt x="393" y="1157"/>
                    </a:lnTo>
                    <a:lnTo>
                      <a:pt x="393" y="1159"/>
                    </a:lnTo>
                    <a:lnTo>
                      <a:pt x="395" y="1161"/>
                    </a:lnTo>
                    <a:lnTo>
                      <a:pt x="396" y="1161"/>
                    </a:lnTo>
                    <a:lnTo>
                      <a:pt x="396" y="1163"/>
                    </a:lnTo>
                    <a:lnTo>
                      <a:pt x="396" y="1165"/>
                    </a:lnTo>
                    <a:lnTo>
                      <a:pt x="396" y="1167"/>
                    </a:lnTo>
                    <a:lnTo>
                      <a:pt x="398" y="1167"/>
                    </a:lnTo>
                    <a:lnTo>
                      <a:pt x="398" y="1169"/>
                    </a:lnTo>
                    <a:lnTo>
                      <a:pt x="400" y="1169"/>
                    </a:lnTo>
                    <a:lnTo>
                      <a:pt x="402" y="1171"/>
                    </a:lnTo>
                    <a:lnTo>
                      <a:pt x="402" y="1173"/>
                    </a:lnTo>
                    <a:lnTo>
                      <a:pt x="402" y="1174"/>
                    </a:lnTo>
                    <a:lnTo>
                      <a:pt x="404" y="1174"/>
                    </a:lnTo>
                    <a:lnTo>
                      <a:pt x="404" y="1176"/>
                    </a:lnTo>
                    <a:lnTo>
                      <a:pt x="406" y="1176"/>
                    </a:lnTo>
                    <a:lnTo>
                      <a:pt x="406" y="1178"/>
                    </a:lnTo>
                    <a:lnTo>
                      <a:pt x="408" y="1178"/>
                    </a:lnTo>
                    <a:lnTo>
                      <a:pt x="410" y="1178"/>
                    </a:lnTo>
                    <a:lnTo>
                      <a:pt x="412" y="1178"/>
                    </a:lnTo>
                    <a:lnTo>
                      <a:pt x="412" y="1176"/>
                    </a:lnTo>
                    <a:lnTo>
                      <a:pt x="413" y="1176"/>
                    </a:lnTo>
                    <a:lnTo>
                      <a:pt x="415" y="1176"/>
                    </a:lnTo>
                    <a:lnTo>
                      <a:pt x="417" y="1176"/>
                    </a:lnTo>
                    <a:lnTo>
                      <a:pt x="417" y="1178"/>
                    </a:lnTo>
                    <a:lnTo>
                      <a:pt x="419" y="1178"/>
                    </a:lnTo>
                    <a:lnTo>
                      <a:pt x="421" y="1178"/>
                    </a:lnTo>
                    <a:lnTo>
                      <a:pt x="421" y="1180"/>
                    </a:lnTo>
                    <a:lnTo>
                      <a:pt x="423" y="1180"/>
                    </a:lnTo>
                    <a:lnTo>
                      <a:pt x="423" y="1182"/>
                    </a:lnTo>
                    <a:lnTo>
                      <a:pt x="425" y="1182"/>
                    </a:lnTo>
                    <a:lnTo>
                      <a:pt x="425" y="1184"/>
                    </a:lnTo>
                    <a:lnTo>
                      <a:pt x="427" y="1184"/>
                    </a:lnTo>
                    <a:lnTo>
                      <a:pt x="428" y="1184"/>
                    </a:lnTo>
                    <a:lnTo>
                      <a:pt x="430" y="1184"/>
                    </a:lnTo>
                    <a:lnTo>
                      <a:pt x="432" y="1182"/>
                    </a:lnTo>
                    <a:lnTo>
                      <a:pt x="432" y="1184"/>
                    </a:lnTo>
                    <a:lnTo>
                      <a:pt x="434" y="1184"/>
                    </a:lnTo>
                    <a:lnTo>
                      <a:pt x="436" y="1184"/>
                    </a:lnTo>
                    <a:lnTo>
                      <a:pt x="436" y="1186"/>
                    </a:lnTo>
                    <a:lnTo>
                      <a:pt x="438" y="1186"/>
                    </a:lnTo>
                    <a:lnTo>
                      <a:pt x="440" y="1186"/>
                    </a:lnTo>
                    <a:lnTo>
                      <a:pt x="440" y="1188"/>
                    </a:lnTo>
                    <a:lnTo>
                      <a:pt x="442" y="1189"/>
                    </a:lnTo>
                    <a:lnTo>
                      <a:pt x="443" y="1189"/>
                    </a:lnTo>
                    <a:lnTo>
                      <a:pt x="445" y="1189"/>
                    </a:lnTo>
                    <a:lnTo>
                      <a:pt x="445" y="1188"/>
                    </a:lnTo>
                    <a:lnTo>
                      <a:pt x="447" y="1188"/>
                    </a:lnTo>
                    <a:lnTo>
                      <a:pt x="447" y="1186"/>
                    </a:lnTo>
                    <a:lnTo>
                      <a:pt x="449" y="1186"/>
                    </a:lnTo>
                    <a:lnTo>
                      <a:pt x="449" y="1184"/>
                    </a:lnTo>
                    <a:lnTo>
                      <a:pt x="451" y="1184"/>
                    </a:lnTo>
                    <a:lnTo>
                      <a:pt x="453" y="1184"/>
                    </a:lnTo>
                    <a:lnTo>
                      <a:pt x="455" y="1184"/>
                    </a:lnTo>
                    <a:lnTo>
                      <a:pt x="457" y="1184"/>
                    </a:lnTo>
                    <a:lnTo>
                      <a:pt x="459" y="1184"/>
                    </a:lnTo>
                    <a:lnTo>
                      <a:pt x="460" y="1182"/>
                    </a:lnTo>
                    <a:lnTo>
                      <a:pt x="460" y="1180"/>
                    </a:lnTo>
                    <a:lnTo>
                      <a:pt x="462" y="1178"/>
                    </a:lnTo>
                    <a:lnTo>
                      <a:pt x="462" y="1180"/>
                    </a:lnTo>
                    <a:lnTo>
                      <a:pt x="464" y="1180"/>
                    </a:lnTo>
                    <a:lnTo>
                      <a:pt x="466" y="1180"/>
                    </a:lnTo>
                    <a:lnTo>
                      <a:pt x="468" y="1180"/>
                    </a:lnTo>
                    <a:lnTo>
                      <a:pt x="470" y="1180"/>
                    </a:lnTo>
                    <a:lnTo>
                      <a:pt x="472" y="1180"/>
                    </a:lnTo>
                    <a:lnTo>
                      <a:pt x="474" y="1180"/>
                    </a:lnTo>
                    <a:lnTo>
                      <a:pt x="475" y="1180"/>
                    </a:lnTo>
                    <a:lnTo>
                      <a:pt x="477" y="1180"/>
                    </a:lnTo>
                    <a:lnTo>
                      <a:pt x="479" y="1180"/>
                    </a:lnTo>
                    <a:lnTo>
                      <a:pt x="481" y="1180"/>
                    </a:lnTo>
                    <a:lnTo>
                      <a:pt x="483" y="1180"/>
                    </a:lnTo>
                    <a:lnTo>
                      <a:pt x="485" y="1180"/>
                    </a:lnTo>
                    <a:lnTo>
                      <a:pt x="485" y="1182"/>
                    </a:lnTo>
                    <a:lnTo>
                      <a:pt x="487" y="1182"/>
                    </a:lnTo>
                    <a:lnTo>
                      <a:pt x="487" y="1184"/>
                    </a:lnTo>
                    <a:lnTo>
                      <a:pt x="489" y="1184"/>
                    </a:lnTo>
                    <a:lnTo>
                      <a:pt x="491" y="1184"/>
                    </a:lnTo>
                    <a:lnTo>
                      <a:pt x="492" y="1184"/>
                    </a:lnTo>
                    <a:lnTo>
                      <a:pt x="494" y="1184"/>
                    </a:lnTo>
                    <a:lnTo>
                      <a:pt x="496" y="1184"/>
                    </a:lnTo>
                    <a:lnTo>
                      <a:pt x="498" y="1184"/>
                    </a:lnTo>
                    <a:lnTo>
                      <a:pt x="500" y="1184"/>
                    </a:lnTo>
                    <a:lnTo>
                      <a:pt x="500" y="1186"/>
                    </a:lnTo>
                    <a:lnTo>
                      <a:pt x="502" y="1186"/>
                    </a:lnTo>
                    <a:lnTo>
                      <a:pt x="504" y="1186"/>
                    </a:lnTo>
                    <a:lnTo>
                      <a:pt x="504" y="1184"/>
                    </a:lnTo>
                    <a:lnTo>
                      <a:pt x="506" y="1184"/>
                    </a:lnTo>
                    <a:lnTo>
                      <a:pt x="507" y="1184"/>
                    </a:lnTo>
                    <a:lnTo>
                      <a:pt x="509" y="1184"/>
                    </a:lnTo>
                    <a:lnTo>
                      <a:pt x="509" y="1182"/>
                    </a:lnTo>
                    <a:lnTo>
                      <a:pt x="511" y="1182"/>
                    </a:lnTo>
                    <a:lnTo>
                      <a:pt x="513" y="1180"/>
                    </a:lnTo>
                    <a:lnTo>
                      <a:pt x="515" y="1180"/>
                    </a:lnTo>
                    <a:lnTo>
                      <a:pt x="517" y="1180"/>
                    </a:lnTo>
                    <a:lnTo>
                      <a:pt x="519" y="1180"/>
                    </a:lnTo>
                    <a:lnTo>
                      <a:pt x="519" y="1182"/>
                    </a:lnTo>
                    <a:lnTo>
                      <a:pt x="521" y="1182"/>
                    </a:lnTo>
                    <a:lnTo>
                      <a:pt x="522" y="1182"/>
                    </a:lnTo>
                    <a:lnTo>
                      <a:pt x="524" y="1182"/>
                    </a:lnTo>
                    <a:lnTo>
                      <a:pt x="526" y="1182"/>
                    </a:lnTo>
                    <a:lnTo>
                      <a:pt x="526" y="1180"/>
                    </a:lnTo>
                    <a:lnTo>
                      <a:pt x="528" y="1180"/>
                    </a:lnTo>
                    <a:lnTo>
                      <a:pt x="528" y="1178"/>
                    </a:lnTo>
                    <a:lnTo>
                      <a:pt x="530" y="1178"/>
                    </a:lnTo>
                    <a:lnTo>
                      <a:pt x="530" y="1176"/>
                    </a:lnTo>
                    <a:lnTo>
                      <a:pt x="532" y="1176"/>
                    </a:lnTo>
                    <a:lnTo>
                      <a:pt x="532" y="1174"/>
                    </a:lnTo>
                    <a:lnTo>
                      <a:pt x="534" y="1174"/>
                    </a:lnTo>
                    <a:lnTo>
                      <a:pt x="536" y="1174"/>
                    </a:lnTo>
                    <a:lnTo>
                      <a:pt x="538" y="1174"/>
                    </a:lnTo>
                    <a:lnTo>
                      <a:pt x="538" y="1173"/>
                    </a:lnTo>
                    <a:lnTo>
                      <a:pt x="539" y="1173"/>
                    </a:lnTo>
                    <a:lnTo>
                      <a:pt x="541" y="1173"/>
                    </a:lnTo>
                    <a:lnTo>
                      <a:pt x="543" y="1173"/>
                    </a:lnTo>
                    <a:lnTo>
                      <a:pt x="545" y="1173"/>
                    </a:lnTo>
                    <a:lnTo>
                      <a:pt x="547" y="1173"/>
                    </a:lnTo>
                    <a:lnTo>
                      <a:pt x="549" y="1173"/>
                    </a:lnTo>
                    <a:lnTo>
                      <a:pt x="549" y="1171"/>
                    </a:lnTo>
                    <a:lnTo>
                      <a:pt x="551" y="1171"/>
                    </a:lnTo>
                    <a:lnTo>
                      <a:pt x="553" y="1171"/>
                    </a:lnTo>
                    <a:lnTo>
                      <a:pt x="553" y="1169"/>
                    </a:lnTo>
                    <a:lnTo>
                      <a:pt x="554" y="1169"/>
                    </a:lnTo>
                    <a:lnTo>
                      <a:pt x="556" y="1167"/>
                    </a:lnTo>
                    <a:lnTo>
                      <a:pt x="558" y="1167"/>
                    </a:lnTo>
                    <a:lnTo>
                      <a:pt x="560" y="1167"/>
                    </a:lnTo>
                    <a:lnTo>
                      <a:pt x="560" y="1169"/>
                    </a:lnTo>
                    <a:lnTo>
                      <a:pt x="562" y="1169"/>
                    </a:lnTo>
                    <a:lnTo>
                      <a:pt x="564" y="1169"/>
                    </a:lnTo>
                    <a:lnTo>
                      <a:pt x="566" y="1169"/>
                    </a:lnTo>
                    <a:lnTo>
                      <a:pt x="568" y="1169"/>
                    </a:lnTo>
                    <a:lnTo>
                      <a:pt x="570" y="1169"/>
                    </a:lnTo>
                    <a:lnTo>
                      <a:pt x="571" y="1169"/>
                    </a:lnTo>
                    <a:lnTo>
                      <a:pt x="571" y="1167"/>
                    </a:lnTo>
                    <a:lnTo>
                      <a:pt x="573" y="1167"/>
                    </a:lnTo>
                    <a:lnTo>
                      <a:pt x="575" y="1167"/>
                    </a:lnTo>
                    <a:lnTo>
                      <a:pt x="577" y="1167"/>
                    </a:lnTo>
                    <a:lnTo>
                      <a:pt x="577" y="1165"/>
                    </a:lnTo>
                    <a:lnTo>
                      <a:pt x="579" y="1165"/>
                    </a:lnTo>
                    <a:lnTo>
                      <a:pt x="581" y="1165"/>
                    </a:lnTo>
                    <a:lnTo>
                      <a:pt x="583" y="1165"/>
                    </a:lnTo>
                    <a:lnTo>
                      <a:pt x="585" y="1165"/>
                    </a:lnTo>
                    <a:lnTo>
                      <a:pt x="586" y="1165"/>
                    </a:lnTo>
                    <a:lnTo>
                      <a:pt x="586" y="1167"/>
                    </a:lnTo>
                    <a:lnTo>
                      <a:pt x="588" y="1167"/>
                    </a:lnTo>
                    <a:lnTo>
                      <a:pt x="590" y="1167"/>
                    </a:lnTo>
                    <a:lnTo>
                      <a:pt x="592" y="1167"/>
                    </a:lnTo>
                    <a:lnTo>
                      <a:pt x="592" y="1169"/>
                    </a:lnTo>
                    <a:lnTo>
                      <a:pt x="594" y="1169"/>
                    </a:lnTo>
                    <a:lnTo>
                      <a:pt x="596" y="1169"/>
                    </a:lnTo>
                    <a:lnTo>
                      <a:pt x="596" y="1167"/>
                    </a:lnTo>
                    <a:lnTo>
                      <a:pt x="596" y="1169"/>
                    </a:lnTo>
                    <a:lnTo>
                      <a:pt x="598" y="1169"/>
                    </a:lnTo>
                    <a:lnTo>
                      <a:pt x="600" y="1169"/>
                    </a:lnTo>
                    <a:lnTo>
                      <a:pt x="601" y="1169"/>
                    </a:lnTo>
                    <a:lnTo>
                      <a:pt x="603" y="1169"/>
                    </a:lnTo>
                    <a:lnTo>
                      <a:pt x="605" y="1169"/>
                    </a:lnTo>
                    <a:lnTo>
                      <a:pt x="607" y="1169"/>
                    </a:lnTo>
                    <a:lnTo>
                      <a:pt x="607" y="1171"/>
                    </a:lnTo>
                    <a:lnTo>
                      <a:pt x="609" y="1171"/>
                    </a:lnTo>
                    <a:lnTo>
                      <a:pt x="611" y="1171"/>
                    </a:lnTo>
                    <a:lnTo>
                      <a:pt x="611" y="1169"/>
                    </a:lnTo>
                    <a:lnTo>
                      <a:pt x="613" y="1169"/>
                    </a:lnTo>
                    <a:lnTo>
                      <a:pt x="615" y="1169"/>
                    </a:lnTo>
                    <a:lnTo>
                      <a:pt x="617" y="1169"/>
                    </a:lnTo>
                    <a:lnTo>
                      <a:pt x="617" y="1171"/>
                    </a:lnTo>
                    <a:lnTo>
                      <a:pt x="617" y="1169"/>
                    </a:lnTo>
                    <a:lnTo>
                      <a:pt x="618" y="1169"/>
                    </a:lnTo>
                    <a:lnTo>
                      <a:pt x="618" y="1171"/>
                    </a:lnTo>
                    <a:lnTo>
                      <a:pt x="620" y="1171"/>
                    </a:lnTo>
                    <a:lnTo>
                      <a:pt x="622" y="1171"/>
                    </a:lnTo>
                    <a:lnTo>
                      <a:pt x="624" y="1171"/>
                    </a:lnTo>
                    <a:lnTo>
                      <a:pt x="624" y="1173"/>
                    </a:lnTo>
                    <a:lnTo>
                      <a:pt x="626" y="1173"/>
                    </a:lnTo>
                    <a:lnTo>
                      <a:pt x="628" y="1173"/>
                    </a:lnTo>
                    <a:lnTo>
                      <a:pt x="630" y="1173"/>
                    </a:lnTo>
                    <a:lnTo>
                      <a:pt x="632" y="1173"/>
                    </a:lnTo>
                    <a:lnTo>
                      <a:pt x="633" y="1173"/>
                    </a:lnTo>
                    <a:lnTo>
                      <a:pt x="635" y="1174"/>
                    </a:lnTo>
                    <a:lnTo>
                      <a:pt x="637" y="1174"/>
                    </a:lnTo>
                    <a:lnTo>
                      <a:pt x="639" y="1176"/>
                    </a:lnTo>
                    <a:lnTo>
                      <a:pt x="641" y="1176"/>
                    </a:lnTo>
                    <a:lnTo>
                      <a:pt x="643" y="1176"/>
                    </a:lnTo>
                    <a:lnTo>
                      <a:pt x="643" y="1178"/>
                    </a:lnTo>
                    <a:lnTo>
                      <a:pt x="645" y="1178"/>
                    </a:lnTo>
                    <a:lnTo>
                      <a:pt x="645" y="1180"/>
                    </a:lnTo>
                    <a:lnTo>
                      <a:pt x="647" y="1180"/>
                    </a:lnTo>
                    <a:lnTo>
                      <a:pt x="647" y="1182"/>
                    </a:lnTo>
                    <a:lnTo>
                      <a:pt x="649" y="1182"/>
                    </a:lnTo>
                    <a:lnTo>
                      <a:pt x="649" y="1184"/>
                    </a:lnTo>
                    <a:lnTo>
                      <a:pt x="649" y="1186"/>
                    </a:lnTo>
                    <a:lnTo>
                      <a:pt x="650" y="1186"/>
                    </a:lnTo>
                    <a:lnTo>
                      <a:pt x="650" y="1188"/>
                    </a:lnTo>
                    <a:lnTo>
                      <a:pt x="650" y="1189"/>
                    </a:lnTo>
                    <a:lnTo>
                      <a:pt x="650" y="1191"/>
                    </a:lnTo>
                    <a:lnTo>
                      <a:pt x="650" y="1193"/>
                    </a:lnTo>
                    <a:lnTo>
                      <a:pt x="652" y="1193"/>
                    </a:lnTo>
                    <a:lnTo>
                      <a:pt x="654" y="1193"/>
                    </a:lnTo>
                    <a:lnTo>
                      <a:pt x="654" y="1195"/>
                    </a:lnTo>
                    <a:lnTo>
                      <a:pt x="654" y="1193"/>
                    </a:lnTo>
                    <a:lnTo>
                      <a:pt x="656" y="1193"/>
                    </a:lnTo>
                    <a:lnTo>
                      <a:pt x="658" y="1193"/>
                    </a:lnTo>
                    <a:lnTo>
                      <a:pt x="660" y="1193"/>
                    </a:lnTo>
                    <a:lnTo>
                      <a:pt x="660" y="1195"/>
                    </a:lnTo>
                    <a:lnTo>
                      <a:pt x="662" y="1195"/>
                    </a:lnTo>
                    <a:lnTo>
                      <a:pt x="664" y="1197"/>
                    </a:lnTo>
                    <a:lnTo>
                      <a:pt x="665" y="1197"/>
                    </a:lnTo>
                    <a:lnTo>
                      <a:pt x="665" y="1199"/>
                    </a:lnTo>
                    <a:lnTo>
                      <a:pt x="667" y="1199"/>
                    </a:lnTo>
                    <a:lnTo>
                      <a:pt x="667" y="1201"/>
                    </a:lnTo>
                    <a:lnTo>
                      <a:pt x="667" y="1203"/>
                    </a:lnTo>
                    <a:lnTo>
                      <a:pt x="669" y="1203"/>
                    </a:lnTo>
                    <a:lnTo>
                      <a:pt x="671" y="1203"/>
                    </a:lnTo>
                    <a:lnTo>
                      <a:pt x="673" y="1203"/>
                    </a:lnTo>
                    <a:lnTo>
                      <a:pt x="673" y="1205"/>
                    </a:lnTo>
                    <a:lnTo>
                      <a:pt x="675" y="1205"/>
                    </a:lnTo>
                    <a:lnTo>
                      <a:pt x="677" y="1205"/>
                    </a:lnTo>
                    <a:lnTo>
                      <a:pt x="679" y="1205"/>
                    </a:lnTo>
                    <a:lnTo>
                      <a:pt x="680" y="1205"/>
                    </a:lnTo>
                    <a:lnTo>
                      <a:pt x="682" y="1205"/>
                    </a:lnTo>
                    <a:lnTo>
                      <a:pt x="682" y="1203"/>
                    </a:lnTo>
                    <a:lnTo>
                      <a:pt x="684" y="1203"/>
                    </a:lnTo>
                    <a:lnTo>
                      <a:pt x="686" y="1203"/>
                    </a:lnTo>
                    <a:lnTo>
                      <a:pt x="688" y="1203"/>
                    </a:lnTo>
                    <a:lnTo>
                      <a:pt x="690" y="1203"/>
                    </a:lnTo>
                    <a:lnTo>
                      <a:pt x="692" y="1203"/>
                    </a:lnTo>
                    <a:lnTo>
                      <a:pt x="694" y="1203"/>
                    </a:lnTo>
                    <a:lnTo>
                      <a:pt x="694" y="1201"/>
                    </a:lnTo>
                    <a:lnTo>
                      <a:pt x="696" y="1201"/>
                    </a:lnTo>
                    <a:lnTo>
                      <a:pt x="697" y="1201"/>
                    </a:lnTo>
                    <a:lnTo>
                      <a:pt x="697" y="1199"/>
                    </a:lnTo>
                    <a:lnTo>
                      <a:pt x="699" y="1199"/>
                    </a:lnTo>
                    <a:lnTo>
                      <a:pt x="701" y="1199"/>
                    </a:lnTo>
                    <a:lnTo>
                      <a:pt x="701" y="1197"/>
                    </a:lnTo>
                    <a:lnTo>
                      <a:pt x="703" y="1197"/>
                    </a:lnTo>
                    <a:lnTo>
                      <a:pt x="703" y="1195"/>
                    </a:lnTo>
                    <a:lnTo>
                      <a:pt x="705" y="1195"/>
                    </a:lnTo>
                    <a:lnTo>
                      <a:pt x="705" y="1193"/>
                    </a:lnTo>
                    <a:lnTo>
                      <a:pt x="707" y="1193"/>
                    </a:lnTo>
                    <a:lnTo>
                      <a:pt x="707" y="1191"/>
                    </a:lnTo>
                    <a:lnTo>
                      <a:pt x="707" y="1189"/>
                    </a:lnTo>
                    <a:lnTo>
                      <a:pt x="709" y="1189"/>
                    </a:lnTo>
                    <a:lnTo>
                      <a:pt x="709" y="1188"/>
                    </a:lnTo>
                    <a:lnTo>
                      <a:pt x="711" y="1188"/>
                    </a:lnTo>
                    <a:lnTo>
                      <a:pt x="711" y="1186"/>
                    </a:lnTo>
                    <a:lnTo>
                      <a:pt x="712" y="1186"/>
                    </a:lnTo>
                    <a:lnTo>
                      <a:pt x="714" y="1186"/>
                    </a:lnTo>
                    <a:lnTo>
                      <a:pt x="716" y="1186"/>
                    </a:lnTo>
                    <a:lnTo>
                      <a:pt x="718" y="1186"/>
                    </a:lnTo>
                    <a:lnTo>
                      <a:pt x="718" y="1188"/>
                    </a:lnTo>
                    <a:lnTo>
                      <a:pt x="720" y="1188"/>
                    </a:lnTo>
                    <a:lnTo>
                      <a:pt x="722" y="1188"/>
                    </a:lnTo>
                    <a:lnTo>
                      <a:pt x="724" y="1188"/>
                    </a:lnTo>
                    <a:lnTo>
                      <a:pt x="724" y="1186"/>
                    </a:lnTo>
                    <a:lnTo>
                      <a:pt x="724" y="1184"/>
                    </a:lnTo>
                    <a:lnTo>
                      <a:pt x="726" y="1184"/>
                    </a:lnTo>
                    <a:lnTo>
                      <a:pt x="726" y="1182"/>
                    </a:lnTo>
                    <a:lnTo>
                      <a:pt x="726" y="1180"/>
                    </a:lnTo>
                    <a:lnTo>
                      <a:pt x="724" y="1180"/>
                    </a:lnTo>
                    <a:lnTo>
                      <a:pt x="724" y="1178"/>
                    </a:lnTo>
                    <a:lnTo>
                      <a:pt x="722" y="1178"/>
                    </a:lnTo>
                    <a:lnTo>
                      <a:pt x="722" y="1176"/>
                    </a:lnTo>
                    <a:lnTo>
                      <a:pt x="720" y="1176"/>
                    </a:lnTo>
                    <a:lnTo>
                      <a:pt x="718" y="1176"/>
                    </a:lnTo>
                    <a:lnTo>
                      <a:pt x="716" y="1176"/>
                    </a:lnTo>
                    <a:lnTo>
                      <a:pt x="716" y="1174"/>
                    </a:lnTo>
                    <a:lnTo>
                      <a:pt x="716" y="1173"/>
                    </a:lnTo>
                    <a:lnTo>
                      <a:pt x="714" y="1173"/>
                    </a:lnTo>
                    <a:lnTo>
                      <a:pt x="714" y="1171"/>
                    </a:lnTo>
                    <a:lnTo>
                      <a:pt x="714" y="1169"/>
                    </a:lnTo>
                    <a:lnTo>
                      <a:pt x="714" y="1167"/>
                    </a:lnTo>
                    <a:lnTo>
                      <a:pt x="712" y="1167"/>
                    </a:lnTo>
                    <a:lnTo>
                      <a:pt x="712" y="1165"/>
                    </a:lnTo>
                    <a:lnTo>
                      <a:pt x="711" y="1163"/>
                    </a:lnTo>
                    <a:lnTo>
                      <a:pt x="711" y="1161"/>
                    </a:lnTo>
                    <a:lnTo>
                      <a:pt x="711" y="1159"/>
                    </a:lnTo>
                    <a:lnTo>
                      <a:pt x="711" y="1157"/>
                    </a:lnTo>
                    <a:lnTo>
                      <a:pt x="711" y="1156"/>
                    </a:lnTo>
                    <a:lnTo>
                      <a:pt x="712" y="1156"/>
                    </a:lnTo>
                    <a:lnTo>
                      <a:pt x="712" y="1154"/>
                    </a:lnTo>
                    <a:lnTo>
                      <a:pt x="712" y="1152"/>
                    </a:lnTo>
                    <a:lnTo>
                      <a:pt x="712" y="1150"/>
                    </a:lnTo>
                    <a:lnTo>
                      <a:pt x="714" y="1150"/>
                    </a:lnTo>
                    <a:lnTo>
                      <a:pt x="714" y="1148"/>
                    </a:lnTo>
                    <a:lnTo>
                      <a:pt x="714" y="1146"/>
                    </a:lnTo>
                    <a:lnTo>
                      <a:pt x="714" y="1144"/>
                    </a:lnTo>
                    <a:lnTo>
                      <a:pt x="716" y="1144"/>
                    </a:lnTo>
                    <a:lnTo>
                      <a:pt x="716" y="1142"/>
                    </a:lnTo>
                    <a:lnTo>
                      <a:pt x="716" y="1141"/>
                    </a:lnTo>
                    <a:lnTo>
                      <a:pt x="718" y="1141"/>
                    </a:lnTo>
                    <a:lnTo>
                      <a:pt x="718" y="1139"/>
                    </a:lnTo>
                    <a:lnTo>
                      <a:pt x="720" y="1139"/>
                    </a:lnTo>
                    <a:lnTo>
                      <a:pt x="722" y="1139"/>
                    </a:lnTo>
                    <a:lnTo>
                      <a:pt x="722" y="1137"/>
                    </a:lnTo>
                    <a:lnTo>
                      <a:pt x="724" y="1137"/>
                    </a:lnTo>
                    <a:lnTo>
                      <a:pt x="726" y="1137"/>
                    </a:lnTo>
                    <a:lnTo>
                      <a:pt x="728" y="1137"/>
                    </a:lnTo>
                    <a:lnTo>
                      <a:pt x="729" y="1137"/>
                    </a:lnTo>
                    <a:lnTo>
                      <a:pt x="731" y="1137"/>
                    </a:lnTo>
                    <a:lnTo>
                      <a:pt x="733" y="1137"/>
                    </a:lnTo>
                    <a:lnTo>
                      <a:pt x="735" y="1137"/>
                    </a:lnTo>
                    <a:lnTo>
                      <a:pt x="737" y="1139"/>
                    </a:lnTo>
                    <a:lnTo>
                      <a:pt x="739" y="1139"/>
                    </a:lnTo>
                    <a:lnTo>
                      <a:pt x="741" y="1139"/>
                    </a:lnTo>
                    <a:lnTo>
                      <a:pt x="743" y="1139"/>
                    </a:lnTo>
                    <a:lnTo>
                      <a:pt x="744" y="1139"/>
                    </a:lnTo>
                    <a:lnTo>
                      <a:pt x="744" y="1137"/>
                    </a:lnTo>
                    <a:lnTo>
                      <a:pt x="746" y="1137"/>
                    </a:lnTo>
                    <a:lnTo>
                      <a:pt x="748" y="1137"/>
                    </a:lnTo>
                    <a:lnTo>
                      <a:pt x="750" y="1137"/>
                    </a:lnTo>
                    <a:lnTo>
                      <a:pt x="752" y="1137"/>
                    </a:lnTo>
                    <a:lnTo>
                      <a:pt x="754" y="1137"/>
                    </a:lnTo>
                    <a:lnTo>
                      <a:pt x="756" y="1137"/>
                    </a:lnTo>
                    <a:lnTo>
                      <a:pt x="756" y="1135"/>
                    </a:lnTo>
                    <a:lnTo>
                      <a:pt x="758" y="1135"/>
                    </a:lnTo>
                    <a:lnTo>
                      <a:pt x="758" y="1133"/>
                    </a:lnTo>
                    <a:lnTo>
                      <a:pt x="759" y="1133"/>
                    </a:lnTo>
                    <a:lnTo>
                      <a:pt x="761" y="1133"/>
                    </a:lnTo>
                    <a:lnTo>
                      <a:pt x="763" y="1131"/>
                    </a:lnTo>
                    <a:lnTo>
                      <a:pt x="765" y="1131"/>
                    </a:lnTo>
                    <a:lnTo>
                      <a:pt x="765" y="1129"/>
                    </a:lnTo>
                    <a:lnTo>
                      <a:pt x="767" y="1129"/>
                    </a:lnTo>
                    <a:lnTo>
                      <a:pt x="769" y="1129"/>
                    </a:lnTo>
                    <a:lnTo>
                      <a:pt x="769" y="1127"/>
                    </a:lnTo>
                    <a:lnTo>
                      <a:pt x="771" y="1127"/>
                    </a:lnTo>
                    <a:lnTo>
                      <a:pt x="771" y="1125"/>
                    </a:lnTo>
                    <a:lnTo>
                      <a:pt x="771" y="1124"/>
                    </a:lnTo>
                    <a:lnTo>
                      <a:pt x="773" y="1124"/>
                    </a:lnTo>
                    <a:lnTo>
                      <a:pt x="773" y="1122"/>
                    </a:lnTo>
                    <a:lnTo>
                      <a:pt x="775" y="1122"/>
                    </a:lnTo>
                    <a:lnTo>
                      <a:pt x="775" y="1120"/>
                    </a:lnTo>
                    <a:lnTo>
                      <a:pt x="775" y="1118"/>
                    </a:lnTo>
                    <a:lnTo>
                      <a:pt x="775" y="1116"/>
                    </a:lnTo>
                    <a:lnTo>
                      <a:pt x="776" y="1116"/>
                    </a:lnTo>
                    <a:lnTo>
                      <a:pt x="776" y="1114"/>
                    </a:lnTo>
                    <a:lnTo>
                      <a:pt x="776" y="1112"/>
                    </a:lnTo>
                    <a:lnTo>
                      <a:pt x="776" y="1110"/>
                    </a:lnTo>
                    <a:lnTo>
                      <a:pt x="776" y="1109"/>
                    </a:lnTo>
                    <a:lnTo>
                      <a:pt x="776" y="1107"/>
                    </a:lnTo>
                    <a:lnTo>
                      <a:pt x="778" y="1107"/>
                    </a:lnTo>
                    <a:lnTo>
                      <a:pt x="778" y="1105"/>
                    </a:lnTo>
                    <a:lnTo>
                      <a:pt x="778" y="1103"/>
                    </a:lnTo>
                    <a:lnTo>
                      <a:pt x="778" y="1101"/>
                    </a:lnTo>
                    <a:lnTo>
                      <a:pt x="778" y="1099"/>
                    </a:lnTo>
                    <a:lnTo>
                      <a:pt x="778" y="1097"/>
                    </a:lnTo>
                    <a:lnTo>
                      <a:pt x="780" y="1097"/>
                    </a:lnTo>
                    <a:lnTo>
                      <a:pt x="780" y="1095"/>
                    </a:lnTo>
                    <a:lnTo>
                      <a:pt x="782" y="1095"/>
                    </a:lnTo>
                    <a:lnTo>
                      <a:pt x="784" y="1095"/>
                    </a:lnTo>
                    <a:lnTo>
                      <a:pt x="786" y="1095"/>
                    </a:lnTo>
                    <a:lnTo>
                      <a:pt x="786" y="1093"/>
                    </a:lnTo>
                    <a:lnTo>
                      <a:pt x="788" y="1093"/>
                    </a:lnTo>
                    <a:lnTo>
                      <a:pt x="788" y="1092"/>
                    </a:lnTo>
                    <a:lnTo>
                      <a:pt x="788" y="1090"/>
                    </a:lnTo>
                    <a:lnTo>
                      <a:pt x="788" y="1088"/>
                    </a:lnTo>
                    <a:lnTo>
                      <a:pt x="790" y="1086"/>
                    </a:lnTo>
                    <a:lnTo>
                      <a:pt x="790" y="1084"/>
                    </a:lnTo>
                    <a:lnTo>
                      <a:pt x="790" y="1082"/>
                    </a:lnTo>
                    <a:lnTo>
                      <a:pt x="790" y="1080"/>
                    </a:lnTo>
                    <a:lnTo>
                      <a:pt x="791" y="1080"/>
                    </a:lnTo>
                    <a:lnTo>
                      <a:pt x="791" y="1078"/>
                    </a:lnTo>
                    <a:lnTo>
                      <a:pt x="793" y="1078"/>
                    </a:lnTo>
                    <a:lnTo>
                      <a:pt x="793" y="1076"/>
                    </a:lnTo>
                    <a:lnTo>
                      <a:pt x="795" y="1076"/>
                    </a:lnTo>
                    <a:lnTo>
                      <a:pt x="797" y="1076"/>
                    </a:lnTo>
                    <a:lnTo>
                      <a:pt x="799" y="1076"/>
                    </a:lnTo>
                    <a:lnTo>
                      <a:pt x="801" y="1076"/>
                    </a:lnTo>
                    <a:lnTo>
                      <a:pt x="801" y="1075"/>
                    </a:lnTo>
                    <a:lnTo>
                      <a:pt x="803" y="1075"/>
                    </a:lnTo>
                    <a:lnTo>
                      <a:pt x="805" y="1075"/>
                    </a:lnTo>
                    <a:lnTo>
                      <a:pt x="805" y="1073"/>
                    </a:lnTo>
                    <a:lnTo>
                      <a:pt x="807" y="1073"/>
                    </a:lnTo>
                    <a:lnTo>
                      <a:pt x="808" y="1073"/>
                    </a:lnTo>
                    <a:lnTo>
                      <a:pt x="808" y="1071"/>
                    </a:lnTo>
                    <a:lnTo>
                      <a:pt x="810" y="1071"/>
                    </a:lnTo>
                    <a:lnTo>
                      <a:pt x="810" y="1073"/>
                    </a:lnTo>
                    <a:lnTo>
                      <a:pt x="812" y="1073"/>
                    </a:lnTo>
                    <a:lnTo>
                      <a:pt x="814" y="1075"/>
                    </a:lnTo>
                    <a:lnTo>
                      <a:pt x="816" y="1075"/>
                    </a:lnTo>
                    <a:lnTo>
                      <a:pt x="818" y="1076"/>
                    </a:lnTo>
                    <a:lnTo>
                      <a:pt x="820" y="1076"/>
                    </a:lnTo>
                    <a:lnTo>
                      <a:pt x="820" y="1078"/>
                    </a:lnTo>
                    <a:lnTo>
                      <a:pt x="822" y="1076"/>
                    </a:lnTo>
                    <a:lnTo>
                      <a:pt x="822" y="1075"/>
                    </a:lnTo>
                    <a:lnTo>
                      <a:pt x="823" y="1075"/>
                    </a:lnTo>
                    <a:lnTo>
                      <a:pt x="825" y="1075"/>
                    </a:lnTo>
                    <a:lnTo>
                      <a:pt x="827" y="1075"/>
                    </a:lnTo>
                    <a:lnTo>
                      <a:pt x="827" y="1073"/>
                    </a:lnTo>
                    <a:lnTo>
                      <a:pt x="829" y="1073"/>
                    </a:lnTo>
                    <a:lnTo>
                      <a:pt x="831" y="1071"/>
                    </a:lnTo>
                    <a:lnTo>
                      <a:pt x="831" y="1069"/>
                    </a:lnTo>
                    <a:lnTo>
                      <a:pt x="833" y="1069"/>
                    </a:lnTo>
                    <a:lnTo>
                      <a:pt x="833" y="1067"/>
                    </a:lnTo>
                    <a:lnTo>
                      <a:pt x="835" y="1067"/>
                    </a:lnTo>
                    <a:lnTo>
                      <a:pt x="835" y="1065"/>
                    </a:lnTo>
                    <a:lnTo>
                      <a:pt x="837" y="1065"/>
                    </a:lnTo>
                    <a:lnTo>
                      <a:pt x="838" y="1065"/>
                    </a:lnTo>
                    <a:lnTo>
                      <a:pt x="840" y="1065"/>
                    </a:lnTo>
                    <a:lnTo>
                      <a:pt x="842" y="1065"/>
                    </a:lnTo>
                    <a:lnTo>
                      <a:pt x="844" y="1065"/>
                    </a:lnTo>
                    <a:lnTo>
                      <a:pt x="846" y="1067"/>
                    </a:lnTo>
                    <a:lnTo>
                      <a:pt x="848" y="1067"/>
                    </a:lnTo>
                    <a:lnTo>
                      <a:pt x="848" y="1069"/>
                    </a:lnTo>
                    <a:lnTo>
                      <a:pt x="850" y="1069"/>
                    </a:lnTo>
                    <a:lnTo>
                      <a:pt x="852" y="1069"/>
                    </a:lnTo>
                    <a:lnTo>
                      <a:pt x="854" y="1069"/>
                    </a:lnTo>
                    <a:lnTo>
                      <a:pt x="854" y="1071"/>
                    </a:lnTo>
                    <a:lnTo>
                      <a:pt x="855" y="1071"/>
                    </a:lnTo>
                    <a:lnTo>
                      <a:pt x="857" y="1071"/>
                    </a:lnTo>
                    <a:lnTo>
                      <a:pt x="859" y="1071"/>
                    </a:lnTo>
                    <a:lnTo>
                      <a:pt x="859" y="1069"/>
                    </a:lnTo>
                    <a:lnTo>
                      <a:pt x="861" y="1069"/>
                    </a:lnTo>
                    <a:lnTo>
                      <a:pt x="861" y="1067"/>
                    </a:lnTo>
                    <a:lnTo>
                      <a:pt x="863" y="1065"/>
                    </a:lnTo>
                    <a:lnTo>
                      <a:pt x="863" y="1063"/>
                    </a:lnTo>
                    <a:lnTo>
                      <a:pt x="865" y="1063"/>
                    </a:lnTo>
                    <a:lnTo>
                      <a:pt x="865" y="1061"/>
                    </a:lnTo>
                    <a:lnTo>
                      <a:pt x="865" y="1060"/>
                    </a:lnTo>
                    <a:lnTo>
                      <a:pt x="865" y="1058"/>
                    </a:lnTo>
                    <a:lnTo>
                      <a:pt x="867" y="1058"/>
                    </a:lnTo>
                    <a:lnTo>
                      <a:pt x="867" y="1056"/>
                    </a:lnTo>
                    <a:lnTo>
                      <a:pt x="869" y="1056"/>
                    </a:lnTo>
                    <a:lnTo>
                      <a:pt x="870" y="1056"/>
                    </a:lnTo>
                    <a:lnTo>
                      <a:pt x="870" y="1054"/>
                    </a:lnTo>
                    <a:lnTo>
                      <a:pt x="872" y="1054"/>
                    </a:lnTo>
                    <a:lnTo>
                      <a:pt x="872" y="1052"/>
                    </a:lnTo>
                    <a:lnTo>
                      <a:pt x="874" y="1052"/>
                    </a:lnTo>
                    <a:lnTo>
                      <a:pt x="876" y="1052"/>
                    </a:lnTo>
                    <a:lnTo>
                      <a:pt x="878" y="1052"/>
                    </a:lnTo>
                    <a:lnTo>
                      <a:pt x="880" y="1052"/>
                    </a:lnTo>
                    <a:lnTo>
                      <a:pt x="882" y="1052"/>
                    </a:lnTo>
                    <a:lnTo>
                      <a:pt x="884" y="1052"/>
                    </a:lnTo>
                    <a:lnTo>
                      <a:pt x="886" y="1052"/>
                    </a:lnTo>
                    <a:lnTo>
                      <a:pt x="887" y="1052"/>
                    </a:lnTo>
                    <a:lnTo>
                      <a:pt x="887" y="1050"/>
                    </a:lnTo>
                    <a:lnTo>
                      <a:pt x="889" y="1050"/>
                    </a:lnTo>
                    <a:lnTo>
                      <a:pt x="891" y="1050"/>
                    </a:lnTo>
                    <a:lnTo>
                      <a:pt x="893" y="1050"/>
                    </a:lnTo>
                    <a:lnTo>
                      <a:pt x="893" y="1048"/>
                    </a:lnTo>
                    <a:lnTo>
                      <a:pt x="895" y="1048"/>
                    </a:lnTo>
                    <a:lnTo>
                      <a:pt x="897" y="1048"/>
                    </a:lnTo>
                    <a:lnTo>
                      <a:pt x="899" y="1046"/>
                    </a:lnTo>
                    <a:lnTo>
                      <a:pt x="901" y="1046"/>
                    </a:lnTo>
                    <a:lnTo>
                      <a:pt x="902" y="1046"/>
                    </a:lnTo>
                    <a:lnTo>
                      <a:pt x="904" y="1046"/>
                    </a:lnTo>
                    <a:lnTo>
                      <a:pt x="904" y="1048"/>
                    </a:lnTo>
                    <a:lnTo>
                      <a:pt x="904" y="996"/>
                    </a:lnTo>
                    <a:lnTo>
                      <a:pt x="904" y="950"/>
                    </a:lnTo>
                    <a:lnTo>
                      <a:pt x="904" y="918"/>
                    </a:lnTo>
                    <a:lnTo>
                      <a:pt x="904" y="858"/>
                    </a:lnTo>
                    <a:lnTo>
                      <a:pt x="904" y="775"/>
                    </a:lnTo>
                    <a:lnTo>
                      <a:pt x="904" y="736"/>
                    </a:lnTo>
                    <a:lnTo>
                      <a:pt x="904" y="625"/>
                    </a:lnTo>
                    <a:lnTo>
                      <a:pt x="904" y="583"/>
                    </a:lnTo>
                    <a:lnTo>
                      <a:pt x="904" y="564"/>
                    </a:lnTo>
                    <a:lnTo>
                      <a:pt x="904" y="527"/>
                    </a:lnTo>
                    <a:lnTo>
                      <a:pt x="904" y="480"/>
                    </a:lnTo>
                    <a:lnTo>
                      <a:pt x="904" y="476"/>
                    </a:lnTo>
                    <a:lnTo>
                      <a:pt x="904" y="448"/>
                    </a:lnTo>
                    <a:lnTo>
                      <a:pt x="904" y="429"/>
                    </a:lnTo>
                    <a:lnTo>
                      <a:pt x="904" y="389"/>
                    </a:lnTo>
                    <a:lnTo>
                      <a:pt x="904" y="382"/>
                    </a:lnTo>
                    <a:lnTo>
                      <a:pt x="904" y="376"/>
                    </a:lnTo>
                    <a:lnTo>
                      <a:pt x="904" y="350"/>
                    </a:lnTo>
                    <a:lnTo>
                      <a:pt x="904" y="327"/>
                    </a:lnTo>
                    <a:lnTo>
                      <a:pt x="904" y="288"/>
                    </a:lnTo>
                    <a:lnTo>
                      <a:pt x="904" y="282"/>
                    </a:lnTo>
                    <a:lnTo>
                      <a:pt x="904" y="243"/>
                    </a:lnTo>
                    <a:lnTo>
                      <a:pt x="904" y="239"/>
                    </a:lnTo>
                    <a:lnTo>
                      <a:pt x="904" y="216"/>
                    </a:lnTo>
                    <a:lnTo>
                      <a:pt x="904" y="184"/>
                    </a:lnTo>
                    <a:lnTo>
                      <a:pt x="904" y="145"/>
                    </a:lnTo>
                    <a:lnTo>
                      <a:pt x="904" y="96"/>
                    </a:lnTo>
                    <a:lnTo>
                      <a:pt x="904" y="66"/>
                    </a:lnTo>
                    <a:lnTo>
                      <a:pt x="904" y="20"/>
                    </a:lnTo>
                    <a:lnTo>
                      <a:pt x="904" y="0"/>
                    </a:lnTo>
                    <a:lnTo>
                      <a:pt x="904" y="2"/>
                    </a:lnTo>
                    <a:lnTo>
                      <a:pt x="906" y="2"/>
                    </a:lnTo>
                    <a:lnTo>
                      <a:pt x="906" y="3"/>
                    </a:lnTo>
                    <a:lnTo>
                      <a:pt x="908" y="3"/>
                    </a:lnTo>
                    <a:lnTo>
                      <a:pt x="910" y="5"/>
                    </a:lnTo>
                    <a:lnTo>
                      <a:pt x="912" y="5"/>
                    </a:lnTo>
                    <a:lnTo>
                      <a:pt x="912" y="7"/>
                    </a:lnTo>
                    <a:lnTo>
                      <a:pt x="914" y="7"/>
                    </a:lnTo>
                    <a:lnTo>
                      <a:pt x="914" y="9"/>
                    </a:lnTo>
                    <a:lnTo>
                      <a:pt x="914" y="11"/>
                    </a:lnTo>
                    <a:lnTo>
                      <a:pt x="914" y="13"/>
                    </a:lnTo>
                    <a:lnTo>
                      <a:pt x="916" y="13"/>
                    </a:lnTo>
                    <a:lnTo>
                      <a:pt x="917" y="13"/>
                    </a:lnTo>
                    <a:lnTo>
                      <a:pt x="919" y="13"/>
                    </a:lnTo>
                    <a:lnTo>
                      <a:pt x="921" y="13"/>
                    </a:lnTo>
                    <a:lnTo>
                      <a:pt x="921" y="15"/>
                    </a:lnTo>
                    <a:lnTo>
                      <a:pt x="921" y="18"/>
                    </a:lnTo>
                    <a:lnTo>
                      <a:pt x="923" y="18"/>
                    </a:lnTo>
                    <a:lnTo>
                      <a:pt x="925" y="18"/>
                    </a:lnTo>
                    <a:lnTo>
                      <a:pt x="927" y="18"/>
                    </a:lnTo>
                    <a:lnTo>
                      <a:pt x="929" y="18"/>
                    </a:lnTo>
                    <a:lnTo>
                      <a:pt x="929" y="20"/>
                    </a:lnTo>
                    <a:lnTo>
                      <a:pt x="927" y="22"/>
                    </a:lnTo>
                    <a:lnTo>
                      <a:pt x="927" y="24"/>
                    </a:lnTo>
                    <a:lnTo>
                      <a:pt x="929" y="26"/>
                    </a:lnTo>
                    <a:lnTo>
                      <a:pt x="931" y="26"/>
                    </a:lnTo>
                    <a:lnTo>
                      <a:pt x="933" y="26"/>
                    </a:lnTo>
                    <a:lnTo>
                      <a:pt x="933" y="28"/>
                    </a:lnTo>
                    <a:lnTo>
                      <a:pt x="934" y="30"/>
                    </a:lnTo>
                    <a:lnTo>
                      <a:pt x="934" y="32"/>
                    </a:lnTo>
                    <a:lnTo>
                      <a:pt x="934" y="34"/>
                    </a:lnTo>
                    <a:lnTo>
                      <a:pt x="936" y="34"/>
                    </a:lnTo>
                    <a:lnTo>
                      <a:pt x="938" y="34"/>
                    </a:lnTo>
                    <a:lnTo>
                      <a:pt x="938" y="32"/>
                    </a:lnTo>
                    <a:lnTo>
                      <a:pt x="940" y="32"/>
                    </a:lnTo>
                    <a:lnTo>
                      <a:pt x="942" y="32"/>
                    </a:lnTo>
                    <a:lnTo>
                      <a:pt x="944" y="32"/>
                    </a:lnTo>
                    <a:lnTo>
                      <a:pt x="944" y="34"/>
                    </a:lnTo>
                    <a:lnTo>
                      <a:pt x="946" y="34"/>
                    </a:lnTo>
                    <a:lnTo>
                      <a:pt x="946" y="35"/>
                    </a:lnTo>
                    <a:lnTo>
                      <a:pt x="948" y="35"/>
                    </a:lnTo>
                    <a:lnTo>
                      <a:pt x="948" y="37"/>
                    </a:lnTo>
                    <a:lnTo>
                      <a:pt x="949" y="39"/>
                    </a:lnTo>
                    <a:lnTo>
                      <a:pt x="951" y="39"/>
                    </a:lnTo>
                    <a:lnTo>
                      <a:pt x="951" y="41"/>
                    </a:lnTo>
                    <a:lnTo>
                      <a:pt x="953" y="41"/>
                    </a:lnTo>
                    <a:lnTo>
                      <a:pt x="955" y="39"/>
                    </a:lnTo>
                    <a:lnTo>
                      <a:pt x="955" y="37"/>
                    </a:lnTo>
                    <a:lnTo>
                      <a:pt x="957" y="37"/>
                    </a:lnTo>
                    <a:lnTo>
                      <a:pt x="959" y="37"/>
                    </a:lnTo>
                    <a:lnTo>
                      <a:pt x="959" y="39"/>
                    </a:lnTo>
                    <a:lnTo>
                      <a:pt x="959" y="41"/>
                    </a:lnTo>
                    <a:lnTo>
                      <a:pt x="961" y="43"/>
                    </a:lnTo>
                    <a:lnTo>
                      <a:pt x="963" y="43"/>
                    </a:lnTo>
                    <a:lnTo>
                      <a:pt x="965" y="41"/>
                    </a:lnTo>
                    <a:lnTo>
                      <a:pt x="966" y="43"/>
                    </a:lnTo>
                    <a:lnTo>
                      <a:pt x="968" y="43"/>
                    </a:lnTo>
                    <a:lnTo>
                      <a:pt x="970" y="45"/>
                    </a:lnTo>
                    <a:lnTo>
                      <a:pt x="972" y="45"/>
                    </a:lnTo>
                    <a:lnTo>
                      <a:pt x="972" y="47"/>
                    </a:lnTo>
                    <a:lnTo>
                      <a:pt x="974" y="47"/>
                    </a:lnTo>
                    <a:lnTo>
                      <a:pt x="974" y="49"/>
                    </a:lnTo>
                    <a:lnTo>
                      <a:pt x="974" y="50"/>
                    </a:lnTo>
                    <a:lnTo>
                      <a:pt x="976" y="52"/>
                    </a:lnTo>
                    <a:lnTo>
                      <a:pt x="978" y="52"/>
                    </a:lnTo>
                    <a:lnTo>
                      <a:pt x="978" y="54"/>
                    </a:lnTo>
                    <a:lnTo>
                      <a:pt x="980" y="54"/>
                    </a:lnTo>
                    <a:lnTo>
                      <a:pt x="978" y="56"/>
                    </a:lnTo>
                    <a:lnTo>
                      <a:pt x="978" y="58"/>
                    </a:lnTo>
                    <a:lnTo>
                      <a:pt x="980" y="60"/>
                    </a:lnTo>
                    <a:lnTo>
                      <a:pt x="981" y="60"/>
                    </a:lnTo>
                    <a:lnTo>
                      <a:pt x="981" y="62"/>
                    </a:lnTo>
                    <a:lnTo>
                      <a:pt x="983" y="62"/>
                    </a:lnTo>
                    <a:lnTo>
                      <a:pt x="985" y="62"/>
                    </a:lnTo>
                    <a:lnTo>
                      <a:pt x="987" y="62"/>
                    </a:lnTo>
                    <a:lnTo>
                      <a:pt x="987" y="64"/>
                    </a:lnTo>
                    <a:lnTo>
                      <a:pt x="989" y="66"/>
                    </a:lnTo>
                    <a:lnTo>
                      <a:pt x="989" y="67"/>
                    </a:lnTo>
                    <a:lnTo>
                      <a:pt x="991" y="69"/>
                    </a:lnTo>
                    <a:lnTo>
                      <a:pt x="993" y="69"/>
                    </a:lnTo>
                    <a:lnTo>
                      <a:pt x="995" y="69"/>
                    </a:lnTo>
                    <a:lnTo>
                      <a:pt x="995" y="71"/>
                    </a:lnTo>
                    <a:lnTo>
                      <a:pt x="996" y="73"/>
                    </a:lnTo>
                    <a:lnTo>
                      <a:pt x="998" y="73"/>
                    </a:lnTo>
                    <a:lnTo>
                      <a:pt x="1000" y="75"/>
                    </a:lnTo>
                    <a:lnTo>
                      <a:pt x="1002" y="75"/>
                    </a:lnTo>
                    <a:lnTo>
                      <a:pt x="1004" y="75"/>
                    </a:lnTo>
                    <a:lnTo>
                      <a:pt x="1004" y="77"/>
                    </a:lnTo>
                    <a:lnTo>
                      <a:pt x="1004" y="79"/>
                    </a:lnTo>
                    <a:lnTo>
                      <a:pt x="1004" y="81"/>
                    </a:lnTo>
                    <a:lnTo>
                      <a:pt x="1002" y="81"/>
                    </a:lnTo>
                    <a:lnTo>
                      <a:pt x="1002" y="82"/>
                    </a:lnTo>
                    <a:lnTo>
                      <a:pt x="1002" y="84"/>
                    </a:lnTo>
                    <a:lnTo>
                      <a:pt x="1004" y="86"/>
                    </a:lnTo>
                    <a:lnTo>
                      <a:pt x="1006" y="88"/>
                    </a:lnTo>
                    <a:lnTo>
                      <a:pt x="1008" y="88"/>
                    </a:lnTo>
                    <a:lnTo>
                      <a:pt x="1010" y="88"/>
                    </a:lnTo>
                    <a:lnTo>
                      <a:pt x="1010" y="90"/>
                    </a:lnTo>
                    <a:lnTo>
                      <a:pt x="1012" y="90"/>
                    </a:lnTo>
                    <a:lnTo>
                      <a:pt x="1012" y="92"/>
                    </a:lnTo>
                    <a:lnTo>
                      <a:pt x="1010" y="92"/>
                    </a:lnTo>
                    <a:lnTo>
                      <a:pt x="1010" y="94"/>
                    </a:lnTo>
                    <a:lnTo>
                      <a:pt x="1010" y="96"/>
                    </a:lnTo>
                    <a:lnTo>
                      <a:pt x="1012" y="96"/>
                    </a:lnTo>
                    <a:lnTo>
                      <a:pt x="1013" y="96"/>
                    </a:lnTo>
                    <a:lnTo>
                      <a:pt x="1013" y="98"/>
                    </a:lnTo>
                    <a:lnTo>
                      <a:pt x="1015" y="99"/>
                    </a:lnTo>
                    <a:lnTo>
                      <a:pt x="1013" y="101"/>
                    </a:lnTo>
                    <a:lnTo>
                      <a:pt x="1013" y="103"/>
                    </a:lnTo>
                    <a:lnTo>
                      <a:pt x="1015" y="103"/>
                    </a:lnTo>
                    <a:lnTo>
                      <a:pt x="1015" y="105"/>
                    </a:lnTo>
                    <a:lnTo>
                      <a:pt x="1015" y="107"/>
                    </a:lnTo>
                    <a:lnTo>
                      <a:pt x="1013" y="107"/>
                    </a:lnTo>
                    <a:lnTo>
                      <a:pt x="1013" y="109"/>
                    </a:lnTo>
                    <a:lnTo>
                      <a:pt x="1015" y="109"/>
                    </a:lnTo>
                    <a:lnTo>
                      <a:pt x="1015" y="111"/>
                    </a:lnTo>
                    <a:lnTo>
                      <a:pt x="1017" y="111"/>
                    </a:lnTo>
                    <a:lnTo>
                      <a:pt x="1019" y="111"/>
                    </a:lnTo>
                    <a:lnTo>
                      <a:pt x="1021" y="111"/>
                    </a:lnTo>
                    <a:lnTo>
                      <a:pt x="1021" y="109"/>
                    </a:lnTo>
                    <a:lnTo>
                      <a:pt x="1023" y="109"/>
                    </a:lnTo>
                    <a:lnTo>
                      <a:pt x="1025" y="109"/>
                    </a:lnTo>
                    <a:lnTo>
                      <a:pt x="1025" y="111"/>
                    </a:lnTo>
                    <a:lnTo>
                      <a:pt x="1025" y="113"/>
                    </a:lnTo>
                    <a:lnTo>
                      <a:pt x="1025" y="114"/>
                    </a:lnTo>
                    <a:lnTo>
                      <a:pt x="1025" y="116"/>
                    </a:lnTo>
                    <a:lnTo>
                      <a:pt x="1023" y="116"/>
                    </a:lnTo>
                    <a:lnTo>
                      <a:pt x="1023" y="118"/>
                    </a:lnTo>
                    <a:lnTo>
                      <a:pt x="1021" y="118"/>
                    </a:lnTo>
                    <a:lnTo>
                      <a:pt x="1019" y="120"/>
                    </a:lnTo>
                    <a:lnTo>
                      <a:pt x="1019" y="122"/>
                    </a:lnTo>
                    <a:lnTo>
                      <a:pt x="1021" y="124"/>
                    </a:lnTo>
                    <a:lnTo>
                      <a:pt x="1023" y="126"/>
                    </a:lnTo>
                    <a:lnTo>
                      <a:pt x="1023" y="128"/>
                    </a:lnTo>
                    <a:lnTo>
                      <a:pt x="1025" y="130"/>
                    </a:lnTo>
                    <a:lnTo>
                      <a:pt x="1025" y="131"/>
                    </a:lnTo>
                    <a:lnTo>
                      <a:pt x="1027" y="130"/>
                    </a:lnTo>
                    <a:lnTo>
                      <a:pt x="1028" y="130"/>
                    </a:lnTo>
                    <a:lnTo>
                      <a:pt x="1030" y="130"/>
                    </a:lnTo>
                    <a:lnTo>
                      <a:pt x="1032" y="130"/>
                    </a:lnTo>
                    <a:lnTo>
                      <a:pt x="1032" y="131"/>
                    </a:lnTo>
                    <a:lnTo>
                      <a:pt x="1032" y="133"/>
                    </a:lnTo>
                    <a:lnTo>
                      <a:pt x="1032" y="135"/>
                    </a:lnTo>
                    <a:lnTo>
                      <a:pt x="1030" y="135"/>
                    </a:lnTo>
                    <a:lnTo>
                      <a:pt x="1030" y="137"/>
                    </a:lnTo>
                    <a:lnTo>
                      <a:pt x="1030" y="139"/>
                    </a:lnTo>
                    <a:lnTo>
                      <a:pt x="1030" y="141"/>
                    </a:lnTo>
                    <a:lnTo>
                      <a:pt x="1032" y="141"/>
                    </a:lnTo>
                    <a:lnTo>
                      <a:pt x="1032" y="143"/>
                    </a:lnTo>
                    <a:lnTo>
                      <a:pt x="1034" y="143"/>
                    </a:lnTo>
                    <a:lnTo>
                      <a:pt x="1034" y="145"/>
                    </a:lnTo>
                    <a:lnTo>
                      <a:pt x="1036" y="143"/>
                    </a:lnTo>
                    <a:lnTo>
                      <a:pt x="1036" y="145"/>
                    </a:lnTo>
                    <a:lnTo>
                      <a:pt x="1038" y="145"/>
                    </a:lnTo>
                    <a:lnTo>
                      <a:pt x="1038" y="146"/>
                    </a:lnTo>
                    <a:lnTo>
                      <a:pt x="1040" y="146"/>
                    </a:lnTo>
                    <a:lnTo>
                      <a:pt x="1042" y="146"/>
                    </a:lnTo>
                    <a:lnTo>
                      <a:pt x="1044" y="146"/>
                    </a:lnTo>
                    <a:lnTo>
                      <a:pt x="1045" y="146"/>
                    </a:lnTo>
                    <a:lnTo>
                      <a:pt x="1044" y="146"/>
                    </a:lnTo>
                    <a:lnTo>
                      <a:pt x="1044" y="148"/>
                    </a:lnTo>
                    <a:lnTo>
                      <a:pt x="1042" y="148"/>
                    </a:lnTo>
                    <a:lnTo>
                      <a:pt x="1042" y="150"/>
                    </a:lnTo>
                    <a:lnTo>
                      <a:pt x="1040" y="152"/>
                    </a:lnTo>
                    <a:lnTo>
                      <a:pt x="1038" y="152"/>
                    </a:lnTo>
                    <a:lnTo>
                      <a:pt x="1038" y="154"/>
                    </a:lnTo>
                    <a:lnTo>
                      <a:pt x="1036" y="154"/>
                    </a:lnTo>
                    <a:lnTo>
                      <a:pt x="1036" y="156"/>
                    </a:lnTo>
                    <a:lnTo>
                      <a:pt x="1038" y="158"/>
                    </a:lnTo>
                    <a:lnTo>
                      <a:pt x="1040" y="158"/>
                    </a:lnTo>
                    <a:lnTo>
                      <a:pt x="1042" y="158"/>
                    </a:lnTo>
                    <a:lnTo>
                      <a:pt x="1042" y="156"/>
                    </a:lnTo>
                    <a:lnTo>
                      <a:pt x="1044" y="156"/>
                    </a:lnTo>
                    <a:lnTo>
                      <a:pt x="1045" y="156"/>
                    </a:lnTo>
                    <a:lnTo>
                      <a:pt x="1045" y="158"/>
                    </a:lnTo>
                    <a:lnTo>
                      <a:pt x="1045" y="160"/>
                    </a:lnTo>
                    <a:lnTo>
                      <a:pt x="1044" y="160"/>
                    </a:lnTo>
                    <a:lnTo>
                      <a:pt x="1044" y="162"/>
                    </a:lnTo>
                    <a:lnTo>
                      <a:pt x="1044" y="163"/>
                    </a:lnTo>
                    <a:lnTo>
                      <a:pt x="1044" y="165"/>
                    </a:lnTo>
                    <a:lnTo>
                      <a:pt x="1044" y="167"/>
                    </a:lnTo>
                    <a:lnTo>
                      <a:pt x="1045" y="167"/>
                    </a:lnTo>
                    <a:lnTo>
                      <a:pt x="1045" y="169"/>
                    </a:lnTo>
                    <a:lnTo>
                      <a:pt x="1045" y="171"/>
                    </a:lnTo>
                    <a:lnTo>
                      <a:pt x="1047" y="173"/>
                    </a:lnTo>
                    <a:lnTo>
                      <a:pt x="1047" y="175"/>
                    </a:lnTo>
                    <a:lnTo>
                      <a:pt x="1049" y="177"/>
                    </a:lnTo>
                    <a:lnTo>
                      <a:pt x="1049" y="178"/>
                    </a:lnTo>
                    <a:lnTo>
                      <a:pt x="1051" y="178"/>
                    </a:lnTo>
                    <a:lnTo>
                      <a:pt x="1053" y="178"/>
                    </a:lnTo>
                    <a:lnTo>
                      <a:pt x="1055" y="177"/>
                    </a:lnTo>
                    <a:lnTo>
                      <a:pt x="1057" y="177"/>
                    </a:lnTo>
                    <a:lnTo>
                      <a:pt x="1059" y="178"/>
                    </a:lnTo>
                    <a:lnTo>
                      <a:pt x="1060" y="180"/>
                    </a:lnTo>
                    <a:lnTo>
                      <a:pt x="1059" y="182"/>
                    </a:lnTo>
                    <a:lnTo>
                      <a:pt x="1059" y="184"/>
                    </a:lnTo>
                    <a:lnTo>
                      <a:pt x="1059" y="186"/>
                    </a:lnTo>
                    <a:lnTo>
                      <a:pt x="1060" y="188"/>
                    </a:lnTo>
                    <a:lnTo>
                      <a:pt x="1062" y="188"/>
                    </a:lnTo>
                    <a:lnTo>
                      <a:pt x="1062" y="186"/>
                    </a:lnTo>
                    <a:lnTo>
                      <a:pt x="1064" y="186"/>
                    </a:lnTo>
                    <a:lnTo>
                      <a:pt x="1066" y="186"/>
                    </a:lnTo>
                    <a:lnTo>
                      <a:pt x="1066" y="188"/>
                    </a:lnTo>
                    <a:lnTo>
                      <a:pt x="1066" y="190"/>
                    </a:lnTo>
                    <a:lnTo>
                      <a:pt x="1064" y="190"/>
                    </a:lnTo>
                    <a:lnTo>
                      <a:pt x="1062" y="192"/>
                    </a:lnTo>
                    <a:lnTo>
                      <a:pt x="1062" y="194"/>
                    </a:lnTo>
                    <a:lnTo>
                      <a:pt x="1064" y="195"/>
                    </a:lnTo>
                    <a:lnTo>
                      <a:pt x="1064" y="197"/>
                    </a:lnTo>
                    <a:lnTo>
                      <a:pt x="1066" y="197"/>
                    </a:lnTo>
                    <a:lnTo>
                      <a:pt x="1068" y="197"/>
                    </a:lnTo>
                    <a:lnTo>
                      <a:pt x="1070" y="197"/>
                    </a:lnTo>
                    <a:lnTo>
                      <a:pt x="1070" y="195"/>
                    </a:lnTo>
                    <a:lnTo>
                      <a:pt x="1072" y="195"/>
                    </a:lnTo>
                    <a:lnTo>
                      <a:pt x="1072" y="194"/>
                    </a:lnTo>
                    <a:lnTo>
                      <a:pt x="1074" y="194"/>
                    </a:lnTo>
                    <a:lnTo>
                      <a:pt x="1074" y="192"/>
                    </a:lnTo>
                    <a:lnTo>
                      <a:pt x="1075" y="192"/>
                    </a:lnTo>
                    <a:lnTo>
                      <a:pt x="1077" y="194"/>
                    </a:lnTo>
                    <a:lnTo>
                      <a:pt x="1077" y="195"/>
                    </a:lnTo>
                    <a:lnTo>
                      <a:pt x="1077" y="197"/>
                    </a:lnTo>
                    <a:lnTo>
                      <a:pt x="1075" y="199"/>
                    </a:lnTo>
                    <a:lnTo>
                      <a:pt x="1074" y="199"/>
                    </a:lnTo>
                    <a:lnTo>
                      <a:pt x="1072" y="199"/>
                    </a:lnTo>
                    <a:lnTo>
                      <a:pt x="1070" y="199"/>
                    </a:lnTo>
                    <a:lnTo>
                      <a:pt x="1068" y="199"/>
                    </a:lnTo>
                    <a:lnTo>
                      <a:pt x="1068" y="201"/>
                    </a:lnTo>
                    <a:lnTo>
                      <a:pt x="1068" y="203"/>
                    </a:lnTo>
                    <a:lnTo>
                      <a:pt x="1068" y="205"/>
                    </a:lnTo>
                    <a:lnTo>
                      <a:pt x="1070" y="207"/>
                    </a:lnTo>
                    <a:lnTo>
                      <a:pt x="1070" y="209"/>
                    </a:lnTo>
                    <a:lnTo>
                      <a:pt x="1068" y="209"/>
                    </a:lnTo>
                    <a:lnTo>
                      <a:pt x="1066" y="210"/>
                    </a:lnTo>
                    <a:lnTo>
                      <a:pt x="1066" y="212"/>
                    </a:lnTo>
                    <a:lnTo>
                      <a:pt x="1066" y="214"/>
                    </a:lnTo>
                    <a:lnTo>
                      <a:pt x="1066" y="216"/>
                    </a:lnTo>
                    <a:lnTo>
                      <a:pt x="1068" y="216"/>
                    </a:lnTo>
                    <a:lnTo>
                      <a:pt x="1070" y="216"/>
                    </a:lnTo>
                    <a:lnTo>
                      <a:pt x="1072" y="218"/>
                    </a:lnTo>
                    <a:lnTo>
                      <a:pt x="1074" y="218"/>
                    </a:lnTo>
                    <a:lnTo>
                      <a:pt x="1074" y="220"/>
                    </a:lnTo>
                    <a:lnTo>
                      <a:pt x="1075" y="220"/>
                    </a:lnTo>
                    <a:lnTo>
                      <a:pt x="1075" y="222"/>
                    </a:lnTo>
                    <a:lnTo>
                      <a:pt x="1077" y="224"/>
                    </a:lnTo>
                    <a:lnTo>
                      <a:pt x="1077" y="226"/>
                    </a:lnTo>
                    <a:lnTo>
                      <a:pt x="1079" y="226"/>
                    </a:lnTo>
                    <a:lnTo>
                      <a:pt x="1079" y="227"/>
                    </a:lnTo>
                    <a:lnTo>
                      <a:pt x="1079" y="229"/>
                    </a:lnTo>
                    <a:lnTo>
                      <a:pt x="1081" y="229"/>
                    </a:lnTo>
                    <a:lnTo>
                      <a:pt x="1081" y="231"/>
                    </a:lnTo>
                    <a:lnTo>
                      <a:pt x="1083" y="231"/>
                    </a:lnTo>
                    <a:lnTo>
                      <a:pt x="1083" y="233"/>
                    </a:lnTo>
                    <a:lnTo>
                      <a:pt x="1083" y="235"/>
                    </a:lnTo>
                    <a:lnTo>
                      <a:pt x="1083" y="237"/>
                    </a:lnTo>
                    <a:lnTo>
                      <a:pt x="1081" y="237"/>
                    </a:lnTo>
                    <a:lnTo>
                      <a:pt x="1079" y="237"/>
                    </a:lnTo>
                    <a:lnTo>
                      <a:pt x="1077" y="237"/>
                    </a:lnTo>
                    <a:lnTo>
                      <a:pt x="1075" y="237"/>
                    </a:lnTo>
                    <a:lnTo>
                      <a:pt x="1074" y="239"/>
                    </a:lnTo>
                    <a:lnTo>
                      <a:pt x="1074" y="241"/>
                    </a:lnTo>
                    <a:lnTo>
                      <a:pt x="1072" y="243"/>
                    </a:lnTo>
                    <a:lnTo>
                      <a:pt x="1072" y="244"/>
                    </a:lnTo>
                    <a:lnTo>
                      <a:pt x="1072" y="246"/>
                    </a:lnTo>
                    <a:lnTo>
                      <a:pt x="1074" y="246"/>
                    </a:lnTo>
                    <a:lnTo>
                      <a:pt x="1075" y="246"/>
                    </a:lnTo>
                    <a:lnTo>
                      <a:pt x="1075" y="244"/>
                    </a:lnTo>
                    <a:lnTo>
                      <a:pt x="1077" y="244"/>
                    </a:lnTo>
                    <a:lnTo>
                      <a:pt x="1079" y="244"/>
                    </a:lnTo>
                    <a:lnTo>
                      <a:pt x="1081" y="246"/>
                    </a:lnTo>
                    <a:lnTo>
                      <a:pt x="1081" y="248"/>
                    </a:lnTo>
                    <a:lnTo>
                      <a:pt x="1081" y="250"/>
                    </a:lnTo>
                    <a:lnTo>
                      <a:pt x="1081" y="252"/>
                    </a:lnTo>
                    <a:lnTo>
                      <a:pt x="1079" y="252"/>
                    </a:lnTo>
                    <a:lnTo>
                      <a:pt x="1079" y="254"/>
                    </a:lnTo>
                    <a:lnTo>
                      <a:pt x="1077" y="254"/>
                    </a:lnTo>
                    <a:lnTo>
                      <a:pt x="1077" y="256"/>
                    </a:lnTo>
                    <a:lnTo>
                      <a:pt x="1077" y="258"/>
                    </a:lnTo>
                    <a:lnTo>
                      <a:pt x="1077" y="259"/>
                    </a:lnTo>
                    <a:lnTo>
                      <a:pt x="1077" y="261"/>
                    </a:lnTo>
                    <a:lnTo>
                      <a:pt x="1079" y="261"/>
                    </a:lnTo>
                    <a:lnTo>
                      <a:pt x="1079" y="263"/>
                    </a:lnTo>
                    <a:lnTo>
                      <a:pt x="1081" y="263"/>
                    </a:lnTo>
                    <a:lnTo>
                      <a:pt x="1083" y="265"/>
                    </a:lnTo>
                    <a:lnTo>
                      <a:pt x="1085" y="265"/>
                    </a:lnTo>
                    <a:lnTo>
                      <a:pt x="1087" y="267"/>
                    </a:lnTo>
                    <a:lnTo>
                      <a:pt x="1089" y="269"/>
                    </a:lnTo>
                    <a:lnTo>
                      <a:pt x="1089" y="271"/>
                    </a:lnTo>
                    <a:lnTo>
                      <a:pt x="1091" y="271"/>
                    </a:lnTo>
                    <a:lnTo>
                      <a:pt x="1091" y="273"/>
                    </a:lnTo>
                    <a:lnTo>
                      <a:pt x="1091" y="275"/>
                    </a:lnTo>
                    <a:lnTo>
                      <a:pt x="1091" y="276"/>
                    </a:lnTo>
                    <a:lnTo>
                      <a:pt x="1092" y="276"/>
                    </a:lnTo>
                    <a:lnTo>
                      <a:pt x="1092" y="278"/>
                    </a:lnTo>
                    <a:lnTo>
                      <a:pt x="1092" y="280"/>
                    </a:lnTo>
                    <a:lnTo>
                      <a:pt x="1092" y="282"/>
                    </a:lnTo>
                    <a:lnTo>
                      <a:pt x="1092" y="284"/>
                    </a:lnTo>
                    <a:lnTo>
                      <a:pt x="1092" y="286"/>
                    </a:lnTo>
                    <a:lnTo>
                      <a:pt x="1094" y="286"/>
                    </a:lnTo>
                    <a:lnTo>
                      <a:pt x="1096" y="284"/>
                    </a:lnTo>
                    <a:lnTo>
                      <a:pt x="1098" y="284"/>
                    </a:lnTo>
                    <a:lnTo>
                      <a:pt x="1098" y="286"/>
                    </a:lnTo>
                    <a:lnTo>
                      <a:pt x="1100" y="286"/>
                    </a:lnTo>
                    <a:lnTo>
                      <a:pt x="1100" y="288"/>
                    </a:lnTo>
                    <a:lnTo>
                      <a:pt x="1100" y="290"/>
                    </a:lnTo>
                    <a:lnTo>
                      <a:pt x="1100" y="291"/>
                    </a:lnTo>
                    <a:lnTo>
                      <a:pt x="1098" y="291"/>
                    </a:lnTo>
                    <a:lnTo>
                      <a:pt x="1096" y="291"/>
                    </a:lnTo>
                    <a:lnTo>
                      <a:pt x="1096" y="293"/>
                    </a:lnTo>
                    <a:lnTo>
                      <a:pt x="1094" y="293"/>
                    </a:lnTo>
                    <a:lnTo>
                      <a:pt x="1094" y="295"/>
                    </a:lnTo>
                    <a:lnTo>
                      <a:pt x="1094" y="297"/>
                    </a:lnTo>
                    <a:lnTo>
                      <a:pt x="1094" y="299"/>
                    </a:lnTo>
                    <a:lnTo>
                      <a:pt x="1096" y="301"/>
                    </a:lnTo>
                    <a:lnTo>
                      <a:pt x="1098" y="301"/>
                    </a:lnTo>
                    <a:lnTo>
                      <a:pt x="1098" y="299"/>
                    </a:lnTo>
                    <a:lnTo>
                      <a:pt x="1100" y="299"/>
                    </a:lnTo>
                    <a:lnTo>
                      <a:pt x="1100" y="297"/>
                    </a:lnTo>
                    <a:lnTo>
                      <a:pt x="1100" y="295"/>
                    </a:lnTo>
                    <a:lnTo>
                      <a:pt x="1102" y="295"/>
                    </a:lnTo>
                    <a:lnTo>
                      <a:pt x="1102" y="293"/>
                    </a:lnTo>
                    <a:lnTo>
                      <a:pt x="1104" y="293"/>
                    </a:lnTo>
                    <a:lnTo>
                      <a:pt x="1106" y="293"/>
                    </a:lnTo>
                    <a:lnTo>
                      <a:pt x="1107" y="295"/>
                    </a:lnTo>
                    <a:lnTo>
                      <a:pt x="1106" y="297"/>
                    </a:lnTo>
                    <a:lnTo>
                      <a:pt x="1106" y="299"/>
                    </a:lnTo>
                    <a:lnTo>
                      <a:pt x="1106" y="301"/>
                    </a:lnTo>
                    <a:lnTo>
                      <a:pt x="1107" y="303"/>
                    </a:lnTo>
                    <a:lnTo>
                      <a:pt x="1106" y="303"/>
                    </a:lnTo>
                    <a:lnTo>
                      <a:pt x="1106" y="305"/>
                    </a:lnTo>
                    <a:lnTo>
                      <a:pt x="1106" y="307"/>
                    </a:lnTo>
                    <a:lnTo>
                      <a:pt x="1106" y="308"/>
                    </a:lnTo>
                    <a:lnTo>
                      <a:pt x="1106" y="310"/>
                    </a:lnTo>
                    <a:lnTo>
                      <a:pt x="1107" y="310"/>
                    </a:lnTo>
                    <a:lnTo>
                      <a:pt x="1109" y="310"/>
                    </a:lnTo>
                    <a:lnTo>
                      <a:pt x="1111" y="310"/>
                    </a:lnTo>
                    <a:lnTo>
                      <a:pt x="1113" y="312"/>
                    </a:lnTo>
                    <a:lnTo>
                      <a:pt x="1113" y="314"/>
                    </a:lnTo>
                    <a:lnTo>
                      <a:pt x="1113" y="316"/>
                    </a:lnTo>
                    <a:lnTo>
                      <a:pt x="1113" y="318"/>
                    </a:lnTo>
                    <a:lnTo>
                      <a:pt x="1111" y="320"/>
                    </a:lnTo>
                    <a:lnTo>
                      <a:pt x="1109" y="320"/>
                    </a:lnTo>
                    <a:lnTo>
                      <a:pt x="1109" y="322"/>
                    </a:lnTo>
                    <a:lnTo>
                      <a:pt x="1109" y="323"/>
                    </a:lnTo>
                    <a:lnTo>
                      <a:pt x="1109" y="325"/>
                    </a:lnTo>
                    <a:lnTo>
                      <a:pt x="1109" y="327"/>
                    </a:lnTo>
                    <a:lnTo>
                      <a:pt x="1111" y="327"/>
                    </a:lnTo>
                    <a:lnTo>
                      <a:pt x="1111" y="329"/>
                    </a:lnTo>
                    <a:lnTo>
                      <a:pt x="1113" y="331"/>
                    </a:lnTo>
                    <a:lnTo>
                      <a:pt x="1115" y="331"/>
                    </a:lnTo>
                    <a:lnTo>
                      <a:pt x="1115" y="333"/>
                    </a:lnTo>
                    <a:lnTo>
                      <a:pt x="1117" y="333"/>
                    </a:lnTo>
                    <a:lnTo>
                      <a:pt x="1119" y="335"/>
                    </a:lnTo>
                    <a:lnTo>
                      <a:pt x="1121" y="337"/>
                    </a:lnTo>
                    <a:lnTo>
                      <a:pt x="1121" y="339"/>
                    </a:lnTo>
                    <a:lnTo>
                      <a:pt x="1119" y="339"/>
                    </a:lnTo>
                    <a:lnTo>
                      <a:pt x="1119" y="340"/>
                    </a:lnTo>
                    <a:lnTo>
                      <a:pt x="1117" y="342"/>
                    </a:lnTo>
                    <a:lnTo>
                      <a:pt x="1117" y="344"/>
                    </a:lnTo>
                    <a:lnTo>
                      <a:pt x="1117" y="346"/>
                    </a:lnTo>
                    <a:lnTo>
                      <a:pt x="1115" y="348"/>
                    </a:lnTo>
                    <a:lnTo>
                      <a:pt x="1115" y="350"/>
                    </a:lnTo>
                    <a:lnTo>
                      <a:pt x="1113" y="350"/>
                    </a:lnTo>
                    <a:lnTo>
                      <a:pt x="1113" y="352"/>
                    </a:lnTo>
                    <a:lnTo>
                      <a:pt x="1115" y="354"/>
                    </a:lnTo>
                    <a:lnTo>
                      <a:pt x="1117" y="354"/>
                    </a:lnTo>
                    <a:lnTo>
                      <a:pt x="1117" y="355"/>
                    </a:lnTo>
                    <a:lnTo>
                      <a:pt x="1119" y="357"/>
                    </a:lnTo>
                    <a:lnTo>
                      <a:pt x="1119" y="359"/>
                    </a:lnTo>
                    <a:lnTo>
                      <a:pt x="1119" y="361"/>
                    </a:lnTo>
                    <a:lnTo>
                      <a:pt x="1117" y="363"/>
                    </a:lnTo>
                    <a:lnTo>
                      <a:pt x="1115" y="365"/>
                    </a:lnTo>
                    <a:lnTo>
                      <a:pt x="1115" y="367"/>
                    </a:lnTo>
                    <a:lnTo>
                      <a:pt x="1115" y="369"/>
                    </a:lnTo>
                    <a:lnTo>
                      <a:pt x="1117" y="371"/>
                    </a:lnTo>
                    <a:lnTo>
                      <a:pt x="1119" y="371"/>
                    </a:lnTo>
                    <a:lnTo>
                      <a:pt x="1121" y="372"/>
                    </a:lnTo>
                    <a:lnTo>
                      <a:pt x="1121" y="374"/>
                    </a:lnTo>
                    <a:lnTo>
                      <a:pt x="1119" y="374"/>
                    </a:lnTo>
                    <a:lnTo>
                      <a:pt x="1119" y="376"/>
                    </a:lnTo>
                    <a:lnTo>
                      <a:pt x="1117" y="376"/>
                    </a:lnTo>
                    <a:lnTo>
                      <a:pt x="1117" y="378"/>
                    </a:lnTo>
                    <a:lnTo>
                      <a:pt x="1115" y="378"/>
                    </a:lnTo>
                    <a:lnTo>
                      <a:pt x="1115" y="380"/>
                    </a:lnTo>
                    <a:lnTo>
                      <a:pt x="1117" y="382"/>
                    </a:lnTo>
                    <a:lnTo>
                      <a:pt x="1119" y="382"/>
                    </a:lnTo>
                    <a:lnTo>
                      <a:pt x="1119" y="384"/>
                    </a:lnTo>
                    <a:lnTo>
                      <a:pt x="1121" y="384"/>
                    </a:lnTo>
                    <a:lnTo>
                      <a:pt x="1121" y="386"/>
                    </a:lnTo>
                    <a:lnTo>
                      <a:pt x="1123" y="384"/>
                    </a:lnTo>
                    <a:lnTo>
                      <a:pt x="1124" y="384"/>
                    </a:lnTo>
                    <a:lnTo>
                      <a:pt x="1124" y="386"/>
                    </a:lnTo>
                    <a:lnTo>
                      <a:pt x="1126" y="386"/>
                    </a:lnTo>
                    <a:lnTo>
                      <a:pt x="1126" y="387"/>
                    </a:lnTo>
                    <a:lnTo>
                      <a:pt x="1124" y="387"/>
                    </a:lnTo>
                    <a:lnTo>
                      <a:pt x="1124" y="389"/>
                    </a:lnTo>
                    <a:lnTo>
                      <a:pt x="1123" y="391"/>
                    </a:lnTo>
                    <a:lnTo>
                      <a:pt x="1123" y="393"/>
                    </a:lnTo>
                    <a:lnTo>
                      <a:pt x="1123" y="395"/>
                    </a:lnTo>
                    <a:lnTo>
                      <a:pt x="1121" y="395"/>
                    </a:lnTo>
                    <a:lnTo>
                      <a:pt x="1121" y="397"/>
                    </a:lnTo>
                    <a:lnTo>
                      <a:pt x="1119" y="397"/>
                    </a:lnTo>
                    <a:lnTo>
                      <a:pt x="1119" y="399"/>
                    </a:lnTo>
                    <a:lnTo>
                      <a:pt x="1117" y="399"/>
                    </a:lnTo>
                    <a:lnTo>
                      <a:pt x="1115" y="399"/>
                    </a:lnTo>
                    <a:lnTo>
                      <a:pt x="1115" y="401"/>
                    </a:lnTo>
                    <a:lnTo>
                      <a:pt x="1113" y="403"/>
                    </a:lnTo>
                    <a:lnTo>
                      <a:pt x="1113" y="404"/>
                    </a:lnTo>
                    <a:lnTo>
                      <a:pt x="1113" y="406"/>
                    </a:lnTo>
                    <a:lnTo>
                      <a:pt x="1113" y="408"/>
                    </a:lnTo>
                    <a:lnTo>
                      <a:pt x="1113" y="410"/>
                    </a:lnTo>
                    <a:lnTo>
                      <a:pt x="1113" y="412"/>
                    </a:lnTo>
                    <a:lnTo>
                      <a:pt x="1111" y="414"/>
                    </a:lnTo>
                    <a:lnTo>
                      <a:pt x="1111" y="416"/>
                    </a:lnTo>
                    <a:lnTo>
                      <a:pt x="1111" y="418"/>
                    </a:lnTo>
                    <a:lnTo>
                      <a:pt x="1111" y="419"/>
                    </a:lnTo>
                    <a:lnTo>
                      <a:pt x="1109" y="421"/>
                    </a:lnTo>
                    <a:lnTo>
                      <a:pt x="1107" y="421"/>
                    </a:lnTo>
                    <a:lnTo>
                      <a:pt x="1107" y="423"/>
                    </a:lnTo>
                    <a:lnTo>
                      <a:pt x="1107" y="425"/>
                    </a:lnTo>
                    <a:lnTo>
                      <a:pt x="1107" y="427"/>
                    </a:lnTo>
                    <a:lnTo>
                      <a:pt x="1106" y="427"/>
                    </a:lnTo>
                    <a:lnTo>
                      <a:pt x="1106" y="429"/>
                    </a:lnTo>
                    <a:lnTo>
                      <a:pt x="1104" y="429"/>
                    </a:lnTo>
                    <a:lnTo>
                      <a:pt x="1102" y="429"/>
                    </a:lnTo>
                    <a:lnTo>
                      <a:pt x="1102" y="431"/>
                    </a:lnTo>
                    <a:lnTo>
                      <a:pt x="1100" y="431"/>
                    </a:lnTo>
                    <a:lnTo>
                      <a:pt x="1098" y="431"/>
                    </a:lnTo>
                    <a:lnTo>
                      <a:pt x="1098" y="433"/>
                    </a:lnTo>
                    <a:lnTo>
                      <a:pt x="1098" y="435"/>
                    </a:lnTo>
                    <a:lnTo>
                      <a:pt x="1098" y="436"/>
                    </a:lnTo>
                    <a:lnTo>
                      <a:pt x="1096" y="436"/>
                    </a:lnTo>
                    <a:lnTo>
                      <a:pt x="1096" y="438"/>
                    </a:lnTo>
                    <a:lnTo>
                      <a:pt x="1094" y="440"/>
                    </a:lnTo>
                    <a:lnTo>
                      <a:pt x="1094" y="442"/>
                    </a:lnTo>
                    <a:lnTo>
                      <a:pt x="1092" y="442"/>
                    </a:lnTo>
                    <a:lnTo>
                      <a:pt x="1091" y="442"/>
                    </a:lnTo>
                    <a:lnTo>
                      <a:pt x="1091" y="444"/>
                    </a:lnTo>
                    <a:lnTo>
                      <a:pt x="1089" y="444"/>
                    </a:lnTo>
                    <a:lnTo>
                      <a:pt x="1089" y="446"/>
                    </a:lnTo>
                    <a:lnTo>
                      <a:pt x="1089" y="448"/>
                    </a:lnTo>
                    <a:lnTo>
                      <a:pt x="1087" y="448"/>
                    </a:lnTo>
                    <a:lnTo>
                      <a:pt x="1087" y="450"/>
                    </a:lnTo>
                    <a:lnTo>
                      <a:pt x="1087" y="451"/>
                    </a:lnTo>
                    <a:lnTo>
                      <a:pt x="1085" y="453"/>
                    </a:lnTo>
                    <a:lnTo>
                      <a:pt x="1083" y="453"/>
                    </a:lnTo>
                    <a:lnTo>
                      <a:pt x="1083" y="455"/>
                    </a:lnTo>
                    <a:lnTo>
                      <a:pt x="1083" y="457"/>
                    </a:lnTo>
                    <a:lnTo>
                      <a:pt x="1083" y="459"/>
                    </a:lnTo>
                    <a:lnTo>
                      <a:pt x="1083" y="461"/>
                    </a:lnTo>
                    <a:lnTo>
                      <a:pt x="1083" y="463"/>
                    </a:lnTo>
                    <a:lnTo>
                      <a:pt x="1081" y="463"/>
                    </a:lnTo>
                    <a:lnTo>
                      <a:pt x="1079" y="463"/>
                    </a:lnTo>
                    <a:lnTo>
                      <a:pt x="1077" y="463"/>
                    </a:lnTo>
                    <a:lnTo>
                      <a:pt x="1077" y="465"/>
                    </a:lnTo>
                    <a:lnTo>
                      <a:pt x="1074" y="468"/>
                    </a:lnTo>
                    <a:lnTo>
                      <a:pt x="1074" y="470"/>
                    </a:lnTo>
                    <a:lnTo>
                      <a:pt x="1072" y="470"/>
                    </a:lnTo>
                    <a:lnTo>
                      <a:pt x="1072" y="472"/>
                    </a:lnTo>
                    <a:lnTo>
                      <a:pt x="1070" y="474"/>
                    </a:lnTo>
                    <a:lnTo>
                      <a:pt x="1068" y="474"/>
                    </a:lnTo>
                    <a:lnTo>
                      <a:pt x="1064" y="474"/>
                    </a:lnTo>
                    <a:lnTo>
                      <a:pt x="1062" y="476"/>
                    </a:lnTo>
                    <a:lnTo>
                      <a:pt x="1062" y="480"/>
                    </a:lnTo>
                    <a:lnTo>
                      <a:pt x="1062" y="483"/>
                    </a:lnTo>
                    <a:lnTo>
                      <a:pt x="1062" y="485"/>
                    </a:lnTo>
                    <a:lnTo>
                      <a:pt x="1062" y="487"/>
                    </a:lnTo>
                    <a:lnTo>
                      <a:pt x="1060" y="489"/>
                    </a:lnTo>
                    <a:lnTo>
                      <a:pt x="1060" y="491"/>
                    </a:lnTo>
                    <a:lnTo>
                      <a:pt x="1060" y="493"/>
                    </a:lnTo>
                    <a:lnTo>
                      <a:pt x="1060" y="495"/>
                    </a:lnTo>
                    <a:lnTo>
                      <a:pt x="1060" y="497"/>
                    </a:lnTo>
                    <a:lnTo>
                      <a:pt x="1059" y="497"/>
                    </a:lnTo>
                    <a:lnTo>
                      <a:pt x="1059" y="499"/>
                    </a:lnTo>
                    <a:lnTo>
                      <a:pt x="1060" y="499"/>
                    </a:lnTo>
                    <a:lnTo>
                      <a:pt x="1060" y="500"/>
                    </a:lnTo>
                    <a:lnTo>
                      <a:pt x="1060" y="502"/>
                    </a:lnTo>
                    <a:lnTo>
                      <a:pt x="1060" y="504"/>
                    </a:lnTo>
                    <a:lnTo>
                      <a:pt x="1060" y="506"/>
                    </a:lnTo>
                    <a:lnTo>
                      <a:pt x="1060" y="508"/>
                    </a:lnTo>
                    <a:lnTo>
                      <a:pt x="1060" y="510"/>
                    </a:lnTo>
                    <a:lnTo>
                      <a:pt x="1062" y="510"/>
                    </a:lnTo>
                    <a:lnTo>
                      <a:pt x="1062" y="512"/>
                    </a:lnTo>
                    <a:lnTo>
                      <a:pt x="1064" y="514"/>
                    </a:lnTo>
                    <a:lnTo>
                      <a:pt x="1066" y="514"/>
                    </a:lnTo>
                    <a:lnTo>
                      <a:pt x="1066" y="515"/>
                    </a:lnTo>
                    <a:lnTo>
                      <a:pt x="1066" y="517"/>
                    </a:lnTo>
                    <a:lnTo>
                      <a:pt x="1066" y="519"/>
                    </a:lnTo>
                    <a:lnTo>
                      <a:pt x="1066" y="521"/>
                    </a:lnTo>
                    <a:lnTo>
                      <a:pt x="1066" y="523"/>
                    </a:lnTo>
                    <a:lnTo>
                      <a:pt x="1066" y="525"/>
                    </a:lnTo>
                    <a:lnTo>
                      <a:pt x="1066" y="527"/>
                    </a:lnTo>
                    <a:lnTo>
                      <a:pt x="1066" y="529"/>
                    </a:lnTo>
                    <a:lnTo>
                      <a:pt x="1066" y="532"/>
                    </a:lnTo>
                    <a:lnTo>
                      <a:pt x="1066" y="534"/>
                    </a:lnTo>
                    <a:lnTo>
                      <a:pt x="1066" y="536"/>
                    </a:lnTo>
                    <a:lnTo>
                      <a:pt x="1068" y="538"/>
                    </a:lnTo>
                    <a:lnTo>
                      <a:pt x="1068" y="540"/>
                    </a:lnTo>
                    <a:lnTo>
                      <a:pt x="1066" y="540"/>
                    </a:lnTo>
                    <a:lnTo>
                      <a:pt x="1066" y="542"/>
                    </a:lnTo>
                    <a:lnTo>
                      <a:pt x="1064" y="542"/>
                    </a:lnTo>
                    <a:lnTo>
                      <a:pt x="1062" y="542"/>
                    </a:lnTo>
                    <a:lnTo>
                      <a:pt x="1062" y="544"/>
                    </a:lnTo>
                    <a:lnTo>
                      <a:pt x="1062" y="546"/>
                    </a:lnTo>
                    <a:lnTo>
                      <a:pt x="1062" y="547"/>
                    </a:lnTo>
                    <a:lnTo>
                      <a:pt x="1062" y="549"/>
                    </a:lnTo>
                    <a:lnTo>
                      <a:pt x="1062" y="551"/>
                    </a:lnTo>
                    <a:lnTo>
                      <a:pt x="1064" y="551"/>
                    </a:lnTo>
                    <a:lnTo>
                      <a:pt x="1064" y="553"/>
                    </a:lnTo>
                    <a:lnTo>
                      <a:pt x="1064" y="555"/>
                    </a:lnTo>
                    <a:lnTo>
                      <a:pt x="1066" y="555"/>
                    </a:lnTo>
                    <a:lnTo>
                      <a:pt x="1066" y="557"/>
                    </a:lnTo>
                    <a:lnTo>
                      <a:pt x="1068" y="557"/>
                    </a:lnTo>
                    <a:lnTo>
                      <a:pt x="1066" y="557"/>
                    </a:lnTo>
                    <a:lnTo>
                      <a:pt x="1066" y="559"/>
                    </a:lnTo>
                    <a:lnTo>
                      <a:pt x="1066" y="561"/>
                    </a:lnTo>
                    <a:lnTo>
                      <a:pt x="1066" y="563"/>
                    </a:lnTo>
                    <a:lnTo>
                      <a:pt x="1064" y="563"/>
                    </a:lnTo>
                    <a:lnTo>
                      <a:pt x="1064" y="564"/>
                    </a:lnTo>
                    <a:lnTo>
                      <a:pt x="1066" y="564"/>
                    </a:lnTo>
                    <a:lnTo>
                      <a:pt x="1066" y="566"/>
                    </a:lnTo>
                    <a:lnTo>
                      <a:pt x="1068" y="568"/>
                    </a:lnTo>
                    <a:lnTo>
                      <a:pt x="1068" y="570"/>
                    </a:lnTo>
                    <a:lnTo>
                      <a:pt x="1066" y="570"/>
                    </a:lnTo>
                    <a:lnTo>
                      <a:pt x="1066" y="572"/>
                    </a:lnTo>
                    <a:lnTo>
                      <a:pt x="1064" y="574"/>
                    </a:lnTo>
                    <a:lnTo>
                      <a:pt x="1064" y="576"/>
                    </a:lnTo>
                    <a:lnTo>
                      <a:pt x="1066" y="576"/>
                    </a:lnTo>
                    <a:lnTo>
                      <a:pt x="1068" y="576"/>
                    </a:lnTo>
                    <a:lnTo>
                      <a:pt x="1068" y="578"/>
                    </a:lnTo>
                    <a:lnTo>
                      <a:pt x="1070" y="578"/>
                    </a:lnTo>
                    <a:lnTo>
                      <a:pt x="1070" y="579"/>
                    </a:lnTo>
                    <a:lnTo>
                      <a:pt x="1072" y="581"/>
                    </a:lnTo>
                    <a:lnTo>
                      <a:pt x="1070" y="581"/>
                    </a:lnTo>
                    <a:lnTo>
                      <a:pt x="1070" y="583"/>
                    </a:lnTo>
                    <a:lnTo>
                      <a:pt x="1070" y="585"/>
                    </a:lnTo>
                    <a:lnTo>
                      <a:pt x="1070" y="587"/>
                    </a:lnTo>
                    <a:lnTo>
                      <a:pt x="1072" y="587"/>
                    </a:lnTo>
                    <a:lnTo>
                      <a:pt x="1074" y="587"/>
                    </a:lnTo>
                    <a:lnTo>
                      <a:pt x="1075" y="589"/>
                    </a:lnTo>
                    <a:lnTo>
                      <a:pt x="1077" y="589"/>
                    </a:lnTo>
                    <a:lnTo>
                      <a:pt x="1079" y="589"/>
                    </a:lnTo>
                    <a:lnTo>
                      <a:pt x="1079" y="591"/>
                    </a:lnTo>
                    <a:lnTo>
                      <a:pt x="1079" y="593"/>
                    </a:lnTo>
                    <a:lnTo>
                      <a:pt x="1079" y="595"/>
                    </a:lnTo>
                    <a:lnTo>
                      <a:pt x="1077" y="595"/>
                    </a:lnTo>
                    <a:lnTo>
                      <a:pt x="1079" y="596"/>
                    </a:lnTo>
                    <a:lnTo>
                      <a:pt x="1079" y="598"/>
                    </a:lnTo>
                    <a:lnTo>
                      <a:pt x="1079" y="600"/>
                    </a:lnTo>
                    <a:lnTo>
                      <a:pt x="1079" y="602"/>
                    </a:lnTo>
                    <a:lnTo>
                      <a:pt x="1079" y="604"/>
                    </a:lnTo>
                    <a:lnTo>
                      <a:pt x="1079" y="606"/>
                    </a:lnTo>
                    <a:lnTo>
                      <a:pt x="1081" y="606"/>
                    </a:lnTo>
                    <a:lnTo>
                      <a:pt x="1081" y="608"/>
                    </a:lnTo>
                    <a:lnTo>
                      <a:pt x="1079" y="608"/>
                    </a:lnTo>
                    <a:lnTo>
                      <a:pt x="1081" y="608"/>
                    </a:lnTo>
                    <a:lnTo>
                      <a:pt x="1083" y="606"/>
                    </a:lnTo>
                    <a:lnTo>
                      <a:pt x="1085" y="606"/>
                    </a:lnTo>
                    <a:lnTo>
                      <a:pt x="1085" y="602"/>
                    </a:lnTo>
                    <a:lnTo>
                      <a:pt x="1085" y="600"/>
                    </a:lnTo>
                    <a:lnTo>
                      <a:pt x="1087" y="598"/>
                    </a:lnTo>
                    <a:lnTo>
                      <a:pt x="1089" y="598"/>
                    </a:lnTo>
                    <a:lnTo>
                      <a:pt x="1089" y="596"/>
                    </a:lnTo>
                    <a:lnTo>
                      <a:pt x="1091" y="596"/>
                    </a:lnTo>
                    <a:lnTo>
                      <a:pt x="1092" y="596"/>
                    </a:lnTo>
                    <a:lnTo>
                      <a:pt x="1094" y="596"/>
                    </a:lnTo>
                    <a:lnTo>
                      <a:pt x="1096" y="596"/>
                    </a:lnTo>
                    <a:lnTo>
                      <a:pt x="1098" y="596"/>
                    </a:lnTo>
                    <a:lnTo>
                      <a:pt x="1100" y="596"/>
                    </a:lnTo>
                    <a:lnTo>
                      <a:pt x="1102" y="596"/>
                    </a:lnTo>
                    <a:lnTo>
                      <a:pt x="1102" y="595"/>
                    </a:lnTo>
                    <a:lnTo>
                      <a:pt x="1104" y="595"/>
                    </a:lnTo>
                    <a:lnTo>
                      <a:pt x="1104" y="593"/>
                    </a:lnTo>
                    <a:lnTo>
                      <a:pt x="1106" y="591"/>
                    </a:lnTo>
                    <a:lnTo>
                      <a:pt x="1106" y="589"/>
                    </a:lnTo>
                    <a:lnTo>
                      <a:pt x="1107" y="589"/>
                    </a:lnTo>
                    <a:lnTo>
                      <a:pt x="1109" y="589"/>
                    </a:lnTo>
                    <a:lnTo>
                      <a:pt x="1109" y="591"/>
                    </a:lnTo>
                    <a:lnTo>
                      <a:pt x="1111" y="591"/>
                    </a:lnTo>
                    <a:lnTo>
                      <a:pt x="1113" y="591"/>
                    </a:lnTo>
                    <a:lnTo>
                      <a:pt x="1113" y="589"/>
                    </a:lnTo>
                    <a:lnTo>
                      <a:pt x="1115" y="589"/>
                    </a:lnTo>
                    <a:lnTo>
                      <a:pt x="1115" y="587"/>
                    </a:lnTo>
                    <a:lnTo>
                      <a:pt x="1113" y="585"/>
                    </a:lnTo>
                    <a:lnTo>
                      <a:pt x="1115" y="583"/>
                    </a:lnTo>
                    <a:lnTo>
                      <a:pt x="1117" y="583"/>
                    </a:lnTo>
                    <a:lnTo>
                      <a:pt x="1119" y="583"/>
                    </a:lnTo>
                    <a:lnTo>
                      <a:pt x="1121" y="583"/>
                    </a:lnTo>
                    <a:lnTo>
                      <a:pt x="1123" y="583"/>
                    </a:lnTo>
                    <a:lnTo>
                      <a:pt x="1124" y="581"/>
                    </a:lnTo>
                    <a:lnTo>
                      <a:pt x="1126" y="579"/>
                    </a:lnTo>
                    <a:lnTo>
                      <a:pt x="1128" y="579"/>
                    </a:lnTo>
                    <a:lnTo>
                      <a:pt x="1128" y="578"/>
                    </a:lnTo>
                    <a:lnTo>
                      <a:pt x="1130" y="578"/>
                    </a:lnTo>
                    <a:lnTo>
                      <a:pt x="1132" y="578"/>
                    </a:lnTo>
                    <a:lnTo>
                      <a:pt x="1134" y="578"/>
                    </a:lnTo>
                    <a:lnTo>
                      <a:pt x="1136" y="578"/>
                    </a:lnTo>
                    <a:lnTo>
                      <a:pt x="1138" y="578"/>
                    </a:lnTo>
                    <a:lnTo>
                      <a:pt x="1139" y="578"/>
                    </a:lnTo>
                    <a:lnTo>
                      <a:pt x="1141" y="579"/>
                    </a:lnTo>
                    <a:lnTo>
                      <a:pt x="1143" y="579"/>
                    </a:lnTo>
                    <a:lnTo>
                      <a:pt x="1145" y="581"/>
                    </a:lnTo>
                    <a:lnTo>
                      <a:pt x="1147" y="581"/>
                    </a:lnTo>
                    <a:lnTo>
                      <a:pt x="1149" y="581"/>
                    </a:lnTo>
                    <a:lnTo>
                      <a:pt x="1151" y="579"/>
                    </a:lnTo>
                    <a:lnTo>
                      <a:pt x="1153" y="579"/>
                    </a:lnTo>
                    <a:lnTo>
                      <a:pt x="1154" y="581"/>
                    </a:lnTo>
                    <a:lnTo>
                      <a:pt x="1156" y="583"/>
                    </a:lnTo>
                    <a:lnTo>
                      <a:pt x="1156" y="585"/>
                    </a:lnTo>
                    <a:lnTo>
                      <a:pt x="1158" y="587"/>
                    </a:lnTo>
                    <a:lnTo>
                      <a:pt x="1160" y="587"/>
                    </a:lnTo>
                    <a:lnTo>
                      <a:pt x="1160" y="589"/>
                    </a:lnTo>
                    <a:lnTo>
                      <a:pt x="1162" y="591"/>
                    </a:lnTo>
                    <a:lnTo>
                      <a:pt x="1164" y="591"/>
                    </a:lnTo>
                    <a:lnTo>
                      <a:pt x="1166" y="591"/>
                    </a:lnTo>
                    <a:lnTo>
                      <a:pt x="1168" y="591"/>
                    </a:lnTo>
                    <a:lnTo>
                      <a:pt x="1170" y="591"/>
                    </a:lnTo>
                    <a:lnTo>
                      <a:pt x="1171" y="591"/>
                    </a:lnTo>
                    <a:lnTo>
                      <a:pt x="1173" y="593"/>
                    </a:lnTo>
                    <a:lnTo>
                      <a:pt x="1175" y="593"/>
                    </a:lnTo>
                    <a:lnTo>
                      <a:pt x="1177" y="593"/>
                    </a:lnTo>
                    <a:lnTo>
                      <a:pt x="1179" y="593"/>
                    </a:lnTo>
                    <a:lnTo>
                      <a:pt x="1179" y="591"/>
                    </a:lnTo>
                    <a:lnTo>
                      <a:pt x="1181" y="591"/>
                    </a:lnTo>
                    <a:lnTo>
                      <a:pt x="1181" y="593"/>
                    </a:lnTo>
                    <a:lnTo>
                      <a:pt x="1183" y="593"/>
                    </a:lnTo>
                    <a:lnTo>
                      <a:pt x="1185" y="593"/>
                    </a:lnTo>
                    <a:lnTo>
                      <a:pt x="1185" y="595"/>
                    </a:lnTo>
                    <a:lnTo>
                      <a:pt x="1186" y="595"/>
                    </a:lnTo>
                    <a:lnTo>
                      <a:pt x="1188" y="595"/>
                    </a:lnTo>
                    <a:lnTo>
                      <a:pt x="1190" y="595"/>
                    </a:lnTo>
                    <a:lnTo>
                      <a:pt x="1190" y="596"/>
                    </a:lnTo>
                    <a:lnTo>
                      <a:pt x="1192" y="596"/>
                    </a:lnTo>
                    <a:lnTo>
                      <a:pt x="1192" y="598"/>
                    </a:lnTo>
                    <a:lnTo>
                      <a:pt x="1194" y="598"/>
                    </a:lnTo>
                    <a:lnTo>
                      <a:pt x="1196" y="598"/>
                    </a:lnTo>
                    <a:lnTo>
                      <a:pt x="1198" y="598"/>
                    </a:lnTo>
                    <a:lnTo>
                      <a:pt x="1200" y="596"/>
                    </a:lnTo>
                    <a:lnTo>
                      <a:pt x="1202" y="596"/>
                    </a:lnTo>
                    <a:lnTo>
                      <a:pt x="1203" y="598"/>
                    </a:lnTo>
                    <a:lnTo>
                      <a:pt x="1205" y="596"/>
                    </a:lnTo>
                    <a:lnTo>
                      <a:pt x="1207" y="596"/>
                    </a:lnTo>
                    <a:lnTo>
                      <a:pt x="1207" y="595"/>
                    </a:lnTo>
                    <a:lnTo>
                      <a:pt x="1209" y="595"/>
                    </a:lnTo>
                    <a:lnTo>
                      <a:pt x="1209" y="593"/>
                    </a:lnTo>
                    <a:lnTo>
                      <a:pt x="1211" y="593"/>
                    </a:lnTo>
                    <a:lnTo>
                      <a:pt x="1215" y="591"/>
                    </a:lnTo>
                    <a:lnTo>
                      <a:pt x="1217" y="591"/>
                    </a:lnTo>
                    <a:lnTo>
                      <a:pt x="1218" y="591"/>
                    </a:lnTo>
                    <a:lnTo>
                      <a:pt x="1220" y="591"/>
                    </a:lnTo>
                    <a:lnTo>
                      <a:pt x="1222" y="591"/>
                    </a:lnTo>
                    <a:lnTo>
                      <a:pt x="1224" y="591"/>
                    </a:lnTo>
                    <a:lnTo>
                      <a:pt x="1226" y="589"/>
                    </a:lnTo>
                    <a:lnTo>
                      <a:pt x="1228" y="589"/>
                    </a:lnTo>
                    <a:lnTo>
                      <a:pt x="1230" y="589"/>
                    </a:lnTo>
                    <a:lnTo>
                      <a:pt x="1232" y="589"/>
                    </a:lnTo>
                    <a:lnTo>
                      <a:pt x="1232" y="591"/>
                    </a:lnTo>
                    <a:lnTo>
                      <a:pt x="1233" y="591"/>
                    </a:lnTo>
                    <a:lnTo>
                      <a:pt x="1233" y="593"/>
                    </a:lnTo>
                    <a:lnTo>
                      <a:pt x="1235" y="593"/>
                    </a:lnTo>
                    <a:lnTo>
                      <a:pt x="1237" y="593"/>
                    </a:lnTo>
                    <a:lnTo>
                      <a:pt x="1237" y="591"/>
                    </a:lnTo>
                    <a:lnTo>
                      <a:pt x="1239" y="591"/>
                    </a:lnTo>
                    <a:lnTo>
                      <a:pt x="1241" y="591"/>
                    </a:lnTo>
                    <a:lnTo>
                      <a:pt x="1241" y="589"/>
                    </a:lnTo>
                    <a:lnTo>
                      <a:pt x="1243" y="589"/>
                    </a:lnTo>
                    <a:lnTo>
                      <a:pt x="1243" y="587"/>
                    </a:lnTo>
                    <a:lnTo>
                      <a:pt x="1245" y="585"/>
                    </a:lnTo>
                    <a:lnTo>
                      <a:pt x="1247" y="585"/>
                    </a:lnTo>
                    <a:lnTo>
                      <a:pt x="1249" y="585"/>
                    </a:lnTo>
                    <a:lnTo>
                      <a:pt x="1250" y="585"/>
                    </a:lnTo>
                    <a:lnTo>
                      <a:pt x="1252" y="587"/>
                    </a:lnTo>
                    <a:lnTo>
                      <a:pt x="1254" y="587"/>
                    </a:lnTo>
                    <a:lnTo>
                      <a:pt x="1256" y="587"/>
                    </a:lnTo>
                    <a:lnTo>
                      <a:pt x="1258" y="585"/>
                    </a:lnTo>
                    <a:lnTo>
                      <a:pt x="1260" y="585"/>
                    </a:lnTo>
                    <a:lnTo>
                      <a:pt x="1262" y="585"/>
                    </a:lnTo>
                    <a:lnTo>
                      <a:pt x="1264" y="583"/>
                    </a:lnTo>
                    <a:lnTo>
                      <a:pt x="1265" y="585"/>
                    </a:lnTo>
                    <a:lnTo>
                      <a:pt x="1267" y="585"/>
                    </a:lnTo>
                    <a:lnTo>
                      <a:pt x="1271" y="585"/>
                    </a:lnTo>
                    <a:lnTo>
                      <a:pt x="1273" y="585"/>
                    </a:lnTo>
                    <a:lnTo>
                      <a:pt x="1275" y="585"/>
                    </a:lnTo>
                    <a:lnTo>
                      <a:pt x="1275" y="587"/>
                    </a:lnTo>
                    <a:lnTo>
                      <a:pt x="1277" y="587"/>
                    </a:lnTo>
                    <a:lnTo>
                      <a:pt x="1277" y="589"/>
                    </a:lnTo>
                    <a:lnTo>
                      <a:pt x="1279" y="589"/>
                    </a:lnTo>
                    <a:lnTo>
                      <a:pt x="1281" y="589"/>
                    </a:lnTo>
                    <a:lnTo>
                      <a:pt x="1282" y="589"/>
                    </a:lnTo>
                    <a:lnTo>
                      <a:pt x="1284" y="589"/>
                    </a:lnTo>
                    <a:lnTo>
                      <a:pt x="1286" y="591"/>
                    </a:lnTo>
                    <a:lnTo>
                      <a:pt x="1288" y="593"/>
                    </a:lnTo>
                    <a:lnTo>
                      <a:pt x="1290" y="593"/>
                    </a:lnTo>
                    <a:lnTo>
                      <a:pt x="1292" y="595"/>
                    </a:lnTo>
                    <a:lnTo>
                      <a:pt x="1294" y="595"/>
                    </a:lnTo>
                    <a:lnTo>
                      <a:pt x="1296" y="595"/>
                    </a:lnTo>
                    <a:lnTo>
                      <a:pt x="1297" y="595"/>
                    </a:lnTo>
                    <a:lnTo>
                      <a:pt x="1297" y="593"/>
                    </a:lnTo>
                    <a:lnTo>
                      <a:pt x="1297" y="591"/>
                    </a:lnTo>
                    <a:lnTo>
                      <a:pt x="1299" y="591"/>
                    </a:lnTo>
                    <a:lnTo>
                      <a:pt x="1301" y="591"/>
                    </a:lnTo>
                    <a:lnTo>
                      <a:pt x="1303" y="593"/>
                    </a:lnTo>
                    <a:lnTo>
                      <a:pt x="1305" y="593"/>
                    </a:lnTo>
                    <a:lnTo>
                      <a:pt x="1305" y="591"/>
                    </a:lnTo>
                    <a:lnTo>
                      <a:pt x="1307" y="591"/>
                    </a:lnTo>
                    <a:lnTo>
                      <a:pt x="1307" y="589"/>
                    </a:lnTo>
                    <a:lnTo>
                      <a:pt x="1309" y="589"/>
                    </a:lnTo>
                    <a:lnTo>
                      <a:pt x="1311" y="589"/>
                    </a:lnTo>
                    <a:lnTo>
                      <a:pt x="1312" y="589"/>
                    </a:lnTo>
                    <a:lnTo>
                      <a:pt x="1314" y="591"/>
                    </a:lnTo>
                    <a:lnTo>
                      <a:pt x="1316" y="593"/>
                    </a:lnTo>
                    <a:lnTo>
                      <a:pt x="1318" y="595"/>
                    </a:lnTo>
                    <a:lnTo>
                      <a:pt x="1320" y="596"/>
                    </a:lnTo>
                    <a:lnTo>
                      <a:pt x="1322" y="596"/>
                    </a:lnTo>
                    <a:lnTo>
                      <a:pt x="1324" y="596"/>
                    </a:lnTo>
                    <a:lnTo>
                      <a:pt x="1326" y="596"/>
                    </a:lnTo>
                    <a:lnTo>
                      <a:pt x="1328" y="596"/>
                    </a:lnTo>
                    <a:lnTo>
                      <a:pt x="1329" y="596"/>
                    </a:lnTo>
                    <a:lnTo>
                      <a:pt x="1331" y="595"/>
                    </a:lnTo>
                    <a:lnTo>
                      <a:pt x="1333" y="593"/>
                    </a:lnTo>
                    <a:lnTo>
                      <a:pt x="1335" y="593"/>
                    </a:lnTo>
                    <a:lnTo>
                      <a:pt x="1335" y="595"/>
                    </a:lnTo>
                    <a:lnTo>
                      <a:pt x="1337" y="595"/>
                    </a:lnTo>
                    <a:lnTo>
                      <a:pt x="1339" y="595"/>
                    </a:lnTo>
                    <a:lnTo>
                      <a:pt x="1341" y="595"/>
                    </a:lnTo>
                    <a:lnTo>
                      <a:pt x="1341" y="593"/>
                    </a:lnTo>
                    <a:lnTo>
                      <a:pt x="1343" y="593"/>
                    </a:lnTo>
                    <a:lnTo>
                      <a:pt x="1344" y="589"/>
                    </a:lnTo>
                    <a:lnTo>
                      <a:pt x="1346" y="589"/>
                    </a:lnTo>
                    <a:lnTo>
                      <a:pt x="1348" y="587"/>
                    </a:lnTo>
                    <a:lnTo>
                      <a:pt x="1350" y="585"/>
                    </a:lnTo>
                    <a:lnTo>
                      <a:pt x="1352" y="583"/>
                    </a:lnTo>
                    <a:lnTo>
                      <a:pt x="1354" y="583"/>
                    </a:lnTo>
                    <a:lnTo>
                      <a:pt x="1354" y="581"/>
                    </a:lnTo>
                    <a:lnTo>
                      <a:pt x="1356" y="581"/>
                    </a:lnTo>
                    <a:lnTo>
                      <a:pt x="1356" y="579"/>
                    </a:lnTo>
                    <a:lnTo>
                      <a:pt x="1358" y="579"/>
                    </a:lnTo>
                    <a:lnTo>
                      <a:pt x="1358" y="578"/>
                    </a:lnTo>
                    <a:lnTo>
                      <a:pt x="1360" y="578"/>
                    </a:lnTo>
                    <a:lnTo>
                      <a:pt x="1360" y="576"/>
                    </a:lnTo>
                    <a:lnTo>
                      <a:pt x="1361" y="574"/>
                    </a:lnTo>
                    <a:lnTo>
                      <a:pt x="1361" y="572"/>
                    </a:lnTo>
                    <a:lnTo>
                      <a:pt x="1363" y="572"/>
                    </a:lnTo>
                    <a:lnTo>
                      <a:pt x="1363" y="570"/>
                    </a:lnTo>
                    <a:lnTo>
                      <a:pt x="1363" y="568"/>
                    </a:lnTo>
                    <a:lnTo>
                      <a:pt x="1363" y="566"/>
                    </a:lnTo>
                    <a:lnTo>
                      <a:pt x="1361" y="566"/>
                    </a:lnTo>
                    <a:lnTo>
                      <a:pt x="1361" y="564"/>
                    </a:lnTo>
                    <a:lnTo>
                      <a:pt x="1361" y="563"/>
                    </a:lnTo>
                    <a:lnTo>
                      <a:pt x="1361" y="561"/>
                    </a:lnTo>
                    <a:lnTo>
                      <a:pt x="1361" y="557"/>
                    </a:lnTo>
                    <a:lnTo>
                      <a:pt x="1361" y="555"/>
                    </a:lnTo>
                    <a:lnTo>
                      <a:pt x="1361" y="553"/>
                    </a:lnTo>
                    <a:lnTo>
                      <a:pt x="1358" y="551"/>
                    </a:lnTo>
                    <a:lnTo>
                      <a:pt x="1358" y="549"/>
                    </a:lnTo>
                    <a:lnTo>
                      <a:pt x="1358" y="547"/>
                    </a:lnTo>
                    <a:lnTo>
                      <a:pt x="1358" y="546"/>
                    </a:lnTo>
                    <a:lnTo>
                      <a:pt x="1360" y="544"/>
                    </a:lnTo>
                    <a:lnTo>
                      <a:pt x="1361" y="542"/>
                    </a:lnTo>
                    <a:lnTo>
                      <a:pt x="1363" y="542"/>
                    </a:lnTo>
                    <a:lnTo>
                      <a:pt x="1365" y="542"/>
                    </a:lnTo>
                    <a:lnTo>
                      <a:pt x="1367" y="540"/>
                    </a:lnTo>
                    <a:lnTo>
                      <a:pt x="1369" y="538"/>
                    </a:lnTo>
                    <a:lnTo>
                      <a:pt x="1371" y="538"/>
                    </a:lnTo>
                    <a:lnTo>
                      <a:pt x="1373" y="538"/>
                    </a:lnTo>
                    <a:lnTo>
                      <a:pt x="1375" y="538"/>
                    </a:lnTo>
                    <a:lnTo>
                      <a:pt x="1375" y="540"/>
                    </a:lnTo>
                    <a:lnTo>
                      <a:pt x="1375" y="538"/>
                    </a:lnTo>
                    <a:lnTo>
                      <a:pt x="1376" y="538"/>
                    </a:lnTo>
                    <a:lnTo>
                      <a:pt x="1378" y="540"/>
                    </a:lnTo>
                    <a:lnTo>
                      <a:pt x="1380" y="540"/>
                    </a:lnTo>
                    <a:lnTo>
                      <a:pt x="1382" y="540"/>
                    </a:lnTo>
                    <a:lnTo>
                      <a:pt x="1384" y="540"/>
                    </a:lnTo>
                    <a:lnTo>
                      <a:pt x="1386" y="540"/>
                    </a:lnTo>
                    <a:lnTo>
                      <a:pt x="1388" y="540"/>
                    </a:lnTo>
                    <a:lnTo>
                      <a:pt x="1390" y="540"/>
                    </a:lnTo>
                    <a:lnTo>
                      <a:pt x="1391" y="540"/>
                    </a:lnTo>
                    <a:lnTo>
                      <a:pt x="1393" y="540"/>
                    </a:lnTo>
                    <a:lnTo>
                      <a:pt x="1395" y="540"/>
                    </a:lnTo>
                    <a:lnTo>
                      <a:pt x="1397" y="540"/>
                    </a:lnTo>
                    <a:lnTo>
                      <a:pt x="1399" y="540"/>
                    </a:lnTo>
                    <a:lnTo>
                      <a:pt x="1401" y="540"/>
                    </a:lnTo>
                    <a:lnTo>
                      <a:pt x="1403" y="540"/>
                    </a:lnTo>
                    <a:lnTo>
                      <a:pt x="1405" y="540"/>
                    </a:lnTo>
                    <a:lnTo>
                      <a:pt x="1407" y="538"/>
                    </a:lnTo>
                    <a:lnTo>
                      <a:pt x="1408" y="538"/>
                    </a:lnTo>
                    <a:lnTo>
                      <a:pt x="1410" y="536"/>
                    </a:lnTo>
                    <a:lnTo>
                      <a:pt x="1412" y="534"/>
                    </a:lnTo>
                    <a:lnTo>
                      <a:pt x="1414" y="534"/>
                    </a:lnTo>
                    <a:lnTo>
                      <a:pt x="1416" y="534"/>
                    </a:lnTo>
                    <a:lnTo>
                      <a:pt x="1418" y="534"/>
                    </a:lnTo>
                    <a:lnTo>
                      <a:pt x="1418" y="532"/>
                    </a:lnTo>
                    <a:lnTo>
                      <a:pt x="1420" y="531"/>
                    </a:lnTo>
                    <a:lnTo>
                      <a:pt x="1422" y="531"/>
                    </a:lnTo>
                    <a:lnTo>
                      <a:pt x="1423" y="531"/>
                    </a:lnTo>
                    <a:lnTo>
                      <a:pt x="1425" y="531"/>
                    </a:lnTo>
                    <a:lnTo>
                      <a:pt x="1427" y="531"/>
                    </a:lnTo>
                    <a:lnTo>
                      <a:pt x="1429" y="531"/>
                    </a:lnTo>
                    <a:lnTo>
                      <a:pt x="1429" y="529"/>
                    </a:lnTo>
                    <a:lnTo>
                      <a:pt x="1431" y="529"/>
                    </a:lnTo>
                    <a:lnTo>
                      <a:pt x="1431" y="527"/>
                    </a:lnTo>
                    <a:lnTo>
                      <a:pt x="1433" y="525"/>
                    </a:lnTo>
                    <a:lnTo>
                      <a:pt x="1433" y="523"/>
                    </a:lnTo>
                    <a:lnTo>
                      <a:pt x="1435" y="521"/>
                    </a:lnTo>
                    <a:lnTo>
                      <a:pt x="1435" y="519"/>
                    </a:lnTo>
                    <a:lnTo>
                      <a:pt x="1435" y="517"/>
                    </a:lnTo>
                    <a:lnTo>
                      <a:pt x="1435" y="515"/>
                    </a:lnTo>
                    <a:lnTo>
                      <a:pt x="1437" y="515"/>
                    </a:lnTo>
                    <a:lnTo>
                      <a:pt x="1437" y="514"/>
                    </a:lnTo>
                    <a:lnTo>
                      <a:pt x="1439" y="514"/>
                    </a:lnTo>
                    <a:lnTo>
                      <a:pt x="1440" y="514"/>
                    </a:lnTo>
                    <a:lnTo>
                      <a:pt x="1440" y="512"/>
                    </a:lnTo>
                    <a:lnTo>
                      <a:pt x="1442" y="512"/>
                    </a:lnTo>
                    <a:lnTo>
                      <a:pt x="1442" y="510"/>
                    </a:lnTo>
                    <a:lnTo>
                      <a:pt x="1442" y="508"/>
                    </a:lnTo>
                    <a:lnTo>
                      <a:pt x="1444" y="506"/>
                    </a:lnTo>
                    <a:lnTo>
                      <a:pt x="1446" y="504"/>
                    </a:lnTo>
                    <a:lnTo>
                      <a:pt x="1446" y="506"/>
                    </a:lnTo>
                    <a:lnTo>
                      <a:pt x="1448" y="506"/>
                    </a:lnTo>
                    <a:lnTo>
                      <a:pt x="1450" y="506"/>
                    </a:lnTo>
                    <a:lnTo>
                      <a:pt x="1450" y="504"/>
                    </a:lnTo>
                    <a:lnTo>
                      <a:pt x="1450" y="502"/>
                    </a:lnTo>
                    <a:lnTo>
                      <a:pt x="1450" y="500"/>
                    </a:lnTo>
                    <a:lnTo>
                      <a:pt x="1450" y="499"/>
                    </a:lnTo>
                    <a:lnTo>
                      <a:pt x="1452" y="499"/>
                    </a:lnTo>
                    <a:lnTo>
                      <a:pt x="1452" y="497"/>
                    </a:lnTo>
                    <a:lnTo>
                      <a:pt x="1454" y="497"/>
                    </a:lnTo>
                    <a:lnTo>
                      <a:pt x="1455" y="497"/>
                    </a:lnTo>
                    <a:lnTo>
                      <a:pt x="1455" y="495"/>
                    </a:lnTo>
                    <a:lnTo>
                      <a:pt x="1457" y="495"/>
                    </a:lnTo>
                    <a:lnTo>
                      <a:pt x="1457" y="493"/>
                    </a:lnTo>
                    <a:lnTo>
                      <a:pt x="1459" y="493"/>
                    </a:lnTo>
                    <a:lnTo>
                      <a:pt x="1457" y="493"/>
                    </a:lnTo>
                    <a:lnTo>
                      <a:pt x="1457" y="491"/>
                    </a:lnTo>
                    <a:lnTo>
                      <a:pt x="1457" y="489"/>
                    </a:lnTo>
                    <a:lnTo>
                      <a:pt x="1457" y="487"/>
                    </a:lnTo>
                    <a:lnTo>
                      <a:pt x="1457" y="485"/>
                    </a:lnTo>
                    <a:lnTo>
                      <a:pt x="1459" y="485"/>
                    </a:lnTo>
                    <a:lnTo>
                      <a:pt x="1461" y="483"/>
                    </a:lnTo>
                    <a:lnTo>
                      <a:pt x="1463" y="483"/>
                    </a:lnTo>
                    <a:lnTo>
                      <a:pt x="1463" y="482"/>
                    </a:lnTo>
                    <a:lnTo>
                      <a:pt x="1463" y="480"/>
                    </a:lnTo>
                    <a:lnTo>
                      <a:pt x="1463" y="478"/>
                    </a:lnTo>
                    <a:lnTo>
                      <a:pt x="1463" y="476"/>
                    </a:lnTo>
                    <a:lnTo>
                      <a:pt x="1463" y="474"/>
                    </a:lnTo>
                    <a:lnTo>
                      <a:pt x="1465" y="472"/>
                    </a:lnTo>
                    <a:lnTo>
                      <a:pt x="1467" y="472"/>
                    </a:lnTo>
                    <a:lnTo>
                      <a:pt x="1467" y="470"/>
                    </a:lnTo>
                    <a:lnTo>
                      <a:pt x="1467" y="468"/>
                    </a:lnTo>
                    <a:lnTo>
                      <a:pt x="1467" y="467"/>
                    </a:lnTo>
                    <a:lnTo>
                      <a:pt x="1465" y="467"/>
                    </a:lnTo>
                    <a:lnTo>
                      <a:pt x="1465" y="465"/>
                    </a:lnTo>
                    <a:lnTo>
                      <a:pt x="1465" y="463"/>
                    </a:lnTo>
                    <a:lnTo>
                      <a:pt x="1465" y="461"/>
                    </a:lnTo>
                    <a:lnTo>
                      <a:pt x="1467" y="461"/>
                    </a:lnTo>
                    <a:lnTo>
                      <a:pt x="1469" y="461"/>
                    </a:lnTo>
                    <a:lnTo>
                      <a:pt x="1470" y="459"/>
                    </a:lnTo>
                    <a:lnTo>
                      <a:pt x="1472" y="459"/>
                    </a:lnTo>
                    <a:lnTo>
                      <a:pt x="1472" y="457"/>
                    </a:lnTo>
                    <a:lnTo>
                      <a:pt x="1474" y="457"/>
                    </a:lnTo>
                    <a:lnTo>
                      <a:pt x="1476" y="455"/>
                    </a:lnTo>
                    <a:lnTo>
                      <a:pt x="1478" y="455"/>
                    </a:lnTo>
                    <a:lnTo>
                      <a:pt x="1476" y="453"/>
                    </a:lnTo>
                    <a:lnTo>
                      <a:pt x="1476" y="451"/>
                    </a:lnTo>
                    <a:lnTo>
                      <a:pt x="1478" y="450"/>
                    </a:lnTo>
                    <a:lnTo>
                      <a:pt x="1478" y="448"/>
                    </a:lnTo>
                    <a:lnTo>
                      <a:pt x="1480" y="448"/>
                    </a:lnTo>
                    <a:lnTo>
                      <a:pt x="1482" y="448"/>
                    </a:lnTo>
                    <a:lnTo>
                      <a:pt x="1484" y="448"/>
                    </a:lnTo>
                    <a:lnTo>
                      <a:pt x="1486" y="448"/>
                    </a:lnTo>
                    <a:lnTo>
                      <a:pt x="1487" y="446"/>
                    </a:lnTo>
                    <a:lnTo>
                      <a:pt x="1489" y="446"/>
                    </a:lnTo>
                    <a:lnTo>
                      <a:pt x="1491" y="446"/>
                    </a:lnTo>
                    <a:lnTo>
                      <a:pt x="1491" y="448"/>
                    </a:lnTo>
                    <a:lnTo>
                      <a:pt x="1493" y="448"/>
                    </a:lnTo>
                    <a:lnTo>
                      <a:pt x="1495" y="448"/>
                    </a:lnTo>
                    <a:lnTo>
                      <a:pt x="1495" y="446"/>
                    </a:lnTo>
                    <a:lnTo>
                      <a:pt x="1497" y="446"/>
                    </a:lnTo>
                    <a:lnTo>
                      <a:pt x="1497" y="444"/>
                    </a:lnTo>
                    <a:lnTo>
                      <a:pt x="1497" y="442"/>
                    </a:lnTo>
                    <a:lnTo>
                      <a:pt x="1499" y="442"/>
                    </a:lnTo>
                    <a:lnTo>
                      <a:pt x="1502" y="440"/>
                    </a:lnTo>
                    <a:lnTo>
                      <a:pt x="1504" y="442"/>
                    </a:lnTo>
                    <a:lnTo>
                      <a:pt x="1506" y="442"/>
                    </a:lnTo>
                    <a:lnTo>
                      <a:pt x="1508" y="442"/>
                    </a:lnTo>
                    <a:lnTo>
                      <a:pt x="1510" y="440"/>
                    </a:lnTo>
                    <a:lnTo>
                      <a:pt x="1510" y="438"/>
                    </a:lnTo>
                    <a:lnTo>
                      <a:pt x="1510" y="435"/>
                    </a:lnTo>
                    <a:lnTo>
                      <a:pt x="1508" y="433"/>
                    </a:lnTo>
                    <a:lnTo>
                      <a:pt x="1508" y="431"/>
                    </a:lnTo>
                    <a:lnTo>
                      <a:pt x="1510" y="431"/>
                    </a:lnTo>
                    <a:lnTo>
                      <a:pt x="1512" y="431"/>
                    </a:lnTo>
                    <a:lnTo>
                      <a:pt x="1514" y="431"/>
                    </a:lnTo>
                    <a:lnTo>
                      <a:pt x="1516" y="431"/>
                    </a:lnTo>
                    <a:lnTo>
                      <a:pt x="1516" y="429"/>
                    </a:lnTo>
                    <a:lnTo>
                      <a:pt x="1518" y="429"/>
                    </a:lnTo>
                    <a:lnTo>
                      <a:pt x="1518" y="427"/>
                    </a:lnTo>
                    <a:lnTo>
                      <a:pt x="1519" y="427"/>
                    </a:lnTo>
                    <a:lnTo>
                      <a:pt x="1519" y="425"/>
                    </a:lnTo>
                    <a:lnTo>
                      <a:pt x="1519" y="423"/>
                    </a:lnTo>
                    <a:lnTo>
                      <a:pt x="1518" y="423"/>
                    </a:lnTo>
                    <a:lnTo>
                      <a:pt x="1518" y="421"/>
                    </a:lnTo>
                    <a:lnTo>
                      <a:pt x="1518" y="419"/>
                    </a:lnTo>
                    <a:lnTo>
                      <a:pt x="1519" y="419"/>
                    </a:lnTo>
                    <a:lnTo>
                      <a:pt x="1519" y="418"/>
                    </a:lnTo>
                    <a:lnTo>
                      <a:pt x="1521" y="418"/>
                    </a:lnTo>
                    <a:lnTo>
                      <a:pt x="1523" y="418"/>
                    </a:lnTo>
                    <a:lnTo>
                      <a:pt x="1523" y="414"/>
                    </a:lnTo>
                    <a:lnTo>
                      <a:pt x="1525" y="414"/>
                    </a:lnTo>
                    <a:lnTo>
                      <a:pt x="1527" y="414"/>
                    </a:lnTo>
                    <a:lnTo>
                      <a:pt x="1529" y="414"/>
                    </a:lnTo>
                    <a:lnTo>
                      <a:pt x="1531" y="414"/>
                    </a:lnTo>
                    <a:lnTo>
                      <a:pt x="1533" y="414"/>
                    </a:lnTo>
                    <a:lnTo>
                      <a:pt x="1533" y="412"/>
                    </a:lnTo>
                    <a:lnTo>
                      <a:pt x="1534" y="412"/>
                    </a:lnTo>
                    <a:lnTo>
                      <a:pt x="1534" y="410"/>
                    </a:lnTo>
                    <a:lnTo>
                      <a:pt x="1534" y="408"/>
                    </a:lnTo>
                    <a:lnTo>
                      <a:pt x="1536" y="408"/>
                    </a:lnTo>
                    <a:lnTo>
                      <a:pt x="1536" y="406"/>
                    </a:lnTo>
                    <a:lnTo>
                      <a:pt x="1538" y="406"/>
                    </a:lnTo>
                    <a:lnTo>
                      <a:pt x="1540" y="408"/>
                    </a:lnTo>
                    <a:lnTo>
                      <a:pt x="1542" y="408"/>
                    </a:lnTo>
                    <a:lnTo>
                      <a:pt x="1542" y="410"/>
                    </a:lnTo>
                    <a:lnTo>
                      <a:pt x="1544" y="410"/>
                    </a:lnTo>
                    <a:lnTo>
                      <a:pt x="1546" y="410"/>
                    </a:lnTo>
                    <a:lnTo>
                      <a:pt x="1548" y="410"/>
                    </a:lnTo>
                    <a:lnTo>
                      <a:pt x="1548" y="412"/>
                    </a:lnTo>
                    <a:lnTo>
                      <a:pt x="1549" y="412"/>
                    </a:lnTo>
                    <a:lnTo>
                      <a:pt x="1549" y="414"/>
                    </a:lnTo>
                    <a:lnTo>
                      <a:pt x="1551" y="414"/>
                    </a:lnTo>
                    <a:lnTo>
                      <a:pt x="1553" y="414"/>
                    </a:lnTo>
                    <a:lnTo>
                      <a:pt x="1555" y="414"/>
                    </a:lnTo>
                    <a:lnTo>
                      <a:pt x="1557" y="414"/>
                    </a:lnTo>
                    <a:lnTo>
                      <a:pt x="1559" y="412"/>
                    </a:lnTo>
                    <a:lnTo>
                      <a:pt x="1559" y="410"/>
                    </a:lnTo>
                    <a:lnTo>
                      <a:pt x="1559" y="408"/>
                    </a:lnTo>
                    <a:lnTo>
                      <a:pt x="1561" y="408"/>
                    </a:lnTo>
                    <a:lnTo>
                      <a:pt x="1561" y="406"/>
                    </a:lnTo>
                    <a:lnTo>
                      <a:pt x="1563" y="406"/>
                    </a:lnTo>
                    <a:lnTo>
                      <a:pt x="1563" y="404"/>
                    </a:lnTo>
                    <a:lnTo>
                      <a:pt x="1565" y="403"/>
                    </a:lnTo>
                    <a:lnTo>
                      <a:pt x="1565" y="401"/>
                    </a:lnTo>
                    <a:lnTo>
                      <a:pt x="1565" y="399"/>
                    </a:lnTo>
                    <a:lnTo>
                      <a:pt x="1565" y="397"/>
                    </a:lnTo>
                    <a:lnTo>
                      <a:pt x="1565" y="395"/>
                    </a:lnTo>
                    <a:lnTo>
                      <a:pt x="1565" y="393"/>
                    </a:lnTo>
                    <a:lnTo>
                      <a:pt x="1563" y="393"/>
                    </a:lnTo>
                    <a:lnTo>
                      <a:pt x="1563" y="391"/>
                    </a:lnTo>
                    <a:lnTo>
                      <a:pt x="1563" y="389"/>
                    </a:lnTo>
                    <a:lnTo>
                      <a:pt x="1565" y="389"/>
                    </a:lnTo>
                    <a:lnTo>
                      <a:pt x="1566" y="389"/>
                    </a:lnTo>
                    <a:lnTo>
                      <a:pt x="1566" y="391"/>
                    </a:lnTo>
                    <a:lnTo>
                      <a:pt x="1568" y="391"/>
                    </a:lnTo>
                    <a:lnTo>
                      <a:pt x="1568" y="393"/>
                    </a:lnTo>
                    <a:lnTo>
                      <a:pt x="1570" y="393"/>
                    </a:lnTo>
                    <a:lnTo>
                      <a:pt x="1570" y="391"/>
                    </a:lnTo>
                    <a:lnTo>
                      <a:pt x="1570" y="389"/>
                    </a:lnTo>
                    <a:lnTo>
                      <a:pt x="1570" y="387"/>
                    </a:lnTo>
                    <a:lnTo>
                      <a:pt x="1570" y="386"/>
                    </a:lnTo>
                    <a:lnTo>
                      <a:pt x="1572" y="386"/>
                    </a:lnTo>
                    <a:lnTo>
                      <a:pt x="1574" y="386"/>
                    </a:lnTo>
                    <a:lnTo>
                      <a:pt x="1576" y="384"/>
                    </a:lnTo>
                    <a:lnTo>
                      <a:pt x="1578" y="384"/>
                    </a:lnTo>
                    <a:close/>
                  </a:path>
                </a:pathLst>
              </a:custGeom>
              <a:grp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39"/>
              <p:cNvSpPr>
                <a:spLocks noEditPoints="1"/>
              </p:cNvSpPr>
              <p:nvPr/>
            </p:nvSpPr>
            <p:spPr bwMode="auto">
              <a:xfrm>
                <a:off x="1622425" y="4211639"/>
                <a:ext cx="2620963" cy="2120900"/>
              </a:xfrm>
              <a:custGeom>
                <a:avLst/>
                <a:gdLst>
                  <a:gd name="T0" fmla="*/ 58 w 1651"/>
                  <a:gd name="T1" fmla="*/ 819 h 1336"/>
                  <a:gd name="T2" fmla="*/ 1627 w 1651"/>
                  <a:gd name="T3" fmla="*/ 482 h 1336"/>
                  <a:gd name="T4" fmla="*/ 1510 w 1651"/>
                  <a:gd name="T5" fmla="*/ 540 h 1336"/>
                  <a:gd name="T6" fmla="*/ 1416 w 1651"/>
                  <a:gd name="T7" fmla="*/ 713 h 1336"/>
                  <a:gd name="T8" fmla="*/ 1431 w 1651"/>
                  <a:gd name="T9" fmla="*/ 913 h 1336"/>
                  <a:gd name="T10" fmla="*/ 1482 w 1651"/>
                  <a:gd name="T11" fmla="*/ 1026 h 1336"/>
                  <a:gd name="T12" fmla="*/ 1497 w 1651"/>
                  <a:gd name="T13" fmla="*/ 1073 h 1336"/>
                  <a:gd name="T14" fmla="*/ 1433 w 1651"/>
                  <a:gd name="T15" fmla="*/ 1103 h 1336"/>
                  <a:gd name="T16" fmla="*/ 1391 w 1651"/>
                  <a:gd name="T17" fmla="*/ 1107 h 1336"/>
                  <a:gd name="T18" fmla="*/ 1326 w 1651"/>
                  <a:gd name="T19" fmla="*/ 1103 h 1336"/>
                  <a:gd name="T20" fmla="*/ 1211 w 1651"/>
                  <a:gd name="T21" fmla="*/ 1092 h 1336"/>
                  <a:gd name="T22" fmla="*/ 1113 w 1651"/>
                  <a:gd name="T23" fmla="*/ 1129 h 1336"/>
                  <a:gd name="T24" fmla="*/ 1062 w 1651"/>
                  <a:gd name="T25" fmla="*/ 1169 h 1336"/>
                  <a:gd name="T26" fmla="*/ 1021 w 1651"/>
                  <a:gd name="T27" fmla="*/ 1197 h 1336"/>
                  <a:gd name="T28" fmla="*/ 936 w 1651"/>
                  <a:gd name="T29" fmla="*/ 1193 h 1336"/>
                  <a:gd name="T30" fmla="*/ 882 w 1651"/>
                  <a:gd name="T31" fmla="*/ 1205 h 1336"/>
                  <a:gd name="T32" fmla="*/ 795 w 1651"/>
                  <a:gd name="T33" fmla="*/ 1218 h 1336"/>
                  <a:gd name="T34" fmla="*/ 733 w 1651"/>
                  <a:gd name="T35" fmla="*/ 1218 h 1336"/>
                  <a:gd name="T36" fmla="*/ 648 w 1651"/>
                  <a:gd name="T37" fmla="*/ 1270 h 1336"/>
                  <a:gd name="T38" fmla="*/ 577 w 1651"/>
                  <a:gd name="T39" fmla="*/ 1334 h 1336"/>
                  <a:gd name="T40" fmla="*/ 505 w 1651"/>
                  <a:gd name="T41" fmla="*/ 1317 h 1336"/>
                  <a:gd name="T42" fmla="*/ 464 w 1651"/>
                  <a:gd name="T43" fmla="*/ 1302 h 1336"/>
                  <a:gd name="T44" fmla="*/ 423 w 1651"/>
                  <a:gd name="T45" fmla="*/ 1267 h 1336"/>
                  <a:gd name="T46" fmla="*/ 406 w 1651"/>
                  <a:gd name="T47" fmla="*/ 1253 h 1336"/>
                  <a:gd name="T48" fmla="*/ 370 w 1651"/>
                  <a:gd name="T49" fmla="*/ 1212 h 1336"/>
                  <a:gd name="T50" fmla="*/ 310 w 1651"/>
                  <a:gd name="T51" fmla="*/ 1189 h 1336"/>
                  <a:gd name="T52" fmla="*/ 268 w 1651"/>
                  <a:gd name="T53" fmla="*/ 1188 h 1336"/>
                  <a:gd name="T54" fmla="*/ 282 w 1651"/>
                  <a:gd name="T55" fmla="*/ 1129 h 1336"/>
                  <a:gd name="T56" fmla="*/ 178 w 1651"/>
                  <a:gd name="T57" fmla="*/ 1114 h 1336"/>
                  <a:gd name="T58" fmla="*/ 184 w 1651"/>
                  <a:gd name="T59" fmla="*/ 1152 h 1336"/>
                  <a:gd name="T60" fmla="*/ 174 w 1651"/>
                  <a:gd name="T61" fmla="*/ 1182 h 1336"/>
                  <a:gd name="T62" fmla="*/ 142 w 1651"/>
                  <a:gd name="T63" fmla="*/ 1124 h 1336"/>
                  <a:gd name="T64" fmla="*/ 150 w 1651"/>
                  <a:gd name="T65" fmla="*/ 1076 h 1336"/>
                  <a:gd name="T66" fmla="*/ 173 w 1651"/>
                  <a:gd name="T67" fmla="*/ 1048 h 1336"/>
                  <a:gd name="T68" fmla="*/ 178 w 1651"/>
                  <a:gd name="T69" fmla="*/ 1014 h 1336"/>
                  <a:gd name="T70" fmla="*/ 144 w 1651"/>
                  <a:gd name="T71" fmla="*/ 947 h 1336"/>
                  <a:gd name="T72" fmla="*/ 101 w 1651"/>
                  <a:gd name="T73" fmla="*/ 877 h 1336"/>
                  <a:gd name="T74" fmla="*/ 58 w 1651"/>
                  <a:gd name="T75" fmla="*/ 794 h 1336"/>
                  <a:gd name="T76" fmla="*/ 88 w 1651"/>
                  <a:gd name="T77" fmla="*/ 834 h 1336"/>
                  <a:gd name="T78" fmla="*/ 71 w 1651"/>
                  <a:gd name="T79" fmla="*/ 788 h 1336"/>
                  <a:gd name="T80" fmla="*/ 50 w 1651"/>
                  <a:gd name="T81" fmla="*/ 779 h 1336"/>
                  <a:gd name="T82" fmla="*/ 31 w 1651"/>
                  <a:gd name="T83" fmla="*/ 773 h 1336"/>
                  <a:gd name="T84" fmla="*/ 31 w 1651"/>
                  <a:gd name="T85" fmla="*/ 728 h 1336"/>
                  <a:gd name="T86" fmla="*/ 43 w 1651"/>
                  <a:gd name="T87" fmla="*/ 685 h 1336"/>
                  <a:gd name="T88" fmla="*/ 86 w 1651"/>
                  <a:gd name="T89" fmla="*/ 706 h 1336"/>
                  <a:gd name="T90" fmla="*/ 150 w 1651"/>
                  <a:gd name="T91" fmla="*/ 553 h 1336"/>
                  <a:gd name="T92" fmla="*/ 131 w 1651"/>
                  <a:gd name="T93" fmla="*/ 459 h 1336"/>
                  <a:gd name="T94" fmla="*/ 112 w 1651"/>
                  <a:gd name="T95" fmla="*/ 384 h 1336"/>
                  <a:gd name="T96" fmla="*/ 69 w 1651"/>
                  <a:gd name="T97" fmla="*/ 318 h 1336"/>
                  <a:gd name="T98" fmla="*/ 30 w 1651"/>
                  <a:gd name="T99" fmla="*/ 263 h 1336"/>
                  <a:gd name="T100" fmla="*/ 3 w 1651"/>
                  <a:gd name="T101" fmla="*/ 216 h 1336"/>
                  <a:gd name="T102" fmla="*/ 165 w 1651"/>
                  <a:gd name="T103" fmla="*/ 32 h 1336"/>
                  <a:gd name="T104" fmla="*/ 291 w 1651"/>
                  <a:gd name="T105" fmla="*/ 180 h 1336"/>
                  <a:gd name="T106" fmla="*/ 332 w 1651"/>
                  <a:gd name="T107" fmla="*/ 380 h 1336"/>
                  <a:gd name="T108" fmla="*/ 332 w 1651"/>
                  <a:gd name="T109" fmla="*/ 433 h 1336"/>
                  <a:gd name="T110" fmla="*/ 442 w 1651"/>
                  <a:gd name="T111" fmla="*/ 506 h 1336"/>
                  <a:gd name="T112" fmla="*/ 443 w 1651"/>
                  <a:gd name="T113" fmla="*/ 611 h 1336"/>
                  <a:gd name="T114" fmla="*/ 586 w 1651"/>
                  <a:gd name="T115" fmla="*/ 546 h 1336"/>
                  <a:gd name="T116" fmla="*/ 669 w 1651"/>
                  <a:gd name="T117" fmla="*/ 741 h 1336"/>
                  <a:gd name="T118" fmla="*/ 970 w 1651"/>
                  <a:gd name="T119" fmla="*/ 564 h 1336"/>
                  <a:gd name="T120" fmla="*/ 1107 w 1651"/>
                  <a:gd name="T121" fmla="*/ 435 h 1336"/>
                  <a:gd name="T122" fmla="*/ 1277 w 1651"/>
                  <a:gd name="T123" fmla="*/ 418 h 1336"/>
                  <a:gd name="T124" fmla="*/ 1497 w 1651"/>
                  <a:gd name="T125" fmla="*/ 363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1" h="1336">
                    <a:moveTo>
                      <a:pt x="421" y="1291"/>
                    </a:moveTo>
                    <a:lnTo>
                      <a:pt x="423" y="1291"/>
                    </a:lnTo>
                    <a:lnTo>
                      <a:pt x="423" y="1293"/>
                    </a:lnTo>
                    <a:lnTo>
                      <a:pt x="421" y="1293"/>
                    </a:lnTo>
                    <a:lnTo>
                      <a:pt x="421" y="1291"/>
                    </a:lnTo>
                    <a:close/>
                    <a:moveTo>
                      <a:pt x="421" y="1287"/>
                    </a:moveTo>
                    <a:lnTo>
                      <a:pt x="425" y="1287"/>
                    </a:lnTo>
                    <a:lnTo>
                      <a:pt x="425" y="1291"/>
                    </a:lnTo>
                    <a:lnTo>
                      <a:pt x="421" y="1291"/>
                    </a:lnTo>
                    <a:lnTo>
                      <a:pt x="421" y="1287"/>
                    </a:lnTo>
                    <a:close/>
                    <a:moveTo>
                      <a:pt x="156" y="1016"/>
                    </a:moveTo>
                    <a:lnTo>
                      <a:pt x="158" y="1016"/>
                    </a:lnTo>
                    <a:lnTo>
                      <a:pt x="158" y="1018"/>
                    </a:lnTo>
                    <a:lnTo>
                      <a:pt x="158" y="1020"/>
                    </a:lnTo>
                    <a:lnTo>
                      <a:pt x="159" y="1020"/>
                    </a:lnTo>
                    <a:lnTo>
                      <a:pt x="159" y="1022"/>
                    </a:lnTo>
                    <a:lnTo>
                      <a:pt x="158" y="1022"/>
                    </a:lnTo>
                    <a:lnTo>
                      <a:pt x="156" y="1024"/>
                    </a:lnTo>
                    <a:lnTo>
                      <a:pt x="154" y="1022"/>
                    </a:lnTo>
                    <a:lnTo>
                      <a:pt x="154" y="1020"/>
                    </a:lnTo>
                    <a:lnTo>
                      <a:pt x="154" y="1018"/>
                    </a:lnTo>
                    <a:lnTo>
                      <a:pt x="152" y="1018"/>
                    </a:lnTo>
                    <a:lnTo>
                      <a:pt x="152" y="1016"/>
                    </a:lnTo>
                    <a:lnTo>
                      <a:pt x="154" y="1014"/>
                    </a:lnTo>
                    <a:lnTo>
                      <a:pt x="156" y="1014"/>
                    </a:lnTo>
                    <a:lnTo>
                      <a:pt x="158" y="1014"/>
                    </a:lnTo>
                    <a:lnTo>
                      <a:pt x="156" y="1016"/>
                    </a:lnTo>
                    <a:close/>
                    <a:moveTo>
                      <a:pt x="82" y="900"/>
                    </a:moveTo>
                    <a:lnTo>
                      <a:pt x="84" y="900"/>
                    </a:lnTo>
                    <a:lnTo>
                      <a:pt x="84" y="898"/>
                    </a:lnTo>
                    <a:lnTo>
                      <a:pt x="84" y="900"/>
                    </a:lnTo>
                    <a:lnTo>
                      <a:pt x="84" y="901"/>
                    </a:lnTo>
                    <a:lnTo>
                      <a:pt x="86" y="901"/>
                    </a:lnTo>
                    <a:lnTo>
                      <a:pt x="86" y="903"/>
                    </a:lnTo>
                    <a:lnTo>
                      <a:pt x="84" y="903"/>
                    </a:lnTo>
                    <a:lnTo>
                      <a:pt x="84" y="905"/>
                    </a:lnTo>
                    <a:lnTo>
                      <a:pt x="84" y="903"/>
                    </a:lnTo>
                    <a:lnTo>
                      <a:pt x="84" y="905"/>
                    </a:lnTo>
                    <a:lnTo>
                      <a:pt x="82" y="905"/>
                    </a:lnTo>
                    <a:lnTo>
                      <a:pt x="82" y="903"/>
                    </a:lnTo>
                    <a:lnTo>
                      <a:pt x="82" y="901"/>
                    </a:lnTo>
                    <a:lnTo>
                      <a:pt x="80" y="901"/>
                    </a:lnTo>
                    <a:lnTo>
                      <a:pt x="80" y="900"/>
                    </a:lnTo>
                    <a:lnTo>
                      <a:pt x="80" y="898"/>
                    </a:lnTo>
                    <a:lnTo>
                      <a:pt x="80" y="900"/>
                    </a:lnTo>
                    <a:lnTo>
                      <a:pt x="82" y="900"/>
                    </a:lnTo>
                    <a:close/>
                    <a:moveTo>
                      <a:pt x="56" y="819"/>
                    </a:moveTo>
                    <a:lnTo>
                      <a:pt x="58" y="819"/>
                    </a:lnTo>
                    <a:lnTo>
                      <a:pt x="56" y="819"/>
                    </a:lnTo>
                    <a:close/>
                    <a:moveTo>
                      <a:pt x="65" y="798"/>
                    </a:moveTo>
                    <a:lnTo>
                      <a:pt x="67" y="798"/>
                    </a:lnTo>
                    <a:lnTo>
                      <a:pt x="67" y="800"/>
                    </a:lnTo>
                    <a:lnTo>
                      <a:pt x="65" y="800"/>
                    </a:lnTo>
                    <a:lnTo>
                      <a:pt x="65" y="798"/>
                    </a:lnTo>
                    <a:close/>
                    <a:moveTo>
                      <a:pt x="48" y="796"/>
                    </a:moveTo>
                    <a:lnTo>
                      <a:pt x="50" y="796"/>
                    </a:lnTo>
                    <a:lnTo>
                      <a:pt x="50" y="798"/>
                    </a:lnTo>
                    <a:lnTo>
                      <a:pt x="48" y="798"/>
                    </a:lnTo>
                    <a:lnTo>
                      <a:pt x="48" y="796"/>
                    </a:lnTo>
                    <a:close/>
                    <a:moveTo>
                      <a:pt x="1632" y="404"/>
                    </a:moveTo>
                    <a:lnTo>
                      <a:pt x="1634" y="406"/>
                    </a:lnTo>
                    <a:lnTo>
                      <a:pt x="1634" y="408"/>
                    </a:lnTo>
                    <a:lnTo>
                      <a:pt x="1642" y="412"/>
                    </a:lnTo>
                    <a:lnTo>
                      <a:pt x="1640" y="414"/>
                    </a:lnTo>
                    <a:lnTo>
                      <a:pt x="1634" y="416"/>
                    </a:lnTo>
                    <a:lnTo>
                      <a:pt x="1632" y="425"/>
                    </a:lnTo>
                    <a:lnTo>
                      <a:pt x="1630" y="425"/>
                    </a:lnTo>
                    <a:lnTo>
                      <a:pt x="1625" y="423"/>
                    </a:lnTo>
                    <a:lnTo>
                      <a:pt x="1621" y="435"/>
                    </a:lnTo>
                    <a:lnTo>
                      <a:pt x="1621" y="440"/>
                    </a:lnTo>
                    <a:lnTo>
                      <a:pt x="1625" y="440"/>
                    </a:lnTo>
                    <a:lnTo>
                      <a:pt x="1628" y="440"/>
                    </a:lnTo>
                    <a:lnTo>
                      <a:pt x="1632" y="440"/>
                    </a:lnTo>
                    <a:lnTo>
                      <a:pt x="1632" y="438"/>
                    </a:lnTo>
                    <a:lnTo>
                      <a:pt x="1634" y="438"/>
                    </a:lnTo>
                    <a:lnTo>
                      <a:pt x="1636" y="438"/>
                    </a:lnTo>
                    <a:lnTo>
                      <a:pt x="1640" y="442"/>
                    </a:lnTo>
                    <a:lnTo>
                      <a:pt x="1643" y="444"/>
                    </a:lnTo>
                    <a:lnTo>
                      <a:pt x="1643" y="446"/>
                    </a:lnTo>
                    <a:lnTo>
                      <a:pt x="1642" y="448"/>
                    </a:lnTo>
                    <a:lnTo>
                      <a:pt x="1645" y="451"/>
                    </a:lnTo>
                    <a:lnTo>
                      <a:pt x="1647" y="451"/>
                    </a:lnTo>
                    <a:lnTo>
                      <a:pt x="1647" y="453"/>
                    </a:lnTo>
                    <a:lnTo>
                      <a:pt x="1651" y="455"/>
                    </a:lnTo>
                    <a:lnTo>
                      <a:pt x="1645" y="461"/>
                    </a:lnTo>
                    <a:lnTo>
                      <a:pt x="1640" y="467"/>
                    </a:lnTo>
                    <a:lnTo>
                      <a:pt x="1642" y="468"/>
                    </a:lnTo>
                    <a:lnTo>
                      <a:pt x="1643" y="470"/>
                    </a:lnTo>
                    <a:lnTo>
                      <a:pt x="1642" y="470"/>
                    </a:lnTo>
                    <a:lnTo>
                      <a:pt x="1642" y="472"/>
                    </a:lnTo>
                    <a:lnTo>
                      <a:pt x="1638" y="472"/>
                    </a:lnTo>
                    <a:lnTo>
                      <a:pt x="1638" y="474"/>
                    </a:lnTo>
                    <a:lnTo>
                      <a:pt x="1632" y="472"/>
                    </a:lnTo>
                    <a:lnTo>
                      <a:pt x="1630" y="472"/>
                    </a:lnTo>
                    <a:lnTo>
                      <a:pt x="1628" y="476"/>
                    </a:lnTo>
                    <a:lnTo>
                      <a:pt x="1627" y="482"/>
                    </a:lnTo>
                    <a:lnTo>
                      <a:pt x="1630" y="483"/>
                    </a:lnTo>
                    <a:lnTo>
                      <a:pt x="1628" y="487"/>
                    </a:lnTo>
                    <a:lnTo>
                      <a:pt x="1625" y="485"/>
                    </a:lnTo>
                    <a:lnTo>
                      <a:pt x="1623" y="487"/>
                    </a:lnTo>
                    <a:lnTo>
                      <a:pt x="1623" y="489"/>
                    </a:lnTo>
                    <a:lnTo>
                      <a:pt x="1621" y="489"/>
                    </a:lnTo>
                    <a:lnTo>
                      <a:pt x="1619" y="495"/>
                    </a:lnTo>
                    <a:lnTo>
                      <a:pt x="1619" y="497"/>
                    </a:lnTo>
                    <a:lnTo>
                      <a:pt x="1619" y="502"/>
                    </a:lnTo>
                    <a:lnTo>
                      <a:pt x="1623" y="495"/>
                    </a:lnTo>
                    <a:lnTo>
                      <a:pt x="1627" y="497"/>
                    </a:lnTo>
                    <a:lnTo>
                      <a:pt x="1628" y="499"/>
                    </a:lnTo>
                    <a:lnTo>
                      <a:pt x="1628" y="506"/>
                    </a:lnTo>
                    <a:lnTo>
                      <a:pt x="1627" y="508"/>
                    </a:lnTo>
                    <a:lnTo>
                      <a:pt x="1625" y="510"/>
                    </a:lnTo>
                    <a:lnTo>
                      <a:pt x="1621" y="514"/>
                    </a:lnTo>
                    <a:lnTo>
                      <a:pt x="1623" y="514"/>
                    </a:lnTo>
                    <a:lnTo>
                      <a:pt x="1619" y="517"/>
                    </a:lnTo>
                    <a:lnTo>
                      <a:pt x="1617" y="517"/>
                    </a:lnTo>
                    <a:lnTo>
                      <a:pt x="1611" y="517"/>
                    </a:lnTo>
                    <a:lnTo>
                      <a:pt x="1604" y="515"/>
                    </a:lnTo>
                    <a:lnTo>
                      <a:pt x="1604" y="521"/>
                    </a:lnTo>
                    <a:lnTo>
                      <a:pt x="1606" y="523"/>
                    </a:lnTo>
                    <a:lnTo>
                      <a:pt x="1602" y="527"/>
                    </a:lnTo>
                    <a:lnTo>
                      <a:pt x="1591" y="529"/>
                    </a:lnTo>
                    <a:lnTo>
                      <a:pt x="1583" y="531"/>
                    </a:lnTo>
                    <a:lnTo>
                      <a:pt x="1581" y="534"/>
                    </a:lnTo>
                    <a:lnTo>
                      <a:pt x="1580" y="536"/>
                    </a:lnTo>
                    <a:lnTo>
                      <a:pt x="1578" y="538"/>
                    </a:lnTo>
                    <a:lnTo>
                      <a:pt x="1574" y="540"/>
                    </a:lnTo>
                    <a:lnTo>
                      <a:pt x="1572" y="540"/>
                    </a:lnTo>
                    <a:lnTo>
                      <a:pt x="1566" y="546"/>
                    </a:lnTo>
                    <a:lnTo>
                      <a:pt x="1564" y="546"/>
                    </a:lnTo>
                    <a:lnTo>
                      <a:pt x="1559" y="544"/>
                    </a:lnTo>
                    <a:lnTo>
                      <a:pt x="1555" y="542"/>
                    </a:lnTo>
                    <a:lnTo>
                      <a:pt x="1553" y="540"/>
                    </a:lnTo>
                    <a:lnTo>
                      <a:pt x="1553" y="538"/>
                    </a:lnTo>
                    <a:lnTo>
                      <a:pt x="1548" y="532"/>
                    </a:lnTo>
                    <a:lnTo>
                      <a:pt x="1542" y="527"/>
                    </a:lnTo>
                    <a:lnTo>
                      <a:pt x="1540" y="527"/>
                    </a:lnTo>
                    <a:lnTo>
                      <a:pt x="1534" y="523"/>
                    </a:lnTo>
                    <a:lnTo>
                      <a:pt x="1529" y="529"/>
                    </a:lnTo>
                    <a:lnTo>
                      <a:pt x="1527" y="531"/>
                    </a:lnTo>
                    <a:lnTo>
                      <a:pt x="1523" y="532"/>
                    </a:lnTo>
                    <a:lnTo>
                      <a:pt x="1521" y="534"/>
                    </a:lnTo>
                    <a:lnTo>
                      <a:pt x="1519" y="534"/>
                    </a:lnTo>
                    <a:lnTo>
                      <a:pt x="1516" y="540"/>
                    </a:lnTo>
                    <a:lnTo>
                      <a:pt x="1510" y="540"/>
                    </a:lnTo>
                    <a:lnTo>
                      <a:pt x="1510" y="542"/>
                    </a:lnTo>
                    <a:lnTo>
                      <a:pt x="1508" y="544"/>
                    </a:lnTo>
                    <a:lnTo>
                      <a:pt x="1508" y="547"/>
                    </a:lnTo>
                    <a:lnTo>
                      <a:pt x="1504" y="559"/>
                    </a:lnTo>
                    <a:lnTo>
                      <a:pt x="1506" y="561"/>
                    </a:lnTo>
                    <a:lnTo>
                      <a:pt x="1512" y="568"/>
                    </a:lnTo>
                    <a:lnTo>
                      <a:pt x="1508" y="572"/>
                    </a:lnTo>
                    <a:lnTo>
                      <a:pt x="1506" y="572"/>
                    </a:lnTo>
                    <a:lnTo>
                      <a:pt x="1489" y="572"/>
                    </a:lnTo>
                    <a:lnTo>
                      <a:pt x="1480" y="570"/>
                    </a:lnTo>
                    <a:lnTo>
                      <a:pt x="1472" y="568"/>
                    </a:lnTo>
                    <a:lnTo>
                      <a:pt x="1467" y="568"/>
                    </a:lnTo>
                    <a:lnTo>
                      <a:pt x="1453" y="566"/>
                    </a:lnTo>
                    <a:lnTo>
                      <a:pt x="1446" y="576"/>
                    </a:lnTo>
                    <a:lnTo>
                      <a:pt x="1446" y="579"/>
                    </a:lnTo>
                    <a:lnTo>
                      <a:pt x="1442" y="587"/>
                    </a:lnTo>
                    <a:lnTo>
                      <a:pt x="1438" y="583"/>
                    </a:lnTo>
                    <a:lnTo>
                      <a:pt x="1433" y="581"/>
                    </a:lnTo>
                    <a:lnTo>
                      <a:pt x="1429" y="579"/>
                    </a:lnTo>
                    <a:lnTo>
                      <a:pt x="1427" y="579"/>
                    </a:lnTo>
                    <a:lnTo>
                      <a:pt x="1427" y="578"/>
                    </a:lnTo>
                    <a:lnTo>
                      <a:pt x="1423" y="574"/>
                    </a:lnTo>
                    <a:lnTo>
                      <a:pt x="1420" y="583"/>
                    </a:lnTo>
                    <a:lnTo>
                      <a:pt x="1418" y="587"/>
                    </a:lnTo>
                    <a:lnTo>
                      <a:pt x="1418" y="589"/>
                    </a:lnTo>
                    <a:lnTo>
                      <a:pt x="1412" y="591"/>
                    </a:lnTo>
                    <a:lnTo>
                      <a:pt x="1408" y="589"/>
                    </a:lnTo>
                    <a:lnTo>
                      <a:pt x="1395" y="596"/>
                    </a:lnTo>
                    <a:lnTo>
                      <a:pt x="1401" y="610"/>
                    </a:lnTo>
                    <a:lnTo>
                      <a:pt x="1401" y="613"/>
                    </a:lnTo>
                    <a:lnTo>
                      <a:pt x="1401" y="625"/>
                    </a:lnTo>
                    <a:lnTo>
                      <a:pt x="1412" y="636"/>
                    </a:lnTo>
                    <a:lnTo>
                      <a:pt x="1414" y="643"/>
                    </a:lnTo>
                    <a:lnTo>
                      <a:pt x="1416" y="653"/>
                    </a:lnTo>
                    <a:lnTo>
                      <a:pt x="1418" y="653"/>
                    </a:lnTo>
                    <a:lnTo>
                      <a:pt x="1416" y="666"/>
                    </a:lnTo>
                    <a:lnTo>
                      <a:pt x="1412" y="668"/>
                    </a:lnTo>
                    <a:lnTo>
                      <a:pt x="1406" y="672"/>
                    </a:lnTo>
                    <a:lnTo>
                      <a:pt x="1408" y="674"/>
                    </a:lnTo>
                    <a:lnTo>
                      <a:pt x="1423" y="681"/>
                    </a:lnTo>
                    <a:lnTo>
                      <a:pt x="1423" y="683"/>
                    </a:lnTo>
                    <a:lnTo>
                      <a:pt x="1429" y="689"/>
                    </a:lnTo>
                    <a:lnTo>
                      <a:pt x="1429" y="691"/>
                    </a:lnTo>
                    <a:lnTo>
                      <a:pt x="1429" y="696"/>
                    </a:lnTo>
                    <a:lnTo>
                      <a:pt x="1429" y="700"/>
                    </a:lnTo>
                    <a:lnTo>
                      <a:pt x="1440" y="700"/>
                    </a:lnTo>
                    <a:lnTo>
                      <a:pt x="1435" y="719"/>
                    </a:lnTo>
                    <a:lnTo>
                      <a:pt x="1416" y="713"/>
                    </a:lnTo>
                    <a:lnTo>
                      <a:pt x="1403" y="707"/>
                    </a:lnTo>
                    <a:lnTo>
                      <a:pt x="1390" y="706"/>
                    </a:lnTo>
                    <a:lnTo>
                      <a:pt x="1386" y="702"/>
                    </a:lnTo>
                    <a:lnTo>
                      <a:pt x="1376" y="700"/>
                    </a:lnTo>
                    <a:lnTo>
                      <a:pt x="1361" y="711"/>
                    </a:lnTo>
                    <a:lnTo>
                      <a:pt x="1367" y="728"/>
                    </a:lnTo>
                    <a:lnTo>
                      <a:pt x="1369" y="728"/>
                    </a:lnTo>
                    <a:lnTo>
                      <a:pt x="1363" y="734"/>
                    </a:lnTo>
                    <a:lnTo>
                      <a:pt x="1341" y="734"/>
                    </a:lnTo>
                    <a:lnTo>
                      <a:pt x="1339" y="741"/>
                    </a:lnTo>
                    <a:lnTo>
                      <a:pt x="1326" y="756"/>
                    </a:lnTo>
                    <a:lnTo>
                      <a:pt x="1331" y="770"/>
                    </a:lnTo>
                    <a:lnTo>
                      <a:pt x="1322" y="775"/>
                    </a:lnTo>
                    <a:lnTo>
                      <a:pt x="1322" y="779"/>
                    </a:lnTo>
                    <a:lnTo>
                      <a:pt x="1327" y="785"/>
                    </a:lnTo>
                    <a:lnTo>
                      <a:pt x="1327" y="794"/>
                    </a:lnTo>
                    <a:lnTo>
                      <a:pt x="1318" y="805"/>
                    </a:lnTo>
                    <a:lnTo>
                      <a:pt x="1311" y="815"/>
                    </a:lnTo>
                    <a:lnTo>
                      <a:pt x="1307" y="828"/>
                    </a:lnTo>
                    <a:lnTo>
                      <a:pt x="1303" y="832"/>
                    </a:lnTo>
                    <a:lnTo>
                      <a:pt x="1301" y="836"/>
                    </a:lnTo>
                    <a:lnTo>
                      <a:pt x="1297" y="839"/>
                    </a:lnTo>
                    <a:lnTo>
                      <a:pt x="1297" y="841"/>
                    </a:lnTo>
                    <a:lnTo>
                      <a:pt x="1295" y="841"/>
                    </a:lnTo>
                    <a:lnTo>
                      <a:pt x="1294" y="847"/>
                    </a:lnTo>
                    <a:lnTo>
                      <a:pt x="1292" y="852"/>
                    </a:lnTo>
                    <a:lnTo>
                      <a:pt x="1284" y="866"/>
                    </a:lnTo>
                    <a:lnTo>
                      <a:pt x="1280" y="866"/>
                    </a:lnTo>
                    <a:lnTo>
                      <a:pt x="1280" y="871"/>
                    </a:lnTo>
                    <a:lnTo>
                      <a:pt x="1271" y="871"/>
                    </a:lnTo>
                    <a:lnTo>
                      <a:pt x="1271" y="883"/>
                    </a:lnTo>
                    <a:lnTo>
                      <a:pt x="1271" y="888"/>
                    </a:lnTo>
                    <a:lnTo>
                      <a:pt x="1271" y="892"/>
                    </a:lnTo>
                    <a:lnTo>
                      <a:pt x="1284" y="900"/>
                    </a:lnTo>
                    <a:lnTo>
                      <a:pt x="1280" y="900"/>
                    </a:lnTo>
                    <a:lnTo>
                      <a:pt x="1284" y="900"/>
                    </a:lnTo>
                    <a:lnTo>
                      <a:pt x="1295" y="900"/>
                    </a:lnTo>
                    <a:lnTo>
                      <a:pt x="1322" y="903"/>
                    </a:lnTo>
                    <a:lnTo>
                      <a:pt x="1331" y="901"/>
                    </a:lnTo>
                    <a:lnTo>
                      <a:pt x="1343" y="898"/>
                    </a:lnTo>
                    <a:lnTo>
                      <a:pt x="1356" y="894"/>
                    </a:lnTo>
                    <a:lnTo>
                      <a:pt x="1367" y="894"/>
                    </a:lnTo>
                    <a:lnTo>
                      <a:pt x="1373" y="890"/>
                    </a:lnTo>
                    <a:lnTo>
                      <a:pt x="1388" y="890"/>
                    </a:lnTo>
                    <a:lnTo>
                      <a:pt x="1414" y="890"/>
                    </a:lnTo>
                    <a:lnTo>
                      <a:pt x="1420" y="896"/>
                    </a:lnTo>
                    <a:lnTo>
                      <a:pt x="1420" y="898"/>
                    </a:lnTo>
                    <a:lnTo>
                      <a:pt x="1431" y="913"/>
                    </a:lnTo>
                    <a:lnTo>
                      <a:pt x="1429" y="907"/>
                    </a:lnTo>
                    <a:lnTo>
                      <a:pt x="1435" y="907"/>
                    </a:lnTo>
                    <a:lnTo>
                      <a:pt x="1438" y="907"/>
                    </a:lnTo>
                    <a:lnTo>
                      <a:pt x="1446" y="907"/>
                    </a:lnTo>
                    <a:lnTo>
                      <a:pt x="1457" y="909"/>
                    </a:lnTo>
                    <a:lnTo>
                      <a:pt x="1465" y="907"/>
                    </a:lnTo>
                    <a:lnTo>
                      <a:pt x="1467" y="909"/>
                    </a:lnTo>
                    <a:lnTo>
                      <a:pt x="1469" y="913"/>
                    </a:lnTo>
                    <a:lnTo>
                      <a:pt x="1470" y="913"/>
                    </a:lnTo>
                    <a:lnTo>
                      <a:pt x="1476" y="916"/>
                    </a:lnTo>
                    <a:lnTo>
                      <a:pt x="1478" y="916"/>
                    </a:lnTo>
                    <a:lnTo>
                      <a:pt x="1485" y="920"/>
                    </a:lnTo>
                    <a:lnTo>
                      <a:pt x="1493" y="924"/>
                    </a:lnTo>
                    <a:lnTo>
                      <a:pt x="1493" y="926"/>
                    </a:lnTo>
                    <a:lnTo>
                      <a:pt x="1491" y="933"/>
                    </a:lnTo>
                    <a:lnTo>
                      <a:pt x="1491" y="947"/>
                    </a:lnTo>
                    <a:lnTo>
                      <a:pt x="1497" y="947"/>
                    </a:lnTo>
                    <a:lnTo>
                      <a:pt x="1497" y="952"/>
                    </a:lnTo>
                    <a:lnTo>
                      <a:pt x="1510" y="964"/>
                    </a:lnTo>
                    <a:lnTo>
                      <a:pt x="1510" y="973"/>
                    </a:lnTo>
                    <a:lnTo>
                      <a:pt x="1510" y="977"/>
                    </a:lnTo>
                    <a:lnTo>
                      <a:pt x="1504" y="977"/>
                    </a:lnTo>
                    <a:lnTo>
                      <a:pt x="1499" y="977"/>
                    </a:lnTo>
                    <a:lnTo>
                      <a:pt x="1487" y="977"/>
                    </a:lnTo>
                    <a:lnTo>
                      <a:pt x="1480" y="971"/>
                    </a:lnTo>
                    <a:lnTo>
                      <a:pt x="1480" y="979"/>
                    </a:lnTo>
                    <a:lnTo>
                      <a:pt x="1476" y="980"/>
                    </a:lnTo>
                    <a:lnTo>
                      <a:pt x="1476" y="986"/>
                    </a:lnTo>
                    <a:lnTo>
                      <a:pt x="1472" y="988"/>
                    </a:lnTo>
                    <a:lnTo>
                      <a:pt x="1459" y="992"/>
                    </a:lnTo>
                    <a:lnTo>
                      <a:pt x="1453" y="992"/>
                    </a:lnTo>
                    <a:lnTo>
                      <a:pt x="1452" y="992"/>
                    </a:lnTo>
                    <a:lnTo>
                      <a:pt x="1450" y="999"/>
                    </a:lnTo>
                    <a:lnTo>
                      <a:pt x="1448" y="1003"/>
                    </a:lnTo>
                    <a:lnTo>
                      <a:pt x="1448" y="1005"/>
                    </a:lnTo>
                    <a:lnTo>
                      <a:pt x="1444" y="1009"/>
                    </a:lnTo>
                    <a:lnTo>
                      <a:pt x="1438" y="1014"/>
                    </a:lnTo>
                    <a:lnTo>
                      <a:pt x="1444" y="1014"/>
                    </a:lnTo>
                    <a:lnTo>
                      <a:pt x="1448" y="1016"/>
                    </a:lnTo>
                    <a:lnTo>
                      <a:pt x="1453" y="1018"/>
                    </a:lnTo>
                    <a:lnTo>
                      <a:pt x="1457" y="1020"/>
                    </a:lnTo>
                    <a:lnTo>
                      <a:pt x="1463" y="1020"/>
                    </a:lnTo>
                    <a:lnTo>
                      <a:pt x="1463" y="1014"/>
                    </a:lnTo>
                    <a:lnTo>
                      <a:pt x="1470" y="1012"/>
                    </a:lnTo>
                    <a:lnTo>
                      <a:pt x="1470" y="1011"/>
                    </a:lnTo>
                    <a:lnTo>
                      <a:pt x="1482" y="1014"/>
                    </a:lnTo>
                    <a:lnTo>
                      <a:pt x="1480" y="1016"/>
                    </a:lnTo>
                    <a:lnTo>
                      <a:pt x="1482" y="1026"/>
                    </a:lnTo>
                    <a:lnTo>
                      <a:pt x="1493" y="1028"/>
                    </a:lnTo>
                    <a:lnTo>
                      <a:pt x="1497" y="1029"/>
                    </a:lnTo>
                    <a:lnTo>
                      <a:pt x="1517" y="1037"/>
                    </a:lnTo>
                    <a:lnTo>
                      <a:pt x="1516" y="1037"/>
                    </a:lnTo>
                    <a:lnTo>
                      <a:pt x="1516" y="1039"/>
                    </a:lnTo>
                    <a:lnTo>
                      <a:pt x="1516" y="1041"/>
                    </a:lnTo>
                    <a:lnTo>
                      <a:pt x="1514" y="1041"/>
                    </a:lnTo>
                    <a:lnTo>
                      <a:pt x="1514" y="1043"/>
                    </a:lnTo>
                    <a:lnTo>
                      <a:pt x="1512" y="1043"/>
                    </a:lnTo>
                    <a:lnTo>
                      <a:pt x="1510" y="1043"/>
                    </a:lnTo>
                    <a:lnTo>
                      <a:pt x="1508" y="1043"/>
                    </a:lnTo>
                    <a:lnTo>
                      <a:pt x="1508" y="1044"/>
                    </a:lnTo>
                    <a:lnTo>
                      <a:pt x="1506" y="1044"/>
                    </a:lnTo>
                    <a:lnTo>
                      <a:pt x="1506" y="1043"/>
                    </a:lnTo>
                    <a:lnTo>
                      <a:pt x="1506" y="1044"/>
                    </a:lnTo>
                    <a:lnTo>
                      <a:pt x="1504" y="1044"/>
                    </a:lnTo>
                    <a:lnTo>
                      <a:pt x="1504" y="1046"/>
                    </a:lnTo>
                    <a:lnTo>
                      <a:pt x="1504" y="1048"/>
                    </a:lnTo>
                    <a:lnTo>
                      <a:pt x="1506" y="1048"/>
                    </a:lnTo>
                    <a:lnTo>
                      <a:pt x="1506" y="1050"/>
                    </a:lnTo>
                    <a:lnTo>
                      <a:pt x="1504" y="1050"/>
                    </a:lnTo>
                    <a:lnTo>
                      <a:pt x="1502" y="1050"/>
                    </a:lnTo>
                    <a:lnTo>
                      <a:pt x="1501" y="1052"/>
                    </a:lnTo>
                    <a:lnTo>
                      <a:pt x="1502" y="1052"/>
                    </a:lnTo>
                    <a:lnTo>
                      <a:pt x="1502" y="1054"/>
                    </a:lnTo>
                    <a:lnTo>
                      <a:pt x="1502" y="1056"/>
                    </a:lnTo>
                    <a:lnTo>
                      <a:pt x="1502" y="1058"/>
                    </a:lnTo>
                    <a:lnTo>
                      <a:pt x="1501" y="1058"/>
                    </a:lnTo>
                    <a:lnTo>
                      <a:pt x="1501" y="1060"/>
                    </a:lnTo>
                    <a:lnTo>
                      <a:pt x="1502" y="1060"/>
                    </a:lnTo>
                    <a:lnTo>
                      <a:pt x="1501" y="1060"/>
                    </a:lnTo>
                    <a:lnTo>
                      <a:pt x="1501" y="1061"/>
                    </a:lnTo>
                    <a:lnTo>
                      <a:pt x="1501" y="1063"/>
                    </a:lnTo>
                    <a:lnTo>
                      <a:pt x="1501" y="1065"/>
                    </a:lnTo>
                    <a:lnTo>
                      <a:pt x="1502" y="1065"/>
                    </a:lnTo>
                    <a:lnTo>
                      <a:pt x="1502" y="1067"/>
                    </a:lnTo>
                    <a:lnTo>
                      <a:pt x="1504" y="1067"/>
                    </a:lnTo>
                    <a:lnTo>
                      <a:pt x="1502" y="1067"/>
                    </a:lnTo>
                    <a:lnTo>
                      <a:pt x="1502" y="1069"/>
                    </a:lnTo>
                    <a:lnTo>
                      <a:pt x="1504" y="1069"/>
                    </a:lnTo>
                    <a:lnTo>
                      <a:pt x="1504" y="1071"/>
                    </a:lnTo>
                    <a:lnTo>
                      <a:pt x="1502" y="1071"/>
                    </a:lnTo>
                    <a:lnTo>
                      <a:pt x="1504" y="1071"/>
                    </a:lnTo>
                    <a:lnTo>
                      <a:pt x="1504" y="1073"/>
                    </a:lnTo>
                    <a:lnTo>
                      <a:pt x="1502" y="1073"/>
                    </a:lnTo>
                    <a:lnTo>
                      <a:pt x="1501" y="1073"/>
                    </a:lnTo>
                    <a:lnTo>
                      <a:pt x="1499" y="1073"/>
                    </a:lnTo>
                    <a:lnTo>
                      <a:pt x="1497" y="1073"/>
                    </a:lnTo>
                    <a:lnTo>
                      <a:pt x="1495" y="1073"/>
                    </a:lnTo>
                    <a:lnTo>
                      <a:pt x="1493" y="1073"/>
                    </a:lnTo>
                    <a:lnTo>
                      <a:pt x="1491" y="1073"/>
                    </a:lnTo>
                    <a:lnTo>
                      <a:pt x="1489" y="1073"/>
                    </a:lnTo>
                    <a:lnTo>
                      <a:pt x="1487" y="1073"/>
                    </a:lnTo>
                    <a:lnTo>
                      <a:pt x="1485" y="1073"/>
                    </a:lnTo>
                    <a:lnTo>
                      <a:pt x="1482" y="1073"/>
                    </a:lnTo>
                    <a:lnTo>
                      <a:pt x="1480" y="1073"/>
                    </a:lnTo>
                    <a:lnTo>
                      <a:pt x="1478" y="1075"/>
                    </a:lnTo>
                    <a:lnTo>
                      <a:pt x="1476" y="1075"/>
                    </a:lnTo>
                    <a:lnTo>
                      <a:pt x="1476" y="1076"/>
                    </a:lnTo>
                    <a:lnTo>
                      <a:pt x="1474" y="1076"/>
                    </a:lnTo>
                    <a:lnTo>
                      <a:pt x="1474" y="1078"/>
                    </a:lnTo>
                    <a:lnTo>
                      <a:pt x="1472" y="1078"/>
                    </a:lnTo>
                    <a:lnTo>
                      <a:pt x="1470" y="1078"/>
                    </a:lnTo>
                    <a:lnTo>
                      <a:pt x="1469" y="1078"/>
                    </a:lnTo>
                    <a:lnTo>
                      <a:pt x="1467" y="1078"/>
                    </a:lnTo>
                    <a:lnTo>
                      <a:pt x="1465" y="1078"/>
                    </a:lnTo>
                    <a:lnTo>
                      <a:pt x="1465" y="1080"/>
                    </a:lnTo>
                    <a:lnTo>
                      <a:pt x="1463" y="1078"/>
                    </a:lnTo>
                    <a:lnTo>
                      <a:pt x="1463" y="1080"/>
                    </a:lnTo>
                    <a:lnTo>
                      <a:pt x="1463" y="1078"/>
                    </a:lnTo>
                    <a:lnTo>
                      <a:pt x="1461" y="1078"/>
                    </a:lnTo>
                    <a:lnTo>
                      <a:pt x="1461" y="1080"/>
                    </a:lnTo>
                    <a:lnTo>
                      <a:pt x="1459" y="1080"/>
                    </a:lnTo>
                    <a:lnTo>
                      <a:pt x="1459" y="1078"/>
                    </a:lnTo>
                    <a:lnTo>
                      <a:pt x="1459" y="1080"/>
                    </a:lnTo>
                    <a:lnTo>
                      <a:pt x="1457" y="1080"/>
                    </a:lnTo>
                    <a:lnTo>
                      <a:pt x="1457" y="1078"/>
                    </a:lnTo>
                    <a:lnTo>
                      <a:pt x="1457" y="1080"/>
                    </a:lnTo>
                    <a:lnTo>
                      <a:pt x="1455" y="1080"/>
                    </a:lnTo>
                    <a:lnTo>
                      <a:pt x="1453" y="1080"/>
                    </a:lnTo>
                    <a:lnTo>
                      <a:pt x="1448" y="1082"/>
                    </a:lnTo>
                    <a:lnTo>
                      <a:pt x="1446" y="1084"/>
                    </a:lnTo>
                    <a:lnTo>
                      <a:pt x="1444" y="1084"/>
                    </a:lnTo>
                    <a:lnTo>
                      <a:pt x="1440" y="1088"/>
                    </a:lnTo>
                    <a:lnTo>
                      <a:pt x="1438" y="1090"/>
                    </a:lnTo>
                    <a:lnTo>
                      <a:pt x="1437" y="1090"/>
                    </a:lnTo>
                    <a:lnTo>
                      <a:pt x="1437" y="1092"/>
                    </a:lnTo>
                    <a:lnTo>
                      <a:pt x="1435" y="1093"/>
                    </a:lnTo>
                    <a:lnTo>
                      <a:pt x="1435" y="1095"/>
                    </a:lnTo>
                    <a:lnTo>
                      <a:pt x="1437" y="1095"/>
                    </a:lnTo>
                    <a:lnTo>
                      <a:pt x="1435" y="1095"/>
                    </a:lnTo>
                    <a:lnTo>
                      <a:pt x="1435" y="1097"/>
                    </a:lnTo>
                    <a:lnTo>
                      <a:pt x="1437" y="1097"/>
                    </a:lnTo>
                    <a:lnTo>
                      <a:pt x="1435" y="1097"/>
                    </a:lnTo>
                    <a:lnTo>
                      <a:pt x="1435" y="1099"/>
                    </a:lnTo>
                    <a:lnTo>
                      <a:pt x="1433" y="1103"/>
                    </a:lnTo>
                    <a:lnTo>
                      <a:pt x="1433" y="1105"/>
                    </a:lnTo>
                    <a:lnTo>
                      <a:pt x="1435" y="1108"/>
                    </a:lnTo>
                    <a:lnTo>
                      <a:pt x="1437" y="1108"/>
                    </a:lnTo>
                    <a:lnTo>
                      <a:pt x="1440" y="1110"/>
                    </a:lnTo>
                    <a:lnTo>
                      <a:pt x="1442" y="1110"/>
                    </a:lnTo>
                    <a:lnTo>
                      <a:pt x="1444" y="1112"/>
                    </a:lnTo>
                    <a:lnTo>
                      <a:pt x="1442" y="1112"/>
                    </a:lnTo>
                    <a:lnTo>
                      <a:pt x="1440" y="1112"/>
                    </a:lnTo>
                    <a:lnTo>
                      <a:pt x="1438" y="1112"/>
                    </a:lnTo>
                    <a:lnTo>
                      <a:pt x="1438" y="1110"/>
                    </a:lnTo>
                    <a:lnTo>
                      <a:pt x="1438" y="1112"/>
                    </a:lnTo>
                    <a:lnTo>
                      <a:pt x="1437" y="1112"/>
                    </a:lnTo>
                    <a:lnTo>
                      <a:pt x="1438" y="1112"/>
                    </a:lnTo>
                    <a:lnTo>
                      <a:pt x="1438" y="1110"/>
                    </a:lnTo>
                    <a:lnTo>
                      <a:pt x="1437" y="1110"/>
                    </a:lnTo>
                    <a:lnTo>
                      <a:pt x="1435" y="1110"/>
                    </a:lnTo>
                    <a:lnTo>
                      <a:pt x="1433" y="1110"/>
                    </a:lnTo>
                    <a:lnTo>
                      <a:pt x="1431" y="1110"/>
                    </a:lnTo>
                    <a:lnTo>
                      <a:pt x="1429" y="1110"/>
                    </a:lnTo>
                    <a:lnTo>
                      <a:pt x="1427" y="1110"/>
                    </a:lnTo>
                    <a:lnTo>
                      <a:pt x="1425" y="1110"/>
                    </a:lnTo>
                    <a:lnTo>
                      <a:pt x="1423" y="1110"/>
                    </a:lnTo>
                    <a:lnTo>
                      <a:pt x="1422" y="1110"/>
                    </a:lnTo>
                    <a:lnTo>
                      <a:pt x="1422" y="1108"/>
                    </a:lnTo>
                    <a:lnTo>
                      <a:pt x="1420" y="1108"/>
                    </a:lnTo>
                    <a:lnTo>
                      <a:pt x="1420" y="1110"/>
                    </a:lnTo>
                    <a:lnTo>
                      <a:pt x="1418" y="1110"/>
                    </a:lnTo>
                    <a:lnTo>
                      <a:pt x="1416" y="1110"/>
                    </a:lnTo>
                    <a:lnTo>
                      <a:pt x="1414" y="1110"/>
                    </a:lnTo>
                    <a:lnTo>
                      <a:pt x="1414" y="1108"/>
                    </a:lnTo>
                    <a:lnTo>
                      <a:pt x="1412" y="1108"/>
                    </a:lnTo>
                    <a:lnTo>
                      <a:pt x="1412" y="1110"/>
                    </a:lnTo>
                    <a:lnTo>
                      <a:pt x="1410" y="1110"/>
                    </a:lnTo>
                    <a:lnTo>
                      <a:pt x="1410" y="1108"/>
                    </a:lnTo>
                    <a:lnTo>
                      <a:pt x="1408" y="1108"/>
                    </a:lnTo>
                    <a:lnTo>
                      <a:pt x="1406" y="1108"/>
                    </a:lnTo>
                    <a:lnTo>
                      <a:pt x="1405" y="1107"/>
                    </a:lnTo>
                    <a:lnTo>
                      <a:pt x="1403" y="1107"/>
                    </a:lnTo>
                    <a:lnTo>
                      <a:pt x="1401" y="1107"/>
                    </a:lnTo>
                    <a:lnTo>
                      <a:pt x="1399" y="1107"/>
                    </a:lnTo>
                    <a:lnTo>
                      <a:pt x="1397" y="1107"/>
                    </a:lnTo>
                    <a:lnTo>
                      <a:pt x="1397" y="1105"/>
                    </a:lnTo>
                    <a:lnTo>
                      <a:pt x="1395" y="1105"/>
                    </a:lnTo>
                    <a:lnTo>
                      <a:pt x="1395" y="1107"/>
                    </a:lnTo>
                    <a:lnTo>
                      <a:pt x="1395" y="1105"/>
                    </a:lnTo>
                    <a:lnTo>
                      <a:pt x="1395" y="1107"/>
                    </a:lnTo>
                    <a:lnTo>
                      <a:pt x="1393" y="1107"/>
                    </a:lnTo>
                    <a:lnTo>
                      <a:pt x="1391" y="1107"/>
                    </a:lnTo>
                    <a:lnTo>
                      <a:pt x="1391" y="1105"/>
                    </a:lnTo>
                    <a:lnTo>
                      <a:pt x="1390" y="1105"/>
                    </a:lnTo>
                    <a:lnTo>
                      <a:pt x="1388" y="1105"/>
                    </a:lnTo>
                    <a:lnTo>
                      <a:pt x="1386" y="1105"/>
                    </a:lnTo>
                    <a:lnTo>
                      <a:pt x="1384" y="1105"/>
                    </a:lnTo>
                    <a:lnTo>
                      <a:pt x="1382" y="1105"/>
                    </a:lnTo>
                    <a:lnTo>
                      <a:pt x="1380" y="1105"/>
                    </a:lnTo>
                    <a:lnTo>
                      <a:pt x="1378" y="1105"/>
                    </a:lnTo>
                    <a:lnTo>
                      <a:pt x="1376" y="1105"/>
                    </a:lnTo>
                    <a:lnTo>
                      <a:pt x="1374" y="1105"/>
                    </a:lnTo>
                    <a:lnTo>
                      <a:pt x="1373" y="1105"/>
                    </a:lnTo>
                    <a:lnTo>
                      <a:pt x="1373" y="1103"/>
                    </a:lnTo>
                    <a:lnTo>
                      <a:pt x="1371" y="1103"/>
                    </a:lnTo>
                    <a:lnTo>
                      <a:pt x="1369" y="1103"/>
                    </a:lnTo>
                    <a:lnTo>
                      <a:pt x="1367" y="1103"/>
                    </a:lnTo>
                    <a:lnTo>
                      <a:pt x="1365" y="1103"/>
                    </a:lnTo>
                    <a:lnTo>
                      <a:pt x="1363" y="1103"/>
                    </a:lnTo>
                    <a:lnTo>
                      <a:pt x="1361" y="1103"/>
                    </a:lnTo>
                    <a:lnTo>
                      <a:pt x="1361" y="1105"/>
                    </a:lnTo>
                    <a:lnTo>
                      <a:pt x="1359" y="1105"/>
                    </a:lnTo>
                    <a:lnTo>
                      <a:pt x="1361" y="1105"/>
                    </a:lnTo>
                    <a:lnTo>
                      <a:pt x="1359" y="1105"/>
                    </a:lnTo>
                    <a:lnTo>
                      <a:pt x="1358" y="1105"/>
                    </a:lnTo>
                    <a:lnTo>
                      <a:pt x="1356" y="1105"/>
                    </a:lnTo>
                    <a:lnTo>
                      <a:pt x="1354" y="1103"/>
                    </a:lnTo>
                    <a:lnTo>
                      <a:pt x="1354" y="1105"/>
                    </a:lnTo>
                    <a:lnTo>
                      <a:pt x="1352" y="1105"/>
                    </a:lnTo>
                    <a:lnTo>
                      <a:pt x="1350" y="1105"/>
                    </a:lnTo>
                    <a:lnTo>
                      <a:pt x="1350" y="1103"/>
                    </a:lnTo>
                    <a:lnTo>
                      <a:pt x="1348" y="1103"/>
                    </a:lnTo>
                    <a:lnTo>
                      <a:pt x="1346" y="1103"/>
                    </a:lnTo>
                    <a:lnTo>
                      <a:pt x="1346" y="1101"/>
                    </a:lnTo>
                    <a:lnTo>
                      <a:pt x="1344" y="1101"/>
                    </a:lnTo>
                    <a:lnTo>
                      <a:pt x="1343" y="1101"/>
                    </a:lnTo>
                    <a:lnTo>
                      <a:pt x="1341" y="1101"/>
                    </a:lnTo>
                    <a:lnTo>
                      <a:pt x="1339" y="1101"/>
                    </a:lnTo>
                    <a:lnTo>
                      <a:pt x="1335" y="1101"/>
                    </a:lnTo>
                    <a:lnTo>
                      <a:pt x="1333" y="1103"/>
                    </a:lnTo>
                    <a:lnTo>
                      <a:pt x="1333" y="1105"/>
                    </a:lnTo>
                    <a:lnTo>
                      <a:pt x="1331" y="1105"/>
                    </a:lnTo>
                    <a:lnTo>
                      <a:pt x="1333" y="1105"/>
                    </a:lnTo>
                    <a:lnTo>
                      <a:pt x="1333" y="1107"/>
                    </a:lnTo>
                    <a:lnTo>
                      <a:pt x="1331" y="1107"/>
                    </a:lnTo>
                    <a:lnTo>
                      <a:pt x="1331" y="1105"/>
                    </a:lnTo>
                    <a:lnTo>
                      <a:pt x="1329" y="1105"/>
                    </a:lnTo>
                    <a:lnTo>
                      <a:pt x="1327" y="1105"/>
                    </a:lnTo>
                    <a:lnTo>
                      <a:pt x="1327" y="1103"/>
                    </a:lnTo>
                    <a:lnTo>
                      <a:pt x="1326" y="1103"/>
                    </a:lnTo>
                    <a:lnTo>
                      <a:pt x="1322" y="1101"/>
                    </a:lnTo>
                    <a:lnTo>
                      <a:pt x="1320" y="1099"/>
                    </a:lnTo>
                    <a:lnTo>
                      <a:pt x="1316" y="1099"/>
                    </a:lnTo>
                    <a:lnTo>
                      <a:pt x="1314" y="1097"/>
                    </a:lnTo>
                    <a:lnTo>
                      <a:pt x="1312" y="1097"/>
                    </a:lnTo>
                    <a:lnTo>
                      <a:pt x="1311" y="1097"/>
                    </a:lnTo>
                    <a:lnTo>
                      <a:pt x="1311" y="1095"/>
                    </a:lnTo>
                    <a:lnTo>
                      <a:pt x="1309" y="1095"/>
                    </a:lnTo>
                    <a:lnTo>
                      <a:pt x="1307" y="1095"/>
                    </a:lnTo>
                    <a:lnTo>
                      <a:pt x="1305" y="1095"/>
                    </a:lnTo>
                    <a:lnTo>
                      <a:pt x="1297" y="1093"/>
                    </a:lnTo>
                    <a:lnTo>
                      <a:pt x="1292" y="1092"/>
                    </a:lnTo>
                    <a:lnTo>
                      <a:pt x="1292" y="1090"/>
                    </a:lnTo>
                    <a:lnTo>
                      <a:pt x="1288" y="1090"/>
                    </a:lnTo>
                    <a:lnTo>
                      <a:pt x="1286" y="1088"/>
                    </a:lnTo>
                    <a:lnTo>
                      <a:pt x="1282" y="1088"/>
                    </a:lnTo>
                    <a:lnTo>
                      <a:pt x="1280" y="1086"/>
                    </a:lnTo>
                    <a:lnTo>
                      <a:pt x="1280" y="1088"/>
                    </a:lnTo>
                    <a:lnTo>
                      <a:pt x="1279" y="1088"/>
                    </a:lnTo>
                    <a:lnTo>
                      <a:pt x="1279" y="1090"/>
                    </a:lnTo>
                    <a:lnTo>
                      <a:pt x="1273" y="1088"/>
                    </a:lnTo>
                    <a:lnTo>
                      <a:pt x="1267" y="1086"/>
                    </a:lnTo>
                    <a:lnTo>
                      <a:pt x="1260" y="1084"/>
                    </a:lnTo>
                    <a:lnTo>
                      <a:pt x="1254" y="1080"/>
                    </a:lnTo>
                    <a:lnTo>
                      <a:pt x="1247" y="1080"/>
                    </a:lnTo>
                    <a:lnTo>
                      <a:pt x="1243" y="1078"/>
                    </a:lnTo>
                    <a:lnTo>
                      <a:pt x="1233" y="1078"/>
                    </a:lnTo>
                    <a:lnTo>
                      <a:pt x="1233" y="1076"/>
                    </a:lnTo>
                    <a:lnTo>
                      <a:pt x="1233" y="1078"/>
                    </a:lnTo>
                    <a:lnTo>
                      <a:pt x="1232" y="1076"/>
                    </a:lnTo>
                    <a:lnTo>
                      <a:pt x="1228" y="1076"/>
                    </a:lnTo>
                    <a:lnTo>
                      <a:pt x="1226" y="1076"/>
                    </a:lnTo>
                    <a:lnTo>
                      <a:pt x="1226" y="1078"/>
                    </a:lnTo>
                    <a:lnTo>
                      <a:pt x="1224" y="1080"/>
                    </a:lnTo>
                    <a:lnTo>
                      <a:pt x="1222" y="1080"/>
                    </a:lnTo>
                    <a:lnTo>
                      <a:pt x="1224" y="1080"/>
                    </a:lnTo>
                    <a:lnTo>
                      <a:pt x="1222" y="1082"/>
                    </a:lnTo>
                    <a:lnTo>
                      <a:pt x="1222" y="1084"/>
                    </a:lnTo>
                    <a:lnTo>
                      <a:pt x="1220" y="1084"/>
                    </a:lnTo>
                    <a:lnTo>
                      <a:pt x="1218" y="1084"/>
                    </a:lnTo>
                    <a:lnTo>
                      <a:pt x="1218" y="1086"/>
                    </a:lnTo>
                    <a:lnTo>
                      <a:pt x="1216" y="1086"/>
                    </a:lnTo>
                    <a:lnTo>
                      <a:pt x="1215" y="1086"/>
                    </a:lnTo>
                    <a:lnTo>
                      <a:pt x="1215" y="1088"/>
                    </a:lnTo>
                    <a:lnTo>
                      <a:pt x="1213" y="1088"/>
                    </a:lnTo>
                    <a:lnTo>
                      <a:pt x="1213" y="1090"/>
                    </a:lnTo>
                    <a:lnTo>
                      <a:pt x="1211" y="1090"/>
                    </a:lnTo>
                    <a:lnTo>
                      <a:pt x="1211" y="1092"/>
                    </a:lnTo>
                    <a:lnTo>
                      <a:pt x="1209" y="1092"/>
                    </a:lnTo>
                    <a:lnTo>
                      <a:pt x="1207" y="1092"/>
                    </a:lnTo>
                    <a:lnTo>
                      <a:pt x="1207" y="1093"/>
                    </a:lnTo>
                    <a:lnTo>
                      <a:pt x="1205" y="1093"/>
                    </a:lnTo>
                    <a:lnTo>
                      <a:pt x="1203" y="1093"/>
                    </a:lnTo>
                    <a:lnTo>
                      <a:pt x="1201" y="1093"/>
                    </a:lnTo>
                    <a:lnTo>
                      <a:pt x="1200" y="1093"/>
                    </a:lnTo>
                    <a:lnTo>
                      <a:pt x="1200" y="1095"/>
                    </a:lnTo>
                    <a:lnTo>
                      <a:pt x="1198" y="1095"/>
                    </a:lnTo>
                    <a:lnTo>
                      <a:pt x="1196" y="1095"/>
                    </a:lnTo>
                    <a:lnTo>
                      <a:pt x="1196" y="1097"/>
                    </a:lnTo>
                    <a:lnTo>
                      <a:pt x="1194" y="1095"/>
                    </a:lnTo>
                    <a:lnTo>
                      <a:pt x="1194" y="1097"/>
                    </a:lnTo>
                    <a:lnTo>
                      <a:pt x="1192" y="1097"/>
                    </a:lnTo>
                    <a:lnTo>
                      <a:pt x="1192" y="1095"/>
                    </a:lnTo>
                    <a:lnTo>
                      <a:pt x="1192" y="1097"/>
                    </a:lnTo>
                    <a:lnTo>
                      <a:pt x="1190" y="1097"/>
                    </a:lnTo>
                    <a:lnTo>
                      <a:pt x="1188" y="1095"/>
                    </a:lnTo>
                    <a:lnTo>
                      <a:pt x="1186" y="1095"/>
                    </a:lnTo>
                    <a:lnTo>
                      <a:pt x="1185" y="1095"/>
                    </a:lnTo>
                    <a:lnTo>
                      <a:pt x="1183" y="1095"/>
                    </a:lnTo>
                    <a:lnTo>
                      <a:pt x="1181" y="1097"/>
                    </a:lnTo>
                    <a:lnTo>
                      <a:pt x="1179" y="1097"/>
                    </a:lnTo>
                    <a:lnTo>
                      <a:pt x="1177" y="1097"/>
                    </a:lnTo>
                    <a:lnTo>
                      <a:pt x="1175" y="1097"/>
                    </a:lnTo>
                    <a:lnTo>
                      <a:pt x="1175" y="1095"/>
                    </a:lnTo>
                    <a:lnTo>
                      <a:pt x="1173" y="1095"/>
                    </a:lnTo>
                    <a:lnTo>
                      <a:pt x="1171" y="1095"/>
                    </a:lnTo>
                    <a:lnTo>
                      <a:pt x="1169" y="1095"/>
                    </a:lnTo>
                    <a:lnTo>
                      <a:pt x="1168" y="1095"/>
                    </a:lnTo>
                    <a:lnTo>
                      <a:pt x="1162" y="1093"/>
                    </a:lnTo>
                    <a:lnTo>
                      <a:pt x="1153" y="1095"/>
                    </a:lnTo>
                    <a:lnTo>
                      <a:pt x="1151" y="1095"/>
                    </a:lnTo>
                    <a:lnTo>
                      <a:pt x="1147" y="1095"/>
                    </a:lnTo>
                    <a:lnTo>
                      <a:pt x="1145" y="1095"/>
                    </a:lnTo>
                    <a:lnTo>
                      <a:pt x="1139" y="1097"/>
                    </a:lnTo>
                    <a:lnTo>
                      <a:pt x="1134" y="1099"/>
                    </a:lnTo>
                    <a:lnTo>
                      <a:pt x="1124" y="1105"/>
                    </a:lnTo>
                    <a:lnTo>
                      <a:pt x="1122" y="1107"/>
                    </a:lnTo>
                    <a:lnTo>
                      <a:pt x="1121" y="1107"/>
                    </a:lnTo>
                    <a:lnTo>
                      <a:pt x="1121" y="1108"/>
                    </a:lnTo>
                    <a:lnTo>
                      <a:pt x="1119" y="1110"/>
                    </a:lnTo>
                    <a:lnTo>
                      <a:pt x="1115" y="1114"/>
                    </a:lnTo>
                    <a:lnTo>
                      <a:pt x="1111" y="1122"/>
                    </a:lnTo>
                    <a:lnTo>
                      <a:pt x="1111" y="1124"/>
                    </a:lnTo>
                    <a:lnTo>
                      <a:pt x="1111" y="1127"/>
                    </a:lnTo>
                    <a:lnTo>
                      <a:pt x="1111" y="1129"/>
                    </a:lnTo>
                    <a:lnTo>
                      <a:pt x="1113" y="1129"/>
                    </a:lnTo>
                    <a:lnTo>
                      <a:pt x="1115" y="1129"/>
                    </a:lnTo>
                    <a:lnTo>
                      <a:pt x="1115" y="1131"/>
                    </a:lnTo>
                    <a:lnTo>
                      <a:pt x="1117" y="1131"/>
                    </a:lnTo>
                    <a:lnTo>
                      <a:pt x="1119" y="1133"/>
                    </a:lnTo>
                    <a:lnTo>
                      <a:pt x="1121" y="1133"/>
                    </a:lnTo>
                    <a:lnTo>
                      <a:pt x="1121" y="1135"/>
                    </a:lnTo>
                    <a:lnTo>
                      <a:pt x="1121" y="1133"/>
                    </a:lnTo>
                    <a:lnTo>
                      <a:pt x="1121" y="1135"/>
                    </a:lnTo>
                    <a:lnTo>
                      <a:pt x="1121" y="1133"/>
                    </a:lnTo>
                    <a:lnTo>
                      <a:pt x="1122" y="1133"/>
                    </a:lnTo>
                    <a:lnTo>
                      <a:pt x="1122" y="1135"/>
                    </a:lnTo>
                    <a:lnTo>
                      <a:pt x="1124" y="1135"/>
                    </a:lnTo>
                    <a:lnTo>
                      <a:pt x="1124" y="1137"/>
                    </a:lnTo>
                    <a:lnTo>
                      <a:pt x="1122" y="1137"/>
                    </a:lnTo>
                    <a:lnTo>
                      <a:pt x="1122" y="1139"/>
                    </a:lnTo>
                    <a:lnTo>
                      <a:pt x="1121" y="1139"/>
                    </a:lnTo>
                    <a:lnTo>
                      <a:pt x="1119" y="1139"/>
                    </a:lnTo>
                    <a:lnTo>
                      <a:pt x="1117" y="1139"/>
                    </a:lnTo>
                    <a:lnTo>
                      <a:pt x="1117" y="1140"/>
                    </a:lnTo>
                    <a:lnTo>
                      <a:pt x="1115" y="1140"/>
                    </a:lnTo>
                    <a:lnTo>
                      <a:pt x="1113" y="1140"/>
                    </a:lnTo>
                    <a:lnTo>
                      <a:pt x="1111" y="1140"/>
                    </a:lnTo>
                    <a:lnTo>
                      <a:pt x="1109" y="1140"/>
                    </a:lnTo>
                    <a:lnTo>
                      <a:pt x="1109" y="1142"/>
                    </a:lnTo>
                    <a:lnTo>
                      <a:pt x="1109" y="1140"/>
                    </a:lnTo>
                    <a:lnTo>
                      <a:pt x="1107" y="1140"/>
                    </a:lnTo>
                    <a:lnTo>
                      <a:pt x="1107" y="1142"/>
                    </a:lnTo>
                    <a:lnTo>
                      <a:pt x="1106" y="1142"/>
                    </a:lnTo>
                    <a:lnTo>
                      <a:pt x="1104" y="1142"/>
                    </a:lnTo>
                    <a:lnTo>
                      <a:pt x="1102" y="1142"/>
                    </a:lnTo>
                    <a:lnTo>
                      <a:pt x="1100" y="1142"/>
                    </a:lnTo>
                    <a:lnTo>
                      <a:pt x="1098" y="1142"/>
                    </a:lnTo>
                    <a:lnTo>
                      <a:pt x="1094" y="1142"/>
                    </a:lnTo>
                    <a:lnTo>
                      <a:pt x="1087" y="1142"/>
                    </a:lnTo>
                    <a:lnTo>
                      <a:pt x="1085" y="1144"/>
                    </a:lnTo>
                    <a:lnTo>
                      <a:pt x="1083" y="1144"/>
                    </a:lnTo>
                    <a:lnTo>
                      <a:pt x="1079" y="1146"/>
                    </a:lnTo>
                    <a:lnTo>
                      <a:pt x="1074" y="1148"/>
                    </a:lnTo>
                    <a:lnTo>
                      <a:pt x="1072" y="1150"/>
                    </a:lnTo>
                    <a:lnTo>
                      <a:pt x="1068" y="1152"/>
                    </a:lnTo>
                    <a:lnTo>
                      <a:pt x="1064" y="1156"/>
                    </a:lnTo>
                    <a:lnTo>
                      <a:pt x="1062" y="1159"/>
                    </a:lnTo>
                    <a:lnTo>
                      <a:pt x="1060" y="1161"/>
                    </a:lnTo>
                    <a:lnTo>
                      <a:pt x="1060" y="1163"/>
                    </a:lnTo>
                    <a:lnTo>
                      <a:pt x="1060" y="1165"/>
                    </a:lnTo>
                    <a:lnTo>
                      <a:pt x="1060" y="1167"/>
                    </a:lnTo>
                    <a:lnTo>
                      <a:pt x="1060" y="1169"/>
                    </a:lnTo>
                    <a:lnTo>
                      <a:pt x="1062" y="1169"/>
                    </a:lnTo>
                    <a:lnTo>
                      <a:pt x="1064" y="1169"/>
                    </a:lnTo>
                    <a:lnTo>
                      <a:pt x="1066" y="1169"/>
                    </a:lnTo>
                    <a:lnTo>
                      <a:pt x="1068" y="1171"/>
                    </a:lnTo>
                    <a:lnTo>
                      <a:pt x="1066" y="1171"/>
                    </a:lnTo>
                    <a:lnTo>
                      <a:pt x="1068" y="1171"/>
                    </a:lnTo>
                    <a:lnTo>
                      <a:pt x="1070" y="1171"/>
                    </a:lnTo>
                    <a:lnTo>
                      <a:pt x="1068" y="1173"/>
                    </a:lnTo>
                    <a:lnTo>
                      <a:pt x="1068" y="1171"/>
                    </a:lnTo>
                    <a:lnTo>
                      <a:pt x="1068" y="1173"/>
                    </a:lnTo>
                    <a:lnTo>
                      <a:pt x="1066" y="1173"/>
                    </a:lnTo>
                    <a:lnTo>
                      <a:pt x="1064" y="1173"/>
                    </a:lnTo>
                    <a:lnTo>
                      <a:pt x="1062" y="1174"/>
                    </a:lnTo>
                    <a:lnTo>
                      <a:pt x="1060" y="1176"/>
                    </a:lnTo>
                    <a:lnTo>
                      <a:pt x="1058" y="1178"/>
                    </a:lnTo>
                    <a:lnTo>
                      <a:pt x="1058" y="1180"/>
                    </a:lnTo>
                    <a:lnTo>
                      <a:pt x="1058" y="1182"/>
                    </a:lnTo>
                    <a:lnTo>
                      <a:pt x="1060" y="1182"/>
                    </a:lnTo>
                    <a:lnTo>
                      <a:pt x="1060" y="1184"/>
                    </a:lnTo>
                    <a:lnTo>
                      <a:pt x="1058" y="1184"/>
                    </a:lnTo>
                    <a:lnTo>
                      <a:pt x="1058" y="1186"/>
                    </a:lnTo>
                    <a:lnTo>
                      <a:pt x="1057" y="1186"/>
                    </a:lnTo>
                    <a:lnTo>
                      <a:pt x="1057" y="1184"/>
                    </a:lnTo>
                    <a:lnTo>
                      <a:pt x="1055" y="1186"/>
                    </a:lnTo>
                    <a:lnTo>
                      <a:pt x="1055" y="1184"/>
                    </a:lnTo>
                    <a:lnTo>
                      <a:pt x="1055" y="1186"/>
                    </a:lnTo>
                    <a:lnTo>
                      <a:pt x="1053" y="1186"/>
                    </a:lnTo>
                    <a:lnTo>
                      <a:pt x="1053" y="1188"/>
                    </a:lnTo>
                    <a:lnTo>
                      <a:pt x="1051" y="1189"/>
                    </a:lnTo>
                    <a:lnTo>
                      <a:pt x="1051" y="1191"/>
                    </a:lnTo>
                    <a:lnTo>
                      <a:pt x="1049" y="1191"/>
                    </a:lnTo>
                    <a:lnTo>
                      <a:pt x="1047" y="1191"/>
                    </a:lnTo>
                    <a:lnTo>
                      <a:pt x="1045" y="1191"/>
                    </a:lnTo>
                    <a:lnTo>
                      <a:pt x="1045" y="1193"/>
                    </a:lnTo>
                    <a:lnTo>
                      <a:pt x="1043" y="1193"/>
                    </a:lnTo>
                    <a:lnTo>
                      <a:pt x="1042" y="1193"/>
                    </a:lnTo>
                    <a:lnTo>
                      <a:pt x="1042" y="1195"/>
                    </a:lnTo>
                    <a:lnTo>
                      <a:pt x="1040" y="1195"/>
                    </a:lnTo>
                    <a:lnTo>
                      <a:pt x="1038" y="1195"/>
                    </a:lnTo>
                    <a:lnTo>
                      <a:pt x="1036" y="1195"/>
                    </a:lnTo>
                    <a:lnTo>
                      <a:pt x="1034" y="1195"/>
                    </a:lnTo>
                    <a:lnTo>
                      <a:pt x="1034" y="1197"/>
                    </a:lnTo>
                    <a:lnTo>
                      <a:pt x="1032" y="1197"/>
                    </a:lnTo>
                    <a:lnTo>
                      <a:pt x="1030" y="1197"/>
                    </a:lnTo>
                    <a:lnTo>
                      <a:pt x="1028" y="1197"/>
                    </a:lnTo>
                    <a:lnTo>
                      <a:pt x="1027" y="1197"/>
                    </a:lnTo>
                    <a:lnTo>
                      <a:pt x="1025" y="1197"/>
                    </a:lnTo>
                    <a:lnTo>
                      <a:pt x="1023" y="1197"/>
                    </a:lnTo>
                    <a:lnTo>
                      <a:pt x="1021" y="1197"/>
                    </a:lnTo>
                    <a:lnTo>
                      <a:pt x="1021" y="1199"/>
                    </a:lnTo>
                    <a:lnTo>
                      <a:pt x="1017" y="1197"/>
                    </a:lnTo>
                    <a:lnTo>
                      <a:pt x="1017" y="1199"/>
                    </a:lnTo>
                    <a:lnTo>
                      <a:pt x="1015" y="1199"/>
                    </a:lnTo>
                    <a:lnTo>
                      <a:pt x="1015" y="1201"/>
                    </a:lnTo>
                    <a:lnTo>
                      <a:pt x="1013" y="1201"/>
                    </a:lnTo>
                    <a:lnTo>
                      <a:pt x="1011" y="1201"/>
                    </a:lnTo>
                    <a:lnTo>
                      <a:pt x="1010" y="1201"/>
                    </a:lnTo>
                    <a:lnTo>
                      <a:pt x="1008" y="1201"/>
                    </a:lnTo>
                    <a:lnTo>
                      <a:pt x="1006" y="1201"/>
                    </a:lnTo>
                    <a:lnTo>
                      <a:pt x="1004" y="1201"/>
                    </a:lnTo>
                    <a:lnTo>
                      <a:pt x="1004" y="1199"/>
                    </a:lnTo>
                    <a:lnTo>
                      <a:pt x="1002" y="1199"/>
                    </a:lnTo>
                    <a:lnTo>
                      <a:pt x="1000" y="1199"/>
                    </a:lnTo>
                    <a:lnTo>
                      <a:pt x="998" y="1199"/>
                    </a:lnTo>
                    <a:lnTo>
                      <a:pt x="998" y="1197"/>
                    </a:lnTo>
                    <a:lnTo>
                      <a:pt x="996" y="1199"/>
                    </a:lnTo>
                    <a:lnTo>
                      <a:pt x="996" y="1197"/>
                    </a:lnTo>
                    <a:lnTo>
                      <a:pt x="995" y="1197"/>
                    </a:lnTo>
                    <a:lnTo>
                      <a:pt x="993" y="1197"/>
                    </a:lnTo>
                    <a:lnTo>
                      <a:pt x="991" y="1197"/>
                    </a:lnTo>
                    <a:lnTo>
                      <a:pt x="989" y="1197"/>
                    </a:lnTo>
                    <a:lnTo>
                      <a:pt x="989" y="1195"/>
                    </a:lnTo>
                    <a:lnTo>
                      <a:pt x="987" y="1195"/>
                    </a:lnTo>
                    <a:lnTo>
                      <a:pt x="983" y="1193"/>
                    </a:lnTo>
                    <a:lnTo>
                      <a:pt x="979" y="1191"/>
                    </a:lnTo>
                    <a:lnTo>
                      <a:pt x="978" y="1191"/>
                    </a:lnTo>
                    <a:lnTo>
                      <a:pt x="976" y="1191"/>
                    </a:lnTo>
                    <a:lnTo>
                      <a:pt x="974" y="1191"/>
                    </a:lnTo>
                    <a:lnTo>
                      <a:pt x="972" y="1189"/>
                    </a:lnTo>
                    <a:lnTo>
                      <a:pt x="968" y="1189"/>
                    </a:lnTo>
                    <a:lnTo>
                      <a:pt x="966" y="1189"/>
                    </a:lnTo>
                    <a:lnTo>
                      <a:pt x="964" y="1189"/>
                    </a:lnTo>
                    <a:lnTo>
                      <a:pt x="964" y="1188"/>
                    </a:lnTo>
                    <a:lnTo>
                      <a:pt x="963" y="1189"/>
                    </a:lnTo>
                    <a:lnTo>
                      <a:pt x="961" y="1189"/>
                    </a:lnTo>
                    <a:lnTo>
                      <a:pt x="959" y="1189"/>
                    </a:lnTo>
                    <a:lnTo>
                      <a:pt x="957" y="1189"/>
                    </a:lnTo>
                    <a:lnTo>
                      <a:pt x="955" y="1189"/>
                    </a:lnTo>
                    <a:lnTo>
                      <a:pt x="955" y="1191"/>
                    </a:lnTo>
                    <a:lnTo>
                      <a:pt x="953" y="1191"/>
                    </a:lnTo>
                    <a:lnTo>
                      <a:pt x="951" y="1191"/>
                    </a:lnTo>
                    <a:lnTo>
                      <a:pt x="949" y="1191"/>
                    </a:lnTo>
                    <a:lnTo>
                      <a:pt x="948" y="1191"/>
                    </a:lnTo>
                    <a:lnTo>
                      <a:pt x="946" y="1191"/>
                    </a:lnTo>
                    <a:lnTo>
                      <a:pt x="944" y="1191"/>
                    </a:lnTo>
                    <a:lnTo>
                      <a:pt x="938" y="1193"/>
                    </a:lnTo>
                    <a:lnTo>
                      <a:pt x="936" y="1193"/>
                    </a:lnTo>
                    <a:lnTo>
                      <a:pt x="936" y="1195"/>
                    </a:lnTo>
                    <a:lnTo>
                      <a:pt x="936" y="1197"/>
                    </a:lnTo>
                    <a:lnTo>
                      <a:pt x="936" y="1199"/>
                    </a:lnTo>
                    <a:lnTo>
                      <a:pt x="938" y="1199"/>
                    </a:lnTo>
                    <a:lnTo>
                      <a:pt x="938" y="1201"/>
                    </a:lnTo>
                    <a:lnTo>
                      <a:pt x="936" y="1201"/>
                    </a:lnTo>
                    <a:lnTo>
                      <a:pt x="936" y="1199"/>
                    </a:lnTo>
                    <a:lnTo>
                      <a:pt x="934" y="1199"/>
                    </a:lnTo>
                    <a:lnTo>
                      <a:pt x="934" y="1201"/>
                    </a:lnTo>
                    <a:lnTo>
                      <a:pt x="932" y="1201"/>
                    </a:lnTo>
                    <a:lnTo>
                      <a:pt x="932" y="1203"/>
                    </a:lnTo>
                    <a:lnTo>
                      <a:pt x="931" y="1203"/>
                    </a:lnTo>
                    <a:lnTo>
                      <a:pt x="931" y="1205"/>
                    </a:lnTo>
                    <a:lnTo>
                      <a:pt x="929" y="1205"/>
                    </a:lnTo>
                    <a:lnTo>
                      <a:pt x="927" y="1205"/>
                    </a:lnTo>
                    <a:lnTo>
                      <a:pt x="925" y="1205"/>
                    </a:lnTo>
                    <a:lnTo>
                      <a:pt x="925" y="1206"/>
                    </a:lnTo>
                    <a:lnTo>
                      <a:pt x="923" y="1206"/>
                    </a:lnTo>
                    <a:lnTo>
                      <a:pt x="923" y="1208"/>
                    </a:lnTo>
                    <a:lnTo>
                      <a:pt x="923" y="1210"/>
                    </a:lnTo>
                    <a:lnTo>
                      <a:pt x="921" y="1208"/>
                    </a:lnTo>
                    <a:lnTo>
                      <a:pt x="919" y="1208"/>
                    </a:lnTo>
                    <a:lnTo>
                      <a:pt x="917" y="1208"/>
                    </a:lnTo>
                    <a:lnTo>
                      <a:pt x="916" y="1210"/>
                    </a:lnTo>
                    <a:lnTo>
                      <a:pt x="914" y="1210"/>
                    </a:lnTo>
                    <a:lnTo>
                      <a:pt x="914" y="1212"/>
                    </a:lnTo>
                    <a:lnTo>
                      <a:pt x="912" y="1212"/>
                    </a:lnTo>
                    <a:lnTo>
                      <a:pt x="910" y="1212"/>
                    </a:lnTo>
                    <a:lnTo>
                      <a:pt x="908" y="1212"/>
                    </a:lnTo>
                    <a:lnTo>
                      <a:pt x="908" y="1214"/>
                    </a:lnTo>
                    <a:lnTo>
                      <a:pt x="906" y="1214"/>
                    </a:lnTo>
                    <a:lnTo>
                      <a:pt x="904" y="1214"/>
                    </a:lnTo>
                    <a:lnTo>
                      <a:pt x="902" y="1214"/>
                    </a:lnTo>
                    <a:lnTo>
                      <a:pt x="900" y="1214"/>
                    </a:lnTo>
                    <a:lnTo>
                      <a:pt x="899" y="1212"/>
                    </a:lnTo>
                    <a:lnTo>
                      <a:pt x="897" y="1212"/>
                    </a:lnTo>
                    <a:lnTo>
                      <a:pt x="895" y="1210"/>
                    </a:lnTo>
                    <a:lnTo>
                      <a:pt x="893" y="1210"/>
                    </a:lnTo>
                    <a:lnTo>
                      <a:pt x="891" y="1208"/>
                    </a:lnTo>
                    <a:lnTo>
                      <a:pt x="889" y="1208"/>
                    </a:lnTo>
                    <a:lnTo>
                      <a:pt x="887" y="1208"/>
                    </a:lnTo>
                    <a:lnTo>
                      <a:pt x="887" y="1206"/>
                    </a:lnTo>
                    <a:lnTo>
                      <a:pt x="885" y="1206"/>
                    </a:lnTo>
                    <a:lnTo>
                      <a:pt x="885" y="1208"/>
                    </a:lnTo>
                    <a:lnTo>
                      <a:pt x="885" y="1206"/>
                    </a:lnTo>
                    <a:lnTo>
                      <a:pt x="884" y="1206"/>
                    </a:lnTo>
                    <a:lnTo>
                      <a:pt x="882" y="1206"/>
                    </a:lnTo>
                    <a:lnTo>
                      <a:pt x="882" y="1205"/>
                    </a:lnTo>
                    <a:lnTo>
                      <a:pt x="882" y="1206"/>
                    </a:lnTo>
                    <a:lnTo>
                      <a:pt x="882" y="1205"/>
                    </a:lnTo>
                    <a:lnTo>
                      <a:pt x="880" y="1205"/>
                    </a:lnTo>
                    <a:lnTo>
                      <a:pt x="874" y="1201"/>
                    </a:lnTo>
                    <a:lnTo>
                      <a:pt x="869" y="1199"/>
                    </a:lnTo>
                    <a:lnTo>
                      <a:pt x="861" y="1197"/>
                    </a:lnTo>
                    <a:lnTo>
                      <a:pt x="859" y="1197"/>
                    </a:lnTo>
                    <a:lnTo>
                      <a:pt x="857" y="1197"/>
                    </a:lnTo>
                    <a:lnTo>
                      <a:pt x="857" y="1195"/>
                    </a:lnTo>
                    <a:lnTo>
                      <a:pt x="853" y="1195"/>
                    </a:lnTo>
                    <a:lnTo>
                      <a:pt x="850" y="1195"/>
                    </a:lnTo>
                    <a:lnTo>
                      <a:pt x="844" y="1193"/>
                    </a:lnTo>
                    <a:lnTo>
                      <a:pt x="842" y="1193"/>
                    </a:lnTo>
                    <a:lnTo>
                      <a:pt x="840" y="1193"/>
                    </a:lnTo>
                    <a:lnTo>
                      <a:pt x="838" y="1193"/>
                    </a:lnTo>
                    <a:lnTo>
                      <a:pt x="837" y="1193"/>
                    </a:lnTo>
                    <a:lnTo>
                      <a:pt x="833" y="1191"/>
                    </a:lnTo>
                    <a:lnTo>
                      <a:pt x="831" y="1191"/>
                    </a:lnTo>
                    <a:lnTo>
                      <a:pt x="829" y="1191"/>
                    </a:lnTo>
                    <a:lnTo>
                      <a:pt x="827" y="1191"/>
                    </a:lnTo>
                    <a:lnTo>
                      <a:pt x="825" y="1191"/>
                    </a:lnTo>
                    <a:lnTo>
                      <a:pt x="823" y="1191"/>
                    </a:lnTo>
                    <a:lnTo>
                      <a:pt x="821" y="1191"/>
                    </a:lnTo>
                    <a:lnTo>
                      <a:pt x="820" y="1191"/>
                    </a:lnTo>
                    <a:lnTo>
                      <a:pt x="818" y="1191"/>
                    </a:lnTo>
                    <a:lnTo>
                      <a:pt x="816" y="1191"/>
                    </a:lnTo>
                    <a:lnTo>
                      <a:pt x="814" y="1191"/>
                    </a:lnTo>
                    <a:lnTo>
                      <a:pt x="812" y="1191"/>
                    </a:lnTo>
                    <a:lnTo>
                      <a:pt x="810" y="1191"/>
                    </a:lnTo>
                    <a:lnTo>
                      <a:pt x="808" y="1191"/>
                    </a:lnTo>
                    <a:lnTo>
                      <a:pt x="806" y="1193"/>
                    </a:lnTo>
                    <a:lnTo>
                      <a:pt x="801" y="1195"/>
                    </a:lnTo>
                    <a:lnTo>
                      <a:pt x="797" y="1197"/>
                    </a:lnTo>
                    <a:lnTo>
                      <a:pt x="793" y="1199"/>
                    </a:lnTo>
                    <a:lnTo>
                      <a:pt x="791" y="1201"/>
                    </a:lnTo>
                    <a:lnTo>
                      <a:pt x="790" y="1201"/>
                    </a:lnTo>
                    <a:lnTo>
                      <a:pt x="790" y="1203"/>
                    </a:lnTo>
                    <a:lnTo>
                      <a:pt x="790" y="1205"/>
                    </a:lnTo>
                    <a:lnTo>
                      <a:pt x="790" y="1206"/>
                    </a:lnTo>
                    <a:lnTo>
                      <a:pt x="790" y="1208"/>
                    </a:lnTo>
                    <a:lnTo>
                      <a:pt x="791" y="1208"/>
                    </a:lnTo>
                    <a:lnTo>
                      <a:pt x="791" y="1210"/>
                    </a:lnTo>
                    <a:lnTo>
                      <a:pt x="793" y="1210"/>
                    </a:lnTo>
                    <a:lnTo>
                      <a:pt x="793" y="1212"/>
                    </a:lnTo>
                    <a:lnTo>
                      <a:pt x="793" y="1214"/>
                    </a:lnTo>
                    <a:lnTo>
                      <a:pt x="795" y="1214"/>
                    </a:lnTo>
                    <a:lnTo>
                      <a:pt x="795" y="1216"/>
                    </a:lnTo>
                    <a:lnTo>
                      <a:pt x="795" y="1218"/>
                    </a:lnTo>
                    <a:lnTo>
                      <a:pt x="793" y="1218"/>
                    </a:lnTo>
                    <a:lnTo>
                      <a:pt x="795" y="1218"/>
                    </a:lnTo>
                    <a:lnTo>
                      <a:pt x="793" y="1218"/>
                    </a:lnTo>
                    <a:lnTo>
                      <a:pt x="793" y="1220"/>
                    </a:lnTo>
                    <a:lnTo>
                      <a:pt x="793" y="1221"/>
                    </a:lnTo>
                    <a:lnTo>
                      <a:pt x="795" y="1221"/>
                    </a:lnTo>
                    <a:lnTo>
                      <a:pt x="793" y="1221"/>
                    </a:lnTo>
                    <a:lnTo>
                      <a:pt x="793" y="1223"/>
                    </a:lnTo>
                    <a:lnTo>
                      <a:pt x="793" y="1221"/>
                    </a:lnTo>
                    <a:lnTo>
                      <a:pt x="791" y="1221"/>
                    </a:lnTo>
                    <a:lnTo>
                      <a:pt x="790" y="1223"/>
                    </a:lnTo>
                    <a:lnTo>
                      <a:pt x="790" y="1225"/>
                    </a:lnTo>
                    <a:lnTo>
                      <a:pt x="788" y="1225"/>
                    </a:lnTo>
                    <a:lnTo>
                      <a:pt x="786" y="1223"/>
                    </a:lnTo>
                    <a:lnTo>
                      <a:pt x="784" y="1223"/>
                    </a:lnTo>
                    <a:lnTo>
                      <a:pt x="782" y="1223"/>
                    </a:lnTo>
                    <a:lnTo>
                      <a:pt x="782" y="1225"/>
                    </a:lnTo>
                    <a:lnTo>
                      <a:pt x="782" y="1223"/>
                    </a:lnTo>
                    <a:lnTo>
                      <a:pt x="780" y="1223"/>
                    </a:lnTo>
                    <a:lnTo>
                      <a:pt x="778" y="1223"/>
                    </a:lnTo>
                    <a:lnTo>
                      <a:pt x="776" y="1223"/>
                    </a:lnTo>
                    <a:lnTo>
                      <a:pt x="774" y="1221"/>
                    </a:lnTo>
                    <a:lnTo>
                      <a:pt x="773" y="1221"/>
                    </a:lnTo>
                    <a:lnTo>
                      <a:pt x="771" y="1221"/>
                    </a:lnTo>
                    <a:lnTo>
                      <a:pt x="769" y="1221"/>
                    </a:lnTo>
                    <a:lnTo>
                      <a:pt x="767" y="1220"/>
                    </a:lnTo>
                    <a:lnTo>
                      <a:pt x="765" y="1220"/>
                    </a:lnTo>
                    <a:lnTo>
                      <a:pt x="763" y="1220"/>
                    </a:lnTo>
                    <a:lnTo>
                      <a:pt x="761" y="1220"/>
                    </a:lnTo>
                    <a:lnTo>
                      <a:pt x="759" y="1220"/>
                    </a:lnTo>
                    <a:lnTo>
                      <a:pt x="759" y="1218"/>
                    </a:lnTo>
                    <a:lnTo>
                      <a:pt x="758" y="1218"/>
                    </a:lnTo>
                    <a:lnTo>
                      <a:pt x="758" y="1220"/>
                    </a:lnTo>
                    <a:lnTo>
                      <a:pt x="756" y="1220"/>
                    </a:lnTo>
                    <a:lnTo>
                      <a:pt x="756" y="1218"/>
                    </a:lnTo>
                    <a:lnTo>
                      <a:pt x="754" y="1218"/>
                    </a:lnTo>
                    <a:lnTo>
                      <a:pt x="754" y="1220"/>
                    </a:lnTo>
                    <a:lnTo>
                      <a:pt x="754" y="1218"/>
                    </a:lnTo>
                    <a:lnTo>
                      <a:pt x="752" y="1218"/>
                    </a:lnTo>
                    <a:lnTo>
                      <a:pt x="750" y="1218"/>
                    </a:lnTo>
                    <a:lnTo>
                      <a:pt x="748" y="1218"/>
                    </a:lnTo>
                    <a:lnTo>
                      <a:pt x="746" y="1218"/>
                    </a:lnTo>
                    <a:lnTo>
                      <a:pt x="744" y="1218"/>
                    </a:lnTo>
                    <a:lnTo>
                      <a:pt x="741" y="1218"/>
                    </a:lnTo>
                    <a:lnTo>
                      <a:pt x="739" y="1218"/>
                    </a:lnTo>
                    <a:lnTo>
                      <a:pt x="737" y="1218"/>
                    </a:lnTo>
                    <a:lnTo>
                      <a:pt x="735" y="1218"/>
                    </a:lnTo>
                    <a:lnTo>
                      <a:pt x="733" y="1218"/>
                    </a:lnTo>
                    <a:lnTo>
                      <a:pt x="731" y="1218"/>
                    </a:lnTo>
                    <a:lnTo>
                      <a:pt x="729" y="1218"/>
                    </a:lnTo>
                    <a:lnTo>
                      <a:pt x="727" y="1218"/>
                    </a:lnTo>
                    <a:lnTo>
                      <a:pt x="727" y="1220"/>
                    </a:lnTo>
                    <a:lnTo>
                      <a:pt x="726" y="1220"/>
                    </a:lnTo>
                    <a:lnTo>
                      <a:pt x="724" y="1220"/>
                    </a:lnTo>
                    <a:lnTo>
                      <a:pt x="722" y="1220"/>
                    </a:lnTo>
                    <a:lnTo>
                      <a:pt x="720" y="1220"/>
                    </a:lnTo>
                    <a:lnTo>
                      <a:pt x="720" y="1221"/>
                    </a:lnTo>
                    <a:lnTo>
                      <a:pt x="718" y="1221"/>
                    </a:lnTo>
                    <a:lnTo>
                      <a:pt x="716" y="1221"/>
                    </a:lnTo>
                    <a:lnTo>
                      <a:pt x="714" y="1221"/>
                    </a:lnTo>
                    <a:lnTo>
                      <a:pt x="714" y="1223"/>
                    </a:lnTo>
                    <a:lnTo>
                      <a:pt x="714" y="1221"/>
                    </a:lnTo>
                    <a:lnTo>
                      <a:pt x="712" y="1221"/>
                    </a:lnTo>
                    <a:lnTo>
                      <a:pt x="709" y="1223"/>
                    </a:lnTo>
                    <a:lnTo>
                      <a:pt x="707" y="1225"/>
                    </a:lnTo>
                    <a:lnTo>
                      <a:pt x="705" y="1225"/>
                    </a:lnTo>
                    <a:lnTo>
                      <a:pt x="703" y="1225"/>
                    </a:lnTo>
                    <a:lnTo>
                      <a:pt x="703" y="1227"/>
                    </a:lnTo>
                    <a:lnTo>
                      <a:pt x="699" y="1227"/>
                    </a:lnTo>
                    <a:lnTo>
                      <a:pt x="694" y="1231"/>
                    </a:lnTo>
                    <a:lnTo>
                      <a:pt x="690" y="1233"/>
                    </a:lnTo>
                    <a:lnTo>
                      <a:pt x="686" y="1237"/>
                    </a:lnTo>
                    <a:lnTo>
                      <a:pt x="684" y="1238"/>
                    </a:lnTo>
                    <a:lnTo>
                      <a:pt x="682" y="1240"/>
                    </a:lnTo>
                    <a:lnTo>
                      <a:pt x="680" y="1242"/>
                    </a:lnTo>
                    <a:lnTo>
                      <a:pt x="680" y="1244"/>
                    </a:lnTo>
                    <a:lnTo>
                      <a:pt x="679" y="1244"/>
                    </a:lnTo>
                    <a:lnTo>
                      <a:pt x="679" y="1246"/>
                    </a:lnTo>
                    <a:lnTo>
                      <a:pt x="679" y="1248"/>
                    </a:lnTo>
                    <a:lnTo>
                      <a:pt x="679" y="1250"/>
                    </a:lnTo>
                    <a:lnTo>
                      <a:pt x="677" y="1250"/>
                    </a:lnTo>
                    <a:lnTo>
                      <a:pt x="677" y="1252"/>
                    </a:lnTo>
                    <a:lnTo>
                      <a:pt x="677" y="1253"/>
                    </a:lnTo>
                    <a:lnTo>
                      <a:pt x="675" y="1253"/>
                    </a:lnTo>
                    <a:lnTo>
                      <a:pt x="675" y="1255"/>
                    </a:lnTo>
                    <a:lnTo>
                      <a:pt x="673" y="1255"/>
                    </a:lnTo>
                    <a:lnTo>
                      <a:pt x="671" y="1255"/>
                    </a:lnTo>
                    <a:lnTo>
                      <a:pt x="665" y="1259"/>
                    </a:lnTo>
                    <a:lnTo>
                      <a:pt x="662" y="1261"/>
                    </a:lnTo>
                    <a:lnTo>
                      <a:pt x="660" y="1263"/>
                    </a:lnTo>
                    <a:lnTo>
                      <a:pt x="658" y="1263"/>
                    </a:lnTo>
                    <a:lnTo>
                      <a:pt x="658" y="1265"/>
                    </a:lnTo>
                    <a:lnTo>
                      <a:pt x="656" y="1267"/>
                    </a:lnTo>
                    <a:lnTo>
                      <a:pt x="654" y="1269"/>
                    </a:lnTo>
                    <a:lnTo>
                      <a:pt x="652" y="1270"/>
                    </a:lnTo>
                    <a:lnTo>
                      <a:pt x="648" y="1270"/>
                    </a:lnTo>
                    <a:lnTo>
                      <a:pt x="648" y="1272"/>
                    </a:lnTo>
                    <a:lnTo>
                      <a:pt x="647" y="1272"/>
                    </a:lnTo>
                    <a:lnTo>
                      <a:pt x="645" y="1272"/>
                    </a:lnTo>
                    <a:lnTo>
                      <a:pt x="641" y="1274"/>
                    </a:lnTo>
                    <a:lnTo>
                      <a:pt x="637" y="1276"/>
                    </a:lnTo>
                    <a:lnTo>
                      <a:pt x="635" y="1278"/>
                    </a:lnTo>
                    <a:lnTo>
                      <a:pt x="635" y="1280"/>
                    </a:lnTo>
                    <a:lnTo>
                      <a:pt x="633" y="1280"/>
                    </a:lnTo>
                    <a:lnTo>
                      <a:pt x="633" y="1282"/>
                    </a:lnTo>
                    <a:lnTo>
                      <a:pt x="632" y="1282"/>
                    </a:lnTo>
                    <a:lnTo>
                      <a:pt x="632" y="1284"/>
                    </a:lnTo>
                    <a:lnTo>
                      <a:pt x="632" y="1285"/>
                    </a:lnTo>
                    <a:lnTo>
                      <a:pt x="632" y="1287"/>
                    </a:lnTo>
                    <a:lnTo>
                      <a:pt x="632" y="1289"/>
                    </a:lnTo>
                    <a:lnTo>
                      <a:pt x="632" y="1291"/>
                    </a:lnTo>
                    <a:lnTo>
                      <a:pt x="632" y="1293"/>
                    </a:lnTo>
                    <a:lnTo>
                      <a:pt x="632" y="1291"/>
                    </a:lnTo>
                    <a:lnTo>
                      <a:pt x="630" y="1291"/>
                    </a:lnTo>
                    <a:lnTo>
                      <a:pt x="628" y="1291"/>
                    </a:lnTo>
                    <a:lnTo>
                      <a:pt x="626" y="1291"/>
                    </a:lnTo>
                    <a:lnTo>
                      <a:pt x="624" y="1291"/>
                    </a:lnTo>
                    <a:lnTo>
                      <a:pt x="622" y="1293"/>
                    </a:lnTo>
                    <a:lnTo>
                      <a:pt x="615" y="1295"/>
                    </a:lnTo>
                    <a:lnTo>
                      <a:pt x="609" y="1297"/>
                    </a:lnTo>
                    <a:lnTo>
                      <a:pt x="603" y="1301"/>
                    </a:lnTo>
                    <a:lnTo>
                      <a:pt x="598" y="1302"/>
                    </a:lnTo>
                    <a:lnTo>
                      <a:pt x="592" y="1306"/>
                    </a:lnTo>
                    <a:lnTo>
                      <a:pt x="588" y="1310"/>
                    </a:lnTo>
                    <a:lnTo>
                      <a:pt x="586" y="1314"/>
                    </a:lnTo>
                    <a:lnTo>
                      <a:pt x="584" y="1316"/>
                    </a:lnTo>
                    <a:lnTo>
                      <a:pt x="584" y="1317"/>
                    </a:lnTo>
                    <a:lnTo>
                      <a:pt x="584" y="1319"/>
                    </a:lnTo>
                    <a:lnTo>
                      <a:pt x="584" y="1321"/>
                    </a:lnTo>
                    <a:lnTo>
                      <a:pt x="584" y="1323"/>
                    </a:lnTo>
                    <a:lnTo>
                      <a:pt x="584" y="1325"/>
                    </a:lnTo>
                    <a:lnTo>
                      <a:pt x="586" y="1325"/>
                    </a:lnTo>
                    <a:lnTo>
                      <a:pt x="586" y="1327"/>
                    </a:lnTo>
                    <a:lnTo>
                      <a:pt x="588" y="1327"/>
                    </a:lnTo>
                    <a:lnTo>
                      <a:pt x="588" y="1329"/>
                    </a:lnTo>
                    <a:lnTo>
                      <a:pt x="586" y="1329"/>
                    </a:lnTo>
                    <a:lnTo>
                      <a:pt x="586" y="1331"/>
                    </a:lnTo>
                    <a:lnTo>
                      <a:pt x="584" y="1331"/>
                    </a:lnTo>
                    <a:lnTo>
                      <a:pt x="583" y="1331"/>
                    </a:lnTo>
                    <a:lnTo>
                      <a:pt x="581" y="1331"/>
                    </a:lnTo>
                    <a:lnTo>
                      <a:pt x="579" y="1331"/>
                    </a:lnTo>
                    <a:lnTo>
                      <a:pt x="579" y="1333"/>
                    </a:lnTo>
                    <a:lnTo>
                      <a:pt x="579" y="1334"/>
                    </a:lnTo>
                    <a:lnTo>
                      <a:pt x="577" y="1334"/>
                    </a:lnTo>
                    <a:lnTo>
                      <a:pt x="575" y="1334"/>
                    </a:lnTo>
                    <a:lnTo>
                      <a:pt x="575" y="1336"/>
                    </a:lnTo>
                    <a:lnTo>
                      <a:pt x="573" y="1336"/>
                    </a:lnTo>
                    <a:lnTo>
                      <a:pt x="571" y="1336"/>
                    </a:lnTo>
                    <a:lnTo>
                      <a:pt x="569" y="1336"/>
                    </a:lnTo>
                    <a:lnTo>
                      <a:pt x="568" y="1336"/>
                    </a:lnTo>
                    <a:lnTo>
                      <a:pt x="568" y="1334"/>
                    </a:lnTo>
                    <a:lnTo>
                      <a:pt x="566" y="1334"/>
                    </a:lnTo>
                    <a:lnTo>
                      <a:pt x="564" y="1334"/>
                    </a:lnTo>
                    <a:lnTo>
                      <a:pt x="564" y="1333"/>
                    </a:lnTo>
                    <a:lnTo>
                      <a:pt x="562" y="1333"/>
                    </a:lnTo>
                    <a:lnTo>
                      <a:pt x="560" y="1331"/>
                    </a:lnTo>
                    <a:lnTo>
                      <a:pt x="558" y="1331"/>
                    </a:lnTo>
                    <a:lnTo>
                      <a:pt x="556" y="1331"/>
                    </a:lnTo>
                    <a:lnTo>
                      <a:pt x="556" y="1329"/>
                    </a:lnTo>
                    <a:lnTo>
                      <a:pt x="554" y="1329"/>
                    </a:lnTo>
                    <a:lnTo>
                      <a:pt x="554" y="1327"/>
                    </a:lnTo>
                    <a:lnTo>
                      <a:pt x="553" y="1325"/>
                    </a:lnTo>
                    <a:lnTo>
                      <a:pt x="551" y="1325"/>
                    </a:lnTo>
                    <a:lnTo>
                      <a:pt x="551" y="1323"/>
                    </a:lnTo>
                    <a:lnTo>
                      <a:pt x="549" y="1323"/>
                    </a:lnTo>
                    <a:lnTo>
                      <a:pt x="547" y="1321"/>
                    </a:lnTo>
                    <a:lnTo>
                      <a:pt x="545" y="1321"/>
                    </a:lnTo>
                    <a:lnTo>
                      <a:pt x="543" y="1321"/>
                    </a:lnTo>
                    <a:lnTo>
                      <a:pt x="543" y="1317"/>
                    </a:lnTo>
                    <a:lnTo>
                      <a:pt x="541" y="1317"/>
                    </a:lnTo>
                    <a:lnTo>
                      <a:pt x="539" y="1316"/>
                    </a:lnTo>
                    <a:lnTo>
                      <a:pt x="537" y="1316"/>
                    </a:lnTo>
                    <a:lnTo>
                      <a:pt x="536" y="1316"/>
                    </a:lnTo>
                    <a:lnTo>
                      <a:pt x="534" y="1316"/>
                    </a:lnTo>
                    <a:lnTo>
                      <a:pt x="534" y="1317"/>
                    </a:lnTo>
                    <a:lnTo>
                      <a:pt x="534" y="1316"/>
                    </a:lnTo>
                    <a:lnTo>
                      <a:pt x="532" y="1316"/>
                    </a:lnTo>
                    <a:lnTo>
                      <a:pt x="530" y="1316"/>
                    </a:lnTo>
                    <a:lnTo>
                      <a:pt x="528" y="1316"/>
                    </a:lnTo>
                    <a:lnTo>
                      <a:pt x="526" y="1314"/>
                    </a:lnTo>
                    <a:lnTo>
                      <a:pt x="526" y="1316"/>
                    </a:lnTo>
                    <a:lnTo>
                      <a:pt x="524" y="1316"/>
                    </a:lnTo>
                    <a:lnTo>
                      <a:pt x="522" y="1316"/>
                    </a:lnTo>
                    <a:lnTo>
                      <a:pt x="521" y="1316"/>
                    </a:lnTo>
                    <a:lnTo>
                      <a:pt x="519" y="1316"/>
                    </a:lnTo>
                    <a:lnTo>
                      <a:pt x="517" y="1316"/>
                    </a:lnTo>
                    <a:lnTo>
                      <a:pt x="515" y="1316"/>
                    </a:lnTo>
                    <a:lnTo>
                      <a:pt x="513" y="1316"/>
                    </a:lnTo>
                    <a:lnTo>
                      <a:pt x="511" y="1316"/>
                    </a:lnTo>
                    <a:lnTo>
                      <a:pt x="509" y="1317"/>
                    </a:lnTo>
                    <a:lnTo>
                      <a:pt x="507" y="1317"/>
                    </a:lnTo>
                    <a:lnTo>
                      <a:pt x="505" y="1317"/>
                    </a:lnTo>
                    <a:lnTo>
                      <a:pt x="504" y="1316"/>
                    </a:lnTo>
                    <a:lnTo>
                      <a:pt x="502" y="1316"/>
                    </a:lnTo>
                    <a:lnTo>
                      <a:pt x="500" y="1316"/>
                    </a:lnTo>
                    <a:lnTo>
                      <a:pt x="498" y="1316"/>
                    </a:lnTo>
                    <a:lnTo>
                      <a:pt x="496" y="1316"/>
                    </a:lnTo>
                    <a:lnTo>
                      <a:pt x="494" y="1314"/>
                    </a:lnTo>
                    <a:lnTo>
                      <a:pt x="492" y="1316"/>
                    </a:lnTo>
                    <a:lnTo>
                      <a:pt x="490" y="1316"/>
                    </a:lnTo>
                    <a:lnTo>
                      <a:pt x="490" y="1317"/>
                    </a:lnTo>
                    <a:lnTo>
                      <a:pt x="489" y="1319"/>
                    </a:lnTo>
                    <a:lnTo>
                      <a:pt x="490" y="1321"/>
                    </a:lnTo>
                    <a:lnTo>
                      <a:pt x="489" y="1321"/>
                    </a:lnTo>
                    <a:lnTo>
                      <a:pt x="487" y="1321"/>
                    </a:lnTo>
                    <a:lnTo>
                      <a:pt x="487" y="1323"/>
                    </a:lnTo>
                    <a:lnTo>
                      <a:pt x="485" y="1323"/>
                    </a:lnTo>
                    <a:lnTo>
                      <a:pt x="485" y="1321"/>
                    </a:lnTo>
                    <a:lnTo>
                      <a:pt x="487" y="1321"/>
                    </a:lnTo>
                    <a:lnTo>
                      <a:pt x="485" y="1321"/>
                    </a:lnTo>
                    <a:lnTo>
                      <a:pt x="483" y="1321"/>
                    </a:lnTo>
                    <a:lnTo>
                      <a:pt x="485" y="1321"/>
                    </a:lnTo>
                    <a:lnTo>
                      <a:pt x="483" y="1321"/>
                    </a:lnTo>
                    <a:lnTo>
                      <a:pt x="481" y="1321"/>
                    </a:lnTo>
                    <a:lnTo>
                      <a:pt x="481" y="1319"/>
                    </a:lnTo>
                    <a:lnTo>
                      <a:pt x="481" y="1321"/>
                    </a:lnTo>
                    <a:lnTo>
                      <a:pt x="479" y="1321"/>
                    </a:lnTo>
                    <a:lnTo>
                      <a:pt x="479" y="1319"/>
                    </a:lnTo>
                    <a:lnTo>
                      <a:pt x="481" y="1319"/>
                    </a:lnTo>
                    <a:lnTo>
                      <a:pt x="481" y="1317"/>
                    </a:lnTo>
                    <a:lnTo>
                      <a:pt x="479" y="1314"/>
                    </a:lnTo>
                    <a:lnTo>
                      <a:pt x="477" y="1312"/>
                    </a:lnTo>
                    <a:lnTo>
                      <a:pt x="475" y="1312"/>
                    </a:lnTo>
                    <a:lnTo>
                      <a:pt x="474" y="1314"/>
                    </a:lnTo>
                    <a:lnTo>
                      <a:pt x="472" y="1312"/>
                    </a:lnTo>
                    <a:lnTo>
                      <a:pt x="470" y="1312"/>
                    </a:lnTo>
                    <a:lnTo>
                      <a:pt x="470" y="1310"/>
                    </a:lnTo>
                    <a:lnTo>
                      <a:pt x="472" y="1310"/>
                    </a:lnTo>
                    <a:lnTo>
                      <a:pt x="470" y="1310"/>
                    </a:lnTo>
                    <a:lnTo>
                      <a:pt x="470" y="1308"/>
                    </a:lnTo>
                    <a:lnTo>
                      <a:pt x="470" y="1306"/>
                    </a:lnTo>
                    <a:lnTo>
                      <a:pt x="468" y="1306"/>
                    </a:lnTo>
                    <a:lnTo>
                      <a:pt x="468" y="1304"/>
                    </a:lnTo>
                    <a:lnTo>
                      <a:pt x="468" y="1302"/>
                    </a:lnTo>
                    <a:lnTo>
                      <a:pt x="466" y="1302"/>
                    </a:lnTo>
                    <a:lnTo>
                      <a:pt x="466" y="1304"/>
                    </a:lnTo>
                    <a:lnTo>
                      <a:pt x="464" y="1304"/>
                    </a:lnTo>
                    <a:lnTo>
                      <a:pt x="462" y="1304"/>
                    </a:lnTo>
                    <a:lnTo>
                      <a:pt x="462" y="1302"/>
                    </a:lnTo>
                    <a:lnTo>
                      <a:pt x="464" y="1302"/>
                    </a:lnTo>
                    <a:lnTo>
                      <a:pt x="462" y="1302"/>
                    </a:lnTo>
                    <a:lnTo>
                      <a:pt x="462" y="1301"/>
                    </a:lnTo>
                    <a:lnTo>
                      <a:pt x="462" y="1302"/>
                    </a:lnTo>
                    <a:lnTo>
                      <a:pt x="462" y="1301"/>
                    </a:lnTo>
                    <a:lnTo>
                      <a:pt x="460" y="1301"/>
                    </a:lnTo>
                    <a:lnTo>
                      <a:pt x="460" y="1299"/>
                    </a:lnTo>
                    <a:lnTo>
                      <a:pt x="458" y="1299"/>
                    </a:lnTo>
                    <a:lnTo>
                      <a:pt x="457" y="1299"/>
                    </a:lnTo>
                    <a:lnTo>
                      <a:pt x="457" y="1297"/>
                    </a:lnTo>
                    <a:lnTo>
                      <a:pt x="455" y="1295"/>
                    </a:lnTo>
                    <a:lnTo>
                      <a:pt x="457" y="1295"/>
                    </a:lnTo>
                    <a:lnTo>
                      <a:pt x="455" y="1293"/>
                    </a:lnTo>
                    <a:lnTo>
                      <a:pt x="453" y="1293"/>
                    </a:lnTo>
                    <a:lnTo>
                      <a:pt x="453" y="1291"/>
                    </a:lnTo>
                    <a:lnTo>
                      <a:pt x="453" y="1293"/>
                    </a:lnTo>
                    <a:lnTo>
                      <a:pt x="453" y="1291"/>
                    </a:lnTo>
                    <a:lnTo>
                      <a:pt x="451" y="1291"/>
                    </a:lnTo>
                    <a:lnTo>
                      <a:pt x="453" y="1291"/>
                    </a:lnTo>
                    <a:lnTo>
                      <a:pt x="453" y="1289"/>
                    </a:lnTo>
                    <a:lnTo>
                      <a:pt x="453" y="1291"/>
                    </a:lnTo>
                    <a:lnTo>
                      <a:pt x="453" y="1289"/>
                    </a:lnTo>
                    <a:lnTo>
                      <a:pt x="453" y="1287"/>
                    </a:lnTo>
                    <a:lnTo>
                      <a:pt x="449" y="1285"/>
                    </a:lnTo>
                    <a:lnTo>
                      <a:pt x="447" y="1285"/>
                    </a:lnTo>
                    <a:lnTo>
                      <a:pt x="447" y="1287"/>
                    </a:lnTo>
                    <a:lnTo>
                      <a:pt x="445" y="1287"/>
                    </a:lnTo>
                    <a:lnTo>
                      <a:pt x="445" y="1285"/>
                    </a:lnTo>
                    <a:lnTo>
                      <a:pt x="445" y="1287"/>
                    </a:lnTo>
                    <a:lnTo>
                      <a:pt x="443" y="1287"/>
                    </a:lnTo>
                    <a:lnTo>
                      <a:pt x="443" y="1285"/>
                    </a:lnTo>
                    <a:lnTo>
                      <a:pt x="443" y="1287"/>
                    </a:lnTo>
                    <a:lnTo>
                      <a:pt x="443" y="1285"/>
                    </a:lnTo>
                    <a:lnTo>
                      <a:pt x="442" y="1285"/>
                    </a:lnTo>
                    <a:lnTo>
                      <a:pt x="442" y="1284"/>
                    </a:lnTo>
                    <a:lnTo>
                      <a:pt x="440" y="1284"/>
                    </a:lnTo>
                    <a:lnTo>
                      <a:pt x="438" y="1284"/>
                    </a:lnTo>
                    <a:lnTo>
                      <a:pt x="440" y="1284"/>
                    </a:lnTo>
                    <a:lnTo>
                      <a:pt x="438" y="1284"/>
                    </a:lnTo>
                    <a:lnTo>
                      <a:pt x="436" y="1284"/>
                    </a:lnTo>
                    <a:lnTo>
                      <a:pt x="432" y="1282"/>
                    </a:lnTo>
                    <a:lnTo>
                      <a:pt x="430" y="1280"/>
                    </a:lnTo>
                    <a:lnTo>
                      <a:pt x="430" y="1276"/>
                    </a:lnTo>
                    <a:lnTo>
                      <a:pt x="428" y="1274"/>
                    </a:lnTo>
                    <a:lnTo>
                      <a:pt x="428" y="1272"/>
                    </a:lnTo>
                    <a:lnTo>
                      <a:pt x="426" y="1270"/>
                    </a:lnTo>
                    <a:lnTo>
                      <a:pt x="425" y="1269"/>
                    </a:lnTo>
                    <a:lnTo>
                      <a:pt x="425" y="1267"/>
                    </a:lnTo>
                    <a:lnTo>
                      <a:pt x="423" y="1267"/>
                    </a:lnTo>
                    <a:lnTo>
                      <a:pt x="421" y="1267"/>
                    </a:lnTo>
                    <a:lnTo>
                      <a:pt x="419" y="1267"/>
                    </a:lnTo>
                    <a:lnTo>
                      <a:pt x="417" y="1267"/>
                    </a:lnTo>
                    <a:lnTo>
                      <a:pt x="415" y="1267"/>
                    </a:lnTo>
                    <a:lnTo>
                      <a:pt x="415" y="1269"/>
                    </a:lnTo>
                    <a:lnTo>
                      <a:pt x="413" y="1269"/>
                    </a:lnTo>
                    <a:lnTo>
                      <a:pt x="411" y="1269"/>
                    </a:lnTo>
                    <a:lnTo>
                      <a:pt x="410" y="1269"/>
                    </a:lnTo>
                    <a:lnTo>
                      <a:pt x="408" y="1269"/>
                    </a:lnTo>
                    <a:lnTo>
                      <a:pt x="408" y="1270"/>
                    </a:lnTo>
                    <a:lnTo>
                      <a:pt x="406" y="1270"/>
                    </a:lnTo>
                    <a:lnTo>
                      <a:pt x="406" y="1272"/>
                    </a:lnTo>
                    <a:lnTo>
                      <a:pt x="404" y="1272"/>
                    </a:lnTo>
                    <a:lnTo>
                      <a:pt x="402" y="1272"/>
                    </a:lnTo>
                    <a:lnTo>
                      <a:pt x="400" y="1272"/>
                    </a:lnTo>
                    <a:lnTo>
                      <a:pt x="398" y="1272"/>
                    </a:lnTo>
                    <a:lnTo>
                      <a:pt x="398" y="1270"/>
                    </a:lnTo>
                    <a:lnTo>
                      <a:pt x="398" y="1272"/>
                    </a:lnTo>
                    <a:lnTo>
                      <a:pt x="396" y="1272"/>
                    </a:lnTo>
                    <a:lnTo>
                      <a:pt x="396" y="1274"/>
                    </a:lnTo>
                    <a:lnTo>
                      <a:pt x="395" y="1274"/>
                    </a:lnTo>
                    <a:lnTo>
                      <a:pt x="393" y="1274"/>
                    </a:lnTo>
                    <a:lnTo>
                      <a:pt x="391" y="1274"/>
                    </a:lnTo>
                    <a:lnTo>
                      <a:pt x="393" y="1274"/>
                    </a:lnTo>
                    <a:lnTo>
                      <a:pt x="393" y="1272"/>
                    </a:lnTo>
                    <a:lnTo>
                      <a:pt x="391" y="1274"/>
                    </a:lnTo>
                    <a:lnTo>
                      <a:pt x="393" y="1274"/>
                    </a:lnTo>
                    <a:lnTo>
                      <a:pt x="391" y="1274"/>
                    </a:lnTo>
                    <a:lnTo>
                      <a:pt x="391" y="1272"/>
                    </a:lnTo>
                    <a:lnTo>
                      <a:pt x="393" y="1272"/>
                    </a:lnTo>
                    <a:lnTo>
                      <a:pt x="393" y="1270"/>
                    </a:lnTo>
                    <a:lnTo>
                      <a:pt x="395" y="1270"/>
                    </a:lnTo>
                    <a:lnTo>
                      <a:pt x="395" y="1269"/>
                    </a:lnTo>
                    <a:lnTo>
                      <a:pt x="396" y="1269"/>
                    </a:lnTo>
                    <a:lnTo>
                      <a:pt x="398" y="1267"/>
                    </a:lnTo>
                    <a:lnTo>
                      <a:pt x="400" y="1267"/>
                    </a:lnTo>
                    <a:lnTo>
                      <a:pt x="402" y="1265"/>
                    </a:lnTo>
                    <a:lnTo>
                      <a:pt x="402" y="1263"/>
                    </a:lnTo>
                    <a:lnTo>
                      <a:pt x="402" y="1261"/>
                    </a:lnTo>
                    <a:lnTo>
                      <a:pt x="404" y="1261"/>
                    </a:lnTo>
                    <a:lnTo>
                      <a:pt x="404" y="1259"/>
                    </a:lnTo>
                    <a:lnTo>
                      <a:pt x="404" y="1261"/>
                    </a:lnTo>
                    <a:lnTo>
                      <a:pt x="404" y="1259"/>
                    </a:lnTo>
                    <a:lnTo>
                      <a:pt x="406" y="1259"/>
                    </a:lnTo>
                    <a:lnTo>
                      <a:pt x="404" y="1259"/>
                    </a:lnTo>
                    <a:lnTo>
                      <a:pt x="404" y="1257"/>
                    </a:lnTo>
                    <a:lnTo>
                      <a:pt x="406" y="1255"/>
                    </a:lnTo>
                    <a:lnTo>
                      <a:pt x="406" y="1253"/>
                    </a:lnTo>
                    <a:lnTo>
                      <a:pt x="408" y="1253"/>
                    </a:lnTo>
                    <a:lnTo>
                      <a:pt x="406" y="1253"/>
                    </a:lnTo>
                    <a:lnTo>
                      <a:pt x="406" y="1252"/>
                    </a:lnTo>
                    <a:lnTo>
                      <a:pt x="408" y="1252"/>
                    </a:lnTo>
                    <a:lnTo>
                      <a:pt x="408" y="1250"/>
                    </a:lnTo>
                    <a:lnTo>
                      <a:pt x="408" y="1252"/>
                    </a:lnTo>
                    <a:lnTo>
                      <a:pt x="410" y="1252"/>
                    </a:lnTo>
                    <a:lnTo>
                      <a:pt x="410" y="1250"/>
                    </a:lnTo>
                    <a:lnTo>
                      <a:pt x="411" y="1248"/>
                    </a:lnTo>
                    <a:lnTo>
                      <a:pt x="413" y="1248"/>
                    </a:lnTo>
                    <a:lnTo>
                      <a:pt x="413" y="1246"/>
                    </a:lnTo>
                    <a:lnTo>
                      <a:pt x="413" y="1244"/>
                    </a:lnTo>
                    <a:lnTo>
                      <a:pt x="413" y="1242"/>
                    </a:lnTo>
                    <a:lnTo>
                      <a:pt x="411" y="1242"/>
                    </a:lnTo>
                    <a:lnTo>
                      <a:pt x="413" y="1242"/>
                    </a:lnTo>
                    <a:lnTo>
                      <a:pt x="411" y="1242"/>
                    </a:lnTo>
                    <a:lnTo>
                      <a:pt x="411" y="1240"/>
                    </a:lnTo>
                    <a:lnTo>
                      <a:pt x="411" y="1238"/>
                    </a:lnTo>
                    <a:lnTo>
                      <a:pt x="410" y="1233"/>
                    </a:lnTo>
                    <a:lnTo>
                      <a:pt x="408" y="1229"/>
                    </a:lnTo>
                    <a:lnTo>
                      <a:pt x="404" y="1221"/>
                    </a:lnTo>
                    <a:lnTo>
                      <a:pt x="400" y="1216"/>
                    </a:lnTo>
                    <a:lnTo>
                      <a:pt x="396" y="1212"/>
                    </a:lnTo>
                    <a:lnTo>
                      <a:pt x="395" y="1210"/>
                    </a:lnTo>
                    <a:lnTo>
                      <a:pt x="393" y="1208"/>
                    </a:lnTo>
                    <a:lnTo>
                      <a:pt x="391" y="1206"/>
                    </a:lnTo>
                    <a:lnTo>
                      <a:pt x="389" y="1206"/>
                    </a:lnTo>
                    <a:lnTo>
                      <a:pt x="387" y="1206"/>
                    </a:lnTo>
                    <a:lnTo>
                      <a:pt x="387" y="1205"/>
                    </a:lnTo>
                    <a:lnTo>
                      <a:pt x="385" y="1205"/>
                    </a:lnTo>
                    <a:lnTo>
                      <a:pt x="385" y="1206"/>
                    </a:lnTo>
                    <a:lnTo>
                      <a:pt x="383" y="1206"/>
                    </a:lnTo>
                    <a:lnTo>
                      <a:pt x="381" y="1206"/>
                    </a:lnTo>
                    <a:lnTo>
                      <a:pt x="379" y="1206"/>
                    </a:lnTo>
                    <a:lnTo>
                      <a:pt x="379" y="1208"/>
                    </a:lnTo>
                    <a:lnTo>
                      <a:pt x="379" y="1210"/>
                    </a:lnTo>
                    <a:lnTo>
                      <a:pt x="378" y="1210"/>
                    </a:lnTo>
                    <a:lnTo>
                      <a:pt x="378" y="1208"/>
                    </a:lnTo>
                    <a:lnTo>
                      <a:pt x="378" y="1210"/>
                    </a:lnTo>
                    <a:lnTo>
                      <a:pt x="376" y="1210"/>
                    </a:lnTo>
                    <a:lnTo>
                      <a:pt x="376" y="1212"/>
                    </a:lnTo>
                    <a:lnTo>
                      <a:pt x="374" y="1212"/>
                    </a:lnTo>
                    <a:lnTo>
                      <a:pt x="376" y="1212"/>
                    </a:lnTo>
                    <a:lnTo>
                      <a:pt x="374" y="1212"/>
                    </a:lnTo>
                    <a:lnTo>
                      <a:pt x="374" y="1214"/>
                    </a:lnTo>
                    <a:lnTo>
                      <a:pt x="372" y="1214"/>
                    </a:lnTo>
                    <a:lnTo>
                      <a:pt x="370" y="1214"/>
                    </a:lnTo>
                    <a:lnTo>
                      <a:pt x="370" y="1212"/>
                    </a:lnTo>
                    <a:lnTo>
                      <a:pt x="368" y="1212"/>
                    </a:lnTo>
                    <a:lnTo>
                      <a:pt x="368" y="1214"/>
                    </a:lnTo>
                    <a:lnTo>
                      <a:pt x="368" y="1212"/>
                    </a:lnTo>
                    <a:lnTo>
                      <a:pt x="368" y="1210"/>
                    </a:lnTo>
                    <a:lnTo>
                      <a:pt x="366" y="1212"/>
                    </a:lnTo>
                    <a:lnTo>
                      <a:pt x="366" y="1210"/>
                    </a:lnTo>
                    <a:lnTo>
                      <a:pt x="364" y="1210"/>
                    </a:lnTo>
                    <a:lnTo>
                      <a:pt x="364" y="1208"/>
                    </a:lnTo>
                    <a:lnTo>
                      <a:pt x="363" y="1208"/>
                    </a:lnTo>
                    <a:lnTo>
                      <a:pt x="361" y="1208"/>
                    </a:lnTo>
                    <a:lnTo>
                      <a:pt x="361" y="1206"/>
                    </a:lnTo>
                    <a:lnTo>
                      <a:pt x="359" y="1208"/>
                    </a:lnTo>
                    <a:lnTo>
                      <a:pt x="357" y="1208"/>
                    </a:lnTo>
                    <a:lnTo>
                      <a:pt x="355" y="1208"/>
                    </a:lnTo>
                    <a:lnTo>
                      <a:pt x="353" y="1208"/>
                    </a:lnTo>
                    <a:lnTo>
                      <a:pt x="353" y="1210"/>
                    </a:lnTo>
                    <a:lnTo>
                      <a:pt x="353" y="1208"/>
                    </a:lnTo>
                    <a:lnTo>
                      <a:pt x="351" y="1208"/>
                    </a:lnTo>
                    <a:lnTo>
                      <a:pt x="349" y="1208"/>
                    </a:lnTo>
                    <a:lnTo>
                      <a:pt x="349" y="1206"/>
                    </a:lnTo>
                    <a:lnTo>
                      <a:pt x="347" y="1206"/>
                    </a:lnTo>
                    <a:lnTo>
                      <a:pt x="347" y="1205"/>
                    </a:lnTo>
                    <a:lnTo>
                      <a:pt x="347" y="1203"/>
                    </a:lnTo>
                    <a:lnTo>
                      <a:pt x="349" y="1203"/>
                    </a:lnTo>
                    <a:lnTo>
                      <a:pt x="349" y="1201"/>
                    </a:lnTo>
                    <a:lnTo>
                      <a:pt x="347" y="1201"/>
                    </a:lnTo>
                    <a:lnTo>
                      <a:pt x="347" y="1199"/>
                    </a:lnTo>
                    <a:lnTo>
                      <a:pt x="347" y="1197"/>
                    </a:lnTo>
                    <a:lnTo>
                      <a:pt x="344" y="1193"/>
                    </a:lnTo>
                    <a:lnTo>
                      <a:pt x="342" y="1193"/>
                    </a:lnTo>
                    <a:lnTo>
                      <a:pt x="340" y="1191"/>
                    </a:lnTo>
                    <a:lnTo>
                      <a:pt x="334" y="1188"/>
                    </a:lnTo>
                    <a:lnTo>
                      <a:pt x="332" y="1186"/>
                    </a:lnTo>
                    <a:lnTo>
                      <a:pt x="329" y="1184"/>
                    </a:lnTo>
                    <a:lnTo>
                      <a:pt x="327" y="1184"/>
                    </a:lnTo>
                    <a:lnTo>
                      <a:pt x="325" y="1186"/>
                    </a:lnTo>
                    <a:lnTo>
                      <a:pt x="323" y="1186"/>
                    </a:lnTo>
                    <a:lnTo>
                      <a:pt x="321" y="1186"/>
                    </a:lnTo>
                    <a:lnTo>
                      <a:pt x="319" y="1186"/>
                    </a:lnTo>
                    <a:lnTo>
                      <a:pt x="317" y="1186"/>
                    </a:lnTo>
                    <a:lnTo>
                      <a:pt x="317" y="1184"/>
                    </a:lnTo>
                    <a:lnTo>
                      <a:pt x="316" y="1184"/>
                    </a:lnTo>
                    <a:lnTo>
                      <a:pt x="316" y="1186"/>
                    </a:lnTo>
                    <a:lnTo>
                      <a:pt x="314" y="1186"/>
                    </a:lnTo>
                    <a:lnTo>
                      <a:pt x="314" y="1188"/>
                    </a:lnTo>
                    <a:lnTo>
                      <a:pt x="312" y="1188"/>
                    </a:lnTo>
                    <a:lnTo>
                      <a:pt x="312" y="1189"/>
                    </a:lnTo>
                    <a:lnTo>
                      <a:pt x="310" y="1189"/>
                    </a:lnTo>
                    <a:lnTo>
                      <a:pt x="308" y="1189"/>
                    </a:lnTo>
                    <a:lnTo>
                      <a:pt x="308" y="1191"/>
                    </a:lnTo>
                    <a:lnTo>
                      <a:pt x="306" y="1189"/>
                    </a:lnTo>
                    <a:lnTo>
                      <a:pt x="304" y="1189"/>
                    </a:lnTo>
                    <a:lnTo>
                      <a:pt x="302" y="1189"/>
                    </a:lnTo>
                    <a:lnTo>
                      <a:pt x="300" y="1189"/>
                    </a:lnTo>
                    <a:lnTo>
                      <a:pt x="300" y="1188"/>
                    </a:lnTo>
                    <a:lnTo>
                      <a:pt x="300" y="1189"/>
                    </a:lnTo>
                    <a:lnTo>
                      <a:pt x="299" y="1189"/>
                    </a:lnTo>
                    <a:lnTo>
                      <a:pt x="297" y="1189"/>
                    </a:lnTo>
                    <a:lnTo>
                      <a:pt x="295" y="1189"/>
                    </a:lnTo>
                    <a:lnTo>
                      <a:pt x="293" y="1189"/>
                    </a:lnTo>
                    <a:lnTo>
                      <a:pt x="293" y="1191"/>
                    </a:lnTo>
                    <a:lnTo>
                      <a:pt x="291" y="1191"/>
                    </a:lnTo>
                    <a:lnTo>
                      <a:pt x="291" y="1193"/>
                    </a:lnTo>
                    <a:lnTo>
                      <a:pt x="291" y="1191"/>
                    </a:lnTo>
                    <a:lnTo>
                      <a:pt x="291" y="1193"/>
                    </a:lnTo>
                    <a:lnTo>
                      <a:pt x="289" y="1193"/>
                    </a:lnTo>
                    <a:lnTo>
                      <a:pt x="291" y="1193"/>
                    </a:lnTo>
                    <a:lnTo>
                      <a:pt x="289" y="1195"/>
                    </a:lnTo>
                    <a:lnTo>
                      <a:pt x="289" y="1193"/>
                    </a:lnTo>
                    <a:lnTo>
                      <a:pt x="287" y="1193"/>
                    </a:lnTo>
                    <a:lnTo>
                      <a:pt x="285" y="1193"/>
                    </a:lnTo>
                    <a:lnTo>
                      <a:pt x="284" y="1193"/>
                    </a:lnTo>
                    <a:lnTo>
                      <a:pt x="282" y="1193"/>
                    </a:lnTo>
                    <a:lnTo>
                      <a:pt x="282" y="1195"/>
                    </a:lnTo>
                    <a:lnTo>
                      <a:pt x="280" y="1195"/>
                    </a:lnTo>
                    <a:lnTo>
                      <a:pt x="280" y="1197"/>
                    </a:lnTo>
                    <a:lnTo>
                      <a:pt x="282" y="1197"/>
                    </a:lnTo>
                    <a:lnTo>
                      <a:pt x="282" y="1199"/>
                    </a:lnTo>
                    <a:lnTo>
                      <a:pt x="280" y="1199"/>
                    </a:lnTo>
                    <a:lnTo>
                      <a:pt x="280" y="1197"/>
                    </a:lnTo>
                    <a:lnTo>
                      <a:pt x="278" y="1197"/>
                    </a:lnTo>
                    <a:lnTo>
                      <a:pt x="278" y="1195"/>
                    </a:lnTo>
                    <a:lnTo>
                      <a:pt x="276" y="1195"/>
                    </a:lnTo>
                    <a:lnTo>
                      <a:pt x="274" y="1195"/>
                    </a:lnTo>
                    <a:lnTo>
                      <a:pt x="274" y="1197"/>
                    </a:lnTo>
                    <a:lnTo>
                      <a:pt x="274" y="1199"/>
                    </a:lnTo>
                    <a:lnTo>
                      <a:pt x="272" y="1199"/>
                    </a:lnTo>
                    <a:lnTo>
                      <a:pt x="272" y="1197"/>
                    </a:lnTo>
                    <a:lnTo>
                      <a:pt x="270" y="1197"/>
                    </a:lnTo>
                    <a:lnTo>
                      <a:pt x="272" y="1195"/>
                    </a:lnTo>
                    <a:lnTo>
                      <a:pt x="272" y="1193"/>
                    </a:lnTo>
                    <a:lnTo>
                      <a:pt x="270" y="1193"/>
                    </a:lnTo>
                    <a:lnTo>
                      <a:pt x="270" y="1191"/>
                    </a:lnTo>
                    <a:lnTo>
                      <a:pt x="268" y="1191"/>
                    </a:lnTo>
                    <a:lnTo>
                      <a:pt x="270" y="1189"/>
                    </a:lnTo>
                    <a:lnTo>
                      <a:pt x="268" y="1188"/>
                    </a:lnTo>
                    <a:lnTo>
                      <a:pt x="268" y="1186"/>
                    </a:lnTo>
                    <a:lnTo>
                      <a:pt x="270" y="1186"/>
                    </a:lnTo>
                    <a:lnTo>
                      <a:pt x="272" y="1186"/>
                    </a:lnTo>
                    <a:lnTo>
                      <a:pt x="274" y="1184"/>
                    </a:lnTo>
                    <a:lnTo>
                      <a:pt x="272" y="1182"/>
                    </a:lnTo>
                    <a:lnTo>
                      <a:pt x="270" y="1182"/>
                    </a:lnTo>
                    <a:lnTo>
                      <a:pt x="270" y="1180"/>
                    </a:lnTo>
                    <a:lnTo>
                      <a:pt x="270" y="1178"/>
                    </a:lnTo>
                    <a:lnTo>
                      <a:pt x="270" y="1176"/>
                    </a:lnTo>
                    <a:lnTo>
                      <a:pt x="270" y="1174"/>
                    </a:lnTo>
                    <a:lnTo>
                      <a:pt x="268" y="1174"/>
                    </a:lnTo>
                    <a:lnTo>
                      <a:pt x="268" y="1173"/>
                    </a:lnTo>
                    <a:lnTo>
                      <a:pt x="268" y="1171"/>
                    </a:lnTo>
                    <a:lnTo>
                      <a:pt x="270" y="1171"/>
                    </a:lnTo>
                    <a:lnTo>
                      <a:pt x="270" y="1169"/>
                    </a:lnTo>
                    <a:lnTo>
                      <a:pt x="270" y="1167"/>
                    </a:lnTo>
                    <a:lnTo>
                      <a:pt x="272" y="1167"/>
                    </a:lnTo>
                    <a:lnTo>
                      <a:pt x="272" y="1165"/>
                    </a:lnTo>
                    <a:lnTo>
                      <a:pt x="272" y="1163"/>
                    </a:lnTo>
                    <a:lnTo>
                      <a:pt x="274" y="1163"/>
                    </a:lnTo>
                    <a:lnTo>
                      <a:pt x="276" y="1163"/>
                    </a:lnTo>
                    <a:lnTo>
                      <a:pt x="276" y="1161"/>
                    </a:lnTo>
                    <a:lnTo>
                      <a:pt x="278" y="1161"/>
                    </a:lnTo>
                    <a:lnTo>
                      <a:pt x="278" y="1159"/>
                    </a:lnTo>
                    <a:lnTo>
                      <a:pt x="280" y="1159"/>
                    </a:lnTo>
                    <a:lnTo>
                      <a:pt x="280" y="1157"/>
                    </a:lnTo>
                    <a:lnTo>
                      <a:pt x="280" y="1156"/>
                    </a:lnTo>
                    <a:lnTo>
                      <a:pt x="280" y="1154"/>
                    </a:lnTo>
                    <a:lnTo>
                      <a:pt x="280" y="1152"/>
                    </a:lnTo>
                    <a:lnTo>
                      <a:pt x="278" y="1152"/>
                    </a:lnTo>
                    <a:lnTo>
                      <a:pt x="278" y="1150"/>
                    </a:lnTo>
                    <a:lnTo>
                      <a:pt x="276" y="1148"/>
                    </a:lnTo>
                    <a:lnTo>
                      <a:pt x="274" y="1148"/>
                    </a:lnTo>
                    <a:lnTo>
                      <a:pt x="274" y="1146"/>
                    </a:lnTo>
                    <a:lnTo>
                      <a:pt x="274" y="1144"/>
                    </a:lnTo>
                    <a:lnTo>
                      <a:pt x="274" y="1142"/>
                    </a:lnTo>
                    <a:lnTo>
                      <a:pt x="272" y="1142"/>
                    </a:lnTo>
                    <a:lnTo>
                      <a:pt x="272" y="1140"/>
                    </a:lnTo>
                    <a:lnTo>
                      <a:pt x="270" y="1139"/>
                    </a:lnTo>
                    <a:lnTo>
                      <a:pt x="270" y="1137"/>
                    </a:lnTo>
                    <a:lnTo>
                      <a:pt x="270" y="1135"/>
                    </a:lnTo>
                    <a:lnTo>
                      <a:pt x="272" y="1135"/>
                    </a:lnTo>
                    <a:lnTo>
                      <a:pt x="272" y="1133"/>
                    </a:lnTo>
                    <a:lnTo>
                      <a:pt x="274" y="1133"/>
                    </a:lnTo>
                    <a:lnTo>
                      <a:pt x="276" y="1131"/>
                    </a:lnTo>
                    <a:lnTo>
                      <a:pt x="278" y="1131"/>
                    </a:lnTo>
                    <a:lnTo>
                      <a:pt x="280" y="1129"/>
                    </a:lnTo>
                    <a:lnTo>
                      <a:pt x="282" y="1129"/>
                    </a:lnTo>
                    <a:lnTo>
                      <a:pt x="280" y="1129"/>
                    </a:lnTo>
                    <a:lnTo>
                      <a:pt x="282" y="1129"/>
                    </a:lnTo>
                    <a:lnTo>
                      <a:pt x="282" y="1127"/>
                    </a:lnTo>
                    <a:lnTo>
                      <a:pt x="284" y="1127"/>
                    </a:lnTo>
                    <a:lnTo>
                      <a:pt x="282" y="1125"/>
                    </a:lnTo>
                    <a:lnTo>
                      <a:pt x="280" y="1125"/>
                    </a:lnTo>
                    <a:lnTo>
                      <a:pt x="280" y="1124"/>
                    </a:lnTo>
                    <a:lnTo>
                      <a:pt x="280" y="1125"/>
                    </a:lnTo>
                    <a:lnTo>
                      <a:pt x="280" y="1124"/>
                    </a:lnTo>
                    <a:lnTo>
                      <a:pt x="278" y="1124"/>
                    </a:lnTo>
                    <a:lnTo>
                      <a:pt x="278" y="1122"/>
                    </a:lnTo>
                    <a:lnTo>
                      <a:pt x="276" y="1118"/>
                    </a:lnTo>
                    <a:lnTo>
                      <a:pt x="274" y="1118"/>
                    </a:lnTo>
                    <a:lnTo>
                      <a:pt x="274" y="1116"/>
                    </a:lnTo>
                    <a:lnTo>
                      <a:pt x="272" y="1116"/>
                    </a:lnTo>
                    <a:lnTo>
                      <a:pt x="272" y="1114"/>
                    </a:lnTo>
                    <a:lnTo>
                      <a:pt x="270" y="1114"/>
                    </a:lnTo>
                    <a:lnTo>
                      <a:pt x="270" y="1112"/>
                    </a:lnTo>
                    <a:lnTo>
                      <a:pt x="268" y="1110"/>
                    </a:lnTo>
                    <a:lnTo>
                      <a:pt x="268" y="1108"/>
                    </a:lnTo>
                    <a:lnTo>
                      <a:pt x="267" y="1108"/>
                    </a:lnTo>
                    <a:lnTo>
                      <a:pt x="261" y="1105"/>
                    </a:lnTo>
                    <a:lnTo>
                      <a:pt x="257" y="1103"/>
                    </a:lnTo>
                    <a:lnTo>
                      <a:pt x="253" y="1103"/>
                    </a:lnTo>
                    <a:lnTo>
                      <a:pt x="250" y="1101"/>
                    </a:lnTo>
                    <a:lnTo>
                      <a:pt x="238" y="1101"/>
                    </a:lnTo>
                    <a:lnTo>
                      <a:pt x="237" y="1101"/>
                    </a:lnTo>
                    <a:lnTo>
                      <a:pt x="235" y="1101"/>
                    </a:lnTo>
                    <a:lnTo>
                      <a:pt x="231" y="1101"/>
                    </a:lnTo>
                    <a:lnTo>
                      <a:pt x="227" y="1101"/>
                    </a:lnTo>
                    <a:lnTo>
                      <a:pt x="221" y="1101"/>
                    </a:lnTo>
                    <a:lnTo>
                      <a:pt x="220" y="1101"/>
                    </a:lnTo>
                    <a:lnTo>
                      <a:pt x="218" y="1101"/>
                    </a:lnTo>
                    <a:lnTo>
                      <a:pt x="212" y="1103"/>
                    </a:lnTo>
                    <a:lnTo>
                      <a:pt x="205" y="1105"/>
                    </a:lnTo>
                    <a:lnTo>
                      <a:pt x="203" y="1105"/>
                    </a:lnTo>
                    <a:lnTo>
                      <a:pt x="203" y="1107"/>
                    </a:lnTo>
                    <a:lnTo>
                      <a:pt x="201" y="1107"/>
                    </a:lnTo>
                    <a:lnTo>
                      <a:pt x="199" y="1107"/>
                    </a:lnTo>
                    <a:lnTo>
                      <a:pt x="191" y="1108"/>
                    </a:lnTo>
                    <a:lnTo>
                      <a:pt x="189" y="1108"/>
                    </a:lnTo>
                    <a:lnTo>
                      <a:pt x="186" y="1110"/>
                    </a:lnTo>
                    <a:lnTo>
                      <a:pt x="184" y="1110"/>
                    </a:lnTo>
                    <a:lnTo>
                      <a:pt x="182" y="1110"/>
                    </a:lnTo>
                    <a:lnTo>
                      <a:pt x="182" y="1112"/>
                    </a:lnTo>
                    <a:lnTo>
                      <a:pt x="180" y="1112"/>
                    </a:lnTo>
                    <a:lnTo>
                      <a:pt x="180" y="1114"/>
                    </a:lnTo>
                    <a:lnTo>
                      <a:pt x="178" y="1114"/>
                    </a:lnTo>
                    <a:lnTo>
                      <a:pt x="178" y="1116"/>
                    </a:lnTo>
                    <a:lnTo>
                      <a:pt x="176" y="1118"/>
                    </a:lnTo>
                    <a:lnTo>
                      <a:pt x="176" y="1120"/>
                    </a:lnTo>
                    <a:lnTo>
                      <a:pt x="174" y="1120"/>
                    </a:lnTo>
                    <a:lnTo>
                      <a:pt x="173" y="1120"/>
                    </a:lnTo>
                    <a:lnTo>
                      <a:pt x="173" y="1122"/>
                    </a:lnTo>
                    <a:lnTo>
                      <a:pt x="171" y="1122"/>
                    </a:lnTo>
                    <a:lnTo>
                      <a:pt x="173" y="1122"/>
                    </a:lnTo>
                    <a:lnTo>
                      <a:pt x="173" y="1124"/>
                    </a:lnTo>
                    <a:lnTo>
                      <a:pt x="174" y="1125"/>
                    </a:lnTo>
                    <a:lnTo>
                      <a:pt x="173" y="1125"/>
                    </a:lnTo>
                    <a:lnTo>
                      <a:pt x="173" y="1127"/>
                    </a:lnTo>
                    <a:lnTo>
                      <a:pt x="171" y="1127"/>
                    </a:lnTo>
                    <a:lnTo>
                      <a:pt x="171" y="1129"/>
                    </a:lnTo>
                    <a:lnTo>
                      <a:pt x="173" y="1129"/>
                    </a:lnTo>
                    <a:lnTo>
                      <a:pt x="171" y="1129"/>
                    </a:lnTo>
                    <a:lnTo>
                      <a:pt x="171" y="1131"/>
                    </a:lnTo>
                    <a:lnTo>
                      <a:pt x="171" y="1133"/>
                    </a:lnTo>
                    <a:lnTo>
                      <a:pt x="171" y="1135"/>
                    </a:lnTo>
                    <a:lnTo>
                      <a:pt x="171" y="1137"/>
                    </a:lnTo>
                    <a:lnTo>
                      <a:pt x="173" y="1139"/>
                    </a:lnTo>
                    <a:lnTo>
                      <a:pt x="171" y="1139"/>
                    </a:lnTo>
                    <a:lnTo>
                      <a:pt x="173" y="1139"/>
                    </a:lnTo>
                    <a:lnTo>
                      <a:pt x="173" y="1137"/>
                    </a:lnTo>
                    <a:lnTo>
                      <a:pt x="173" y="1139"/>
                    </a:lnTo>
                    <a:lnTo>
                      <a:pt x="173" y="1137"/>
                    </a:lnTo>
                    <a:lnTo>
                      <a:pt x="174" y="1137"/>
                    </a:lnTo>
                    <a:lnTo>
                      <a:pt x="173" y="1137"/>
                    </a:lnTo>
                    <a:lnTo>
                      <a:pt x="174" y="1137"/>
                    </a:lnTo>
                    <a:lnTo>
                      <a:pt x="173" y="1135"/>
                    </a:lnTo>
                    <a:lnTo>
                      <a:pt x="173" y="1137"/>
                    </a:lnTo>
                    <a:lnTo>
                      <a:pt x="173" y="1135"/>
                    </a:lnTo>
                    <a:lnTo>
                      <a:pt x="174" y="1137"/>
                    </a:lnTo>
                    <a:lnTo>
                      <a:pt x="174" y="1139"/>
                    </a:lnTo>
                    <a:lnTo>
                      <a:pt x="176" y="1139"/>
                    </a:lnTo>
                    <a:lnTo>
                      <a:pt x="176" y="1140"/>
                    </a:lnTo>
                    <a:lnTo>
                      <a:pt x="178" y="1140"/>
                    </a:lnTo>
                    <a:lnTo>
                      <a:pt x="178" y="1142"/>
                    </a:lnTo>
                    <a:lnTo>
                      <a:pt x="180" y="1142"/>
                    </a:lnTo>
                    <a:lnTo>
                      <a:pt x="180" y="1144"/>
                    </a:lnTo>
                    <a:lnTo>
                      <a:pt x="180" y="1146"/>
                    </a:lnTo>
                    <a:lnTo>
                      <a:pt x="180" y="1148"/>
                    </a:lnTo>
                    <a:lnTo>
                      <a:pt x="182" y="1148"/>
                    </a:lnTo>
                    <a:lnTo>
                      <a:pt x="182" y="1150"/>
                    </a:lnTo>
                    <a:lnTo>
                      <a:pt x="184" y="1150"/>
                    </a:lnTo>
                    <a:lnTo>
                      <a:pt x="182" y="1150"/>
                    </a:lnTo>
                    <a:lnTo>
                      <a:pt x="182" y="1152"/>
                    </a:lnTo>
                    <a:lnTo>
                      <a:pt x="184" y="1152"/>
                    </a:lnTo>
                    <a:lnTo>
                      <a:pt x="182" y="1152"/>
                    </a:lnTo>
                    <a:lnTo>
                      <a:pt x="182" y="1154"/>
                    </a:lnTo>
                    <a:lnTo>
                      <a:pt x="182" y="1156"/>
                    </a:lnTo>
                    <a:lnTo>
                      <a:pt x="184" y="1156"/>
                    </a:lnTo>
                    <a:lnTo>
                      <a:pt x="182" y="1156"/>
                    </a:lnTo>
                    <a:lnTo>
                      <a:pt x="182" y="1157"/>
                    </a:lnTo>
                    <a:lnTo>
                      <a:pt x="184" y="1157"/>
                    </a:lnTo>
                    <a:lnTo>
                      <a:pt x="182" y="1157"/>
                    </a:lnTo>
                    <a:lnTo>
                      <a:pt x="182" y="1159"/>
                    </a:lnTo>
                    <a:lnTo>
                      <a:pt x="180" y="1161"/>
                    </a:lnTo>
                    <a:lnTo>
                      <a:pt x="180" y="1163"/>
                    </a:lnTo>
                    <a:lnTo>
                      <a:pt x="182" y="1163"/>
                    </a:lnTo>
                    <a:lnTo>
                      <a:pt x="182" y="1165"/>
                    </a:lnTo>
                    <a:lnTo>
                      <a:pt x="182" y="1167"/>
                    </a:lnTo>
                    <a:lnTo>
                      <a:pt x="180" y="1167"/>
                    </a:lnTo>
                    <a:lnTo>
                      <a:pt x="180" y="1169"/>
                    </a:lnTo>
                    <a:lnTo>
                      <a:pt x="180" y="1171"/>
                    </a:lnTo>
                    <a:lnTo>
                      <a:pt x="180" y="1173"/>
                    </a:lnTo>
                    <a:lnTo>
                      <a:pt x="180" y="1174"/>
                    </a:lnTo>
                    <a:lnTo>
                      <a:pt x="178" y="1174"/>
                    </a:lnTo>
                    <a:lnTo>
                      <a:pt x="180" y="1174"/>
                    </a:lnTo>
                    <a:lnTo>
                      <a:pt x="180" y="1176"/>
                    </a:lnTo>
                    <a:lnTo>
                      <a:pt x="178" y="1176"/>
                    </a:lnTo>
                    <a:lnTo>
                      <a:pt x="178" y="1178"/>
                    </a:lnTo>
                    <a:lnTo>
                      <a:pt x="180" y="1178"/>
                    </a:lnTo>
                    <a:lnTo>
                      <a:pt x="180" y="1180"/>
                    </a:lnTo>
                    <a:lnTo>
                      <a:pt x="180" y="1182"/>
                    </a:lnTo>
                    <a:lnTo>
                      <a:pt x="182" y="1182"/>
                    </a:lnTo>
                    <a:lnTo>
                      <a:pt x="182" y="1184"/>
                    </a:lnTo>
                    <a:lnTo>
                      <a:pt x="184" y="1184"/>
                    </a:lnTo>
                    <a:lnTo>
                      <a:pt x="184" y="1186"/>
                    </a:lnTo>
                    <a:lnTo>
                      <a:pt x="186" y="1186"/>
                    </a:lnTo>
                    <a:lnTo>
                      <a:pt x="186" y="1188"/>
                    </a:lnTo>
                    <a:lnTo>
                      <a:pt x="188" y="1188"/>
                    </a:lnTo>
                    <a:lnTo>
                      <a:pt x="188" y="1189"/>
                    </a:lnTo>
                    <a:lnTo>
                      <a:pt x="188" y="1188"/>
                    </a:lnTo>
                    <a:lnTo>
                      <a:pt x="186" y="1188"/>
                    </a:lnTo>
                    <a:lnTo>
                      <a:pt x="184" y="1188"/>
                    </a:lnTo>
                    <a:lnTo>
                      <a:pt x="184" y="1189"/>
                    </a:lnTo>
                    <a:lnTo>
                      <a:pt x="182" y="1189"/>
                    </a:lnTo>
                    <a:lnTo>
                      <a:pt x="182" y="1188"/>
                    </a:lnTo>
                    <a:lnTo>
                      <a:pt x="180" y="1188"/>
                    </a:lnTo>
                    <a:lnTo>
                      <a:pt x="180" y="1186"/>
                    </a:lnTo>
                    <a:lnTo>
                      <a:pt x="178" y="1186"/>
                    </a:lnTo>
                    <a:lnTo>
                      <a:pt x="178" y="1184"/>
                    </a:lnTo>
                    <a:lnTo>
                      <a:pt x="178" y="1182"/>
                    </a:lnTo>
                    <a:lnTo>
                      <a:pt x="176" y="1182"/>
                    </a:lnTo>
                    <a:lnTo>
                      <a:pt x="174" y="1182"/>
                    </a:lnTo>
                    <a:lnTo>
                      <a:pt x="173" y="1182"/>
                    </a:lnTo>
                    <a:lnTo>
                      <a:pt x="171" y="1180"/>
                    </a:lnTo>
                    <a:lnTo>
                      <a:pt x="169" y="1180"/>
                    </a:lnTo>
                    <a:lnTo>
                      <a:pt x="169" y="1178"/>
                    </a:lnTo>
                    <a:lnTo>
                      <a:pt x="167" y="1178"/>
                    </a:lnTo>
                    <a:lnTo>
                      <a:pt x="167" y="1176"/>
                    </a:lnTo>
                    <a:lnTo>
                      <a:pt x="165" y="1176"/>
                    </a:lnTo>
                    <a:lnTo>
                      <a:pt x="165" y="1174"/>
                    </a:lnTo>
                    <a:lnTo>
                      <a:pt x="163" y="1174"/>
                    </a:lnTo>
                    <a:lnTo>
                      <a:pt x="163" y="1173"/>
                    </a:lnTo>
                    <a:lnTo>
                      <a:pt x="165" y="1173"/>
                    </a:lnTo>
                    <a:lnTo>
                      <a:pt x="163" y="1169"/>
                    </a:lnTo>
                    <a:lnTo>
                      <a:pt x="163" y="1167"/>
                    </a:lnTo>
                    <a:lnTo>
                      <a:pt x="161" y="1167"/>
                    </a:lnTo>
                    <a:lnTo>
                      <a:pt x="161" y="1165"/>
                    </a:lnTo>
                    <a:lnTo>
                      <a:pt x="161" y="1163"/>
                    </a:lnTo>
                    <a:lnTo>
                      <a:pt x="159" y="1163"/>
                    </a:lnTo>
                    <a:lnTo>
                      <a:pt x="158" y="1163"/>
                    </a:lnTo>
                    <a:lnTo>
                      <a:pt x="158" y="1161"/>
                    </a:lnTo>
                    <a:lnTo>
                      <a:pt x="159" y="1161"/>
                    </a:lnTo>
                    <a:lnTo>
                      <a:pt x="159" y="1159"/>
                    </a:lnTo>
                    <a:lnTo>
                      <a:pt x="158" y="1159"/>
                    </a:lnTo>
                    <a:lnTo>
                      <a:pt x="158" y="1157"/>
                    </a:lnTo>
                    <a:lnTo>
                      <a:pt x="159" y="1157"/>
                    </a:lnTo>
                    <a:lnTo>
                      <a:pt x="158" y="1157"/>
                    </a:lnTo>
                    <a:lnTo>
                      <a:pt x="158" y="1156"/>
                    </a:lnTo>
                    <a:lnTo>
                      <a:pt x="159" y="1156"/>
                    </a:lnTo>
                    <a:lnTo>
                      <a:pt x="158" y="1156"/>
                    </a:lnTo>
                    <a:lnTo>
                      <a:pt x="158" y="1154"/>
                    </a:lnTo>
                    <a:lnTo>
                      <a:pt x="158" y="1152"/>
                    </a:lnTo>
                    <a:lnTo>
                      <a:pt x="158" y="1150"/>
                    </a:lnTo>
                    <a:lnTo>
                      <a:pt x="158" y="1148"/>
                    </a:lnTo>
                    <a:lnTo>
                      <a:pt x="158" y="1146"/>
                    </a:lnTo>
                    <a:lnTo>
                      <a:pt x="156" y="1146"/>
                    </a:lnTo>
                    <a:lnTo>
                      <a:pt x="156" y="1144"/>
                    </a:lnTo>
                    <a:lnTo>
                      <a:pt x="156" y="1142"/>
                    </a:lnTo>
                    <a:lnTo>
                      <a:pt x="156" y="1140"/>
                    </a:lnTo>
                    <a:lnTo>
                      <a:pt x="156" y="1139"/>
                    </a:lnTo>
                    <a:lnTo>
                      <a:pt x="154" y="1135"/>
                    </a:lnTo>
                    <a:lnTo>
                      <a:pt x="152" y="1135"/>
                    </a:lnTo>
                    <a:lnTo>
                      <a:pt x="152" y="1133"/>
                    </a:lnTo>
                    <a:lnTo>
                      <a:pt x="150" y="1133"/>
                    </a:lnTo>
                    <a:lnTo>
                      <a:pt x="148" y="1133"/>
                    </a:lnTo>
                    <a:lnTo>
                      <a:pt x="146" y="1131"/>
                    </a:lnTo>
                    <a:lnTo>
                      <a:pt x="146" y="1129"/>
                    </a:lnTo>
                    <a:lnTo>
                      <a:pt x="144" y="1127"/>
                    </a:lnTo>
                    <a:lnTo>
                      <a:pt x="142" y="1125"/>
                    </a:lnTo>
                    <a:lnTo>
                      <a:pt x="142" y="1124"/>
                    </a:lnTo>
                    <a:lnTo>
                      <a:pt x="144" y="1122"/>
                    </a:lnTo>
                    <a:lnTo>
                      <a:pt x="142" y="1122"/>
                    </a:lnTo>
                    <a:lnTo>
                      <a:pt x="144" y="1122"/>
                    </a:lnTo>
                    <a:lnTo>
                      <a:pt x="144" y="1120"/>
                    </a:lnTo>
                    <a:lnTo>
                      <a:pt x="146" y="1120"/>
                    </a:lnTo>
                    <a:lnTo>
                      <a:pt x="148" y="1118"/>
                    </a:lnTo>
                    <a:lnTo>
                      <a:pt x="150" y="1118"/>
                    </a:lnTo>
                    <a:lnTo>
                      <a:pt x="152" y="1116"/>
                    </a:lnTo>
                    <a:lnTo>
                      <a:pt x="152" y="1114"/>
                    </a:lnTo>
                    <a:lnTo>
                      <a:pt x="152" y="1112"/>
                    </a:lnTo>
                    <a:lnTo>
                      <a:pt x="152" y="1110"/>
                    </a:lnTo>
                    <a:lnTo>
                      <a:pt x="152" y="1108"/>
                    </a:lnTo>
                    <a:lnTo>
                      <a:pt x="150" y="1107"/>
                    </a:lnTo>
                    <a:lnTo>
                      <a:pt x="152" y="1105"/>
                    </a:lnTo>
                    <a:lnTo>
                      <a:pt x="152" y="1103"/>
                    </a:lnTo>
                    <a:lnTo>
                      <a:pt x="152" y="1101"/>
                    </a:lnTo>
                    <a:lnTo>
                      <a:pt x="154" y="1101"/>
                    </a:lnTo>
                    <a:lnTo>
                      <a:pt x="154" y="1099"/>
                    </a:lnTo>
                    <a:lnTo>
                      <a:pt x="156" y="1099"/>
                    </a:lnTo>
                    <a:lnTo>
                      <a:pt x="156" y="1097"/>
                    </a:lnTo>
                    <a:lnTo>
                      <a:pt x="154" y="1097"/>
                    </a:lnTo>
                    <a:lnTo>
                      <a:pt x="154" y="1095"/>
                    </a:lnTo>
                    <a:lnTo>
                      <a:pt x="154" y="1093"/>
                    </a:lnTo>
                    <a:lnTo>
                      <a:pt x="152" y="1093"/>
                    </a:lnTo>
                    <a:lnTo>
                      <a:pt x="150" y="1093"/>
                    </a:lnTo>
                    <a:lnTo>
                      <a:pt x="150" y="1095"/>
                    </a:lnTo>
                    <a:lnTo>
                      <a:pt x="150" y="1093"/>
                    </a:lnTo>
                    <a:lnTo>
                      <a:pt x="150" y="1095"/>
                    </a:lnTo>
                    <a:lnTo>
                      <a:pt x="148" y="1097"/>
                    </a:lnTo>
                    <a:lnTo>
                      <a:pt x="146" y="1097"/>
                    </a:lnTo>
                    <a:lnTo>
                      <a:pt x="146" y="1095"/>
                    </a:lnTo>
                    <a:lnTo>
                      <a:pt x="144" y="1097"/>
                    </a:lnTo>
                    <a:lnTo>
                      <a:pt x="144" y="1095"/>
                    </a:lnTo>
                    <a:lnTo>
                      <a:pt x="144" y="1093"/>
                    </a:lnTo>
                    <a:lnTo>
                      <a:pt x="142" y="1093"/>
                    </a:lnTo>
                    <a:lnTo>
                      <a:pt x="141" y="1092"/>
                    </a:lnTo>
                    <a:lnTo>
                      <a:pt x="141" y="1090"/>
                    </a:lnTo>
                    <a:lnTo>
                      <a:pt x="142" y="1088"/>
                    </a:lnTo>
                    <a:lnTo>
                      <a:pt x="141" y="1088"/>
                    </a:lnTo>
                    <a:lnTo>
                      <a:pt x="144" y="1086"/>
                    </a:lnTo>
                    <a:lnTo>
                      <a:pt x="146" y="1086"/>
                    </a:lnTo>
                    <a:lnTo>
                      <a:pt x="146" y="1084"/>
                    </a:lnTo>
                    <a:lnTo>
                      <a:pt x="146" y="1082"/>
                    </a:lnTo>
                    <a:lnTo>
                      <a:pt x="148" y="1082"/>
                    </a:lnTo>
                    <a:lnTo>
                      <a:pt x="148" y="1080"/>
                    </a:lnTo>
                    <a:lnTo>
                      <a:pt x="148" y="1078"/>
                    </a:lnTo>
                    <a:lnTo>
                      <a:pt x="150" y="1078"/>
                    </a:lnTo>
                    <a:lnTo>
                      <a:pt x="150" y="1076"/>
                    </a:lnTo>
                    <a:lnTo>
                      <a:pt x="150" y="1075"/>
                    </a:lnTo>
                    <a:lnTo>
                      <a:pt x="152" y="1075"/>
                    </a:lnTo>
                    <a:lnTo>
                      <a:pt x="152" y="1073"/>
                    </a:lnTo>
                    <a:lnTo>
                      <a:pt x="154" y="1073"/>
                    </a:lnTo>
                    <a:lnTo>
                      <a:pt x="154" y="1071"/>
                    </a:lnTo>
                    <a:lnTo>
                      <a:pt x="156" y="1071"/>
                    </a:lnTo>
                    <a:lnTo>
                      <a:pt x="156" y="1069"/>
                    </a:lnTo>
                    <a:lnTo>
                      <a:pt x="156" y="1067"/>
                    </a:lnTo>
                    <a:lnTo>
                      <a:pt x="156" y="1065"/>
                    </a:lnTo>
                    <a:lnTo>
                      <a:pt x="158" y="1065"/>
                    </a:lnTo>
                    <a:lnTo>
                      <a:pt x="158" y="1063"/>
                    </a:lnTo>
                    <a:lnTo>
                      <a:pt x="158" y="1061"/>
                    </a:lnTo>
                    <a:lnTo>
                      <a:pt x="156" y="1061"/>
                    </a:lnTo>
                    <a:lnTo>
                      <a:pt x="156" y="1060"/>
                    </a:lnTo>
                    <a:lnTo>
                      <a:pt x="158" y="1060"/>
                    </a:lnTo>
                    <a:lnTo>
                      <a:pt x="158" y="1058"/>
                    </a:lnTo>
                    <a:lnTo>
                      <a:pt x="158" y="1056"/>
                    </a:lnTo>
                    <a:lnTo>
                      <a:pt x="158" y="1054"/>
                    </a:lnTo>
                    <a:lnTo>
                      <a:pt x="159" y="1054"/>
                    </a:lnTo>
                    <a:lnTo>
                      <a:pt x="159" y="1052"/>
                    </a:lnTo>
                    <a:lnTo>
                      <a:pt x="161" y="1052"/>
                    </a:lnTo>
                    <a:lnTo>
                      <a:pt x="161" y="1050"/>
                    </a:lnTo>
                    <a:lnTo>
                      <a:pt x="163" y="1050"/>
                    </a:lnTo>
                    <a:lnTo>
                      <a:pt x="163" y="1048"/>
                    </a:lnTo>
                    <a:lnTo>
                      <a:pt x="165" y="1048"/>
                    </a:lnTo>
                    <a:lnTo>
                      <a:pt x="167" y="1046"/>
                    </a:lnTo>
                    <a:lnTo>
                      <a:pt x="167" y="1048"/>
                    </a:lnTo>
                    <a:lnTo>
                      <a:pt x="167" y="1046"/>
                    </a:lnTo>
                    <a:lnTo>
                      <a:pt x="167" y="1048"/>
                    </a:lnTo>
                    <a:lnTo>
                      <a:pt x="169" y="1048"/>
                    </a:lnTo>
                    <a:lnTo>
                      <a:pt x="171" y="1048"/>
                    </a:lnTo>
                    <a:lnTo>
                      <a:pt x="171" y="1046"/>
                    </a:lnTo>
                    <a:lnTo>
                      <a:pt x="171" y="1048"/>
                    </a:lnTo>
                    <a:lnTo>
                      <a:pt x="173" y="1046"/>
                    </a:lnTo>
                    <a:lnTo>
                      <a:pt x="171" y="1048"/>
                    </a:lnTo>
                    <a:lnTo>
                      <a:pt x="169" y="1048"/>
                    </a:lnTo>
                    <a:lnTo>
                      <a:pt x="169" y="1050"/>
                    </a:lnTo>
                    <a:lnTo>
                      <a:pt x="169" y="1048"/>
                    </a:lnTo>
                    <a:lnTo>
                      <a:pt x="169" y="1050"/>
                    </a:lnTo>
                    <a:lnTo>
                      <a:pt x="167" y="1050"/>
                    </a:lnTo>
                    <a:lnTo>
                      <a:pt x="169" y="1050"/>
                    </a:lnTo>
                    <a:lnTo>
                      <a:pt x="171" y="1050"/>
                    </a:lnTo>
                    <a:lnTo>
                      <a:pt x="169" y="1050"/>
                    </a:lnTo>
                    <a:lnTo>
                      <a:pt x="171" y="1050"/>
                    </a:lnTo>
                    <a:lnTo>
                      <a:pt x="171" y="1048"/>
                    </a:lnTo>
                    <a:lnTo>
                      <a:pt x="173" y="1048"/>
                    </a:lnTo>
                    <a:lnTo>
                      <a:pt x="173" y="1050"/>
                    </a:lnTo>
                    <a:lnTo>
                      <a:pt x="173" y="1048"/>
                    </a:lnTo>
                    <a:lnTo>
                      <a:pt x="173" y="1050"/>
                    </a:lnTo>
                    <a:lnTo>
                      <a:pt x="171" y="1050"/>
                    </a:lnTo>
                    <a:lnTo>
                      <a:pt x="173" y="1050"/>
                    </a:lnTo>
                    <a:lnTo>
                      <a:pt x="171" y="1050"/>
                    </a:lnTo>
                    <a:lnTo>
                      <a:pt x="174" y="1054"/>
                    </a:lnTo>
                    <a:lnTo>
                      <a:pt x="173" y="1052"/>
                    </a:lnTo>
                    <a:lnTo>
                      <a:pt x="174" y="1052"/>
                    </a:lnTo>
                    <a:lnTo>
                      <a:pt x="174" y="1054"/>
                    </a:lnTo>
                    <a:lnTo>
                      <a:pt x="174" y="1052"/>
                    </a:lnTo>
                    <a:lnTo>
                      <a:pt x="173" y="1052"/>
                    </a:lnTo>
                    <a:lnTo>
                      <a:pt x="173" y="1050"/>
                    </a:lnTo>
                    <a:lnTo>
                      <a:pt x="174" y="1050"/>
                    </a:lnTo>
                    <a:lnTo>
                      <a:pt x="176" y="1052"/>
                    </a:lnTo>
                    <a:lnTo>
                      <a:pt x="176" y="1054"/>
                    </a:lnTo>
                    <a:lnTo>
                      <a:pt x="176" y="1052"/>
                    </a:lnTo>
                    <a:lnTo>
                      <a:pt x="176" y="1054"/>
                    </a:lnTo>
                    <a:lnTo>
                      <a:pt x="178" y="1052"/>
                    </a:lnTo>
                    <a:lnTo>
                      <a:pt x="174" y="1050"/>
                    </a:lnTo>
                    <a:lnTo>
                      <a:pt x="174" y="1048"/>
                    </a:lnTo>
                    <a:lnTo>
                      <a:pt x="173" y="1050"/>
                    </a:lnTo>
                    <a:lnTo>
                      <a:pt x="174" y="1048"/>
                    </a:lnTo>
                    <a:lnTo>
                      <a:pt x="173" y="1048"/>
                    </a:lnTo>
                    <a:lnTo>
                      <a:pt x="174" y="1048"/>
                    </a:lnTo>
                    <a:lnTo>
                      <a:pt x="176" y="1050"/>
                    </a:lnTo>
                    <a:lnTo>
                      <a:pt x="176" y="1052"/>
                    </a:lnTo>
                    <a:lnTo>
                      <a:pt x="178" y="1052"/>
                    </a:lnTo>
                    <a:lnTo>
                      <a:pt x="180" y="1052"/>
                    </a:lnTo>
                    <a:lnTo>
                      <a:pt x="180" y="1050"/>
                    </a:lnTo>
                    <a:lnTo>
                      <a:pt x="182" y="1050"/>
                    </a:lnTo>
                    <a:lnTo>
                      <a:pt x="182" y="1048"/>
                    </a:lnTo>
                    <a:lnTo>
                      <a:pt x="184" y="1048"/>
                    </a:lnTo>
                    <a:lnTo>
                      <a:pt x="184" y="1046"/>
                    </a:lnTo>
                    <a:lnTo>
                      <a:pt x="184" y="1044"/>
                    </a:lnTo>
                    <a:lnTo>
                      <a:pt x="186" y="1043"/>
                    </a:lnTo>
                    <a:lnTo>
                      <a:pt x="186" y="1041"/>
                    </a:lnTo>
                    <a:lnTo>
                      <a:pt x="186" y="1039"/>
                    </a:lnTo>
                    <a:lnTo>
                      <a:pt x="186" y="1033"/>
                    </a:lnTo>
                    <a:lnTo>
                      <a:pt x="186" y="1031"/>
                    </a:lnTo>
                    <a:lnTo>
                      <a:pt x="184" y="1028"/>
                    </a:lnTo>
                    <a:lnTo>
                      <a:pt x="184" y="1026"/>
                    </a:lnTo>
                    <a:lnTo>
                      <a:pt x="184" y="1024"/>
                    </a:lnTo>
                    <a:lnTo>
                      <a:pt x="182" y="1024"/>
                    </a:lnTo>
                    <a:lnTo>
                      <a:pt x="182" y="1022"/>
                    </a:lnTo>
                    <a:lnTo>
                      <a:pt x="180" y="1020"/>
                    </a:lnTo>
                    <a:lnTo>
                      <a:pt x="180" y="1018"/>
                    </a:lnTo>
                    <a:lnTo>
                      <a:pt x="178" y="1018"/>
                    </a:lnTo>
                    <a:lnTo>
                      <a:pt x="178" y="1016"/>
                    </a:lnTo>
                    <a:lnTo>
                      <a:pt x="178" y="1014"/>
                    </a:lnTo>
                    <a:lnTo>
                      <a:pt x="176" y="1014"/>
                    </a:lnTo>
                    <a:lnTo>
                      <a:pt x="176" y="1012"/>
                    </a:lnTo>
                    <a:lnTo>
                      <a:pt x="176" y="1011"/>
                    </a:lnTo>
                    <a:lnTo>
                      <a:pt x="174" y="1009"/>
                    </a:lnTo>
                    <a:lnTo>
                      <a:pt x="174" y="1003"/>
                    </a:lnTo>
                    <a:lnTo>
                      <a:pt x="174" y="1001"/>
                    </a:lnTo>
                    <a:lnTo>
                      <a:pt x="173" y="999"/>
                    </a:lnTo>
                    <a:lnTo>
                      <a:pt x="173" y="997"/>
                    </a:lnTo>
                    <a:lnTo>
                      <a:pt x="173" y="996"/>
                    </a:lnTo>
                    <a:lnTo>
                      <a:pt x="174" y="994"/>
                    </a:lnTo>
                    <a:lnTo>
                      <a:pt x="174" y="992"/>
                    </a:lnTo>
                    <a:lnTo>
                      <a:pt x="174" y="990"/>
                    </a:lnTo>
                    <a:lnTo>
                      <a:pt x="173" y="984"/>
                    </a:lnTo>
                    <a:lnTo>
                      <a:pt x="173" y="982"/>
                    </a:lnTo>
                    <a:lnTo>
                      <a:pt x="173" y="980"/>
                    </a:lnTo>
                    <a:lnTo>
                      <a:pt x="171" y="980"/>
                    </a:lnTo>
                    <a:lnTo>
                      <a:pt x="171" y="979"/>
                    </a:lnTo>
                    <a:lnTo>
                      <a:pt x="169" y="979"/>
                    </a:lnTo>
                    <a:lnTo>
                      <a:pt x="171" y="979"/>
                    </a:lnTo>
                    <a:lnTo>
                      <a:pt x="169" y="979"/>
                    </a:lnTo>
                    <a:lnTo>
                      <a:pt x="171" y="979"/>
                    </a:lnTo>
                    <a:lnTo>
                      <a:pt x="171" y="977"/>
                    </a:lnTo>
                    <a:lnTo>
                      <a:pt x="169" y="973"/>
                    </a:lnTo>
                    <a:lnTo>
                      <a:pt x="167" y="969"/>
                    </a:lnTo>
                    <a:lnTo>
                      <a:pt x="165" y="967"/>
                    </a:lnTo>
                    <a:lnTo>
                      <a:pt x="165" y="965"/>
                    </a:lnTo>
                    <a:lnTo>
                      <a:pt x="163" y="965"/>
                    </a:lnTo>
                    <a:lnTo>
                      <a:pt x="163" y="964"/>
                    </a:lnTo>
                    <a:lnTo>
                      <a:pt x="161" y="962"/>
                    </a:lnTo>
                    <a:lnTo>
                      <a:pt x="159" y="962"/>
                    </a:lnTo>
                    <a:lnTo>
                      <a:pt x="158" y="962"/>
                    </a:lnTo>
                    <a:lnTo>
                      <a:pt x="158" y="960"/>
                    </a:lnTo>
                    <a:lnTo>
                      <a:pt x="156" y="960"/>
                    </a:lnTo>
                    <a:lnTo>
                      <a:pt x="156" y="958"/>
                    </a:lnTo>
                    <a:lnTo>
                      <a:pt x="158" y="958"/>
                    </a:lnTo>
                    <a:lnTo>
                      <a:pt x="156" y="958"/>
                    </a:lnTo>
                    <a:lnTo>
                      <a:pt x="156" y="956"/>
                    </a:lnTo>
                    <a:lnTo>
                      <a:pt x="154" y="954"/>
                    </a:lnTo>
                    <a:lnTo>
                      <a:pt x="154" y="956"/>
                    </a:lnTo>
                    <a:lnTo>
                      <a:pt x="152" y="954"/>
                    </a:lnTo>
                    <a:lnTo>
                      <a:pt x="154" y="954"/>
                    </a:lnTo>
                    <a:lnTo>
                      <a:pt x="154" y="952"/>
                    </a:lnTo>
                    <a:lnTo>
                      <a:pt x="152" y="950"/>
                    </a:lnTo>
                    <a:lnTo>
                      <a:pt x="152" y="948"/>
                    </a:lnTo>
                    <a:lnTo>
                      <a:pt x="150" y="947"/>
                    </a:lnTo>
                    <a:lnTo>
                      <a:pt x="148" y="947"/>
                    </a:lnTo>
                    <a:lnTo>
                      <a:pt x="146" y="947"/>
                    </a:lnTo>
                    <a:lnTo>
                      <a:pt x="144" y="947"/>
                    </a:lnTo>
                    <a:lnTo>
                      <a:pt x="144" y="948"/>
                    </a:lnTo>
                    <a:lnTo>
                      <a:pt x="142" y="947"/>
                    </a:lnTo>
                    <a:lnTo>
                      <a:pt x="141" y="947"/>
                    </a:lnTo>
                    <a:lnTo>
                      <a:pt x="141" y="945"/>
                    </a:lnTo>
                    <a:lnTo>
                      <a:pt x="141" y="943"/>
                    </a:lnTo>
                    <a:lnTo>
                      <a:pt x="141" y="941"/>
                    </a:lnTo>
                    <a:lnTo>
                      <a:pt x="141" y="939"/>
                    </a:lnTo>
                    <a:lnTo>
                      <a:pt x="141" y="937"/>
                    </a:lnTo>
                    <a:lnTo>
                      <a:pt x="142" y="937"/>
                    </a:lnTo>
                    <a:lnTo>
                      <a:pt x="142" y="935"/>
                    </a:lnTo>
                    <a:lnTo>
                      <a:pt x="142" y="933"/>
                    </a:lnTo>
                    <a:lnTo>
                      <a:pt x="142" y="932"/>
                    </a:lnTo>
                    <a:lnTo>
                      <a:pt x="144" y="932"/>
                    </a:lnTo>
                    <a:lnTo>
                      <a:pt x="144" y="930"/>
                    </a:lnTo>
                    <a:lnTo>
                      <a:pt x="142" y="930"/>
                    </a:lnTo>
                    <a:lnTo>
                      <a:pt x="142" y="928"/>
                    </a:lnTo>
                    <a:lnTo>
                      <a:pt x="141" y="928"/>
                    </a:lnTo>
                    <a:lnTo>
                      <a:pt x="141" y="926"/>
                    </a:lnTo>
                    <a:lnTo>
                      <a:pt x="142" y="926"/>
                    </a:lnTo>
                    <a:lnTo>
                      <a:pt x="141" y="926"/>
                    </a:lnTo>
                    <a:lnTo>
                      <a:pt x="141" y="924"/>
                    </a:lnTo>
                    <a:lnTo>
                      <a:pt x="142" y="924"/>
                    </a:lnTo>
                    <a:lnTo>
                      <a:pt x="141" y="924"/>
                    </a:lnTo>
                    <a:lnTo>
                      <a:pt x="141" y="922"/>
                    </a:lnTo>
                    <a:lnTo>
                      <a:pt x="141" y="920"/>
                    </a:lnTo>
                    <a:lnTo>
                      <a:pt x="139" y="920"/>
                    </a:lnTo>
                    <a:lnTo>
                      <a:pt x="141" y="918"/>
                    </a:lnTo>
                    <a:lnTo>
                      <a:pt x="139" y="918"/>
                    </a:lnTo>
                    <a:lnTo>
                      <a:pt x="137" y="916"/>
                    </a:lnTo>
                    <a:lnTo>
                      <a:pt x="137" y="915"/>
                    </a:lnTo>
                    <a:lnTo>
                      <a:pt x="135" y="913"/>
                    </a:lnTo>
                    <a:lnTo>
                      <a:pt x="131" y="907"/>
                    </a:lnTo>
                    <a:lnTo>
                      <a:pt x="127" y="903"/>
                    </a:lnTo>
                    <a:lnTo>
                      <a:pt x="122" y="898"/>
                    </a:lnTo>
                    <a:lnTo>
                      <a:pt x="120" y="896"/>
                    </a:lnTo>
                    <a:lnTo>
                      <a:pt x="118" y="894"/>
                    </a:lnTo>
                    <a:lnTo>
                      <a:pt x="116" y="892"/>
                    </a:lnTo>
                    <a:lnTo>
                      <a:pt x="109" y="888"/>
                    </a:lnTo>
                    <a:lnTo>
                      <a:pt x="107" y="886"/>
                    </a:lnTo>
                    <a:lnTo>
                      <a:pt x="105" y="886"/>
                    </a:lnTo>
                    <a:lnTo>
                      <a:pt x="103" y="884"/>
                    </a:lnTo>
                    <a:lnTo>
                      <a:pt x="103" y="883"/>
                    </a:lnTo>
                    <a:lnTo>
                      <a:pt x="101" y="883"/>
                    </a:lnTo>
                    <a:lnTo>
                      <a:pt x="101" y="881"/>
                    </a:lnTo>
                    <a:lnTo>
                      <a:pt x="99" y="881"/>
                    </a:lnTo>
                    <a:lnTo>
                      <a:pt x="99" y="879"/>
                    </a:lnTo>
                    <a:lnTo>
                      <a:pt x="99" y="877"/>
                    </a:lnTo>
                    <a:lnTo>
                      <a:pt x="101" y="877"/>
                    </a:lnTo>
                    <a:lnTo>
                      <a:pt x="103" y="877"/>
                    </a:lnTo>
                    <a:lnTo>
                      <a:pt x="103" y="873"/>
                    </a:lnTo>
                    <a:lnTo>
                      <a:pt x="101" y="873"/>
                    </a:lnTo>
                    <a:lnTo>
                      <a:pt x="101" y="871"/>
                    </a:lnTo>
                    <a:lnTo>
                      <a:pt x="101" y="869"/>
                    </a:lnTo>
                    <a:lnTo>
                      <a:pt x="99" y="864"/>
                    </a:lnTo>
                    <a:lnTo>
                      <a:pt x="95" y="856"/>
                    </a:lnTo>
                    <a:lnTo>
                      <a:pt x="92" y="851"/>
                    </a:lnTo>
                    <a:lnTo>
                      <a:pt x="88" y="845"/>
                    </a:lnTo>
                    <a:lnTo>
                      <a:pt x="82" y="837"/>
                    </a:lnTo>
                    <a:lnTo>
                      <a:pt x="77" y="830"/>
                    </a:lnTo>
                    <a:lnTo>
                      <a:pt x="71" y="824"/>
                    </a:lnTo>
                    <a:lnTo>
                      <a:pt x="67" y="822"/>
                    </a:lnTo>
                    <a:lnTo>
                      <a:pt x="67" y="820"/>
                    </a:lnTo>
                    <a:lnTo>
                      <a:pt x="65" y="820"/>
                    </a:lnTo>
                    <a:lnTo>
                      <a:pt x="65" y="819"/>
                    </a:lnTo>
                    <a:lnTo>
                      <a:pt x="63" y="817"/>
                    </a:lnTo>
                    <a:lnTo>
                      <a:pt x="62" y="817"/>
                    </a:lnTo>
                    <a:lnTo>
                      <a:pt x="60" y="817"/>
                    </a:lnTo>
                    <a:lnTo>
                      <a:pt x="58" y="817"/>
                    </a:lnTo>
                    <a:lnTo>
                      <a:pt x="58" y="815"/>
                    </a:lnTo>
                    <a:lnTo>
                      <a:pt x="56" y="815"/>
                    </a:lnTo>
                    <a:lnTo>
                      <a:pt x="54" y="815"/>
                    </a:lnTo>
                    <a:lnTo>
                      <a:pt x="54" y="813"/>
                    </a:lnTo>
                    <a:lnTo>
                      <a:pt x="54" y="811"/>
                    </a:lnTo>
                    <a:lnTo>
                      <a:pt x="56" y="811"/>
                    </a:lnTo>
                    <a:lnTo>
                      <a:pt x="54" y="809"/>
                    </a:lnTo>
                    <a:lnTo>
                      <a:pt x="54" y="807"/>
                    </a:lnTo>
                    <a:lnTo>
                      <a:pt x="52" y="807"/>
                    </a:lnTo>
                    <a:lnTo>
                      <a:pt x="50" y="805"/>
                    </a:lnTo>
                    <a:lnTo>
                      <a:pt x="48" y="805"/>
                    </a:lnTo>
                    <a:lnTo>
                      <a:pt x="48" y="804"/>
                    </a:lnTo>
                    <a:lnTo>
                      <a:pt x="50" y="804"/>
                    </a:lnTo>
                    <a:lnTo>
                      <a:pt x="50" y="802"/>
                    </a:lnTo>
                    <a:lnTo>
                      <a:pt x="52" y="802"/>
                    </a:lnTo>
                    <a:lnTo>
                      <a:pt x="54" y="802"/>
                    </a:lnTo>
                    <a:lnTo>
                      <a:pt x="56" y="802"/>
                    </a:lnTo>
                    <a:lnTo>
                      <a:pt x="56" y="800"/>
                    </a:lnTo>
                    <a:lnTo>
                      <a:pt x="56" y="798"/>
                    </a:lnTo>
                    <a:lnTo>
                      <a:pt x="56" y="796"/>
                    </a:lnTo>
                    <a:lnTo>
                      <a:pt x="54" y="796"/>
                    </a:lnTo>
                    <a:lnTo>
                      <a:pt x="54" y="794"/>
                    </a:lnTo>
                    <a:lnTo>
                      <a:pt x="56" y="794"/>
                    </a:lnTo>
                    <a:lnTo>
                      <a:pt x="54" y="794"/>
                    </a:lnTo>
                    <a:lnTo>
                      <a:pt x="54" y="792"/>
                    </a:lnTo>
                    <a:lnTo>
                      <a:pt x="56" y="792"/>
                    </a:lnTo>
                    <a:lnTo>
                      <a:pt x="58" y="792"/>
                    </a:lnTo>
                    <a:lnTo>
                      <a:pt x="58" y="794"/>
                    </a:lnTo>
                    <a:lnTo>
                      <a:pt x="60" y="794"/>
                    </a:lnTo>
                    <a:lnTo>
                      <a:pt x="60" y="792"/>
                    </a:lnTo>
                    <a:lnTo>
                      <a:pt x="60" y="794"/>
                    </a:lnTo>
                    <a:lnTo>
                      <a:pt x="60" y="796"/>
                    </a:lnTo>
                    <a:lnTo>
                      <a:pt x="62" y="796"/>
                    </a:lnTo>
                    <a:lnTo>
                      <a:pt x="62" y="798"/>
                    </a:lnTo>
                    <a:lnTo>
                      <a:pt x="60" y="798"/>
                    </a:lnTo>
                    <a:lnTo>
                      <a:pt x="60" y="800"/>
                    </a:lnTo>
                    <a:lnTo>
                      <a:pt x="58" y="800"/>
                    </a:lnTo>
                    <a:lnTo>
                      <a:pt x="56" y="800"/>
                    </a:lnTo>
                    <a:lnTo>
                      <a:pt x="58" y="800"/>
                    </a:lnTo>
                    <a:lnTo>
                      <a:pt x="60" y="800"/>
                    </a:lnTo>
                    <a:lnTo>
                      <a:pt x="62" y="800"/>
                    </a:lnTo>
                    <a:lnTo>
                      <a:pt x="63" y="800"/>
                    </a:lnTo>
                    <a:lnTo>
                      <a:pt x="63" y="802"/>
                    </a:lnTo>
                    <a:lnTo>
                      <a:pt x="65" y="802"/>
                    </a:lnTo>
                    <a:lnTo>
                      <a:pt x="63" y="802"/>
                    </a:lnTo>
                    <a:lnTo>
                      <a:pt x="63" y="804"/>
                    </a:lnTo>
                    <a:lnTo>
                      <a:pt x="65" y="804"/>
                    </a:lnTo>
                    <a:lnTo>
                      <a:pt x="65" y="805"/>
                    </a:lnTo>
                    <a:lnTo>
                      <a:pt x="65" y="807"/>
                    </a:lnTo>
                    <a:lnTo>
                      <a:pt x="65" y="809"/>
                    </a:lnTo>
                    <a:lnTo>
                      <a:pt x="67" y="809"/>
                    </a:lnTo>
                    <a:lnTo>
                      <a:pt x="67" y="811"/>
                    </a:lnTo>
                    <a:lnTo>
                      <a:pt x="69" y="811"/>
                    </a:lnTo>
                    <a:lnTo>
                      <a:pt x="69" y="813"/>
                    </a:lnTo>
                    <a:lnTo>
                      <a:pt x="67" y="813"/>
                    </a:lnTo>
                    <a:lnTo>
                      <a:pt x="67" y="815"/>
                    </a:lnTo>
                    <a:lnTo>
                      <a:pt x="67" y="817"/>
                    </a:lnTo>
                    <a:lnTo>
                      <a:pt x="69" y="817"/>
                    </a:lnTo>
                    <a:lnTo>
                      <a:pt x="71" y="819"/>
                    </a:lnTo>
                    <a:lnTo>
                      <a:pt x="73" y="819"/>
                    </a:lnTo>
                    <a:lnTo>
                      <a:pt x="75" y="819"/>
                    </a:lnTo>
                    <a:lnTo>
                      <a:pt x="73" y="819"/>
                    </a:lnTo>
                    <a:lnTo>
                      <a:pt x="73" y="820"/>
                    </a:lnTo>
                    <a:lnTo>
                      <a:pt x="75" y="820"/>
                    </a:lnTo>
                    <a:lnTo>
                      <a:pt x="77" y="822"/>
                    </a:lnTo>
                    <a:lnTo>
                      <a:pt x="77" y="824"/>
                    </a:lnTo>
                    <a:lnTo>
                      <a:pt x="79" y="826"/>
                    </a:lnTo>
                    <a:lnTo>
                      <a:pt x="80" y="826"/>
                    </a:lnTo>
                    <a:lnTo>
                      <a:pt x="80" y="828"/>
                    </a:lnTo>
                    <a:lnTo>
                      <a:pt x="82" y="828"/>
                    </a:lnTo>
                    <a:lnTo>
                      <a:pt x="84" y="828"/>
                    </a:lnTo>
                    <a:lnTo>
                      <a:pt x="84" y="830"/>
                    </a:lnTo>
                    <a:lnTo>
                      <a:pt x="84" y="832"/>
                    </a:lnTo>
                    <a:lnTo>
                      <a:pt x="84" y="834"/>
                    </a:lnTo>
                    <a:lnTo>
                      <a:pt x="86" y="834"/>
                    </a:lnTo>
                    <a:lnTo>
                      <a:pt x="88" y="834"/>
                    </a:lnTo>
                    <a:lnTo>
                      <a:pt x="90" y="832"/>
                    </a:lnTo>
                    <a:lnTo>
                      <a:pt x="92" y="832"/>
                    </a:lnTo>
                    <a:lnTo>
                      <a:pt x="92" y="830"/>
                    </a:lnTo>
                    <a:lnTo>
                      <a:pt x="94" y="830"/>
                    </a:lnTo>
                    <a:lnTo>
                      <a:pt x="94" y="828"/>
                    </a:lnTo>
                    <a:lnTo>
                      <a:pt x="94" y="826"/>
                    </a:lnTo>
                    <a:lnTo>
                      <a:pt x="92" y="826"/>
                    </a:lnTo>
                    <a:lnTo>
                      <a:pt x="90" y="826"/>
                    </a:lnTo>
                    <a:lnTo>
                      <a:pt x="88" y="828"/>
                    </a:lnTo>
                    <a:lnTo>
                      <a:pt x="90" y="828"/>
                    </a:lnTo>
                    <a:lnTo>
                      <a:pt x="88" y="828"/>
                    </a:lnTo>
                    <a:lnTo>
                      <a:pt x="88" y="826"/>
                    </a:lnTo>
                    <a:lnTo>
                      <a:pt x="86" y="826"/>
                    </a:lnTo>
                    <a:lnTo>
                      <a:pt x="84" y="826"/>
                    </a:lnTo>
                    <a:lnTo>
                      <a:pt x="82" y="824"/>
                    </a:lnTo>
                    <a:lnTo>
                      <a:pt x="82" y="822"/>
                    </a:lnTo>
                    <a:lnTo>
                      <a:pt x="84" y="822"/>
                    </a:lnTo>
                    <a:lnTo>
                      <a:pt x="84" y="824"/>
                    </a:lnTo>
                    <a:lnTo>
                      <a:pt x="84" y="822"/>
                    </a:lnTo>
                    <a:lnTo>
                      <a:pt x="86" y="824"/>
                    </a:lnTo>
                    <a:lnTo>
                      <a:pt x="86" y="822"/>
                    </a:lnTo>
                    <a:lnTo>
                      <a:pt x="84" y="822"/>
                    </a:lnTo>
                    <a:lnTo>
                      <a:pt x="86" y="822"/>
                    </a:lnTo>
                    <a:lnTo>
                      <a:pt x="84" y="822"/>
                    </a:lnTo>
                    <a:lnTo>
                      <a:pt x="84" y="820"/>
                    </a:lnTo>
                    <a:lnTo>
                      <a:pt x="86" y="820"/>
                    </a:lnTo>
                    <a:lnTo>
                      <a:pt x="86" y="819"/>
                    </a:lnTo>
                    <a:lnTo>
                      <a:pt x="84" y="819"/>
                    </a:lnTo>
                    <a:lnTo>
                      <a:pt x="84" y="817"/>
                    </a:lnTo>
                    <a:lnTo>
                      <a:pt x="84" y="815"/>
                    </a:lnTo>
                    <a:lnTo>
                      <a:pt x="82" y="815"/>
                    </a:lnTo>
                    <a:lnTo>
                      <a:pt x="80" y="813"/>
                    </a:lnTo>
                    <a:lnTo>
                      <a:pt x="79" y="813"/>
                    </a:lnTo>
                    <a:lnTo>
                      <a:pt x="77" y="811"/>
                    </a:lnTo>
                    <a:lnTo>
                      <a:pt x="77" y="809"/>
                    </a:lnTo>
                    <a:lnTo>
                      <a:pt x="75" y="809"/>
                    </a:lnTo>
                    <a:lnTo>
                      <a:pt x="73" y="807"/>
                    </a:lnTo>
                    <a:lnTo>
                      <a:pt x="71" y="805"/>
                    </a:lnTo>
                    <a:lnTo>
                      <a:pt x="69" y="804"/>
                    </a:lnTo>
                    <a:lnTo>
                      <a:pt x="69" y="802"/>
                    </a:lnTo>
                    <a:lnTo>
                      <a:pt x="69" y="800"/>
                    </a:lnTo>
                    <a:lnTo>
                      <a:pt x="69" y="798"/>
                    </a:lnTo>
                    <a:lnTo>
                      <a:pt x="69" y="796"/>
                    </a:lnTo>
                    <a:lnTo>
                      <a:pt x="71" y="792"/>
                    </a:lnTo>
                    <a:lnTo>
                      <a:pt x="71" y="790"/>
                    </a:lnTo>
                    <a:lnTo>
                      <a:pt x="73" y="790"/>
                    </a:lnTo>
                    <a:lnTo>
                      <a:pt x="73" y="788"/>
                    </a:lnTo>
                    <a:lnTo>
                      <a:pt x="71" y="788"/>
                    </a:lnTo>
                    <a:lnTo>
                      <a:pt x="73" y="788"/>
                    </a:lnTo>
                    <a:lnTo>
                      <a:pt x="73" y="787"/>
                    </a:lnTo>
                    <a:lnTo>
                      <a:pt x="71" y="787"/>
                    </a:lnTo>
                    <a:lnTo>
                      <a:pt x="71" y="785"/>
                    </a:lnTo>
                    <a:lnTo>
                      <a:pt x="71" y="783"/>
                    </a:lnTo>
                    <a:lnTo>
                      <a:pt x="69" y="781"/>
                    </a:lnTo>
                    <a:lnTo>
                      <a:pt x="69" y="779"/>
                    </a:lnTo>
                    <a:lnTo>
                      <a:pt x="65" y="775"/>
                    </a:lnTo>
                    <a:lnTo>
                      <a:pt x="63" y="775"/>
                    </a:lnTo>
                    <a:lnTo>
                      <a:pt x="63" y="773"/>
                    </a:lnTo>
                    <a:lnTo>
                      <a:pt x="62" y="773"/>
                    </a:lnTo>
                    <a:lnTo>
                      <a:pt x="62" y="775"/>
                    </a:lnTo>
                    <a:lnTo>
                      <a:pt x="60" y="773"/>
                    </a:lnTo>
                    <a:lnTo>
                      <a:pt x="60" y="775"/>
                    </a:lnTo>
                    <a:lnTo>
                      <a:pt x="60" y="777"/>
                    </a:lnTo>
                    <a:lnTo>
                      <a:pt x="58" y="777"/>
                    </a:lnTo>
                    <a:lnTo>
                      <a:pt x="58" y="779"/>
                    </a:lnTo>
                    <a:lnTo>
                      <a:pt x="58" y="781"/>
                    </a:lnTo>
                    <a:lnTo>
                      <a:pt x="56" y="783"/>
                    </a:lnTo>
                    <a:lnTo>
                      <a:pt x="58" y="781"/>
                    </a:lnTo>
                    <a:lnTo>
                      <a:pt x="58" y="779"/>
                    </a:lnTo>
                    <a:lnTo>
                      <a:pt x="58" y="777"/>
                    </a:lnTo>
                    <a:lnTo>
                      <a:pt x="58" y="775"/>
                    </a:lnTo>
                    <a:lnTo>
                      <a:pt x="60" y="775"/>
                    </a:lnTo>
                    <a:lnTo>
                      <a:pt x="60" y="773"/>
                    </a:lnTo>
                    <a:lnTo>
                      <a:pt x="60" y="772"/>
                    </a:lnTo>
                    <a:lnTo>
                      <a:pt x="58" y="772"/>
                    </a:lnTo>
                    <a:lnTo>
                      <a:pt x="58" y="770"/>
                    </a:lnTo>
                    <a:lnTo>
                      <a:pt x="58" y="772"/>
                    </a:lnTo>
                    <a:lnTo>
                      <a:pt x="58" y="770"/>
                    </a:lnTo>
                    <a:lnTo>
                      <a:pt x="58" y="772"/>
                    </a:lnTo>
                    <a:lnTo>
                      <a:pt x="56" y="772"/>
                    </a:lnTo>
                    <a:lnTo>
                      <a:pt x="56" y="770"/>
                    </a:lnTo>
                    <a:lnTo>
                      <a:pt x="54" y="772"/>
                    </a:lnTo>
                    <a:lnTo>
                      <a:pt x="52" y="772"/>
                    </a:lnTo>
                    <a:lnTo>
                      <a:pt x="50" y="772"/>
                    </a:lnTo>
                    <a:lnTo>
                      <a:pt x="48" y="772"/>
                    </a:lnTo>
                    <a:lnTo>
                      <a:pt x="48" y="773"/>
                    </a:lnTo>
                    <a:lnTo>
                      <a:pt x="47" y="773"/>
                    </a:lnTo>
                    <a:lnTo>
                      <a:pt x="48" y="773"/>
                    </a:lnTo>
                    <a:lnTo>
                      <a:pt x="48" y="775"/>
                    </a:lnTo>
                    <a:lnTo>
                      <a:pt x="48" y="777"/>
                    </a:lnTo>
                    <a:lnTo>
                      <a:pt x="48" y="779"/>
                    </a:lnTo>
                    <a:lnTo>
                      <a:pt x="48" y="777"/>
                    </a:lnTo>
                    <a:lnTo>
                      <a:pt x="48" y="779"/>
                    </a:lnTo>
                    <a:lnTo>
                      <a:pt x="48" y="777"/>
                    </a:lnTo>
                    <a:lnTo>
                      <a:pt x="48" y="779"/>
                    </a:lnTo>
                    <a:lnTo>
                      <a:pt x="50" y="779"/>
                    </a:lnTo>
                    <a:lnTo>
                      <a:pt x="50" y="781"/>
                    </a:lnTo>
                    <a:lnTo>
                      <a:pt x="52" y="781"/>
                    </a:lnTo>
                    <a:lnTo>
                      <a:pt x="52" y="779"/>
                    </a:lnTo>
                    <a:lnTo>
                      <a:pt x="50" y="779"/>
                    </a:lnTo>
                    <a:lnTo>
                      <a:pt x="52" y="779"/>
                    </a:lnTo>
                    <a:lnTo>
                      <a:pt x="50" y="779"/>
                    </a:lnTo>
                    <a:lnTo>
                      <a:pt x="52" y="779"/>
                    </a:lnTo>
                    <a:lnTo>
                      <a:pt x="52" y="781"/>
                    </a:lnTo>
                    <a:lnTo>
                      <a:pt x="54" y="781"/>
                    </a:lnTo>
                    <a:lnTo>
                      <a:pt x="54" y="783"/>
                    </a:lnTo>
                    <a:lnTo>
                      <a:pt x="54" y="785"/>
                    </a:lnTo>
                    <a:lnTo>
                      <a:pt x="54" y="787"/>
                    </a:lnTo>
                    <a:lnTo>
                      <a:pt x="52" y="787"/>
                    </a:lnTo>
                    <a:lnTo>
                      <a:pt x="52" y="785"/>
                    </a:lnTo>
                    <a:lnTo>
                      <a:pt x="54" y="785"/>
                    </a:lnTo>
                    <a:lnTo>
                      <a:pt x="54" y="783"/>
                    </a:lnTo>
                    <a:lnTo>
                      <a:pt x="52" y="783"/>
                    </a:lnTo>
                    <a:lnTo>
                      <a:pt x="52" y="781"/>
                    </a:lnTo>
                    <a:lnTo>
                      <a:pt x="50" y="781"/>
                    </a:lnTo>
                    <a:lnTo>
                      <a:pt x="48" y="781"/>
                    </a:lnTo>
                    <a:lnTo>
                      <a:pt x="48" y="779"/>
                    </a:lnTo>
                    <a:lnTo>
                      <a:pt x="47" y="779"/>
                    </a:lnTo>
                    <a:lnTo>
                      <a:pt x="45" y="781"/>
                    </a:lnTo>
                    <a:lnTo>
                      <a:pt x="45" y="783"/>
                    </a:lnTo>
                    <a:lnTo>
                      <a:pt x="45" y="785"/>
                    </a:lnTo>
                    <a:lnTo>
                      <a:pt x="43" y="785"/>
                    </a:lnTo>
                    <a:lnTo>
                      <a:pt x="41" y="785"/>
                    </a:lnTo>
                    <a:lnTo>
                      <a:pt x="39" y="787"/>
                    </a:lnTo>
                    <a:lnTo>
                      <a:pt x="39" y="788"/>
                    </a:lnTo>
                    <a:lnTo>
                      <a:pt x="39" y="787"/>
                    </a:lnTo>
                    <a:lnTo>
                      <a:pt x="37" y="787"/>
                    </a:lnTo>
                    <a:lnTo>
                      <a:pt x="37" y="785"/>
                    </a:lnTo>
                    <a:lnTo>
                      <a:pt x="35" y="785"/>
                    </a:lnTo>
                    <a:lnTo>
                      <a:pt x="33" y="785"/>
                    </a:lnTo>
                    <a:lnTo>
                      <a:pt x="35" y="785"/>
                    </a:lnTo>
                    <a:lnTo>
                      <a:pt x="35" y="783"/>
                    </a:lnTo>
                    <a:lnTo>
                      <a:pt x="33" y="781"/>
                    </a:lnTo>
                    <a:lnTo>
                      <a:pt x="33" y="779"/>
                    </a:lnTo>
                    <a:lnTo>
                      <a:pt x="35" y="781"/>
                    </a:lnTo>
                    <a:lnTo>
                      <a:pt x="35" y="779"/>
                    </a:lnTo>
                    <a:lnTo>
                      <a:pt x="37" y="779"/>
                    </a:lnTo>
                    <a:lnTo>
                      <a:pt x="37" y="777"/>
                    </a:lnTo>
                    <a:lnTo>
                      <a:pt x="37" y="775"/>
                    </a:lnTo>
                    <a:lnTo>
                      <a:pt x="35" y="775"/>
                    </a:lnTo>
                    <a:lnTo>
                      <a:pt x="35" y="773"/>
                    </a:lnTo>
                    <a:lnTo>
                      <a:pt x="33" y="772"/>
                    </a:lnTo>
                    <a:lnTo>
                      <a:pt x="31" y="772"/>
                    </a:lnTo>
                    <a:lnTo>
                      <a:pt x="31" y="773"/>
                    </a:lnTo>
                    <a:lnTo>
                      <a:pt x="30" y="773"/>
                    </a:lnTo>
                    <a:lnTo>
                      <a:pt x="30" y="772"/>
                    </a:lnTo>
                    <a:lnTo>
                      <a:pt x="28" y="772"/>
                    </a:lnTo>
                    <a:lnTo>
                      <a:pt x="30" y="772"/>
                    </a:lnTo>
                    <a:lnTo>
                      <a:pt x="30" y="770"/>
                    </a:lnTo>
                    <a:lnTo>
                      <a:pt x="28" y="770"/>
                    </a:lnTo>
                    <a:lnTo>
                      <a:pt x="30" y="770"/>
                    </a:lnTo>
                    <a:lnTo>
                      <a:pt x="30" y="768"/>
                    </a:lnTo>
                    <a:lnTo>
                      <a:pt x="30" y="766"/>
                    </a:lnTo>
                    <a:lnTo>
                      <a:pt x="31" y="766"/>
                    </a:lnTo>
                    <a:lnTo>
                      <a:pt x="31" y="764"/>
                    </a:lnTo>
                    <a:lnTo>
                      <a:pt x="30" y="764"/>
                    </a:lnTo>
                    <a:lnTo>
                      <a:pt x="31" y="764"/>
                    </a:lnTo>
                    <a:lnTo>
                      <a:pt x="31" y="762"/>
                    </a:lnTo>
                    <a:lnTo>
                      <a:pt x="31" y="760"/>
                    </a:lnTo>
                    <a:lnTo>
                      <a:pt x="31" y="762"/>
                    </a:lnTo>
                    <a:lnTo>
                      <a:pt x="31" y="760"/>
                    </a:lnTo>
                    <a:lnTo>
                      <a:pt x="31" y="758"/>
                    </a:lnTo>
                    <a:lnTo>
                      <a:pt x="30" y="758"/>
                    </a:lnTo>
                    <a:lnTo>
                      <a:pt x="31" y="758"/>
                    </a:lnTo>
                    <a:lnTo>
                      <a:pt x="31" y="756"/>
                    </a:lnTo>
                    <a:lnTo>
                      <a:pt x="31" y="755"/>
                    </a:lnTo>
                    <a:lnTo>
                      <a:pt x="31" y="751"/>
                    </a:lnTo>
                    <a:lnTo>
                      <a:pt x="31" y="749"/>
                    </a:lnTo>
                    <a:lnTo>
                      <a:pt x="30" y="747"/>
                    </a:lnTo>
                    <a:lnTo>
                      <a:pt x="28" y="747"/>
                    </a:lnTo>
                    <a:lnTo>
                      <a:pt x="28" y="745"/>
                    </a:lnTo>
                    <a:lnTo>
                      <a:pt x="26" y="745"/>
                    </a:lnTo>
                    <a:lnTo>
                      <a:pt x="26" y="743"/>
                    </a:lnTo>
                    <a:lnTo>
                      <a:pt x="24" y="743"/>
                    </a:lnTo>
                    <a:lnTo>
                      <a:pt x="26" y="743"/>
                    </a:lnTo>
                    <a:lnTo>
                      <a:pt x="26" y="741"/>
                    </a:lnTo>
                    <a:lnTo>
                      <a:pt x="28" y="741"/>
                    </a:lnTo>
                    <a:lnTo>
                      <a:pt x="28" y="740"/>
                    </a:lnTo>
                    <a:lnTo>
                      <a:pt x="26" y="740"/>
                    </a:lnTo>
                    <a:lnTo>
                      <a:pt x="28" y="740"/>
                    </a:lnTo>
                    <a:lnTo>
                      <a:pt x="28" y="738"/>
                    </a:lnTo>
                    <a:lnTo>
                      <a:pt x="26" y="738"/>
                    </a:lnTo>
                    <a:lnTo>
                      <a:pt x="28" y="738"/>
                    </a:lnTo>
                    <a:lnTo>
                      <a:pt x="30" y="738"/>
                    </a:lnTo>
                    <a:lnTo>
                      <a:pt x="30" y="736"/>
                    </a:lnTo>
                    <a:lnTo>
                      <a:pt x="31" y="736"/>
                    </a:lnTo>
                    <a:lnTo>
                      <a:pt x="31" y="734"/>
                    </a:lnTo>
                    <a:lnTo>
                      <a:pt x="31" y="732"/>
                    </a:lnTo>
                    <a:lnTo>
                      <a:pt x="31" y="730"/>
                    </a:lnTo>
                    <a:lnTo>
                      <a:pt x="30" y="730"/>
                    </a:lnTo>
                    <a:lnTo>
                      <a:pt x="30" y="728"/>
                    </a:lnTo>
                    <a:lnTo>
                      <a:pt x="31" y="728"/>
                    </a:lnTo>
                    <a:lnTo>
                      <a:pt x="31" y="726"/>
                    </a:lnTo>
                    <a:lnTo>
                      <a:pt x="30" y="726"/>
                    </a:lnTo>
                    <a:lnTo>
                      <a:pt x="30" y="724"/>
                    </a:lnTo>
                    <a:lnTo>
                      <a:pt x="28" y="724"/>
                    </a:lnTo>
                    <a:lnTo>
                      <a:pt x="26" y="724"/>
                    </a:lnTo>
                    <a:lnTo>
                      <a:pt x="26" y="723"/>
                    </a:lnTo>
                    <a:lnTo>
                      <a:pt x="24" y="723"/>
                    </a:lnTo>
                    <a:lnTo>
                      <a:pt x="26" y="723"/>
                    </a:lnTo>
                    <a:lnTo>
                      <a:pt x="24" y="723"/>
                    </a:lnTo>
                    <a:lnTo>
                      <a:pt x="24" y="721"/>
                    </a:lnTo>
                    <a:lnTo>
                      <a:pt x="22" y="721"/>
                    </a:lnTo>
                    <a:lnTo>
                      <a:pt x="22" y="719"/>
                    </a:lnTo>
                    <a:lnTo>
                      <a:pt x="22" y="717"/>
                    </a:lnTo>
                    <a:lnTo>
                      <a:pt x="24" y="719"/>
                    </a:lnTo>
                    <a:lnTo>
                      <a:pt x="24" y="717"/>
                    </a:lnTo>
                    <a:lnTo>
                      <a:pt x="24" y="715"/>
                    </a:lnTo>
                    <a:lnTo>
                      <a:pt x="24" y="717"/>
                    </a:lnTo>
                    <a:lnTo>
                      <a:pt x="26" y="717"/>
                    </a:lnTo>
                    <a:lnTo>
                      <a:pt x="26" y="715"/>
                    </a:lnTo>
                    <a:lnTo>
                      <a:pt x="28" y="715"/>
                    </a:lnTo>
                    <a:lnTo>
                      <a:pt x="30" y="715"/>
                    </a:lnTo>
                    <a:lnTo>
                      <a:pt x="31" y="715"/>
                    </a:lnTo>
                    <a:lnTo>
                      <a:pt x="31" y="713"/>
                    </a:lnTo>
                    <a:lnTo>
                      <a:pt x="31" y="711"/>
                    </a:lnTo>
                    <a:lnTo>
                      <a:pt x="31" y="713"/>
                    </a:lnTo>
                    <a:lnTo>
                      <a:pt x="33" y="713"/>
                    </a:lnTo>
                    <a:lnTo>
                      <a:pt x="35" y="713"/>
                    </a:lnTo>
                    <a:lnTo>
                      <a:pt x="35" y="711"/>
                    </a:lnTo>
                    <a:lnTo>
                      <a:pt x="37" y="711"/>
                    </a:lnTo>
                    <a:lnTo>
                      <a:pt x="37" y="709"/>
                    </a:lnTo>
                    <a:lnTo>
                      <a:pt x="37" y="707"/>
                    </a:lnTo>
                    <a:lnTo>
                      <a:pt x="37" y="704"/>
                    </a:lnTo>
                    <a:lnTo>
                      <a:pt x="37" y="702"/>
                    </a:lnTo>
                    <a:lnTo>
                      <a:pt x="37" y="698"/>
                    </a:lnTo>
                    <a:lnTo>
                      <a:pt x="35" y="698"/>
                    </a:lnTo>
                    <a:lnTo>
                      <a:pt x="35" y="696"/>
                    </a:lnTo>
                    <a:lnTo>
                      <a:pt x="35" y="694"/>
                    </a:lnTo>
                    <a:lnTo>
                      <a:pt x="35" y="692"/>
                    </a:lnTo>
                    <a:lnTo>
                      <a:pt x="37" y="692"/>
                    </a:lnTo>
                    <a:lnTo>
                      <a:pt x="37" y="691"/>
                    </a:lnTo>
                    <a:lnTo>
                      <a:pt x="37" y="692"/>
                    </a:lnTo>
                    <a:lnTo>
                      <a:pt x="37" y="691"/>
                    </a:lnTo>
                    <a:lnTo>
                      <a:pt x="39" y="691"/>
                    </a:lnTo>
                    <a:lnTo>
                      <a:pt x="39" y="689"/>
                    </a:lnTo>
                    <a:lnTo>
                      <a:pt x="41" y="689"/>
                    </a:lnTo>
                    <a:lnTo>
                      <a:pt x="41" y="687"/>
                    </a:lnTo>
                    <a:lnTo>
                      <a:pt x="41" y="685"/>
                    </a:lnTo>
                    <a:lnTo>
                      <a:pt x="43" y="685"/>
                    </a:lnTo>
                    <a:lnTo>
                      <a:pt x="43" y="687"/>
                    </a:lnTo>
                    <a:lnTo>
                      <a:pt x="45" y="687"/>
                    </a:lnTo>
                    <a:lnTo>
                      <a:pt x="45" y="685"/>
                    </a:lnTo>
                    <a:lnTo>
                      <a:pt x="47" y="685"/>
                    </a:lnTo>
                    <a:lnTo>
                      <a:pt x="47" y="687"/>
                    </a:lnTo>
                    <a:lnTo>
                      <a:pt x="48" y="687"/>
                    </a:lnTo>
                    <a:lnTo>
                      <a:pt x="50" y="687"/>
                    </a:lnTo>
                    <a:lnTo>
                      <a:pt x="50" y="685"/>
                    </a:lnTo>
                    <a:lnTo>
                      <a:pt x="52" y="685"/>
                    </a:lnTo>
                    <a:lnTo>
                      <a:pt x="52" y="683"/>
                    </a:lnTo>
                    <a:lnTo>
                      <a:pt x="52" y="681"/>
                    </a:lnTo>
                    <a:lnTo>
                      <a:pt x="54" y="681"/>
                    </a:lnTo>
                    <a:lnTo>
                      <a:pt x="56" y="683"/>
                    </a:lnTo>
                    <a:lnTo>
                      <a:pt x="56" y="681"/>
                    </a:lnTo>
                    <a:lnTo>
                      <a:pt x="56" y="683"/>
                    </a:lnTo>
                    <a:lnTo>
                      <a:pt x="56" y="685"/>
                    </a:lnTo>
                    <a:lnTo>
                      <a:pt x="54" y="685"/>
                    </a:lnTo>
                    <a:lnTo>
                      <a:pt x="54" y="687"/>
                    </a:lnTo>
                    <a:lnTo>
                      <a:pt x="56" y="687"/>
                    </a:lnTo>
                    <a:lnTo>
                      <a:pt x="56" y="689"/>
                    </a:lnTo>
                    <a:lnTo>
                      <a:pt x="58" y="689"/>
                    </a:lnTo>
                    <a:lnTo>
                      <a:pt x="60" y="689"/>
                    </a:lnTo>
                    <a:lnTo>
                      <a:pt x="60" y="691"/>
                    </a:lnTo>
                    <a:lnTo>
                      <a:pt x="62" y="691"/>
                    </a:lnTo>
                    <a:lnTo>
                      <a:pt x="63" y="692"/>
                    </a:lnTo>
                    <a:lnTo>
                      <a:pt x="65" y="692"/>
                    </a:lnTo>
                    <a:lnTo>
                      <a:pt x="65" y="694"/>
                    </a:lnTo>
                    <a:lnTo>
                      <a:pt x="65" y="692"/>
                    </a:lnTo>
                    <a:lnTo>
                      <a:pt x="63" y="692"/>
                    </a:lnTo>
                    <a:lnTo>
                      <a:pt x="63" y="694"/>
                    </a:lnTo>
                    <a:lnTo>
                      <a:pt x="65" y="694"/>
                    </a:lnTo>
                    <a:lnTo>
                      <a:pt x="65" y="696"/>
                    </a:lnTo>
                    <a:lnTo>
                      <a:pt x="67" y="696"/>
                    </a:lnTo>
                    <a:lnTo>
                      <a:pt x="67" y="698"/>
                    </a:lnTo>
                    <a:lnTo>
                      <a:pt x="69" y="698"/>
                    </a:lnTo>
                    <a:lnTo>
                      <a:pt x="69" y="700"/>
                    </a:lnTo>
                    <a:lnTo>
                      <a:pt x="71" y="700"/>
                    </a:lnTo>
                    <a:lnTo>
                      <a:pt x="73" y="702"/>
                    </a:lnTo>
                    <a:lnTo>
                      <a:pt x="73" y="704"/>
                    </a:lnTo>
                    <a:lnTo>
                      <a:pt x="75" y="704"/>
                    </a:lnTo>
                    <a:lnTo>
                      <a:pt x="75" y="706"/>
                    </a:lnTo>
                    <a:lnTo>
                      <a:pt x="77" y="706"/>
                    </a:lnTo>
                    <a:lnTo>
                      <a:pt x="79" y="706"/>
                    </a:lnTo>
                    <a:lnTo>
                      <a:pt x="80" y="704"/>
                    </a:lnTo>
                    <a:lnTo>
                      <a:pt x="82" y="704"/>
                    </a:lnTo>
                    <a:lnTo>
                      <a:pt x="84" y="704"/>
                    </a:lnTo>
                    <a:lnTo>
                      <a:pt x="84" y="706"/>
                    </a:lnTo>
                    <a:lnTo>
                      <a:pt x="86" y="706"/>
                    </a:lnTo>
                    <a:lnTo>
                      <a:pt x="86" y="704"/>
                    </a:lnTo>
                    <a:lnTo>
                      <a:pt x="86" y="706"/>
                    </a:lnTo>
                    <a:lnTo>
                      <a:pt x="88" y="706"/>
                    </a:lnTo>
                    <a:lnTo>
                      <a:pt x="88" y="704"/>
                    </a:lnTo>
                    <a:lnTo>
                      <a:pt x="88" y="706"/>
                    </a:lnTo>
                    <a:lnTo>
                      <a:pt x="90" y="706"/>
                    </a:lnTo>
                    <a:lnTo>
                      <a:pt x="90" y="704"/>
                    </a:lnTo>
                    <a:lnTo>
                      <a:pt x="92" y="704"/>
                    </a:lnTo>
                    <a:lnTo>
                      <a:pt x="94" y="704"/>
                    </a:lnTo>
                    <a:lnTo>
                      <a:pt x="95" y="704"/>
                    </a:lnTo>
                    <a:lnTo>
                      <a:pt x="97" y="704"/>
                    </a:lnTo>
                    <a:lnTo>
                      <a:pt x="97" y="702"/>
                    </a:lnTo>
                    <a:lnTo>
                      <a:pt x="103" y="698"/>
                    </a:lnTo>
                    <a:lnTo>
                      <a:pt x="103" y="696"/>
                    </a:lnTo>
                    <a:lnTo>
                      <a:pt x="105" y="696"/>
                    </a:lnTo>
                    <a:lnTo>
                      <a:pt x="107" y="694"/>
                    </a:lnTo>
                    <a:lnTo>
                      <a:pt x="107" y="691"/>
                    </a:lnTo>
                    <a:lnTo>
                      <a:pt x="109" y="689"/>
                    </a:lnTo>
                    <a:lnTo>
                      <a:pt x="110" y="689"/>
                    </a:lnTo>
                    <a:lnTo>
                      <a:pt x="112" y="685"/>
                    </a:lnTo>
                    <a:lnTo>
                      <a:pt x="120" y="679"/>
                    </a:lnTo>
                    <a:lnTo>
                      <a:pt x="124" y="674"/>
                    </a:lnTo>
                    <a:lnTo>
                      <a:pt x="127" y="670"/>
                    </a:lnTo>
                    <a:lnTo>
                      <a:pt x="129" y="664"/>
                    </a:lnTo>
                    <a:lnTo>
                      <a:pt x="133" y="660"/>
                    </a:lnTo>
                    <a:lnTo>
                      <a:pt x="137" y="653"/>
                    </a:lnTo>
                    <a:lnTo>
                      <a:pt x="139" y="649"/>
                    </a:lnTo>
                    <a:lnTo>
                      <a:pt x="139" y="645"/>
                    </a:lnTo>
                    <a:lnTo>
                      <a:pt x="141" y="640"/>
                    </a:lnTo>
                    <a:lnTo>
                      <a:pt x="142" y="634"/>
                    </a:lnTo>
                    <a:lnTo>
                      <a:pt x="144" y="630"/>
                    </a:lnTo>
                    <a:lnTo>
                      <a:pt x="146" y="617"/>
                    </a:lnTo>
                    <a:lnTo>
                      <a:pt x="146" y="610"/>
                    </a:lnTo>
                    <a:lnTo>
                      <a:pt x="146" y="602"/>
                    </a:lnTo>
                    <a:lnTo>
                      <a:pt x="146" y="593"/>
                    </a:lnTo>
                    <a:lnTo>
                      <a:pt x="144" y="581"/>
                    </a:lnTo>
                    <a:lnTo>
                      <a:pt x="142" y="572"/>
                    </a:lnTo>
                    <a:lnTo>
                      <a:pt x="142" y="570"/>
                    </a:lnTo>
                    <a:lnTo>
                      <a:pt x="142" y="566"/>
                    </a:lnTo>
                    <a:lnTo>
                      <a:pt x="141" y="564"/>
                    </a:lnTo>
                    <a:lnTo>
                      <a:pt x="142" y="564"/>
                    </a:lnTo>
                    <a:lnTo>
                      <a:pt x="144" y="564"/>
                    </a:lnTo>
                    <a:lnTo>
                      <a:pt x="146" y="564"/>
                    </a:lnTo>
                    <a:lnTo>
                      <a:pt x="148" y="564"/>
                    </a:lnTo>
                    <a:lnTo>
                      <a:pt x="148" y="563"/>
                    </a:lnTo>
                    <a:lnTo>
                      <a:pt x="148" y="561"/>
                    </a:lnTo>
                    <a:lnTo>
                      <a:pt x="150" y="557"/>
                    </a:lnTo>
                    <a:lnTo>
                      <a:pt x="150" y="553"/>
                    </a:lnTo>
                    <a:lnTo>
                      <a:pt x="148" y="549"/>
                    </a:lnTo>
                    <a:lnTo>
                      <a:pt x="148" y="547"/>
                    </a:lnTo>
                    <a:lnTo>
                      <a:pt x="146" y="542"/>
                    </a:lnTo>
                    <a:lnTo>
                      <a:pt x="146" y="536"/>
                    </a:lnTo>
                    <a:lnTo>
                      <a:pt x="144" y="536"/>
                    </a:lnTo>
                    <a:lnTo>
                      <a:pt x="144" y="534"/>
                    </a:lnTo>
                    <a:lnTo>
                      <a:pt x="144" y="532"/>
                    </a:lnTo>
                    <a:lnTo>
                      <a:pt x="144" y="531"/>
                    </a:lnTo>
                    <a:lnTo>
                      <a:pt x="144" y="527"/>
                    </a:lnTo>
                    <a:lnTo>
                      <a:pt x="142" y="527"/>
                    </a:lnTo>
                    <a:lnTo>
                      <a:pt x="141" y="523"/>
                    </a:lnTo>
                    <a:lnTo>
                      <a:pt x="141" y="521"/>
                    </a:lnTo>
                    <a:lnTo>
                      <a:pt x="141" y="519"/>
                    </a:lnTo>
                    <a:lnTo>
                      <a:pt x="141" y="517"/>
                    </a:lnTo>
                    <a:lnTo>
                      <a:pt x="139" y="514"/>
                    </a:lnTo>
                    <a:lnTo>
                      <a:pt x="139" y="512"/>
                    </a:lnTo>
                    <a:lnTo>
                      <a:pt x="139" y="510"/>
                    </a:lnTo>
                    <a:lnTo>
                      <a:pt x="139" y="508"/>
                    </a:lnTo>
                    <a:lnTo>
                      <a:pt x="139" y="506"/>
                    </a:lnTo>
                    <a:lnTo>
                      <a:pt x="139" y="504"/>
                    </a:lnTo>
                    <a:lnTo>
                      <a:pt x="139" y="502"/>
                    </a:lnTo>
                    <a:lnTo>
                      <a:pt x="139" y="500"/>
                    </a:lnTo>
                    <a:lnTo>
                      <a:pt x="139" y="499"/>
                    </a:lnTo>
                    <a:lnTo>
                      <a:pt x="139" y="497"/>
                    </a:lnTo>
                    <a:lnTo>
                      <a:pt x="137" y="497"/>
                    </a:lnTo>
                    <a:lnTo>
                      <a:pt x="139" y="497"/>
                    </a:lnTo>
                    <a:lnTo>
                      <a:pt x="141" y="497"/>
                    </a:lnTo>
                    <a:lnTo>
                      <a:pt x="141" y="495"/>
                    </a:lnTo>
                    <a:lnTo>
                      <a:pt x="141" y="493"/>
                    </a:lnTo>
                    <a:lnTo>
                      <a:pt x="142" y="493"/>
                    </a:lnTo>
                    <a:lnTo>
                      <a:pt x="142" y="491"/>
                    </a:lnTo>
                    <a:lnTo>
                      <a:pt x="141" y="489"/>
                    </a:lnTo>
                    <a:lnTo>
                      <a:pt x="141" y="487"/>
                    </a:lnTo>
                    <a:lnTo>
                      <a:pt x="141" y="483"/>
                    </a:lnTo>
                    <a:lnTo>
                      <a:pt x="137" y="478"/>
                    </a:lnTo>
                    <a:lnTo>
                      <a:pt x="137" y="476"/>
                    </a:lnTo>
                    <a:lnTo>
                      <a:pt x="137" y="474"/>
                    </a:lnTo>
                    <a:lnTo>
                      <a:pt x="137" y="472"/>
                    </a:lnTo>
                    <a:lnTo>
                      <a:pt x="135" y="472"/>
                    </a:lnTo>
                    <a:lnTo>
                      <a:pt x="135" y="470"/>
                    </a:lnTo>
                    <a:lnTo>
                      <a:pt x="135" y="468"/>
                    </a:lnTo>
                    <a:lnTo>
                      <a:pt x="133" y="468"/>
                    </a:lnTo>
                    <a:lnTo>
                      <a:pt x="133" y="467"/>
                    </a:lnTo>
                    <a:lnTo>
                      <a:pt x="135" y="465"/>
                    </a:lnTo>
                    <a:lnTo>
                      <a:pt x="135" y="463"/>
                    </a:lnTo>
                    <a:lnTo>
                      <a:pt x="133" y="461"/>
                    </a:lnTo>
                    <a:lnTo>
                      <a:pt x="133" y="459"/>
                    </a:lnTo>
                    <a:lnTo>
                      <a:pt x="131" y="459"/>
                    </a:lnTo>
                    <a:lnTo>
                      <a:pt x="131" y="457"/>
                    </a:lnTo>
                    <a:lnTo>
                      <a:pt x="131" y="455"/>
                    </a:lnTo>
                    <a:lnTo>
                      <a:pt x="129" y="453"/>
                    </a:lnTo>
                    <a:lnTo>
                      <a:pt x="129" y="451"/>
                    </a:lnTo>
                    <a:lnTo>
                      <a:pt x="129" y="450"/>
                    </a:lnTo>
                    <a:lnTo>
                      <a:pt x="131" y="450"/>
                    </a:lnTo>
                    <a:lnTo>
                      <a:pt x="131" y="448"/>
                    </a:lnTo>
                    <a:lnTo>
                      <a:pt x="131" y="446"/>
                    </a:lnTo>
                    <a:lnTo>
                      <a:pt x="131" y="444"/>
                    </a:lnTo>
                    <a:lnTo>
                      <a:pt x="131" y="442"/>
                    </a:lnTo>
                    <a:lnTo>
                      <a:pt x="133" y="442"/>
                    </a:lnTo>
                    <a:lnTo>
                      <a:pt x="133" y="440"/>
                    </a:lnTo>
                    <a:lnTo>
                      <a:pt x="133" y="438"/>
                    </a:lnTo>
                    <a:lnTo>
                      <a:pt x="133" y="436"/>
                    </a:lnTo>
                    <a:lnTo>
                      <a:pt x="131" y="435"/>
                    </a:lnTo>
                    <a:lnTo>
                      <a:pt x="131" y="433"/>
                    </a:lnTo>
                    <a:lnTo>
                      <a:pt x="131" y="431"/>
                    </a:lnTo>
                    <a:lnTo>
                      <a:pt x="129" y="429"/>
                    </a:lnTo>
                    <a:lnTo>
                      <a:pt x="129" y="427"/>
                    </a:lnTo>
                    <a:lnTo>
                      <a:pt x="127" y="427"/>
                    </a:lnTo>
                    <a:lnTo>
                      <a:pt x="127" y="423"/>
                    </a:lnTo>
                    <a:lnTo>
                      <a:pt x="122" y="418"/>
                    </a:lnTo>
                    <a:lnTo>
                      <a:pt x="122" y="416"/>
                    </a:lnTo>
                    <a:lnTo>
                      <a:pt x="122" y="414"/>
                    </a:lnTo>
                    <a:lnTo>
                      <a:pt x="120" y="414"/>
                    </a:lnTo>
                    <a:lnTo>
                      <a:pt x="122" y="414"/>
                    </a:lnTo>
                    <a:lnTo>
                      <a:pt x="120" y="414"/>
                    </a:lnTo>
                    <a:lnTo>
                      <a:pt x="122" y="414"/>
                    </a:lnTo>
                    <a:lnTo>
                      <a:pt x="122" y="412"/>
                    </a:lnTo>
                    <a:lnTo>
                      <a:pt x="120" y="410"/>
                    </a:lnTo>
                    <a:lnTo>
                      <a:pt x="120" y="408"/>
                    </a:lnTo>
                    <a:lnTo>
                      <a:pt x="120" y="406"/>
                    </a:lnTo>
                    <a:lnTo>
                      <a:pt x="120" y="404"/>
                    </a:lnTo>
                    <a:lnTo>
                      <a:pt x="118" y="403"/>
                    </a:lnTo>
                    <a:lnTo>
                      <a:pt x="120" y="403"/>
                    </a:lnTo>
                    <a:lnTo>
                      <a:pt x="118" y="403"/>
                    </a:lnTo>
                    <a:lnTo>
                      <a:pt x="118" y="401"/>
                    </a:lnTo>
                    <a:lnTo>
                      <a:pt x="118" y="399"/>
                    </a:lnTo>
                    <a:lnTo>
                      <a:pt x="118" y="397"/>
                    </a:lnTo>
                    <a:lnTo>
                      <a:pt x="118" y="395"/>
                    </a:lnTo>
                    <a:lnTo>
                      <a:pt x="118" y="393"/>
                    </a:lnTo>
                    <a:lnTo>
                      <a:pt x="118" y="391"/>
                    </a:lnTo>
                    <a:lnTo>
                      <a:pt x="116" y="389"/>
                    </a:lnTo>
                    <a:lnTo>
                      <a:pt x="116" y="387"/>
                    </a:lnTo>
                    <a:lnTo>
                      <a:pt x="114" y="387"/>
                    </a:lnTo>
                    <a:lnTo>
                      <a:pt x="114" y="386"/>
                    </a:lnTo>
                    <a:lnTo>
                      <a:pt x="114" y="384"/>
                    </a:lnTo>
                    <a:lnTo>
                      <a:pt x="112" y="384"/>
                    </a:lnTo>
                    <a:lnTo>
                      <a:pt x="110" y="380"/>
                    </a:lnTo>
                    <a:lnTo>
                      <a:pt x="110" y="378"/>
                    </a:lnTo>
                    <a:lnTo>
                      <a:pt x="109" y="378"/>
                    </a:lnTo>
                    <a:lnTo>
                      <a:pt x="109" y="376"/>
                    </a:lnTo>
                    <a:lnTo>
                      <a:pt x="107" y="376"/>
                    </a:lnTo>
                    <a:lnTo>
                      <a:pt x="107" y="374"/>
                    </a:lnTo>
                    <a:lnTo>
                      <a:pt x="107" y="372"/>
                    </a:lnTo>
                    <a:lnTo>
                      <a:pt x="105" y="372"/>
                    </a:lnTo>
                    <a:lnTo>
                      <a:pt x="105" y="371"/>
                    </a:lnTo>
                    <a:lnTo>
                      <a:pt x="103" y="371"/>
                    </a:lnTo>
                    <a:lnTo>
                      <a:pt x="103" y="369"/>
                    </a:lnTo>
                    <a:lnTo>
                      <a:pt x="101" y="367"/>
                    </a:lnTo>
                    <a:lnTo>
                      <a:pt x="101" y="365"/>
                    </a:lnTo>
                    <a:lnTo>
                      <a:pt x="99" y="365"/>
                    </a:lnTo>
                    <a:lnTo>
                      <a:pt x="99" y="363"/>
                    </a:lnTo>
                    <a:lnTo>
                      <a:pt x="99" y="361"/>
                    </a:lnTo>
                    <a:lnTo>
                      <a:pt x="99" y="359"/>
                    </a:lnTo>
                    <a:lnTo>
                      <a:pt x="97" y="359"/>
                    </a:lnTo>
                    <a:lnTo>
                      <a:pt x="97" y="357"/>
                    </a:lnTo>
                    <a:lnTo>
                      <a:pt x="95" y="357"/>
                    </a:lnTo>
                    <a:lnTo>
                      <a:pt x="95" y="355"/>
                    </a:lnTo>
                    <a:lnTo>
                      <a:pt x="95" y="354"/>
                    </a:lnTo>
                    <a:lnTo>
                      <a:pt x="95" y="352"/>
                    </a:lnTo>
                    <a:lnTo>
                      <a:pt x="94" y="352"/>
                    </a:lnTo>
                    <a:lnTo>
                      <a:pt x="94" y="350"/>
                    </a:lnTo>
                    <a:lnTo>
                      <a:pt x="92" y="350"/>
                    </a:lnTo>
                    <a:lnTo>
                      <a:pt x="92" y="348"/>
                    </a:lnTo>
                    <a:lnTo>
                      <a:pt x="90" y="348"/>
                    </a:lnTo>
                    <a:lnTo>
                      <a:pt x="92" y="348"/>
                    </a:lnTo>
                    <a:lnTo>
                      <a:pt x="92" y="346"/>
                    </a:lnTo>
                    <a:lnTo>
                      <a:pt x="92" y="344"/>
                    </a:lnTo>
                    <a:lnTo>
                      <a:pt x="90" y="342"/>
                    </a:lnTo>
                    <a:lnTo>
                      <a:pt x="90" y="340"/>
                    </a:lnTo>
                    <a:lnTo>
                      <a:pt x="86" y="337"/>
                    </a:lnTo>
                    <a:lnTo>
                      <a:pt x="84" y="333"/>
                    </a:lnTo>
                    <a:lnTo>
                      <a:pt x="82" y="333"/>
                    </a:lnTo>
                    <a:lnTo>
                      <a:pt x="82" y="331"/>
                    </a:lnTo>
                    <a:lnTo>
                      <a:pt x="79" y="327"/>
                    </a:lnTo>
                    <a:lnTo>
                      <a:pt x="77" y="325"/>
                    </a:lnTo>
                    <a:lnTo>
                      <a:pt x="75" y="325"/>
                    </a:lnTo>
                    <a:lnTo>
                      <a:pt x="75" y="323"/>
                    </a:lnTo>
                    <a:lnTo>
                      <a:pt x="75" y="322"/>
                    </a:lnTo>
                    <a:lnTo>
                      <a:pt x="73" y="322"/>
                    </a:lnTo>
                    <a:lnTo>
                      <a:pt x="71" y="322"/>
                    </a:lnTo>
                    <a:lnTo>
                      <a:pt x="73" y="320"/>
                    </a:lnTo>
                    <a:lnTo>
                      <a:pt x="71" y="320"/>
                    </a:lnTo>
                    <a:lnTo>
                      <a:pt x="71" y="318"/>
                    </a:lnTo>
                    <a:lnTo>
                      <a:pt x="69" y="318"/>
                    </a:lnTo>
                    <a:lnTo>
                      <a:pt x="69" y="316"/>
                    </a:lnTo>
                    <a:lnTo>
                      <a:pt x="67" y="314"/>
                    </a:lnTo>
                    <a:lnTo>
                      <a:pt x="67" y="312"/>
                    </a:lnTo>
                    <a:lnTo>
                      <a:pt x="65" y="312"/>
                    </a:lnTo>
                    <a:lnTo>
                      <a:pt x="63" y="310"/>
                    </a:lnTo>
                    <a:lnTo>
                      <a:pt x="63" y="308"/>
                    </a:lnTo>
                    <a:lnTo>
                      <a:pt x="62" y="308"/>
                    </a:lnTo>
                    <a:lnTo>
                      <a:pt x="62" y="307"/>
                    </a:lnTo>
                    <a:lnTo>
                      <a:pt x="60" y="305"/>
                    </a:lnTo>
                    <a:lnTo>
                      <a:pt x="60" y="303"/>
                    </a:lnTo>
                    <a:lnTo>
                      <a:pt x="58" y="303"/>
                    </a:lnTo>
                    <a:lnTo>
                      <a:pt x="58" y="301"/>
                    </a:lnTo>
                    <a:lnTo>
                      <a:pt x="56" y="301"/>
                    </a:lnTo>
                    <a:lnTo>
                      <a:pt x="56" y="299"/>
                    </a:lnTo>
                    <a:lnTo>
                      <a:pt x="56" y="297"/>
                    </a:lnTo>
                    <a:lnTo>
                      <a:pt x="54" y="297"/>
                    </a:lnTo>
                    <a:lnTo>
                      <a:pt x="54" y="295"/>
                    </a:lnTo>
                    <a:lnTo>
                      <a:pt x="52" y="295"/>
                    </a:lnTo>
                    <a:lnTo>
                      <a:pt x="52" y="293"/>
                    </a:lnTo>
                    <a:lnTo>
                      <a:pt x="50" y="293"/>
                    </a:lnTo>
                    <a:lnTo>
                      <a:pt x="50" y="291"/>
                    </a:lnTo>
                    <a:lnTo>
                      <a:pt x="48" y="291"/>
                    </a:lnTo>
                    <a:lnTo>
                      <a:pt x="48" y="290"/>
                    </a:lnTo>
                    <a:lnTo>
                      <a:pt x="47" y="290"/>
                    </a:lnTo>
                    <a:lnTo>
                      <a:pt x="47" y="288"/>
                    </a:lnTo>
                    <a:lnTo>
                      <a:pt x="47" y="286"/>
                    </a:lnTo>
                    <a:lnTo>
                      <a:pt x="45" y="286"/>
                    </a:lnTo>
                    <a:lnTo>
                      <a:pt x="45" y="284"/>
                    </a:lnTo>
                    <a:lnTo>
                      <a:pt x="45" y="282"/>
                    </a:lnTo>
                    <a:lnTo>
                      <a:pt x="43" y="282"/>
                    </a:lnTo>
                    <a:lnTo>
                      <a:pt x="43" y="280"/>
                    </a:lnTo>
                    <a:lnTo>
                      <a:pt x="41" y="278"/>
                    </a:lnTo>
                    <a:lnTo>
                      <a:pt x="39" y="278"/>
                    </a:lnTo>
                    <a:lnTo>
                      <a:pt x="39" y="276"/>
                    </a:lnTo>
                    <a:lnTo>
                      <a:pt x="37" y="276"/>
                    </a:lnTo>
                    <a:lnTo>
                      <a:pt x="37" y="274"/>
                    </a:lnTo>
                    <a:lnTo>
                      <a:pt x="35" y="274"/>
                    </a:lnTo>
                    <a:lnTo>
                      <a:pt x="35" y="273"/>
                    </a:lnTo>
                    <a:lnTo>
                      <a:pt x="35" y="271"/>
                    </a:lnTo>
                    <a:lnTo>
                      <a:pt x="33" y="271"/>
                    </a:lnTo>
                    <a:lnTo>
                      <a:pt x="33" y="269"/>
                    </a:lnTo>
                    <a:lnTo>
                      <a:pt x="33" y="267"/>
                    </a:lnTo>
                    <a:lnTo>
                      <a:pt x="31" y="267"/>
                    </a:lnTo>
                    <a:lnTo>
                      <a:pt x="31" y="265"/>
                    </a:lnTo>
                    <a:lnTo>
                      <a:pt x="30" y="265"/>
                    </a:lnTo>
                    <a:lnTo>
                      <a:pt x="30" y="263"/>
                    </a:lnTo>
                    <a:lnTo>
                      <a:pt x="31" y="263"/>
                    </a:lnTo>
                    <a:lnTo>
                      <a:pt x="30" y="263"/>
                    </a:lnTo>
                    <a:lnTo>
                      <a:pt x="30" y="261"/>
                    </a:lnTo>
                    <a:lnTo>
                      <a:pt x="30" y="259"/>
                    </a:lnTo>
                    <a:lnTo>
                      <a:pt x="31" y="259"/>
                    </a:lnTo>
                    <a:lnTo>
                      <a:pt x="30" y="259"/>
                    </a:lnTo>
                    <a:lnTo>
                      <a:pt x="31" y="259"/>
                    </a:lnTo>
                    <a:lnTo>
                      <a:pt x="31" y="258"/>
                    </a:lnTo>
                    <a:lnTo>
                      <a:pt x="31" y="256"/>
                    </a:lnTo>
                    <a:lnTo>
                      <a:pt x="30" y="256"/>
                    </a:lnTo>
                    <a:lnTo>
                      <a:pt x="31" y="256"/>
                    </a:lnTo>
                    <a:lnTo>
                      <a:pt x="31" y="254"/>
                    </a:lnTo>
                    <a:lnTo>
                      <a:pt x="30" y="254"/>
                    </a:lnTo>
                    <a:lnTo>
                      <a:pt x="30" y="252"/>
                    </a:lnTo>
                    <a:lnTo>
                      <a:pt x="30" y="250"/>
                    </a:lnTo>
                    <a:lnTo>
                      <a:pt x="28" y="250"/>
                    </a:lnTo>
                    <a:lnTo>
                      <a:pt x="28" y="248"/>
                    </a:lnTo>
                    <a:lnTo>
                      <a:pt x="28" y="246"/>
                    </a:lnTo>
                    <a:lnTo>
                      <a:pt x="26" y="246"/>
                    </a:lnTo>
                    <a:lnTo>
                      <a:pt x="24" y="244"/>
                    </a:lnTo>
                    <a:lnTo>
                      <a:pt x="24" y="242"/>
                    </a:lnTo>
                    <a:lnTo>
                      <a:pt x="22" y="242"/>
                    </a:lnTo>
                    <a:lnTo>
                      <a:pt x="22" y="241"/>
                    </a:lnTo>
                    <a:lnTo>
                      <a:pt x="20" y="241"/>
                    </a:lnTo>
                    <a:lnTo>
                      <a:pt x="20" y="239"/>
                    </a:lnTo>
                    <a:lnTo>
                      <a:pt x="18" y="237"/>
                    </a:lnTo>
                    <a:lnTo>
                      <a:pt x="16" y="237"/>
                    </a:lnTo>
                    <a:lnTo>
                      <a:pt x="16" y="235"/>
                    </a:lnTo>
                    <a:lnTo>
                      <a:pt x="15" y="235"/>
                    </a:lnTo>
                    <a:lnTo>
                      <a:pt x="15" y="233"/>
                    </a:lnTo>
                    <a:lnTo>
                      <a:pt x="13" y="233"/>
                    </a:lnTo>
                    <a:lnTo>
                      <a:pt x="13" y="231"/>
                    </a:lnTo>
                    <a:lnTo>
                      <a:pt x="11" y="231"/>
                    </a:lnTo>
                    <a:lnTo>
                      <a:pt x="11" y="229"/>
                    </a:lnTo>
                    <a:lnTo>
                      <a:pt x="9" y="229"/>
                    </a:lnTo>
                    <a:lnTo>
                      <a:pt x="9" y="227"/>
                    </a:lnTo>
                    <a:lnTo>
                      <a:pt x="9" y="226"/>
                    </a:lnTo>
                    <a:lnTo>
                      <a:pt x="7" y="226"/>
                    </a:lnTo>
                    <a:lnTo>
                      <a:pt x="7" y="224"/>
                    </a:lnTo>
                    <a:lnTo>
                      <a:pt x="5" y="224"/>
                    </a:lnTo>
                    <a:lnTo>
                      <a:pt x="5" y="222"/>
                    </a:lnTo>
                    <a:lnTo>
                      <a:pt x="3" y="220"/>
                    </a:lnTo>
                    <a:lnTo>
                      <a:pt x="3" y="218"/>
                    </a:lnTo>
                    <a:lnTo>
                      <a:pt x="1" y="218"/>
                    </a:lnTo>
                    <a:lnTo>
                      <a:pt x="1" y="216"/>
                    </a:lnTo>
                    <a:lnTo>
                      <a:pt x="0" y="216"/>
                    </a:lnTo>
                    <a:lnTo>
                      <a:pt x="1" y="216"/>
                    </a:lnTo>
                    <a:lnTo>
                      <a:pt x="0" y="216"/>
                    </a:lnTo>
                    <a:lnTo>
                      <a:pt x="0" y="214"/>
                    </a:lnTo>
                    <a:lnTo>
                      <a:pt x="3" y="216"/>
                    </a:lnTo>
                    <a:lnTo>
                      <a:pt x="7" y="216"/>
                    </a:lnTo>
                    <a:lnTo>
                      <a:pt x="18" y="222"/>
                    </a:lnTo>
                    <a:lnTo>
                      <a:pt x="13" y="197"/>
                    </a:lnTo>
                    <a:lnTo>
                      <a:pt x="18" y="190"/>
                    </a:lnTo>
                    <a:lnTo>
                      <a:pt x="26" y="184"/>
                    </a:lnTo>
                    <a:lnTo>
                      <a:pt x="30" y="180"/>
                    </a:lnTo>
                    <a:lnTo>
                      <a:pt x="33" y="180"/>
                    </a:lnTo>
                    <a:lnTo>
                      <a:pt x="33" y="178"/>
                    </a:lnTo>
                    <a:lnTo>
                      <a:pt x="41" y="173"/>
                    </a:lnTo>
                    <a:lnTo>
                      <a:pt x="43" y="173"/>
                    </a:lnTo>
                    <a:lnTo>
                      <a:pt x="43" y="171"/>
                    </a:lnTo>
                    <a:lnTo>
                      <a:pt x="39" y="167"/>
                    </a:lnTo>
                    <a:lnTo>
                      <a:pt x="37" y="165"/>
                    </a:lnTo>
                    <a:lnTo>
                      <a:pt x="31" y="154"/>
                    </a:lnTo>
                    <a:lnTo>
                      <a:pt x="30" y="154"/>
                    </a:lnTo>
                    <a:lnTo>
                      <a:pt x="31" y="146"/>
                    </a:lnTo>
                    <a:lnTo>
                      <a:pt x="35" y="146"/>
                    </a:lnTo>
                    <a:lnTo>
                      <a:pt x="39" y="146"/>
                    </a:lnTo>
                    <a:lnTo>
                      <a:pt x="45" y="145"/>
                    </a:lnTo>
                    <a:lnTo>
                      <a:pt x="54" y="143"/>
                    </a:lnTo>
                    <a:lnTo>
                      <a:pt x="56" y="143"/>
                    </a:lnTo>
                    <a:lnTo>
                      <a:pt x="60" y="145"/>
                    </a:lnTo>
                    <a:lnTo>
                      <a:pt x="60" y="141"/>
                    </a:lnTo>
                    <a:lnTo>
                      <a:pt x="60" y="118"/>
                    </a:lnTo>
                    <a:lnTo>
                      <a:pt x="60" y="114"/>
                    </a:lnTo>
                    <a:lnTo>
                      <a:pt x="63" y="107"/>
                    </a:lnTo>
                    <a:lnTo>
                      <a:pt x="77" y="103"/>
                    </a:lnTo>
                    <a:lnTo>
                      <a:pt x="82" y="105"/>
                    </a:lnTo>
                    <a:lnTo>
                      <a:pt x="84" y="105"/>
                    </a:lnTo>
                    <a:lnTo>
                      <a:pt x="86" y="107"/>
                    </a:lnTo>
                    <a:lnTo>
                      <a:pt x="92" y="113"/>
                    </a:lnTo>
                    <a:lnTo>
                      <a:pt x="97" y="118"/>
                    </a:lnTo>
                    <a:lnTo>
                      <a:pt x="105" y="124"/>
                    </a:lnTo>
                    <a:lnTo>
                      <a:pt x="110" y="120"/>
                    </a:lnTo>
                    <a:lnTo>
                      <a:pt x="114" y="118"/>
                    </a:lnTo>
                    <a:lnTo>
                      <a:pt x="110" y="114"/>
                    </a:lnTo>
                    <a:lnTo>
                      <a:pt x="114" y="113"/>
                    </a:lnTo>
                    <a:lnTo>
                      <a:pt x="116" y="113"/>
                    </a:lnTo>
                    <a:lnTo>
                      <a:pt x="120" y="114"/>
                    </a:lnTo>
                    <a:lnTo>
                      <a:pt x="126" y="118"/>
                    </a:lnTo>
                    <a:lnTo>
                      <a:pt x="129" y="114"/>
                    </a:lnTo>
                    <a:lnTo>
                      <a:pt x="131" y="109"/>
                    </a:lnTo>
                    <a:lnTo>
                      <a:pt x="141" y="92"/>
                    </a:lnTo>
                    <a:lnTo>
                      <a:pt x="152" y="75"/>
                    </a:lnTo>
                    <a:lnTo>
                      <a:pt x="156" y="67"/>
                    </a:lnTo>
                    <a:lnTo>
                      <a:pt x="156" y="47"/>
                    </a:lnTo>
                    <a:lnTo>
                      <a:pt x="163" y="34"/>
                    </a:lnTo>
                    <a:lnTo>
                      <a:pt x="165" y="32"/>
                    </a:lnTo>
                    <a:lnTo>
                      <a:pt x="167" y="28"/>
                    </a:lnTo>
                    <a:lnTo>
                      <a:pt x="165" y="22"/>
                    </a:lnTo>
                    <a:lnTo>
                      <a:pt x="159" y="9"/>
                    </a:lnTo>
                    <a:lnTo>
                      <a:pt x="158" y="7"/>
                    </a:lnTo>
                    <a:lnTo>
                      <a:pt x="171" y="20"/>
                    </a:lnTo>
                    <a:lnTo>
                      <a:pt x="174" y="24"/>
                    </a:lnTo>
                    <a:lnTo>
                      <a:pt x="189" y="43"/>
                    </a:lnTo>
                    <a:lnTo>
                      <a:pt x="189" y="45"/>
                    </a:lnTo>
                    <a:lnTo>
                      <a:pt x="195" y="52"/>
                    </a:lnTo>
                    <a:lnTo>
                      <a:pt x="191" y="41"/>
                    </a:lnTo>
                    <a:lnTo>
                      <a:pt x="188" y="32"/>
                    </a:lnTo>
                    <a:lnTo>
                      <a:pt x="184" y="26"/>
                    </a:lnTo>
                    <a:lnTo>
                      <a:pt x="186" y="24"/>
                    </a:lnTo>
                    <a:lnTo>
                      <a:pt x="188" y="15"/>
                    </a:lnTo>
                    <a:lnTo>
                      <a:pt x="188" y="13"/>
                    </a:lnTo>
                    <a:lnTo>
                      <a:pt x="189" y="3"/>
                    </a:lnTo>
                    <a:lnTo>
                      <a:pt x="206" y="0"/>
                    </a:lnTo>
                    <a:lnTo>
                      <a:pt x="212" y="9"/>
                    </a:lnTo>
                    <a:lnTo>
                      <a:pt x="214" y="11"/>
                    </a:lnTo>
                    <a:lnTo>
                      <a:pt x="218" y="17"/>
                    </a:lnTo>
                    <a:lnTo>
                      <a:pt x="221" y="24"/>
                    </a:lnTo>
                    <a:lnTo>
                      <a:pt x="223" y="26"/>
                    </a:lnTo>
                    <a:lnTo>
                      <a:pt x="225" y="32"/>
                    </a:lnTo>
                    <a:lnTo>
                      <a:pt x="229" y="37"/>
                    </a:lnTo>
                    <a:lnTo>
                      <a:pt x="238" y="37"/>
                    </a:lnTo>
                    <a:lnTo>
                      <a:pt x="255" y="41"/>
                    </a:lnTo>
                    <a:lnTo>
                      <a:pt x="257" y="45"/>
                    </a:lnTo>
                    <a:lnTo>
                      <a:pt x="261" y="50"/>
                    </a:lnTo>
                    <a:lnTo>
                      <a:pt x="265" y="58"/>
                    </a:lnTo>
                    <a:lnTo>
                      <a:pt x="265" y="62"/>
                    </a:lnTo>
                    <a:lnTo>
                      <a:pt x="265" y="69"/>
                    </a:lnTo>
                    <a:lnTo>
                      <a:pt x="267" y="71"/>
                    </a:lnTo>
                    <a:lnTo>
                      <a:pt x="272" y="77"/>
                    </a:lnTo>
                    <a:lnTo>
                      <a:pt x="282" y="84"/>
                    </a:lnTo>
                    <a:lnTo>
                      <a:pt x="291" y="88"/>
                    </a:lnTo>
                    <a:lnTo>
                      <a:pt x="297" y="90"/>
                    </a:lnTo>
                    <a:lnTo>
                      <a:pt x="304" y="92"/>
                    </a:lnTo>
                    <a:lnTo>
                      <a:pt x="304" y="99"/>
                    </a:lnTo>
                    <a:lnTo>
                      <a:pt x="304" y="103"/>
                    </a:lnTo>
                    <a:lnTo>
                      <a:pt x="306" y="111"/>
                    </a:lnTo>
                    <a:lnTo>
                      <a:pt x="306" y="126"/>
                    </a:lnTo>
                    <a:lnTo>
                      <a:pt x="306" y="130"/>
                    </a:lnTo>
                    <a:lnTo>
                      <a:pt x="285" y="135"/>
                    </a:lnTo>
                    <a:lnTo>
                      <a:pt x="287" y="137"/>
                    </a:lnTo>
                    <a:lnTo>
                      <a:pt x="297" y="145"/>
                    </a:lnTo>
                    <a:lnTo>
                      <a:pt x="312" y="152"/>
                    </a:lnTo>
                    <a:lnTo>
                      <a:pt x="295" y="162"/>
                    </a:lnTo>
                    <a:lnTo>
                      <a:pt x="291" y="180"/>
                    </a:lnTo>
                    <a:lnTo>
                      <a:pt x="295" y="186"/>
                    </a:lnTo>
                    <a:lnTo>
                      <a:pt x="300" y="199"/>
                    </a:lnTo>
                    <a:lnTo>
                      <a:pt x="302" y="203"/>
                    </a:lnTo>
                    <a:lnTo>
                      <a:pt x="304" y="227"/>
                    </a:lnTo>
                    <a:lnTo>
                      <a:pt x="302" y="239"/>
                    </a:lnTo>
                    <a:lnTo>
                      <a:pt x="308" y="254"/>
                    </a:lnTo>
                    <a:lnTo>
                      <a:pt x="319" y="259"/>
                    </a:lnTo>
                    <a:lnTo>
                      <a:pt x="312" y="273"/>
                    </a:lnTo>
                    <a:lnTo>
                      <a:pt x="312" y="274"/>
                    </a:lnTo>
                    <a:lnTo>
                      <a:pt x="319" y="280"/>
                    </a:lnTo>
                    <a:lnTo>
                      <a:pt x="321" y="280"/>
                    </a:lnTo>
                    <a:lnTo>
                      <a:pt x="325" y="286"/>
                    </a:lnTo>
                    <a:lnTo>
                      <a:pt x="325" y="290"/>
                    </a:lnTo>
                    <a:lnTo>
                      <a:pt x="325" y="293"/>
                    </a:lnTo>
                    <a:lnTo>
                      <a:pt x="327" y="295"/>
                    </a:lnTo>
                    <a:lnTo>
                      <a:pt x="327" y="297"/>
                    </a:lnTo>
                    <a:lnTo>
                      <a:pt x="327" y="299"/>
                    </a:lnTo>
                    <a:lnTo>
                      <a:pt x="327" y="305"/>
                    </a:lnTo>
                    <a:lnTo>
                      <a:pt x="327" y="308"/>
                    </a:lnTo>
                    <a:lnTo>
                      <a:pt x="325" y="308"/>
                    </a:lnTo>
                    <a:lnTo>
                      <a:pt x="325" y="310"/>
                    </a:lnTo>
                    <a:lnTo>
                      <a:pt x="323" y="312"/>
                    </a:lnTo>
                    <a:lnTo>
                      <a:pt x="321" y="318"/>
                    </a:lnTo>
                    <a:lnTo>
                      <a:pt x="321" y="320"/>
                    </a:lnTo>
                    <a:lnTo>
                      <a:pt x="319" y="322"/>
                    </a:lnTo>
                    <a:lnTo>
                      <a:pt x="317" y="322"/>
                    </a:lnTo>
                    <a:lnTo>
                      <a:pt x="319" y="323"/>
                    </a:lnTo>
                    <a:lnTo>
                      <a:pt x="321" y="322"/>
                    </a:lnTo>
                    <a:lnTo>
                      <a:pt x="323" y="320"/>
                    </a:lnTo>
                    <a:lnTo>
                      <a:pt x="327" y="323"/>
                    </a:lnTo>
                    <a:lnTo>
                      <a:pt x="332" y="323"/>
                    </a:lnTo>
                    <a:lnTo>
                      <a:pt x="334" y="323"/>
                    </a:lnTo>
                    <a:lnTo>
                      <a:pt x="336" y="325"/>
                    </a:lnTo>
                    <a:lnTo>
                      <a:pt x="338" y="327"/>
                    </a:lnTo>
                    <a:lnTo>
                      <a:pt x="334" y="335"/>
                    </a:lnTo>
                    <a:lnTo>
                      <a:pt x="331" y="340"/>
                    </a:lnTo>
                    <a:lnTo>
                      <a:pt x="332" y="340"/>
                    </a:lnTo>
                    <a:lnTo>
                      <a:pt x="334" y="340"/>
                    </a:lnTo>
                    <a:lnTo>
                      <a:pt x="336" y="340"/>
                    </a:lnTo>
                    <a:lnTo>
                      <a:pt x="338" y="340"/>
                    </a:lnTo>
                    <a:lnTo>
                      <a:pt x="340" y="348"/>
                    </a:lnTo>
                    <a:lnTo>
                      <a:pt x="338" y="350"/>
                    </a:lnTo>
                    <a:lnTo>
                      <a:pt x="334" y="355"/>
                    </a:lnTo>
                    <a:lnTo>
                      <a:pt x="336" y="361"/>
                    </a:lnTo>
                    <a:lnTo>
                      <a:pt x="336" y="369"/>
                    </a:lnTo>
                    <a:lnTo>
                      <a:pt x="331" y="369"/>
                    </a:lnTo>
                    <a:lnTo>
                      <a:pt x="331" y="374"/>
                    </a:lnTo>
                    <a:lnTo>
                      <a:pt x="332" y="380"/>
                    </a:lnTo>
                    <a:lnTo>
                      <a:pt x="336" y="384"/>
                    </a:lnTo>
                    <a:lnTo>
                      <a:pt x="338" y="387"/>
                    </a:lnTo>
                    <a:lnTo>
                      <a:pt x="338" y="389"/>
                    </a:lnTo>
                    <a:lnTo>
                      <a:pt x="340" y="393"/>
                    </a:lnTo>
                    <a:lnTo>
                      <a:pt x="340" y="397"/>
                    </a:lnTo>
                    <a:lnTo>
                      <a:pt x="338" y="397"/>
                    </a:lnTo>
                    <a:lnTo>
                      <a:pt x="336" y="397"/>
                    </a:lnTo>
                    <a:lnTo>
                      <a:pt x="334" y="397"/>
                    </a:lnTo>
                    <a:lnTo>
                      <a:pt x="334" y="399"/>
                    </a:lnTo>
                    <a:lnTo>
                      <a:pt x="334" y="401"/>
                    </a:lnTo>
                    <a:lnTo>
                      <a:pt x="332" y="401"/>
                    </a:lnTo>
                    <a:lnTo>
                      <a:pt x="332" y="403"/>
                    </a:lnTo>
                    <a:lnTo>
                      <a:pt x="334" y="403"/>
                    </a:lnTo>
                    <a:lnTo>
                      <a:pt x="334" y="404"/>
                    </a:lnTo>
                    <a:lnTo>
                      <a:pt x="334" y="403"/>
                    </a:lnTo>
                    <a:lnTo>
                      <a:pt x="336" y="403"/>
                    </a:lnTo>
                    <a:lnTo>
                      <a:pt x="336" y="404"/>
                    </a:lnTo>
                    <a:lnTo>
                      <a:pt x="338" y="404"/>
                    </a:lnTo>
                    <a:lnTo>
                      <a:pt x="338" y="406"/>
                    </a:lnTo>
                    <a:lnTo>
                      <a:pt x="336" y="406"/>
                    </a:lnTo>
                    <a:lnTo>
                      <a:pt x="336" y="408"/>
                    </a:lnTo>
                    <a:lnTo>
                      <a:pt x="336" y="410"/>
                    </a:lnTo>
                    <a:lnTo>
                      <a:pt x="334" y="410"/>
                    </a:lnTo>
                    <a:lnTo>
                      <a:pt x="334" y="412"/>
                    </a:lnTo>
                    <a:lnTo>
                      <a:pt x="332" y="412"/>
                    </a:lnTo>
                    <a:lnTo>
                      <a:pt x="332" y="414"/>
                    </a:lnTo>
                    <a:lnTo>
                      <a:pt x="331" y="414"/>
                    </a:lnTo>
                    <a:lnTo>
                      <a:pt x="331" y="416"/>
                    </a:lnTo>
                    <a:lnTo>
                      <a:pt x="329" y="416"/>
                    </a:lnTo>
                    <a:lnTo>
                      <a:pt x="329" y="418"/>
                    </a:lnTo>
                    <a:lnTo>
                      <a:pt x="327" y="418"/>
                    </a:lnTo>
                    <a:lnTo>
                      <a:pt x="325" y="418"/>
                    </a:lnTo>
                    <a:lnTo>
                      <a:pt x="325" y="419"/>
                    </a:lnTo>
                    <a:lnTo>
                      <a:pt x="325" y="421"/>
                    </a:lnTo>
                    <a:lnTo>
                      <a:pt x="323" y="421"/>
                    </a:lnTo>
                    <a:lnTo>
                      <a:pt x="325" y="421"/>
                    </a:lnTo>
                    <a:lnTo>
                      <a:pt x="325" y="423"/>
                    </a:lnTo>
                    <a:lnTo>
                      <a:pt x="325" y="425"/>
                    </a:lnTo>
                    <a:lnTo>
                      <a:pt x="325" y="427"/>
                    </a:lnTo>
                    <a:lnTo>
                      <a:pt x="325" y="429"/>
                    </a:lnTo>
                    <a:lnTo>
                      <a:pt x="323" y="429"/>
                    </a:lnTo>
                    <a:lnTo>
                      <a:pt x="323" y="431"/>
                    </a:lnTo>
                    <a:lnTo>
                      <a:pt x="325" y="431"/>
                    </a:lnTo>
                    <a:lnTo>
                      <a:pt x="327" y="431"/>
                    </a:lnTo>
                    <a:lnTo>
                      <a:pt x="327" y="433"/>
                    </a:lnTo>
                    <a:lnTo>
                      <a:pt x="329" y="433"/>
                    </a:lnTo>
                    <a:lnTo>
                      <a:pt x="331" y="433"/>
                    </a:lnTo>
                    <a:lnTo>
                      <a:pt x="332" y="433"/>
                    </a:lnTo>
                    <a:lnTo>
                      <a:pt x="334" y="435"/>
                    </a:lnTo>
                    <a:lnTo>
                      <a:pt x="336" y="435"/>
                    </a:lnTo>
                    <a:lnTo>
                      <a:pt x="338" y="435"/>
                    </a:lnTo>
                    <a:lnTo>
                      <a:pt x="338" y="436"/>
                    </a:lnTo>
                    <a:lnTo>
                      <a:pt x="340" y="436"/>
                    </a:lnTo>
                    <a:lnTo>
                      <a:pt x="342" y="436"/>
                    </a:lnTo>
                    <a:lnTo>
                      <a:pt x="342" y="438"/>
                    </a:lnTo>
                    <a:lnTo>
                      <a:pt x="344" y="438"/>
                    </a:lnTo>
                    <a:lnTo>
                      <a:pt x="346" y="438"/>
                    </a:lnTo>
                    <a:lnTo>
                      <a:pt x="346" y="440"/>
                    </a:lnTo>
                    <a:lnTo>
                      <a:pt x="347" y="440"/>
                    </a:lnTo>
                    <a:lnTo>
                      <a:pt x="349" y="440"/>
                    </a:lnTo>
                    <a:lnTo>
                      <a:pt x="351" y="440"/>
                    </a:lnTo>
                    <a:lnTo>
                      <a:pt x="351" y="442"/>
                    </a:lnTo>
                    <a:lnTo>
                      <a:pt x="353" y="442"/>
                    </a:lnTo>
                    <a:lnTo>
                      <a:pt x="355" y="440"/>
                    </a:lnTo>
                    <a:lnTo>
                      <a:pt x="355" y="438"/>
                    </a:lnTo>
                    <a:lnTo>
                      <a:pt x="357" y="438"/>
                    </a:lnTo>
                    <a:lnTo>
                      <a:pt x="359" y="440"/>
                    </a:lnTo>
                    <a:lnTo>
                      <a:pt x="361" y="442"/>
                    </a:lnTo>
                    <a:lnTo>
                      <a:pt x="363" y="440"/>
                    </a:lnTo>
                    <a:lnTo>
                      <a:pt x="368" y="440"/>
                    </a:lnTo>
                    <a:lnTo>
                      <a:pt x="370" y="453"/>
                    </a:lnTo>
                    <a:lnTo>
                      <a:pt x="379" y="442"/>
                    </a:lnTo>
                    <a:lnTo>
                      <a:pt x="381" y="440"/>
                    </a:lnTo>
                    <a:lnTo>
                      <a:pt x="391" y="427"/>
                    </a:lnTo>
                    <a:lnTo>
                      <a:pt x="389" y="446"/>
                    </a:lnTo>
                    <a:lnTo>
                      <a:pt x="385" y="459"/>
                    </a:lnTo>
                    <a:lnTo>
                      <a:pt x="387" y="463"/>
                    </a:lnTo>
                    <a:lnTo>
                      <a:pt x="391" y="459"/>
                    </a:lnTo>
                    <a:lnTo>
                      <a:pt x="400" y="465"/>
                    </a:lnTo>
                    <a:lnTo>
                      <a:pt x="400" y="472"/>
                    </a:lnTo>
                    <a:lnTo>
                      <a:pt x="408" y="478"/>
                    </a:lnTo>
                    <a:lnTo>
                      <a:pt x="410" y="482"/>
                    </a:lnTo>
                    <a:lnTo>
                      <a:pt x="413" y="480"/>
                    </a:lnTo>
                    <a:lnTo>
                      <a:pt x="417" y="474"/>
                    </a:lnTo>
                    <a:lnTo>
                      <a:pt x="425" y="478"/>
                    </a:lnTo>
                    <a:lnTo>
                      <a:pt x="430" y="483"/>
                    </a:lnTo>
                    <a:lnTo>
                      <a:pt x="436" y="491"/>
                    </a:lnTo>
                    <a:lnTo>
                      <a:pt x="438" y="491"/>
                    </a:lnTo>
                    <a:lnTo>
                      <a:pt x="440" y="491"/>
                    </a:lnTo>
                    <a:lnTo>
                      <a:pt x="442" y="491"/>
                    </a:lnTo>
                    <a:lnTo>
                      <a:pt x="442" y="493"/>
                    </a:lnTo>
                    <a:lnTo>
                      <a:pt x="442" y="495"/>
                    </a:lnTo>
                    <a:lnTo>
                      <a:pt x="442" y="497"/>
                    </a:lnTo>
                    <a:lnTo>
                      <a:pt x="440" y="502"/>
                    </a:lnTo>
                    <a:lnTo>
                      <a:pt x="442" y="504"/>
                    </a:lnTo>
                    <a:lnTo>
                      <a:pt x="442" y="506"/>
                    </a:lnTo>
                    <a:lnTo>
                      <a:pt x="447" y="495"/>
                    </a:lnTo>
                    <a:lnTo>
                      <a:pt x="449" y="504"/>
                    </a:lnTo>
                    <a:lnTo>
                      <a:pt x="447" y="506"/>
                    </a:lnTo>
                    <a:lnTo>
                      <a:pt x="442" y="508"/>
                    </a:lnTo>
                    <a:lnTo>
                      <a:pt x="442" y="510"/>
                    </a:lnTo>
                    <a:lnTo>
                      <a:pt x="438" y="514"/>
                    </a:lnTo>
                    <a:lnTo>
                      <a:pt x="440" y="517"/>
                    </a:lnTo>
                    <a:lnTo>
                      <a:pt x="440" y="519"/>
                    </a:lnTo>
                    <a:lnTo>
                      <a:pt x="442" y="517"/>
                    </a:lnTo>
                    <a:lnTo>
                      <a:pt x="445" y="523"/>
                    </a:lnTo>
                    <a:lnTo>
                      <a:pt x="443" y="527"/>
                    </a:lnTo>
                    <a:lnTo>
                      <a:pt x="443" y="529"/>
                    </a:lnTo>
                    <a:lnTo>
                      <a:pt x="445" y="531"/>
                    </a:lnTo>
                    <a:lnTo>
                      <a:pt x="443" y="532"/>
                    </a:lnTo>
                    <a:lnTo>
                      <a:pt x="443" y="534"/>
                    </a:lnTo>
                    <a:lnTo>
                      <a:pt x="443" y="536"/>
                    </a:lnTo>
                    <a:lnTo>
                      <a:pt x="442" y="536"/>
                    </a:lnTo>
                    <a:lnTo>
                      <a:pt x="442" y="538"/>
                    </a:lnTo>
                    <a:lnTo>
                      <a:pt x="442" y="540"/>
                    </a:lnTo>
                    <a:lnTo>
                      <a:pt x="442" y="542"/>
                    </a:lnTo>
                    <a:lnTo>
                      <a:pt x="443" y="542"/>
                    </a:lnTo>
                    <a:lnTo>
                      <a:pt x="442" y="544"/>
                    </a:lnTo>
                    <a:lnTo>
                      <a:pt x="442" y="546"/>
                    </a:lnTo>
                    <a:lnTo>
                      <a:pt x="421" y="557"/>
                    </a:lnTo>
                    <a:lnTo>
                      <a:pt x="426" y="579"/>
                    </a:lnTo>
                    <a:lnTo>
                      <a:pt x="428" y="579"/>
                    </a:lnTo>
                    <a:lnTo>
                      <a:pt x="428" y="581"/>
                    </a:lnTo>
                    <a:lnTo>
                      <a:pt x="428" y="583"/>
                    </a:lnTo>
                    <a:lnTo>
                      <a:pt x="428" y="585"/>
                    </a:lnTo>
                    <a:lnTo>
                      <a:pt x="430" y="585"/>
                    </a:lnTo>
                    <a:lnTo>
                      <a:pt x="430" y="587"/>
                    </a:lnTo>
                    <a:lnTo>
                      <a:pt x="432" y="587"/>
                    </a:lnTo>
                    <a:lnTo>
                      <a:pt x="432" y="589"/>
                    </a:lnTo>
                    <a:lnTo>
                      <a:pt x="434" y="591"/>
                    </a:lnTo>
                    <a:lnTo>
                      <a:pt x="434" y="593"/>
                    </a:lnTo>
                    <a:lnTo>
                      <a:pt x="436" y="595"/>
                    </a:lnTo>
                    <a:lnTo>
                      <a:pt x="436" y="596"/>
                    </a:lnTo>
                    <a:lnTo>
                      <a:pt x="438" y="596"/>
                    </a:lnTo>
                    <a:lnTo>
                      <a:pt x="438" y="598"/>
                    </a:lnTo>
                    <a:lnTo>
                      <a:pt x="438" y="600"/>
                    </a:lnTo>
                    <a:lnTo>
                      <a:pt x="438" y="602"/>
                    </a:lnTo>
                    <a:lnTo>
                      <a:pt x="440" y="602"/>
                    </a:lnTo>
                    <a:lnTo>
                      <a:pt x="440" y="604"/>
                    </a:lnTo>
                    <a:lnTo>
                      <a:pt x="440" y="606"/>
                    </a:lnTo>
                    <a:lnTo>
                      <a:pt x="442" y="606"/>
                    </a:lnTo>
                    <a:lnTo>
                      <a:pt x="442" y="608"/>
                    </a:lnTo>
                    <a:lnTo>
                      <a:pt x="442" y="610"/>
                    </a:lnTo>
                    <a:lnTo>
                      <a:pt x="443" y="611"/>
                    </a:lnTo>
                    <a:lnTo>
                      <a:pt x="445" y="611"/>
                    </a:lnTo>
                    <a:lnTo>
                      <a:pt x="447" y="611"/>
                    </a:lnTo>
                    <a:lnTo>
                      <a:pt x="447" y="613"/>
                    </a:lnTo>
                    <a:lnTo>
                      <a:pt x="447" y="615"/>
                    </a:lnTo>
                    <a:lnTo>
                      <a:pt x="449" y="615"/>
                    </a:lnTo>
                    <a:lnTo>
                      <a:pt x="443" y="619"/>
                    </a:lnTo>
                    <a:lnTo>
                      <a:pt x="442" y="640"/>
                    </a:lnTo>
                    <a:lnTo>
                      <a:pt x="443" y="653"/>
                    </a:lnTo>
                    <a:lnTo>
                      <a:pt x="447" y="662"/>
                    </a:lnTo>
                    <a:lnTo>
                      <a:pt x="451" y="672"/>
                    </a:lnTo>
                    <a:lnTo>
                      <a:pt x="466" y="664"/>
                    </a:lnTo>
                    <a:lnTo>
                      <a:pt x="468" y="662"/>
                    </a:lnTo>
                    <a:lnTo>
                      <a:pt x="472" y="659"/>
                    </a:lnTo>
                    <a:lnTo>
                      <a:pt x="472" y="651"/>
                    </a:lnTo>
                    <a:lnTo>
                      <a:pt x="474" y="640"/>
                    </a:lnTo>
                    <a:lnTo>
                      <a:pt x="472" y="638"/>
                    </a:lnTo>
                    <a:lnTo>
                      <a:pt x="472" y="634"/>
                    </a:lnTo>
                    <a:lnTo>
                      <a:pt x="474" y="628"/>
                    </a:lnTo>
                    <a:lnTo>
                      <a:pt x="474" y="627"/>
                    </a:lnTo>
                    <a:lnTo>
                      <a:pt x="477" y="621"/>
                    </a:lnTo>
                    <a:lnTo>
                      <a:pt x="475" y="617"/>
                    </a:lnTo>
                    <a:lnTo>
                      <a:pt x="475" y="611"/>
                    </a:lnTo>
                    <a:lnTo>
                      <a:pt x="483" y="602"/>
                    </a:lnTo>
                    <a:lnTo>
                      <a:pt x="485" y="602"/>
                    </a:lnTo>
                    <a:lnTo>
                      <a:pt x="487" y="606"/>
                    </a:lnTo>
                    <a:lnTo>
                      <a:pt x="490" y="610"/>
                    </a:lnTo>
                    <a:lnTo>
                      <a:pt x="496" y="606"/>
                    </a:lnTo>
                    <a:lnTo>
                      <a:pt x="502" y="602"/>
                    </a:lnTo>
                    <a:lnTo>
                      <a:pt x="504" y="602"/>
                    </a:lnTo>
                    <a:lnTo>
                      <a:pt x="498" y="596"/>
                    </a:lnTo>
                    <a:lnTo>
                      <a:pt x="504" y="593"/>
                    </a:lnTo>
                    <a:lnTo>
                      <a:pt x="504" y="589"/>
                    </a:lnTo>
                    <a:lnTo>
                      <a:pt x="505" y="585"/>
                    </a:lnTo>
                    <a:lnTo>
                      <a:pt x="511" y="593"/>
                    </a:lnTo>
                    <a:lnTo>
                      <a:pt x="522" y="587"/>
                    </a:lnTo>
                    <a:lnTo>
                      <a:pt x="526" y="578"/>
                    </a:lnTo>
                    <a:lnTo>
                      <a:pt x="534" y="579"/>
                    </a:lnTo>
                    <a:lnTo>
                      <a:pt x="539" y="585"/>
                    </a:lnTo>
                    <a:lnTo>
                      <a:pt x="541" y="583"/>
                    </a:lnTo>
                    <a:lnTo>
                      <a:pt x="556" y="583"/>
                    </a:lnTo>
                    <a:lnTo>
                      <a:pt x="564" y="576"/>
                    </a:lnTo>
                    <a:lnTo>
                      <a:pt x="564" y="574"/>
                    </a:lnTo>
                    <a:lnTo>
                      <a:pt x="569" y="570"/>
                    </a:lnTo>
                    <a:lnTo>
                      <a:pt x="573" y="568"/>
                    </a:lnTo>
                    <a:lnTo>
                      <a:pt x="575" y="564"/>
                    </a:lnTo>
                    <a:lnTo>
                      <a:pt x="583" y="559"/>
                    </a:lnTo>
                    <a:lnTo>
                      <a:pt x="583" y="555"/>
                    </a:lnTo>
                    <a:lnTo>
                      <a:pt x="586" y="546"/>
                    </a:lnTo>
                    <a:lnTo>
                      <a:pt x="594" y="544"/>
                    </a:lnTo>
                    <a:lnTo>
                      <a:pt x="598" y="544"/>
                    </a:lnTo>
                    <a:lnTo>
                      <a:pt x="598" y="542"/>
                    </a:lnTo>
                    <a:lnTo>
                      <a:pt x="600" y="540"/>
                    </a:lnTo>
                    <a:lnTo>
                      <a:pt x="600" y="538"/>
                    </a:lnTo>
                    <a:lnTo>
                      <a:pt x="600" y="536"/>
                    </a:lnTo>
                    <a:lnTo>
                      <a:pt x="601" y="532"/>
                    </a:lnTo>
                    <a:lnTo>
                      <a:pt x="603" y="531"/>
                    </a:lnTo>
                    <a:lnTo>
                      <a:pt x="605" y="529"/>
                    </a:lnTo>
                    <a:lnTo>
                      <a:pt x="607" y="527"/>
                    </a:lnTo>
                    <a:lnTo>
                      <a:pt x="611" y="525"/>
                    </a:lnTo>
                    <a:lnTo>
                      <a:pt x="615" y="525"/>
                    </a:lnTo>
                    <a:lnTo>
                      <a:pt x="618" y="525"/>
                    </a:lnTo>
                    <a:lnTo>
                      <a:pt x="615" y="538"/>
                    </a:lnTo>
                    <a:lnTo>
                      <a:pt x="633" y="536"/>
                    </a:lnTo>
                    <a:lnTo>
                      <a:pt x="633" y="538"/>
                    </a:lnTo>
                    <a:lnTo>
                      <a:pt x="635" y="546"/>
                    </a:lnTo>
                    <a:lnTo>
                      <a:pt x="635" y="551"/>
                    </a:lnTo>
                    <a:lnTo>
                      <a:pt x="635" y="553"/>
                    </a:lnTo>
                    <a:lnTo>
                      <a:pt x="637" y="563"/>
                    </a:lnTo>
                    <a:lnTo>
                      <a:pt x="628" y="561"/>
                    </a:lnTo>
                    <a:lnTo>
                      <a:pt x="615" y="574"/>
                    </a:lnTo>
                    <a:lnTo>
                      <a:pt x="616" y="583"/>
                    </a:lnTo>
                    <a:lnTo>
                      <a:pt x="615" y="585"/>
                    </a:lnTo>
                    <a:lnTo>
                      <a:pt x="611" y="589"/>
                    </a:lnTo>
                    <a:lnTo>
                      <a:pt x="605" y="596"/>
                    </a:lnTo>
                    <a:lnTo>
                      <a:pt x="605" y="595"/>
                    </a:lnTo>
                    <a:lnTo>
                      <a:pt x="594" y="589"/>
                    </a:lnTo>
                    <a:lnTo>
                      <a:pt x="592" y="589"/>
                    </a:lnTo>
                    <a:lnTo>
                      <a:pt x="596" y="608"/>
                    </a:lnTo>
                    <a:lnTo>
                      <a:pt x="596" y="613"/>
                    </a:lnTo>
                    <a:lnTo>
                      <a:pt x="598" y="621"/>
                    </a:lnTo>
                    <a:lnTo>
                      <a:pt x="603" y="638"/>
                    </a:lnTo>
                    <a:lnTo>
                      <a:pt x="601" y="642"/>
                    </a:lnTo>
                    <a:lnTo>
                      <a:pt x="607" y="653"/>
                    </a:lnTo>
                    <a:lnTo>
                      <a:pt x="609" y="664"/>
                    </a:lnTo>
                    <a:lnTo>
                      <a:pt x="618" y="670"/>
                    </a:lnTo>
                    <a:lnTo>
                      <a:pt x="620" y="675"/>
                    </a:lnTo>
                    <a:lnTo>
                      <a:pt x="620" y="696"/>
                    </a:lnTo>
                    <a:lnTo>
                      <a:pt x="628" y="706"/>
                    </a:lnTo>
                    <a:lnTo>
                      <a:pt x="637" y="711"/>
                    </a:lnTo>
                    <a:lnTo>
                      <a:pt x="648" y="713"/>
                    </a:lnTo>
                    <a:lnTo>
                      <a:pt x="656" y="724"/>
                    </a:lnTo>
                    <a:lnTo>
                      <a:pt x="660" y="728"/>
                    </a:lnTo>
                    <a:lnTo>
                      <a:pt x="663" y="730"/>
                    </a:lnTo>
                    <a:lnTo>
                      <a:pt x="665" y="738"/>
                    </a:lnTo>
                    <a:lnTo>
                      <a:pt x="665" y="745"/>
                    </a:lnTo>
                    <a:lnTo>
                      <a:pt x="669" y="741"/>
                    </a:lnTo>
                    <a:lnTo>
                      <a:pt x="684" y="753"/>
                    </a:lnTo>
                    <a:lnTo>
                      <a:pt x="699" y="755"/>
                    </a:lnTo>
                    <a:lnTo>
                      <a:pt x="714" y="736"/>
                    </a:lnTo>
                    <a:lnTo>
                      <a:pt x="716" y="736"/>
                    </a:lnTo>
                    <a:lnTo>
                      <a:pt x="724" y="749"/>
                    </a:lnTo>
                    <a:lnTo>
                      <a:pt x="724" y="755"/>
                    </a:lnTo>
                    <a:lnTo>
                      <a:pt x="731" y="755"/>
                    </a:lnTo>
                    <a:lnTo>
                      <a:pt x="739" y="751"/>
                    </a:lnTo>
                    <a:lnTo>
                      <a:pt x="741" y="751"/>
                    </a:lnTo>
                    <a:lnTo>
                      <a:pt x="756" y="755"/>
                    </a:lnTo>
                    <a:lnTo>
                      <a:pt x="759" y="755"/>
                    </a:lnTo>
                    <a:lnTo>
                      <a:pt x="761" y="745"/>
                    </a:lnTo>
                    <a:lnTo>
                      <a:pt x="776" y="740"/>
                    </a:lnTo>
                    <a:lnTo>
                      <a:pt x="780" y="728"/>
                    </a:lnTo>
                    <a:lnTo>
                      <a:pt x="782" y="723"/>
                    </a:lnTo>
                    <a:lnTo>
                      <a:pt x="784" y="717"/>
                    </a:lnTo>
                    <a:lnTo>
                      <a:pt x="784" y="706"/>
                    </a:lnTo>
                    <a:lnTo>
                      <a:pt x="778" y="696"/>
                    </a:lnTo>
                    <a:lnTo>
                      <a:pt x="774" y="691"/>
                    </a:lnTo>
                    <a:lnTo>
                      <a:pt x="774" y="683"/>
                    </a:lnTo>
                    <a:lnTo>
                      <a:pt x="782" y="679"/>
                    </a:lnTo>
                    <a:lnTo>
                      <a:pt x="788" y="670"/>
                    </a:lnTo>
                    <a:lnTo>
                      <a:pt x="818" y="662"/>
                    </a:lnTo>
                    <a:lnTo>
                      <a:pt x="837" y="664"/>
                    </a:lnTo>
                    <a:lnTo>
                      <a:pt x="842" y="666"/>
                    </a:lnTo>
                    <a:lnTo>
                      <a:pt x="852" y="666"/>
                    </a:lnTo>
                    <a:lnTo>
                      <a:pt x="857" y="664"/>
                    </a:lnTo>
                    <a:lnTo>
                      <a:pt x="869" y="659"/>
                    </a:lnTo>
                    <a:lnTo>
                      <a:pt x="863" y="647"/>
                    </a:lnTo>
                    <a:lnTo>
                      <a:pt x="874" y="623"/>
                    </a:lnTo>
                    <a:lnTo>
                      <a:pt x="874" y="621"/>
                    </a:lnTo>
                    <a:lnTo>
                      <a:pt x="876" y="621"/>
                    </a:lnTo>
                    <a:lnTo>
                      <a:pt x="878" y="619"/>
                    </a:lnTo>
                    <a:lnTo>
                      <a:pt x="887" y="608"/>
                    </a:lnTo>
                    <a:lnTo>
                      <a:pt x="897" y="604"/>
                    </a:lnTo>
                    <a:lnTo>
                      <a:pt x="899" y="602"/>
                    </a:lnTo>
                    <a:lnTo>
                      <a:pt x="904" y="591"/>
                    </a:lnTo>
                    <a:lnTo>
                      <a:pt x="904" y="583"/>
                    </a:lnTo>
                    <a:lnTo>
                      <a:pt x="917" y="587"/>
                    </a:lnTo>
                    <a:lnTo>
                      <a:pt x="932" y="579"/>
                    </a:lnTo>
                    <a:lnTo>
                      <a:pt x="938" y="581"/>
                    </a:lnTo>
                    <a:lnTo>
                      <a:pt x="940" y="576"/>
                    </a:lnTo>
                    <a:lnTo>
                      <a:pt x="949" y="570"/>
                    </a:lnTo>
                    <a:lnTo>
                      <a:pt x="949" y="568"/>
                    </a:lnTo>
                    <a:lnTo>
                      <a:pt x="955" y="570"/>
                    </a:lnTo>
                    <a:lnTo>
                      <a:pt x="961" y="570"/>
                    </a:lnTo>
                    <a:lnTo>
                      <a:pt x="968" y="568"/>
                    </a:lnTo>
                    <a:lnTo>
                      <a:pt x="970" y="564"/>
                    </a:lnTo>
                    <a:lnTo>
                      <a:pt x="968" y="557"/>
                    </a:lnTo>
                    <a:lnTo>
                      <a:pt x="966" y="544"/>
                    </a:lnTo>
                    <a:lnTo>
                      <a:pt x="964" y="538"/>
                    </a:lnTo>
                    <a:lnTo>
                      <a:pt x="968" y="538"/>
                    </a:lnTo>
                    <a:lnTo>
                      <a:pt x="976" y="536"/>
                    </a:lnTo>
                    <a:lnTo>
                      <a:pt x="979" y="534"/>
                    </a:lnTo>
                    <a:lnTo>
                      <a:pt x="983" y="532"/>
                    </a:lnTo>
                    <a:lnTo>
                      <a:pt x="987" y="532"/>
                    </a:lnTo>
                    <a:lnTo>
                      <a:pt x="993" y="532"/>
                    </a:lnTo>
                    <a:lnTo>
                      <a:pt x="998" y="538"/>
                    </a:lnTo>
                    <a:lnTo>
                      <a:pt x="1000" y="542"/>
                    </a:lnTo>
                    <a:lnTo>
                      <a:pt x="1004" y="544"/>
                    </a:lnTo>
                    <a:lnTo>
                      <a:pt x="1008" y="538"/>
                    </a:lnTo>
                    <a:lnTo>
                      <a:pt x="1010" y="536"/>
                    </a:lnTo>
                    <a:lnTo>
                      <a:pt x="1011" y="534"/>
                    </a:lnTo>
                    <a:lnTo>
                      <a:pt x="1015" y="531"/>
                    </a:lnTo>
                    <a:lnTo>
                      <a:pt x="1019" y="536"/>
                    </a:lnTo>
                    <a:lnTo>
                      <a:pt x="1021" y="536"/>
                    </a:lnTo>
                    <a:lnTo>
                      <a:pt x="1025" y="536"/>
                    </a:lnTo>
                    <a:lnTo>
                      <a:pt x="1025" y="540"/>
                    </a:lnTo>
                    <a:lnTo>
                      <a:pt x="1027" y="544"/>
                    </a:lnTo>
                    <a:lnTo>
                      <a:pt x="1030" y="546"/>
                    </a:lnTo>
                    <a:lnTo>
                      <a:pt x="1045" y="551"/>
                    </a:lnTo>
                    <a:lnTo>
                      <a:pt x="1051" y="551"/>
                    </a:lnTo>
                    <a:lnTo>
                      <a:pt x="1058" y="551"/>
                    </a:lnTo>
                    <a:lnTo>
                      <a:pt x="1058" y="549"/>
                    </a:lnTo>
                    <a:lnTo>
                      <a:pt x="1058" y="546"/>
                    </a:lnTo>
                    <a:lnTo>
                      <a:pt x="1064" y="547"/>
                    </a:lnTo>
                    <a:lnTo>
                      <a:pt x="1066" y="536"/>
                    </a:lnTo>
                    <a:lnTo>
                      <a:pt x="1075" y="534"/>
                    </a:lnTo>
                    <a:lnTo>
                      <a:pt x="1081" y="531"/>
                    </a:lnTo>
                    <a:lnTo>
                      <a:pt x="1083" y="531"/>
                    </a:lnTo>
                    <a:lnTo>
                      <a:pt x="1083" y="521"/>
                    </a:lnTo>
                    <a:lnTo>
                      <a:pt x="1087" y="502"/>
                    </a:lnTo>
                    <a:lnTo>
                      <a:pt x="1100" y="493"/>
                    </a:lnTo>
                    <a:lnTo>
                      <a:pt x="1106" y="514"/>
                    </a:lnTo>
                    <a:lnTo>
                      <a:pt x="1113" y="491"/>
                    </a:lnTo>
                    <a:lnTo>
                      <a:pt x="1117" y="487"/>
                    </a:lnTo>
                    <a:lnTo>
                      <a:pt x="1107" y="482"/>
                    </a:lnTo>
                    <a:lnTo>
                      <a:pt x="1102" y="474"/>
                    </a:lnTo>
                    <a:lnTo>
                      <a:pt x="1107" y="468"/>
                    </a:lnTo>
                    <a:lnTo>
                      <a:pt x="1106" y="461"/>
                    </a:lnTo>
                    <a:lnTo>
                      <a:pt x="1102" y="450"/>
                    </a:lnTo>
                    <a:lnTo>
                      <a:pt x="1109" y="446"/>
                    </a:lnTo>
                    <a:lnTo>
                      <a:pt x="1109" y="438"/>
                    </a:lnTo>
                    <a:lnTo>
                      <a:pt x="1109" y="436"/>
                    </a:lnTo>
                    <a:lnTo>
                      <a:pt x="1107" y="436"/>
                    </a:lnTo>
                    <a:lnTo>
                      <a:pt x="1107" y="435"/>
                    </a:lnTo>
                    <a:lnTo>
                      <a:pt x="1106" y="435"/>
                    </a:lnTo>
                    <a:lnTo>
                      <a:pt x="1106" y="433"/>
                    </a:lnTo>
                    <a:lnTo>
                      <a:pt x="1106" y="431"/>
                    </a:lnTo>
                    <a:lnTo>
                      <a:pt x="1104" y="431"/>
                    </a:lnTo>
                    <a:lnTo>
                      <a:pt x="1104" y="429"/>
                    </a:lnTo>
                    <a:lnTo>
                      <a:pt x="1104" y="427"/>
                    </a:lnTo>
                    <a:lnTo>
                      <a:pt x="1104" y="425"/>
                    </a:lnTo>
                    <a:lnTo>
                      <a:pt x="1113" y="427"/>
                    </a:lnTo>
                    <a:lnTo>
                      <a:pt x="1117" y="435"/>
                    </a:lnTo>
                    <a:lnTo>
                      <a:pt x="1126" y="436"/>
                    </a:lnTo>
                    <a:lnTo>
                      <a:pt x="1128" y="416"/>
                    </a:lnTo>
                    <a:lnTo>
                      <a:pt x="1128" y="414"/>
                    </a:lnTo>
                    <a:lnTo>
                      <a:pt x="1124" y="412"/>
                    </a:lnTo>
                    <a:lnTo>
                      <a:pt x="1136" y="406"/>
                    </a:lnTo>
                    <a:lnTo>
                      <a:pt x="1136" y="397"/>
                    </a:lnTo>
                    <a:lnTo>
                      <a:pt x="1139" y="387"/>
                    </a:lnTo>
                    <a:lnTo>
                      <a:pt x="1143" y="380"/>
                    </a:lnTo>
                    <a:lnTo>
                      <a:pt x="1147" y="369"/>
                    </a:lnTo>
                    <a:lnTo>
                      <a:pt x="1149" y="367"/>
                    </a:lnTo>
                    <a:lnTo>
                      <a:pt x="1153" y="346"/>
                    </a:lnTo>
                    <a:lnTo>
                      <a:pt x="1162" y="344"/>
                    </a:lnTo>
                    <a:lnTo>
                      <a:pt x="1171" y="348"/>
                    </a:lnTo>
                    <a:lnTo>
                      <a:pt x="1173" y="350"/>
                    </a:lnTo>
                    <a:lnTo>
                      <a:pt x="1194" y="359"/>
                    </a:lnTo>
                    <a:lnTo>
                      <a:pt x="1209" y="369"/>
                    </a:lnTo>
                    <a:lnTo>
                      <a:pt x="1211" y="369"/>
                    </a:lnTo>
                    <a:lnTo>
                      <a:pt x="1216" y="371"/>
                    </a:lnTo>
                    <a:lnTo>
                      <a:pt x="1222" y="371"/>
                    </a:lnTo>
                    <a:lnTo>
                      <a:pt x="1228" y="372"/>
                    </a:lnTo>
                    <a:lnTo>
                      <a:pt x="1228" y="374"/>
                    </a:lnTo>
                    <a:lnTo>
                      <a:pt x="1228" y="378"/>
                    </a:lnTo>
                    <a:lnTo>
                      <a:pt x="1228" y="382"/>
                    </a:lnTo>
                    <a:lnTo>
                      <a:pt x="1241" y="386"/>
                    </a:lnTo>
                    <a:lnTo>
                      <a:pt x="1239" y="391"/>
                    </a:lnTo>
                    <a:lnTo>
                      <a:pt x="1235" y="399"/>
                    </a:lnTo>
                    <a:lnTo>
                      <a:pt x="1232" y="410"/>
                    </a:lnTo>
                    <a:lnTo>
                      <a:pt x="1241" y="416"/>
                    </a:lnTo>
                    <a:lnTo>
                      <a:pt x="1243" y="416"/>
                    </a:lnTo>
                    <a:lnTo>
                      <a:pt x="1245" y="416"/>
                    </a:lnTo>
                    <a:lnTo>
                      <a:pt x="1245" y="414"/>
                    </a:lnTo>
                    <a:lnTo>
                      <a:pt x="1247" y="414"/>
                    </a:lnTo>
                    <a:lnTo>
                      <a:pt x="1247" y="412"/>
                    </a:lnTo>
                    <a:lnTo>
                      <a:pt x="1248" y="412"/>
                    </a:lnTo>
                    <a:lnTo>
                      <a:pt x="1248" y="414"/>
                    </a:lnTo>
                    <a:lnTo>
                      <a:pt x="1248" y="416"/>
                    </a:lnTo>
                    <a:lnTo>
                      <a:pt x="1256" y="414"/>
                    </a:lnTo>
                    <a:lnTo>
                      <a:pt x="1271" y="408"/>
                    </a:lnTo>
                    <a:lnTo>
                      <a:pt x="1277" y="418"/>
                    </a:lnTo>
                    <a:lnTo>
                      <a:pt x="1282" y="425"/>
                    </a:lnTo>
                    <a:lnTo>
                      <a:pt x="1294" y="419"/>
                    </a:lnTo>
                    <a:lnTo>
                      <a:pt x="1303" y="414"/>
                    </a:lnTo>
                    <a:lnTo>
                      <a:pt x="1307" y="427"/>
                    </a:lnTo>
                    <a:lnTo>
                      <a:pt x="1312" y="431"/>
                    </a:lnTo>
                    <a:lnTo>
                      <a:pt x="1327" y="427"/>
                    </a:lnTo>
                    <a:lnTo>
                      <a:pt x="1333" y="427"/>
                    </a:lnTo>
                    <a:lnTo>
                      <a:pt x="1341" y="429"/>
                    </a:lnTo>
                    <a:lnTo>
                      <a:pt x="1348" y="433"/>
                    </a:lnTo>
                    <a:lnTo>
                      <a:pt x="1356" y="436"/>
                    </a:lnTo>
                    <a:lnTo>
                      <a:pt x="1354" y="436"/>
                    </a:lnTo>
                    <a:lnTo>
                      <a:pt x="1352" y="442"/>
                    </a:lnTo>
                    <a:lnTo>
                      <a:pt x="1352" y="450"/>
                    </a:lnTo>
                    <a:lnTo>
                      <a:pt x="1354" y="455"/>
                    </a:lnTo>
                    <a:lnTo>
                      <a:pt x="1356" y="455"/>
                    </a:lnTo>
                    <a:lnTo>
                      <a:pt x="1361" y="461"/>
                    </a:lnTo>
                    <a:lnTo>
                      <a:pt x="1363" y="463"/>
                    </a:lnTo>
                    <a:lnTo>
                      <a:pt x="1365" y="457"/>
                    </a:lnTo>
                    <a:lnTo>
                      <a:pt x="1369" y="457"/>
                    </a:lnTo>
                    <a:lnTo>
                      <a:pt x="1374" y="453"/>
                    </a:lnTo>
                    <a:lnTo>
                      <a:pt x="1374" y="451"/>
                    </a:lnTo>
                    <a:lnTo>
                      <a:pt x="1376" y="450"/>
                    </a:lnTo>
                    <a:lnTo>
                      <a:pt x="1382" y="444"/>
                    </a:lnTo>
                    <a:lnTo>
                      <a:pt x="1388" y="440"/>
                    </a:lnTo>
                    <a:lnTo>
                      <a:pt x="1393" y="435"/>
                    </a:lnTo>
                    <a:lnTo>
                      <a:pt x="1397" y="431"/>
                    </a:lnTo>
                    <a:lnTo>
                      <a:pt x="1395" y="425"/>
                    </a:lnTo>
                    <a:lnTo>
                      <a:pt x="1397" y="423"/>
                    </a:lnTo>
                    <a:lnTo>
                      <a:pt x="1405" y="414"/>
                    </a:lnTo>
                    <a:lnTo>
                      <a:pt x="1406" y="403"/>
                    </a:lnTo>
                    <a:lnTo>
                      <a:pt x="1406" y="401"/>
                    </a:lnTo>
                    <a:lnTo>
                      <a:pt x="1416" y="387"/>
                    </a:lnTo>
                    <a:lnTo>
                      <a:pt x="1427" y="382"/>
                    </a:lnTo>
                    <a:lnTo>
                      <a:pt x="1437" y="384"/>
                    </a:lnTo>
                    <a:lnTo>
                      <a:pt x="1438" y="382"/>
                    </a:lnTo>
                    <a:lnTo>
                      <a:pt x="1442" y="382"/>
                    </a:lnTo>
                    <a:lnTo>
                      <a:pt x="1440" y="378"/>
                    </a:lnTo>
                    <a:lnTo>
                      <a:pt x="1442" y="378"/>
                    </a:lnTo>
                    <a:lnTo>
                      <a:pt x="1444" y="371"/>
                    </a:lnTo>
                    <a:lnTo>
                      <a:pt x="1446" y="372"/>
                    </a:lnTo>
                    <a:lnTo>
                      <a:pt x="1453" y="376"/>
                    </a:lnTo>
                    <a:lnTo>
                      <a:pt x="1465" y="380"/>
                    </a:lnTo>
                    <a:lnTo>
                      <a:pt x="1472" y="380"/>
                    </a:lnTo>
                    <a:lnTo>
                      <a:pt x="1476" y="376"/>
                    </a:lnTo>
                    <a:lnTo>
                      <a:pt x="1485" y="374"/>
                    </a:lnTo>
                    <a:lnTo>
                      <a:pt x="1487" y="372"/>
                    </a:lnTo>
                    <a:lnTo>
                      <a:pt x="1491" y="367"/>
                    </a:lnTo>
                    <a:lnTo>
                      <a:pt x="1497" y="363"/>
                    </a:lnTo>
                    <a:lnTo>
                      <a:pt x="1502" y="367"/>
                    </a:lnTo>
                    <a:lnTo>
                      <a:pt x="1508" y="365"/>
                    </a:lnTo>
                    <a:lnTo>
                      <a:pt x="1514" y="363"/>
                    </a:lnTo>
                    <a:lnTo>
                      <a:pt x="1521" y="363"/>
                    </a:lnTo>
                    <a:lnTo>
                      <a:pt x="1527" y="365"/>
                    </a:lnTo>
                    <a:lnTo>
                      <a:pt x="1532" y="376"/>
                    </a:lnTo>
                    <a:lnTo>
                      <a:pt x="1536" y="378"/>
                    </a:lnTo>
                    <a:lnTo>
                      <a:pt x="1542" y="380"/>
                    </a:lnTo>
                    <a:lnTo>
                      <a:pt x="1548" y="382"/>
                    </a:lnTo>
                    <a:lnTo>
                      <a:pt x="1553" y="384"/>
                    </a:lnTo>
                    <a:lnTo>
                      <a:pt x="1555" y="387"/>
                    </a:lnTo>
                    <a:lnTo>
                      <a:pt x="1546" y="397"/>
                    </a:lnTo>
                    <a:lnTo>
                      <a:pt x="1553" y="399"/>
                    </a:lnTo>
                    <a:lnTo>
                      <a:pt x="1549" y="403"/>
                    </a:lnTo>
                    <a:lnTo>
                      <a:pt x="1553" y="403"/>
                    </a:lnTo>
                    <a:lnTo>
                      <a:pt x="1563" y="419"/>
                    </a:lnTo>
                    <a:lnTo>
                      <a:pt x="1566" y="419"/>
                    </a:lnTo>
                    <a:lnTo>
                      <a:pt x="1568" y="418"/>
                    </a:lnTo>
                    <a:lnTo>
                      <a:pt x="1572" y="416"/>
                    </a:lnTo>
                    <a:lnTo>
                      <a:pt x="1572" y="414"/>
                    </a:lnTo>
                    <a:lnTo>
                      <a:pt x="1572" y="412"/>
                    </a:lnTo>
                    <a:lnTo>
                      <a:pt x="1572" y="408"/>
                    </a:lnTo>
                    <a:lnTo>
                      <a:pt x="1572" y="406"/>
                    </a:lnTo>
                    <a:lnTo>
                      <a:pt x="1580" y="401"/>
                    </a:lnTo>
                    <a:lnTo>
                      <a:pt x="1581" y="401"/>
                    </a:lnTo>
                    <a:lnTo>
                      <a:pt x="1581" y="397"/>
                    </a:lnTo>
                    <a:lnTo>
                      <a:pt x="1581" y="393"/>
                    </a:lnTo>
                    <a:lnTo>
                      <a:pt x="1585" y="384"/>
                    </a:lnTo>
                    <a:lnTo>
                      <a:pt x="1585" y="380"/>
                    </a:lnTo>
                    <a:lnTo>
                      <a:pt x="1593" y="380"/>
                    </a:lnTo>
                    <a:lnTo>
                      <a:pt x="1606" y="380"/>
                    </a:lnTo>
                    <a:lnTo>
                      <a:pt x="1602" y="386"/>
                    </a:lnTo>
                    <a:lnTo>
                      <a:pt x="1600" y="387"/>
                    </a:lnTo>
                    <a:lnTo>
                      <a:pt x="1604" y="399"/>
                    </a:lnTo>
                    <a:lnTo>
                      <a:pt x="1608" y="401"/>
                    </a:lnTo>
                    <a:lnTo>
                      <a:pt x="1611" y="410"/>
                    </a:lnTo>
                    <a:lnTo>
                      <a:pt x="1617" y="408"/>
                    </a:lnTo>
                    <a:lnTo>
                      <a:pt x="1619" y="406"/>
                    </a:lnTo>
                    <a:lnTo>
                      <a:pt x="1621" y="406"/>
                    </a:lnTo>
                    <a:lnTo>
                      <a:pt x="1623" y="406"/>
                    </a:lnTo>
                    <a:lnTo>
                      <a:pt x="1627" y="406"/>
                    </a:lnTo>
                    <a:lnTo>
                      <a:pt x="1632" y="404"/>
                    </a:lnTo>
                    <a:close/>
                  </a:path>
                </a:pathLst>
              </a:custGeom>
              <a:grpFill/>
              <a:ln w="9525">
                <a:solidFill>
                  <a:schemeClr val="accent6"/>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 name="Group 9"/>
            <p:cNvGrpSpPr/>
            <p:nvPr/>
          </p:nvGrpSpPr>
          <p:grpSpPr>
            <a:xfrm>
              <a:off x="1143702" y="3543457"/>
              <a:ext cx="4788053" cy="2430971"/>
              <a:chOff x="981383" y="3654117"/>
              <a:chExt cx="4788053" cy="2430971"/>
            </a:xfrm>
            <a:solidFill>
              <a:srgbClr val="00B0F0"/>
            </a:solidFill>
          </p:grpSpPr>
          <p:sp>
            <p:nvSpPr>
              <p:cNvPr id="7" name="Isosceles Triangle 6"/>
              <p:cNvSpPr/>
              <p:nvPr/>
            </p:nvSpPr>
            <p:spPr>
              <a:xfrm>
                <a:off x="5669756" y="3654117"/>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77" name="Isosceles Triangle 76"/>
              <p:cNvSpPr/>
              <p:nvPr/>
            </p:nvSpPr>
            <p:spPr>
              <a:xfrm>
                <a:off x="5582908" y="3740049"/>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78" name="Isosceles Triangle 77"/>
              <p:cNvSpPr/>
              <p:nvPr/>
            </p:nvSpPr>
            <p:spPr>
              <a:xfrm>
                <a:off x="5540450" y="3797922"/>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79" name="Isosceles Triangle 78"/>
              <p:cNvSpPr/>
              <p:nvPr/>
            </p:nvSpPr>
            <p:spPr>
              <a:xfrm>
                <a:off x="5520177" y="3842097"/>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0" name="Isosceles Triangle 79"/>
              <p:cNvSpPr/>
              <p:nvPr/>
            </p:nvSpPr>
            <p:spPr>
              <a:xfrm>
                <a:off x="5519190" y="3858628"/>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1" name="Isosceles Triangle 80"/>
              <p:cNvSpPr/>
              <p:nvPr/>
            </p:nvSpPr>
            <p:spPr>
              <a:xfrm>
                <a:off x="5497514" y="3924041"/>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2" name="Isosceles Triangle 81"/>
              <p:cNvSpPr/>
              <p:nvPr/>
            </p:nvSpPr>
            <p:spPr>
              <a:xfrm>
                <a:off x="5496555" y="3956970"/>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3" name="Isosceles Triangle 82"/>
              <p:cNvSpPr/>
              <p:nvPr/>
            </p:nvSpPr>
            <p:spPr>
              <a:xfrm>
                <a:off x="5445756" y="4021530"/>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4" name="Isosceles Triangle 83"/>
              <p:cNvSpPr/>
              <p:nvPr/>
            </p:nvSpPr>
            <p:spPr>
              <a:xfrm>
                <a:off x="5382147" y="4119937"/>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5" name="Isosceles Triangle 84"/>
              <p:cNvSpPr/>
              <p:nvPr/>
            </p:nvSpPr>
            <p:spPr>
              <a:xfrm>
                <a:off x="5127121" y="4523878"/>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6" name="Isosceles Triangle 85"/>
              <p:cNvSpPr/>
              <p:nvPr/>
            </p:nvSpPr>
            <p:spPr>
              <a:xfrm>
                <a:off x="5096149" y="4579486"/>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7" name="Isosceles Triangle 86"/>
              <p:cNvSpPr/>
              <p:nvPr/>
            </p:nvSpPr>
            <p:spPr>
              <a:xfrm>
                <a:off x="4133162" y="5463264"/>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8" name="Isosceles Triangle 87"/>
              <p:cNvSpPr/>
              <p:nvPr/>
            </p:nvSpPr>
            <p:spPr>
              <a:xfrm>
                <a:off x="4033482" y="5537135"/>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9" name="Isosceles Triangle 88"/>
              <p:cNvSpPr/>
              <p:nvPr/>
            </p:nvSpPr>
            <p:spPr>
              <a:xfrm>
                <a:off x="3873292" y="5609400"/>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0" name="Isosceles Triangle 89"/>
              <p:cNvSpPr/>
              <p:nvPr/>
            </p:nvSpPr>
            <p:spPr>
              <a:xfrm>
                <a:off x="3254686" y="5796386"/>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1" name="Isosceles Triangle 90"/>
              <p:cNvSpPr/>
              <p:nvPr/>
            </p:nvSpPr>
            <p:spPr>
              <a:xfrm>
                <a:off x="2745809" y="5738401"/>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2" name="Isosceles Triangle 91"/>
              <p:cNvSpPr/>
              <p:nvPr/>
            </p:nvSpPr>
            <p:spPr>
              <a:xfrm>
                <a:off x="2583030" y="5751871"/>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3" name="Isosceles Triangle 92"/>
              <p:cNvSpPr/>
              <p:nvPr/>
            </p:nvSpPr>
            <p:spPr>
              <a:xfrm>
                <a:off x="2609392" y="5737504"/>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4" name="Isosceles Triangle 93"/>
              <p:cNvSpPr/>
              <p:nvPr/>
            </p:nvSpPr>
            <p:spPr>
              <a:xfrm>
                <a:off x="2450240" y="5718980"/>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5" name="Isosceles Triangle 94"/>
              <p:cNvSpPr/>
              <p:nvPr/>
            </p:nvSpPr>
            <p:spPr>
              <a:xfrm>
                <a:off x="2004684" y="5907206"/>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6" name="Isosceles Triangle 95"/>
              <p:cNvSpPr/>
              <p:nvPr/>
            </p:nvSpPr>
            <p:spPr>
              <a:xfrm>
                <a:off x="2036844" y="5874347"/>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7" name="Isosceles Triangle 96"/>
              <p:cNvSpPr/>
              <p:nvPr/>
            </p:nvSpPr>
            <p:spPr>
              <a:xfrm>
                <a:off x="1614101" y="5999156"/>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1" name="Isosceles Triangle 100"/>
              <p:cNvSpPr/>
              <p:nvPr/>
            </p:nvSpPr>
            <p:spPr>
              <a:xfrm>
                <a:off x="981383" y="5820562"/>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2" name="Isosceles Triangle 101"/>
              <p:cNvSpPr/>
              <p:nvPr/>
            </p:nvSpPr>
            <p:spPr>
              <a:xfrm>
                <a:off x="985622" y="5792481"/>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3" name="Isosceles Triangle 102"/>
              <p:cNvSpPr/>
              <p:nvPr/>
            </p:nvSpPr>
            <p:spPr>
              <a:xfrm>
                <a:off x="999276" y="5676014"/>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grpSp>
        <p:sp>
          <p:nvSpPr>
            <p:cNvPr id="99" name="Freeform 98"/>
            <p:cNvSpPr/>
            <p:nvPr/>
          </p:nvSpPr>
          <p:spPr>
            <a:xfrm>
              <a:off x="648093" y="2122953"/>
              <a:ext cx="5591175" cy="3783931"/>
            </a:xfrm>
            <a:custGeom>
              <a:avLst/>
              <a:gdLst>
                <a:gd name="connsiteX0" fmla="*/ 5562600 w 5562600"/>
                <a:gd name="connsiteY0" fmla="*/ 0 h 3771209"/>
                <a:gd name="connsiteX1" fmla="*/ 5438775 w 5562600"/>
                <a:gd name="connsiteY1" fmla="*/ 223837 h 3771209"/>
                <a:gd name="connsiteX2" fmla="*/ 5343525 w 5562600"/>
                <a:gd name="connsiteY2" fmla="*/ 290512 h 3771209"/>
                <a:gd name="connsiteX3" fmla="*/ 5276850 w 5562600"/>
                <a:gd name="connsiteY3" fmla="*/ 504825 h 3771209"/>
                <a:gd name="connsiteX4" fmla="*/ 5491163 w 5562600"/>
                <a:gd name="connsiteY4" fmla="*/ 1033462 h 3771209"/>
                <a:gd name="connsiteX5" fmla="*/ 5334000 w 5562600"/>
                <a:gd name="connsiteY5" fmla="*/ 1262062 h 3771209"/>
                <a:gd name="connsiteX6" fmla="*/ 5157788 w 5562600"/>
                <a:gd name="connsiteY6" fmla="*/ 1328737 h 3771209"/>
                <a:gd name="connsiteX7" fmla="*/ 5110163 w 5562600"/>
                <a:gd name="connsiteY7" fmla="*/ 1462087 h 3771209"/>
                <a:gd name="connsiteX8" fmla="*/ 4981575 w 5562600"/>
                <a:gd name="connsiteY8" fmla="*/ 1643062 h 3771209"/>
                <a:gd name="connsiteX9" fmla="*/ 4810125 w 5562600"/>
                <a:gd name="connsiteY9" fmla="*/ 1881187 h 3771209"/>
                <a:gd name="connsiteX10" fmla="*/ 4695825 w 5562600"/>
                <a:gd name="connsiteY10" fmla="*/ 2166937 h 3771209"/>
                <a:gd name="connsiteX11" fmla="*/ 4519613 w 5562600"/>
                <a:gd name="connsiteY11" fmla="*/ 2300287 h 3771209"/>
                <a:gd name="connsiteX12" fmla="*/ 4462463 w 5562600"/>
                <a:gd name="connsiteY12" fmla="*/ 2452687 h 3771209"/>
                <a:gd name="connsiteX13" fmla="*/ 4157663 w 5562600"/>
                <a:gd name="connsiteY13" fmla="*/ 2547937 h 3771209"/>
                <a:gd name="connsiteX14" fmla="*/ 3629025 w 5562600"/>
                <a:gd name="connsiteY14" fmla="*/ 3162300 h 3771209"/>
                <a:gd name="connsiteX15" fmla="*/ 3519488 w 5562600"/>
                <a:gd name="connsiteY15" fmla="*/ 3281362 h 3771209"/>
                <a:gd name="connsiteX16" fmla="*/ 3214688 w 5562600"/>
                <a:gd name="connsiteY16" fmla="*/ 3319462 h 3771209"/>
                <a:gd name="connsiteX17" fmla="*/ 3033713 w 5562600"/>
                <a:gd name="connsiteY17" fmla="*/ 3295650 h 3771209"/>
                <a:gd name="connsiteX18" fmla="*/ 2347913 w 5562600"/>
                <a:gd name="connsiteY18" fmla="*/ 3248025 h 3771209"/>
                <a:gd name="connsiteX19" fmla="*/ 1604963 w 5562600"/>
                <a:gd name="connsiteY19" fmla="*/ 3362325 h 3771209"/>
                <a:gd name="connsiteX20" fmla="*/ 1066800 w 5562600"/>
                <a:gd name="connsiteY20" fmla="*/ 3752850 h 3771209"/>
                <a:gd name="connsiteX21" fmla="*/ 838200 w 5562600"/>
                <a:gd name="connsiteY21" fmla="*/ 3695700 h 3771209"/>
                <a:gd name="connsiteX22" fmla="*/ 814388 w 5562600"/>
                <a:gd name="connsiteY22" fmla="*/ 3590925 h 3771209"/>
                <a:gd name="connsiteX23" fmla="*/ 714375 w 5562600"/>
                <a:gd name="connsiteY23" fmla="*/ 3514725 h 3771209"/>
                <a:gd name="connsiteX24" fmla="*/ 533400 w 5562600"/>
                <a:gd name="connsiteY24" fmla="*/ 3524250 h 3771209"/>
                <a:gd name="connsiteX25" fmla="*/ 523875 w 5562600"/>
                <a:gd name="connsiteY25" fmla="*/ 3390900 h 3771209"/>
                <a:gd name="connsiteX26" fmla="*/ 542925 w 5562600"/>
                <a:gd name="connsiteY26" fmla="*/ 3276600 h 3771209"/>
                <a:gd name="connsiteX27" fmla="*/ 442913 w 5562600"/>
                <a:gd name="connsiteY27" fmla="*/ 3128962 h 3771209"/>
                <a:gd name="connsiteX28" fmla="*/ 557213 w 5562600"/>
                <a:gd name="connsiteY28" fmla="*/ 2833687 h 3771209"/>
                <a:gd name="connsiteX29" fmla="*/ 428625 w 5562600"/>
                <a:gd name="connsiteY29" fmla="*/ 2219325 h 3771209"/>
                <a:gd name="connsiteX30" fmla="*/ 0 w 5562600"/>
                <a:gd name="connsiteY30" fmla="*/ 1566862 h 3771209"/>
                <a:gd name="connsiteX0" fmla="*/ 5562600 w 5562600"/>
                <a:gd name="connsiteY0" fmla="*/ 0 h 3771209"/>
                <a:gd name="connsiteX1" fmla="*/ 5438775 w 5562600"/>
                <a:gd name="connsiteY1" fmla="*/ 223837 h 3771209"/>
                <a:gd name="connsiteX2" fmla="*/ 5343525 w 5562600"/>
                <a:gd name="connsiteY2" fmla="*/ 290512 h 3771209"/>
                <a:gd name="connsiteX3" fmla="*/ 5276850 w 5562600"/>
                <a:gd name="connsiteY3" fmla="*/ 504825 h 3771209"/>
                <a:gd name="connsiteX4" fmla="*/ 5491163 w 5562600"/>
                <a:gd name="connsiteY4" fmla="*/ 1033462 h 3771209"/>
                <a:gd name="connsiteX5" fmla="*/ 5334000 w 5562600"/>
                <a:gd name="connsiteY5" fmla="*/ 1262062 h 3771209"/>
                <a:gd name="connsiteX6" fmla="*/ 5110163 w 5562600"/>
                <a:gd name="connsiteY6" fmla="*/ 1462087 h 3771209"/>
                <a:gd name="connsiteX7" fmla="*/ 4981575 w 5562600"/>
                <a:gd name="connsiteY7" fmla="*/ 1643062 h 3771209"/>
                <a:gd name="connsiteX8" fmla="*/ 4810125 w 5562600"/>
                <a:gd name="connsiteY8" fmla="*/ 1881187 h 3771209"/>
                <a:gd name="connsiteX9" fmla="*/ 4695825 w 5562600"/>
                <a:gd name="connsiteY9" fmla="*/ 2166937 h 3771209"/>
                <a:gd name="connsiteX10" fmla="*/ 4519613 w 5562600"/>
                <a:gd name="connsiteY10" fmla="*/ 2300287 h 3771209"/>
                <a:gd name="connsiteX11" fmla="*/ 4462463 w 5562600"/>
                <a:gd name="connsiteY11" fmla="*/ 2452687 h 3771209"/>
                <a:gd name="connsiteX12" fmla="*/ 4157663 w 5562600"/>
                <a:gd name="connsiteY12" fmla="*/ 2547937 h 3771209"/>
                <a:gd name="connsiteX13" fmla="*/ 3629025 w 5562600"/>
                <a:gd name="connsiteY13" fmla="*/ 3162300 h 3771209"/>
                <a:gd name="connsiteX14" fmla="*/ 3519488 w 5562600"/>
                <a:gd name="connsiteY14" fmla="*/ 3281362 h 3771209"/>
                <a:gd name="connsiteX15" fmla="*/ 3214688 w 5562600"/>
                <a:gd name="connsiteY15" fmla="*/ 3319462 h 3771209"/>
                <a:gd name="connsiteX16" fmla="*/ 3033713 w 5562600"/>
                <a:gd name="connsiteY16" fmla="*/ 3295650 h 3771209"/>
                <a:gd name="connsiteX17" fmla="*/ 2347913 w 5562600"/>
                <a:gd name="connsiteY17" fmla="*/ 3248025 h 3771209"/>
                <a:gd name="connsiteX18" fmla="*/ 1604963 w 5562600"/>
                <a:gd name="connsiteY18" fmla="*/ 3362325 h 3771209"/>
                <a:gd name="connsiteX19" fmla="*/ 1066800 w 5562600"/>
                <a:gd name="connsiteY19" fmla="*/ 3752850 h 3771209"/>
                <a:gd name="connsiteX20" fmla="*/ 838200 w 5562600"/>
                <a:gd name="connsiteY20" fmla="*/ 3695700 h 3771209"/>
                <a:gd name="connsiteX21" fmla="*/ 814388 w 5562600"/>
                <a:gd name="connsiteY21" fmla="*/ 3590925 h 3771209"/>
                <a:gd name="connsiteX22" fmla="*/ 714375 w 5562600"/>
                <a:gd name="connsiteY22" fmla="*/ 3514725 h 3771209"/>
                <a:gd name="connsiteX23" fmla="*/ 533400 w 5562600"/>
                <a:gd name="connsiteY23" fmla="*/ 3524250 h 3771209"/>
                <a:gd name="connsiteX24" fmla="*/ 523875 w 5562600"/>
                <a:gd name="connsiteY24" fmla="*/ 3390900 h 3771209"/>
                <a:gd name="connsiteX25" fmla="*/ 542925 w 5562600"/>
                <a:gd name="connsiteY25" fmla="*/ 3276600 h 3771209"/>
                <a:gd name="connsiteX26" fmla="*/ 442913 w 5562600"/>
                <a:gd name="connsiteY26" fmla="*/ 3128962 h 3771209"/>
                <a:gd name="connsiteX27" fmla="*/ 557213 w 5562600"/>
                <a:gd name="connsiteY27" fmla="*/ 2833687 h 3771209"/>
                <a:gd name="connsiteX28" fmla="*/ 428625 w 5562600"/>
                <a:gd name="connsiteY28" fmla="*/ 2219325 h 3771209"/>
                <a:gd name="connsiteX29" fmla="*/ 0 w 5562600"/>
                <a:gd name="connsiteY29" fmla="*/ 1566862 h 3771209"/>
                <a:gd name="connsiteX0" fmla="*/ 5562600 w 5562600"/>
                <a:gd name="connsiteY0" fmla="*/ 0 h 3771209"/>
                <a:gd name="connsiteX1" fmla="*/ 5438775 w 5562600"/>
                <a:gd name="connsiteY1" fmla="*/ 223837 h 3771209"/>
                <a:gd name="connsiteX2" fmla="*/ 5343525 w 5562600"/>
                <a:gd name="connsiteY2" fmla="*/ 290512 h 3771209"/>
                <a:gd name="connsiteX3" fmla="*/ 5276850 w 5562600"/>
                <a:gd name="connsiteY3" fmla="*/ 504825 h 3771209"/>
                <a:gd name="connsiteX4" fmla="*/ 5491163 w 5562600"/>
                <a:gd name="connsiteY4" fmla="*/ 1033462 h 3771209"/>
                <a:gd name="connsiteX5" fmla="*/ 5334000 w 5562600"/>
                <a:gd name="connsiteY5" fmla="*/ 1262062 h 3771209"/>
                <a:gd name="connsiteX6" fmla="*/ 5110163 w 5562600"/>
                <a:gd name="connsiteY6" fmla="*/ 1462087 h 3771209"/>
                <a:gd name="connsiteX7" fmla="*/ 4981575 w 5562600"/>
                <a:gd name="connsiteY7" fmla="*/ 1643062 h 3771209"/>
                <a:gd name="connsiteX8" fmla="*/ 4810125 w 5562600"/>
                <a:gd name="connsiteY8" fmla="*/ 1881187 h 3771209"/>
                <a:gd name="connsiteX9" fmla="*/ 4702175 w 5562600"/>
                <a:gd name="connsiteY9" fmla="*/ 2198687 h 3771209"/>
                <a:gd name="connsiteX10" fmla="*/ 4519613 w 5562600"/>
                <a:gd name="connsiteY10" fmla="*/ 2300287 h 3771209"/>
                <a:gd name="connsiteX11" fmla="*/ 4462463 w 5562600"/>
                <a:gd name="connsiteY11" fmla="*/ 2452687 h 3771209"/>
                <a:gd name="connsiteX12" fmla="*/ 4157663 w 5562600"/>
                <a:gd name="connsiteY12" fmla="*/ 2547937 h 3771209"/>
                <a:gd name="connsiteX13" fmla="*/ 3629025 w 5562600"/>
                <a:gd name="connsiteY13" fmla="*/ 3162300 h 3771209"/>
                <a:gd name="connsiteX14" fmla="*/ 3519488 w 5562600"/>
                <a:gd name="connsiteY14" fmla="*/ 3281362 h 3771209"/>
                <a:gd name="connsiteX15" fmla="*/ 3214688 w 5562600"/>
                <a:gd name="connsiteY15" fmla="*/ 3319462 h 3771209"/>
                <a:gd name="connsiteX16" fmla="*/ 3033713 w 5562600"/>
                <a:gd name="connsiteY16" fmla="*/ 3295650 h 3771209"/>
                <a:gd name="connsiteX17" fmla="*/ 2347913 w 5562600"/>
                <a:gd name="connsiteY17" fmla="*/ 3248025 h 3771209"/>
                <a:gd name="connsiteX18" fmla="*/ 1604963 w 5562600"/>
                <a:gd name="connsiteY18" fmla="*/ 3362325 h 3771209"/>
                <a:gd name="connsiteX19" fmla="*/ 1066800 w 5562600"/>
                <a:gd name="connsiteY19" fmla="*/ 3752850 h 3771209"/>
                <a:gd name="connsiteX20" fmla="*/ 838200 w 5562600"/>
                <a:gd name="connsiteY20" fmla="*/ 3695700 h 3771209"/>
                <a:gd name="connsiteX21" fmla="*/ 814388 w 5562600"/>
                <a:gd name="connsiteY21" fmla="*/ 3590925 h 3771209"/>
                <a:gd name="connsiteX22" fmla="*/ 714375 w 5562600"/>
                <a:gd name="connsiteY22" fmla="*/ 3514725 h 3771209"/>
                <a:gd name="connsiteX23" fmla="*/ 533400 w 5562600"/>
                <a:gd name="connsiteY23" fmla="*/ 3524250 h 3771209"/>
                <a:gd name="connsiteX24" fmla="*/ 523875 w 5562600"/>
                <a:gd name="connsiteY24" fmla="*/ 3390900 h 3771209"/>
                <a:gd name="connsiteX25" fmla="*/ 542925 w 5562600"/>
                <a:gd name="connsiteY25" fmla="*/ 3276600 h 3771209"/>
                <a:gd name="connsiteX26" fmla="*/ 442913 w 5562600"/>
                <a:gd name="connsiteY26" fmla="*/ 3128962 h 3771209"/>
                <a:gd name="connsiteX27" fmla="*/ 557213 w 5562600"/>
                <a:gd name="connsiteY27" fmla="*/ 2833687 h 3771209"/>
                <a:gd name="connsiteX28" fmla="*/ 428625 w 5562600"/>
                <a:gd name="connsiteY28" fmla="*/ 2219325 h 3771209"/>
                <a:gd name="connsiteX29" fmla="*/ 0 w 5562600"/>
                <a:gd name="connsiteY29" fmla="*/ 1566862 h 3771209"/>
                <a:gd name="connsiteX0" fmla="*/ 5562600 w 5562600"/>
                <a:gd name="connsiteY0" fmla="*/ 0 h 3771209"/>
                <a:gd name="connsiteX1" fmla="*/ 5438775 w 5562600"/>
                <a:gd name="connsiteY1" fmla="*/ 223837 h 3771209"/>
                <a:gd name="connsiteX2" fmla="*/ 5343525 w 5562600"/>
                <a:gd name="connsiteY2" fmla="*/ 290512 h 3771209"/>
                <a:gd name="connsiteX3" fmla="*/ 5276850 w 5562600"/>
                <a:gd name="connsiteY3" fmla="*/ 504825 h 3771209"/>
                <a:gd name="connsiteX4" fmla="*/ 5491163 w 5562600"/>
                <a:gd name="connsiteY4" fmla="*/ 1033462 h 3771209"/>
                <a:gd name="connsiteX5" fmla="*/ 5334000 w 5562600"/>
                <a:gd name="connsiteY5" fmla="*/ 1262062 h 3771209"/>
                <a:gd name="connsiteX6" fmla="*/ 5110163 w 5562600"/>
                <a:gd name="connsiteY6" fmla="*/ 1462087 h 3771209"/>
                <a:gd name="connsiteX7" fmla="*/ 4981575 w 5562600"/>
                <a:gd name="connsiteY7" fmla="*/ 1643062 h 3771209"/>
                <a:gd name="connsiteX8" fmla="*/ 4810125 w 5562600"/>
                <a:gd name="connsiteY8" fmla="*/ 1881187 h 3771209"/>
                <a:gd name="connsiteX9" fmla="*/ 4702175 w 5562600"/>
                <a:gd name="connsiteY9" fmla="*/ 2198687 h 3771209"/>
                <a:gd name="connsiteX10" fmla="*/ 4462463 w 5562600"/>
                <a:gd name="connsiteY10" fmla="*/ 2452687 h 3771209"/>
                <a:gd name="connsiteX11" fmla="*/ 4157663 w 5562600"/>
                <a:gd name="connsiteY11" fmla="*/ 2547937 h 3771209"/>
                <a:gd name="connsiteX12" fmla="*/ 3629025 w 5562600"/>
                <a:gd name="connsiteY12" fmla="*/ 3162300 h 3771209"/>
                <a:gd name="connsiteX13" fmla="*/ 3519488 w 5562600"/>
                <a:gd name="connsiteY13" fmla="*/ 3281362 h 3771209"/>
                <a:gd name="connsiteX14" fmla="*/ 3214688 w 5562600"/>
                <a:gd name="connsiteY14" fmla="*/ 3319462 h 3771209"/>
                <a:gd name="connsiteX15" fmla="*/ 3033713 w 5562600"/>
                <a:gd name="connsiteY15" fmla="*/ 3295650 h 3771209"/>
                <a:gd name="connsiteX16" fmla="*/ 2347913 w 5562600"/>
                <a:gd name="connsiteY16" fmla="*/ 3248025 h 3771209"/>
                <a:gd name="connsiteX17" fmla="*/ 1604963 w 5562600"/>
                <a:gd name="connsiteY17" fmla="*/ 3362325 h 3771209"/>
                <a:gd name="connsiteX18" fmla="*/ 1066800 w 5562600"/>
                <a:gd name="connsiteY18" fmla="*/ 3752850 h 3771209"/>
                <a:gd name="connsiteX19" fmla="*/ 838200 w 5562600"/>
                <a:gd name="connsiteY19" fmla="*/ 3695700 h 3771209"/>
                <a:gd name="connsiteX20" fmla="*/ 814388 w 5562600"/>
                <a:gd name="connsiteY20" fmla="*/ 3590925 h 3771209"/>
                <a:gd name="connsiteX21" fmla="*/ 714375 w 5562600"/>
                <a:gd name="connsiteY21" fmla="*/ 3514725 h 3771209"/>
                <a:gd name="connsiteX22" fmla="*/ 533400 w 5562600"/>
                <a:gd name="connsiteY22" fmla="*/ 3524250 h 3771209"/>
                <a:gd name="connsiteX23" fmla="*/ 523875 w 5562600"/>
                <a:gd name="connsiteY23" fmla="*/ 3390900 h 3771209"/>
                <a:gd name="connsiteX24" fmla="*/ 542925 w 5562600"/>
                <a:gd name="connsiteY24" fmla="*/ 3276600 h 3771209"/>
                <a:gd name="connsiteX25" fmla="*/ 442913 w 5562600"/>
                <a:gd name="connsiteY25" fmla="*/ 3128962 h 3771209"/>
                <a:gd name="connsiteX26" fmla="*/ 557213 w 5562600"/>
                <a:gd name="connsiteY26" fmla="*/ 2833687 h 3771209"/>
                <a:gd name="connsiteX27" fmla="*/ 428625 w 5562600"/>
                <a:gd name="connsiteY27" fmla="*/ 2219325 h 3771209"/>
                <a:gd name="connsiteX28" fmla="*/ 0 w 5562600"/>
                <a:gd name="connsiteY28" fmla="*/ 1566862 h 3771209"/>
                <a:gd name="connsiteX0" fmla="*/ 5562600 w 5562600"/>
                <a:gd name="connsiteY0" fmla="*/ 0 h 3771209"/>
                <a:gd name="connsiteX1" fmla="*/ 5438775 w 5562600"/>
                <a:gd name="connsiteY1" fmla="*/ 223837 h 3771209"/>
                <a:gd name="connsiteX2" fmla="*/ 5343525 w 5562600"/>
                <a:gd name="connsiteY2" fmla="*/ 290512 h 3771209"/>
                <a:gd name="connsiteX3" fmla="*/ 5276850 w 5562600"/>
                <a:gd name="connsiteY3" fmla="*/ 504825 h 3771209"/>
                <a:gd name="connsiteX4" fmla="*/ 5491163 w 5562600"/>
                <a:gd name="connsiteY4" fmla="*/ 1033462 h 3771209"/>
                <a:gd name="connsiteX5" fmla="*/ 5334000 w 5562600"/>
                <a:gd name="connsiteY5" fmla="*/ 1262062 h 3771209"/>
                <a:gd name="connsiteX6" fmla="*/ 5110163 w 5562600"/>
                <a:gd name="connsiteY6" fmla="*/ 1462087 h 3771209"/>
                <a:gd name="connsiteX7" fmla="*/ 4981575 w 5562600"/>
                <a:gd name="connsiteY7" fmla="*/ 1643062 h 3771209"/>
                <a:gd name="connsiteX8" fmla="*/ 4810125 w 5562600"/>
                <a:gd name="connsiteY8" fmla="*/ 1881187 h 3771209"/>
                <a:gd name="connsiteX9" fmla="*/ 4702175 w 5562600"/>
                <a:gd name="connsiteY9" fmla="*/ 2198687 h 3771209"/>
                <a:gd name="connsiteX10" fmla="*/ 4462463 w 5562600"/>
                <a:gd name="connsiteY10" fmla="*/ 2452687 h 3771209"/>
                <a:gd name="connsiteX11" fmla="*/ 3971925 w 5562600"/>
                <a:gd name="connsiteY11" fmla="*/ 2767012 h 3771209"/>
                <a:gd name="connsiteX12" fmla="*/ 3629025 w 5562600"/>
                <a:gd name="connsiteY12" fmla="*/ 3162300 h 3771209"/>
                <a:gd name="connsiteX13" fmla="*/ 3519488 w 5562600"/>
                <a:gd name="connsiteY13" fmla="*/ 3281362 h 3771209"/>
                <a:gd name="connsiteX14" fmla="*/ 3214688 w 5562600"/>
                <a:gd name="connsiteY14" fmla="*/ 3319462 h 3771209"/>
                <a:gd name="connsiteX15" fmla="*/ 3033713 w 5562600"/>
                <a:gd name="connsiteY15" fmla="*/ 3295650 h 3771209"/>
                <a:gd name="connsiteX16" fmla="*/ 2347913 w 5562600"/>
                <a:gd name="connsiteY16" fmla="*/ 3248025 h 3771209"/>
                <a:gd name="connsiteX17" fmla="*/ 1604963 w 5562600"/>
                <a:gd name="connsiteY17" fmla="*/ 3362325 h 3771209"/>
                <a:gd name="connsiteX18" fmla="*/ 1066800 w 5562600"/>
                <a:gd name="connsiteY18" fmla="*/ 3752850 h 3771209"/>
                <a:gd name="connsiteX19" fmla="*/ 838200 w 5562600"/>
                <a:gd name="connsiteY19" fmla="*/ 3695700 h 3771209"/>
                <a:gd name="connsiteX20" fmla="*/ 814388 w 5562600"/>
                <a:gd name="connsiteY20" fmla="*/ 3590925 h 3771209"/>
                <a:gd name="connsiteX21" fmla="*/ 714375 w 5562600"/>
                <a:gd name="connsiteY21" fmla="*/ 3514725 h 3771209"/>
                <a:gd name="connsiteX22" fmla="*/ 533400 w 5562600"/>
                <a:gd name="connsiteY22" fmla="*/ 3524250 h 3771209"/>
                <a:gd name="connsiteX23" fmla="*/ 523875 w 5562600"/>
                <a:gd name="connsiteY23" fmla="*/ 3390900 h 3771209"/>
                <a:gd name="connsiteX24" fmla="*/ 542925 w 5562600"/>
                <a:gd name="connsiteY24" fmla="*/ 3276600 h 3771209"/>
                <a:gd name="connsiteX25" fmla="*/ 442913 w 5562600"/>
                <a:gd name="connsiteY25" fmla="*/ 3128962 h 3771209"/>
                <a:gd name="connsiteX26" fmla="*/ 557213 w 5562600"/>
                <a:gd name="connsiteY26" fmla="*/ 2833687 h 3771209"/>
                <a:gd name="connsiteX27" fmla="*/ 428625 w 5562600"/>
                <a:gd name="connsiteY27" fmla="*/ 2219325 h 3771209"/>
                <a:gd name="connsiteX28" fmla="*/ 0 w 5562600"/>
                <a:gd name="connsiteY28" fmla="*/ 1566862 h 3771209"/>
                <a:gd name="connsiteX0" fmla="*/ 5562600 w 5562600"/>
                <a:gd name="connsiteY0" fmla="*/ 0 h 3783931"/>
                <a:gd name="connsiteX1" fmla="*/ 5438775 w 5562600"/>
                <a:gd name="connsiteY1" fmla="*/ 223837 h 3783931"/>
                <a:gd name="connsiteX2" fmla="*/ 5343525 w 5562600"/>
                <a:gd name="connsiteY2" fmla="*/ 290512 h 3783931"/>
                <a:gd name="connsiteX3" fmla="*/ 5276850 w 5562600"/>
                <a:gd name="connsiteY3" fmla="*/ 504825 h 3783931"/>
                <a:gd name="connsiteX4" fmla="*/ 5491163 w 5562600"/>
                <a:gd name="connsiteY4" fmla="*/ 1033462 h 3783931"/>
                <a:gd name="connsiteX5" fmla="*/ 5334000 w 5562600"/>
                <a:gd name="connsiteY5" fmla="*/ 1262062 h 3783931"/>
                <a:gd name="connsiteX6" fmla="*/ 5110163 w 5562600"/>
                <a:gd name="connsiteY6" fmla="*/ 1462087 h 3783931"/>
                <a:gd name="connsiteX7" fmla="*/ 4981575 w 5562600"/>
                <a:gd name="connsiteY7" fmla="*/ 1643062 h 3783931"/>
                <a:gd name="connsiteX8" fmla="*/ 4810125 w 5562600"/>
                <a:gd name="connsiteY8" fmla="*/ 1881187 h 3783931"/>
                <a:gd name="connsiteX9" fmla="*/ 4702175 w 5562600"/>
                <a:gd name="connsiteY9" fmla="*/ 2198687 h 3783931"/>
                <a:gd name="connsiteX10" fmla="*/ 4462463 w 5562600"/>
                <a:gd name="connsiteY10" fmla="*/ 2452687 h 3783931"/>
                <a:gd name="connsiteX11" fmla="*/ 3971925 w 5562600"/>
                <a:gd name="connsiteY11" fmla="*/ 2767012 h 3783931"/>
                <a:gd name="connsiteX12" fmla="*/ 3629025 w 5562600"/>
                <a:gd name="connsiteY12" fmla="*/ 3162300 h 3783931"/>
                <a:gd name="connsiteX13" fmla="*/ 3519488 w 5562600"/>
                <a:gd name="connsiteY13" fmla="*/ 3281362 h 3783931"/>
                <a:gd name="connsiteX14" fmla="*/ 3214688 w 5562600"/>
                <a:gd name="connsiteY14" fmla="*/ 3319462 h 3783931"/>
                <a:gd name="connsiteX15" fmla="*/ 3033713 w 5562600"/>
                <a:gd name="connsiteY15" fmla="*/ 3295650 h 3783931"/>
                <a:gd name="connsiteX16" fmla="*/ 2347913 w 5562600"/>
                <a:gd name="connsiteY16" fmla="*/ 3248025 h 3783931"/>
                <a:gd name="connsiteX17" fmla="*/ 1604963 w 5562600"/>
                <a:gd name="connsiteY17" fmla="*/ 3362325 h 3783931"/>
                <a:gd name="connsiteX18" fmla="*/ 1071563 w 5562600"/>
                <a:gd name="connsiteY18" fmla="*/ 3767137 h 3783931"/>
                <a:gd name="connsiteX19" fmla="*/ 838200 w 5562600"/>
                <a:gd name="connsiteY19" fmla="*/ 3695700 h 3783931"/>
                <a:gd name="connsiteX20" fmla="*/ 814388 w 5562600"/>
                <a:gd name="connsiteY20" fmla="*/ 3590925 h 3783931"/>
                <a:gd name="connsiteX21" fmla="*/ 714375 w 5562600"/>
                <a:gd name="connsiteY21" fmla="*/ 3514725 h 3783931"/>
                <a:gd name="connsiteX22" fmla="*/ 533400 w 5562600"/>
                <a:gd name="connsiteY22" fmla="*/ 3524250 h 3783931"/>
                <a:gd name="connsiteX23" fmla="*/ 523875 w 5562600"/>
                <a:gd name="connsiteY23" fmla="*/ 3390900 h 3783931"/>
                <a:gd name="connsiteX24" fmla="*/ 542925 w 5562600"/>
                <a:gd name="connsiteY24" fmla="*/ 3276600 h 3783931"/>
                <a:gd name="connsiteX25" fmla="*/ 442913 w 5562600"/>
                <a:gd name="connsiteY25" fmla="*/ 3128962 h 3783931"/>
                <a:gd name="connsiteX26" fmla="*/ 557213 w 5562600"/>
                <a:gd name="connsiteY26" fmla="*/ 2833687 h 3783931"/>
                <a:gd name="connsiteX27" fmla="*/ 428625 w 5562600"/>
                <a:gd name="connsiteY27" fmla="*/ 2219325 h 3783931"/>
                <a:gd name="connsiteX28" fmla="*/ 0 w 5562600"/>
                <a:gd name="connsiteY28" fmla="*/ 1566862 h 3783931"/>
                <a:gd name="connsiteX0" fmla="*/ 5591175 w 5591175"/>
                <a:gd name="connsiteY0" fmla="*/ 0 h 3783931"/>
                <a:gd name="connsiteX1" fmla="*/ 5467350 w 5591175"/>
                <a:gd name="connsiteY1" fmla="*/ 223837 h 3783931"/>
                <a:gd name="connsiteX2" fmla="*/ 5372100 w 5591175"/>
                <a:gd name="connsiteY2" fmla="*/ 290512 h 3783931"/>
                <a:gd name="connsiteX3" fmla="*/ 5305425 w 5591175"/>
                <a:gd name="connsiteY3" fmla="*/ 504825 h 3783931"/>
                <a:gd name="connsiteX4" fmla="*/ 5519738 w 5591175"/>
                <a:gd name="connsiteY4" fmla="*/ 1033462 h 3783931"/>
                <a:gd name="connsiteX5" fmla="*/ 5362575 w 5591175"/>
                <a:gd name="connsiteY5" fmla="*/ 1262062 h 3783931"/>
                <a:gd name="connsiteX6" fmla="*/ 5138738 w 5591175"/>
                <a:gd name="connsiteY6" fmla="*/ 1462087 h 3783931"/>
                <a:gd name="connsiteX7" fmla="*/ 5010150 w 5591175"/>
                <a:gd name="connsiteY7" fmla="*/ 1643062 h 3783931"/>
                <a:gd name="connsiteX8" fmla="*/ 4838700 w 5591175"/>
                <a:gd name="connsiteY8" fmla="*/ 1881187 h 3783931"/>
                <a:gd name="connsiteX9" fmla="*/ 4730750 w 5591175"/>
                <a:gd name="connsiteY9" fmla="*/ 2198687 h 3783931"/>
                <a:gd name="connsiteX10" fmla="*/ 4491038 w 5591175"/>
                <a:gd name="connsiteY10" fmla="*/ 2452687 h 3783931"/>
                <a:gd name="connsiteX11" fmla="*/ 4000500 w 5591175"/>
                <a:gd name="connsiteY11" fmla="*/ 2767012 h 3783931"/>
                <a:gd name="connsiteX12" fmla="*/ 3657600 w 5591175"/>
                <a:gd name="connsiteY12" fmla="*/ 3162300 h 3783931"/>
                <a:gd name="connsiteX13" fmla="*/ 3548063 w 5591175"/>
                <a:gd name="connsiteY13" fmla="*/ 3281362 h 3783931"/>
                <a:gd name="connsiteX14" fmla="*/ 3243263 w 5591175"/>
                <a:gd name="connsiteY14" fmla="*/ 3319462 h 3783931"/>
                <a:gd name="connsiteX15" fmla="*/ 3062288 w 5591175"/>
                <a:gd name="connsiteY15" fmla="*/ 3295650 h 3783931"/>
                <a:gd name="connsiteX16" fmla="*/ 2376488 w 5591175"/>
                <a:gd name="connsiteY16" fmla="*/ 3248025 h 3783931"/>
                <a:gd name="connsiteX17" fmla="*/ 1633538 w 5591175"/>
                <a:gd name="connsiteY17" fmla="*/ 3362325 h 3783931"/>
                <a:gd name="connsiteX18" fmla="*/ 1100138 w 5591175"/>
                <a:gd name="connsiteY18" fmla="*/ 3767137 h 3783931"/>
                <a:gd name="connsiteX19" fmla="*/ 866775 w 5591175"/>
                <a:gd name="connsiteY19" fmla="*/ 3695700 h 3783931"/>
                <a:gd name="connsiteX20" fmla="*/ 842963 w 5591175"/>
                <a:gd name="connsiteY20" fmla="*/ 3590925 h 3783931"/>
                <a:gd name="connsiteX21" fmla="*/ 742950 w 5591175"/>
                <a:gd name="connsiteY21" fmla="*/ 3514725 h 3783931"/>
                <a:gd name="connsiteX22" fmla="*/ 561975 w 5591175"/>
                <a:gd name="connsiteY22" fmla="*/ 3524250 h 3783931"/>
                <a:gd name="connsiteX23" fmla="*/ 552450 w 5591175"/>
                <a:gd name="connsiteY23" fmla="*/ 3390900 h 3783931"/>
                <a:gd name="connsiteX24" fmla="*/ 571500 w 5591175"/>
                <a:gd name="connsiteY24" fmla="*/ 3276600 h 3783931"/>
                <a:gd name="connsiteX25" fmla="*/ 471488 w 5591175"/>
                <a:gd name="connsiteY25" fmla="*/ 3128962 h 3783931"/>
                <a:gd name="connsiteX26" fmla="*/ 585788 w 5591175"/>
                <a:gd name="connsiteY26" fmla="*/ 2833687 h 3783931"/>
                <a:gd name="connsiteX27" fmla="*/ 457200 w 5591175"/>
                <a:gd name="connsiteY27" fmla="*/ 2219325 h 3783931"/>
                <a:gd name="connsiteX28" fmla="*/ 0 w 5591175"/>
                <a:gd name="connsiteY28" fmla="*/ 1538287 h 3783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591175" h="3783931">
                  <a:moveTo>
                    <a:pt x="5591175" y="0"/>
                  </a:moveTo>
                  <a:cubicBezTo>
                    <a:pt x="5547518" y="87709"/>
                    <a:pt x="5503862" y="175418"/>
                    <a:pt x="5467350" y="223837"/>
                  </a:cubicBezTo>
                  <a:cubicBezTo>
                    <a:pt x="5430838" y="272256"/>
                    <a:pt x="5399087" y="243681"/>
                    <a:pt x="5372100" y="290512"/>
                  </a:cubicBezTo>
                  <a:cubicBezTo>
                    <a:pt x="5345112" y="337343"/>
                    <a:pt x="5280819" y="381000"/>
                    <a:pt x="5305425" y="504825"/>
                  </a:cubicBezTo>
                  <a:cubicBezTo>
                    <a:pt x="5330031" y="628650"/>
                    <a:pt x="5510213" y="907256"/>
                    <a:pt x="5519738" y="1033462"/>
                  </a:cubicBezTo>
                  <a:cubicBezTo>
                    <a:pt x="5529263" y="1159668"/>
                    <a:pt x="5426075" y="1190625"/>
                    <a:pt x="5362575" y="1262062"/>
                  </a:cubicBezTo>
                  <a:cubicBezTo>
                    <a:pt x="5299075" y="1333499"/>
                    <a:pt x="5197476" y="1398587"/>
                    <a:pt x="5138738" y="1462087"/>
                  </a:cubicBezTo>
                  <a:cubicBezTo>
                    <a:pt x="5109369" y="1514474"/>
                    <a:pt x="5010150" y="1643062"/>
                    <a:pt x="5010150" y="1643062"/>
                  </a:cubicBezTo>
                  <a:cubicBezTo>
                    <a:pt x="4960144" y="1712912"/>
                    <a:pt x="4885267" y="1788583"/>
                    <a:pt x="4838700" y="1881187"/>
                  </a:cubicBezTo>
                  <a:cubicBezTo>
                    <a:pt x="4792133" y="1973791"/>
                    <a:pt x="4788694" y="2103437"/>
                    <a:pt x="4730750" y="2198687"/>
                  </a:cubicBezTo>
                  <a:cubicBezTo>
                    <a:pt x="4672806" y="2293937"/>
                    <a:pt x="4612746" y="2357966"/>
                    <a:pt x="4491038" y="2452687"/>
                  </a:cubicBezTo>
                  <a:cubicBezTo>
                    <a:pt x="4369330" y="2547408"/>
                    <a:pt x="4139406" y="2648743"/>
                    <a:pt x="4000500" y="2767012"/>
                  </a:cubicBezTo>
                  <a:cubicBezTo>
                    <a:pt x="3861594" y="2885281"/>
                    <a:pt x="3733006" y="3076575"/>
                    <a:pt x="3657600" y="3162300"/>
                  </a:cubicBezTo>
                  <a:cubicBezTo>
                    <a:pt x="3582194" y="3248025"/>
                    <a:pt x="3617119" y="3255168"/>
                    <a:pt x="3548063" y="3281362"/>
                  </a:cubicBezTo>
                  <a:cubicBezTo>
                    <a:pt x="3479007" y="3307556"/>
                    <a:pt x="3324225" y="3317081"/>
                    <a:pt x="3243263" y="3319462"/>
                  </a:cubicBezTo>
                  <a:cubicBezTo>
                    <a:pt x="3162301" y="3321843"/>
                    <a:pt x="3206751" y="3307556"/>
                    <a:pt x="3062288" y="3295650"/>
                  </a:cubicBezTo>
                  <a:cubicBezTo>
                    <a:pt x="2917825" y="3283744"/>
                    <a:pt x="2614613" y="3236912"/>
                    <a:pt x="2376488" y="3248025"/>
                  </a:cubicBezTo>
                  <a:cubicBezTo>
                    <a:pt x="2138363" y="3259138"/>
                    <a:pt x="1846263" y="3275806"/>
                    <a:pt x="1633538" y="3362325"/>
                  </a:cubicBezTo>
                  <a:cubicBezTo>
                    <a:pt x="1420813" y="3448844"/>
                    <a:pt x="1227932" y="3711575"/>
                    <a:pt x="1100138" y="3767137"/>
                  </a:cubicBezTo>
                  <a:cubicBezTo>
                    <a:pt x="972344" y="3822699"/>
                    <a:pt x="909638" y="3725069"/>
                    <a:pt x="866775" y="3695700"/>
                  </a:cubicBezTo>
                  <a:cubicBezTo>
                    <a:pt x="823913" y="3666331"/>
                    <a:pt x="863600" y="3621087"/>
                    <a:pt x="842963" y="3590925"/>
                  </a:cubicBezTo>
                  <a:cubicBezTo>
                    <a:pt x="822326" y="3560763"/>
                    <a:pt x="789781" y="3525838"/>
                    <a:pt x="742950" y="3514725"/>
                  </a:cubicBezTo>
                  <a:cubicBezTo>
                    <a:pt x="696119" y="3503613"/>
                    <a:pt x="593725" y="3544887"/>
                    <a:pt x="561975" y="3524250"/>
                  </a:cubicBezTo>
                  <a:cubicBezTo>
                    <a:pt x="530225" y="3503613"/>
                    <a:pt x="550863" y="3432175"/>
                    <a:pt x="552450" y="3390900"/>
                  </a:cubicBezTo>
                  <a:cubicBezTo>
                    <a:pt x="554037" y="3349625"/>
                    <a:pt x="584994" y="3320256"/>
                    <a:pt x="571500" y="3276600"/>
                  </a:cubicBezTo>
                  <a:cubicBezTo>
                    <a:pt x="558006" y="3232944"/>
                    <a:pt x="469107" y="3202781"/>
                    <a:pt x="471488" y="3128962"/>
                  </a:cubicBezTo>
                  <a:cubicBezTo>
                    <a:pt x="473869" y="3055143"/>
                    <a:pt x="588169" y="2985293"/>
                    <a:pt x="585788" y="2833687"/>
                  </a:cubicBezTo>
                  <a:cubicBezTo>
                    <a:pt x="583407" y="2682081"/>
                    <a:pt x="554831" y="2435225"/>
                    <a:pt x="457200" y="2219325"/>
                  </a:cubicBezTo>
                  <a:cubicBezTo>
                    <a:pt x="359569" y="2003425"/>
                    <a:pt x="167878" y="1758950"/>
                    <a:pt x="0" y="1538287"/>
                  </a:cubicBezTo>
                </a:path>
              </a:pathLst>
            </a:custGeom>
            <a:ln>
              <a:prstDash val="dash"/>
            </a:ln>
          </p:spPr>
          <p:style>
            <a:lnRef idx="2">
              <a:schemeClr val="accent2"/>
            </a:lnRef>
            <a:fillRef idx="0">
              <a:schemeClr val="accent2"/>
            </a:fillRef>
            <a:effectRef idx="1">
              <a:schemeClr val="accent2"/>
            </a:effectRef>
            <a:fontRef idx="minor">
              <a:schemeClr val="tx1"/>
            </a:fontRef>
          </p:style>
          <p:txBody>
            <a:bodyPr rtlCol="0" anchor="ctr"/>
            <a:lstStyle/>
            <a:p>
              <a:pPr algn="ctr"/>
              <a:endParaRPr lang="en-US" dirty="0"/>
            </a:p>
          </p:txBody>
        </p:sp>
        <p:grpSp>
          <p:nvGrpSpPr>
            <p:cNvPr id="131" name="Group 130"/>
            <p:cNvGrpSpPr/>
            <p:nvPr/>
          </p:nvGrpSpPr>
          <p:grpSpPr>
            <a:xfrm>
              <a:off x="109575" y="2257612"/>
              <a:ext cx="6786154" cy="3529093"/>
              <a:chOff x="-52744" y="2368272"/>
              <a:chExt cx="6786154" cy="3529093"/>
            </a:xfrm>
          </p:grpSpPr>
          <p:sp>
            <p:nvSpPr>
              <p:cNvPr id="132" name="TextBox 131"/>
              <p:cNvSpPr txBox="1"/>
              <p:nvPr/>
            </p:nvSpPr>
            <p:spPr>
              <a:xfrm>
                <a:off x="6040913" y="2368272"/>
                <a:ext cx="692497" cy="4154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900" i="1" dirty="0" smtClean="0"/>
                  <a:t>To Swaziland</a:t>
                </a:r>
                <a:br>
                  <a:rPr lang="en-US" sz="900" i="1" dirty="0" smtClean="0"/>
                </a:br>
                <a:r>
                  <a:rPr lang="en-US" sz="900" i="1" dirty="0" smtClean="0"/>
                  <a:t>and</a:t>
                </a:r>
                <a:br>
                  <a:rPr lang="en-US" sz="900" i="1" dirty="0" smtClean="0"/>
                </a:br>
                <a:r>
                  <a:rPr lang="en-US" sz="900" i="1" dirty="0" smtClean="0"/>
                  <a:t>Mozambique</a:t>
                </a:r>
                <a:endParaRPr lang="en-US" sz="900" i="1" dirty="0"/>
              </a:p>
            </p:txBody>
          </p:sp>
          <p:sp>
            <p:nvSpPr>
              <p:cNvPr id="133" name="TextBox 132"/>
              <p:cNvSpPr txBox="1"/>
              <p:nvPr/>
            </p:nvSpPr>
            <p:spPr>
              <a:xfrm>
                <a:off x="6159245" y="3255871"/>
                <a:ext cx="6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endParaRPr lang="en-US" sz="900" dirty="0"/>
              </a:p>
            </p:txBody>
          </p:sp>
          <p:sp>
            <p:nvSpPr>
              <p:cNvPr id="134" name="TextBox 133"/>
              <p:cNvSpPr txBox="1"/>
              <p:nvPr/>
            </p:nvSpPr>
            <p:spPr>
              <a:xfrm>
                <a:off x="5802798" y="3631427"/>
                <a:ext cx="6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endParaRPr lang="en-US" sz="900" dirty="0"/>
              </a:p>
            </p:txBody>
          </p:sp>
          <p:sp>
            <p:nvSpPr>
              <p:cNvPr id="135" name="TextBox 134"/>
              <p:cNvSpPr txBox="1"/>
              <p:nvPr/>
            </p:nvSpPr>
            <p:spPr>
              <a:xfrm>
                <a:off x="4929831" y="4823255"/>
                <a:ext cx="6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endParaRPr lang="en-US" sz="900" dirty="0"/>
              </a:p>
            </p:txBody>
          </p:sp>
          <p:sp>
            <p:nvSpPr>
              <p:cNvPr id="136" name="TextBox 135"/>
              <p:cNvSpPr txBox="1"/>
              <p:nvPr/>
            </p:nvSpPr>
            <p:spPr>
              <a:xfrm>
                <a:off x="5541616" y="4038914"/>
                <a:ext cx="6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endParaRPr lang="en-US" sz="900" dirty="0"/>
              </a:p>
            </p:txBody>
          </p:sp>
          <p:sp>
            <p:nvSpPr>
              <p:cNvPr id="137" name="TextBox 136"/>
              <p:cNvSpPr txBox="1"/>
              <p:nvPr/>
            </p:nvSpPr>
            <p:spPr>
              <a:xfrm>
                <a:off x="3426911" y="5758866"/>
                <a:ext cx="6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endParaRPr lang="en-US" sz="900" dirty="0"/>
              </a:p>
            </p:txBody>
          </p:sp>
          <p:sp>
            <p:nvSpPr>
              <p:cNvPr id="139" name="TextBox 138"/>
              <p:cNvSpPr txBox="1"/>
              <p:nvPr/>
            </p:nvSpPr>
            <p:spPr>
              <a:xfrm>
                <a:off x="-52744" y="5387330"/>
                <a:ext cx="6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endParaRPr lang="en-US" sz="900" dirty="0"/>
              </a:p>
            </p:txBody>
          </p:sp>
        </p:grpSp>
        <p:grpSp>
          <p:nvGrpSpPr>
            <p:cNvPr id="149" name="Group 148"/>
            <p:cNvGrpSpPr/>
            <p:nvPr/>
          </p:nvGrpSpPr>
          <p:grpSpPr>
            <a:xfrm>
              <a:off x="1599821" y="1383656"/>
              <a:ext cx="4155057" cy="4061807"/>
              <a:chOff x="2375685" y="1093788"/>
              <a:chExt cx="4718223" cy="4612336"/>
            </a:xfrm>
            <a:noFill/>
          </p:grpSpPr>
          <p:sp>
            <p:nvSpPr>
              <p:cNvPr id="150" name="Rectangle 40"/>
              <p:cNvSpPr>
                <a:spLocks noChangeArrowheads="1"/>
              </p:cNvSpPr>
              <p:nvPr/>
            </p:nvSpPr>
            <p:spPr bwMode="auto">
              <a:xfrm>
                <a:off x="6234741" y="3347745"/>
                <a:ext cx="859167" cy="1572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chemeClr val="bg1"/>
                    </a:solidFill>
                    <a:effectLst/>
                    <a:latin typeface="Arial Unicode MS" panose="020B0604020202020204" pitchFamily="34" charset="-128"/>
                  </a:rPr>
                  <a:t>KwaZulu-Natal</a:t>
                </a:r>
                <a:endParaRPr kumimoji="0" lang="en-US" altLang="en-US" sz="900" b="1" i="0" u="none" strike="noStrike" cap="none" normalizeH="0" baseline="0" dirty="0" smtClean="0">
                  <a:ln>
                    <a:noFill/>
                  </a:ln>
                  <a:solidFill>
                    <a:schemeClr val="bg1"/>
                  </a:solidFill>
                  <a:effectLst/>
                </a:endParaRPr>
              </a:p>
            </p:txBody>
          </p:sp>
          <p:sp>
            <p:nvSpPr>
              <p:cNvPr id="151" name="Rectangle 41"/>
              <p:cNvSpPr>
                <a:spLocks noChangeArrowheads="1"/>
              </p:cNvSpPr>
              <p:nvPr/>
            </p:nvSpPr>
            <p:spPr bwMode="auto">
              <a:xfrm>
                <a:off x="5113852" y="4457472"/>
                <a:ext cx="800918" cy="1572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chemeClr val="bg1"/>
                    </a:solidFill>
                    <a:effectLst/>
                    <a:latin typeface="Arial Unicode MS" panose="020B0604020202020204" pitchFamily="34" charset="-128"/>
                  </a:rPr>
                  <a:t>Eastern Cape</a:t>
                </a:r>
                <a:endParaRPr kumimoji="0" lang="en-US" altLang="en-US" sz="900" b="1" i="0" u="none" strike="noStrike" cap="none" normalizeH="0" baseline="0" dirty="0" smtClean="0">
                  <a:ln>
                    <a:noFill/>
                  </a:ln>
                  <a:solidFill>
                    <a:schemeClr val="bg1"/>
                  </a:solidFill>
                  <a:effectLst/>
                </a:endParaRPr>
              </a:p>
            </p:txBody>
          </p:sp>
          <p:sp>
            <p:nvSpPr>
              <p:cNvPr id="152" name="Rectangle 42"/>
              <p:cNvSpPr>
                <a:spLocks noChangeArrowheads="1"/>
              </p:cNvSpPr>
              <p:nvPr/>
            </p:nvSpPr>
            <p:spPr bwMode="auto">
              <a:xfrm>
                <a:off x="5032375" y="3278187"/>
                <a:ext cx="611611" cy="1572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chemeClr val="bg1"/>
                    </a:solidFill>
                    <a:effectLst/>
                    <a:latin typeface="Arial Unicode MS" panose="020B0604020202020204" pitchFamily="34" charset="-128"/>
                  </a:rPr>
                  <a:t>Free State</a:t>
                </a:r>
                <a:endParaRPr kumimoji="0" lang="en-US" altLang="en-US" sz="900" b="1" i="0" u="none" strike="noStrike" cap="none" normalizeH="0" baseline="0" dirty="0" smtClean="0">
                  <a:ln>
                    <a:noFill/>
                  </a:ln>
                  <a:solidFill>
                    <a:schemeClr val="bg1"/>
                  </a:solidFill>
                  <a:effectLst/>
                </a:endParaRPr>
              </a:p>
            </p:txBody>
          </p:sp>
          <p:sp>
            <p:nvSpPr>
              <p:cNvPr id="153" name="Rectangle 43"/>
              <p:cNvSpPr>
                <a:spLocks noChangeArrowheads="1"/>
              </p:cNvSpPr>
              <p:nvPr/>
            </p:nvSpPr>
            <p:spPr bwMode="auto">
              <a:xfrm>
                <a:off x="4457700" y="2208212"/>
                <a:ext cx="655297" cy="1572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chemeClr val="bg1"/>
                    </a:solidFill>
                    <a:effectLst/>
                    <a:latin typeface="Arial Unicode MS" panose="020B0604020202020204" pitchFamily="34" charset="-128"/>
                  </a:rPr>
                  <a:t>North West</a:t>
                </a:r>
                <a:endParaRPr kumimoji="0" lang="en-US" altLang="en-US" sz="900" b="1" i="0" u="none" strike="noStrike" cap="none" normalizeH="0" baseline="0" dirty="0" smtClean="0">
                  <a:ln>
                    <a:noFill/>
                  </a:ln>
                  <a:solidFill>
                    <a:schemeClr val="bg1"/>
                  </a:solidFill>
                  <a:effectLst/>
                </a:endParaRPr>
              </a:p>
            </p:txBody>
          </p:sp>
          <p:sp>
            <p:nvSpPr>
              <p:cNvPr id="154" name="Rectangle 44"/>
              <p:cNvSpPr>
                <a:spLocks noChangeArrowheads="1"/>
              </p:cNvSpPr>
              <p:nvPr/>
            </p:nvSpPr>
            <p:spPr bwMode="auto">
              <a:xfrm>
                <a:off x="6090471" y="2391870"/>
                <a:ext cx="757232" cy="1572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chemeClr val="bg1"/>
                    </a:solidFill>
                    <a:effectLst/>
                    <a:latin typeface="Arial Unicode MS" panose="020B0604020202020204" pitchFamily="34" charset="-128"/>
                  </a:rPr>
                  <a:t>Mpumalanga</a:t>
                </a:r>
                <a:endParaRPr kumimoji="0" lang="en-US" altLang="en-US" sz="900" b="1" i="0" u="none" strike="noStrike" cap="none" normalizeH="0" baseline="0" dirty="0" smtClean="0">
                  <a:ln>
                    <a:noFill/>
                  </a:ln>
                  <a:solidFill>
                    <a:schemeClr val="bg1"/>
                  </a:solidFill>
                  <a:effectLst/>
                </a:endParaRPr>
              </a:p>
            </p:txBody>
          </p:sp>
          <p:sp>
            <p:nvSpPr>
              <p:cNvPr id="155" name="Rectangle 45"/>
              <p:cNvSpPr>
                <a:spLocks noChangeArrowheads="1"/>
              </p:cNvSpPr>
              <p:nvPr/>
            </p:nvSpPr>
            <p:spPr bwMode="auto">
              <a:xfrm>
                <a:off x="5586413" y="2133599"/>
                <a:ext cx="502395" cy="1572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chemeClr val="bg1"/>
                    </a:solidFill>
                    <a:effectLst/>
                    <a:latin typeface="Arial Unicode MS" panose="020B0604020202020204" pitchFamily="34" charset="-128"/>
                  </a:rPr>
                  <a:t>Gauteng</a:t>
                </a:r>
                <a:endParaRPr kumimoji="0" lang="en-US" altLang="en-US" sz="900" b="1" i="0" u="none" strike="noStrike" cap="none" normalizeH="0" baseline="0" dirty="0" smtClean="0">
                  <a:ln>
                    <a:noFill/>
                  </a:ln>
                  <a:solidFill>
                    <a:schemeClr val="bg1"/>
                  </a:solidFill>
                  <a:effectLst/>
                </a:endParaRPr>
              </a:p>
            </p:txBody>
          </p:sp>
          <p:sp>
            <p:nvSpPr>
              <p:cNvPr id="156" name="Rectangle 46"/>
              <p:cNvSpPr>
                <a:spLocks noChangeArrowheads="1"/>
              </p:cNvSpPr>
              <p:nvPr/>
            </p:nvSpPr>
            <p:spPr bwMode="auto">
              <a:xfrm>
                <a:off x="6059488" y="1093788"/>
                <a:ext cx="502395" cy="1572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chemeClr val="bg1"/>
                    </a:solidFill>
                    <a:effectLst/>
                    <a:latin typeface="Arial Unicode MS" panose="020B0604020202020204" pitchFamily="34" charset="-128"/>
                  </a:rPr>
                  <a:t>Limpopo</a:t>
                </a:r>
                <a:endParaRPr kumimoji="0" lang="en-US" altLang="en-US" sz="900" b="1" i="0" u="none" strike="noStrike" cap="none" normalizeH="0" baseline="0" dirty="0" smtClean="0">
                  <a:ln>
                    <a:noFill/>
                  </a:ln>
                  <a:solidFill>
                    <a:schemeClr val="bg1"/>
                  </a:solidFill>
                  <a:effectLst/>
                </a:endParaRPr>
              </a:p>
            </p:txBody>
          </p:sp>
          <p:sp>
            <p:nvSpPr>
              <p:cNvPr id="157" name="Rectangle 47"/>
              <p:cNvSpPr>
                <a:spLocks noChangeArrowheads="1"/>
              </p:cNvSpPr>
              <p:nvPr/>
            </p:nvSpPr>
            <p:spPr bwMode="auto">
              <a:xfrm>
                <a:off x="2693988" y="3663951"/>
                <a:ext cx="859167" cy="1572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chemeClr val="bg1"/>
                    </a:solidFill>
                    <a:effectLst/>
                    <a:latin typeface="Arial Unicode MS" panose="020B0604020202020204" pitchFamily="34" charset="-128"/>
                  </a:rPr>
                  <a:t>Northern Cape</a:t>
                </a:r>
                <a:endParaRPr kumimoji="0" lang="en-US" altLang="en-US" sz="900" b="1" i="0" u="none" strike="noStrike" cap="none" normalizeH="0" baseline="0" dirty="0" smtClean="0">
                  <a:ln>
                    <a:noFill/>
                  </a:ln>
                  <a:solidFill>
                    <a:schemeClr val="bg1"/>
                  </a:solidFill>
                  <a:effectLst/>
                </a:endParaRPr>
              </a:p>
            </p:txBody>
          </p:sp>
          <p:sp>
            <p:nvSpPr>
              <p:cNvPr id="158" name="Rectangle 48"/>
              <p:cNvSpPr>
                <a:spLocks noChangeArrowheads="1"/>
              </p:cNvSpPr>
              <p:nvPr/>
            </p:nvSpPr>
            <p:spPr bwMode="auto">
              <a:xfrm>
                <a:off x="2375685" y="5548853"/>
                <a:ext cx="837324" cy="1572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chemeClr val="bg1"/>
                    </a:solidFill>
                    <a:effectLst/>
                    <a:latin typeface="Arial Unicode MS" panose="020B0604020202020204" pitchFamily="34" charset="-128"/>
                  </a:rPr>
                  <a:t>Western Cape</a:t>
                </a:r>
                <a:endParaRPr kumimoji="0" lang="en-US" altLang="en-US" sz="900" b="1" i="0" u="none" strike="noStrike" cap="none" normalizeH="0" baseline="0" dirty="0" smtClean="0">
                  <a:ln>
                    <a:noFill/>
                  </a:ln>
                  <a:solidFill>
                    <a:schemeClr val="bg1"/>
                  </a:solidFill>
                  <a:effectLst/>
                </a:endParaRPr>
              </a:p>
            </p:txBody>
          </p:sp>
        </p:grpSp>
        <p:grpSp>
          <p:nvGrpSpPr>
            <p:cNvPr id="11" name="Group 10"/>
            <p:cNvGrpSpPr/>
            <p:nvPr/>
          </p:nvGrpSpPr>
          <p:grpSpPr>
            <a:xfrm>
              <a:off x="418853" y="3209909"/>
              <a:ext cx="5801559" cy="2741092"/>
              <a:chOff x="256534" y="3320569"/>
              <a:chExt cx="5801559" cy="2741092"/>
            </a:xfrm>
          </p:grpSpPr>
          <p:grpSp>
            <p:nvGrpSpPr>
              <p:cNvPr id="5" name="Group 4"/>
              <p:cNvGrpSpPr/>
              <p:nvPr/>
            </p:nvGrpSpPr>
            <p:grpSpPr>
              <a:xfrm>
                <a:off x="1246815" y="5851430"/>
                <a:ext cx="169068" cy="210231"/>
                <a:chOff x="1246815" y="5851430"/>
                <a:chExt cx="169068" cy="210231"/>
              </a:xfrm>
              <a:solidFill>
                <a:srgbClr val="FF0000"/>
              </a:solidFill>
            </p:grpSpPr>
            <p:sp>
              <p:nvSpPr>
                <p:cNvPr id="68" name="5-Point Star 67"/>
                <p:cNvSpPr/>
                <p:nvPr/>
              </p:nvSpPr>
              <p:spPr>
                <a:xfrm>
                  <a:off x="1246815" y="5851430"/>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69" name="5-Point Star 68"/>
                <p:cNvSpPr/>
                <p:nvPr/>
              </p:nvSpPr>
              <p:spPr>
                <a:xfrm>
                  <a:off x="1278975" y="5924753"/>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grpSp>
          <p:grpSp>
            <p:nvGrpSpPr>
              <p:cNvPr id="9" name="Group 8"/>
              <p:cNvGrpSpPr/>
              <p:nvPr/>
            </p:nvGrpSpPr>
            <p:grpSpPr>
              <a:xfrm>
                <a:off x="256534" y="3320569"/>
                <a:ext cx="5801559" cy="2549728"/>
                <a:chOff x="256534" y="3320569"/>
                <a:chExt cx="5801559" cy="2549728"/>
              </a:xfrm>
              <a:solidFill>
                <a:srgbClr val="FF0000"/>
              </a:solidFill>
            </p:grpSpPr>
            <p:sp>
              <p:nvSpPr>
                <p:cNvPr id="4" name="5-Point Star 3"/>
                <p:cNvSpPr/>
                <p:nvPr/>
              </p:nvSpPr>
              <p:spPr>
                <a:xfrm>
                  <a:off x="5921185" y="3320569"/>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57" name="5-Point Star 56"/>
                <p:cNvSpPr/>
                <p:nvPr/>
              </p:nvSpPr>
              <p:spPr>
                <a:xfrm>
                  <a:off x="5787648" y="3495194"/>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58" name="5-Point Star 57"/>
                <p:cNvSpPr/>
                <p:nvPr/>
              </p:nvSpPr>
              <p:spPr>
                <a:xfrm>
                  <a:off x="5560444" y="3717444"/>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59" name="5-Point Star 58"/>
                <p:cNvSpPr/>
                <p:nvPr/>
              </p:nvSpPr>
              <p:spPr>
                <a:xfrm>
                  <a:off x="5429060" y="3901594"/>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60" name="5-Point Star 59"/>
                <p:cNvSpPr/>
                <p:nvPr/>
              </p:nvSpPr>
              <p:spPr>
                <a:xfrm>
                  <a:off x="5145989" y="4444519"/>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61" name="5-Point Star 60"/>
                <p:cNvSpPr/>
                <p:nvPr/>
              </p:nvSpPr>
              <p:spPr>
                <a:xfrm>
                  <a:off x="3957980" y="5512475"/>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64" name="5-Point Star 63"/>
                <p:cNvSpPr/>
                <p:nvPr/>
              </p:nvSpPr>
              <p:spPr>
                <a:xfrm>
                  <a:off x="4905410" y="4688994"/>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65" name="5-Point Star 64"/>
                <p:cNvSpPr/>
                <p:nvPr/>
              </p:nvSpPr>
              <p:spPr>
                <a:xfrm>
                  <a:off x="3472859" y="5558843"/>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72" name="5-Point Star 71"/>
                <p:cNvSpPr/>
                <p:nvPr/>
              </p:nvSpPr>
              <p:spPr>
                <a:xfrm>
                  <a:off x="951394" y="5641862"/>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73" name="5-Point Star 72"/>
                <p:cNvSpPr/>
                <p:nvPr/>
              </p:nvSpPr>
              <p:spPr>
                <a:xfrm>
                  <a:off x="825149" y="5289560"/>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74" name="5-Point Star 73"/>
                <p:cNvSpPr/>
                <p:nvPr/>
              </p:nvSpPr>
              <p:spPr>
                <a:xfrm>
                  <a:off x="963911" y="5733389"/>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75" name="5-Point Star 74"/>
                <p:cNvSpPr/>
                <p:nvPr/>
              </p:nvSpPr>
              <p:spPr>
                <a:xfrm>
                  <a:off x="398204" y="3693230"/>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76" name="5-Point Star 75"/>
                <p:cNvSpPr/>
                <p:nvPr/>
              </p:nvSpPr>
              <p:spPr>
                <a:xfrm>
                  <a:off x="256534" y="3435227"/>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9" name="5-Point Star 168"/>
                <p:cNvSpPr/>
                <p:nvPr/>
              </p:nvSpPr>
              <p:spPr>
                <a:xfrm>
                  <a:off x="959780" y="5714209"/>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grpSp>
        </p:grpSp>
      </p:grpSp>
      <p:grpSp>
        <p:nvGrpSpPr>
          <p:cNvPr id="27" name="Group 26"/>
          <p:cNvGrpSpPr/>
          <p:nvPr/>
        </p:nvGrpSpPr>
        <p:grpSpPr>
          <a:xfrm>
            <a:off x="4763360" y="5345178"/>
            <a:ext cx="2060954" cy="1057707"/>
            <a:chOff x="6734686" y="230188"/>
            <a:chExt cx="2060954" cy="1057707"/>
          </a:xfrm>
        </p:grpSpPr>
        <p:grpSp>
          <p:nvGrpSpPr>
            <p:cNvPr id="18" name="Group 17"/>
            <p:cNvGrpSpPr/>
            <p:nvPr/>
          </p:nvGrpSpPr>
          <p:grpSpPr>
            <a:xfrm>
              <a:off x="6803518" y="230188"/>
              <a:ext cx="1992122" cy="138499"/>
              <a:chOff x="6901017" y="813195"/>
              <a:chExt cx="1992122" cy="138499"/>
            </a:xfrm>
          </p:grpSpPr>
          <p:sp>
            <p:nvSpPr>
              <p:cNvPr id="160" name="5-Point Star 159"/>
              <p:cNvSpPr/>
              <p:nvPr/>
            </p:nvSpPr>
            <p:spPr>
              <a:xfrm>
                <a:off x="6901017" y="813990"/>
                <a:ext cx="136908" cy="136908"/>
              </a:xfrm>
              <a:prstGeom prst="star5">
                <a:avLst/>
              </a:prstGeom>
              <a:solidFill>
                <a:srgbClr val="FF0000"/>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solidFill>
                    <a:schemeClr val="tx1"/>
                  </a:solidFill>
                </a:endParaRPr>
              </a:p>
            </p:txBody>
          </p:sp>
          <p:sp>
            <p:nvSpPr>
              <p:cNvPr id="2" name="TextBox 1"/>
              <p:cNvSpPr txBox="1"/>
              <p:nvPr/>
            </p:nvSpPr>
            <p:spPr>
              <a:xfrm>
                <a:off x="7091364" y="813195"/>
                <a:ext cx="180177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900" dirty="0"/>
                  <a:t>Location </a:t>
                </a:r>
                <a:r>
                  <a:rPr lang="en-US" sz="900" dirty="0" smtClean="0"/>
                  <a:t>associated </a:t>
                </a:r>
                <a:r>
                  <a:rPr lang="en-US" sz="900" dirty="0"/>
                  <a:t>with Initiatives </a:t>
                </a:r>
              </a:p>
            </p:txBody>
          </p:sp>
        </p:grpSp>
        <p:grpSp>
          <p:nvGrpSpPr>
            <p:cNvPr id="19" name="Group 18"/>
            <p:cNvGrpSpPr/>
            <p:nvPr/>
          </p:nvGrpSpPr>
          <p:grpSpPr>
            <a:xfrm>
              <a:off x="6734686" y="406916"/>
              <a:ext cx="1342809" cy="138499"/>
              <a:chOff x="6832185" y="1021398"/>
              <a:chExt cx="1342809" cy="138499"/>
            </a:xfrm>
          </p:grpSpPr>
          <p:sp>
            <p:nvSpPr>
              <p:cNvPr id="12" name="Freeform 11"/>
              <p:cNvSpPr/>
              <p:nvPr/>
            </p:nvSpPr>
            <p:spPr>
              <a:xfrm>
                <a:off x="6832185" y="1090647"/>
                <a:ext cx="205740" cy="0"/>
              </a:xfrm>
              <a:custGeom>
                <a:avLst/>
                <a:gdLst>
                  <a:gd name="connsiteX0" fmla="*/ 0 w 205740"/>
                  <a:gd name="connsiteY0" fmla="*/ 0 h 0"/>
                  <a:gd name="connsiteX1" fmla="*/ 205740 w 205740"/>
                  <a:gd name="connsiteY1" fmla="*/ 0 h 0"/>
                </a:gdLst>
                <a:ahLst/>
                <a:cxnLst>
                  <a:cxn ang="0">
                    <a:pos x="connsiteX0" y="connsiteY0"/>
                  </a:cxn>
                  <a:cxn ang="0">
                    <a:pos x="connsiteX1" y="connsiteY1"/>
                  </a:cxn>
                </a:cxnLst>
                <a:rect l="l" t="t" r="r" b="b"/>
                <a:pathLst>
                  <a:path w="205740">
                    <a:moveTo>
                      <a:pt x="0" y="0"/>
                    </a:moveTo>
                    <a:lnTo>
                      <a:pt x="205740" y="0"/>
                    </a:lnTo>
                  </a:path>
                </a:pathLst>
              </a:custGeom>
              <a:noFill/>
              <a:ln w="12700">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61" name="TextBox 160"/>
              <p:cNvSpPr txBox="1"/>
              <p:nvPr/>
            </p:nvSpPr>
            <p:spPr>
              <a:xfrm>
                <a:off x="7091364" y="1021398"/>
                <a:ext cx="108363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900" dirty="0" smtClean="0"/>
                  <a:t>SA Indi-Atlantic route</a:t>
                </a:r>
                <a:endParaRPr lang="en-US" sz="900" dirty="0"/>
              </a:p>
            </p:txBody>
          </p:sp>
        </p:grpSp>
        <p:grpSp>
          <p:nvGrpSpPr>
            <p:cNvPr id="16" name="Group 15"/>
            <p:cNvGrpSpPr/>
            <p:nvPr/>
          </p:nvGrpSpPr>
          <p:grpSpPr>
            <a:xfrm>
              <a:off x="6840746" y="583644"/>
              <a:ext cx="1647118" cy="138499"/>
              <a:chOff x="6938245" y="1173558"/>
              <a:chExt cx="1647118" cy="138499"/>
            </a:xfrm>
          </p:grpSpPr>
          <p:sp>
            <p:nvSpPr>
              <p:cNvPr id="162" name="Isosceles Triangle 161"/>
              <p:cNvSpPr/>
              <p:nvPr/>
            </p:nvSpPr>
            <p:spPr>
              <a:xfrm>
                <a:off x="6938245" y="1199841"/>
                <a:ext cx="99680" cy="85932"/>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solidFill>
                    <a:schemeClr val="tx1"/>
                  </a:solidFill>
                </a:endParaRPr>
              </a:p>
            </p:txBody>
          </p:sp>
          <p:sp>
            <p:nvSpPr>
              <p:cNvPr id="163" name="TextBox 162"/>
              <p:cNvSpPr txBox="1"/>
              <p:nvPr/>
            </p:nvSpPr>
            <p:spPr>
              <a:xfrm>
                <a:off x="7091364" y="1173558"/>
                <a:ext cx="1493999"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900" dirty="0" smtClean="0"/>
                  <a:t>Proposed Blue Flag Beaches</a:t>
                </a:r>
                <a:endParaRPr lang="en-US" sz="900" dirty="0"/>
              </a:p>
            </p:txBody>
          </p:sp>
        </p:grpSp>
        <p:grpSp>
          <p:nvGrpSpPr>
            <p:cNvPr id="15" name="Group 14"/>
            <p:cNvGrpSpPr/>
            <p:nvPr/>
          </p:nvGrpSpPr>
          <p:grpSpPr>
            <a:xfrm>
              <a:off x="6734686" y="760372"/>
              <a:ext cx="951676" cy="138499"/>
              <a:chOff x="6832185" y="1346026"/>
              <a:chExt cx="951676" cy="138499"/>
            </a:xfrm>
          </p:grpSpPr>
          <p:sp>
            <p:nvSpPr>
              <p:cNvPr id="164" name="Freeform 163"/>
              <p:cNvSpPr/>
              <p:nvPr/>
            </p:nvSpPr>
            <p:spPr>
              <a:xfrm>
                <a:off x="6832185" y="1415275"/>
                <a:ext cx="205740" cy="0"/>
              </a:xfrm>
              <a:custGeom>
                <a:avLst/>
                <a:gdLst>
                  <a:gd name="connsiteX0" fmla="*/ 0 w 205740"/>
                  <a:gd name="connsiteY0" fmla="*/ 0 h 0"/>
                  <a:gd name="connsiteX1" fmla="*/ 205740 w 205740"/>
                  <a:gd name="connsiteY1" fmla="*/ 0 h 0"/>
                </a:gdLst>
                <a:ahLst/>
                <a:cxnLst>
                  <a:cxn ang="0">
                    <a:pos x="connsiteX0" y="connsiteY0"/>
                  </a:cxn>
                  <a:cxn ang="0">
                    <a:pos x="connsiteX1" y="connsiteY1"/>
                  </a:cxn>
                </a:cxnLst>
                <a:rect l="l" t="t" r="r" b="b"/>
                <a:pathLst>
                  <a:path w="205740">
                    <a:moveTo>
                      <a:pt x="0" y="0"/>
                    </a:moveTo>
                    <a:lnTo>
                      <a:pt x="205740" y="0"/>
                    </a:lnTo>
                  </a:path>
                </a:pathLst>
              </a:custGeom>
              <a:noFill/>
              <a:ln w="12700">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p>
            </p:txBody>
          </p:sp>
          <p:sp>
            <p:nvSpPr>
              <p:cNvPr id="165" name="TextBox 164"/>
              <p:cNvSpPr txBox="1"/>
              <p:nvPr/>
            </p:nvSpPr>
            <p:spPr>
              <a:xfrm>
                <a:off x="7091364" y="1346026"/>
                <a:ext cx="692497"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900" dirty="0" smtClean="0"/>
                  <a:t>SA Provinces</a:t>
                </a:r>
                <a:endParaRPr lang="en-US" sz="900" dirty="0"/>
              </a:p>
            </p:txBody>
          </p:sp>
        </p:grpSp>
        <p:grpSp>
          <p:nvGrpSpPr>
            <p:cNvPr id="20" name="Group 19"/>
            <p:cNvGrpSpPr/>
            <p:nvPr/>
          </p:nvGrpSpPr>
          <p:grpSpPr>
            <a:xfrm>
              <a:off x="6848986" y="937100"/>
              <a:ext cx="773256" cy="138499"/>
              <a:chOff x="6946485" y="1505404"/>
              <a:chExt cx="773256" cy="138499"/>
            </a:xfrm>
          </p:grpSpPr>
          <p:sp>
            <p:nvSpPr>
              <p:cNvPr id="166" name="TextBox 165"/>
              <p:cNvSpPr txBox="1"/>
              <p:nvPr/>
            </p:nvSpPr>
            <p:spPr>
              <a:xfrm>
                <a:off x="7091364" y="1505404"/>
                <a:ext cx="628377"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900" dirty="0" smtClean="0"/>
                  <a:t>South Africa</a:t>
                </a:r>
                <a:endParaRPr lang="en-US" sz="900" dirty="0"/>
              </a:p>
            </p:txBody>
          </p:sp>
          <p:sp>
            <p:nvSpPr>
              <p:cNvPr id="13" name="Rectangle 12"/>
              <p:cNvSpPr/>
              <p:nvPr/>
            </p:nvSpPr>
            <p:spPr>
              <a:xfrm>
                <a:off x="6946485" y="1528933"/>
                <a:ext cx="91440" cy="91440"/>
              </a:xfrm>
              <a:prstGeom prst="rect">
                <a:avLst/>
              </a:prstGeom>
              <a:solidFill>
                <a:srgbClr val="70BB6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solidFill>
                    <a:schemeClr val="tx1"/>
                  </a:solidFill>
                </a:endParaRPr>
              </a:p>
            </p:txBody>
          </p:sp>
        </p:grpSp>
        <p:sp>
          <p:nvSpPr>
            <p:cNvPr id="268" name="TextBox 267"/>
            <p:cNvSpPr txBox="1"/>
            <p:nvPr/>
          </p:nvSpPr>
          <p:spPr>
            <a:xfrm>
              <a:off x="6993865" y="1149396"/>
              <a:ext cx="1160574"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900" dirty="0" smtClean="0"/>
                <a:t>Individual route names</a:t>
              </a:r>
              <a:endParaRPr lang="en-US" sz="900" dirty="0"/>
            </a:p>
          </p:txBody>
        </p:sp>
      </p:grpSp>
      <p:cxnSp>
        <p:nvCxnSpPr>
          <p:cNvPr id="120" name="Straight Arrow Connector 119"/>
          <p:cNvCxnSpPr/>
          <p:nvPr/>
        </p:nvCxnSpPr>
        <p:spPr>
          <a:xfrm flipH="1" flipV="1">
            <a:off x="936469" y="3899313"/>
            <a:ext cx="220673" cy="333350"/>
          </a:xfrm>
          <a:prstGeom prst="straightConnector1">
            <a:avLst/>
          </a:prstGeom>
          <a:ln w="28575">
            <a:solidFill>
              <a:srgbClr val="FF66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1" name="TextBox 120"/>
          <p:cNvSpPr txBox="1"/>
          <p:nvPr/>
        </p:nvSpPr>
        <p:spPr>
          <a:xfrm>
            <a:off x="1113713" y="3821890"/>
            <a:ext cx="565164" cy="306467"/>
          </a:xfrm>
          <a:prstGeom prst="roundRect">
            <a:avLst/>
          </a:prstGeom>
          <a:noFill/>
          <a:ln w="9525">
            <a:solidFill>
              <a:schemeClr val="accent5"/>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sz="900" b="1" baseline="0">
                <a:solidFill>
                  <a:schemeClr val="bg1"/>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tx1"/>
                </a:solidFill>
              </a:rPr>
              <a:t>Diamond Coast</a:t>
            </a:r>
          </a:p>
        </p:txBody>
      </p:sp>
      <p:cxnSp>
        <p:nvCxnSpPr>
          <p:cNvPr id="122" name="Straight Arrow Connector 121"/>
          <p:cNvCxnSpPr/>
          <p:nvPr/>
        </p:nvCxnSpPr>
        <p:spPr>
          <a:xfrm flipH="1" flipV="1">
            <a:off x="1177346" y="5198968"/>
            <a:ext cx="252019" cy="313439"/>
          </a:xfrm>
          <a:prstGeom prst="straightConnector1">
            <a:avLst/>
          </a:prstGeom>
          <a:ln w="28575">
            <a:solidFill>
              <a:srgbClr val="FF66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3" name="TextBox 122"/>
          <p:cNvSpPr txBox="1"/>
          <p:nvPr/>
        </p:nvSpPr>
        <p:spPr>
          <a:xfrm rot="3005893">
            <a:off x="1262126" y="5052623"/>
            <a:ext cx="391903" cy="306467"/>
          </a:xfrm>
          <a:prstGeom prst="roundRect">
            <a:avLst/>
          </a:prstGeom>
          <a:noFill/>
          <a:ln w="9525">
            <a:solidFill>
              <a:schemeClr val="accent5"/>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sz="900" b="1" baseline="0">
                <a:solidFill>
                  <a:schemeClr val="bg1"/>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tx1"/>
                </a:solidFill>
              </a:rPr>
              <a:t>West Coast</a:t>
            </a:r>
          </a:p>
        </p:txBody>
      </p:sp>
      <p:cxnSp>
        <p:nvCxnSpPr>
          <p:cNvPr id="124" name="Straight Arrow Connector 123"/>
          <p:cNvCxnSpPr/>
          <p:nvPr/>
        </p:nvCxnSpPr>
        <p:spPr>
          <a:xfrm flipH="1">
            <a:off x="1588053" y="5806986"/>
            <a:ext cx="376734" cy="0"/>
          </a:xfrm>
          <a:prstGeom prst="straightConnector1">
            <a:avLst/>
          </a:prstGeom>
          <a:ln w="28575">
            <a:solidFill>
              <a:srgbClr val="FF66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1554512" y="5434303"/>
            <a:ext cx="443816" cy="306467"/>
          </a:xfrm>
          <a:prstGeom prst="roundRect">
            <a:avLst/>
          </a:prstGeom>
          <a:noFill/>
          <a:ln w="9525">
            <a:solidFill>
              <a:schemeClr val="accent5"/>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sz="900" b="1" baseline="0">
                <a:solidFill>
                  <a:schemeClr val="bg1"/>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dirty="0">
                <a:solidFill>
                  <a:schemeClr val="tx1"/>
                </a:solidFill>
              </a:rPr>
              <a:t>Coastal</a:t>
            </a:r>
            <a:br>
              <a:rPr lang="en-US" dirty="0">
                <a:solidFill>
                  <a:schemeClr val="tx1"/>
                </a:solidFill>
              </a:rPr>
            </a:br>
            <a:r>
              <a:rPr lang="en-US" dirty="0">
                <a:solidFill>
                  <a:schemeClr val="tx1"/>
                </a:solidFill>
              </a:rPr>
              <a:t>Route</a:t>
            </a:r>
          </a:p>
        </p:txBody>
      </p:sp>
      <p:cxnSp>
        <p:nvCxnSpPr>
          <p:cNvPr id="126" name="Straight Arrow Connector 125"/>
          <p:cNvCxnSpPr/>
          <p:nvPr/>
        </p:nvCxnSpPr>
        <p:spPr>
          <a:xfrm flipH="1">
            <a:off x="2683024" y="5275427"/>
            <a:ext cx="517376" cy="0"/>
          </a:xfrm>
          <a:prstGeom prst="straightConnector1">
            <a:avLst/>
          </a:prstGeom>
          <a:ln w="28575">
            <a:solidFill>
              <a:srgbClr val="FF66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2694847" y="4918083"/>
            <a:ext cx="505553" cy="306467"/>
          </a:xfrm>
          <a:prstGeom prst="roundRect">
            <a:avLst/>
          </a:prstGeom>
          <a:noFill/>
          <a:ln w="9525">
            <a:solidFill>
              <a:schemeClr val="accent5"/>
            </a:solid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sz="900" b="1" baseline="0">
                <a:solidFill>
                  <a:schemeClr val="bg1"/>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dirty="0">
                <a:solidFill>
                  <a:schemeClr val="tx1"/>
                </a:solidFill>
              </a:rPr>
              <a:t>Garden Route</a:t>
            </a:r>
          </a:p>
        </p:txBody>
      </p:sp>
      <p:cxnSp>
        <p:nvCxnSpPr>
          <p:cNvPr id="129" name="Straight Arrow Connector 128"/>
          <p:cNvCxnSpPr/>
          <p:nvPr/>
        </p:nvCxnSpPr>
        <p:spPr>
          <a:xfrm flipH="1">
            <a:off x="4289328" y="4719406"/>
            <a:ext cx="409204" cy="415338"/>
          </a:xfrm>
          <a:prstGeom prst="straightConnector1">
            <a:avLst/>
          </a:prstGeom>
          <a:ln w="28575">
            <a:solidFill>
              <a:srgbClr val="FF66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30" name="TextBox 129"/>
          <p:cNvSpPr txBox="1"/>
          <p:nvPr/>
        </p:nvSpPr>
        <p:spPr>
          <a:xfrm rot="18924826">
            <a:off x="3966273" y="4633451"/>
            <a:ext cx="765907" cy="306467"/>
          </a:xfrm>
          <a:prstGeom prst="roundRect">
            <a:avLst/>
          </a:prstGeom>
          <a:noFill/>
          <a:ln w="9525">
            <a:solidFill>
              <a:schemeClr val="accent5"/>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900" b="1" dirty="0" smtClean="0"/>
              <a:t>Eastern Cape</a:t>
            </a:r>
            <a:br>
              <a:rPr lang="en-US" sz="900" b="1" dirty="0" smtClean="0"/>
            </a:br>
            <a:r>
              <a:rPr lang="en-US" sz="900" b="1" dirty="0" smtClean="0"/>
              <a:t>Coastal Tour</a:t>
            </a:r>
            <a:endParaRPr lang="en-US" sz="900" b="1" dirty="0"/>
          </a:p>
        </p:txBody>
      </p:sp>
      <p:cxnSp>
        <p:nvCxnSpPr>
          <p:cNvPr id="141" name="Straight Arrow Connector 140"/>
          <p:cNvCxnSpPr/>
          <p:nvPr/>
        </p:nvCxnSpPr>
        <p:spPr>
          <a:xfrm flipH="1">
            <a:off x="5190636" y="3927842"/>
            <a:ext cx="283732" cy="327830"/>
          </a:xfrm>
          <a:prstGeom prst="straightConnector1">
            <a:avLst/>
          </a:prstGeom>
          <a:ln w="28575">
            <a:solidFill>
              <a:srgbClr val="FF66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2" name="TextBox 141"/>
          <p:cNvSpPr txBox="1"/>
          <p:nvPr/>
        </p:nvSpPr>
        <p:spPr>
          <a:xfrm rot="18703134">
            <a:off x="4820474" y="3807833"/>
            <a:ext cx="705966" cy="306467"/>
          </a:xfrm>
          <a:prstGeom prst="roundRect">
            <a:avLst/>
          </a:prstGeom>
          <a:noFill/>
          <a:ln w="9525">
            <a:solidFill>
              <a:schemeClr val="accent5"/>
            </a:solidFill>
            <a:miter lim="800000"/>
            <a:headEnd/>
            <a:tailEnd/>
          </a:ln>
          <a:effectLst/>
          <a:extLst/>
        </p:spPr>
        <p:txBody>
          <a:bodyPr vert="horz" wrap="non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sz="900" b="1" baseline="0">
                <a:solidFill>
                  <a:schemeClr val="bg1"/>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tx1"/>
                </a:solidFill>
              </a:rPr>
              <a:t>South Coast</a:t>
            </a:r>
          </a:p>
          <a:p>
            <a:r>
              <a:rPr lang="en-US" dirty="0">
                <a:solidFill>
                  <a:schemeClr val="tx1"/>
                </a:solidFill>
              </a:rPr>
              <a:t>Experience</a:t>
            </a:r>
          </a:p>
        </p:txBody>
      </p:sp>
      <p:cxnSp>
        <p:nvCxnSpPr>
          <p:cNvPr id="143" name="Straight Arrow Connector 142"/>
          <p:cNvCxnSpPr/>
          <p:nvPr/>
        </p:nvCxnSpPr>
        <p:spPr>
          <a:xfrm flipH="1">
            <a:off x="5736185" y="3219995"/>
            <a:ext cx="246971" cy="297170"/>
          </a:xfrm>
          <a:prstGeom prst="straightConnector1">
            <a:avLst/>
          </a:prstGeom>
          <a:ln w="28575">
            <a:solidFill>
              <a:srgbClr val="FF66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4" name="TextBox 143"/>
          <p:cNvSpPr txBox="1"/>
          <p:nvPr/>
        </p:nvSpPr>
        <p:spPr>
          <a:xfrm rot="18663841">
            <a:off x="5489200" y="3082810"/>
            <a:ext cx="403516" cy="306467"/>
          </a:xfrm>
          <a:prstGeom prst="roundRect">
            <a:avLst/>
          </a:prstGeom>
          <a:noFill/>
          <a:ln w="9525">
            <a:solidFill>
              <a:schemeClr val="accent5"/>
            </a:solidFill>
            <a:miter lim="800000"/>
            <a:headEnd/>
            <a:tailEnd/>
          </a:ln>
          <a:effectLs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sz="900" b="1"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t>East 3 Route</a:t>
            </a:r>
          </a:p>
        </p:txBody>
      </p:sp>
      <p:cxnSp>
        <p:nvCxnSpPr>
          <p:cNvPr id="145" name="Straight Arrow Connector 144"/>
          <p:cNvCxnSpPr/>
          <p:nvPr/>
        </p:nvCxnSpPr>
        <p:spPr>
          <a:xfrm flipH="1">
            <a:off x="4470573" y="6329001"/>
            <a:ext cx="517376" cy="0"/>
          </a:xfrm>
          <a:prstGeom prst="straightConnector1">
            <a:avLst/>
          </a:prstGeom>
          <a:ln w="28575">
            <a:solidFill>
              <a:srgbClr val="FF66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itle 2"/>
          <p:cNvSpPr>
            <a:spLocks noGrp="1"/>
          </p:cNvSpPr>
          <p:nvPr>
            <p:ph type="title"/>
          </p:nvPr>
        </p:nvSpPr>
        <p:spPr bwMode="gray">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61950"/>
            <a:r>
              <a:rPr lang="en-MY" dirty="0"/>
              <a:t>We would like to link and promote existing provincial tourism routes, events and attraction to form South Africa’s Indi-Atlantic </a:t>
            </a:r>
            <a:r>
              <a:rPr lang="en-MY" dirty="0" smtClean="0"/>
              <a:t>Route (1/2)</a:t>
            </a:r>
            <a:endParaRPr lang="en-GB" dirty="0"/>
          </a:p>
        </p:txBody>
      </p:sp>
      <p:sp>
        <p:nvSpPr>
          <p:cNvPr id="115" name="Marvin tracker circle"/>
          <p:cNvSpPr/>
          <p:nvPr/>
        </p:nvSpPr>
        <p:spPr>
          <a:xfrm>
            <a:off x="171451" y="230188"/>
            <a:ext cx="274320" cy="2743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400" dirty="0">
                <a:solidFill>
                  <a:schemeClr val="bg1"/>
                </a:solidFill>
              </a:rPr>
              <a:t>7</a:t>
            </a:r>
            <a:endParaRPr lang="en-US" sz="1400" dirty="0" smtClean="0">
              <a:solidFill>
                <a:schemeClr val="bg1"/>
              </a:solidFill>
            </a:endParaRPr>
          </a:p>
        </p:txBody>
      </p:sp>
    </p:spTree>
    <p:custDataLst>
      <p:tags r:id="rId2"/>
    </p:custDataLst>
    <p:extLst>
      <p:ext uri="{BB962C8B-B14F-4D97-AF65-F5344CB8AC3E}">
        <p14:creationId xmlns:p14="http://schemas.microsoft.com/office/powerpoint/2010/main" val="357810999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nvPr>
        </p:nvGraphicFramePr>
        <p:xfrm>
          <a:off x="1591" y="1789"/>
          <a:ext cx="1587" cy="1587"/>
        </p:xfrm>
        <a:graphic>
          <a:graphicData uri="http://schemas.openxmlformats.org/presentationml/2006/ole">
            <mc:AlternateContent xmlns:mc="http://schemas.openxmlformats.org/markup-compatibility/2006">
              <mc:Choice xmlns:v="urn:schemas-microsoft-com:vml" Requires="v">
                <p:oleObj spid="_x0000_s129037" name="think-cell Slide" r:id="rId6" imgW="353" imgH="353" progId="TCLayout.ActiveDocument.1">
                  <p:embed/>
                </p:oleObj>
              </mc:Choice>
              <mc:Fallback>
                <p:oleObj name="think-cell Slide" r:id="rId6" imgW="353" imgH="353" progId="TCLayout.ActiveDocument.1">
                  <p:embed/>
                  <p:pic>
                    <p:nvPicPr>
                      <p:cNvPr id="0" name=""/>
                      <p:cNvPicPr/>
                      <p:nvPr/>
                    </p:nvPicPr>
                    <p:blipFill>
                      <a:blip r:embed="rId7"/>
                      <a:stretch>
                        <a:fillRect/>
                      </a:stretch>
                    </p:blipFill>
                    <p:spPr>
                      <a:xfrm>
                        <a:off x="1591" y="1789"/>
                        <a:ext cx="1587" cy="1587"/>
                      </a:xfrm>
                      <a:prstGeom prst="rect">
                        <a:avLst/>
                      </a:prstGeom>
                    </p:spPr>
                  </p:pic>
                </p:oleObj>
              </mc:Fallback>
            </mc:AlternateContent>
          </a:graphicData>
        </a:graphic>
      </p:graphicFrame>
      <p:grpSp>
        <p:nvGrpSpPr>
          <p:cNvPr id="41" name="Group 40"/>
          <p:cNvGrpSpPr/>
          <p:nvPr/>
        </p:nvGrpSpPr>
        <p:grpSpPr>
          <a:xfrm>
            <a:off x="6472400" y="4207582"/>
            <a:ext cx="2454251" cy="1916782"/>
            <a:chOff x="6579832" y="4249808"/>
            <a:chExt cx="2504249" cy="1955831"/>
          </a:xfrm>
        </p:grpSpPr>
        <p:sp>
          <p:nvSpPr>
            <p:cNvPr id="228" name="Rounded Rectangle 227"/>
            <p:cNvSpPr/>
            <p:nvPr/>
          </p:nvSpPr>
          <p:spPr>
            <a:xfrm>
              <a:off x="6579832" y="4342180"/>
              <a:ext cx="2373021" cy="1863459"/>
            </a:xfrm>
            <a:prstGeom prst="roundRect">
              <a:avLst/>
            </a:prstGeom>
            <a:solidFill>
              <a:srgbClr val="FFD9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82" b="1" dirty="0">
                  <a:solidFill>
                    <a:schemeClr val="tx1"/>
                  </a:solidFill>
                </a:rPr>
                <a:t>Location associated with Initiatives:</a:t>
              </a:r>
            </a:p>
            <a:p>
              <a:pPr algn="ctr"/>
              <a:endParaRPr lang="en-ZA" sz="784" b="1" dirty="0">
                <a:solidFill>
                  <a:schemeClr val="tx1"/>
                </a:solidFill>
              </a:endParaRPr>
            </a:p>
            <a:p>
              <a:pPr marL="168021" indent="-168021">
                <a:buFont typeface="Arial" panose="020B0604020202020204" pitchFamily="34" charset="0"/>
                <a:buChar char="•"/>
              </a:pPr>
              <a:r>
                <a:rPr lang="en-ZA" sz="882" dirty="0">
                  <a:solidFill>
                    <a:schemeClr val="tx1"/>
                  </a:solidFill>
                </a:rPr>
                <a:t>Nonoti Beach Resorts</a:t>
              </a:r>
            </a:p>
            <a:p>
              <a:pPr marL="168021" indent="-168021">
                <a:buFont typeface="Arial" panose="020B0604020202020204" pitchFamily="34" charset="0"/>
                <a:buChar char="•"/>
              </a:pPr>
              <a:r>
                <a:rPr lang="en-ZA" sz="882" dirty="0" smtClean="0">
                  <a:solidFill>
                    <a:schemeClr val="tx1"/>
                  </a:solidFill>
                </a:rPr>
                <a:t>Durban City </a:t>
              </a:r>
              <a:r>
                <a:rPr lang="en-ZA" sz="882" dirty="0">
                  <a:solidFill>
                    <a:schemeClr val="tx1"/>
                  </a:solidFill>
                </a:rPr>
                <a:t>Marathon</a:t>
              </a:r>
            </a:p>
            <a:p>
              <a:pPr marL="168021" indent="-168021">
                <a:buFont typeface="Arial" panose="020B0604020202020204" pitchFamily="34" charset="0"/>
                <a:buChar char="•"/>
              </a:pPr>
              <a:r>
                <a:rPr lang="en-ZA" sz="882" dirty="0">
                  <a:solidFill>
                    <a:schemeClr val="tx1"/>
                  </a:solidFill>
                </a:rPr>
                <a:t>Durban Cruise</a:t>
              </a:r>
            </a:p>
            <a:p>
              <a:pPr marL="168021" indent="-168021">
                <a:buFont typeface="Arial" panose="020B0604020202020204" pitchFamily="34" charset="0"/>
                <a:buChar char="•"/>
              </a:pPr>
              <a:r>
                <a:rPr lang="en-ZA" sz="882" dirty="0">
                  <a:solidFill>
                    <a:schemeClr val="tx1"/>
                  </a:solidFill>
                </a:rPr>
                <a:t>Port St Johns Beach Development</a:t>
              </a:r>
            </a:p>
            <a:p>
              <a:pPr marL="168021" indent="-168021">
                <a:buFont typeface="Arial" panose="020B0604020202020204" pitchFamily="34" charset="0"/>
                <a:buChar char="•"/>
              </a:pPr>
              <a:r>
                <a:rPr lang="en-ZA" sz="882" dirty="0">
                  <a:solidFill>
                    <a:schemeClr val="tx1"/>
                  </a:solidFill>
                </a:rPr>
                <a:t>Port Elizabeth Cruise</a:t>
              </a:r>
            </a:p>
            <a:p>
              <a:pPr marL="168021" indent="-168021">
                <a:buFont typeface="Arial" panose="020B0604020202020204" pitchFamily="34" charset="0"/>
                <a:buChar char="•"/>
              </a:pPr>
              <a:r>
                <a:rPr lang="en-ZA" sz="882" dirty="0">
                  <a:solidFill>
                    <a:schemeClr val="tx1"/>
                  </a:solidFill>
                </a:rPr>
                <a:t>Monwabisi Recreational Node</a:t>
              </a:r>
            </a:p>
            <a:p>
              <a:pPr marL="168021" indent="-168021">
                <a:buFont typeface="Arial" panose="020B0604020202020204" pitchFamily="34" charset="0"/>
                <a:buChar char="•"/>
              </a:pPr>
              <a:r>
                <a:rPr lang="en-ZA" sz="882" dirty="0">
                  <a:solidFill>
                    <a:schemeClr val="tx1"/>
                  </a:solidFill>
                </a:rPr>
                <a:t>Cape Town Cruise</a:t>
              </a:r>
            </a:p>
            <a:p>
              <a:pPr marL="168021" indent="-168021">
                <a:buFont typeface="Arial" panose="020B0604020202020204" pitchFamily="34" charset="0"/>
                <a:buChar char="•"/>
              </a:pPr>
              <a:r>
                <a:rPr lang="en-ZA" sz="882" dirty="0">
                  <a:solidFill>
                    <a:schemeClr val="tx1"/>
                  </a:solidFill>
                </a:rPr>
                <a:t>Volvo Ocean Race</a:t>
              </a:r>
            </a:p>
          </p:txBody>
        </p:sp>
        <p:sp>
          <p:nvSpPr>
            <p:cNvPr id="229" name="5-Point Star 228"/>
            <p:cNvSpPr/>
            <p:nvPr/>
          </p:nvSpPr>
          <p:spPr>
            <a:xfrm>
              <a:off x="8738566" y="4249808"/>
              <a:ext cx="345515" cy="320894"/>
            </a:xfrm>
            <a:prstGeom prst="star5">
              <a:avLst/>
            </a:prstGeom>
            <a:solidFill>
              <a:srgbClr val="FF0000"/>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82" dirty="0">
                <a:solidFill>
                  <a:srgbClr val="000000"/>
                </a:solidFill>
              </a:endParaRPr>
            </a:p>
          </p:txBody>
        </p:sp>
      </p:grpSp>
      <p:grpSp>
        <p:nvGrpSpPr>
          <p:cNvPr id="224" name="Group 223"/>
          <p:cNvGrpSpPr/>
          <p:nvPr/>
        </p:nvGrpSpPr>
        <p:grpSpPr>
          <a:xfrm>
            <a:off x="6654279" y="181953"/>
            <a:ext cx="2201801" cy="3955058"/>
            <a:chOff x="6789840" y="185458"/>
            <a:chExt cx="2246656" cy="4035630"/>
          </a:xfrm>
        </p:grpSpPr>
        <p:pic>
          <p:nvPicPr>
            <p:cNvPr id="265" name="Picture 26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18622721">
              <a:off x="6816465" y="2760236"/>
              <a:ext cx="250553" cy="250553"/>
            </a:xfrm>
            <a:prstGeom prst="rect">
              <a:avLst/>
            </a:prstGeom>
          </p:spPr>
        </p:pic>
        <p:grpSp>
          <p:nvGrpSpPr>
            <p:cNvPr id="18" name="Group 17"/>
            <p:cNvGrpSpPr/>
            <p:nvPr/>
          </p:nvGrpSpPr>
          <p:grpSpPr>
            <a:xfrm>
              <a:off x="6823265" y="185458"/>
              <a:ext cx="2108308" cy="154031"/>
              <a:chOff x="6821399" y="813195"/>
              <a:chExt cx="2243723" cy="151506"/>
            </a:xfrm>
          </p:grpSpPr>
          <p:sp>
            <p:nvSpPr>
              <p:cNvPr id="160" name="5-Point Star 159"/>
              <p:cNvSpPr/>
              <p:nvPr/>
            </p:nvSpPr>
            <p:spPr>
              <a:xfrm>
                <a:off x="6821399" y="813990"/>
                <a:ext cx="166779" cy="150711"/>
              </a:xfrm>
              <a:prstGeom prst="star5">
                <a:avLst/>
              </a:prstGeom>
              <a:solidFill>
                <a:srgbClr val="FF0000"/>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980" dirty="0">
                  <a:solidFill>
                    <a:srgbClr val="000000"/>
                  </a:solidFill>
                </a:endParaRPr>
              </a:p>
            </p:txBody>
          </p:sp>
          <p:sp>
            <p:nvSpPr>
              <p:cNvPr id="2" name="TextBox 1"/>
              <p:cNvSpPr txBox="1"/>
              <p:nvPr/>
            </p:nvSpPr>
            <p:spPr>
              <a:xfrm>
                <a:off x="7145111" y="813195"/>
                <a:ext cx="1920011" cy="136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Location associated with Initiatives </a:t>
                </a:r>
              </a:p>
            </p:txBody>
          </p:sp>
        </p:grpSp>
        <p:grpSp>
          <p:nvGrpSpPr>
            <p:cNvPr id="19" name="Group 18"/>
            <p:cNvGrpSpPr/>
            <p:nvPr/>
          </p:nvGrpSpPr>
          <p:grpSpPr>
            <a:xfrm>
              <a:off x="6804254" y="459712"/>
              <a:ext cx="1461132" cy="138508"/>
              <a:chOff x="6832185" y="1021398"/>
              <a:chExt cx="1554978" cy="136238"/>
            </a:xfrm>
          </p:grpSpPr>
          <p:sp>
            <p:nvSpPr>
              <p:cNvPr id="12" name="Freeform 11"/>
              <p:cNvSpPr/>
              <p:nvPr/>
            </p:nvSpPr>
            <p:spPr>
              <a:xfrm>
                <a:off x="6832185" y="1090647"/>
                <a:ext cx="205740" cy="0"/>
              </a:xfrm>
              <a:custGeom>
                <a:avLst/>
                <a:gdLst>
                  <a:gd name="connsiteX0" fmla="*/ 0 w 205740"/>
                  <a:gd name="connsiteY0" fmla="*/ 0 h 0"/>
                  <a:gd name="connsiteX1" fmla="*/ 205740 w 205740"/>
                  <a:gd name="connsiteY1" fmla="*/ 0 h 0"/>
                </a:gdLst>
                <a:ahLst/>
                <a:cxnLst>
                  <a:cxn ang="0">
                    <a:pos x="connsiteX0" y="connsiteY0"/>
                  </a:cxn>
                  <a:cxn ang="0">
                    <a:pos x="connsiteX1" y="connsiteY1"/>
                  </a:cxn>
                </a:cxnLst>
                <a:rect l="l" t="t" r="r" b="b"/>
                <a:pathLst>
                  <a:path w="205740">
                    <a:moveTo>
                      <a:pt x="0" y="0"/>
                    </a:moveTo>
                    <a:lnTo>
                      <a:pt x="205740" y="0"/>
                    </a:lnTo>
                  </a:path>
                </a:pathLst>
              </a:custGeom>
              <a:noFill/>
              <a:ln w="222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82" dirty="0">
                  <a:solidFill>
                    <a:srgbClr val="FFFFFF"/>
                  </a:solidFill>
                </a:endParaRPr>
              </a:p>
            </p:txBody>
          </p:sp>
          <p:sp>
            <p:nvSpPr>
              <p:cNvPr id="161" name="TextBox 160"/>
              <p:cNvSpPr txBox="1"/>
              <p:nvPr/>
            </p:nvSpPr>
            <p:spPr>
              <a:xfrm>
                <a:off x="7184328" y="1021398"/>
                <a:ext cx="1202835" cy="136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SA </a:t>
                </a:r>
                <a:r>
                  <a:rPr lang="en-US" sz="882" dirty="0" smtClean="0">
                    <a:solidFill>
                      <a:srgbClr val="000000"/>
                    </a:solidFill>
                  </a:rPr>
                  <a:t>Indi-Atlantic Route</a:t>
                </a:r>
                <a:endParaRPr lang="en-US" sz="882" dirty="0">
                  <a:solidFill>
                    <a:srgbClr val="000000"/>
                  </a:solidFill>
                </a:endParaRPr>
              </a:p>
            </p:txBody>
          </p:sp>
        </p:grpSp>
        <p:grpSp>
          <p:nvGrpSpPr>
            <p:cNvPr id="16" name="Group 15"/>
            <p:cNvGrpSpPr/>
            <p:nvPr/>
          </p:nvGrpSpPr>
          <p:grpSpPr>
            <a:xfrm>
              <a:off x="6861048" y="711391"/>
              <a:ext cx="1793325" cy="138508"/>
              <a:chOff x="6938245" y="1173558"/>
              <a:chExt cx="1908509" cy="136238"/>
            </a:xfrm>
          </p:grpSpPr>
          <p:sp>
            <p:nvSpPr>
              <p:cNvPr id="162" name="Isosceles Triangle 161"/>
              <p:cNvSpPr/>
              <p:nvPr/>
            </p:nvSpPr>
            <p:spPr>
              <a:xfrm>
                <a:off x="6938245" y="1199841"/>
                <a:ext cx="99680" cy="85932"/>
              </a:xfrm>
              <a:prstGeom prst="triangle">
                <a:avLst/>
              </a:prstGeom>
              <a:solidFill>
                <a:srgbClr val="00B0F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82" dirty="0">
                  <a:solidFill>
                    <a:srgbClr val="000000"/>
                  </a:solidFill>
                </a:endParaRPr>
              </a:p>
            </p:txBody>
          </p:sp>
          <p:sp>
            <p:nvSpPr>
              <p:cNvPr id="163" name="TextBox 162"/>
              <p:cNvSpPr txBox="1"/>
              <p:nvPr/>
            </p:nvSpPr>
            <p:spPr>
              <a:xfrm>
                <a:off x="7260961" y="1173558"/>
                <a:ext cx="1585793" cy="1362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Proposed Blue Flag Beaches</a:t>
                </a:r>
              </a:p>
            </p:txBody>
          </p:sp>
        </p:grpSp>
        <p:grpSp>
          <p:nvGrpSpPr>
            <p:cNvPr id="26" name="Group 25"/>
            <p:cNvGrpSpPr/>
            <p:nvPr/>
          </p:nvGrpSpPr>
          <p:grpSpPr>
            <a:xfrm>
              <a:off x="6833269" y="1702413"/>
              <a:ext cx="1120580" cy="188873"/>
              <a:chOff x="6957050" y="1144354"/>
              <a:chExt cx="1216848" cy="189551"/>
            </a:xfrm>
          </p:grpSpPr>
          <p:pic>
            <p:nvPicPr>
              <p:cNvPr id="211" name="Picture 210"/>
              <p:cNvPicPr>
                <a:picLocks noChangeAspect="1"/>
              </p:cNvPicPr>
              <p:nvPr/>
            </p:nvPicPr>
            <p:blipFill>
              <a:blip r:embed="rId9"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6957050" y="1144354"/>
                <a:ext cx="188704" cy="189551"/>
              </a:xfrm>
              <a:prstGeom prst="rect">
                <a:avLst/>
              </a:prstGeom>
            </p:spPr>
          </p:pic>
          <p:sp>
            <p:nvSpPr>
              <p:cNvPr id="212" name="TextBox 211"/>
              <p:cNvSpPr txBox="1"/>
              <p:nvPr/>
            </p:nvSpPr>
            <p:spPr>
              <a:xfrm>
                <a:off x="7252062" y="1176145"/>
                <a:ext cx="921836" cy="1390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BBWW activities</a:t>
                </a:r>
              </a:p>
            </p:txBody>
          </p:sp>
        </p:grpSp>
        <p:pic>
          <p:nvPicPr>
            <p:cNvPr id="192" name="Picture 191"/>
            <p:cNvPicPr/>
            <p:nvPr/>
          </p:nvPicPr>
          <p:blipFill>
            <a:blip r:embed="rId11" cstate="email">
              <a:extLst>
                <a:ext uri="{28A0092B-C50C-407E-A947-70E740481C1C}">
                  <a14:useLocalDpi xmlns:a14="http://schemas.microsoft.com/office/drawing/2010/main"/>
                </a:ext>
              </a:extLst>
            </a:blip>
            <a:srcRect r="-345"/>
            <a:stretch>
              <a:fillRect/>
            </a:stretch>
          </p:blipFill>
          <p:spPr bwMode="auto">
            <a:xfrm>
              <a:off x="6835725" y="1998537"/>
              <a:ext cx="160858" cy="170986"/>
            </a:xfrm>
            <a:prstGeom prst="rect">
              <a:avLst/>
            </a:prstGeom>
            <a:noFill/>
          </p:spPr>
        </p:pic>
        <p:sp>
          <p:nvSpPr>
            <p:cNvPr id="215" name="TextBox 214"/>
            <p:cNvSpPr txBox="1"/>
            <p:nvPr/>
          </p:nvSpPr>
          <p:spPr>
            <a:xfrm>
              <a:off x="7111998" y="2016120"/>
              <a:ext cx="914334" cy="138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Shark cage diving</a:t>
              </a:r>
            </a:p>
          </p:txBody>
        </p:sp>
        <p:sp>
          <p:nvSpPr>
            <p:cNvPr id="166" name="Rectangle 165"/>
            <p:cNvSpPr/>
            <p:nvPr/>
          </p:nvSpPr>
          <p:spPr>
            <a:xfrm>
              <a:off x="6850259" y="946925"/>
              <a:ext cx="127409" cy="130793"/>
            </a:xfrm>
            <a:prstGeom prst="rect">
              <a:avLst/>
            </a:prstGeom>
            <a:solidFill>
              <a:srgbClr val="97D2FF"/>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568" dirty="0" err="1">
                <a:solidFill>
                  <a:schemeClr val="tx1"/>
                </a:solidFill>
              </a:endParaRPr>
            </a:p>
          </p:txBody>
        </p:sp>
        <p:sp>
          <p:nvSpPr>
            <p:cNvPr id="167" name="TextBox 166"/>
            <p:cNvSpPr txBox="1"/>
            <p:nvPr/>
          </p:nvSpPr>
          <p:spPr>
            <a:xfrm>
              <a:off x="7155336" y="949005"/>
              <a:ext cx="1810676" cy="138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Phakisa MPAs with tourist activities</a:t>
              </a:r>
            </a:p>
          </p:txBody>
        </p:sp>
        <p:pic>
          <p:nvPicPr>
            <p:cNvPr id="374" name="Picture 373"/>
            <p:cNvPicPr>
              <a:picLocks noChangeAspect="1"/>
            </p:cNvPicPr>
            <p:nvPr/>
          </p:nvPicPr>
          <p:blipFill>
            <a:blip r:embed="rId12"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835080" y="1445208"/>
              <a:ext cx="202546" cy="202546"/>
            </a:xfrm>
            <a:prstGeom prst="rect">
              <a:avLst/>
            </a:prstGeom>
          </p:spPr>
        </p:pic>
        <p:sp>
          <p:nvSpPr>
            <p:cNvPr id="375" name="TextBox 374"/>
            <p:cNvSpPr txBox="1"/>
            <p:nvPr/>
          </p:nvSpPr>
          <p:spPr>
            <a:xfrm>
              <a:off x="7119739" y="1484222"/>
              <a:ext cx="1859483"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Cruise Terminals (work in progress) </a:t>
              </a:r>
            </a:p>
          </p:txBody>
        </p:sp>
        <p:pic>
          <p:nvPicPr>
            <p:cNvPr id="240" name="Picture 239"/>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823266" y="2234663"/>
              <a:ext cx="235851" cy="248981"/>
            </a:xfrm>
            <a:prstGeom prst="rect">
              <a:avLst/>
            </a:prstGeom>
          </p:spPr>
        </p:pic>
        <p:sp>
          <p:nvSpPr>
            <p:cNvPr id="241" name="TextBox 240"/>
            <p:cNvSpPr txBox="1"/>
            <p:nvPr/>
          </p:nvSpPr>
          <p:spPr>
            <a:xfrm>
              <a:off x="7110393" y="2289152"/>
              <a:ext cx="442429"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Cycling  </a:t>
              </a:r>
            </a:p>
          </p:txBody>
        </p:sp>
        <p:pic>
          <p:nvPicPr>
            <p:cNvPr id="243" name="Picture 242"/>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flipH="1">
              <a:off x="6798745" y="2525616"/>
              <a:ext cx="268406" cy="268406"/>
            </a:xfrm>
            <a:prstGeom prst="rect">
              <a:avLst/>
            </a:prstGeom>
          </p:spPr>
        </p:pic>
        <p:sp>
          <p:nvSpPr>
            <p:cNvPr id="244" name="TextBox 243"/>
            <p:cNvSpPr txBox="1"/>
            <p:nvPr/>
          </p:nvSpPr>
          <p:spPr>
            <a:xfrm>
              <a:off x="7118980" y="2582913"/>
              <a:ext cx="68608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Horse riding  </a:t>
              </a:r>
            </a:p>
          </p:txBody>
        </p:sp>
        <p:pic>
          <p:nvPicPr>
            <p:cNvPr id="246" name="Picture 245"/>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816175" y="3068960"/>
              <a:ext cx="223976" cy="158545"/>
            </a:xfrm>
            <a:prstGeom prst="rect">
              <a:avLst/>
            </a:prstGeom>
          </p:spPr>
        </p:pic>
        <p:sp>
          <p:nvSpPr>
            <p:cNvPr id="247" name="TextBox 246"/>
            <p:cNvSpPr txBox="1"/>
            <p:nvPr/>
          </p:nvSpPr>
          <p:spPr>
            <a:xfrm>
              <a:off x="7128901" y="3063857"/>
              <a:ext cx="1275990"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Diamond sea experience</a:t>
              </a:r>
            </a:p>
          </p:txBody>
        </p:sp>
        <p:pic>
          <p:nvPicPr>
            <p:cNvPr id="248" name="Picture 247"/>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789840" y="3334421"/>
              <a:ext cx="287855" cy="123229"/>
            </a:xfrm>
            <a:prstGeom prst="rect">
              <a:avLst/>
            </a:prstGeom>
          </p:spPr>
        </p:pic>
        <p:pic>
          <p:nvPicPr>
            <p:cNvPr id="249" name="Picture 248"/>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6797935" y="3490917"/>
              <a:ext cx="221066" cy="221066"/>
            </a:xfrm>
            <a:prstGeom prst="rect">
              <a:avLst/>
            </a:prstGeom>
          </p:spPr>
        </p:pic>
        <p:sp>
          <p:nvSpPr>
            <p:cNvPr id="250" name="TextBox 249"/>
            <p:cNvSpPr txBox="1"/>
            <p:nvPr/>
          </p:nvSpPr>
          <p:spPr>
            <a:xfrm>
              <a:off x="7113534" y="3573986"/>
              <a:ext cx="58990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Shipwrecks</a:t>
              </a:r>
            </a:p>
          </p:txBody>
        </p:sp>
        <p:sp>
          <p:nvSpPr>
            <p:cNvPr id="251" name="TextBox 250"/>
            <p:cNvSpPr txBox="1"/>
            <p:nvPr/>
          </p:nvSpPr>
          <p:spPr>
            <a:xfrm>
              <a:off x="7139323" y="3328141"/>
              <a:ext cx="743793"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Name Culture </a:t>
              </a:r>
            </a:p>
          </p:txBody>
        </p:sp>
        <p:pic>
          <p:nvPicPr>
            <p:cNvPr id="252" name="Picture 251"/>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839130" y="3746211"/>
              <a:ext cx="237464" cy="237464"/>
            </a:xfrm>
            <a:prstGeom prst="rect">
              <a:avLst/>
            </a:prstGeom>
          </p:spPr>
        </p:pic>
        <p:sp>
          <p:nvSpPr>
            <p:cNvPr id="253" name="TextBox 252"/>
            <p:cNvSpPr txBox="1"/>
            <p:nvPr/>
          </p:nvSpPr>
          <p:spPr>
            <a:xfrm>
              <a:off x="7157451" y="3814321"/>
              <a:ext cx="185948"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4x4</a:t>
              </a:r>
            </a:p>
          </p:txBody>
        </p:sp>
        <p:pic>
          <p:nvPicPr>
            <p:cNvPr id="255" name="Picture 254"/>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6808427" y="4016992"/>
              <a:ext cx="204096" cy="204096"/>
            </a:xfrm>
            <a:prstGeom prst="rect">
              <a:avLst/>
            </a:prstGeom>
          </p:spPr>
        </p:pic>
        <p:sp>
          <p:nvSpPr>
            <p:cNvPr id="256" name="TextBox 255"/>
            <p:cNvSpPr txBox="1"/>
            <p:nvPr/>
          </p:nvSpPr>
          <p:spPr>
            <a:xfrm>
              <a:off x="7139323" y="4052196"/>
              <a:ext cx="403957"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Flowers</a:t>
              </a:r>
            </a:p>
          </p:txBody>
        </p:sp>
        <p:sp>
          <p:nvSpPr>
            <p:cNvPr id="266" name="TextBox 265"/>
            <p:cNvSpPr txBox="1"/>
            <p:nvPr/>
          </p:nvSpPr>
          <p:spPr>
            <a:xfrm>
              <a:off x="7128901" y="2852113"/>
              <a:ext cx="545021"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Snorkeling</a:t>
              </a:r>
            </a:p>
          </p:txBody>
        </p:sp>
        <p:grpSp>
          <p:nvGrpSpPr>
            <p:cNvPr id="275" name="Group 274"/>
            <p:cNvGrpSpPr/>
            <p:nvPr/>
          </p:nvGrpSpPr>
          <p:grpSpPr>
            <a:xfrm>
              <a:off x="6823775" y="1173764"/>
              <a:ext cx="187774" cy="178092"/>
              <a:chOff x="4783071" y="5602164"/>
              <a:chExt cx="417466" cy="405938"/>
            </a:xfrm>
          </p:grpSpPr>
          <p:sp>
            <p:nvSpPr>
              <p:cNvPr id="276" name="Oval 275"/>
              <p:cNvSpPr/>
              <p:nvPr/>
            </p:nvSpPr>
            <p:spPr>
              <a:xfrm>
                <a:off x="4783071" y="5602164"/>
                <a:ext cx="417466" cy="405938"/>
              </a:xfrm>
              <a:prstGeom prst="ellipse">
                <a:avLst/>
              </a:prstGeom>
              <a:solidFill>
                <a:srgbClr val="00FFCC"/>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568" dirty="0" err="1">
                  <a:solidFill>
                    <a:schemeClr val="tx1"/>
                  </a:solidFill>
                </a:endParaRPr>
              </a:p>
            </p:txBody>
          </p:sp>
          <p:pic>
            <p:nvPicPr>
              <p:cNvPr id="277" name="Picture 276"/>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792237" y="5616452"/>
                <a:ext cx="366612" cy="366612"/>
              </a:xfrm>
              <a:prstGeom prst="rect">
                <a:avLst/>
              </a:prstGeom>
            </p:spPr>
          </p:pic>
        </p:grpSp>
        <p:sp>
          <p:nvSpPr>
            <p:cNvPr id="278" name="TextBox 277"/>
            <p:cNvSpPr txBox="1"/>
            <p:nvPr/>
          </p:nvSpPr>
          <p:spPr>
            <a:xfrm>
              <a:off x="7138541" y="1196607"/>
              <a:ext cx="189795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Priority Small Harbours Development</a:t>
              </a:r>
            </a:p>
          </p:txBody>
        </p:sp>
      </p:grpSp>
      <p:grpSp>
        <p:nvGrpSpPr>
          <p:cNvPr id="20" name="Group 19"/>
          <p:cNvGrpSpPr/>
          <p:nvPr/>
        </p:nvGrpSpPr>
        <p:grpSpPr>
          <a:xfrm>
            <a:off x="158621" y="749635"/>
            <a:ext cx="6368638" cy="5508815"/>
            <a:chOff x="227743" y="829784"/>
            <a:chExt cx="6498380" cy="5621041"/>
          </a:xfrm>
        </p:grpSpPr>
        <p:grpSp>
          <p:nvGrpSpPr>
            <p:cNvPr id="234" name="Group 233"/>
            <p:cNvGrpSpPr/>
            <p:nvPr/>
          </p:nvGrpSpPr>
          <p:grpSpPr>
            <a:xfrm>
              <a:off x="754537" y="5790908"/>
              <a:ext cx="533281" cy="495535"/>
              <a:chOff x="752211" y="5790077"/>
              <a:chExt cx="533281" cy="495535"/>
            </a:xfrm>
          </p:grpSpPr>
          <p:grpSp>
            <p:nvGrpSpPr>
              <p:cNvPr id="218" name="Group 217"/>
              <p:cNvGrpSpPr/>
              <p:nvPr/>
            </p:nvGrpSpPr>
            <p:grpSpPr>
              <a:xfrm rot="16714924">
                <a:off x="919082" y="5850180"/>
                <a:ext cx="406527" cy="326292"/>
                <a:chOff x="5672167" y="5893659"/>
                <a:chExt cx="406527" cy="326292"/>
              </a:xfrm>
            </p:grpSpPr>
            <p:cxnSp>
              <p:nvCxnSpPr>
                <p:cNvPr id="220" name="Straight Connector 219"/>
                <p:cNvCxnSpPr>
                  <a:stCxn id="210" idx="0"/>
                </p:cNvCxnSpPr>
                <p:nvPr/>
              </p:nvCxnSpPr>
              <p:spPr>
                <a:xfrm rot="4885076" flipH="1">
                  <a:off x="5784777" y="5926035"/>
                  <a:ext cx="272343" cy="31549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19" name="Picture 218"/>
                <p:cNvPicPr/>
                <p:nvPr/>
              </p:nvPicPr>
              <p:blipFill>
                <a:blip r:embed="rId11" cstate="email">
                  <a:extLst>
                    <a:ext uri="{28A0092B-C50C-407E-A947-70E740481C1C}">
                      <a14:useLocalDpi xmlns:a14="http://schemas.microsoft.com/office/drawing/2010/main"/>
                    </a:ext>
                  </a:extLst>
                </a:blip>
                <a:srcRect r="-345"/>
                <a:stretch>
                  <a:fillRect/>
                </a:stretch>
              </p:blipFill>
              <p:spPr bwMode="auto">
                <a:xfrm rot="1742522" flipH="1">
                  <a:off x="5672167" y="5893659"/>
                  <a:ext cx="93069" cy="100346"/>
                </a:xfrm>
                <a:prstGeom prst="rect">
                  <a:avLst/>
                </a:prstGeom>
                <a:noFill/>
              </p:spPr>
            </p:pic>
          </p:grpSp>
          <p:grpSp>
            <p:nvGrpSpPr>
              <p:cNvPr id="221" name="Group 220"/>
              <p:cNvGrpSpPr/>
              <p:nvPr/>
            </p:nvGrpSpPr>
            <p:grpSpPr>
              <a:xfrm rot="18651635">
                <a:off x="780760" y="5761528"/>
                <a:ext cx="416846" cy="473944"/>
                <a:chOff x="5672167" y="5844399"/>
                <a:chExt cx="416846" cy="473944"/>
              </a:xfrm>
            </p:grpSpPr>
            <p:cxnSp>
              <p:nvCxnSpPr>
                <p:cNvPr id="222" name="Straight Connector 221"/>
                <p:cNvCxnSpPr>
                  <a:stCxn id="210" idx="0"/>
                </p:cNvCxnSpPr>
                <p:nvPr/>
              </p:nvCxnSpPr>
              <p:spPr>
                <a:xfrm rot="2948365" flipH="1">
                  <a:off x="5744240" y="5973570"/>
                  <a:ext cx="473944" cy="215602"/>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25" name="Picture 224"/>
                <p:cNvPicPr/>
                <p:nvPr/>
              </p:nvPicPr>
              <p:blipFill>
                <a:blip r:embed="rId11" cstate="email">
                  <a:extLst>
                    <a:ext uri="{28A0092B-C50C-407E-A947-70E740481C1C}">
                      <a14:useLocalDpi xmlns:a14="http://schemas.microsoft.com/office/drawing/2010/main"/>
                    </a:ext>
                  </a:extLst>
                </a:blip>
                <a:srcRect r="-345"/>
                <a:stretch>
                  <a:fillRect/>
                </a:stretch>
              </p:blipFill>
              <p:spPr bwMode="auto">
                <a:xfrm rot="1742522" flipH="1">
                  <a:off x="5672167" y="5893659"/>
                  <a:ext cx="93069" cy="100346"/>
                </a:xfrm>
                <a:prstGeom prst="rect">
                  <a:avLst/>
                </a:prstGeom>
                <a:noFill/>
              </p:spPr>
            </p:pic>
          </p:grpSp>
          <p:grpSp>
            <p:nvGrpSpPr>
              <p:cNvPr id="226" name="Group 225"/>
              <p:cNvGrpSpPr/>
              <p:nvPr/>
            </p:nvGrpSpPr>
            <p:grpSpPr>
              <a:xfrm rot="17561215">
                <a:off x="808589" y="5832605"/>
                <a:ext cx="477110" cy="428904"/>
                <a:chOff x="5672167" y="5888206"/>
                <a:chExt cx="477110" cy="428904"/>
              </a:xfrm>
            </p:grpSpPr>
            <p:cxnSp>
              <p:nvCxnSpPr>
                <p:cNvPr id="227" name="Straight Connector 226"/>
                <p:cNvCxnSpPr>
                  <a:stCxn id="210" idx="0"/>
                  <a:endCxn id="232" idx="1"/>
                </p:cNvCxnSpPr>
                <p:nvPr/>
              </p:nvCxnSpPr>
              <p:spPr>
                <a:xfrm rot="4038785" flipH="1">
                  <a:off x="5775055" y="5942888"/>
                  <a:ext cx="428904" cy="31954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32" name="Picture 231"/>
                <p:cNvPicPr/>
                <p:nvPr/>
              </p:nvPicPr>
              <p:blipFill>
                <a:blip r:embed="rId11" cstate="email">
                  <a:extLst>
                    <a:ext uri="{28A0092B-C50C-407E-A947-70E740481C1C}">
                      <a14:useLocalDpi xmlns:a14="http://schemas.microsoft.com/office/drawing/2010/main"/>
                    </a:ext>
                  </a:extLst>
                </a:blip>
                <a:srcRect r="-345"/>
                <a:stretch>
                  <a:fillRect/>
                </a:stretch>
              </p:blipFill>
              <p:spPr bwMode="auto">
                <a:xfrm rot="1742522" flipH="1">
                  <a:off x="5672167" y="5893659"/>
                  <a:ext cx="93069" cy="100346"/>
                </a:xfrm>
                <a:prstGeom prst="rect">
                  <a:avLst/>
                </a:prstGeom>
                <a:noFill/>
              </p:spPr>
            </p:pic>
          </p:grpSp>
        </p:grpSp>
        <p:cxnSp>
          <p:nvCxnSpPr>
            <p:cNvPr id="362" name="Straight Connector 361"/>
            <p:cNvCxnSpPr>
              <a:stCxn id="99" idx="19"/>
              <a:endCxn id="363" idx="0"/>
            </p:cNvCxnSpPr>
            <p:nvPr/>
          </p:nvCxnSpPr>
          <p:spPr>
            <a:xfrm flipH="1">
              <a:off x="1498981" y="5936842"/>
              <a:ext cx="46748" cy="42738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p:cNvCxnSpPr>
              <a:endCxn id="367" idx="0"/>
            </p:cNvCxnSpPr>
            <p:nvPr/>
          </p:nvCxnSpPr>
          <p:spPr>
            <a:xfrm flipH="1">
              <a:off x="2012462" y="5520315"/>
              <a:ext cx="257343" cy="70233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343" name="Group 342"/>
            <p:cNvGrpSpPr/>
            <p:nvPr/>
          </p:nvGrpSpPr>
          <p:grpSpPr>
            <a:xfrm rot="584506">
              <a:off x="1222249" y="5909439"/>
              <a:ext cx="353172" cy="426161"/>
              <a:chOff x="5940042" y="4440176"/>
              <a:chExt cx="264613" cy="426161"/>
            </a:xfrm>
          </p:grpSpPr>
          <p:cxnSp>
            <p:nvCxnSpPr>
              <p:cNvPr id="344" name="Straight Connector 343"/>
              <p:cNvCxnSpPr>
                <a:stCxn id="68" idx="4"/>
                <a:endCxn id="345" idx="2"/>
              </p:cNvCxnSpPr>
              <p:nvPr/>
            </p:nvCxnSpPr>
            <p:spPr>
              <a:xfrm rot="21015494" flipH="1">
                <a:off x="5949806" y="4440176"/>
                <a:ext cx="254849" cy="40010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45" name="Picture 344"/>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rot="21312157">
                <a:off x="5940042" y="4775754"/>
                <a:ext cx="68252" cy="90583"/>
              </a:xfrm>
              <a:prstGeom prst="rect">
                <a:avLst/>
              </a:prstGeom>
            </p:spPr>
          </p:pic>
        </p:grpSp>
        <p:grpSp>
          <p:nvGrpSpPr>
            <p:cNvPr id="354" name="Group 353"/>
            <p:cNvGrpSpPr/>
            <p:nvPr/>
          </p:nvGrpSpPr>
          <p:grpSpPr>
            <a:xfrm rot="20146234">
              <a:off x="1172970" y="6017642"/>
              <a:ext cx="365401" cy="383202"/>
              <a:chOff x="5938620" y="4559878"/>
              <a:chExt cx="273775" cy="383202"/>
            </a:xfrm>
          </p:grpSpPr>
          <p:cxnSp>
            <p:nvCxnSpPr>
              <p:cNvPr id="355" name="Straight Connector 354"/>
              <p:cNvCxnSpPr>
                <a:stCxn id="55" idx="23"/>
              </p:cNvCxnSpPr>
              <p:nvPr/>
            </p:nvCxnSpPr>
            <p:spPr>
              <a:xfrm rot="1453766" flipH="1">
                <a:off x="6001081" y="4559878"/>
                <a:ext cx="211314" cy="383202"/>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56" name="Picture 355"/>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rot="1974445">
                <a:off x="5938620" y="4809600"/>
                <a:ext cx="68252" cy="90583"/>
              </a:xfrm>
              <a:prstGeom prst="rect">
                <a:avLst/>
              </a:prstGeom>
            </p:spPr>
          </p:pic>
        </p:grpSp>
        <p:cxnSp>
          <p:nvCxnSpPr>
            <p:cNvPr id="358" name="Straight Connector 357"/>
            <p:cNvCxnSpPr>
              <a:stCxn id="55" idx="23"/>
              <a:endCxn id="359" idx="0"/>
            </p:cNvCxnSpPr>
            <p:nvPr/>
          </p:nvCxnSpPr>
          <p:spPr>
            <a:xfrm flipH="1">
              <a:off x="1389310" y="6000533"/>
              <a:ext cx="145395" cy="308781"/>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359" name="Picture 358"/>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rot="359881">
              <a:off x="1339226" y="6309076"/>
              <a:ext cx="91094" cy="86832"/>
            </a:xfrm>
            <a:prstGeom prst="rect">
              <a:avLst/>
            </a:prstGeom>
          </p:spPr>
        </p:pic>
        <p:grpSp>
          <p:nvGrpSpPr>
            <p:cNvPr id="139" name="Group 138"/>
            <p:cNvGrpSpPr/>
            <p:nvPr/>
          </p:nvGrpSpPr>
          <p:grpSpPr>
            <a:xfrm>
              <a:off x="1238119" y="5894216"/>
              <a:ext cx="433161" cy="386880"/>
              <a:chOff x="1238119" y="5894216"/>
              <a:chExt cx="433161" cy="386880"/>
            </a:xfrm>
          </p:grpSpPr>
          <p:cxnSp>
            <p:nvCxnSpPr>
              <p:cNvPr id="323" name="Straight Connector 322"/>
              <p:cNvCxnSpPr>
                <a:stCxn id="69" idx="0"/>
              </p:cNvCxnSpPr>
              <p:nvPr/>
            </p:nvCxnSpPr>
            <p:spPr>
              <a:xfrm flipH="1">
                <a:off x="1375499" y="5932187"/>
                <a:ext cx="165005" cy="22867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17" name="Group 116"/>
              <p:cNvGrpSpPr/>
              <p:nvPr/>
            </p:nvGrpSpPr>
            <p:grpSpPr>
              <a:xfrm>
                <a:off x="1238119" y="5894216"/>
                <a:ext cx="433161" cy="386880"/>
                <a:chOff x="1238119" y="5894216"/>
                <a:chExt cx="433161" cy="386880"/>
              </a:xfrm>
            </p:grpSpPr>
            <p:pic>
              <p:nvPicPr>
                <p:cNvPr id="331" name="Picture 330"/>
                <p:cNvPicPr/>
                <p:nvPr/>
              </p:nvPicPr>
              <p:blipFill>
                <a:blip r:embed="rId11" cstate="email">
                  <a:extLst>
                    <a:ext uri="{28A0092B-C50C-407E-A947-70E740481C1C}">
                      <a14:useLocalDpi xmlns:a14="http://schemas.microsoft.com/office/drawing/2010/main"/>
                    </a:ext>
                  </a:extLst>
                </a:blip>
                <a:srcRect r="-345"/>
                <a:stretch>
                  <a:fillRect/>
                </a:stretch>
              </p:blipFill>
              <p:spPr bwMode="auto">
                <a:xfrm rot="1541540">
                  <a:off x="1379343" y="6133441"/>
                  <a:ext cx="103757" cy="100346"/>
                </a:xfrm>
                <a:prstGeom prst="rect">
                  <a:avLst/>
                </a:prstGeom>
                <a:noFill/>
              </p:spPr>
            </p:pic>
            <p:grpSp>
              <p:nvGrpSpPr>
                <p:cNvPr id="116" name="Group 115"/>
                <p:cNvGrpSpPr/>
                <p:nvPr/>
              </p:nvGrpSpPr>
              <p:grpSpPr>
                <a:xfrm rot="955763">
                  <a:off x="1238119" y="5894216"/>
                  <a:ext cx="433161" cy="386880"/>
                  <a:chOff x="1269420" y="5870686"/>
                  <a:chExt cx="433161" cy="386880"/>
                </a:xfrm>
              </p:grpSpPr>
              <p:grpSp>
                <p:nvGrpSpPr>
                  <p:cNvPr id="285" name="Group 284"/>
                  <p:cNvGrpSpPr/>
                  <p:nvPr/>
                </p:nvGrpSpPr>
                <p:grpSpPr>
                  <a:xfrm rot="2873490">
                    <a:off x="1295251" y="5844855"/>
                    <a:ext cx="324188" cy="375849"/>
                    <a:chOff x="1522171" y="6162243"/>
                    <a:chExt cx="324188" cy="375849"/>
                  </a:xfrm>
                </p:grpSpPr>
                <p:grpSp>
                  <p:nvGrpSpPr>
                    <p:cNvPr id="286" name="Group 285"/>
                    <p:cNvGrpSpPr/>
                    <p:nvPr/>
                  </p:nvGrpSpPr>
                  <p:grpSpPr>
                    <a:xfrm rot="16458751">
                      <a:off x="1521502" y="6213235"/>
                      <a:ext cx="325526" cy="324188"/>
                      <a:chOff x="821708" y="5836773"/>
                      <a:chExt cx="325526" cy="324188"/>
                    </a:xfrm>
                  </p:grpSpPr>
                  <p:grpSp>
                    <p:nvGrpSpPr>
                      <p:cNvPr id="290" name="Group 289"/>
                      <p:cNvGrpSpPr/>
                      <p:nvPr/>
                    </p:nvGrpSpPr>
                    <p:grpSpPr>
                      <a:xfrm rot="16714924">
                        <a:off x="858553" y="5872280"/>
                        <a:ext cx="280896" cy="296466"/>
                        <a:chOff x="5709469" y="5787681"/>
                        <a:chExt cx="280896" cy="296466"/>
                      </a:xfrm>
                    </p:grpSpPr>
                    <p:cxnSp>
                      <p:nvCxnSpPr>
                        <p:cNvPr id="297" name="Straight Connector 296"/>
                        <p:cNvCxnSpPr>
                          <a:stCxn id="68" idx="4"/>
                        </p:cNvCxnSpPr>
                        <p:nvPr/>
                      </p:nvCxnSpPr>
                      <p:spPr>
                        <a:xfrm rot="6197072" flipH="1">
                          <a:off x="5819588" y="5913370"/>
                          <a:ext cx="82858" cy="258696"/>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98" name="Picture 297"/>
                        <p:cNvPicPr/>
                        <p:nvPr/>
                      </p:nvPicPr>
                      <p:blipFill>
                        <a:blip r:embed="rId11" cstate="email">
                          <a:extLst>
                            <a:ext uri="{28A0092B-C50C-407E-A947-70E740481C1C}">
                              <a14:useLocalDpi xmlns:a14="http://schemas.microsoft.com/office/drawing/2010/main"/>
                            </a:ext>
                          </a:extLst>
                        </a:blip>
                        <a:srcRect r="-345"/>
                        <a:stretch>
                          <a:fillRect/>
                        </a:stretch>
                      </p:blipFill>
                      <p:spPr bwMode="auto">
                        <a:xfrm rot="4809659" flipH="1">
                          <a:off x="5713107" y="5784043"/>
                          <a:ext cx="93069" cy="100346"/>
                        </a:xfrm>
                        <a:prstGeom prst="rect">
                          <a:avLst/>
                        </a:prstGeom>
                        <a:noFill/>
                      </p:spPr>
                    </p:pic>
                  </p:grpSp>
                  <p:grpSp>
                    <p:nvGrpSpPr>
                      <p:cNvPr id="291" name="Group 290"/>
                      <p:cNvGrpSpPr/>
                      <p:nvPr/>
                    </p:nvGrpSpPr>
                    <p:grpSpPr>
                      <a:xfrm rot="18651635">
                        <a:off x="845976" y="5812505"/>
                        <a:ext cx="274028" cy="322563"/>
                        <a:chOff x="5758215" y="5899238"/>
                        <a:chExt cx="274028" cy="322563"/>
                      </a:xfrm>
                    </p:grpSpPr>
                    <p:cxnSp>
                      <p:nvCxnSpPr>
                        <p:cNvPr id="295" name="Straight Connector 294"/>
                        <p:cNvCxnSpPr>
                          <a:stCxn id="68" idx="4"/>
                        </p:cNvCxnSpPr>
                        <p:nvPr/>
                      </p:nvCxnSpPr>
                      <p:spPr>
                        <a:xfrm rot="4260361" flipH="1">
                          <a:off x="5802217" y="5991776"/>
                          <a:ext cx="278267" cy="18178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96" name="Picture 295"/>
                        <p:cNvPicPr/>
                        <p:nvPr/>
                      </p:nvPicPr>
                      <p:blipFill>
                        <a:blip r:embed="rId11" cstate="email">
                          <a:extLst>
                            <a:ext uri="{28A0092B-C50C-407E-A947-70E740481C1C}">
                              <a14:useLocalDpi xmlns:a14="http://schemas.microsoft.com/office/drawing/2010/main"/>
                            </a:ext>
                          </a:extLst>
                        </a:blip>
                        <a:srcRect r="-345"/>
                        <a:stretch>
                          <a:fillRect/>
                        </a:stretch>
                      </p:blipFill>
                      <p:spPr bwMode="auto">
                        <a:xfrm rot="4265149" flipH="1">
                          <a:off x="5761853" y="5895600"/>
                          <a:ext cx="93069" cy="100346"/>
                        </a:xfrm>
                        <a:prstGeom prst="rect">
                          <a:avLst/>
                        </a:prstGeom>
                        <a:noFill/>
                      </p:spPr>
                    </p:pic>
                  </p:grpSp>
                  <p:pic>
                    <p:nvPicPr>
                      <p:cNvPr id="294" name="Picture 293"/>
                      <p:cNvPicPr/>
                      <p:nvPr/>
                    </p:nvPicPr>
                    <p:blipFill>
                      <a:blip r:embed="rId11" cstate="email">
                        <a:extLst>
                          <a:ext uri="{28A0092B-C50C-407E-A947-70E740481C1C}">
                            <a14:useLocalDpi xmlns:a14="http://schemas.microsoft.com/office/drawing/2010/main"/>
                          </a:ext>
                        </a:extLst>
                      </a:blip>
                      <a:srcRect r="-345"/>
                      <a:stretch>
                        <a:fillRect/>
                      </a:stretch>
                    </p:blipFill>
                    <p:spPr bwMode="auto">
                      <a:xfrm rot="1339375" flipH="1">
                        <a:off x="842318" y="5967726"/>
                        <a:ext cx="93069" cy="100346"/>
                      </a:xfrm>
                      <a:prstGeom prst="rect">
                        <a:avLst/>
                      </a:prstGeom>
                      <a:noFill/>
                    </p:spPr>
                  </p:pic>
                </p:grpSp>
                <p:grpSp>
                  <p:nvGrpSpPr>
                    <p:cNvPr id="287" name="Group 286"/>
                    <p:cNvGrpSpPr/>
                    <p:nvPr/>
                  </p:nvGrpSpPr>
                  <p:grpSpPr>
                    <a:xfrm>
                      <a:off x="1548291" y="6162243"/>
                      <a:ext cx="93069" cy="343404"/>
                      <a:chOff x="1548291" y="6162243"/>
                      <a:chExt cx="93069" cy="343404"/>
                    </a:xfrm>
                  </p:grpSpPr>
                  <p:cxnSp>
                    <p:nvCxnSpPr>
                      <p:cNvPr id="288" name="Straight Connector 287"/>
                      <p:cNvCxnSpPr>
                        <a:stCxn id="68" idx="4"/>
                      </p:cNvCxnSpPr>
                      <p:nvPr/>
                    </p:nvCxnSpPr>
                    <p:spPr>
                      <a:xfrm rot="17770747" flipH="1">
                        <a:off x="1467509" y="6257932"/>
                        <a:ext cx="252945" cy="61567"/>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89" name="Picture 288"/>
                      <p:cNvPicPr/>
                      <p:nvPr/>
                    </p:nvPicPr>
                    <p:blipFill>
                      <a:blip r:embed="rId11" cstate="email">
                        <a:extLst>
                          <a:ext uri="{28A0092B-C50C-407E-A947-70E740481C1C}">
                            <a14:useLocalDpi xmlns:a14="http://schemas.microsoft.com/office/drawing/2010/main"/>
                          </a:ext>
                        </a:extLst>
                      </a:blip>
                      <a:srcRect r="-345"/>
                      <a:stretch>
                        <a:fillRect/>
                      </a:stretch>
                    </p:blipFill>
                    <p:spPr bwMode="auto">
                      <a:xfrm rot="19930894" flipH="1">
                        <a:off x="1548291" y="6405301"/>
                        <a:ext cx="93069" cy="100346"/>
                      </a:xfrm>
                      <a:prstGeom prst="rect">
                        <a:avLst/>
                      </a:prstGeom>
                      <a:noFill/>
                    </p:spPr>
                  </p:pic>
                </p:grpSp>
              </p:grpSp>
              <p:pic>
                <p:nvPicPr>
                  <p:cNvPr id="334" name="Picture 333"/>
                  <p:cNvPicPr/>
                  <p:nvPr/>
                </p:nvPicPr>
                <p:blipFill>
                  <a:blip r:embed="rId11" cstate="email">
                    <a:extLst>
                      <a:ext uri="{28A0092B-C50C-407E-A947-70E740481C1C}">
                        <a14:useLocalDpi xmlns:a14="http://schemas.microsoft.com/office/drawing/2010/main"/>
                      </a:ext>
                    </a:extLst>
                  </a:blip>
                  <a:srcRect r="-345"/>
                  <a:stretch>
                    <a:fillRect/>
                  </a:stretch>
                </p:blipFill>
                <p:spPr bwMode="auto">
                  <a:xfrm rot="1541540">
                    <a:off x="1566026" y="6115301"/>
                    <a:ext cx="103757" cy="100346"/>
                  </a:xfrm>
                  <a:prstGeom prst="rect">
                    <a:avLst/>
                  </a:prstGeom>
                  <a:noFill/>
                </p:spPr>
              </p:pic>
              <p:pic>
                <p:nvPicPr>
                  <p:cNvPr id="335" name="Picture 334"/>
                  <p:cNvPicPr/>
                  <p:nvPr/>
                </p:nvPicPr>
                <p:blipFill>
                  <a:blip r:embed="rId11" cstate="email">
                    <a:extLst>
                      <a:ext uri="{28A0092B-C50C-407E-A947-70E740481C1C}">
                        <a14:useLocalDpi xmlns:a14="http://schemas.microsoft.com/office/drawing/2010/main"/>
                      </a:ext>
                    </a:extLst>
                  </a:blip>
                  <a:srcRect r="-345"/>
                  <a:stretch>
                    <a:fillRect/>
                  </a:stretch>
                </p:blipFill>
                <p:spPr bwMode="auto">
                  <a:xfrm rot="1541540">
                    <a:off x="1512007" y="6157220"/>
                    <a:ext cx="103757" cy="100346"/>
                  </a:xfrm>
                  <a:prstGeom prst="rect">
                    <a:avLst/>
                  </a:prstGeom>
                  <a:noFill/>
                </p:spPr>
              </p:pic>
              <p:pic>
                <p:nvPicPr>
                  <p:cNvPr id="336" name="Picture 335"/>
                  <p:cNvPicPr/>
                  <p:nvPr/>
                </p:nvPicPr>
                <p:blipFill>
                  <a:blip r:embed="rId11" cstate="email">
                    <a:extLst>
                      <a:ext uri="{28A0092B-C50C-407E-A947-70E740481C1C}">
                        <a14:useLocalDpi xmlns:a14="http://schemas.microsoft.com/office/drawing/2010/main"/>
                      </a:ext>
                    </a:extLst>
                  </a:blip>
                  <a:srcRect r="-345"/>
                  <a:stretch>
                    <a:fillRect/>
                  </a:stretch>
                </p:blipFill>
                <p:spPr bwMode="auto">
                  <a:xfrm>
                    <a:off x="1598824" y="6052747"/>
                    <a:ext cx="103757" cy="100346"/>
                  </a:xfrm>
                  <a:prstGeom prst="rect">
                    <a:avLst/>
                  </a:prstGeom>
                  <a:noFill/>
                </p:spPr>
              </p:pic>
            </p:grpSp>
          </p:grpSp>
          <p:cxnSp>
            <p:nvCxnSpPr>
              <p:cNvPr id="350" name="Straight Connector 349"/>
              <p:cNvCxnSpPr>
                <a:stCxn id="68" idx="4"/>
                <a:endCxn id="336" idx="1"/>
              </p:cNvCxnSpPr>
              <p:nvPr/>
            </p:nvCxnSpPr>
            <p:spPr>
              <a:xfrm flipH="1">
                <a:off x="1552543" y="5910731"/>
                <a:ext cx="24995" cy="24519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p:cNvCxnSpPr>
                <a:stCxn id="68" idx="4"/>
                <a:endCxn id="336" idx="0"/>
              </p:cNvCxnSpPr>
              <p:nvPr/>
            </p:nvCxnSpPr>
            <p:spPr>
              <a:xfrm>
                <a:off x="1577538" y="5910731"/>
                <a:ext cx="38662" cy="211186"/>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5" name="Isosceles Triangle 14"/>
            <p:cNvSpPr/>
            <p:nvPr/>
          </p:nvSpPr>
          <p:spPr>
            <a:xfrm>
              <a:off x="788597" y="4178065"/>
              <a:ext cx="124207" cy="228280"/>
            </a:xfrm>
            <a:prstGeom prst="triangle">
              <a:avLst>
                <a:gd name="adj" fmla="val 1053"/>
              </a:avLst>
            </a:prstGeom>
            <a:solidFill>
              <a:srgbClr val="97D2FF"/>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568" dirty="0" err="1">
                <a:solidFill>
                  <a:schemeClr val="tx1"/>
                </a:solidFill>
              </a:endParaRPr>
            </a:p>
          </p:txBody>
        </p:sp>
        <p:sp>
          <p:nvSpPr>
            <p:cNvPr id="8" name="Rectangle 7"/>
            <p:cNvSpPr/>
            <p:nvPr/>
          </p:nvSpPr>
          <p:spPr>
            <a:xfrm>
              <a:off x="5399532" y="4331947"/>
              <a:ext cx="551354" cy="119268"/>
            </a:xfrm>
            <a:prstGeom prst="rect">
              <a:avLst/>
            </a:prstGeom>
            <a:solidFill>
              <a:srgbClr val="97D2FF"/>
            </a:solidFill>
            <a:ln w="952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568" dirty="0" err="1">
                <a:solidFill>
                  <a:schemeClr val="tx1"/>
                </a:solidFill>
              </a:endParaRPr>
            </a:p>
          </p:txBody>
        </p:sp>
        <p:grpSp>
          <p:nvGrpSpPr>
            <p:cNvPr id="25" name="Group 24"/>
            <p:cNvGrpSpPr/>
            <p:nvPr/>
          </p:nvGrpSpPr>
          <p:grpSpPr>
            <a:xfrm>
              <a:off x="427386" y="829784"/>
              <a:ext cx="6235974" cy="5289141"/>
              <a:chOff x="418853" y="813267"/>
              <a:chExt cx="6111477" cy="5183854"/>
            </a:xfrm>
          </p:grpSpPr>
          <p:grpSp>
            <p:nvGrpSpPr>
              <p:cNvPr id="36" name="Group 35"/>
              <p:cNvGrpSpPr/>
              <p:nvPr/>
            </p:nvGrpSpPr>
            <p:grpSpPr>
              <a:xfrm>
                <a:off x="470930" y="813267"/>
                <a:ext cx="5868878" cy="5183854"/>
                <a:chOff x="1093788" y="446088"/>
                <a:chExt cx="6664324" cy="5886452"/>
              </a:xfrm>
              <a:solidFill>
                <a:srgbClr val="70BB65"/>
              </a:solidFill>
            </p:grpSpPr>
            <p:sp>
              <p:nvSpPr>
                <p:cNvPr id="47" name="Freeform 31"/>
                <p:cNvSpPr>
                  <a:spLocks/>
                </p:cNvSpPr>
                <p:nvPr/>
              </p:nvSpPr>
              <p:spPr bwMode="auto">
                <a:xfrm>
                  <a:off x="6127749" y="2533650"/>
                  <a:ext cx="1630363" cy="1985963"/>
                </a:xfrm>
                <a:custGeom>
                  <a:avLst/>
                  <a:gdLst>
                    <a:gd name="T0" fmla="*/ 325 w 1027"/>
                    <a:gd name="T1" fmla="*/ 1217 h 1251"/>
                    <a:gd name="T2" fmla="*/ 310 w 1027"/>
                    <a:gd name="T3" fmla="*/ 1188 h 1251"/>
                    <a:gd name="T4" fmla="*/ 290 w 1027"/>
                    <a:gd name="T5" fmla="*/ 1175 h 1251"/>
                    <a:gd name="T6" fmla="*/ 271 w 1027"/>
                    <a:gd name="T7" fmla="*/ 1156 h 1251"/>
                    <a:gd name="T8" fmla="*/ 250 w 1027"/>
                    <a:gd name="T9" fmla="*/ 1155 h 1251"/>
                    <a:gd name="T10" fmla="*/ 231 w 1027"/>
                    <a:gd name="T11" fmla="*/ 1139 h 1251"/>
                    <a:gd name="T12" fmla="*/ 209 w 1027"/>
                    <a:gd name="T13" fmla="*/ 1132 h 1251"/>
                    <a:gd name="T14" fmla="*/ 173 w 1027"/>
                    <a:gd name="T15" fmla="*/ 1121 h 1251"/>
                    <a:gd name="T16" fmla="*/ 81 w 1027"/>
                    <a:gd name="T17" fmla="*/ 1111 h 1251"/>
                    <a:gd name="T18" fmla="*/ 85 w 1027"/>
                    <a:gd name="T19" fmla="*/ 1066 h 1251"/>
                    <a:gd name="T20" fmla="*/ 73 w 1027"/>
                    <a:gd name="T21" fmla="*/ 1010 h 1251"/>
                    <a:gd name="T22" fmla="*/ 60 w 1027"/>
                    <a:gd name="T23" fmla="*/ 983 h 1251"/>
                    <a:gd name="T24" fmla="*/ 56 w 1027"/>
                    <a:gd name="T25" fmla="*/ 946 h 1251"/>
                    <a:gd name="T26" fmla="*/ 75 w 1027"/>
                    <a:gd name="T27" fmla="*/ 906 h 1251"/>
                    <a:gd name="T28" fmla="*/ 66 w 1027"/>
                    <a:gd name="T29" fmla="*/ 878 h 1251"/>
                    <a:gd name="T30" fmla="*/ 71 w 1027"/>
                    <a:gd name="T31" fmla="*/ 842 h 1251"/>
                    <a:gd name="T32" fmla="*/ 107 w 1027"/>
                    <a:gd name="T33" fmla="*/ 819 h 1251"/>
                    <a:gd name="T34" fmla="*/ 111 w 1027"/>
                    <a:gd name="T35" fmla="*/ 786 h 1251"/>
                    <a:gd name="T36" fmla="*/ 137 w 1027"/>
                    <a:gd name="T37" fmla="*/ 759 h 1251"/>
                    <a:gd name="T38" fmla="*/ 145 w 1027"/>
                    <a:gd name="T39" fmla="*/ 720 h 1251"/>
                    <a:gd name="T40" fmla="*/ 122 w 1027"/>
                    <a:gd name="T41" fmla="*/ 690 h 1251"/>
                    <a:gd name="T42" fmla="*/ 98 w 1027"/>
                    <a:gd name="T43" fmla="*/ 661 h 1251"/>
                    <a:gd name="T44" fmla="*/ 71 w 1027"/>
                    <a:gd name="T45" fmla="*/ 631 h 1251"/>
                    <a:gd name="T46" fmla="*/ 47 w 1027"/>
                    <a:gd name="T47" fmla="*/ 612 h 1251"/>
                    <a:gd name="T48" fmla="*/ 19 w 1027"/>
                    <a:gd name="T49" fmla="*/ 595 h 1251"/>
                    <a:gd name="T50" fmla="*/ 13 w 1027"/>
                    <a:gd name="T51" fmla="*/ 569 h 1251"/>
                    <a:gd name="T52" fmla="*/ 19 w 1027"/>
                    <a:gd name="T53" fmla="*/ 528 h 1251"/>
                    <a:gd name="T54" fmla="*/ 150 w 1027"/>
                    <a:gd name="T55" fmla="*/ 433 h 1251"/>
                    <a:gd name="T56" fmla="*/ 203 w 1027"/>
                    <a:gd name="T57" fmla="*/ 324 h 1251"/>
                    <a:gd name="T58" fmla="*/ 216 w 1027"/>
                    <a:gd name="T59" fmla="*/ 285 h 1251"/>
                    <a:gd name="T60" fmla="*/ 218 w 1027"/>
                    <a:gd name="T61" fmla="*/ 236 h 1251"/>
                    <a:gd name="T62" fmla="*/ 212 w 1027"/>
                    <a:gd name="T63" fmla="*/ 193 h 1251"/>
                    <a:gd name="T64" fmla="*/ 265 w 1027"/>
                    <a:gd name="T65" fmla="*/ 162 h 1251"/>
                    <a:gd name="T66" fmla="*/ 352 w 1027"/>
                    <a:gd name="T67" fmla="*/ 164 h 1251"/>
                    <a:gd name="T68" fmla="*/ 421 w 1027"/>
                    <a:gd name="T69" fmla="*/ 145 h 1251"/>
                    <a:gd name="T70" fmla="*/ 487 w 1027"/>
                    <a:gd name="T71" fmla="*/ 149 h 1251"/>
                    <a:gd name="T72" fmla="*/ 508 w 1027"/>
                    <a:gd name="T73" fmla="*/ 153 h 1251"/>
                    <a:gd name="T74" fmla="*/ 538 w 1027"/>
                    <a:gd name="T75" fmla="*/ 161 h 1251"/>
                    <a:gd name="T76" fmla="*/ 592 w 1027"/>
                    <a:gd name="T77" fmla="*/ 153 h 1251"/>
                    <a:gd name="T78" fmla="*/ 794 w 1027"/>
                    <a:gd name="T79" fmla="*/ 104 h 1251"/>
                    <a:gd name="T80" fmla="*/ 827 w 1027"/>
                    <a:gd name="T81" fmla="*/ 2 h 1251"/>
                    <a:gd name="T82" fmla="*/ 869 w 1027"/>
                    <a:gd name="T83" fmla="*/ 14 h 1251"/>
                    <a:gd name="T84" fmla="*/ 965 w 1027"/>
                    <a:gd name="T85" fmla="*/ 17 h 1251"/>
                    <a:gd name="T86" fmla="*/ 1023 w 1027"/>
                    <a:gd name="T87" fmla="*/ 44 h 1251"/>
                    <a:gd name="T88" fmla="*/ 1008 w 1027"/>
                    <a:gd name="T89" fmla="*/ 102 h 1251"/>
                    <a:gd name="T90" fmla="*/ 980 w 1027"/>
                    <a:gd name="T91" fmla="*/ 185 h 1251"/>
                    <a:gd name="T92" fmla="*/ 952 w 1027"/>
                    <a:gd name="T93" fmla="*/ 294 h 1251"/>
                    <a:gd name="T94" fmla="*/ 908 w 1027"/>
                    <a:gd name="T95" fmla="*/ 454 h 1251"/>
                    <a:gd name="T96" fmla="*/ 858 w 1027"/>
                    <a:gd name="T97" fmla="*/ 543 h 1251"/>
                    <a:gd name="T98" fmla="*/ 760 w 1027"/>
                    <a:gd name="T99" fmla="*/ 618 h 1251"/>
                    <a:gd name="T100" fmla="*/ 692 w 1027"/>
                    <a:gd name="T101" fmla="*/ 680 h 1251"/>
                    <a:gd name="T102" fmla="*/ 653 w 1027"/>
                    <a:gd name="T103" fmla="*/ 725 h 1251"/>
                    <a:gd name="T104" fmla="*/ 613 w 1027"/>
                    <a:gd name="T105" fmla="*/ 772 h 1251"/>
                    <a:gd name="T106" fmla="*/ 583 w 1027"/>
                    <a:gd name="T107" fmla="*/ 816 h 1251"/>
                    <a:gd name="T108" fmla="*/ 558 w 1027"/>
                    <a:gd name="T109" fmla="*/ 891 h 1251"/>
                    <a:gd name="T110" fmla="*/ 517 w 1027"/>
                    <a:gd name="T111" fmla="*/ 942 h 1251"/>
                    <a:gd name="T112" fmla="*/ 489 w 1027"/>
                    <a:gd name="T113" fmla="*/ 1000 h 1251"/>
                    <a:gd name="T114" fmla="*/ 461 w 1027"/>
                    <a:gd name="T115" fmla="*/ 1057 h 1251"/>
                    <a:gd name="T116" fmla="*/ 431 w 1027"/>
                    <a:gd name="T117" fmla="*/ 1107 h 1251"/>
                    <a:gd name="T118" fmla="*/ 402 w 1027"/>
                    <a:gd name="T119" fmla="*/ 1155 h 1251"/>
                    <a:gd name="T120" fmla="*/ 376 w 1027"/>
                    <a:gd name="T121" fmla="*/ 1198 h 1251"/>
                    <a:gd name="T122" fmla="*/ 348 w 1027"/>
                    <a:gd name="T123" fmla="*/ 1239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27" h="1251">
                      <a:moveTo>
                        <a:pt x="338" y="1251"/>
                      </a:moveTo>
                      <a:lnTo>
                        <a:pt x="338" y="1249"/>
                      </a:lnTo>
                      <a:lnTo>
                        <a:pt x="337" y="1247"/>
                      </a:lnTo>
                      <a:lnTo>
                        <a:pt x="335" y="1245"/>
                      </a:lnTo>
                      <a:lnTo>
                        <a:pt x="333" y="1245"/>
                      </a:lnTo>
                      <a:lnTo>
                        <a:pt x="333" y="1243"/>
                      </a:lnTo>
                      <a:lnTo>
                        <a:pt x="331" y="1243"/>
                      </a:lnTo>
                      <a:lnTo>
                        <a:pt x="331" y="1241"/>
                      </a:lnTo>
                      <a:lnTo>
                        <a:pt x="331" y="1239"/>
                      </a:lnTo>
                      <a:lnTo>
                        <a:pt x="331" y="1237"/>
                      </a:lnTo>
                      <a:lnTo>
                        <a:pt x="331" y="1235"/>
                      </a:lnTo>
                      <a:lnTo>
                        <a:pt x="331" y="1234"/>
                      </a:lnTo>
                      <a:lnTo>
                        <a:pt x="333" y="1234"/>
                      </a:lnTo>
                      <a:lnTo>
                        <a:pt x="331" y="1234"/>
                      </a:lnTo>
                      <a:lnTo>
                        <a:pt x="329" y="1234"/>
                      </a:lnTo>
                      <a:lnTo>
                        <a:pt x="329" y="1232"/>
                      </a:lnTo>
                      <a:lnTo>
                        <a:pt x="327" y="1232"/>
                      </a:lnTo>
                      <a:lnTo>
                        <a:pt x="327" y="1230"/>
                      </a:lnTo>
                      <a:lnTo>
                        <a:pt x="325" y="1230"/>
                      </a:lnTo>
                      <a:lnTo>
                        <a:pt x="325" y="1232"/>
                      </a:lnTo>
                      <a:lnTo>
                        <a:pt x="323" y="1232"/>
                      </a:lnTo>
                      <a:lnTo>
                        <a:pt x="325" y="1230"/>
                      </a:lnTo>
                      <a:lnTo>
                        <a:pt x="323" y="1230"/>
                      </a:lnTo>
                      <a:lnTo>
                        <a:pt x="323" y="1228"/>
                      </a:lnTo>
                      <a:lnTo>
                        <a:pt x="325" y="1228"/>
                      </a:lnTo>
                      <a:lnTo>
                        <a:pt x="325" y="1226"/>
                      </a:lnTo>
                      <a:lnTo>
                        <a:pt x="325" y="1224"/>
                      </a:lnTo>
                      <a:lnTo>
                        <a:pt x="325" y="1222"/>
                      </a:lnTo>
                      <a:lnTo>
                        <a:pt x="327" y="1222"/>
                      </a:lnTo>
                      <a:lnTo>
                        <a:pt x="327" y="1220"/>
                      </a:lnTo>
                      <a:lnTo>
                        <a:pt x="329" y="1220"/>
                      </a:lnTo>
                      <a:lnTo>
                        <a:pt x="329" y="1219"/>
                      </a:lnTo>
                      <a:lnTo>
                        <a:pt x="327" y="1219"/>
                      </a:lnTo>
                      <a:lnTo>
                        <a:pt x="327" y="1217"/>
                      </a:lnTo>
                      <a:lnTo>
                        <a:pt x="325" y="1217"/>
                      </a:lnTo>
                      <a:lnTo>
                        <a:pt x="325" y="1215"/>
                      </a:lnTo>
                      <a:lnTo>
                        <a:pt x="323" y="1215"/>
                      </a:lnTo>
                      <a:lnTo>
                        <a:pt x="323" y="1213"/>
                      </a:lnTo>
                      <a:lnTo>
                        <a:pt x="325" y="1211"/>
                      </a:lnTo>
                      <a:lnTo>
                        <a:pt x="325" y="1209"/>
                      </a:lnTo>
                      <a:lnTo>
                        <a:pt x="323" y="1209"/>
                      </a:lnTo>
                      <a:lnTo>
                        <a:pt x="323" y="1207"/>
                      </a:lnTo>
                      <a:lnTo>
                        <a:pt x="325" y="1207"/>
                      </a:lnTo>
                      <a:lnTo>
                        <a:pt x="325" y="1205"/>
                      </a:lnTo>
                      <a:lnTo>
                        <a:pt x="325" y="1203"/>
                      </a:lnTo>
                      <a:lnTo>
                        <a:pt x="325" y="1202"/>
                      </a:lnTo>
                      <a:lnTo>
                        <a:pt x="323" y="1202"/>
                      </a:lnTo>
                      <a:lnTo>
                        <a:pt x="323" y="1200"/>
                      </a:lnTo>
                      <a:lnTo>
                        <a:pt x="322" y="1198"/>
                      </a:lnTo>
                      <a:lnTo>
                        <a:pt x="320" y="1200"/>
                      </a:lnTo>
                      <a:lnTo>
                        <a:pt x="320" y="1198"/>
                      </a:lnTo>
                      <a:lnTo>
                        <a:pt x="322" y="1198"/>
                      </a:lnTo>
                      <a:lnTo>
                        <a:pt x="320" y="1198"/>
                      </a:lnTo>
                      <a:lnTo>
                        <a:pt x="320" y="1196"/>
                      </a:lnTo>
                      <a:lnTo>
                        <a:pt x="318" y="1196"/>
                      </a:lnTo>
                      <a:lnTo>
                        <a:pt x="318" y="1194"/>
                      </a:lnTo>
                      <a:lnTo>
                        <a:pt x="320" y="1194"/>
                      </a:lnTo>
                      <a:lnTo>
                        <a:pt x="320" y="1192"/>
                      </a:lnTo>
                      <a:lnTo>
                        <a:pt x="318" y="1192"/>
                      </a:lnTo>
                      <a:lnTo>
                        <a:pt x="316" y="1192"/>
                      </a:lnTo>
                      <a:lnTo>
                        <a:pt x="314" y="1192"/>
                      </a:lnTo>
                      <a:lnTo>
                        <a:pt x="312" y="1190"/>
                      </a:lnTo>
                      <a:lnTo>
                        <a:pt x="310" y="1190"/>
                      </a:lnTo>
                      <a:lnTo>
                        <a:pt x="310" y="1192"/>
                      </a:lnTo>
                      <a:lnTo>
                        <a:pt x="308" y="1192"/>
                      </a:lnTo>
                      <a:lnTo>
                        <a:pt x="308" y="1190"/>
                      </a:lnTo>
                      <a:lnTo>
                        <a:pt x="306" y="1188"/>
                      </a:lnTo>
                      <a:lnTo>
                        <a:pt x="306" y="1187"/>
                      </a:lnTo>
                      <a:lnTo>
                        <a:pt x="308" y="1188"/>
                      </a:lnTo>
                      <a:lnTo>
                        <a:pt x="310" y="1188"/>
                      </a:lnTo>
                      <a:lnTo>
                        <a:pt x="312" y="1188"/>
                      </a:lnTo>
                      <a:lnTo>
                        <a:pt x="312" y="1190"/>
                      </a:lnTo>
                      <a:lnTo>
                        <a:pt x="312" y="1188"/>
                      </a:lnTo>
                      <a:lnTo>
                        <a:pt x="312" y="1187"/>
                      </a:lnTo>
                      <a:lnTo>
                        <a:pt x="312" y="1185"/>
                      </a:lnTo>
                      <a:lnTo>
                        <a:pt x="310" y="1185"/>
                      </a:lnTo>
                      <a:lnTo>
                        <a:pt x="310" y="1187"/>
                      </a:lnTo>
                      <a:lnTo>
                        <a:pt x="308" y="1187"/>
                      </a:lnTo>
                      <a:lnTo>
                        <a:pt x="306" y="1187"/>
                      </a:lnTo>
                      <a:lnTo>
                        <a:pt x="306" y="1185"/>
                      </a:lnTo>
                      <a:lnTo>
                        <a:pt x="308" y="1183"/>
                      </a:lnTo>
                      <a:lnTo>
                        <a:pt x="306" y="1183"/>
                      </a:lnTo>
                      <a:lnTo>
                        <a:pt x="306" y="1181"/>
                      </a:lnTo>
                      <a:lnTo>
                        <a:pt x="305" y="1181"/>
                      </a:lnTo>
                      <a:lnTo>
                        <a:pt x="303" y="1181"/>
                      </a:lnTo>
                      <a:lnTo>
                        <a:pt x="301" y="1181"/>
                      </a:lnTo>
                      <a:lnTo>
                        <a:pt x="299" y="1181"/>
                      </a:lnTo>
                      <a:lnTo>
                        <a:pt x="299" y="1179"/>
                      </a:lnTo>
                      <a:lnTo>
                        <a:pt x="297" y="1179"/>
                      </a:lnTo>
                      <a:lnTo>
                        <a:pt x="297" y="1181"/>
                      </a:lnTo>
                      <a:lnTo>
                        <a:pt x="295" y="1181"/>
                      </a:lnTo>
                      <a:lnTo>
                        <a:pt x="295" y="1183"/>
                      </a:lnTo>
                      <a:lnTo>
                        <a:pt x="293" y="1183"/>
                      </a:lnTo>
                      <a:lnTo>
                        <a:pt x="293" y="1181"/>
                      </a:lnTo>
                      <a:lnTo>
                        <a:pt x="295" y="1179"/>
                      </a:lnTo>
                      <a:lnTo>
                        <a:pt x="293" y="1179"/>
                      </a:lnTo>
                      <a:lnTo>
                        <a:pt x="293" y="1177"/>
                      </a:lnTo>
                      <a:lnTo>
                        <a:pt x="291" y="1179"/>
                      </a:lnTo>
                      <a:lnTo>
                        <a:pt x="290" y="1179"/>
                      </a:lnTo>
                      <a:lnTo>
                        <a:pt x="290" y="1177"/>
                      </a:lnTo>
                      <a:lnTo>
                        <a:pt x="291" y="1177"/>
                      </a:lnTo>
                      <a:lnTo>
                        <a:pt x="291" y="1175"/>
                      </a:lnTo>
                      <a:lnTo>
                        <a:pt x="291" y="1173"/>
                      </a:lnTo>
                      <a:lnTo>
                        <a:pt x="290" y="1173"/>
                      </a:lnTo>
                      <a:lnTo>
                        <a:pt x="290" y="1175"/>
                      </a:lnTo>
                      <a:lnTo>
                        <a:pt x="290" y="1177"/>
                      </a:lnTo>
                      <a:lnTo>
                        <a:pt x="288" y="1177"/>
                      </a:lnTo>
                      <a:lnTo>
                        <a:pt x="286" y="1177"/>
                      </a:lnTo>
                      <a:lnTo>
                        <a:pt x="284" y="1177"/>
                      </a:lnTo>
                      <a:lnTo>
                        <a:pt x="282" y="1177"/>
                      </a:lnTo>
                      <a:lnTo>
                        <a:pt x="280" y="1177"/>
                      </a:lnTo>
                      <a:lnTo>
                        <a:pt x="280" y="1175"/>
                      </a:lnTo>
                      <a:lnTo>
                        <a:pt x="278" y="1175"/>
                      </a:lnTo>
                      <a:lnTo>
                        <a:pt x="278" y="1173"/>
                      </a:lnTo>
                      <a:lnTo>
                        <a:pt x="280" y="1173"/>
                      </a:lnTo>
                      <a:lnTo>
                        <a:pt x="280" y="1171"/>
                      </a:lnTo>
                      <a:lnTo>
                        <a:pt x="280" y="1170"/>
                      </a:lnTo>
                      <a:lnTo>
                        <a:pt x="282" y="1170"/>
                      </a:lnTo>
                      <a:lnTo>
                        <a:pt x="282" y="1168"/>
                      </a:lnTo>
                      <a:lnTo>
                        <a:pt x="280" y="1168"/>
                      </a:lnTo>
                      <a:lnTo>
                        <a:pt x="278" y="1168"/>
                      </a:lnTo>
                      <a:lnTo>
                        <a:pt x="278" y="1170"/>
                      </a:lnTo>
                      <a:lnTo>
                        <a:pt x="278" y="1168"/>
                      </a:lnTo>
                      <a:lnTo>
                        <a:pt x="276" y="1170"/>
                      </a:lnTo>
                      <a:lnTo>
                        <a:pt x="274" y="1170"/>
                      </a:lnTo>
                      <a:lnTo>
                        <a:pt x="273" y="1170"/>
                      </a:lnTo>
                      <a:lnTo>
                        <a:pt x="273" y="1168"/>
                      </a:lnTo>
                      <a:lnTo>
                        <a:pt x="271" y="1168"/>
                      </a:lnTo>
                      <a:lnTo>
                        <a:pt x="271" y="1166"/>
                      </a:lnTo>
                      <a:lnTo>
                        <a:pt x="273" y="1166"/>
                      </a:lnTo>
                      <a:lnTo>
                        <a:pt x="273" y="1164"/>
                      </a:lnTo>
                      <a:lnTo>
                        <a:pt x="274" y="1164"/>
                      </a:lnTo>
                      <a:lnTo>
                        <a:pt x="276" y="1164"/>
                      </a:lnTo>
                      <a:lnTo>
                        <a:pt x="276" y="1162"/>
                      </a:lnTo>
                      <a:lnTo>
                        <a:pt x="276" y="1160"/>
                      </a:lnTo>
                      <a:lnTo>
                        <a:pt x="276" y="1158"/>
                      </a:lnTo>
                      <a:lnTo>
                        <a:pt x="274" y="1158"/>
                      </a:lnTo>
                      <a:lnTo>
                        <a:pt x="274" y="1156"/>
                      </a:lnTo>
                      <a:lnTo>
                        <a:pt x="273" y="1156"/>
                      </a:lnTo>
                      <a:lnTo>
                        <a:pt x="271" y="1156"/>
                      </a:lnTo>
                      <a:lnTo>
                        <a:pt x="269" y="1156"/>
                      </a:lnTo>
                      <a:lnTo>
                        <a:pt x="269" y="1158"/>
                      </a:lnTo>
                      <a:lnTo>
                        <a:pt x="271" y="1158"/>
                      </a:lnTo>
                      <a:lnTo>
                        <a:pt x="271" y="1160"/>
                      </a:lnTo>
                      <a:lnTo>
                        <a:pt x="271" y="1162"/>
                      </a:lnTo>
                      <a:lnTo>
                        <a:pt x="271" y="1164"/>
                      </a:lnTo>
                      <a:lnTo>
                        <a:pt x="269" y="1164"/>
                      </a:lnTo>
                      <a:lnTo>
                        <a:pt x="267" y="1164"/>
                      </a:lnTo>
                      <a:lnTo>
                        <a:pt x="265" y="1164"/>
                      </a:lnTo>
                      <a:lnTo>
                        <a:pt x="265" y="1166"/>
                      </a:lnTo>
                      <a:lnTo>
                        <a:pt x="265" y="1164"/>
                      </a:lnTo>
                      <a:lnTo>
                        <a:pt x="265" y="1162"/>
                      </a:lnTo>
                      <a:lnTo>
                        <a:pt x="265" y="1160"/>
                      </a:lnTo>
                      <a:lnTo>
                        <a:pt x="267" y="1160"/>
                      </a:lnTo>
                      <a:lnTo>
                        <a:pt x="267" y="1158"/>
                      </a:lnTo>
                      <a:lnTo>
                        <a:pt x="267" y="1156"/>
                      </a:lnTo>
                      <a:lnTo>
                        <a:pt x="265" y="1156"/>
                      </a:lnTo>
                      <a:lnTo>
                        <a:pt x="265" y="1158"/>
                      </a:lnTo>
                      <a:lnTo>
                        <a:pt x="263" y="1158"/>
                      </a:lnTo>
                      <a:lnTo>
                        <a:pt x="261" y="1158"/>
                      </a:lnTo>
                      <a:lnTo>
                        <a:pt x="261" y="1160"/>
                      </a:lnTo>
                      <a:lnTo>
                        <a:pt x="259" y="1160"/>
                      </a:lnTo>
                      <a:lnTo>
                        <a:pt x="259" y="1162"/>
                      </a:lnTo>
                      <a:lnTo>
                        <a:pt x="259" y="1160"/>
                      </a:lnTo>
                      <a:lnTo>
                        <a:pt x="259" y="1158"/>
                      </a:lnTo>
                      <a:lnTo>
                        <a:pt x="261" y="1156"/>
                      </a:lnTo>
                      <a:lnTo>
                        <a:pt x="261" y="1155"/>
                      </a:lnTo>
                      <a:lnTo>
                        <a:pt x="259" y="1155"/>
                      </a:lnTo>
                      <a:lnTo>
                        <a:pt x="258" y="1155"/>
                      </a:lnTo>
                      <a:lnTo>
                        <a:pt x="256" y="1155"/>
                      </a:lnTo>
                      <a:lnTo>
                        <a:pt x="256" y="1153"/>
                      </a:lnTo>
                      <a:lnTo>
                        <a:pt x="254" y="1153"/>
                      </a:lnTo>
                      <a:lnTo>
                        <a:pt x="252" y="1153"/>
                      </a:lnTo>
                      <a:lnTo>
                        <a:pt x="252" y="1155"/>
                      </a:lnTo>
                      <a:lnTo>
                        <a:pt x="250" y="1155"/>
                      </a:lnTo>
                      <a:lnTo>
                        <a:pt x="250" y="1153"/>
                      </a:lnTo>
                      <a:lnTo>
                        <a:pt x="250" y="1151"/>
                      </a:lnTo>
                      <a:lnTo>
                        <a:pt x="250" y="1149"/>
                      </a:lnTo>
                      <a:lnTo>
                        <a:pt x="250" y="1147"/>
                      </a:lnTo>
                      <a:lnTo>
                        <a:pt x="248" y="1147"/>
                      </a:lnTo>
                      <a:lnTo>
                        <a:pt x="248" y="1149"/>
                      </a:lnTo>
                      <a:lnTo>
                        <a:pt x="246" y="1149"/>
                      </a:lnTo>
                      <a:lnTo>
                        <a:pt x="244" y="1149"/>
                      </a:lnTo>
                      <a:lnTo>
                        <a:pt x="246" y="1149"/>
                      </a:lnTo>
                      <a:lnTo>
                        <a:pt x="246" y="1147"/>
                      </a:lnTo>
                      <a:lnTo>
                        <a:pt x="244" y="1147"/>
                      </a:lnTo>
                      <a:lnTo>
                        <a:pt x="244" y="1145"/>
                      </a:lnTo>
                      <a:lnTo>
                        <a:pt x="244" y="1143"/>
                      </a:lnTo>
                      <a:lnTo>
                        <a:pt x="243" y="1143"/>
                      </a:lnTo>
                      <a:lnTo>
                        <a:pt x="243" y="1145"/>
                      </a:lnTo>
                      <a:lnTo>
                        <a:pt x="241" y="1145"/>
                      </a:lnTo>
                      <a:lnTo>
                        <a:pt x="239" y="1145"/>
                      </a:lnTo>
                      <a:lnTo>
                        <a:pt x="239" y="1143"/>
                      </a:lnTo>
                      <a:lnTo>
                        <a:pt x="239" y="1141"/>
                      </a:lnTo>
                      <a:lnTo>
                        <a:pt x="241" y="1139"/>
                      </a:lnTo>
                      <a:lnTo>
                        <a:pt x="241" y="1138"/>
                      </a:lnTo>
                      <a:lnTo>
                        <a:pt x="241" y="1136"/>
                      </a:lnTo>
                      <a:lnTo>
                        <a:pt x="239" y="1136"/>
                      </a:lnTo>
                      <a:lnTo>
                        <a:pt x="239" y="1138"/>
                      </a:lnTo>
                      <a:lnTo>
                        <a:pt x="239" y="1139"/>
                      </a:lnTo>
                      <a:lnTo>
                        <a:pt x="237" y="1139"/>
                      </a:lnTo>
                      <a:lnTo>
                        <a:pt x="237" y="1138"/>
                      </a:lnTo>
                      <a:lnTo>
                        <a:pt x="235" y="1138"/>
                      </a:lnTo>
                      <a:lnTo>
                        <a:pt x="235" y="1136"/>
                      </a:lnTo>
                      <a:lnTo>
                        <a:pt x="233" y="1136"/>
                      </a:lnTo>
                      <a:lnTo>
                        <a:pt x="231" y="1136"/>
                      </a:lnTo>
                      <a:lnTo>
                        <a:pt x="231" y="1138"/>
                      </a:lnTo>
                      <a:lnTo>
                        <a:pt x="233" y="1138"/>
                      </a:lnTo>
                      <a:lnTo>
                        <a:pt x="233" y="1139"/>
                      </a:lnTo>
                      <a:lnTo>
                        <a:pt x="231" y="1139"/>
                      </a:lnTo>
                      <a:lnTo>
                        <a:pt x="231" y="1138"/>
                      </a:lnTo>
                      <a:lnTo>
                        <a:pt x="229" y="1138"/>
                      </a:lnTo>
                      <a:lnTo>
                        <a:pt x="229" y="1139"/>
                      </a:lnTo>
                      <a:lnTo>
                        <a:pt x="229" y="1141"/>
                      </a:lnTo>
                      <a:lnTo>
                        <a:pt x="229" y="1139"/>
                      </a:lnTo>
                      <a:lnTo>
                        <a:pt x="229" y="1141"/>
                      </a:lnTo>
                      <a:lnTo>
                        <a:pt x="227" y="1141"/>
                      </a:lnTo>
                      <a:lnTo>
                        <a:pt x="226" y="1141"/>
                      </a:lnTo>
                      <a:lnTo>
                        <a:pt x="226" y="1139"/>
                      </a:lnTo>
                      <a:lnTo>
                        <a:pt x="226" y="1138"/>
                      </a:lnTo>
                      <a:lnTo>
                        <a:pt x="226" y="1139"/>
                      </a:lnTo>
                      <a:lnTo>
                        <a:pt x="224" y="1139"/>
                      </a:lnTo>
                      <a:lnTo>
                        <a:pt x="226" y="1141"/>
                      </a:lnTo>
                      <a:lnTo>
                        <a:pt x="224" y="1141"/>
                      </a:lnTo>
                      <a:lnTo>
                        <a:pt x="224" y="1143"/>
                      </a:lnTo>
                      <a:lnTo>
                        <a:pt x="222" y="1143"/>
                      </a:lnTo>
                      <a:lnTo>
                        <a:pt x="222" y="1141"/>
                      </a:lnTo>
                      <a:lnTo>
                        <a:pt x="220" y="1141"/>
                      </a:lnTo>
                      <a:lnTo>
                        <a:pt x="220" y="1139"/>
                      </a:lnTo>
                      <a:lnTo>
                        <a:pt x="218" y="1139"/>
                      </a:lnTo>
                      <a:lnTo>
                        <a:pt x="216" y="1139"/>
                      </a:lnTo>
                      <a:lnTo>
                        <a:pt x="216" y="1138"/>
                      </a:lnTo>
                      <a:lnTo>
                        <a:pt x="214" y="1138"/>
                      </a:lnTo>
                      <a:lnTo>
                        <a:pt x="212" y="1138"/>
                      </a:lnTo>
                      <a:lnTo>
                        <a:pt x="212" y="1136"/>
                      </a:lnTo>
                      <a:lnTo>
                        <a:pt x="211" y="1136"/>
                      </a:lnTo>
                      <a:lnTo>
                        <a:pt x="211" y="1134"/>
                      </a:lnTo>
                      <a:lnTo>
                        <a:pt x="211" y="1132"/>
                      </a:lnTo>
                      <a:lnTo>
                        <a:pt x="209" y="1132"/>
                      </a:lnTo>
                      <a:lnTo>
                        <a:pt x="209" y="1134"/>
                      </a:lnTo>
                      <a:lnTo>
                        <a:pt x="209" y="1132"/>
                      </a:lnTo>
                      <a:lnTo>
                        <a:pt x="207" y="1132"/>
                      </a:lnTo>
                      <a:lnTo>
                        <a:pt x="209" y="1132"/>
                      </a:lnTo>
                      <a:lnTo>
                        <a:pt x="207" y="1132"/>
                      </a:lnTo>
                      <a:lnTo>
                        <a:pt x="209" y="1132"/>
                      </a:lnTo>
                      <a:lnTo>
                        <a:pt x="209" y="1130"/>
                      </a:lnTo>
                      <a:lnTo>
                        <a:pt x="207" y="1130"/>
                      </a:lnTo>
                      <a:lnTo>
                        <a:pt x="207" y="1128"/>
                      </a:lnTo>
                      <a:lnTo>
                        <a:pt x="205" y="1128"/>
                      </a:lnTo>
                      <a:lnTo>
                        <a:pt x="207" y="1128"/>
                      </a:lnTo>
                      <a:lnTo>
                        <a:pt x="205" y="1128"/>
                      </a:lnTo>
                      <a:lnTo>
                        <a:pt x="203" y="1128"/>
                      </a:lnTo>
                      <a:lnTo>
                        <a:pt x="203" y="1130"/>
                      </a:lnTo>
                      <a:lnTo>
                        <a:pt x="201" y="1130"/>
                      </a:lnTo>
                      <a:lnTo>
                        <a:pt x="201" y="1132"/>
                      </a:lnTo>
                      <a:lnTo>
                        <a:pt x="199" y="1132"/>
                      </a:lnTo>
                      <a:lnTo>
                        <a:pt x="197" y="1132"/>
                      </a:lnTo>
                      <a:lnTo>
                        <a:pt x="195" y="1132"/>
                      </a:lnTo>
                      <a:lnTo>
                        <a:pt x="194" y="1132"/>
                      </a:lnTo>
                      <a:lnTo>
                        <a:pt x="192" y="1132"/>
                      </a:lnTo>
                      <a:lnTo>
                        <a:pt x="192" y="1134"/>
                      </a:lnTo>
                      <a:lnTo>
                        <a:pt x="192" y="1132"/>
                      </a:lnTo>
                      <a:lnTo>
                        <a:pt x="192" y="1134"/>
                      </a:lnTo>
                      <a:lnTo>
                        <a:pt x="190" y="1134"/>
                      </a:lnTo>
                      <a:lnTo>
                        <a:pt x="190" y="1132"/>
                      </a:lnTo>
                      <a:lnTo>
                        <a:pt x="188" y="1132"/>
                      </a:lnTo>
                      <a:lnTo>
                        <a:pt x="188" y="1134"/>
                      </a:lnTo>
                      <a:lnTo>
                        <a:pt x="186" y="1134"/>
                      </a:lnTo>
                      <a:lnTo>
                        <a:pt x="186" y="1132"/>
                      </a:lnTo>
                      <a:lnTo>
                        <a:pt x="186" y="1130"/>
                      </a:lnTo>
                      <a:lnTo>
                        <a:pt x="184" y="1130"/>
                      </a:lnTo>
                      <a:lnTo>
                        <a:pt x="184" y="1128"/>
                      </a:lnTo>
                      <a:lnTo>
                        <a:pt x="184" y="1126"/>
                      </a:lnTo>
                      <a:lnTo>
                        <a:pt x="184" y="1124"/>
                      </a:lnTo>
                      <a:lnTo>
                        <a:pt x="182" y="1124"/>
                      </a:lnTo>
                      <a:lnTo>
                        <a:pt x="182" y="1123"/>
                      </a:lnTo>
                      <a:lnTo>
                        <a:pt x="180" y="1123"/>
                      </a:lnTo>
                      <a:lnTo>
                        <a:pt x="179" y="1124"/>
                      </a:lnTo>
                      <a:lnTo>
                        <a:pt x="179" y="1123"/>
                      </a:lnTo>
                      <a:lnTo>
                        <a:pt x="173" y="1121"/>
                      </a:lnTo>
                      <a:lnTo>
                        <a:pt x="169" y="1119"/>
                      </a:lnTo>
                      <a:lnTo>
                        <a:pt x="167" y="1119"/>
                      </a:lnTo>
                      <a:lnTo>
                        <a:pt x="164" y="1111"/>
                      </a:lnTo>
                      <a:lnTo>
                        <a:pt x="154" y="1113"/>
                      </a:lnTo>
                      <a:lnTo>
                        <a:pt x="152" y="1113"/>
                      </a:lnTo>
                      <a:lnTo>
                        <a:pt x="150" y="1115"/>
                      </a:lnTo>
                      <a:lnTo>
                        <a:pt x="147" y="1119"/>
                      </a:lnTo>
                      <a:lnTo>
                        <a:pt x="145" y="1119"/>
                      </a:lnTo>
                      <a:lnTo>
                        <a:pt x="141" y="1119"/>
                      </a:lnTo>
                      <a:lnTo>
                        <a:pt x="135" y="1119"/>
                      </a:lnTo>
                      <a:lnTo>
                        <a:pt x="132" y="1123"/>
                      </a:lnTo>
                      <a:lnTo>
                        <a:pt x="128" y="1121"/>
                      </a:lnTo>
                      <a:lnTo>
                        <a:pt x="122" y="1128"/>
                      </a:lnTo>
                      <a:lnTo>
                        <a:pt x="115" y="1121"/>
                      </a:lnTo>
                      <a:lnTo>
                        <a:pt x="111" y="1119"/>
                      </a:lnTo>
                      <a:lnTo>
                        <a:pt x="103" y="1117"/>
                      </a:lnTo>
                      <a:lnTo>
                        <a:pt x="100" y="1113"/>
                      </a:lnTo>
                      <a:lnTo>
                        <a:pt x="92" y="1113"/>
                      </a:lnTo>
                      <a:lnTo>
                        <a:pt x="90" y="1113"/>
                      </a:lnTo>
                      <a:lnTo>
                        <a:pt x="88" y="1113"/>
                      </a:lnTo>
                      <a:lnTo>
                        <a:pt x="86" y="1113"/>
                      </a:lnTo>
                      <a:lnTo>
                        <a:pt x="85" y="1113"/>
                      </a:lnTo>
                      <a:lnTo>
                        <a:pt x="83" y="1113"/>
                      </a:lnTo>
                      <a:lnTo>
                        <a:pt x="83" y="1115"/>
                      </a:lnTo>
                      <a:lnTo>
                        <a:pt x="85" y="1115"/>
                      </a:lnTo>
                      <a:lnTo>
                        <a:pt x="85" y="1117"/>
                      </a:lnTo>
                      <a:lnTo>
                        <a:pt x="83" y="1117"/>
                      </a:lnTo>
                      <a:lnTo>
                        <a:pt x="81" y="1117"/>
                      </a:lnTo>
                      <a:lnTo>
                        <a:pt x="81" y="1119"/>
                      </a:lnTo>
                      <a:lnTo>
                        <a:pt x="79" y="1119"/>
                      </a:lnTo>
                      <a:lnTo>
                        <a:pt x="79" y="1117"/>
                      </a:lnTo>
                      <a:lnTo>
                        <a:pt x="79" y="1115"/>
                      </a:lnTo>
                      <a:lnTo>
                        <a:pt x="79" y="1113"/>
                      </a:lnTo>
                      <a:lnTo>
                        <a:pt x="81" y="1113"/>
                      </a:lnTo>
                      <a:lnTo>
                        <a:pt x="81" y="1111"/>
                      </a:lnTo>
                      <a:lnTo>
                        <a:pt x="79" y="1111"/>
                      </a:lnTo>
                      <a:lnTo>
                        <a:pt x="79" y="1113"/>
                      </a:lnTo>
                      <a:lnTo>
                        <a:pt x="77" y="1113"/>
                      </a:lnTo>
                      <a:lnTo>
                        <a:pt x="75" y="1111"/>
                      </a:lnTo>
                      <a:lnTo>
                        <a:pt x="68" y="1107"/>
                      </a:lnTo>
                      <a:lnTo>
                        <a:pt x="69" y="1106"/>
                      </a:lnTo>
                      <a:lnTo>
                        <a:pt x="64" y="1104"/>
                      </a:lnTo>
                      <a:lnTo>
                        <a:pt x="62" y="1100"/>
                      </a:lnTo>
                      <a:lnTo>
                        <a:pt x="71" y="1094"/>
                      </a:lnTo>
                      <a:lnTo>
                        <a:pt x="73" y="1094"/>
                      </a:lnTo>
                      <a:lnTo>
                        <a:pt x="75" y="1094"/>
                      </a:lnTo>
                      <a:lnTo>
                        <a:pt x="77" y="1092"/>
                      </a:lnTo>
                      <a:lnTo>
                        <a:pt x="77" y="1091"/>
                      </a:lnTo>
                      <a:lnTo>
                        <a:pt x="75" y="1091"/>
                      </a:lnTo>
                      <a:lnTo>
                        <a:pt x="75" y="1089"/>
                      </a:lnTo>
                      <a:lnTo>
                        <a:pt x="75" y="1091"/>
                      </a:lnTo>
                      <a:lnTo>
                        <a:pt x="75" y="1089"/>
                      </a:lnTo>
                      <a:lnTo>
                        <a:pt x="73" y="1089"/>
                      </a:lnTo>
                      <a:lnTo>
                        <a:pt x="73" y="1091"/>
                      </a:lnTo>
                      <a:lnTo>
                        <a:pt x="75" y="1091"/>
                      </a:lnTo>
                      <a:lnTo>
                        <a:pt x="73" y="1092"/>
                      </a:lnTo>
                      <a:lnTo>
                        <a:pt x="73" y="1094"/>
                      </a:lnTo>
                      <a:lnTo>
                        <a:pt x="73" y="1092"/>
                      </a:lnTo>
                      <a:lnTo>
                        <a:pt x="71" y="1092"/>
                      </a:lnTo>
                      <a:lnTo>
                        <a:pt x="71" y="1091"/>
                      </a:lnTo>
                      <a:lnTo>
                        <a:pt x="71" y="1089"/>
                      </a:lnTo>
                      <a:lnTo>
                        <a:pt x="71" y="1087"/>
                      </a:lnTo>
                      <a:lnTo>
                        <a:pt x="69" y="1087"/>
                      </a:lnTo>
                      <a:lnTo>
                        <a:pt x="71" y="1087"/>
                      </a:lnTo>
                      <a:lnTo>
                        <a:pt x="69" y="1087"/>
                      </a:lnTo>
                      <a:lnTo>
                        <a:pt x="69" y="1083"/>
                      </a:lnTo>
                      <a:lnTo>
                        <a:pt x="71" y="1079"/>
                      </a:lnTo>
                      <a:lnTo>
                        <a:pt x="79" y="1081"/>
                      </a:lnTo>
                      <a:lnTo>
                        <a:pt x="81" y="1072"/>
                      </a:lnTo>
                      <a:lnTo>
                        <a:pt x="85" y="1066"/>
                      </a:lnTo>
                      <a:lnTo>
                        <a:pt x="83" y="1060"/>
                      </a:lnTo>
                      <a:lnTo>
                        <a:pt x="83" y="1057"/>
                      </a:lnTo>
                      <a:lnTo>
                        <a:pt x="86" y="1055"/>
                      </a:lnTo>
                      <a:lnTo>
                        <a:pt x="88" y="1053"/>
                      </a:lnTo>
                      <a:lnTo>
                        <a:pt x="92" y="1055"/>
                      </a:lnTo>
                      <a:lnTo>
                        <a:pt x="92" y="1051"/>
                      </a:lnTo>
                      <a:lnTo>
                        <a:pt x="94" y="1049"/>
                      </a:lnTo>
                      <a:lnTo>
                        <a:pt x="105" y="1045"/>
                      </a:lnTo>
                      <a:lnTo>
                        <a:pt x="103" y="1040"/>
                      </a:lnTo>
                      <a:lnTo>
                        <a:pt x="107" y="1042"/>
                      </a:lnTo>
                      <a:lnTo>
                        <a:pt x="111" y="1042"/>
                      </a:lnTo>
                      <a:lnTo>
                        <a:pt x="109" y="1034"/>
                      </a:lnTo>
                      <a:lnTo>
                        <a:pt x="107" y="1032"/>
                      </a:lnTo>
                      <a:lnTo>
                        <a:pt x="109" y="1028"/>
                      </a:lnTo>
                      <a:lnTo>
                        <a:pt x="111" y="1023"/>
                      </a:lnTo>
                      <a:lnTo>
                        <a:pt x="105" y="1017"/>
                      </a:lnTo>
                      <a:lnTo>
                        <a:pt x="100" y="1011"/>
                      </a:lnTo>
                      <a:lnTo>
                        <a:pt x="94" y="1008"/>
                      </a:lnTo>
                      <a:lnTo>
                        <a:pt x="92" y="1008"/>
                      </a:lnTo>
                      <a:lnTo>
                        <a:pt x="94" y="1011"/>
                      </a:lnTo>
                      <a:lnTo>
                        <a:pt x="98" y="1019"/>
                      </a:lnTo>
                      <a:lnTo>
                        <a:pt x="92" y="1019"/>
                      </a:lnTo>
                      <a:lnTo>
                        <a:pt x="92" y="1017"/>
                      </a:lnTo>
                      <a:lnTo>
                        <a:pt x="81" y="1015"/>
                      </a:lnTo>
                      <a:lnTo>
                        <a:pt x="79" y="1013"/>
                      </a:lnTo>
                      <a:lnTo>
                        <a:pt x="77" y="1013"/>
                      </a:lnTo>
                      <a:lnTo>
                        <a:pt x="79" y="1013"/>
                      </a:lnTo>
                      <a:lnTo>
                        <a:pt x="77" y="1011"/>
                      </a:lnTo>
                      <a:lnTo>
                        <a:pt x="75" y="1011"/>
                      </a:lnTo>
                      <a:lnTo>
                        <a:pt x="73" y="1011"/>
                      </a:lnTo>
                      <a:lnTo>
                        <a:pt x="73" y="1010"/>
                      </a:lnTo>
                      <a:lnTo>
                        <a:pt x="73" y="1011"/>
                      </a:lnTo>
                      <a:lnTo>
                        <a:pt x="75" y="1011"/>
                      </a:lnTo>
                      <a:lnTo>
                        <a:pt x="75" y="1010"/>
                      </a:lnTo>
                      <a:lnTo>
                        <a:pt x="73" y="1010"/>
                      </a:lnTo>
                      <a:lnTo>
                        <a:pt x="75" y="1010"/>
                      </a:lnTo>
                      <a:lnTo>
                        <a:pt x="73" y="1010"/>
                      </a:lnTo>
                      <a:lnTo>
                        <a:pt x="73" y="1008"/>
                      </a:lnTo>
                      <a:lnTo>
                        <a:pt x="75" y="1008"/>
                      </a:lnTo>
                      <a:lnTo>
                        <a:pt x="73" y="1008"/>
                      </a:lnTo>
                      <a:lnTo>
                        <a:pt x="73" y="1006"/>
                      </a:lnTo>
                      <a:lnTo>
                        <a:pt x="73" y="1008"/>
                      </a:lnTo>
                      <a:lnTo>
                        <a:pt x="71" y="1008"/>
                      </a:lnTo>
                      <a:lnTo>
                        <a:pt x="71" y="1006"/>
                      </a:lnTo>
                      <a:lnTo>
                        <a:pt x="73" y="1006"/>
                      </a:lnTo>
                      <a:lnTo>
                        <a:pt x="71" y="1006"/>
                      </a:lnTo>
                      <a:lnTo>
                        <a:pt x="69" y="1006"/>
                      </a:lnTo>
                      <a:lnTo>
                        <a:pt x="68" y="1006"/>
                      </a:lnTo>
                      <a:lnTo>
                        <a:pt x="68" y="1004"/>
                      </a:lnTo>
                      <a:lnTo>
                        <a:pt x="68" y="1002"/>
                      </a:lnTo>
                      <a:lnTo>
                        <a:pt x="66" y="1002"/>
                      </a:lnTo>
                      <a:lnTo>
                        <a:pt x="66" y="1000"/>
                      </a:lnTo>
                      <a:lnTo>
                        <a:pt x="66" y="998"/>
                      </a:lnTo>
                      <a:lnTo>
                        <a:pt x="66" y="996"/>
                      </a:lnTo>
                      <a:lnTo>
                        <a:pt x="66" y="995"/>
                      </a:lnTo>
                      <a:lnTo>
                        <a:pt x="64" y="995"/>
                      </a:lnTo>
                      <a:lnTo>
                        <a:pt x="64" y="993"/>
                      </a:lnTo>
                      <a:lnTo>
                        <a:pt x="66" y="993"/>
                      </a:lnTo>
                      <a:lnTo>
                        <a:pt x="68" y="993"/>
                      </a:lnTo>
                      <a:lnTo>
                        <a:pt x="66" y="993"/>
                      </a:lnTo>
                      <a:lnTo>
                        <a:pt x="66" y="991"/>
                      </a:lnTo>
                      <a:lnTo>
                        <a:pt x="64" y="991"/>
                      </a:lnTo>
                      <a:lnTo>
                        <a:pt x="62" y="991"/>
                      </a:lnTo>
                      <a:lnTo>
                        <a:pt x="62" y="989"/>
                      </a:lnTo>
                      <a:lnTo>
                        <a:pt x="62" y="987"/>
                      </a:lnTo>
                      <a:lnTo>
                        <a:pt x="64" y="987"/>
                      </a:lnTo>
                      <a:lnTo>
                        <a:pt x="64" y="985"/>
                      </a:lnTo>
                      <a:lnTo>
                        <a:pt x="62" y="985"/>
                      </a:lnTo>
                      <a:lnTo>
                        <a:pt x="62" y="983"/>
                      </a:lnTo>
                      <a:lnTo>
                        <a:pt x="60" y="983"/>
                      </a:lnTo>
                      <a:lnTo>
                        <a:pt x="60" y="981"/>
                      </a:lnTo>
                      <a:lnTo>
                        <a:pt x="60" y="979"/>
                      </a:lnTo>
                      <a:lnTo>
                        <a:pt x="62" y="979"/>
                      </a:lnTo>
                      <a:lnTo>
                        <a:pt x="62" y="978"/>
                      </a:lnTo>
                      <a:lnTo>
                        <a:pt x="64" y="978"/>
                      </a:lnTo>
                      <a:lnTo>
                        <a:pt x="64" y="976"/>
                      </a:lnTo>
                      <a:lnTo>
                        <a:pt x="62" y="976"/>
                      </a:lnTo>
                      <a:lnTo>
                        <a:pt x="62" y="974"/>
                      </a:lnTo>
                      <a:lnTo>
                        <a:pt x="64" y="974"/>
                      </a:lnTo>
                      <a:lnTo>
                        <a:pt x="64" y="972"/>
                      </a:lnTo>
                      <a:lnTo>
                        <a:pt x="62" y="972"/>
                      </a:lnTo>
                      <a:lnTo>
                        <a:pt x="62" y="970"/>
                      </a:lnTo>
                      <a:lnTo>
                        <a:pt x="64" y="970"/>
                      </a:lnTo>
                      <a:lnTo>
                        <a:pt x="62" y="970"/>
                      </a:lnTo>
                      <a:lnTo>
                        <a:pt x="62" y="968"/>
                      </a:lnTo>
                      <a:lnTo>
                        <a:pt x="62" y="966"/>
                      </a:lnTo>
                      <a:lnTo>
                        <a:pt x="64" y="966"/>
                      </a:lnTo>
                      <a:lnTo>
                        <a:pt x="62" y="966"/>
                      </a:lnTo>
                      <a:lnTo>
                        <a:pt x="64" y="966"/>
                      </a:lnTo>
                      <a:lnTo>
                        <a:pt x="64" y="964"/>
                      </a:lnTo>
                      <a:lnTo>
                        <a:pt x="64" y="966"/>
                      </a:lnTo>
                      <a:lnTo>
                        <a:pt x="64" y="964"/>
                      </a:lnTo>
                      <a:lnTo>
                        <a:pt x="64" y="963"/>
                      </a:lnTo>
                      <a:lnTo>
                        <a:pt x="62" y="963"/>
                      </a:lnTo>
                      <a:lnTo>
                        <a:pt x="64" y="963"/>
                      </a:lnTo>
                      <a:lnTo>
                        <a:pt x="64" y="961"/>
                      </a:lnTo>
                      <a:lnTo>
                        <a:pt x="62" y="963"/>
                      </a:lnTo>
                      <a:lnTo>
                        <a:pt x="62" y="961"/>
                      </a:lnTo>
                      <a:lnTo>
                        <a:pt x="62" y="959"/>
                      </a:lnTo>
                      <a:lnTo>
                        <a:pt x="64" y="961"/>
                      </a:lnTo>
                      <a:lnTo>
                        <a:pt x="64" y="959"/>
                      </a:lnTo>
                      <a:lnTo>
                        <a:pt x="62" y="959"/>
                      </a:lnTo>
                      <a:lnTo>
                        <a:pt x="62" y="957"/>
                      </a:lnTo>
                      <a:lnTo>
                        <a:pt x="60" y="953"/>
                      </a:lnTo>
                      <a:lnTo>
                        <a:pt x="56" y="946"/>
                      </a:lnTo>
                      <a:lnTo>
                        <a:pt x="51" y="942"/>
                      </a:lnTo>
                      <a:lnTo>
                        <a:pt x="45" y="932"/>
                      </a:lnTo>
                      <a:lnTo>
                        <a:pt x="39" y="930"/>
                      </a:lnTo>
                      <a:lnTo>
                        <a:pt x="37" y="929"/>
                      </a:lnTo>
                      <a:lnTo>
                        <a:pt x="39" y="929"/>
                      </a:lnTo>
                      <a:lnTo>
                        <a:pt x="41" y="929"/>
                      </a:lnTo>
                      <a:lnTo>
                        <a:pt x="41" y="927"/>
                      </a:lnTo>
                      <a:lnTo>
                        <a:pt x="41" y="925"/>
                      </a:lnTo>
                      <a:lnTo>
                        <a:pt x="43" y="925"/>
                      </a:lnTo>
                      <a:lnTo>
                        <a:pt x="45" y="925"/>
                      </a:lnTo>
                      <a:lnTo>
                        <a:pt x="45" y="923"/>
                      </a:lnTo>
                      <a:lnTo>
                        <a:pt x="47" y="923"/>
                      </a:lnTo>
                      <a:lnTo>
                        <a:pt x="49" y="923"/>
                      </a:lnTo>
                      <a:lnTo>
                        <a:pt x="49" y="921"/>
                      </a:lnTo>
                      <a:lnTo>
                        <a:pt x="51" y="921"/>
                      </a:lnTo>
                      <a:lnTo>
                        <a:pt x="54" y="915"/>
                      </a:lnTo>
                      <a:lnTo>
                        <a:pt x="60" y="919"/>
                      </a:lnTo>
                      <a:lnTo>
                        <a:pt x="60" y="917"/>
                      </a:lnTo>
                      <a:lnTo>
                        <a:pt x="60" y="915"/>
                      </a:lnTo>
                      <a:lnTo>
                        <a:pt x="60" y="914"/>
                      </a:lnTo>
                      <a:lnTo>
                        <a:pt x="60" y="912"/>
                      </a:lnTo>
                      <a:lnTo>
                        <a:pt x="62" y="912"/>
                      </a:lnTo>
                      <a:lnTo>
                        <a:pt x="60" y="912"/>
                      </a:lnTo>
                      <a:lnTo>
                        <a:pt x="60" y="910"/>
                      </a:lnTo>
                      <a:lnTo>
                        <a:pt x="62" y="910"/>
                      </a:lnTo>
                      <a:lnTo>
                        <a:pt x="64" y="910"/>
                      </a:lnTo>
                      <a:lnTo>
                        <a:pt x="64" y="908"/>
                      </a:lnTo>
                      <a:lnTo>
                        <a:pt x="66" y="908"/>
                      </a:lnTo>
                      <a:lnTo>
                        <a:pt x="68" y="908"/>
                      </a:lnTo>
                      <a:lnTo>
                        <a:pt x="69" y="908"/>
                      </a:lnTo>
                      <a:lnTo>
                        <a:pt x="71" y="908"/>
                      </a:lnTo>
                      <a:lnTo>
                        <a:pt x="71" y="906"/>
                      </a:lnTo>
                      <a:lnTo>
                        <a:pt x="73" y="908"/>
                      </a:lnTo>
                      <a:lnTo>
                        <a:pt x="73" y="906"/>
                      </a:lnTo>
                      <a:lnTo>
                        <a:pt x="75" y="906"/>
                      </a:lnTo>
                      <a:lnTo>
                        <a:pt x="75" y="904"/>
                      </a:lnTo>
                      <a:lnTo>
                        <a:pt x="77" y="904"/>
                      </a:lnTo>
                      <a:lnTo>
                        <a:pt x="77" y="902"/>
                      </a:lnTo>
                      <a:lnTo>
                        <a:pt x="75" y="902"/>
                      </a:lnTo>
                      <a:lnTo>
                        <a:pt x="73" y="902"/>
                      </a:lnTo>
                      <a:lnTo>
                        <a:pt x="73" y="900"/>
                      </a:lnTo>
                      <a:lnTo>
                        <a:pt x="75" y="900"/>
                      </a:lnTo>
                      <a:lnTo>
                        <a:pt x="75" y="898"/>
                      </a:lnTo>
                      <a:lnTo>
                        <a:pt x="73" y="898"/>
                      </a:lnTo>
                      <a:lnTo>
                        <a:pt x="75" y="898"/>
                      </a:lnTo>
                      <a:lnTo>
                        <a:pt x="75" y="897"/>
                      </a:lnTo>
                      <a:lnTo>
                        <a:pt x="75" y="895"/>
                      </a:lnTo>
                      <a:lnTo>
                        <a:pt x="73" y="895"/>
                      </a:lnTo>
                      <a:lnTo>
                        <a:pt x="71" y="895"/>
                      </a:lnTo>
                      <a:lnTo>
                        <a:pt x="71" y="893"/>
                      </a:lnTo>
                      <a:lnTo>
                        <a:pt x="69" y="893"/>
                      </a:lnTo>
                      <a:lnTo>
                        <a:pt x="69" y="891"/>
                      </a:lnTo>
                      <a:lnTo>
                        <a:pt x="69" y="889"/>
                      </a:lnTo>
                      <a:lnTo>
                        <a:pt x="69" y="887"/>
                      </a:lnTo>
                      <a:lnTo>
                        <a:pt x="68" y="887"/>
                      </a:lnTo>
                      <a:lnTo>
                        <a:pt x="66" y="887"/>
                      </a:lnTo>
                      <a:lnTo>
                        <a:pt x="64" y="887"/>
                      </a:lnTo>
                      <a:lnTo>
                        <a:pt x="64" y="885"/>
                      </a:lnTo>
                      <a:lnTo>
                        <a:pt x="62" y="885"/>
                      </a:lnTo>
                      <a:lnTo>
                        <a:pt x="60" y="885"/>
                      </a:lnTo>
                      <a:lnTo>
                        <a:pt x="58" y="885"/>
                      </a:lnTo>
                      <a:lnTo>
                        <a:pt x="58" y="883"/>
                      </a:lnTo>
                      <a:lnTo>
                        <a:pt x="60" y="883"/>
                      </a:lnTo>
                      <a:lnTo>
                        <a:pt x="62" y="883"/>
                      </a:lnTo>
                      <a:lnTo>
                        <a:pt x="62" y="882"/>
                      </a:lnTo>
                      <a:lnTo>
                        <a:pt x="64" y="880"/>
                      </a:lnTo>
                      <a:lnTo>
                        <a:pt x="66" y="880"/>
                      </a:lnTo>
                      <a:lnTo>
                        <a:pt x="66" y="878"/>
                      </a:lnTo>
                      <a:lnTo>
                        <a:pt x="68" y="878"/>
                      </a:lnTo>
                      <a:lnTo>
                        <a:pt x="66" y="878"/>
                      </a:lnTo>
                      <a:lnTo>
                        <a:pt x="66" y="876"/>
                      </a:lnTo>
                      <a:lnTo>
                        <a:pt x="68" y="876"/>
                      </a:lnTo>
                      <a:lnTo>
                        <a:pt x="68" y="874"/>
                      </a:lnTo>
                      <a:lnTo>
                        <a:pt x="66" y="874"/>
                      </a:lnTo>
                      <a:lnTo>
                        <a:pt x="66" y="872"/>
                      </a:lnTo>
                      <a:lnTo>
                        <a:pt x="64" y="872"/>
                      </a:lnTo>
                      <a:lnTo>
                        <a:pt x="64" y="870"/>
                      </a:lnTo>
                      <a:lnTo>
                        <a:pt x="66" y="870"/>
                      </a:lnTo>
                      <a:lnTo>
                        <a:pt x="66" y="868"/>
                      </a:lnTo>
                      <a:lnTo>
                        <a:pt x="66" y="866"/>
                      </a:lnTo>
                      <a:lnTo>
                        <a:pt x="66" y="865"/>
                      </a:lnTo>
                      <a:lnTo>
                        <a:pt x="66" y="863"/>
                      </a:lnTo>
                      <a:lnTo>
                        <a:pt x="66" y="861"/>
                      </a:lnTo>
                      <a:lnTo>
                        <a:pt x="64" y="861"/>
                      </a:lnTo>
                      <a:lnTo>
                        <a:pt x="66" y="861"/>
                      </a:lnTo>
                      <a:lnTo>
                        <a:pt x="66" y="859"/>
                      </a:lnTo>
                      <a:lnTo>
                        <a:pt x="68" y="859"/>
                      </a:lnTo>
                      <a:lnTo>
                        <a:pt x="69" y="859"/>
                      </a:lnTo>
                      <a:lnTo>
                        <a:pt x="69" y="857"/>
                      </a:lnTo>
                      <a:lnTo>
                        <a:pt x="69" y="855"/>
                      </a:lnTo>
                      <a:lnTo>
                        <a:pt x="68" y="855"/>
                      </a:lnTo>
                      <a:lnTo>
                        <a:pt x="68" y="853"/>
                      </a:lnTo>
                      <a:lnTo>
                        <a:pt x="68" y="851"/>
                      </a:lnTo>
                      <a:lnTo>
                        <a:pt x="69" y="851"/>
                      </a:lnTo>
                      <a:lnTo>
                        <a:pt x="69" y="853"/>
                      </a:lnTo>
                      <a:lnTo>
                        <a:pt x="71" y="853"/>
                      </a:lnTo>
                      <a:lnTo>
                        <a:pt x="69" y="851"/>
                      </a:lnTo>
                      <a:lnTo>
                        <a:pt x="71" y="851"/>
                      </a:lnTo>
                      <a:lnTo>
                        <a:pt x="71" y="850"/>
                      </a:lnTo>
                      <a:lnTo>
                        <a:pt x="71" y="848"/>
                      </a:lnTo>
                      <a:lnTo>
                        <a:pt x="71" y="846"/>
                      </a:lnTo>
                      <a:lnTo>
                        <a:pt x="69" y="846"/>
                      </a:lnTo>
                      <a:lnTo>
                        <a:pt x="71" y="846"/>
                      </a:lnTo>
                      <a:lnTo>
                        <a:pt x="71" y="844"/>
                      </a:lnTo>
                      <a:lnTo>
                        <a:pt x="71" y="842"/>
                      </a:lnTo>
                      <a:lnTo>
                        <a:pt x="73" y="842"/>
                      </a:lnTo>
                      <a:lnTo>
                        <a:pt x="73" y="840"/>
                      </a:lnTo>
                      <a:lnTo>
                        <a:pt x="75" y="840"/>
                      </a:lnTo>
                      <a:lnTo>
                        <a:pt x="75" y="838"/>
                      </a:lnTo>
                      <a:lnTo>
                        <a:pt x="75" y="836"/>
                      </a:lnTo>
                      <a:lnTo>
                        <a:pt x="73" y="836"/>
                      </a:lnTo>
                      <a:lnTo>
                        <a:pt x="73" y="834"/>
                      </a:lnTo>
                      <a:lnTo>
                        <a:pt x="75" y="834"/>
                      </a:lnTo>
                      <a:lnTo>
                        <a:pt x="77" y="834"/>
                      </a:lnTo>
                      <a:lnTo>
                        <a:pt x="79" y="834"/>
                      </a:lnTo>
                      <a:lnTo>
                        <a:pt x="79" y="833"/>
                      </a:lnTo>
                      <a:lnTo>
                        <a:pt x="79" y="831"/>
                      </a:lnTo>
                      <a:lnTo>
                        <a:pt x="81" y="831"/>
                      </a:lnTo>
                      <a:lnTo>
                        <a:pt x="81" y="833"/>
                      </a:lnTo>
                      <a:lnTo>
                        <a:pt x="83" y="833"/>
                      </a:lnTo>
                      <a:lnTo>
                        <a:pt x="83" y="831"/>
                      </a:lnTo>
                      <a:lnTo>
                        <a:pt x="85" y="829"/>
                      </a:lnTo>
                      <a:lnTo>
                        <a:pt x="86" y="829"/>
                      </a:lnTo>
                      <a:lnTo>
                        <a:pt x="86" y="827"/>
                      </a:lnTo>
                      <a:lnTo>
                        <a:pt x="88" y="827"/>
                      </a:lnTo>
                      <a:lnTo>
                        <a:pt x="88" y="825"/>
                      </a:lnTo>
                      <a:lnTo>
                        <a:pt x="90" y="825"/>
                      </a:lnTo>
                      <a:lnTo>
                        <a:pt x="92" y="825"/>
                      </a:lnTo>
                      <a:lnTo>
                        <a:pt x="92" y="823"/>
                      </a:lnTo>
                      <a:lnTo>
                        <a:pt x="94" y="823"/>
                      </a:lnTo>
                      <a:lnTo>
                        <a:pt x="96" y="823"/>
                      </a:lnTo>
                      <a:lnTo>
                        <a:pt x="98" y="823"/>
                      </a:lnTo>
                      <a:lnTo>
                        <a:pt x="100" y="823"/>
                      </a:lnTo>
                      <a:lnTo>
                        <a:pt x="101" y="823"/>
                      </a:lnTo>
                      <a:lnTo>
                        <a:pt x="103" y="823"/>
                      </a:lnTo>
                      <a:lnTo>
                        <a:pt x="103" y="825"/>
                      </a:lnTo>
                      <a:lnTo>
                        <a:pt x="105" y="825"/>
                      </a:lnTo>
                      <a:lnTo>
                        <a:pt x="105" y="823"/>
                      </a:lnTo>
                      <a:lnTo>
                        <a:pt x="105" y="821"/>
                      </a:lnTo>
                      <a:lnTo>
                        <a:pt x="107" y="819"/>
                      </a:lnTo>
                      <a:lnTo>
                        <a:pt x="105" y="818"/>
                      </a:lnTo>
                      <a:lnTo>
                        <a:pt x="107" y="818"/>
                      </a:lnTo>
                      <a:lnTo>
                        <a:pt x="107" y="816"/>
                      </a:lnTo>
                      <a:lnTo>
                        <a:pt x="107" y="814"/>
                      </a:lnTo>
                      <a:lnTo>
                        <a:pt x="107" y="812"/>
                      </a:lnTo>
                      <a:lnTo>
                        <a:pt x="107" y="810"/>
                      </a:lnTo>
                      <a:lnTo>
                        <a:pt x="107" y="808"/>
                      </a:lnTo>
                      <a:lnTo>
                        <a:pt x="105" y="808"/>
                      </a:lnTo>
                      <a:lnTo>
                        <a:pt x="105" y="806"/>
                      </a:lnTo>
                      <a:lnTo>
                        <a:pt x="107" y="806"/>
                      </a:lnTo>
                      <a:lnTo>
                        <a:pt x="109" y="806"/>
                      </a:lnTo>
                      <a:lnTo>
                        <a:pt x="111" y="806"/>
                      </a:lnTo>
                      <a:lnTo>
                        <a:pt x="113" y="806"/>
                      </a:lnTo>
                      <a:lnTo>
                        <a:pt x="115" y="806"/>
                      </a:lnTo>
                      <a:lnTo>
                        <a:pt x="115" y="804"/>
                      </a:lnTo>
                      <a:lnTo>
                        <a:pt x="116" y="802"/>
                      </a:lnTo>
                      <a:lnTo>
                        <a:pt x="116" y="801"/>
                      </a:lnTo>
                      <a:lnTo>
                        <a:pt x="115" y="801"/>
                      </a:lnTo>
                      <a:lnTo>
                        <a:pt x="113" y="799"/>
                      </a:lnTo>
                      <a:lnTo>
                        <a:pt x="111" y="799"/>
                      </a:lnTo>
                      <a:lnTo>
                        <a:pt x="111" y="797"/>
                      </a:lnTo>
                      <a:lnTo>
                        <a:pt x="113" y="797"/>
                      </a:lnTo>
                      <a:lnTo>
                        <a:pt x="113" y="795"/>
                      </a:lnTo>
                      <a:lnTo>
                        <a:pt x="113" y="793"/>
                      </a:lnTo>
                      <a:lnTo>
                        <a:pt x="113" y="791"/>
                      </a:lnTo>
                      <a:lnTo>
                        <a:pt x="113" y="793"/>
                      </a:lnTo>
                      <a:lnTo>
                        <a:pt x="113" y="791"/>
                      </a:lnTo>
                      <a:lnTo>
                        <a:pt x="111" y="791"/>
                      </a:lnTo>
                      <a:lnTo>
                        <a:pt x="111" y="789"/>
                      </a:lnTo>
                      <a:lnTo>
                        <a:pt x="109" y="789"/>
                      </a:lnTo>
                      <a:lnTo>
                        <a:pt x="109" y="787"/>
                      </a:lnTo>
                      <a:lnTo>
                        <a:pt x="107" y="787"/>
                      </a:lnTo>
                      <a:lnTo>
                        <a:pt x="109" y="787"/>
                      </a:lnTo>
                      <a:lnTo>
                        <a:pt x="111" y="787"/>
                      </a:lnTo>
                      <a:lnTo>
                        <a:pt x="111" y="786"/>
                      </a:lnTo>
                      <a:lnTo>
                        <a:pt x="111" y="784"/>
                      </a:lnTo>
                      <a:lnTo>
                        <a:pt x="111" y="782"/>
                      </a:lnTo>
                      <a:lnTo>
                        <a:pt x="109" y="782"/>
                      </a:lnTo>
                      <a:lnTo>
                        <a:pt x="109" y="780"/>
                      </a:lnTo>
                      <a:lnTo>
                        <a:pt x="107" y="780"/>
                      </a:lnTo>
                      <a:lnTo>
                        <a:pt x="107" y="778"/>
                      </a:lnTo>
                      <a:lnTo>
                        <a:pt x="109" y="778"/>
                      </a:lnTo>
                      <a:lnTo>
                        <a:pt x="111" y="778"/>
                      </a:lnTo>
                      <a:lnTo>
                        <a:pt x="111" y="776"/>
                      </a:lnTo>
                      <a:lnTo>
                        <a:pt x="113" y="778"/>
                      </a:lnTo>
                      <a:lnTo>
                        <a:pt x="115" y="778"/>
                      </a:lnTo>
                      <a:lnTo>
                        <a:pt x="116" y="778"/>
                      </a:lnTo>
                      <a:lnTo>
                        <a:pt x="116" y="776"/>
                      </a:lnTo>
                      <a:lnTo>
                        <a:pt x="115" y="776"/>
                      </a:lnTo>
                      <a:lnTo>
                        <a:pt x="115" y="774"/>
                      </a:lnTo>
                      <a:lnTo>
                        <a:pt x="116" y="774"/>
                      </a:lnTo>
                      <a:lnTo>
                        <a:pt x="116" y="772"/>
                      </a:lnTo>
                      <a:lnTo>
                        <a:pt x="118" y="772"/>
                      </a:lnTo>
                      <a:lnTo>
                        <a:pt x="118" y="774"/>
                      </a:lnTo>
                      <a:lnTo>
                        <a:pt x="120" y="774"/>
                      </a:lnTo>
                      <a:lnTo>
                        <a:pt x="120" y="772"/>
                      </a:lnTo>
                      <a:lnTo>
                        <a:pt x="122" y="772"/>
                      </a:lnTo>
                      <a:lnTo>
                        <a:pt x="124" y="772"/>
                      </a:lnTo>
                      <a:lnTo>
                        <a:pt x="126" y="772"/>
                      </a:lnTo>
                      <a:lnTo>
                        <a:pt x="128" y="770"/>
                      </a:lnTo>
                      <a:lnTo>
                        <a:pt x="130" y="770"/>
                      </a:lnTo>
                      <a:lnTo>
                        <a:pt x="130" y="769"/>
                      </a:lnTo>
                      <a:lnTo>
                        <a:pt x="132" y="769"/>
                      </a:lnTo>
                      <a:lnTo>
                        <a:pt x="133" y="767"/>
                      </a:lnTo>
                      <a:lnTo>
                        <a:pt x="135" y="767"/>
                      </a:lnTo>
                      <a:lnTo>
                        <a:pt x="135" y="765"/>
                      </a:lnTo>
                      <a:lnTo>
                        <a:pt x="135" y="763"/>
                      </a:lnTo>
                      <a:lnTo>
                        <a:pt x="135" y="761"/>
                      </a:lnTo>
                      <a:lnTo>
                        <a:pt x="137" y="761"/>
                      </a:lnTo>
                      <a:lnTo>
                        <a:pt x="137" y="759"/>
                      </a:lnTo>
                      <a:lnTo>
                        <a:pt x="137" y="757"/>
                      </a:lnTo>
                      <a:lnTo>
                        <a:pt x="139" y="757"/>
                      </a:lnTo>
                      <a:lnTo>
                        <a:pt x="141" y="757"/>
                      </a:lnTo>
                      <a:lnTo>
                        <a:pt x="141" y="755"/>
                      </a:lnTo>
                      <a:lnTo>
                        <a:pt x="139" y="754"/>
                      </a:lnTo>
                      <a:lnTo>
                        <a:pt x="141" y="754"/>
                      </a:lnTo>
                      <a:lnTo>
                        <a:pt x="141" y="752"/>
                      </a:lnTo>
                      <a:lnTo>
                        <a:pt x="143" y="752"/>
                      </a:lnTo>
                      <a:lnTo>
                        <a:pt x="145" y="752"/>
                      </a:lnTo>
                      <a:lnTo>
                        <a:pt x="145" y="750"/>
                      </a:lnTo>
                      <a:lnTo>
                        <a:pt x="145" y="748"/>
                      </a:lnTo>
                      <a:lnTo>
                        <a:pt x="147" y="746"/>
                      </a:lnTo>
                      <a:lnTo>
                        <a:pt x="147" y="744"/>
                      </a:lnTo>
                      <a:lnTo>
                        <a:pt x="148" y="744"/>
                      </a:lnTo>
                      <a:lnTo>
                        <a:pt x="148" y="742"/>
                      </a:lnTo>
                      <a:lnTo>
                        <a:pt x="147" y="742"/>
                      </a:lnTo>
                      <a:lnTo>
                        <a:pt x="147" y="740"/>
                      </a:lnTo>
                      <a:lnTo>
                        <a:pt x="147" y="738"/>
                      </a:lnTo>
                      <a:lnTo>
                        <a:pt x="147" y="737"/>
                      </a:lnTo>
                      <a:lnTo>
                        <a:pt x="148" y="737"/>
                      </a:lnTo>
                      <a:lnTo>
                        <a:pt x="148" y="735"/>
                      </a:lnTo>
                      <a:lnTo>
                        <a:pt x="150" y="735"/>
                      </a:lnTo>
                      <a:lnTo>
                        <a:pt x="148" y="735"/>
                      </a:lnTo>
                      <a:lnTo>
                        <a:pt x="150" y="733"/>
                      </a:lnTo>
                      <a:lnTo>
                        <a:pt x="148" y="733"/>
                      </a:lnTo>
                      <a:lnTo>
                        <a:pt x="148" y="731"/>
                      </a:lnTo>
                      <a:lnTo>
                        <a:pt x="148" y="729"/>
                      </a:lnTo>
                      <a:lnTo>
                        <a:pt x="147" y="729"/>
                      </a:lnTo>
                      <a:lnTo>
                        <a:pt x="147" y="727"/>
                      </a:lnTo>
                      <a:lnTo>
                        <a:pt x="145" y="725"/>
                      </a:lnTo>
                      <a:lnTo>
                        <a:pt x="145" y="723"/>
                      </a:lnTo>
                      <a:lnTo>
                        <a:pt x="147" y="723"/>
                      </a:lnTo>
                      <a:lnTo>
                        <a:pt x="147" y="722"/>
                      </a:lnTo>
                      <a:lnTo>
                        <a:pt x="145" y="722"/>
                      </a:lnTo>
                      <a:lnTo>
                        <a:pt x="145" y="720"/>
                      </a:lnTo>
                      <a:lnTo>
                        <a:pt x="145" y="718"/>
                      </a:lnTo>
                      <a:lnTo>
                        <a:pt x="145" y="716"/>
                      </a:lnTo>
                      <a:lnTo>
                        <a:pt x="147" y="716"/>
                      </a:lnTo>
                      <a:lnTo>
                        <a:pt x="145" y="714"/>
                      </a:lnTo>
                      <a:lnTo>
                        <a:pt x="145" y="712"/>
                      </a:lnTo>
                      <a:lnTo>
                        <a:pt x="143" y="712"/>
                      </a:lnTo>
                      <a:lnTo>
                        <a:pt x="141" y="712"/>
                      </a:lnTo>
                      <a:lnTo>
                        <a:pt x="139" y="710"/>
                      </a:lnTo>
                      <a:lnTo>
                        <a:pt x="141" y="710"/>
                      </a:lnTo>
                      <a:lnTo>
                        <a:pt x="141" y="708"/>
                      </a:lnTo>
                      <a:lnTo>
                        <a:pt x="143" y="708"/>
                      </a:lnTo>
                      <a:lnTo>
                        <a:pt x="141" y="708"/>
                      </a:lnTo>
                      <a:lnTo>
                        <a:pt x="141" y="706"/>
                      </a:lnTo>
                      <a:lnTo>
                        <a:pt x="141" y="705"/>
                      </a:lnTo>
                      <a:lnTo>
                        <a:pt x="139" y="705"/>
                      </a:lnTo>
                      <a:lnTo>
                        <a:pt x="139" y="703"/>
                      </a:lnTo>
                      <a:lnTo>
                        <a:pt x="137" y="703"/>
                      </a:lnTo>
                      <a:lnTo>
                        <a:pt x="137" y="701"/>
                      </a:lnTo>
                      <a:lnTo>
                        <a:pt x="139" y="701"/>
                      </a:lnTo>
                      <a:lnTo>
                        <a:pt x="139" y="699"/>
                      </a:lnTo>
                      <a:lnTo>
                        <a:pt x="137" y="699"/>
                      </a:lnTo>
                      <a:lnTo>
                        <a:pt x="137" y="697"/>
                      </a:lnTo>
                      <a:lnTo>
                        <a:pt x="135" y="697"/>
                      </a:lnTo>
                      <a:lnTo>
                        <a:pt x="135" y="695"/>
                      </a:lnTo>
                      <a:lnTo>
                        <a:pt x="133" y="695"/>
                      </a:lnTo>
                      <a:lnTo>
                        <a:pt x="132" y="695"/>
                      </a:lnTo>
                      <a:lnTo>
                        <a:pt x="130" y="693"/>
                      </a:lnTo>
                      <a:lnTo>
                        <a:pt x="130" y="695"/>
                      </a:lnTo>
                      <a:lnTo>
                        <a:pt x="128" y="695"/>
                      </a:lnTo>
                      <a:lnTo>
                        <a:pt x="126" y="695"/>
                      </a:lnTo>
                      <a:lnTo>
                        <a:pt x="124" y="695"/>
                      </a:lnTo>
                      <a:lnTo>
                        <a:pt x="124" y="693"/>
                      </a:lnTo>
                      <a:lnTo>
                        <a:pt x="124" y="691"/>
                      </a:lnTo>
                      <a:lnTo>
                        <a:pt x="122" y="691"/>
                      </a:lnTo>
                      <a:lnTo>
                        <a:pt x="122" y="690"/>
                      </a:lnTo>
                      <a:lnTo>
                        <a:pt x="120" y="690"/>
                      </a:lnTo>
                      <a:lnTo>
                        <a:pt x="120" y="688"/>
                      </a:lnTo>
                      <a:lnTo>
                        <a:pt x="122" y="686"/>
                      </a:lnTo>
                      <a:lnTo>
                        <a:pt x="122" y="684"/>
                      </a:lnTo>
                      <a:lnTo>
                        <a:pt x="122" y="682"/>
                      </a:lnTo>
                      <a:lnTo>
                        <a:pt x="120" y="680"/>
                      </a:lnTo>
                      <a:lnTo>
                        <a:pt x="122" y="680"/>
                      </a:lnTo>
                      <a:lnTo>
                        <a:pt x="122" y="678"/>
                      </a:lnTo>
                      <a:lnTo>
                        <a:pt x="124" y="678"/>
                      </a:lnTo>
                      <a:lnTo>
                        <a:pt x="122" y="678"/>
                      </a:lnTo>
                      <a:lnTo>
                        <a:pt x="122" y="676"/>
                      </a:lnTo>
                      <a:lnTo>
                        <a:pt x="124" y="676"/>
                      </a:lnTo>
                      <a:lnTo>
                        <a:pt x="124" y="674"/>
                      </a:lnTo>
                      <a:lnTo>
                        <a:pt x="124" y="673"/>
                      </a:lnTo>
                      <a:lnTo>
                        <a:pt x="122" y="671"/>
                      </a:lnTo>
                      <a:lnTo>
                        <a:pt x="122" y="669"/>
                      </a:lnTo>
                      <a:lnTo>
                        <a:pt x="120" y="669"/>
                      </a:lnTo>
                      <a:lnTo>
                        <a:pt x="120" y="667"/>
                      </a:lnTo>
                      <a:lnTo>
                        <a:pt x="118" y="665"/>
                      </a:lnTo>
                      <a:lnTo>
                        <a:pt x="116" y="665"/>
                      </a:lnTo>
                      <a:lnTo>
                        <a:pt x="116" y="663"/>
                      </a:lnTo>
                      <a:lnTo>
                        <a:pt x="115" y="663"/>
                      </a:lnTo>
                      <a:lnTo>
                        <a:pt x="115" y="661"/>
                      </a:lnTo>
                      <a:lnTo>
                        <a:pt x="113" y="659"/>
                      </a:lnTo>
                      <a:lnTo>
                        <a:pt x="113" y="658"/>
                      </a:lnTo>
                      <a:lnTo>
                        <a:pt x="111" y="658"/>
                      </a:lnTo>
                      <a:lnTo>
                        <a:pt x="109" y="658"/>
                      </a:lnTo>
                      <a:lnTo>
                        <a:pt x="107" y="658"/>
                      </a:lnTo>
                      <a:lnTo>
                        <a:pt x="105" y="658"/>
                      </a:lnTo>
                      <a:lnTo>
                        <a:pt x="103" y="658"/>
                      </a:lnTo>
                      <a:lnTo>
                        <a:pt x="103" y="659"/>
                      </a:lnTo>
                      <a:lnTo>
                        <a:pt x="101" y="659"/>
                      </a:lnTo>
                      <a:lnTo>
                        <a:pt x="100" y="659"/>
                      </a:lnTo>
                      <a:lnTo>
                        <a:pt x="100" y="661"/>
                      </a:lnTo>
                      <a:lnTo>
                        <a:pt x="98" y="661"/>
                      </a:lnTo>
                      <a:lnTo>
                        <a:pt x="98" y="659"/>
                      </a:lnTo>
                      <a:lnTo>
                        <a:pt x="96" y="659"/>
                      </a:lnTo>
                      <a:lnTo>
                        <a:pt x="96" y="658"/>
                      </a:lnTo>
                      <a:lnTo>
                        <a:pt x="94" y="658"/>
                      </a:lnTo>
                      <a:lnTo>
                        <a:pt x="94" y="656"/>
                      </a:lnTo>
                      <a:lnTo>
                        <a:pt x="92" y="656"/>
                      </a:lnTo>
                      <a:lnTo>
                        <a:pt x="92" y="654"/>
                      </a:lnTo>
                      <a:lnTo>
                        <a:pt x="92" y="652"/>
                      </a:lnTo>
                      <a:lnTo>
                        <a:pt x="90" y="650"/>
                      </a:lnTo>
                      <a:lnTo>
                        <a:pt x="88" y="650"/>
                      </a:lnTo>
                      <a:lnTo>
                        <a:pt x="88" y="648"/>
                      </a:lnTo>
                      <a:lnTo>
                        <a:pt x="86" y="648"/>
                      </a:lnTo>
                      <a:lnTo>
                        <a:pt x="88" y="648"/>
                      </a:lnTo>
                      <a:lnTo>
                        <a:pt x="88" y="646"/>
                      </a:lnTo>
                      <a:lnTo>
                        <a:pt x="86" y="646"/>
                      </a:lnTo>
                      <a:lnTo>
                        <a:pt x="88" y="646"/>
                      </a:lnTo>
                      <a:lnTo>
                        <a:pt x="88" y="644"/>
                      </a:lnTo>
                      <a:lnTo>
                        <a:pt x="88" y="642"/>
                      </a:lnTo>
                      <a:lnTo>
                        <a:pt x="86" y="642"/>
                      </a:lnTo>
                      <a:lnTo>
                        <a:pt x="86" y="641"/>
                      </a:lnTo>
                      <a:lnTo>
                        <a:pt x="85" y="641"/>
                      </a:lnTo>
                      <a:lnTo>
                        <a:pt x="85" y="639"/>
                      </a:lnTo>
                      <a:lnTo>
                        <a:pt x="83" y="641"/>
                      </a:lnTo>
                      <a:lnTo>
                        <a:pt x="83" y="639"/>
                      </a:lnTo>
                      <a:lnTo>
                        <a:pt x="81" y="639"/>
                      </a:lnTo>
                      <a:lnTo>
                        <a:pt x="79" y="639"/>
                      </a:lnTo>
                      <a:lnTo>
                        <a:pt x="79" y="637"/>
                      </a:lnTo>
                      <a:lnTo>
                        <a:pt x="77" y="637"/>
                      </a:lnTo>
                      <a:lnTo>
                        <a:pt x="75" y="635"/>
                      </a:lnTo>
                      <a:lnTo>
                        <a:pt x="75" y="637"/>
                      </a:lnTo>
                      <a:lnTo>
                        <a:pt x="73" y="637"/>
                      </a:lnTo>
                      <a:lnTo>
                        <a:pt x="73" y="635"/>
                      </a:lnTo>
                      <a:lnTo>
                        <a:pt x="73" y="633"/>
                      </a:lnTo>
                      <a:lnTo>
                        <a:pt x="71" y="633"/>
                      </a:lnTo>
                      <a:lnTo>
                        <a:pt x="71" y="631"/>
                      </a:lnTo>
                      <a:lnTo>
                        <a:pt x="69" y="631"/>
                      </a:lnTo>
                      <a:lnTo>
                        <a:pt x="69" y="629"/>
                      </a:lnTo>
                      <a:lnTo>
                        <a:pt x="68" y="629"/>
                      </a:lnTo>
                      <a:lnTo>
                        <a:pt x="68" y="631"/>
                      </a:lnTo>
                      <a:lnTo>
                        <a:pt x="66" y="631"/>
                      </a:lnTo>
                      <a:lnTo>
                        <a:pt x="66" y="629"/>
                      </a:lnTo>
                      <a:lnTo>
                        <a:pt x="64" y="627"/>
                      </a:lnTo>
                      <a:lnTo>
                        <a:pt x="66" y="627"/>
                      </a:lnTo>
                      <a:lnTo>
                        <a:pt x="64" y="627"/>
                      </a:lnTo>
                      <a:lnTo>
                        <a:pt x="66" y="627"/>
                      </a:lnTo>
                      <a:lnTo>
                        <a:pt x="66" y="626"/>
                      </a:lnTo>
                      <a:lnTo>
                        <a:pt x="64" y="624"/>
                      </a:lnTo>
                      <a:lnTo>
                        <a:pt x="62" y="624"/>
                      </a:lnTo>
                      <a:lnTo>
                        <a:pt x="62" y="622"/>
                      </a:lnTo>
                      <a:lnTo>
                        <a:pt x="62" y="620"/>
                      </a:lnTo>
                      <a:lnTo>
                        <a:pt x="60" y="620"/>
                      </a:lnTo>
                      <a:lnTo>
                        <a:pt x="58" y="620"/>
                      </a:lnTo>
                      <a:lnTo>
                        <a:pt x="58" y="618"/>
                      </a:lnTo>
                      <a:lnTo>
                        <a:pt x="56" y="618"/>
                      </a:lnTo>
                      <a:lnTo>
                        <a:pt x="56" y="616"/>
                      </a:lnTo>
                      <a:lnTo>
                        <a:pt x="54" y="616"/>
                      </a:lnTo>
                      <a:lnTo>
                        <a:pt x="54" y="618"/>
                      </a:lnTo>
                      <a:lnTo>
                        <a:pt x="53" y="618"/>
                      </a:lnTo>
                      <a:lnTo>
                        <a:pt x="53" y="616"/>
                      </a:lnTo>
                      <a:lnTo>
                        <a:pt x="53" y="614"/>
                      </a:lnTo>
                      <a:lnTo>
                        <a:pt x="53" y="612"/>
                      </a:lnTo>
                      <a:lnTo>
                        <a:pt x="51" y="612"/>
                      </a:lnTo>
                      <a:lnTo>
                        <a:pt x="53" y="612"/>
                      </a:lnTo>
                      <a:lnTo>
                        <a:pt x="53" y="610"/>
                      </a:lnTo>
                      <a:lnTo>
                        <a:pt x="53" y="612"/>
                      </a:lnTo>
                      <a:lnTo>
                        <a:pt x="51" y="612"/>
                      </a:lnTo>
                      <a:lnTo>
                        <a:pt x="51" y="610"/>
                      </a:lnTo>
                      <a:lnTo>
                        <a:pt x="49" y="610"/>
                      </a:lnTo>
                      <a:lnTo>
                        <a:pt x="49" y="612"/>
                      </a:lnTo>
                      <a:lnTo>
                        <a:pt x="47" y="612"/>
                      </a:lnTo>
                      <a:lnTo>
                        <a:pt x="47" y="610"/>
                      </a:lnTo>
                      <a:lnTo>
                        <a:pt x="45" y="610"/>
                      </a:lnTo>
                      <a:lnTo>
                        <a:pt x="43" y="610"/>
                      </a:lnTo>
                      <a:lnTo>
                        <a:pt x="43" y="609"/>
                      </a:lnTo>
                      <a:lnTo>
                        <a:pt x="43" y="607"/>
                      </a:lnTo>
                      <a:lnTo>
                        <a:pt x="41" y="607"/>
                      </a:lnTo>
                      <a:lnTo>
                        <a:pt x="41" y="605"/>
                      </a:lnTo>
                      <a:lnTo>
                        <a:pt x="41" y="603"/>
                      </a:lnTo>
                      <a:lnTo>
                        <a:pt x="39" y="603"/>
                      </a:lnTo>
                      <a:lnTo>
                        <a:pt x="39" y="601"/>
                      </a:lnTo>
                      <a:lnTo>
                        <a:pt x="37" y="601"/>
                      </a:lnTo>
                      <a:lnTo>
                        <a:pt x="36" y="601"/>
                      </a:lnTo>
                      <a:lnTo>
                        <a:pt x="36" y="603"/>
                      </a:lnTo>
                      <a:lnTo>
                        <a:pt x="36" y="605"/>
                      </a:lnTo>
                      <a:lnTo>
                        <a:pt x="34" y="605"/>
                      </a:lnTo>
                      <a:lnTo>
                        <a:pt x="34" y="607"/>
                      </a:lnTo>
                      <a:lnTo>
                        <a:pt x="32" y="607"/>
                      </a:lnTo>
                      <a:lnTo>
                        <a:pt x="32" y="609"/>
                      </a:lnTo>
                      <a:lnTo>
                        <a:pt x="32" y="610"/>
                      </a:lnTo>
                      <a:lnTo>
                        <a:pt x="30" y="610"/>
                      </a:lnTo>
                      <a:lnTo>
                        <a:pt x="28" y="610"/>
                      </a:lnTo>
                      <a:lnTo>
                        <a:pt x="28" y="609"/>
                      </a:lnTo>
                      <a:lnTo>
                        <a:pt x="26" y="609"/>
                      </a:lnTo>
                      <a:lnTo>
                        <a:pt x="26" y="607"/>
                      </a:lnTo>
                      <a:lnTo>
                        <a:pt x="26" y="605"/>
                      </a:lnTo>
                      <a:lnTo>
                        <a:pt x="26" y="603"/>
                      </a:lnTo>
                      <a:lnTo>
                        <a:pt x="24" y="603"/>
                      </a:lnTo>
                      <a:lnTo>
                        <a:pt x="24" y="601"/>
                      </a:lnTo>
                      <a:lnTo>
                        <a:pt x="22" y="601"/>
                      </a:lnTo>
                      <a:lnTo>
                        <a:pt x="22" y="599"/>
                      </a:lnTo>
                      <a:lnTo>
                        <a:pt x="24" y="597"/>
                      </a:lnTo>
                      <a:lnTo>
                        <a:pt x="22" y="597"/>
                      </a:lnTo>
                      <a:lnTo>
                        <a:pt x="21" y="597"/>
                      </a:lnTo>
                      <a:lnTo>
                        <a:pt x="19" y="597"/>
                      </a:lnTo>
                      <a:lnTo>
                        <a:pt x="19" y="595"/>
                      </a:lnTo>
                      <a:lnTo>
                        <a:pt x="17" y="595"/>
                      </a:lnTo>
                      <a:lnTo>
                        <a:pt x="17" y="594"/>
                      </a:lnTo>
                      <a:lnTo>
                        <a:pt x="19" y="594"/>
                      </a:lnTo>
                      <a:lnTo>
                        <a:pt x="21" y="594"/>
                      </a:lnTo>
                      <a:lnTo>
                        <a:pt x="21" y="592"/>
                      </a:lnTo>
                      <a:lnTo>
                        <a:pt x="19" y="590"/>
                      </a:lnTo>
                      <a:lnTo>
                        <a:pt x="21" y="590"/>
                      </a:lnTo>
                      <a:lnTo>
                        <a:pt x="21" y="588"/>
                      </a:lnTo>
                      <a:lnTo>
                        <a:pt x="19" y="588"/>
                      </a:lnTo>
                      <a:lnTo>
                        <a:pt x="19" y="586"/>
                      </a:lnTo>
                      <a:lnTo>
                        <a:pt x="21" y="586"/>
                      </a:lnTo>
                      <a:lnTo>
                        <a:pt x="19" y="584"/>
                      </a:lnTo>
                      <a:lnTo>
                        <a:pt x="17" y="584"/>
                      </a:lnTo>
                      <a:lnTo>
                        <a:pt x="17" y="582"/>
                      </a:lnTo>
                      <a:lnTo>
                        <a:pt x="15" y="582"/>
                      </a:lnTo>
                      <a:lnTo>
                        <a:pt x="13" y="582"/>
                      </a:lnTo>
                      <a:lnTo>
                        <a:pt x="13" y="580"/>
                      </a:lnTo>
                      <a:lnTo>
                        <a:pt x="15" y="580"/>
                      </a:lnTo>
                      <a:lnTo>
                        <a:pt x="17" y="580"/>
                      </a:lnTo>
                      <a:lnTo>
                        <a:pt x="17" y="578"/>
                      </a:lnTo>
                      <a:lnTo>
                        <a:pt x="19" y="578"/>
                      </a:lnTo>
                      <a:lnTo>
                        <a:pt x="21" y="578"/>
                      </a:lnTo>
                      <a:lnTo>
                        <a:pt x="21" y="577"/>
                      </a:lnTo>
                      <a:lnTo>
                        <a:pt x="19" y="577"/>
                      </a:lnTo>
                      <a:lnTo>
                        <a:pt x="19" y="575"/>
                      </a:lnTo>
                      <a:lnTo>
                        <a:pt x="17" y="575"/>
                      </a:lnTo>
                      <a:lnTo>
                        <a:pt x="15" y="575"/>
                      </a:lnTo>
                      <a:lnTo>
                        <a:pt x="17" y="575"/>
                      </a:lnTo>
                      <a:lnTo>
                        <a:pt x="17" y="573"/>
                      </a:lnTo>
                      <a:lnTo>
                        <a:pt x="19" y="573"/>
                      </a:lnTo>
                      <a:lnTo>
                        <a:pt x="19" y="571"/>
                      </a:lnTo>
                      <a:lnTo>
                        <a:pt x="17" y="571"/>
                      </a:lnTo>
                      <a:lnTo>
                        <a:pt x="17" y="569"/>
                      </a:lnTo>
                      <a:lnTo>
                        <a:pt x="15" y="569"/>
                      </a:lnTo>
                      <a:lnTo>
                        <a:pt x="13" y="569"/>
                      </a:lnTo>
                      <a:lnTo>
                        <a:pt x="11" y="569"/>
                      </a:lnTo>
                      <a:lnTo>
                        <a:pt x="11" y="567"/>
                      </a:lnTo>
                      <a:lnTo>
                        <a:pt x="11" y="565"/>
                      </a:lnTo>
                      <a:lnTo>
                        <a:pt x="9" y="565"/>
                      </a:lnTo>
                      <a:lnTo>
                        <a:pt x="7" y="565"/>
                      </a:lnTo>
                      <a:lnTo>
                        <a:pt x="7" y="567"/>
                      </a:lnTo>
                      <a:lnTo>
                        <a:pt x="6" y="567"/>
                      </a:lnTo>
                      <a:lnTo>
                        <a:pt x="6" y="569"/>
                      </a:lnTo>
                      <a:lnTo>
                        <a:pt x="4" y="569"/>
                      </a:lnTo>
                      <a:lnTo>
                        <a:pt x="2" y="569"/>
                      </a:lnTo>
                      <a:lnTo>
                        <a:pt x="0" y="569"/>
                      </a:lnTo>
                      <a:lnTo>
                        <a:pt x="2" y="567"/>
                      </a:lnTo>
                      <a:lnTo>
                        <a:pt x="2" y="565"/>
                      </a:lnTo>
                      <a:lnTo>
                        <a:pt x="2" y="563"/>
                      </a:lnTo>
                      <a:lnTo>
                        <a:pt x="4" y="563"/>
                      </a:lnTo>
                      <a:lnTo>
                        <a:pt x="4" y="562"/>
                      </a:lnTo>
                      <a:lnTo>
                        <a:pt x="6" y="562"/>
                      </a:lnTo>
                      <a:lnTo>
                        <a:pt x="6" y="560"/>
                      </a:lnTo>
                      <a:lnTo>
                        <a:pt x="7" y="554"/>
                      </a:lnTo>
                      <a:lnTo>
                        <a:pt x="7" y="548"/>
                      </a:lnTo>
                      <a:lnTo>
                        <a:pt x="7" y="546"/>
                      </a:lnTo>
                      <a:lnTo>
                        <a:pt x="7" y="545"/>
                      </a:lnTo>
                      <a:lnTo>
                        <a:pt x="9" y="545"/>
                      </a:lnTo>
                      <a:lnTo>
                        <a:pt x="9" y="543"/>
                      </a:lnTo>
                      <a:lnTo>
                        <a:pt x="11" y="541"/>
                      </a:lnTo>
                      <a:lnTo>
                        <a:pt x="11" y="539"/>
                      </a:lnTo>
                      <a:lnTo>
                        <a:pt x="13" y="537"/>
                      </a:lnTo>
                      <a:lnTo>
                        <a:pt x="15" y="537"/>
                      </a:lnTo>
                      <a:lnTo>
                        <a:pt x="15" y="535"/>
                      </a:lnTo>
                      <a:lnTo>
                        <a:pt x="17" y="535"/>
                      </a:lnTo>
                      <a:lnTo>
                        <a:pt x="17" y="533"/>
                      </a:lnTo>
                      <a:lnTo>
                        <a:pt x="19" y="533"/>
                      </a:lnTo>
                      <a:lnTo>
                        <a:pt x="19" y="531"/>
                      </a:lnTo>
                      <a:lnTo>
                        <a:pt x="19" y="530"/>
                      </a:lnTo>
                      <a:lnTo>
                        <a:pt x="19" y="528"/>
                      </a:lnTo>
                      <a:lnTo>
                        <a:pt x="19" y="526"/>
                      </a:lnTo>
                      <a:lnTo>
                        <a:pt x="19" y="524"/>
                      </a:lnTo>
                      <a:lnTo>
                        <a:pt x="21" y="522"/>
                      </a:lnTo>
                      <a:lnTo>
                        <a:pt x="22" y="520"/>
                      </a:lnTo>
                      <a:lnTo>
                        <a:pt x="24" y="520"/>
                      </a:lnTo>
                      <a:lnTo>
                        <a:pt x="22" y="518"/>
                      </a:lnTo>
                      <a:lnTo>
                        <a:pt x="26" y="511"/>
                      </a:lnTo>
                      <a:lnTo>
                        <a:pt x="53" y="503"/>
                      </a:lnTo>
                      <a:lnTo>
                        <a:pt x="58" y="503"/>
                      </a:lnTo>
                      <a:lnTo>
                        <a:pt x="68" y="509"/>
                      </a:lnTo>
                      <a:lnTo>
                        <a:pt x="75" y="501"/>
                      </a:lnTo>
                      <a:lnTo>
                        <a:pt x="77" y="497"/>
                      </a:lnTo>
                      <a:lnTo>
                        <a:pt x="79" y="501"/>
                      </a:lnTo>
                      <a:lnTo>
                        <a:pt x="83" y="503"/>
                      </a:lnTo>
                      <a:lnTo>
                        <a:pt x="85" y="501"/>
                      </a:lnTo>
                      <a:lnTo>
                        <a:pt x="88" y="496"/>
                      </a:lnTo>
                      <a:lnTo>
                        <a:pt x="83" y="488"/>
                      </a:lnTo>
                      <a:lnTo>
                        <a:pt x="88" y="481"/>
                      </a:lnTo>
                      <a:lnTo>
                        <a:pt x="92" y="477"/>
                      </a:lnTo>
                      <a:lnTo>
                        <a:pt x="96" y="467"/>
                      </a:lnTo>
                      <a:lnTo>
                        <a:pt x="100" y="469"/>
                      </a:lnTo>
                      <a:lnTo>
                        <a:pt x="101" y="469"/>
                      </a:lnTo>
                      <a:lnTo>
                        <a:pt x="107" y="471"/>
                      </a:lnTo>
                      <a:lnTo>
                        <a:pt x="115" y="467"/>
                      </a:lnTo>
                      <a:lnTo>
                        <a:pt x="115" y="462"/>
                      </a:lnTo>
                      <a:lnTo>
                        <a:pt x="116" y="462"/>
                      </a:lnTo>
                      <a:lnTo>
                        <a:pt x="120" y="460"/>
                      </a:lnTo>
                      <a:lnTo>
                        <a:pt x="124" y="456"/>
                      </a:lnTo>
                      <a:lnTo>
                        <a:pt x="128" y="452"/>
                      </a:lnTo>
                      <a:lnTo>
                        <a:pt x="130" y="452"/>
                      </a:lnTo>
                      <a:lnTo>
                        <a:pt x="139" y="454"/>
                      </a:lnTo>
                      <a:lnTo>
                        <a:pt x="143" y="443"/>
                      </a:lnTo>
                      <a:lnTo>
                        <a:pt x="145" y="441"/>
                      </a:lnTo>
                      <a:lnTo>
                        <a:pt x="145" y="437"/>
                      </a:lnTo>
                      <a:lnTo>
                        <a:pt x="150" y="433"/>
                      </a:lnTo>
                      <a:lnTo>
                        <a:pt x="156" y="428"/>
                      </a:lnTo>
                      <a:lnTo>
                        <a:pt x="156" y="424"/>
                      </a:lnTo>
                      <a:lnTo>
                        <a:pt x="164" y="422"/>
                      </a:lnTo>
                      <a:lnTo>
                        <a:pt x="173" y="417"/>
                      </a:lnTo>
                      <a:lnTo>
                        <a:pt x="177" y="418"/>
                      </a:lnTo>
                      <a:lnTo>
                        <a:pt x="190" y="415"/>
                      </a:lnTo>
                      <a:lnTo>
                        <a:pt x="192" y="415"/>
                      </a:lnTo>
                      <a:lnTo>
                        <a:pt x="192" y="411"/>
                      </a:lnTo>
                      <a:lnTo>
                        <a:pt x="192" y="409"/>
                      </a:lnTo>
                      <a:lnTo>
                        <a:pt x="188" y="407"/>
                      </a:lnTo>
                      <a:lnTo>
                        <a:pt x="190" y="405"/>
                      </a:lnTo>
                      <a:lnTo>
                        <a:pt x="194" y="398"/>
                      </a:lnTo>
                      <a:lnTo>
                        <a:pt x="203" y="396"/>
                      </a:lnTo>
                      <a:lnTo>
                        <a:pt x="203" y="392"/>
                      </a:lnTo>
                      <a:lnTo>
                        <a:pt x="203" y="386"/>
                      </a:lnTo>
                      <a:lnTo>
                        <a:pt x="199" y="385"/>
                      </a:lnTo>
                      <a:lnTo>
                        <a:pt x="201" y="381"/>
                      </a:lnTo>
                      <a:lnTo>
                        <a:pt x="199" y="373"/>
                      </a:lnTo>
                      <a:lnTo>
                        <a:pt x="201" y="369"/>
                      </a:lnTo>
                      <a:lnTo>
                        <a:pt x="194" y="364"/>
                      </a:lnTo>
                      <a:lnTo>
                        <a:pt x="190" y="358"/>
                      </a:lnTo>
                      <a:lnTo>
                        <a:pt x="195" y="349"/>
                      </a:lnTo>
                      <a:lnTo>
                        <a:pt x="195" y="345"/>
                      </a:lnTo>
                      <a:lnTo>
                        <a:pt x="195" y="343"/>
                      </a:lnTo>
                      <a:lnTo>
                        <a:pt x="197" y="339"/>
                      </a:lnTo>
                      <a:lnTo>
                        <a:pt x="199" y="336"/>
                      </a:lnTo>
                      <a:lnTo>
                        <a:pt x="201" y="334"/>
                      </a:lnTo>
                      <a:lnTo>
                        <a:pt x="203" y="332"/>
                      </a:lnTo>
                      <a:lnTo>
                        <a:pt x="205" y="332"/>
                      </a:lnTo>
                      <a:lnTo>
                        <a:pt x="207" y="332"/>
                      </a:lnTo>
                      <a:lnTo>
                        <a:pt x="205" y="330"/>
                      </a:lnTo>
                      <a:lnTo>
                        <a:pt x="205" y="328"/>
                      </a:lnTo>
                      <a:lnTo>
                        <a:pt x="203" y="328"/>
                      </a:lnTo>
                      <a:lnTo>
                        <a:pt x="201" y="326"/>
                      </a:lnTo>
                      <a:lnTo>
                        <a:pt x="203" y="324"/>
                      </a:lnTo>
                      <a:lnTo>
                        <a:pt x="201" y="322"/>
                      </a:lnTo>
                      <a:lnTo>
                        <a:pt x="199" y="322"/>
                      </a:lnTo>
                      <a:lnTo>
                        <a:pt x="201" y="321"/>
                      </a:lnTo>
                      <a:lnTo>
                        <a:pt x="203" y="322"/>
                      </a:lnTo>
                      <a:lnTo>
                        <a:pt x="205" y="321"/>
                      </a:lnTo>
                      <a:lnTo>
                        <a:pt x="207" y="319"/>
                      </a:lnTo>
                      <a:lnTo>
                        <a:pt x="207" y="317"/>
                      </a:lnTo>
                      <a:lnTo>
                        <a:pt x="209" y="317"/>
                      </a:lnTo>
                      <a:lnTo>
                        <a:pt x="209" y="315"/>
                      </a:lnTo>
                      <a:lnTo>
                        <a:pt x="209" y="313"/>
                      </a:lnTo>
                      <a:lnTo>
                        <a:pt x="207" y="311"/>
                      </a:lnTo>
                      <a:lnTo>
                        <a:pt x="209" y="311"/>
                      </a:lnTo>
                      <a:lnTo>
                        <a:pt x="209" y="309"/>
                      </a:lnTo>
                      <a:lnTo>
                        <a:pt x="209" y="307"/>
                      </a:lnTo>
                      <a:lnTo>
                        <a:pt x="209" y="305"/>
                      </a:lnTo>
                      <a:lnTo>
                        <a:pt x="209" y="304"/>
                      </a:lnTo>
                      <a:lnTo>
                        <a:pt x="211" y="304"/>
                      </a:lnTo>
                      <a:lnTo>
                        <a:pt x="212" y="304"/>
                      </a:lnTo>
                      <a:lnTo>
                        <a:pt x="212" y="302"/>
                      </a:lnTo>
                      <a:lnTo>
                        <a:pt x="212" y="300"/>
                      </a:lnTo>
                      <a:lnTo>
                        <a:pt x="211" y="300"/>
                      </a:lnTo>
                      <a:lnTo>
                        <a:pt x="211" y="298"/>
                      </a:lnTo>
                      <a:lnTo>
                        <a:pt x="211" y="296"/>
                      </a:lnTo>
                      <a:lnTo>
                        <a:pt x="211" y="294"/>
                      </a:lnTo>
                      <a:lnTo>
                        <a:pt x="212" y="292"/>
                      </a:lnTo>
                      <a:lnTo>
                        <a:pt x="214" y="290"/>
                      </a:lnTo>
                      <a:lnTo>
                        <a:pt x="216" y="292"/>
                      </a:lnTo>
                      <a:lnTo>
                        <a:pt x="216" y="290"/>
                      </a:lnTo>
                      <a:lnTo>
                        <a:pt x="218" y="290"/>
                      </a:lnTo>
                      <a:lnTo>
                        <a:pt x="220" y="290"/>
                      </a:lnTo>
                      <a:lnTo>
                        <a:pt x="220" y="289"/>
                      </a:lnTo>
                      <a:lnTo>
                        <a:pt x="220" y="287"/>
                      </a:lnTo>
                      <a:lnTo>
                        <a:pt x="218" y="287"/>
                      </a:lnTo>
                      <a:lnTo>
                        <a:pt x="218" y="285"/>
                      </a:lnTo>
                      <a:lnTo>
                        <a:pt x="216" y="285"/>
                      </a:lnTo>
                      <a:lnTo>
                        <a:pt x="214" y="285"/>
                      </a:lnTo>
                      <a:lnTo>
                        <a:pt x="216" y="283"/>
                      </a:lnTo>
                      <a:lnTo>
                        <a:pt x="214" y="281"/>
                      </a:lnTo>
                      <a:lnTo>
                        <a:pt x="214" y="279"/>
                      </a:lnTo>
                      <a:lnTo>
                        <a:pt x="214" y="277"/>
                      </a:lnTo>
                      <a:lnTo>
                        <a:pt x="212" y="277"/>
                      </a:lnTo>
                      <a:lnTo>
                        <a:pt x="212" y="275"/>
                      </a:lnTo>
                      <a:lnTo>
                        <a:pt x="214" y="273"/>
                      </a:lnTo>
                      <a:lnTo>
                        <a:pt x="212" y="272"/>
                      </a:lnTo>
                      <a:lnTo>
                        <a:pt x="214" y="270"/>
                      </a:lnTo>
                      <a:lnTo>
                        <a:pt x="214" y="266"/>
                      </a:lnTo>
                      <a:lnTo>
                        <a:pt x="214" y="264"/>
                      </a:lnTo>
                      <a:lnTo>
                        <a:pt x="214" y="262"/>
                      </a:lnTo>
                      <a:lnTo>
                        <a:pt x="214" y="260"/>
                      </a:lnTo>
                      <a:lnTo>
                        <a:pt x="214" y="257"/>
                      </a:lnTo>
                      <a:lnTo>
                        <a:pt x="212" y="257"/>
                      </a:lnTo>
                      <a:lnTo>
                        <a:pt x="211" y="257"/>
                      </a:lnTo>
                      <a:lnTo>
                        <a:pt x="211" y="255"/>
                      </a:lnTo>
                      <a:lnTo>
                        <a:pt x="209" y="255"/>
                      </a:lnTo>
                      <a:lnTo>
                        <a:pt x="209" y="253"/>
                      </a:lnTo>
                      <a:lnTo>
                        <a:pt x="209" y="251"/>
                      </a:lnTo>
                      <a:lnTo>
                        <a:pt x="207" y="251"/>
                      </a:lnTo>
                      <a:lnTo>
                        <a:pt x="205" y="249"/>
                      </a:lnTo>
                      <a:lnTo>
                        <a:pt x="205" y="245"/>
                      </a:lnTo>
                      <a:lnTo>
                        <a:pt x="205" y="243"/>
                      </a:lnTo>
                      <a:lnTo>
                        <a:pt x="207" y="240"/>
                      </a:lnTo>
                      <a:lnTo>
                        <a:pt x="209" y="240"/>
                      </a:lnTo>
                      <a:lnTo>
                        <a:pt x="211" y="240"/>
                      </a:lnTo>
                      <a:lnTo>
                        <a:pt x="212" y="240"/>
                      </a:lnTo>
                      <a:lnTo>
                        <a:pt x="214" y="240"/>
                      </a:lnTo>
                      <a:lnTo>
                        <a:pt x="214" y="238"/>
                      </a:lnTo>
                      <a:lnTo>
                        <a:pt x="216" y="238"/>
                      </a:lnTo>
                      <a:lnTo>
                        <a:pt x="218" y="236"/>
                      </a:lnTo>
                      <a:lnTo>
                        <a:pt x="216" y="236"/>
                      </a:lnTo>
                      <a:lnTo>
                        <a:pt x="218" y="236"/>
                      </a:lnTo>
                      <a:lnTo>
                        <a:pt x="218" y="234"/>
                      </a:lnTo>
                      <a:lnTo>
                        <a:pt x="220" y="234"/>
                      </a:lnTo>
                      <a:lnTo>
                        <a:pt x="220" y="232"/>
                      </a:lnTo>
                      <a:lnTo>
                        <a:pt x="220" y="230"/>
                      </a:lnTo>
                      <a:lnTo>
                        <a:pt x="222" y="230"/>
                      </a:lnTo>
                      <a:lnTo>
                        <a:pt x="224" y="232"/>
                      </a:lnTo>
                      <a:lnTo>
                        <a:pt x="226" y="232"/>
                      </a:lnTo>
                      <a:lnTo>
                        <a:pt x="226" y="230"/>
                      </a:lnTo>
                      <a:lnTo>
                        <a:pt x="227" y="228"/>
                      </a:lnTo>
                      <a:lnTo>
                        <a:pt x="229" y="228"/>
                      </a:lnTo>
                      <a:lnTo>
                        <a:pt x="231" y="226"/>
                      </a:lnTo>
                      <a:lnTo>
                        <a:pt x="233" y="228"/>
                      </a:lnTo>
                      <a:lnTo>
                        <a:pt x="233" y="225"/>
                      </a:lnTo>
                      <a:lnTo>
                        <a:pt x="233" y="223"/>
                      </a:lnTo>
                      <a:lnTo>
                        <a:pt x="233" y="221"/>
                      </a:lnTo>
                      <a:lnTo>
                        <a:pt x="233" y="219"/>
                      </a:lnTo>
                      <a:lnTo>
                        <a:pt x="233" y="217"/>
                      </a:lnTo>
                      <a:lnTo>
                        <a:pt x="231" y="217"/>
                      </a:lnTo>
                      <a:lnTo>
                        <a:pt x="231" y="215"/>
                      </a:lnTo>
                      <a:lnTo>
                        <a:pt x="229" y="213"/>
                      </a:lnTo>
                      <a:lnTo>
                        <a:pt x="229" y="211"/>
                      </a:lnTo>
                      <a:lnTo>
                        <a:pt x="227" y="208"/>
                      </a:lnTo>
                      <a:lnTo>
                        <a:pt x="224" y="208"/>
                      </a:lnTo>
                      <a:lnTo>
                        <a:pt x="224" y="206"/>
                      </a:lnTo>
                      <a:lnTo>
                        <a:pt x="222" y="206"/>
                      </a:lnTo>
                      <a:lnTo>
                        <a:pt x="218" y="208"/>
                      </a:lnTo>
                      <a:lnTo>
                        <a:pt x="214" y="206"/>
                      </a:lnTo>
                      <a:lnTo>
                        <a:pt x="214" y="204"/>
                      </a:lnTo>
                      <a:lnTo>
                        <a:pt x="214" y="202"/>
                      </a:lnTo>
                      <a:lnTo>
                        <a:pt x="214" y="200"/>
                      </a:lnTo>
                      <a:lnTo>
                        <a:pt x="218" y="196"/>
                      </a:lnTo>
                      <a:lnTo>
                        <a:pt x="220" y="196"/>
                      </a:lnTo>
                      <a:lnTo>
                        <a:pt x="216" y="194"/>
                      </a:lnTo>
                      <a:lnTo>
                        <a:pt x="214" y="193"/>
                      </a:lnTo>
                      <a:lnTo>
                        <a:pt x="212" y="193"/>
                      </a:lnTo>
                      <a:lnTo>
                        <a:pt x="214" y="189"/>
                      </a:lnTo>
                      <a:lnTo>
                        <a:pt x="216" y="191"/>
                      </a:lnTo>
                      <a:lnTo>
                        <a:pt x="218" y="189"/>
                      </a:lnTo>
                      <a:lnTo>
                        <a:pt x="220" y="185"/>
                      </a:lnTo>
                      <a:lnTo>
                        <a:pt x="227" y="183"/>
                      </a:lnTo>
                      <a:lnTo>
                        <a:pt x="231" y="187"/>
                      </a:lnTo>
                      <a:lnTo>
                        <a:pt x="233" y="187"/>
                      </a:lnTo>
                      <a:lnTo>
                        <a:pt x="235" y="189"/>
                      </a:lnTo>
                      <a:lnTo>
                        <a:pt x="237" y="187"/>
                      </a:lnTo>
                      <a:lnTo>
                        <a:pt x="237" y="185"/>
                      </a:lnTo>
                      <a:lnTo>
                        <a:pt x="239" y="185"/>
                      </a:lnTo>
                      <a:lnTo>
                        <a:pt x="241" y="185"/>
                      </a:lnTo>
                      <a:lnTo>
                        <a:pt x="241" y="183"/>
                      </a:lnTo>
                      <a:lnTo>
                        <a:pt x="241" y="181"/>
                      </a:lnTo>
                      <a:lnTo>
                        <a:pt x="241" y="179"/>
                      </a:lnTo>
                      <a:lnTo>
                        <a:pt x="243" y="179"/>
                      </a:lnTo>
                      <a:lnTo>
                        <a:pt x="243" y="174"/>
                      </a:lnTo>
                      <a:lnTo>
                        <a:pt x="244" y="174"/>
                      </a:lnTo>
                      <a:lnTo>
                        <a:pt x="246" y="172"/>
                      </a:lnTo>
                      <a:lnTo>
                        <a:pt x="246" y="170"/>
                      </a:lnTo>
                      <a:lnTo>
                        <a:pt x="246" y="168"/>
                      </a:lnTo>
                      <a:lnTo>
                        <a:pt x="248" y="164"/>
                      </a:lnTo>
                      <a:lnTo>
                        <a:pt x="250" y="164"/>
                      </a:lnTo>
                      <a:lnTo>
                        <a:pt x="250" y="166"/>
                      </a:lnTo>
                      <a:lnTo>
                        <a:pt x="252" y="166"/>
                      </a:lnTo>
                      <a:lnTo>
                        <a:pt x="254" y="166"/>
                      </a:lnTo>
                      <a:lnTo>
                        <a:pt x="256" y="166"/>
                      </a:lnTo>
                      <a:lnTo>
                        <a:pt x="258" y="166"/>
                      </a:lnTo>
                      <a:lnTo>
                        <a:pt x="258" y="164"/>
                      </a:lnTo>
                      <a:lnTo>
                        <a:pt x="259" y="164"/>
                      </a:lnTo>
                      <a:lnTo>
                        <a:pt x="259" y="166"/>
                      </a:lnTo>
                      <a:lnTo>
                        <a:pt x="261" y="166"/>
                      </a:lnTo>
                      <a:lnTo>
                        <a:pt x="263" y="166"/>
                      </a:lnTo>
                      <a:lnTo>
                        <a:pt x="265" y="164"/>
                      </a:lnTo>
                      <a:lnTo>
                        <a:pt x="265" y="162"/>
                      </a:lnTo>
                      <a:lnTo>
                        <a:pt x="267" y="159"/>
                      </a:lnTo>
                      <a:lnTo>
                        <a:pt x="276" y="161"/>
                      </a:lnTo>
                      <a:lnTo>
                        <a:pt x="282" y="162"/>
                      </a:lnTo>
                      <a:lnTo>
                        <a:pt x="284" y="162"/>
                      </a:lnTo>
                      <a:lnTo>
                        <a:pt x="288" y="168"/>
                      </a:lnTo>
                      <a:lnTo>
                        <a:pt x="290" y="168"/>
                      </a:lnTo>
                      <a:lnTo>
                        <a:pt x="290" y="170"/>
                      </a:lnTo>
                      <a:lnTo>
                        <a:pt x="291" y="170"/>
                      </a:lnTo>
                      <a:lnTo>
                        <a:pt x="293" y="170"/>
                      </a:lnTo>
                      <a:lnTo>
                        <a:pt x="295" y="170"/>
                      </a:lnTo>
                      <a:lnTo>
                        <a:pt x="297" y="168"/>
                      </a:lnTo>
                      <a:lnTo>
                        <a:pt x="299" y="168"/>
                      </a:lnTo>
                      <a:lnTo>
                        <a:pt x="301" y="168"/>
                      </a:lnTo>
                      <a:lnTo>
                        <a:pt x="301" y="166"/>
                      </a:lnTo>
                      <a:lnTo>
                        <a:pt x="303" y="164"/>
                      </a:lnTo>
                      <a:lnTo>
                        <a:pt x="306" y="161"/>
                      </a:lnTo>
                      <a:lnTo>
                        <a:pt x="308" y="162"/>
                      </a:lnTo>
                      <a:lnTo>
                        <a:pt x="310" y="162"/>
                      </a:lnTo>
                      <a:lnTo>
                        <a:pt x="316" y="166"/>
                      </a:lnTo>
                      <a:lnTo>
                        <a:pt x="318" y="168"/>
                      </a:lnTo>
                      <a:lnTo>
                        <a:pt x="320" y="170"/>
                      </a:lnTo>
                      <a:lnTo>
                        <a:pt x="325" y="176"/>
                      </a:lnTo>
                      <a:lnTo>
                        <a:pt x="327" y="174"/>
                      </a:lnTo>
                      <a:lnTo>
                        <a:pt x="327" y="172"/>
                      </a:lnTo>
                      <a:lnTo>
                        <a:pt x="327" y="170"/>
                      </a:lnTo>
                      <a:lnTo>
                        <a:pt x="327" y="168"/>
                      </a:lnTo>
                      <a:lnTo>
                        <a:pt x="329" y="168"/>
                      </a:lnTo>
                      <a:lnTo>
                        <a:pt x="331" y="168"/>
                      </a:lnTo>
                      <a:lnTo>
                        <a:pt x="335" y="164"/>
                      </a:lnTo>
                      <a:lnTo>
                        <a:pt x="337" y="162"/>
                      </a:lnTo>
                      <a:lnTo>
                        <a:pt x="338" y="159"/>
                      </a:lnTo>
                      <a:lnTo>
                        <a:pt x="348" y="161"/>
                      </a:lnTo>
                      <a:lnTo>
                        <a:pt x="348" y="166"/>
                      </a:lnTo>
                      <a:lnTo>
                        <a:pt x="350" y="164"/>
                      </a:lnTo>
                      <a:lnTo>
                        <a:pt x="352" y="164"/>
                      </a:lnTo>
                      <a:lnTo>
                        <a:pt x="352" y="162"/>
                      </a:lnTo>
                      <a:lnTo>
                        <a:pt x="353" y="162"/>
                      </a:lnTo>
                      <a:lnTo>
                        <a:pt x="359" y="162"/>
                      </a:lnTo>
                      <a:lnTo>
                        <a:pt x="361" y="157"/>
                      </a:lnTo>
                      <a:lnTo>
                        <a:pt x="359" y="151"/>
                      </a:lnTo>
                      <a:lnTo>
                        <a:pt x="361" y="151"/>
                      </a:lnTo>
                      <a:lnTo>
                        <a:pt x="361" y="147"/>
                      </a:lnTo>
                      <a:lnTo>
                        <a:pt x="365" y="147"/>
                      </a:lnTo>
                      <a:lnTo>
                        <a:pt x="370" y="144"/>
                      </a:lnTo>
                      <a:lnTo>
                        <a:pt x="372" y="142"/>
                      </a:lnTo>
                      <a:lnTo>
                        <a:pt x="376" y="144"/>
                      </a:lnTo>
                      <a:lnTo>
                        <a:pt x="382" y="145"/>
                      </a:lnTo>
                      <a:lnTo>
                        <a:pt x="382" y="138"/>
                      </a:lnTo>
                      <a:lnTo>
                        <a:pt x="382" y="134"/>
                      </a:lnTo>
                      <a:lnTo>
                        <a:pt x="382" y="132"/>
                      </a:lnTo>
                      <a:lnTo>
                        <a:pt x="389" y="134"/>
                      </a:lnTo>
                      <a:lnTo>
                        <a:pt x="397" y="134"/>
                      </a:lnTo>
                      <a:lnTo>
                        <a:pt x="397" y="138"/>
                      </a:lnTo>
                      <a:lnTo>
                        <a:pt x="397" y="140"/>
                      </a:lnTo>
                      <a:lnTo>
                        <a:pt x="397" y="147"/>
                      </a:lnTo>
                      <a:lnTo>
                        <a:pt x="399" y="149"/>
                      </a:lnTo>
                      <a:lnTo>
                        <a:pt x="402" y="149"/>
                      </a:lnTo>
                      <a:lnTo>
                        <a:pt x="402" y="151"/>
                      </a:lnTo>
                      <a:lnTo>
                        <a:pt x="402" y="149"/>
                      </a:lnTo>
                      <a:lnTo>
                        <a:pt x="404" y="149"/>
                      </a:lnTo>
                      <a:lnTo>
                        <a:pt x="406" y="149"/>
                      </a:lnTo>
                      <a:lnTo>
                        <a:pt x="408" y="149"/>
                      </a:lnTo>
                      <a:lnTo>
                        <a:pt x="410" y="147"/>
                      </a:lnTo>
                      <a:lnTo>
                        <a:pt x="412" y="147"/>
                      </a:lnTo>
                      <a:lnTo>
                        <a:pt x="414" y="147"/>
                      </a:lnTo>
                      <a:lnTo>
                        <a:pt x="414" y="145"/>
                      </a:lnTo>
                      <a:lnTo>
                        <a:pt x="416" y="145"/>
                      </a:lnTo>
                      <a:lnTo>
                        <a:pt x="417" y="145"/>
                      </a:lnTo>
                      <a:lnTo>
                        <a:pt x="419" y="145"/>
                      </a:lnTo>
                      <a:lnTo>
                        <a:pt x="421" y="145"/>
                      </a:lnTo>
                      <a:lnTo>
                        <a:pt x="421" y="147"/>
                      </a:lnTo>
                      <a:lnTo>
                        <a:pt x="423" y="147"/>
                      </a:lnTo>
                      <a:lnTo>
                        <a:pt x="425" y="147"/>
                      </a:lnTo>
                      <a:lnTo>
                        <a:pt x="427" y="147"/>
                      </a:lnTo>
                      <a:lnTo>
                        <a:pt x="427" y="149"/>
                      </a:lnTo>
                      <a:lnTo>
                        <a:pt x="429" y="149"/>
                      </a:lnTo>
                      <a:lnTo>
                        <a:pt x="431" y="149"/>
                      </a:lnTo>
                      <a:lnTo>
                        <a:pt x="431" y="151"/>
                      </a:lnTo>
                      <a:lnTo>
                        <a:pt x="432" y="149"/>
                      </a:lnTo>
                      <a:lnTo>
                        <a:pt x="434" y="149"/>
                      </a:lnTo>
                      <a:lnTo>
                        <a:pt x="436" y="149"/>
                      </a:lnTo>
                      <a:lnTo>
                        <a:pt x="438" y="149"/>
                      </a:lnTo>
                      <a:lnTo>
                        <a:pt x="440" y="149"/>
                      </a:lnTo>
                      <a:lnTo>
                        <a:pt x="448" y="144"/>
                      </a:lnTo>
                      <a:lnTo>
                        <a:pt x="457" y="138"/>
                      </a:lnTo>
                      <a:lnTo>
                        <a:pt x="468" y="138"/>
                      </a:lnTo>
                      <a:lnTo>
                        <a:pt x="470" y="138"/>
                      </a:lnTo>
                      <a:lnTo>
                        <a:pt x="472" y="138"/>
                      </a:lnTo>
                      <a:lnTo>
                        <a:pt x="472" y="140"/>
                      </a:lnTo>
                      <a:lnTo>
                        <a:pt x="474" y="140"/>
                      </a:lnTo>
                      <a:lnTo>
                        <a:pt x="474" y="142"/>
                      </a:lnTo>
                      <a:lnTo>
                        <a:pt x="476" y="142"/>
                      </a:lnTo>
                      <a:lnTo>
                        <a:pt x="478" y="140"/>
                      </a:lnTo>
                      <a:lnTo>
                        <a:pt x="478" y="142"/>
                      </a:lnTo>
                      <a:lnTo>
                        <a:pt x="478" y="144"/>
                      </a:lnTo>
                      <a:lnTo>
                        <a:pt x="479" y="144"/>
                      </a:lnTo>
                      <a:lnTo>
                        <a:pt x="479" y="142"/>
                      </a:lnTo>
                      <a:lnTo>
                        <a:pt x="481" y="142"/>
                      </a:lnTo>
                      <a:lnTo>
                        <a:pt x="481" y="144"/>
                      </a:lnTo>
                      <a:lnTo>
                        <a:pt x="483" y="144"/>
                      </a:lnTo>
                      <a:lnTo>
                        <a:pt x="483" y="145"/>
                      </a:lnTo>
                      <a:lnTo>
                        <a:pt x="483" y="147"/>
                      </a:lnTo>
                      <a:lnTo>
                        <a:pt x="485" y="147"/>
                      </a:lnTo>
                      <a:lnTo>
                        <a:pt x="485" y="149"/>
                      </a:lnTo>
                      <a:lnTo>
                        <a:pt x="487" y="149"/>
                      </a:lnTo>
                      <a:lnTo>
                        <a:pt x="489" y="149"/>
                      </a:lnTo>
                      <a:lnTo>
                        <a:pt x="489" y="147"/>
                      </a:lnTo>
                      <a:lnTo>
                        <a:pt x="487" y="147"/>
                      </a:lnTo>
                      <a:lnTo>
                        <a:pt x="487" y="145"/>
                      </a:lnTo>
                      <a:lnTo>
                        <a:pt x="487" y="147"/>
                      </a:lnTo>
                      <a:lnTo>
                        <a:pt x="489" y="147"/>
                      </a:lnTo>
                      <a:lnTo>
                        <a:pt x="489" y="145"/>
                      </a:lnTo>
                      <a:lnTo>
                        <a:pt x="491" y="145"/>
                      </a:lnTo>
                      <a:lnTo>
                        <a:pt x="491" y="147"/>
                      </a:lnTo>
                      <a:lnTo>
                        <a:pt x="491" y="149"/>
                      </a:lnTo>
                      <a:lnTo>
                        <a:pt x="493" y="149"/>
                      </a:lnTo>
                      <a:lnTo>
                        <a:pt x="495" y="149"/>
                      </a:lnTo>
                      <a:lnTo>
                        <a:pt x="495" y="151"/>
                      </a:lnTo>
                      <a:lnTo>
                        <a:pt x="493" y="151"/>
                      </a:lnTo>
                      <a:lnTo>
                        <a:pt x="495" y="153"/>
                      </a:lnTo>
                      <a:lnTo>
                        <a:pt x="495" y="151"/>
                      </a:lnTo>
                      <a:lnTo>
                        <a:pt x="496" y="151"/>
                      </a:lnTo>
                      <a:lnTo>
                        <a:pt x="496" y="153"/>
                      </a:lnTo>
                      <a:lnTo>
                        <a:pt x="495" y="153"/>
                      </a:lnTo>
                      <a:lnTo>
                        <a:pt x="496" y="153"/>
                      </a:lnTo>
                      <a:lnTo>
                        <a:pt x="498" y="153"/>
                      </a:lnTo>
                      <a:lnTo>
                        <a:pt x="500" y="155"/>
                      </a:lnTo>
                      <a:lnTo>
                        <a:pt x="498" y="155"/>
                      </a:lnTo>
                      <a:lnTo>
                        <a:pt x="498" y="157"/>
                      </a:lnTo>
                      <a:lnTo>
                        <a:pt x="498" y="159"/>
                      </a:lnTo>
                      <a:lnTo>
                        <a:pt x="498" y="157"/>
                      </a:lnTo>
                      <a:lnTo>
                        <a:pt x="500" y="157"/>
                      </a:lnTo>
                      <a:lnTo>
                        <a:pt x="502" y="157"/>
                      </a:lnTo>
                      <a:lnTo>
                        <a:pt x="504" y="157"/>
                      </a:lnTo>
                      <a:lnTo>
                        <a:pt x="504" y="155"/>
                      </a:lnTo>
                      <a:lnTo>
                        <a:pt x="506" y="155"/>
                      </a:lnTo>
                      <a:lnTo>
                        <a:pt x="508" y="155"/>
                      </a:lnTo>
                      <a:lnTo>
                        <a:pt x="508" y="153"/>
                      </a:lnTo>
                      <a:lnTo>
                        <a:pt x="510" y="153"/>
                      </a:lnTo>
                      <a:lnTo>
                        <a:pt x="508" y="153"/>
                      </a:lnTo>
                      <a:lnTo>
                        <a:pt x="510" y="151"/>
                      </a:lnTo>
                      <a:lnTo>
                        <a:pt x="510" y="149"/>
                      </a:lnTo>
                      <a:lnTo>
                        <a:pt x="510" y="147"/>
                      </a:lnTo>
                      <a:lnTo>
                        <a:pt x="510" y="145"/>
                      </a:lnTo>
                      <a:lnTo>
                        <a:pt x="511" y="145"/>
                      </a:lnTo>
                      <a:lnTo>
                        <a:pt x="511" y="147"/>
                      </a:lnTo>
                      <a:lnTo>
                        <a:pt x="513" y="145"/>
                      </a:lnTo>
                      <a:lnTo>
                        <a:pt x="515" y="145"/>
                      </a:lnTo>
                      <a:lnTo>
                        <a:pt x="517" y="145"/>
                      </a:lnTo>
                      <a:lnTo>
                        <a:pt x="519" y="145"/>
                      </a:lnTo>
                      <a:lnTo>
                        <a:pt x="519" y="144"/>
                      </a:lnTo>
                      <a:lnTo>
                        <a:pt x="521" y="144"/>
                      </a:lnTo>
                      <a:lnTo>
                        <a:pt x="521" y="145"/>
                      </a:lnTo>
                      <a:lnTo>
                        <a:pt x="521" y="144"/>
                      </a:lnTo>
                      <a:lnTo>
                        <a:pt x="523" y="144"/>
                      </a:lnTo>
                      <a:lnTo>
                        <a:pt x="525" y="144"/>
                      </a:lnTo>
                      <a:lnTo>
                        <a:pt x="525" y="145"/>
                      </a:lnTo>
                      <a:lnTo>
                        <a:pt x="525" y="147"/>
                      </a:lnTo>
                      <a:lnTo>
                        <a:pt x="525" y="149"/>
                      </a:lnTo>
                      <a:lnTo>
                        <a:pt x="525" y="151"/>
                      </a:lnTo>
                      <a:lnTo>
                        <a:pt x="525" y="153"/>
                      </a:lnTo>
                      <a:lnTo>
                        <a:pt x="527" y="153"/>
                      </a:lnTo>
                      <a:lnTo>
                        <a:pt x="527" y="155"/>
                      </a:lnTo>
                      <a:lnTo>
                        <a:pt x="528" y="155"/>
                      </a:lnTo>
                      <a:lnTo>
                        <a:pt x="528" y="157"/>
                      </a:lnTo>
                      <a:lnTo>
                        <a:pt x="528" y="159"/>
                      </a:lnTo>
                      <a:lnTo>
                        <a:pt x="528" y="161"/>
                      </a:lnTo>
                      <a:lnTo>
                        <a:pt x="528" y="162"/>
                      </a:lnTo>
                      <a:lnTo>
                        <a:pt x="530" y="162"/>
                      </a:lnTo>
                      <a:lnTo>
                        <a:pt x="530" y="161"/>
                      </a:lnTo>
                      <a:lnTo>
                        <a:pt x="532" y="161"/>
                      </a:lnTo>
                      <a:lnTo>
                        <a:pt x="532" y="159"/>
                      </a:lnTo>
                      <a:lnTo>
                        <a:pt x="534" y="161"/>
                      </a:lnTo>
                      <a:lnTo>
                        <a:pt x="536" y="161"/>
                      </a:lnTo>
                      <a:lnTo>
                        <a:pt x="538" y="161"/>
                      </a:lnTo>
                      <a:lnTo>
                        <a:pt x="538" y="159"/>
                      </a:lnTo>
                      <a:lnTo>
                        <a:pt x="540" y="159"/>
                      </a:lnTo>
                      <a:lnTo>
                        <a:pt x="542" y="159"/>
                      </a:lnTo>
                      <a:lnTo>
                        <a:pt x="543" y="159"/>
                      </a:lnTo>
                      <a:lnTo>
                        <a:pt x="545" y="159"/>
                      </a:lnTo>
                      <a:lnTo>
                        <a:pt x="545" y="157"/>
                      </a:lnTo>
                      <a:lnTo>
                        <a:pt x="547" y="157"/>
                      </a:lnTo>
                      <a:lnTo>
                        <a:pt x="547" y="159"/>
                      </a:lnTo>
                      <a:lnTo>
                        <a:pt x="549" y="159"/>
                      </a:lnTo>
                      <a:lnTo>
                        <a:pt x="549" y="161"/>
                      </a:lnTo>
                      <a:lnTo>
                        <a:pt x="549" y="159"/>
                      </a:lnTo>
                      <a:lnTo>
                        <a:pt x="549" y="157"/>
                      </a:lnTo>
                      <a:lnTo>
                        <a:pt x="551" y="157"/>
                      </a:lnTo>
                      <a:lnTo>
                        <a:pt x="551" y="155"/>
                      </a:lnTo>
                      <a:lnTo>
                        <a:pt x="553" y="155"/>
                      </a:lnTo>
                      <a:lnTo>
                        <a:pt x="553" y="157"/>
                      </a:lnTo>
                      <a:lnTo>
                        <a:pt x="555" y="157"/>
                      </a:lnTo>
                      <a:lnTo>
                        <a:pt x="557" y="157"/>
                      </a:lnTo>
                      <a:lnTo>
                        <a:pt x="557" y="155"/>
                      </a:lnTo>
                      <a:lnTo>
                        <a:pt x="558" y="153"/>
                      </a:lnTo>
                      <a:lnTo>
                        <a:pt x="560" y="153"/>
                      </a:lnTo>
                      <a:lnTo>
                        <a:pt x="562" y="153"/>
                      </a:lnTo>
                      <a:lnTo>
                        <a:pt x="562" y="155"/>
                      </a:lnTo>
                      <a:lnTo>
                        <a:pt x="564" y="155"/>
                      </a:lnTo>
                      <a:lnTo>
                        <a:pt x="564" y="153"/>
                      </a:lnTo>
                      <a:lnTo>
                        <a:pt x="566" y="153"/>
                      </a:lnTo>
                      <a:lnTo>
                        <a:pt x="566" y="151"/>
                      </a:lnTo>
                      <a:lnTo>
                        <a:pt x="568" y="151"/>
                      </a:lnTo>
                      <a:lnTo>
                        <a:pt x="570" y="151"/>
                      </a:lnTo>
                      <a:lnTo>
                        <a:pt x="570" y="153"/>
                      </a:lnTo>
                      <a:lnTo>
                        <a:pt x="572" y="155"/>
                      </a:lnTo>
                      <a:lnTo>
                        <a:pt x="577" y="159"/>
                      </a:lnTo>
                      <a:lnTo>
                        <a:pt x="579" y="161"/>
                      </a:lnTo>
                      <a:lnTo>
                        <a:pt x="587" y="162"/>
                      </a:lnTo>
                      <a:lnTo>
                        <a:pt x="592" y="153"/>
                      </a:lnTo>
                      <a:lnTo>
                        <a:pt x="594" y="151"/>
                      </a:lnTo>
                      <a:lnTo>
                        <a:pt x="596" y="147"/>
                      </a:lnTo>
                      <a:lnTo>
                        <a:pt x="604" y="140"/>
                      </a:lnTo>
                      <a:lnTo>
                        <a:pt x="606" y="136"/>
                      </a:lnTo>
                      <a:lnTo>
                        <a:pt x="607" y="134"/>
                      </a:lnTo>
                      <a:lnTo>
                        <a:pt x="609" y="132"/>
                      </a:lnTo>
                      <a:lnTo>
                        <a:pt x="613" y="129"/>
                      </a:lnTo>
                      <a:lnTo>
                        <a:pt x="615" y="127"/>
                      </a:lnTo>
                      <a:lnTo>
                        <a:pt x="619" y="129"/>
                      </a:lnTo>
                      <a:lnTo>
                        <a:pt x="626" y="130"/>
                      </a:lnTo>
                      <a:lnTo>
                        <a:pt x="637" y="134"/>
                      </a:lnTo>
                      <a:lnTo>
                        <a:pt x="643" y="136"/>
                      </a:lnTo>
                      <a:lnTo>
                        <a:pt x="645" y="138"/>
                      </a:lnTo>
                      <a:lnTo>
                        <a:pt x="656" y="142"/>
                      </a:lnTo>
                      <a:lnTo>
                        <a:pt x="668" y="145"/>
                      </a:lnTo>
                      <a:lnTo>
                        <a:pt x="669" y="147"/>
                      </a:lnTo>
                      <a:lnTo>
                        <a:pt x="671" y="147"/>
                      </a:lnTo>
                      <a:lnTo>
                        <a:pt x="675" y="147"/>
                      </a:lnTo>
                      <a:lnTo>
                        <a:pt x="686" y="147"/>
                      </a:lnTo>
                      <a:lnTo>
                        <a:pt x="688" y="147"/>
                      </a:lnTo>
                      <a:lnTo>
                        <a:pt x="694" y="147"/>
                      </a:lnTo>
                      <a:lnTo>
                        <a:pt x="700" y="147"/>
                      </a:lnTo>
                      <a:lnTo>
                        <a:pt x="724" y="147"/>
                      </a:lnTo>
                      <a:lnTo>
                        <a:pt x="735" y="147"/>
                      </a:lnTo>
                      <a:lnTo>
                        <a:pt x="750" y="147"/>
                      </a:lnTo>
                      <a:lnTo>
                        <a:pt x="771" y="147"/>
                      </a:lnTo>
                      <a:lnTo>
                        <a:pt x="782" y="147"/>
                      </a:lnTo>
                      <a:lnTo>
                        <a:pt x="788" y="147"/>
                      </a:lnTo>
                      <a:lnTo>
                        <a:pt x="794" y="147"/>
                      </a:lnTo>
                      <a:lnTo>
                        <a:pt x="794" y="145"/>
                      </a:lnTo>
                      <a:lnTo>
                        <a:pt x="794" y="144"/>
                      </a:lnTo>
                      <a:lnTo>
                        <a:pt x="794" y="129"/>
                      </a:lnTo>
                      <a:lnTo>
                        <a:pt x="794" y="121"/>
                      </a:lnTo>
                      <a:lnTo>
                        <a:pt x="794" y="112"/>
                      </a:lnTo>
                      <a:lnTo>
                        <a:pt x="794" y="104"/>
                      </a:lnTo>
                      <a:lnTo>
                        <a:pt x="794" y="98"/>
                      </a:lnTo>
                      <a:lnTo>
                        <a:pt x="794" y="93"/>
                      </a:lnTo>
                      <a:lnTo>
                        <a:pt x="794" y="91"/>
                      </a:lnTo>
                      <a:lnTo>
                        <a:pt x="794" y="89"/>
                      </a:lnTo>
                      <a:lnTo>
                        <a:pt x="794" y="81"/>
                      </a:lnTo>
                      <a:lnTo>
                        <a:pt x="795" y="72"/>
                      </a:lnTo>
                      <a:lnTo>
                        <a:pt x="795" y="68"/>
                      </a:lnTo>
                      <a:lnTo>
                        <a:pt x="795" y="57"/>
                      </a:lnTo>
                      <a:lnTo>
                        <a:pt x="797" y="46"/>
                      </a:lnTo>
                      <a:lnTo>
                        <a:pt x="799" y="42"/>
                      </a:lnTo>
                      <a:lnTo>
                        <a:pt x="799" y="38"/>
                      </a:lnTo>
                      <a:lnTo>
                        <a:pt x="799" y="34"/>
                      </a:lnTo>
                      <a:lnTo>
                        <a:pt x="799" y="29"/>
                      </a:lnTo>
                      <a:lnTo>
                        <a:pt x="803" y="10"/>
                      </a:lnTo>
                      <a:lnTo>
                        <a:pt x="803" y="4"/>
                      </a:lnTo>
                      <a:lnTo>
                        <a:pt x="803" y="2"/>
                      </a:lnTo>
                      <a:lnTo>
                        <a:pt x="803" y="0"/>
                      </a:lnTo>
                      <a:lnTo>
                        <a:pt x="805" y="0"/>
                      </a:lnTo>
                      <a:lnTo>
                        <a:pt x="807" y="0"/>
                      </a:lnTo>
                      <a:lnTo>
                        <a:pt x="809" y="0"/>
                      </a:lnTo>
                      <a:lnTo>
                        <a:pt x="809" y="2"/>
                      </a:lnTo>
                      <a:lnTo>
                        <a:pt x="811" y="2"/>
                      </a:lnTo>
                      <a:lnTo>
                        <a:pt x="811" y="4"/>
                      </a:lnTo>
                      <a:lnTo>
                        <a:pt x="812" y="4"/>
                      </a:lnTo>
                      <a:lnTo>
                        <a:pt x="814" y="4"/>
                      </a:lnTo>
                      <a:lnTo>
                        <a:pt x="814" y="2"/>
                      </a:lnTo>
                      <a:lnTo>
                        <a:pt x="816" y="2"/>
                      </a:lnTo>
                      <a:lnTo>
                        <a:pt x="818" y="2"/>
                      </a:lnTo>
                      <a:lnTo>
                        <a:pt x="818" y="0"/>
                      </a:lnTo>
                      <a:lnTo>
                        <a:pt x="820" y="0"/>
                      </a:lnTo>
                      <a:lnTo>
                        <a:pt x="822" y="0"/>
                      </a:lnTo>
                      <a:lnTo>
                        <a:pt x="824" y="0"/>
                      </a:lnTo>
                      <a:lnTo>
                        <a:pt x="826" y="0"/>
                      </a:lnTo>
                      <a:lnTo>
                        <a:pt x="826" y="2"/>
                      </a:lnTo>
                      <a:lnTo>
                        <a:pt x="827" y="2"/>
                      </a:lnTo>
                      <a:lnTo>
                        <a:pt x="827" y="4"/>
                      </a:lnTo>
                      <a:lnTo>
                        <a:pt x="827" y="6"/>
                      </a:lnTo>
                      <a:lnTo>
                        <a:pt x="829" y="8"/>
                      </a:lnTo>
                      <a:lnTo>
                        <a:pt x="829" y="10"/>
                      </a:lnTo>
                      <a:lnTo>
                        <a:pt x="831" y="10"/>
                      </a:lnTo>
                      <a:lnTo>
                        <a:pt x="833" y="10"/>
                      </a:lnTo>
                      <a:lnTo>
                        <a:pt x="835" y="10"/>
                      </a:lnTo>
                      <a:lnTo>
                        <a:pt x="835" y="12"/>
                      </a:lnTo>
                      <a:lnTo>
                        <a:pt x="837" y="12"/>
                      </a:lnTo>
                      <a:lnTo>
                        <a:pt x="837" y="14"/>
                      </a:lnTo>
                      <a:lnTo>
                        <a:pt x="839" y="14"/>
                      </a:lnTo>
                      <a:lnTo>
                        <a:pt x="839" y="16"/>
                      </a:lnTo>
                      <a:lnTo>
                        <a:pt x="841" y="16"/>
                      </a:lnTo>
                      <a:lnTo>
                        <a:pt x="843" y="16"/>
                      </a:lnTo>
                      <a:lnTo>
                        <a:pt x="844" y="16"/>
                      </a:lnTo>
                      <a:lnTo>
                        <a:pt x="844" y="17"/>
                      </a:lnTo>
                      <a:lnTo>
                        <a:pt x="846" y="17"/>
                      </a:lnTo>
                      <a:lnTo>
                        <a:pt x="848" y="16"/>
                      </a:lnTo>
                      <a:lnTo>
                        <a:pt x="850" y="16"/>
                      </a:lnTo>
                      <a:lnTo>
                        <a:pt x="852" y="16"/>
                      </a:lnTo>
                      <a:lnTo>
                        <a:pt x="852" y="14"/>
                      </a:lnTo>
                      <a:lnTo>
                        <a:pt x="852" y="12"/>
                      </a:lnTo>
                      <a:lnTo>
                        <a:pt x="852" y="10"/>
                      </a:lnTo>
                      <a:lnTo>
                        <a:pt x="854" y="10"/>
                      </a:lnTo>
                      <a:lnTo>
                        <a:pt x="854" y="8"/>
                      </a:lnTo>
                      <a:lnTo>
                        <a:pt x="856" y="8"/>
                      </a:lnTo>
                      <a:lnTo>
                        <a:pt x="858" y="8"/>
                      </a:lnTo>
                      <a:lnTo>
                        <a:pt x="858" y="10"/>
                      </a:lnTo>
                      <a:lnTo>
                        <a:pt x="859" y="10"/>
                      </a:lnTo>
                      <a:lnTo>
                        <a:pt x="861" y="10"/>
                      </a:lnTo>
                      <a:lnTo>
                        <a:pt x="863" y="10"/>
                      </a:lnTo>
                      <a:lnTo>
                        <a:pt x="863" y="12"/>
                      </a:lnTo>
                      <a:lnTo>
                        <a:pt x="865" y="12"/>
                      </a:lnTo>
                      <a:lnTo>
                        <a:pt x="867" y="12"/>
                      </a:lnTo>
                      <a:lnTo>
                        <a:pt x="869" y="14"/>
                      </a:lnTo>
                      <a:lnTo>
                        <a:pt x="871" y="14"/>
                      </a:lnTo>
                      <a:lnTo>
                        <a:pt x="871" y="12"/>
                      </a:lnTo>
                      <a:lnTo>
                        <a:pt x="871" y="14"/>
                      </a:lnTo>
                      <a:lnTo>
                        <a:pt x="873" y="14"/>
                      </a:lnTo>
                      <a:lnTo>
                        <a:pt x="874" y="14"/>
                      </a:lnTo>
                      <a:lnTo>
                        <a:pt x="876" y="14"/>
                      </a:lnTo>
                      <a:lnTo>
                        <a:pt x="876" y="16"/>
                      </a:lnTo>
                      <a:lnTo>
                        <a:pt x="878" y="16"/>
                      </a:lnTo>
                      <a:lnTo>
                        <a:pt x="880" y="14"/>
                      </a:lnTo>
                      <a:lnTo>
                        <a:pt x="882" y="14"/>
                      </a:lnTo>
                      <a:lnTo>
                        <a:pt x="882" y="16"/>
                      </a:lnTo>
                      <a:lnTo>
                        <a:pt x="884" y="16"/>
                      </a:lnTo>
                      <a:lnTo>
                        <a:pt x="884" y="17"/>
                      </a:lnTo>
                      <a:lnTo>
                        <a:pt x="886" y="17"/>
                      </a:lnTo>
                      <a:lnTo>
                        <a:pt x="886" y="16"/>
                      </a:lnTo>
                      <a:lnTo>
                        <a:pt x="888" y="16"/>
                      </a:lnTo>
                      <a:lnTo>
                        <a:pt x="888" y="14"/>
                      </a:lnTo>
                      <a:lnTo>
                        <a:pt x="888" y="16"/>
                      </a:lnTo>
                      <a:lnTo>
                        <a:pt x="888" y="17"/>
                      </a:lnTo>
                      <a:lnTo>
                        <a:pt x="903" y="17"/>
                      </a:lnTo>
                      <a:lnTo>
                        <a:pt x="920" y="17"/>
                      </a:lnTo>
                      <a:lnTo>
                        <a:pt x="922" y="17"/>
                      </a:lnTo>
                      <a:lnTo>
                        <a:pt x="925" y="17"/>
                      </a:lnTo>
                      <a:lnTo>
                        <a:pt x="927" y="17"/>
                      </a:lnTo>
                      <a:lnTo>
                        <a:pt x="931" y="17"/>
                      </a:lnTo>
                      <a:lnTo>
                        <a:pt x="937" y="17"/>
                      </a:lnTo>
                      <a:lnTo>
                        <a:pt x="942" y="17"/>
                      </a:lnTo>
                      <a:lnTo>
                        <a:pt x="944" y="17"/>
                      </a:lnTo>
                      <a:lnTo>
                        <a:pt x="946" y="17"/>
                      </a:lnTo>
                      <a:lnTo>
                        <a:pt x="950" y="17"/>
                      </a:lnTo>
                      <a:lnTo>
                        <a:pt x="952" y="17"/>
                      </a:lnTo>
                      <a:lnTo>
                        <a:pt x="953" y="17"/>
                      </a:lnTo>
                      <a:lnTo>
                        <a:pt x="957" y="17"/>
                      </a:lnTo>
                      <a:lnTo>
                        <a:pt x="959" y="17"/>
                      </a:lnTo>
                      <a:lnTo>
                        <a:pt x="965" y="17"/>
                      </a:lnTo>
                      <a:lnTo>
                        <a:pt x="969" y="17"/>
                      </a:lnTo>
                      <a:lnTo>
                        <a:pt x="972" y="17"/>
                      </a:lnTo>
                      <a:lnTo>
                        <a:pt x="974" y="17"/>
                      </a:lnTo>
                      <a:lnTo>
                        <a:pt x="976" y="17"/>
                      </a:lnTo>
                      <a:lnTo>
                        <a:pt x="978" y="17"/>
                      </a:lnTo>
                      <a:lnTo>
                        <a:pt x="982" y="17"/>
                      </a:lnTo>
                      <a:lnTo>
                        <a:pt x="985" y="17"/>
                      </a:lnTo>
                      <a:lnTo>
                        <a:pt x="991" y="17"/>
                      </a:lnTo>
                      <a:lnTo>
                        <a:pt x="997" y="17"/>
                      </a:lnTo>
                      <a:lnTo>
                        <a:pt x="999" y="17"/>
                      </a:lnTo>
                      <a:lnTo>
                        <a:pt x="1002" y="17"/>
                      </a:lnTo>
                      <a:lnTo>
                        <a:pt x="1004" y="17"/>
                      </a:lnTo>
                      <a:lnTo>
                        <a:pt x="1006" y="17"/>
                      </a:lnTo>
                      <a:lnTo>
                        <a:pt x="1008" y="17"/>
                      </a:lnTo>
                      <a:lnTo>
                        <a:pt x="1010" y="17"/>
                      </a:lnTo>
                      <a:lnTo>
                        <a:pt x="1012" y="17"/>
                      </a:lnTo>
                      <a:lnTo>
                        <a:pt x="1014" y="17"/>
                      </a:lnTo>
                      <a:lnTo>
                        <a:pt x="1016" y="17"/>
                      </a:lnTo>
                      <a:lnTo>
                        <a:pt x="1017" y="17"/>
                      </a:lnTo>
                      <a:lnTo>
                        <a:pt x="1019" y="17"/>
                      </a:lnTo>
                      <a:lnTo>
                        <a:pt x="1027" y="16"/>
                      </a:lnTo>
                      <a:lnTo>
                        <a:pt x="1025" y="19"/>
                      </a:lnTo>
                      <a:lnTo>
                        <a:pt x="1025" y="21"/>
                      </a:lnTo>
                      <a:lnTo>
                        <a:pt x="1025" y="25"/>
                      </a:lnTo>
                      <a:lnTo>
                        <a:pt x="1025" y="27"/>
                      </a:lnTo>
                      <a:lnTo>
                        <a:pt x="1025" y="29"/>
                      </a:lnTo>
                      <a:lnTo>
                        <a:pt x="1025" y="31"/>
                      </a:lnTo>
                      <a:lnTo>
                        <a:pt x="1023" y="32"/>
                      </a:lnTo>
                      <a:lnTo>
                        <a:pt x="1023" y="34"/>
                      </a:lnTo>
                      <a:lnTo>
                        <a:pt x="1023" y="36"/>
                      </a:lnTo>
                      <a:lnTo>
                        <a:pt x="1023" y="38"/>
                      </a:lnTo>
                      <a:lnTo>
                        <a:pt x="1023" y="40"/>
                      </a:lnTo>
                      <a:lnTo>
                        <a:pt x="1021" y="42"/>
                      </a:lnTo>
                      <a:lnTo>
                        <a:pt x="1021" y="44"/>
                      </a:lnTo>
                      <a:lnTo>
                        <a:pt x="1023" y="44"/>
                      </a:lnTo>
                      <a:lnTo>
                        <a:pt x="1023" y="46"/>
                      </a:lnTo>
                      <a:lnTo>
                        <a:pt x="1023" y="48"/>
                      </a:lnTo>
                      <a:lnTo>
                        <a:pt x="1023" y="49"/>
                      </a:lnTo>
                      <a:lnTo>
                        <a:pt x="1021" y="49"/>
                      </a:lnTo>
                      <a:lnTo>
                        <a:pt x="1021" y="51"/>
                      </a:lnTo>
                      <a:lnTo>
                        <a:pt x="1021" y="53"/>
                      </a:lnTo>
                      <a:lnTo>
                        <a:pt x="1021" y="55"/>
                      </a:lnTo>
                      <a:lnTo>
                        <a:pt x="1019" y="57"/>
                      </a:lnTo>
                      <a:lnTo>
                        <a:pt x="1021" y="57"/>
                      </a:lnTo>
                      <a:lnTo>
                        <a:pt x="1021" y="59"/>
                      </a:lnTo>
                      <a:lnTo>
                        <a:pt x="1021" y="63"/>
                      </a:lnTo>
                      <a:lnTo>
                        <a:pt x="1019" y="63"/>
                      </a:lnTo>
                      <a:lnTo>
                        <a:pt x="1019" y="64"/>
                      </a:lnTo>
                      <a:lnTo>
                        <a:pt x="1019" y="66"/>
                      </a:lnTo>
                      <a:lnTo>
                        <a:pt x="1019" y="68"/>
                      </a:lnTo>
                      <a:lnTo>
                        <a:pt x="1019" y="70"/>
                      </a:lnTo>
                      <a:lnTo>
                        <a:pt x="1017" y="72"/>
                      </a:lnTo>
                      <a:lnTo>
                        <a:pt x="1017" y="74"/>
                      </a:lnTo>
                      <a:lnTo>
                        <a:pt x="1016" y="74"/>
                      </a:lnTo>
                      <a:lnTo>
                        <a:pt x="1016" y="76"/>
                      </a:lnTo>
                      <a:lnTo>
                        <a:pt x="1016" y="78"/>
                      </a:lnTo>
                      <a:lnTo>
                        <a:pt x="1016" y="80"/>
                      </a:lnTo>
                      <a:lnTo>
                        <a:pt x="1016" y="81"/>
                      </a:lnTo>
                      <a:lnTo>
                        <a:pt x="1016" y="83"/>
                      </a:lnTo>
                      <a:lnTo>
                        <a:pt x="1014" y="85"/>
                      </a:lnTo>
                      <a:lnTo>
                        <a:pt x="1014" y="87"/>
                      </a:lnTo>
                      <a:lnTo>
                        <a:pt x="1014" y="89"/>
                      </a:lnTo>
                      <a:lnTo>
                        <a:pt x="1014" y="91"/>
                      </a:lnTo>
                      <a:lnTo>
                        <a:pt x="1012" y="91"/>
                      </a:lnTo>
                      <a:lnTo>
                        <a:pt x="1012" y="93"/>
                      </a:lnTo>
                      <a:lnTo>
                        <a:pt x="1012" y="95"/>
                      </a:lnTo>
                      <a:lnTo>
                        <a:pt x="1010" y="97"/>
                      </a:lnTo>
                      <a:lnTo>
                        <a:pt x="1010" y="98"/>
                      </a:lnTo>
                      <a:lnTo>
                        <a:pt x="1010" y="100"/>
                      </a:lnTo>
                      <a:lnTo>
                        <a:pt x="1008" y="102"/>
                      </a:lnTo>
                      <a:lnTo>
                        <a:pt x="1006" y="106"/>
                      </a:lnTo>
                      <a:lnTo>
                        <a:pt x="1004" y="110"/>
                      </a:lnTo>
                      <a:lnTo>
                        <a:pt x="1004" y="112"/>
                      </a:lnTo>
                      <a:lnTo>
                        <a:pt x="1004" y="113"/>
                      </a:lnTo>
                      <a:lnTo>
                        <a:pt x="1004" y="115"/>
                      </a:lnTo>
                      <a:lnTo>
                        <a:pt x="1002" y="119"/>
                      </a:lnTo>
                      <a:lnTo>
                        <a:pt x="1001" y="123"/>
                      </a:lnTo>
                      <a:lnTo>
                        <a:pt x="1001" y="125"/>
                      </a:lnTo>
                      <a:lnTo>
                        <a:pt x="1001" y="127"/>
                      </a:lnTo>
                      <a:lnTo>
                        <a:pt x="1001" y="129"/>
                      </a:lnTo>
                      <a:lnTo>
                        <a:pt x="997" y="136"/>
                      </a:lnTo>
                      <a:lnTo>
                        <a:pt x="995" y="136"/>
                      </a:lnTo>
                      <a:lnTo>
                        <a:pt x="995" y="138"/>
                      </a:lnTo>
                      <a:lnTo>
                        <a:pt x="995" y="140"/>
                      </a:lnTo>
                      <a:lnTo>
                        <a:pt x="995" y="142"/>
                      </a:lnTo>
                      <a:lnTo>
                        <a:pt x="995" y="144"/>
                      </a:lnTo>
                      <a:lnTo>
                        <a:pt x="993" y="145"/>
                      </a:lnTo>
                      <a:lnTo>
                        <a:pt x="993" y="147"/>
                      </a:lnTo>
                      <a:lnTo>
                        <a:pt x="993" y="149"/>
                      </a:lnTo>
                      <a:lnTo>
                        <a:pt x="991" y="149"/>
                      </a:lnTo>
                      <a:lnTo>
                        <a:pt x="989" y="153"/>
                      </a:lnTo>
                      <a:lnTo>
                        <a:pt x="989" y="155"/>
                      </a:lnTo>
                      <a:lnTo>
                        <a:pt x="989" y="157"/>
                      </a:lnTo>
                      <a:lnTo>
                        <a:pt x="987" y="161"/>
                      </a:lnTo>
                      <a:lnTo>
                        <a:pt x="987" y="164"/>
                      </a:lnTo>
                      <a:lnTo>
                        <a:pt x="985" y="164"/>
                      </a:lnTo>
                      <a:lnTo>
                        <a:pt x="985" y="170"/>
                      </a:lnTo>
                      <a:lnTo>
                        <a:pt x="985" y="172"/>
                      </a:lnTo>
                      <a:lnTo>
                        <a:pt x="984" y="174"/>
                      </a:lnTo>
                      <a:lnTo>
                        <a:pt x="982" y="176"/>
                      </a:lnTo>
                      <a:lnTo>
                        <a:pt x="982" y="177"/>
                      </a:lnTo>
                      <a:lnTo>
                        <a:pt x="982" y="179"/>
                      </a:lnTo>
                      <a:lnTo>
                        <a:pt x="982" y="181"/>
                      </a:lnTo>
                      <a:lnTo>
                        <a:pt x="980" y="183"/>
                      </a:lnTo>
                      <a:lnTo>
                        <a:pt x="980" y="185"/>
                      </a:lnTo>
                      <a:lnTo>
                        <a:pt x="978" y="187"/>
                      </a:lnTo>
                      <a:lnTo>
                        <a:pt x="976" y="191"/>
                      </a:lnTo>
                      <a:lnTo>
                        <a:pt x="974" y="194"/>
                      </a:lnTo>
                      <a:lnTo>
                        <a:pt x="972" y="198"/>
                      </a:lnTo>
                      <a:lnTo>
                        <a:pt x="972" y="200"/>
                      </a:lnTo>
                      <a:lnTo>
                        <a:pt x="972" y="202"/>
                      </a:lnTo>
                      <a:lnTo>
                        <a:pt x="972" y="204"/>
                      </a:lnTo>
                      <a:lnTo>
                        <a:pt x="972" y="206"/>
                      </a:lnTo>
                      <a:lnTo>
                        <a:pt x="972" y="208"/>
                      </a:lnTo>
                      <a:lnTo>
                        <a:pt x="972" y="209"/>
                      </a:lnTo>
                      <a:lnTo>
                        <a:pt x="972" y="211"/>
                      </a:lnTo>
                      <a:lnTo>
                        <a:pt x="972" y="213"/>
                      </a:lnTo>
                      <a:lnTo>
                        <a:pt x="970" y="219"/>
                      </a:lnTo>
                      <a:lnTo>
                        <a:pt x="969" y="223"/>
                      </a:lnTo>
                      <a:lnTo>
                        <a:pt x="969" y="225"/>
                      </a:lnTo>
                      <a:lnTo>
                        <a:pt x="969" y="228"/>
                      </a:lnTo>
                      <a:lnTo>
                        <a:pt x="967" y="230"/>
                      </a:lnTo>
                      <a:lnTo>
                        <a:pt x="967" y="234"/>
                      </a:lnTo>
                      <a:lnTo>
                        <a:pt x="967" y="236"/>
                      </a:lnTo>
                      <a:lnTo>
                        <a:pt x="967" y="238"/>
                      </a:lnTo>
                      <a:lnTo>
                        <a:pt x="967" y="240"/>
                      </a:lnTo>
                      <a:lnTo>
                        <a:pt x="965" y="245"/>
                      </a:lnTo>
                      <a:lnTo>
                        <a:pt x="965" y="247"/>
                      </a:lnTo>
                      <a:lnTo>
                        <a:pt x="963" y="251"/>
                      </a:lnTo>
                      <a:lnTo>
                        <a:pt x="963" y="255"/>
                      </a:lnTo>
                      <a:lnTo>
                        <a:pt x="961" y="257"/>
                      </a:lnTo>
                      <a:lnTo>
                        <a:pt x="961" y="258"/>
                      </a:lnTo>
                      <a:lnTo>
                        <a:pt x="961" y="260"/>
                      </a:lnTo>
                      <a:lnTo>
                        <a:pt x="959" y="266"/>
                      </a:lnTo>
                      <a:lnTo>
                        <a:pt x="957" y="272"/>
                      </a:lnTo>
                      <a:lnTo>
                        <a:pt x="955" y="281"/>
                      </a:lnTo>
                      <a:lnTo>
                        <a:pt x="953" y="285"/>
                      </a:lnTo>
                      <a:lnTo>
                        <a:pt x="953" y="292"/>
                      </a:lnTo>
                      <a:lnTo>
                        <a:pt x="953" y="294"/>
                      </a:lnTo>
                      <a:lnTo>
                        <a:pt x="952" y="294"/>
                      </a:lnTo>
                      <a:lnTo>
                        <a:pt x="952" y="296"/>
                      </a:lnTo>
                      <a:lnTo>
                        <a:pt x="952" y="298"/>
                      </a:lnTo>
                      <a:lnTo>
                        <a:pt x="952" y="300"/>
                      </a:lnTo>
                      <a:lnTo>
                        <a:pt x="950" y="309"/>
                      </a:lnTo>
                      <a:lnTo>
                        <a:pt x="950" y="313"/>
                      </a:lnTo>
                      <a:lnTo>
                        <a:pt x="952" y="319"/>
                      </a:lnTo>
                      <a:lnTo>
                        <a:pt x="952" y="321"/>
                      </a:lnTo>
                      <a:lnTo>
                        <a:pt x="952" y="324"/>
                      </a:lnTo>
                      <a:lnTo>
                        <a:pt x="950" y="337"/>
                      </a:lnTo>
                      <a:lnTo>
                        <a:pt x="946" y="347"/>
                      </a:lnTo>
                      <a:lnTo>
                        <a:pt x="942" y="369"/>
                      </a:lnTo>
                      <a:lnTo>
                        <a:pt x="942" y="375"/>
                      </a:lnTo>
                      <a:lnTo>
                        <a:pt x="942" y="379"/>
                      </a:lnTo>
                      <a:lnTo>
                        <a:pt x="942" y="381"/>
                      </a:lnTo>
                      <a:lnTo>
                        <a:pt x="942" y="383"/>
                      </a:lnTo>
                      <a:lnTo>
                        <a:pt x="940" y="386"/>
                      </a:lnTo>
                      <a:lnTo>
                        <a:pt x="940" y="390"/>
                      </a:lnTo>
                      <a:lnTo>
                        <a:pt x="938" y="396"/>
                      </a:lnTo>
                      <a:lnTo>
                        <a:pt x="937" y="401"/>
                      </a:lnTo>
                      <a:lnTo>
                        <a:pt x="935" y="403"/>
                      </a:lnTo>
                      <a:lnTo>
                        <a:pt x="933" y="407"/>
                      </a:lnTo>
                      <a:lnTo>
                        <a:pt x="931" y="413"/>
                      </a:lnTo>
                      <a:lnTo>
                        <a:pt x="929" y="415"/>
                      </a:lnTo>
                      <a:lnTo>
                        <a:pt x="929" y="417"/>
                      </a:lnTo>
                      <a:lnTo>
                        <a:pt x="927" y="418"/>
                      </a:lnTo>
                      <a:lnTo>
                        <a:pt x="925" y="422"/>
                      </a:lnTo>
                      <a:lnTo>
                        <a:pt x="923" y="424"/>
                      </a:lnTo>
                      <a:lnTo>
                        <a:pt x="922" y="432"/>
                      </a:lnTo>
                      <a:lnTo>
                        <a:pt x="920" y="433"/>
                      </a:lnTo>
                      <a:lnTo>
                        <a:pt x="916" y="441"/>
                      </a:lnTo>
                      <a:lnTo>
                        <a:pt x="914" y="443"/>
                      </a:lnTo>
                      <a:lnTo>
                        <a:pt x="914" y="445"/>
                      </a:lnTo>
                      <a:lnTo>
                        <a:pt x="912" y="449"/>
                      </a:lnTo>
                      <a:lnTo>
                        <a:pt x="910" y="454"/>
                      </a:lnTo>
                      <a:lnTo>
                        <a:pt x="908" y="454"/>
                      </a:lnTo>
                      <a:lnTo>
                        <a:pt x="908" y="456"/>
                      </a:lnTo>
                      <a:lnTo>
                        <a:pt x="908" y="458"/>
                      </a:lnTo>
                      <a:lnTo>
                        <a:pt x="908" y="460"/>
                      </a:lnTo>
                      <a:lnTo>
                        <a:pt x="908" y="464"/>
                      </a:lnTo>
                      <a:lnTo>
                        <a:pt x="908" y="465"/>
                      </a:lnTo>
                      <a:lnTo>
                        <a:pt x="908" y="469"/>
                      </a:lnTo>
                      <a:lnTo>
                        <a:pt x="906" y="473"/>
                      </a:lnTo>
                      <a:lnTo>
                        <a:pt x="906" y="477"/>
                      </a:lnTo>
                      <a:lnTo>
                        <a:pt x="905" y="482"/>
                      </a:lnTo>
                      <a:lnTo>
                        <a:pt x="905" y="484"/>
                      </a:lnTo>
                      <a:lnTo>
                        <a:pt x="905" y="486"/>
                      </a:lnTo>
                      <a:lnTo>
                        <a:pt x="905" y="488"/>
                      </a:lnTo>
                      <a:lnTo>
                        <a:pt x="905" y="490"/>
                      </a:lnTo>
                      <a:lnTo>
                        <a:pt x="903" y="494"/>
                      </a:lnTo>
                      <a:lnTo>
                        <a:pt x="903" y="496"/>
                      </a:lnTo>
                      <a:lnTo>
                        <a:pt x="901" y="497"/>
                      </a:lnTo>
                      <a:lnTo>
                        <a:pt x="899" y="501"/>
                      </a:lnTo>
                      <a:lnTo>
                        <a:pt x="897" y="505"/>
                      </a:lnTo>
                      <a:lnTo>
                        <a:pt x="893" y="509"/>
                      </a:lnTo>
                      <a:lnTo>
                        <a:pt x="891" y="513"/>
                      </a:lnTo>
                      <a:lnTo>
                        <a:pt x="888" y="514"/>
                      </a:lnTo>
                      <a:lnTo>
                        <a:pt x="886" y="518"/>
                      </a:lnTo>
                      <a:lnTo>
                        <a:pt x="882" y="520"/>
                      </a:lnTo>
                      <a:lnTo>
                        <a:pt x="878" y="522"/>
                      </a:lnTo>
                      <a:lnTo>
                        <a:pt x="878" y="524"/>
                      </a:lnTo>
                      <a:lnTo>
                        <a:pt x="876" y="526"/>
                      </a:lnTo>
                      <a:lnTo>
                        <a:pt x="876" y="528"/>
                      </a:lnTo>
                      <a:lnTo>
                        <a:pt x="874" y="528"/>
                      </a:lnTo>
                      <a:lnTo>
                        <a:pt x="874" y="530"/>
                      </a:lnTo>
                      <a:lnTo>
                        <a:pt x="873" y="530"/>
                      </a:lnTo>
                      <a:lnTo>
                        <a:pt x="873" y="531"/>
                      </a:lnTo>
                      <a:lnTo>
                        <a:pt x="869" y="533"/>
                      </a:lnTo>
                      <a:lnTo>
                        <a:pt x="865" y="537"/>
                      </a:lnTo>
                      <a:lnTo>
                        <a:pt x="863" y="537"/>
                      </a:lnTo>
                      <a:lnTo>
                        <a:pt x="858" y="543"/>
                      </a:lnTo>
                      <a:lnTo>
                        <a:pt x="854" y="546"/>
                      </a:lnTo>
                      <a:lnTo>
                        <a:pt x="854" y="548"/>
                      </a:lnTo>
                      <a:lnTo>
                        <a:pt x="852" y="548"/>
                      </a:lnTo>
                      <a:lnTo>
                        <a:pt x="852" y="550"/>
                      </a:lnTo>
                      <a:lnTo>
                        <a:pt x="850" y="552"/>
                      </a:lnTo>
                      <a:lnTo>
                        <a:pt x="848" y="554"/>
                      </a:lnTo>
                      <a:lnTo>
                        <a:pt x="846" y="556"/>
                      </a:lnTo>
                      <a:lnTo>
                        <a:pt x="841" y="562"/>
                      </a:lnTo>
                      <a:lnTo>
                        <a:pt x="839" y="562"/>
                      </a:lnTo>
                      <a:lnTo>
                        <a:pt x="839" y="563"/>
                      </a:lnTo>
                      <a:lnTo>
                        <a:pt x="837" y="565"/>
                      </a:lnTo>
                      <a:lnTo>
                        <a:pt x="833" y="569"/>
                      </a:lnTo>
                      <a:lnTo>
                        <a:pt x="831" y="571"/>
                      </a:lnTo>
                      <a:lnTo>
                        <a:pt x="827" y="575"/>
                      </a:lnTo>
                      <a:lnTo>
                        <a:pt x="826" y="577"/>
                      </a:lnTo>
                      <a:lnTo>
                        <a:pt x="824" y="578"/>
                      </a:lnTo>
                      <a:lnTo>
                        <a:pt x="822" y="580"/>
                      </a:lnTo>
                      <a:lnTo>
                        <a:pt x="816" y="586"/>
                      </a:lnTo>
                      <a:lnTo>
                        <a:pt x="814" y="588"/>
                      </a:lnTo>
                      <a:lnTo>
                        <a:pt x="814" y="590"/>
                      </a:lnTo>
                      <a:lnTo>
                        <a:pt x="812" y="590"/>
                      </a:lnTo>
                      <a:lnTo>
                        <a:pt x="812" y="592"/>
                      </a:lnTo>
                      <a:lnTo>
                        <a:pt x="807" y="595"/>
                      </a:lnTo>
                      <a:lnTo>
                        <a:pt x="803" y="599"/>
                      </a:lnTo>
                      <a:lnTo>
                        <a:pt x="801" y="601"/>
                      </a:lnTo>
                      <a:lnTo>
                        <a:pt x="790" y="607"/>
                      </a:lnTo>
                      <a:lnTo>
                        <a:pt x="784" y="607"/>
                      </a:lnTo>
                      <a:lnTo>
                        <a:pt x="784" y="609"/>
                      </a:lnTo>
                      <a:lnTo>
                        <a:pt x="782" y="609"/>
                      </a:lnTo>
                      <a:lnTo>
                        <a:pt x="780" y="610"/>
                      </a:lnTo>
                      <a:lnTo>
                        <a:pt x="779" y="610"/>
                      </a:lnTo>
                      <a:lnTo>
                        <a:pt x="773" y="612"/>
                      </a:lnTo>
                      <a:lnTo>
                        <a:pt x="769" y="614"/>
                      </a:lnTo>
                      <a:lnTo>
                        <a:pt x="764" y="616"/>
                      </a:lnTo>
                      <a:lnTo>
                        <a:pt x="760" y="618"/>
                      </a:lnTo>
                      <a:lnTo>
                        <a:pt x="758" y="618"/>
                      </a:lnTo>
                      <a:lnTo>
                        <a:pt x="754" y="618"/>
                      </a:lnTo>
                      <a:lnTo>
                        <a:pt x="752" y="620"/>
                      </a:lnTo>
                      <a:lnTo>
                        <a:pt x="748" y="622"/>
                      </a:lnTo>
                      <a:lnTo>
                        <a:pt x="747" y="622"/>
                      </a:lnTo>
                      <a:lnTo>
                        <a:pt x="743" y="624"/>
                      </a:lnTo>
                      <a:lnTo>
                        <a:pt x="741" y="626"/>
                      </a:lnTo>
                      <a:lnTo>
                        <a:pt x="737" y="627"/>
                      </a:lnTo>
                      <a:lnTo>
                        <a:pt x="733" y="631"/>
                      </a:lnTo>
                      <a:lnTo>
                        <a:pt x="732" y="635"/>
                      </a:lnTo>
                      <a:lnTo>
                        <a:pt x="730" y="635"/>
                      </a:lnTo>
                      <a:lnTo>
                        <a:pt x="728" y="639"/>
                      </a:lnTo>
                      <a:lnTo>
                        <a:pt x="726" y="642"/>
                      </a:lnTo>
                      <a:lnTo>
                        <a:pt x="720" y="646"/>
                      </a:lnTo>
                      <a:lnTo>
                        <a:pt x="716" y="650"/>
                      </a:lnTo>
                      <a:lnTo>
                        <a:pt x="716" y="652"/>
                      </a:lnTo>
                      <a:lnTo>
                        <a:pt x="713" y="654"/>
                      </a:lnTo>
                      <a:lnTo>
                        <a:pt x="713" y="656"/>
                      </a:lnTo>
                      <a:lnTo>
                        <a:pt x="713" y="658"/>
                      </a:lnTo>
                      <a:lnTo>
                        <a:pt x="711" y="658"/>
                      </a:lnTo>
                      <a:lnTo>
                        <a:pt x="709" y="658"/>
                      </a:lnTo>
                      <a:lnTo>
                        <a:pt x="709" y="659"/>
                      </a:lnTo>
                      <a:lnTo>
                        <a:pt x="707" y="661"/>
                      </a:lnTo>
                      <a:lnTo>
                        <a:pt x="705" y="663"/>
                      </a:lnTo>
                      <a:lnTo>
                        <a:pt x="705" y="665"/>
                      </a:lnTo>
                      <a:lnTo>
                        <a:pt x="703" y="667"/>
                      </a:lnTo>
                      <a:lnTo>
                        <a:pt x="701" y="667"/>
                      </a:lnTo>
                      <a:lnTo>
                        <a:pt x="701" y="669"/>
                      </a:lnTo>
                      <a:lnTo>
                        <a:pt x="700" y="671"/>
                      </a:lnTo>
                      <a:lnTo>
                        <a:pt x="700" y="673"/>
                      </a:lnTo>
                      <a:lnTo>
                        <a:pt x="698" y="673"/>
                      </a:lnTo>
                      <a:lnTo>
                        <a:pt x="698" y="674"/>
                      </a:lnTo>
                      <a:lnTo>
                        <a:pt x="696" y="676"/>
                      </a:lnTo>
                      <a:lnTo>
                        <a:pt x="694" y="680"/>
                      </a:lnTo>
                      <a:lnTo>
                        <a:pt x="692" y="680"/>
                      </a:lnTo>
                      <a:lnTo>
                        <a:pt x="692" y="682"/>
                      </a:lnTo>
                      <a:lnTo>
                        <a:pt x="690" y="684"/>
                      </a:lnTo>
                      <a:lnTo>
                        <a:pt x="688" y="686"/>
                      </a:lnTo>
                      <a:lnTo>
                        <a:pt x="686" y="688"/>
                      </a:lnTo>
                      <a:lnTo>
                        <a:pt x="686" y="690"/>
                      </a:lnTo>
                      <a:lnTo>
                        <a:pt x="685" y="690"/>
                      </a:lnTo>
                      <a:lnTo>
                        <a:pt x="683" y="690"/>
                      </a:lnTo>
                      <a:lnTo>
                        <a:pt x="683" y="691"/>
                      </a:lnTo>
                      <a:lnTo>
                        <a:pt x="681" y="693"/>
                      </a:lnTo>
                      <a:lnTo>
                        <a:pt x="679" y="695"/>
                      </a:lnTo>
                      <a:lnTo>
                        <a:pt x="679" y="697"/>
                      </a:lnTo>
                      <a:lnTo>
                        <a:pt x="677" y="697"/>
                      </a:lnTo>
                      <a:lnTo>
                        <a:pt x="677" y="699"/>
                      </a:lnTo>
                      <a:lnTo>
                        <a:pt x="675" y="699"/>
                      </a:lnTo>
                      <a:lnTo>
                        <a:pt x="673" y="701"/>
                      </a:lnTo>
                      <a:lnTo>
                        <a:pt x="673" y="703"/>
                      </a:lnTo>
                      <a:lnTo>
                        <a:pt x="671" y="703"/>
                      </a:lnTo>
                      <a:lnTo>
                        <a:pt x="669" y="705"/>
                      </a:lnTo>
                      <a:lnTo>
                        <a:pt x="668" y="705"/>
                      </a:lnTo>
                      <a:lnTo>
                        <a:pt x="668" y="706"/>
                      </a:lnTo>
                      <a:lnTo>
                        <a:pt x="668" y="708"/>
                      </a:lnTo>
                      <a:lnTo>
                        <a:pt x="666" y="708"/>
                      </a:lnTo>
                      <a:lnTo>
                        <a:pt x="664" y="708"/>
                      </a:lnTo>
                      <a:lnTo>
                        <a:pt x="664" y="710"/>
                      </a:lnTo>
                      <a:lnTo>
                        <a:pt x="662" y="712"/>
                      </a:lnTo>
                      <a:lnTo>
                        <a:pt x="660" y="714"/>
                      </a:lnTo>
                      <a:lnTo>
                        <a:pt x="658" y="714"/>
                      </a:lnTo>
                      <a:lnTo>
                        <a:pt x="658" y="716"/>
                      </a:lnTo>
                      <a:lnTo>
                        <a:pt x="656" y="718"/>
                      </a:lnTo>
                      <a:lnTo>
                        <a:pt x="656" y="720"/>
                      </a:lnTo>
                      <a:lnTo>
                        <a:pt x="656" y="722"/>
                      </a:lnTo>
                      <a:lnTo>
                        <a:pt x="654" y="722"/>
                      </a:lnTo>
                      <a:lnTo>
                        <a:pt x="654" y="723"/>
                      </a:lnTo>
                      <a:lnTo>
                        <a:pt x="653" y="723"/>
                      </a:lnTo>
                      <a:lnTo>
                        <a:pt x="653" y="725"/>
                      </a:lnTo>
                      <a:lnTo>
                        <a:pt x="651" y="727"/>
                      </a:lnTo>
                      <a:lnTo>
                        <a:pt x="649" y="727"/>
                      </a:lnTo>
                      <a:lnTo>
                        <a:pt x="649" y="729"/>
                      </a:lnTo>
                      <a:lnTo>
                        <a:pt x="647" y="729"/>
                      </a:lnTo>
                      <a:lnTo>
                        <a:pt x="647" y="731"/>
                      </a:lnTo>
                      <a:lnTo>
                        <a:pt x="645" y="733"/>
                      </a:lnTo>
                      <a:lnTo>
                        <a:pt x="645" y="735"/>
                      </a:lnTo>
                      <a:lnTo>
                        <a:pt x="643" y="735"/>
                      </a:lnTo>
                      <a:lnTo>
                        <a:pt x="641" y="737"/>
                      </a:lnTo>
                      <a:lnTo>
                        <a:pt x="637" y="740"/>
                      </a:lnTo>
                      <a:lnTo>
                        <a:pt x="636" y="742"/>
                      </a:lnTo>
                      <a:lnTo>
                        <a:pt x="634" y="744"/>
                      </a:lnTo>
                      <a:lnTo>
                        <a:pt x="634" y="746"/>
                      </a:lnTo>
                      <a:lnTo>
                        <a:pt x="632" y="746"/>
                      </a:lnTo>
                      <a:lnTo>
                        <a:pt x="632" y="748"/>
                      </a:lnTo>
                      <a:lnTo>
                        <a:pt x="630" y="748"/>
                      </a:lnTo>
                      <a:lnTo>
                        <a:pt x="630" y="750"/>
                      </a:lnTo>
                      <a:lnTo>
                        <a:pt x="630" y="752"/>
                      </a:lnTo>
                      <a:lnTo>
                        <a:pt x="628" y="754"/>
                      </a:lnTo>
                      <a:lnTo>
                        <a:pt x="626" y="754"/>
                      </a:lnTo>
                      <a:lnTo>
                        <a:pt x="624" y="755"/>
                      </a:lnTo>
                      <a:lnTo>
                        <a:pt x="624" y="757"/>
                      </a:lnTo>
                      <a:lnTo>
                        <a:pt x="624" y="759"/>
                      </a:lnTo>
                      <a:lnTo>
                        <a:pt x="622" y="759"/>
                      </a:lnTo>
                      <a:lnTo>
                        <a:pt x="622" y="761"/>
                      </a:lnTo>
                      <a:lnTo>
                        <a:pt x="621" y="761"/>
                      </a:lnTo>
                      <a:lnTo>
                        <a:pt x="621" y="763"/>
                      </a:lnTo>
                      <a:lnTo>
                        <a:pt x="619" y="763"/>
                      </a:lnTo>
                      <a:lnTo>
                        <a:pt x="619" y="765"/>
                      </a:lnTo>
                      <a:lnTo>
                        <a:pt x="619" y="767"/>
                      </a:lnTo>
                      <a:lnTo>
                        <a:pt x="617" y="767"/>
                      </a:lnTo>
                      <a:lnTo>
                        <a:pt x="617" y="769"/>
                      </a:lnTo>
                      <a:lnTo>
                        <a:pt x="615" y="770"/>
                      </a:lnTo>
                      <a:lnTo>
                        <a:pt x="615" y="772"/>
                      </a:lnTo>
                      <a:lnTo>
                        <a:pt x="613" y="772"/>
                      </a:lnTo>
                      <a:lnTo>
                        <a:pt x="613" y="774"/>
                      </a:lnTo>
                      <a:lnTo>
                        <a:pt x="611" y="774"/>
                      </a:lnTo>
                      <a:lnTo>
                        <a:pt x="611" y="776"/>
                      </a:lnTo>
                      <a:lnTo>
                        <a:pt x="609" y="778"/>
                      </a:lnTo>
                      <a:lnTo>
                        <a:pt x="607" y="778"/>
                      </a:lnTo>
                      <a:lnTo>
                        <a:pt x="607" y="780"/>
                      </a:lnTo>
                      <a:lnTo>
                        <a:pt x="607" y="782"/>
                      </a:lnTo>
                      <a:lnTo>
                        <a:pt x="606" y="782"/>
                      </a:lnTo>
                      <a:lnTo>
                        <a:pt x="606" y="784"/>
                      </a:lnTo>
                      <a:lnTo>
                        <a:pt x="604" y="784"/>
                      </a:lnTo>
                      <a:lnTo>
                        <a:pt x="604" y="786"/>
                      </a:lnTo>
                      <a:lnTo>
                        <a:pt x="604" y="787"/>
                      </a:lnTo>
                      <a:lnTo>
                        <a:pt x="602" y="787"/>
                      </a:lnTo>
                      <a:lnTo>
                        <a:pt x="602" y="789"/>
                      </a:lnTo>
                      <a:lnTo>
                        <a:pt x="602" y="791"/>
                      </a:lnTo>
                      <a:lnTo>
                        <a:pt x="602" y="793"/>
                      </a:lnTo>
                      <a:lnTo>
                        <a:pt x="600" y="793"/>
                      </a:lnTo>
                      <a:lnTo>
                        <a:pt x="600" y="795"/>
                      </a:lnTo>
                      <a:lnTo>
                        <a:pt x="598" y="795"/>
                      </a:lnTo>
                      <a:lnTo>
                        <a:pt x="598" y="797"/>
                      </a:lnTo>
                      <a:lnTo>
                        <a:pt x="596" y="797"/>
                      </a:lnTo>
                      <a:lnTo>
                        <a:pt x="594" y="799"/>
                      </a:lnTo>
                      <a:lnTo>
                        <a:pt x="594" y="801"/>
                      </a:lnTo>
                      <a:lnTo>
                        <a:pt x="592" y="801"/>
                      </a:lnTo>
                      <a:lnTo>
                        <a:pt x="592" y="802"/>
                      </a:lnTo>
                      <a:lnTo>
                        <a:pt x="590" y="802"/>
                      </a:lnTo>
                      <a:lnTo>
                        <a:pt x="590" y="804"/>
                      </a:lnTo>
                      <a:lnTo>
                        <a:pt x="590" y="806"/>
                      </a:lnTo>
                      <a:lnTo>
                        <a:pt x="589" y="806"/>
                      </a:lnTo>
                      <a:lnTo>
                        <a:pt x="589" y="808"/>
                      </a:lnTo>
                      <a:lnTo>
                        <a:pt x="587" y="810"/>
                      </a:lnTo>
                      <a:lnTo>
                        <a:pt x="587" y="812"/>
                      </a:lnTo>
                      <a:lnTo>
                        <a:pt x="585" y="814"/>
                      </a:lnTo>
                      <a:lnTo>
                        <a:pt x="585" y="816"/>
                      </a:lnTo>
                      <a:lnTo>
                        <a:pt x="583" y="816"/>
                      </a:lnTo>
                      <a:lnTo>
                        <a:pt x="581" y="819"/>
                      </a:lnTo>
                      <a:lnTo>
                        <a:pt x="581" y="821"/>
                      </a:lnTo>
                      <a:lnTo>
                        <a:pt x="579" y="821"/>
                      </a:lnTo>
                      <a:lnTo>
                        <a:pt x="579" y="823"/>
                      </a:lnTo>
                      <a:lnTo>
                        <a:pt x="577" y="825"/>
                      </a:lnTo>
                      <a:lnTo>
                        <a:pt x="577" y="827"/>
                      </a:lnTo>
                      <a:lnTo>
                        <a:pt x="575" y="829"/>
                      </a:lnTo>
                      <a:lnTo>
                        <a:pt x="575" y="831"/>
                      </a:lnTo>
                      <a:lnTo>
                        <a:pt x="574" y="833"/>
                      </a:lnTo>
                      <a:lnTo>
                        <a:pt x="574" y="836"/>
                      </a:lnTo>
                      <a:lnTo>
                        <a:pt x="572" y="836"/>
                      </a:lnTo>
                      <a:lnTo>
                        <a:pt x="572" y="840"/>
                      </a:lnTo>
                      <a:lnTo>
                        <a:pt x="570" y="840"/>
                      </a:lnTo>
                      <a:lnTo>
                        <a:pt x="570" y="842"/>
                      </a:lnTo>
                      <a:lnTo>
                        <a:pt x="568" y="844"/>
                      </a:lnTo>
                      <a:lnTo>
                        <a:pt x="566" y="848"/>
                      </a:lnTo>
                      <a:lnTo>
                        <a:pt x="566" y="850"/>
                      </a:lnTo>
                      <a:lnTo>
                        <a:pt x="566" y="851"/>
                      </a:lnTo>
                      <a:lnTo>
                        <a:pt x="564" y="853"/>
                      </a:lnTo>
                      <a:lnTo>
                        <a:pt x="560" y="859"/>
                      </a:lnTo>
                      <a:lnTo>
                        <a:pt x="560" y="861"/>
                      </a:lnTo>
                      <a:lnTo>
                        <a:pt x="558" y="863"/>
                      </a:lnTo>
                      <a:lnTo>
                        <a:pt x="557" y="866"/>
                      </a:lnTo>
                      <a:lnTo>
                        <a:pt x="557" y="868"/>
                      </a:lnTo>
                      <a:lnTo>
                        <a:pt x="555" y="872"/>
                      </a:lnTo>
                      <a:lnTo>
                        <a:pt x="555" y="874"/>
                      </a:lnTo>
                      <a:lnTo>
                        <a:pt x="555" y="876"/>
                      </a:lnTo>
                      <a:lnTo>
                        <a:pt x="553" y="878"/>
                      </a:lnTo>
                      <a:lnTo>
                        <a:pt x="553" y="880"/>
                      </a:lnTo>
                      <a:lnTo>
                        <a:pt x="553" y="882"/>
                      </a:lnTo>
                      <a:lnTo>
                        <a:pt x="555" y="883"/>
                      </a:lnTo>
                      <a:lnTo>
                        <a:pt x="555" y="885"/>
                      </a:lnTo>
                      <a:lnTo>
                        <a:pt x="555" y="887"/>
                      </a:lnTo>
                      <a:lnTo>
                        <a:pt x="557" y="889"/>
                      </a:lnTo>
                      <a:lnTo>
                        <a:pt x="558" y="891"/>
                      </a:lnTo>
                      <a:lnTo>
                        <a:pt x="558" y="889"/>
                      </a:lnTo>
                      <a:lnTo>
                        <a:pt x="560" y="889"/>
                      </a:lnTo>
                      <a:lnTo>
                        <a:pt x="560" y="891"/>
                      </a:lnTo>
                      <a:lnTo>
                        <a:pt x="558" y="891"/>
                      </a:lnTo>
                      <a:lnTo>
                        <a:pt x="560" y="891"/>
                      </a:lnTo>
                      <a:lnTo>
                        <a:pt x="560" y="893"/>
                      </a:lnTo>
                      <a:lnTo>
                        <a:pt x="558" y="893"/>
                      </a:lnTo>
                      <a:lnTo>
                        <a:pt x="555" y="898"/>
                      </a:lnTo>
                      <a:lnTo>
                        <a:pt x="555" y="900"/>
                      </a:lnTo>
                      <a:lnTo>
                        <a:pt x="553" y="902"/>
                      </a:lnTo>
                      <a:lnTo>
                        <a:pt x="551" y="904"/>
                      </a:lnTo>
                      <a:lnTo>
                        <a:pt x="549" y="906"/>
                      </a:lnTo>
                      <a:lnTo>
                        <a:pt x="549" y="908"/>
                      </a:lnTo>
                      <a:lnTo>
                        <a:pt x="547" y="908"/>
                      </a:lnTo>
                      <a:lnTo>
                        <a:pt x="547" y="910"/>
                      </a:lnTo>
                      <a:lnTo>
                        <a:pt x="545" y="912"/>
                      </a:lnTo>
                      <a:lnTo>
                        <a:pt x="542" y="915"/>
                      </a:lnTo>
                      <a:lnTo>
                        <a:pt x="542" y="917"/>
                      </a:lnTo>
                      <a:lnTo>
                        <a:pt x="540" y="919"/>
                      </a:lnTo>
                      <a:lnTo>
                        <a:pt x="538" y="919"/>
                      </a:lnTo>
                      <a:lnTo>
                        <a:pt x="538" y="921"/>
                      </a:lnTo>
                      <a:lnTo>
                        <a:pt x="536" y="923"/>
                      </a:lnTo>
                      <a:lnTo>
                        <a:pt x="536" y="925"/>
                      </a:lnTo>
                      <a:lnTo>
                        <a:pt x="534" y="925"/>
                      </a:lnTo>
                      <a:lnTo>
                        <a:pt x="532" y="927"/>
                      </a:lnTo>
                      <a:lnTo>
                        <a:pt x="532" y="929"/>
                      </a:lnTo>
                      <a:lnTo>
                        <a:pt x="530" y="930"/>
                      </a:lnTo>
                      <a:lnTo>
                        <a:pt x="528" y="930"/>
                      </a:lnTo>
                      <a:lnTo>
                        <a:pt x="528" y="932"/>
                      </a:lnTo>
                      <a:lnTo>
                        <a:pt x="527" y="932"/>
                      </a:lnTo>
                      <a:lnTo>
                        <a:pt x="525" y="934"/>
                      </a:lnTo>
                      <a:lnTo>
                        <a:pt x="523" y="936"/>
                      </a:lnTo>
                      <a:lnTo>
                        <a:pt x="519" y="940"/>
                      </a:lnTo>
                      <a:lnTo>
                        <a:pt x="519" y="942"/>
                      </a:lnTo>
                      <a:lnTo>
                        <a:pt x="517" y="942"/>
                      </a:lnTo>
                      <a:lnTo>
                        <a:pt x="517" y="944"/>
                      </a:lnTo>
                      <a:lnTo>
                        <a:pt x="515" y="944"/>
                      </a:lnTo>
                      <a:lnTo>
                        <a:pt x="515" y="946"/>
                      </a:lnTo>
                      <a:lnTo>
                        <a:pt x="515" y="947"/>
                      </a:lnTo>
                      <a:lnTo>
                        <a:pt x="513" y="947"/>
                      </a:lnTo>
                      <a:lnTo>
                        <a:pt x="513" y="949"/>
                      </a:lnTo>
                      <a:lnTo>
                        <a:pt x="511" y="951"/>
                      </a:lnTo>
                      <a:lnTo>
                        <a:pt x="511" y="953"/>
                      </a:lnTo>
                      <a:lnTo>
                        <a:pt x="510" y="955"/>
                      </a:lnTo>
                      <a:lnTo>
                        <a:pt x="510" y="957"/>
                      </a:lnTo>
                      <a:lnTo>
                        <a:pt x="510" y="959"/>
                      </a:lnTo>
                      <a:lnTo>
                        <a:pt x="508" y="959"/>
                      </a:lnTo>
                      <a:lnTo>
                        <a:pt x="508" y="963"/>
                      </a:lnTo>
                      <a:lnTo>
                        <a:pt x="506" y="963"/>
                      </a:lnTo>
                      <a:lnTo>
                        <a:pt x="506" y="964"/>
                      </a:lnTo>
                      <a:lnTo>
                        <a:pt x="506" y="966"/>
                      </a:lnTo>
                      <a:lnTo>
                        <a:pt x="506" y="968"/>
                      </a:lnTo>
                      <a:lnTo>
                        <a:pt x="504" y="968"/>
                      </a:lnTo>
                      <a:lnTo>
                        <a:pt x="504" y="970"/>
                      </a:lnTo>
                      <a:lnTo>
                        <a:pt x="502" y="972"/>
                      </a:lnTo>
                      <a:lnTo>
                        <a:pt x="500" y="974"/>
                      </a:lnTo>
                      <a:lnTo>
                        <a:pt x="500" y="976"/>
                      </a:lnTo>
                      <a:lnTo>
                        <a:pt x="498" y="979"/>
                      </a:lnTo>
                      <a:lnTo>
                        <a:pt x="496" y="985"/>
                      </a:lnTo>
                      <a:lnTo>
                        <a:pt x="495" y="985"/>
                      </a:lnTo>
                      <a:lnTo>
                        <a:pt x="495" y="987"/>
                      </a:lnTo>
                      <a:lnTo>
                        <a:pt x="495" y="989"/>
                      </a:lnTo>
                      <a:lnTo>
                        <a:pt x="495" y="991"/>
                      </a:lnTo>
                      <a:lnTo>
                        <a:pt x="493" y="991"/>
                      </a:lnTo>
                      <a:lnTo>
                        <a:pt x="493" y="993"/>
                      </a:lnTo>
                      <a:lnTo>
                        <a:pt x="493" y="995"/>
                      </a:lnTo>
                      <a:lnTo>
                        <a:pt x="491" y="996"/>
                      </a:lnTo>
                      <a:lnTo>
                        <a:pt x="491" y="998"/>
                      </a:lnTo>
                      <a:lnTo>
                        <a:pt x="489" y="998"/>
                      </a:lnTo>
                      <a:lnTo>
                        <a:pt x="489" y="1000"/>
                      </a:lnTo>
                      <a:lnTo>
                        <a:pt x="489" y="1002"/>
                      </a:lnTo>
                      <a:lnTo>
                        <a:pt x="489" y="1004"/>
                      </a:lnTo>
                      <a:lnTo>
                        <a:pt x="487" y="1004"/>
                      </a:lnTo>
                      <a:lnTo>
                        <a:pt x="487" y="1006"/>
                      </a:lnTo>
                      <a:lnTo>
                        <a:pt x="485" y="1006"/>
                      </a:lnTo>
                      <a:lnTo>
                        <a:pt x="483" y="1008"/>
                      </a:lnTo>
                      <a:lnTo>
                        <a:pt x="483" y="1010"/>
                      </a:lnTo>
                      <a:lnTo>
                        <a:pt x="483" y="1011"/>
                      </a:lnTo>
                      <a:lnTo>
                        <a:pt x="483" y="1013"/>
                      </a:lnTo>
                      <a:lnTo>
                        <a:pt x="483" y="1015"/>
                      </a:lnTo>
                      <a:lnTo>
                        <a:pt x="481" y="1015"/>
                      </a:lnTo>
                      <a:lnTo>
                        <a:pt x="481" y="1017"/>
                      </a:lnTo>
                      <a:lnTo>
                        <a:pt x="479" y="1019"/>
                      </a:lnTo>
                      <a:lnTo>
                        <a:pt x="479" y="1021"/>
                      </a:lnTo>
                      <a:lnTo>
                        <a:pt x="478" y="1021"/>
                      </a:lnTo>
                      <a:lnTo>
                        <a:pt x="478" y="1025"/>
                      </a:lnTo>
                      <a:lnTo>
                        <a:pt x="478" y="1027"/>
                      </a:lnTo>
                      <a:lnTo>
                        <a:pt x="476" y="1027"/>
                      </a:lnTo>
                      <a:lnTo>
                        <a:pt x="476" y="1028"/>
                      </a:lnTo>
                      <a:lnTo>
                        <a:pt x="476" y="1030"/>
                      </a:lnTo>
                      <a:lnTo>
                        <a:pt x="474" y="1032"/>
                      </a:lnTo>
                      <a:lnTo>
                        <a:pt x="472" y="1034"/>
                      </a:lnTo>
                      <a:lnTo>
                        <a:pt x="472" y="1036"/>
                      </a:lnTo>
                      <a:lnTo>
                        <a:pt x="470" y="1038"/>
                      </a:lnTo>
                      <a:lnTo>
                        <a:pt x="468" y="1040"/>
                      </a:lnTo>
                      <a:lnTo>
                        <a:pt x="468" y="1042"/>
                      </a:lnTo>
                      <a:lnTo>
                        <a:pt x="468" y="1043"/>
                      </a:lnTo>
                      <a:lnTo>
                        <a:pt x="466" y="1043"/>
                      </a:lnTo>
                      <a:lnTo>
                        <a:pt x="466" y="1045"/>
                      </a:lnTo>
                      <a:lnTo>
                        <a:pt x="464" y="1047"/>
                      </a:lnTo>
                      <a:lnTo>
                        <a:pt x="463" y="1049"/>
                      </a:lnTo>
                      <a:lnTo>
                        <a:pt x="463" y="1051"/>
                      </a:lnTo>
                      <a:lnTo>
                        <a:pt x="461" y="1053"/>
                      </a:lnTo>
                      <a:lnTo>
                        <a:pt x="461" y="1055"/>
                      </a:lnTo>
                      <a:lnTo>
                        <a:pt x="461" y="1057"/>
                      </a:lnTo>
                      <a:lnTo>
                        <a:pt x="459" y="1057"/>
                      </a:lnTo>
                      <a:lnTo>
                        <a:pt x="459" y="1059"/>
                      </a:lnTo>
                      <a:lnTo>
                        <a:pt x="457" y="1060"/>
                      </a:lnTo>
                      <a:lnTo>
                        <a:pt x="457" y="1062"/>
                      </a:lnTo>
                      <a:lnTo>
                        <a:pt x="455" y="1064"/>
                      </a:lnTo>
                      <a:lnTo>
                        <a:pt x="455" y="1066"/>
                      </a:lnTo>
                      <a:lnTo>
                        <a:pt x="455" y="1068"/>
                      </a:lnTo>
                      <a:lnTo>
                        <a:pt x="453" y="1068"/>
                      </a:lnTo>
                      <a:lnTo>
                        <a:pt x="453" y="1070"/>
                      </a:lnTo>
                      <a:lnTo>
                        <a:pt x="451" y="1070"/>
                      </a:lnTo>
                      <a:lnTo>
                        <a:pt x="451" y="1072"/>
                      </a:lnTo>
                      <a:lnTo>
                        <a:pt x="451" y="1074"/>
                      </a:lnTo>
                      <a:lnTo>
                        <a:pt x="451" y="1075"/>
                      </a:lnTo>
                      <a:lnTo>
                        <a:pt x="449" y="1075"/>
                      </a:lnTo>
                      <a:lnTo>
                        <a:pt x="449" y="1077"/>
                      </a:lnTo>
                      <a:lnTo>
                        <a:pt x="449" y="1079"/>
                      </a:lnTo>
                      <a:lnTo>
                        <a:pt x="448" y="1079"/>
                      </a:lnTo>
                      <a:lnTo>
                        <a:pt x="448" y="1081"/>
                      </a:lnTo>
                      <a:lnTo>
                        <a:pt x="446" y="1083"/>
                      </a:lnTo>
                      <a:lnTo>
                        <a:pt x="444" y="1085"/>
                      </a:lnTo>
                      <a:lnTo>
                        <a:pt x="444" y="1087"/>
                      </a:lnTo>
                      <a:lnTo>
                        <a:pt x="444" y="1089"/>
                      </a:lnTo>
                      <a:lnTo>
                        <a:pt x="442" y="1091"/>
                      </a:lnTo>
                      <a:lnTo>
                        <a:pt x="440" y="1091"/>
                      </a:lnTo>
                      <a:lnTo>
                        <a:pt x="440" y="1092"/>
                      </a:lnTo>
                      <a:lnTo>
                        <a:pt x="440" y="1094"/>
                      </a:lnTo>
                      <a:lnTo>
                        <a:pt x="438" y="1094"/>
                      </a:lnTo>
                      <a:lnTo>
                        <a:pt x="436" y="1096"/>
                      </a:lnTo>
                      <a:lnTo>
                        <a:pt x="436" y="1098"/>
                      </a:lnTo>
                      <a:lnTo>
                        <a:pt x="436" y="1100"/>
                      </a:lnTo>
                      <a:lnTo>
                        <a:pt x="434" y="1100"/>
                      </a:lnTo>
                      <a:lnTo>
                        <a:pt x="434" y="1102"/>
                      </a:lnTo>
                      <a:lnTo>
                        <a:pt x="434" y="1104"/>
                      </a:lnTo>
                      <a:lnTo>
                        <a:pt x="432" y="1106"/>
                      </a:lnTo>
                      <a:lnTo>
                        <a:pt x="431" y="1107"/>
                      </a:lnTo>
                      <a:lnTo>
                        <a:pt x="429" y="1109"/>
                      </a:lnTo>
                      <a:lnTo>
                        <a:pt x="429" y="1111"/>
                      </a:lnTo>
                      <a:lnTo>
                        <a:pt x="429" y="1113"/>
                      </a:lnTo>
                      <a:lnTo>
                        <a:pt x="427" y="1113"/>
                      </a:lnTo>
                      <a:lnTo>
                        <a:pt x="427" y="1115"/>
                      </a:lnTo>
                      <a:lnTo>
                        <a:pt x="429" y="1115"/>
                      </a:lnTo>
                      <a:lnTo>
                        <a:pt x="427" y="1115"/>
                      </a:lnTo>
                      <a:lnTo>
                        <a:pt x="427" y="1117"/>
                      </a:lnTo>
                      <a:lnTo>
                        <a:pt x="425" y="1117"/>
                      </a:lnTo>
                      <a:lnTo>
                        <a:pt x="425" y="1119"/>
                      </a:lnTo>
                      <a:lnTo>
                        <a:pt x="425" y="1121"/>
                      </a:lnTo>
                      <a:lnTo>
                        <a:pt x="423" y="1121"/>
                      </a:lnTo>
                      <a:lnTo>
                        <a:pt x="423" y="1123"/>
                      </a:lnTo>
                      <a:lnTo>
                        <a:pt x="421" y="1124"/>
                      </a:lnTo>
                      <a:lnTo>
                        <a:pt x="419" y="1126"/>
                      </a:lnTo>
                      <a:lnTo>
                        <a:pt x="419" y="1128"/>
                      </a:lnTo>
                      <a:lnTo>
                        <a:pt x="419" y="1130"/>
                      </a:lnTo>
                      <a:lnTo>
                        <a:pt x="416" y="1132"/>
                      </a:lnTo>
                      <a:lnTo>
                        <a:pt x="416" y="1134"/>
                      </a:lnTo>
                      <a:lnTo>
                        <a:pt x="416" y="1136"/>
                      </a:lnTo>
                      <a:lnTo>
                        <a:pt x="414" y="1136"/>
                      </a:lnTo>
                      <a:lnTo>
                        <a:pt x="414" y="1138"/>
                      </a:lnTo>
                      <a:lnTo>
                        <a:pt x="412" y="1139"/>
                      </a:lnTo>
                      <a:lnTo>
                        <a:pt x="412" y="1141"/>
                      </a:lnTo>
                      <a:lnTo>
                        <a:pt x="410" y="1141"/>
                      </a:lnTo>
                      <a:lnTo>
                        <a:pt x="410" y="1143"/>
                      </a:lnTo>
                      <a:lnTo>
                        <a:pt x="408" y="1145"/>
                      </a:lnTo>
                      <a:lnTo>
                        <a:pt x="406" y="1145"/>
                      </a:lnTo>
                      <a:lnTo>
                        <a:pt x="406" y="1147"/>
                      </a:lnTo>
                      <a:lnTo>
                        <a:pt x="406" y="1149"/>
                      </a:lnTo>
                      <a:lnTo>
                        <a:pt x="406" y="1151"/>
                      </a:lnTo>
                      <a:lnTo>
                        <a:pt x="404" y="1151"/>
                      </a:lnTo>
                      <a:lnTo>
                        <a:pt x="404" y="1153"/>
                      </a:lnTo>
                      <a:lnTo>
                        <a:pt x="402" y="1153"/>
                      </a:lnTo>
                      <a:lnTo>
                        <a:pt x="402" y="1155"/>
                      </a:lnTo>
                      <a:lnTo>
                        <a:pt x="402" y="1156"/>
                      </a:lnTo>
                      <a:lnTo>
                        <a:pt x="401" y="1156"/>
                      </a:lnTo>
                      <a:lnTo>
                        <a:pt x="401" y="1158"/>
                      </a:lnTo>
                      <a:lnTo>
                        <a:pt x="399" y="1158"/>
                      </a:lnTo>
                      <a:lnTo>
                        <a:pt x="399" y="1160"/>
                      </a:lnTo>
                      <a:lnTo>
                        <a:pt x="397" y="1162"/>
                      </a:lnTo>
                      <a:lnTo>
                        <a:pt x="397" y="1164"/>
                      </a:lnTo>
                      <a:lnTo>
                        <a:pt x="395" y="1166"/>
                      </a:lnTo>
                      <a:lnTo>
                        <a:pt x="395" y="1168"/>
                      </a:lnTo>
                      <a:lnTo>
                        <a:pt x="395" y="1170"/>
                      </a:lnTo>
                      <a:lnTo>
                        <a:pt x="393" y="1170"/>
                      </a:lnTo>
                      <a:lnTo>
                        <a:pt x="393" y="1171"/>
                      </a:lnTo>
                      <a:lnTo>
                        <a:pt x="393" y="1173"/>
                      </a:lnTo>
                      <a:lnTo>
                        <a:pt x="391" y="1173"/>
                      </a:lnTo>
                      <a:lnTo>
                        <a:pt x="391" y="1175"/>
                      </a:lnTo>
                      <a:lnTo>
                        <a:pt x="391" y="1177"/>
                      </a:lnTo>
                      <a:lnTo>
                        <a:pt x="389" y="1177"/>
                      </a:lnTo>
                      <a:lnTo>
                        <a:pt x="389" y="1179"/>
                      </a:lnTo>
                      <a:lnTo>
                        <a:pt x="387" y="1181"/>
                      </a:lnTo>
                      <a:lnTo>
                        <a:pt x="387" y="1183"/>
                      </a:lnTo>
                      <a:lnTo>
                        <a:pt x="385" y="1183"/>
                      </a:lnTo>
                      <a:lnTo>
                        <a:pt x="384" y="1185"/>
                      </a:lnTo>
                      <a:lnTo>
                        <a:pt x="384" y="1187"/>
                      </a:lnTo>
                      <a:lnTo>
                        <a:pt x="382" y="1187"/>
                      </a:lnTo>
                      <a:lnTo>
                        <a:pt x="382" y="1188"/>
                      </a:lnTo>
                      <a:lnTo>
                        <a:pt x="380" y="1188"/>
                      </a:lnTo>
                      <a:lnTo>
                        <a:pt x="380" y="1190"/>
                      </a:lnTo>
                      <a:lnTo>
                        <a:pt x="380" y="1192"/>
                      </a:lnTo>
                      <a:lnTo>
                        <a:pt x="378" y="1192"/>
                      </a:lnTo>
                      <a:lnTo>
                        <a:pt x="378" y="1194"/>
                      </a:lnTo>
                      <a:lnTo>
                        <a:pt x="376" y="1194"/>
                      </a:lnTo>
                      <a:lnTo>
                        <a:pt x="378" y="1194"/>
                      </a:lnTo>
                      <a:lnTo>
                        <a:pt x="378" y="1196"/>
                      </a:lnTo>
                      <a:lnTo>
                        <a:pt x="376" y="1196"/>
                      </a:lnTo>
                      <a:lnTo>
                        <a:pt x="376" y="1198"/>
                      </a:lnTo>
                      <a:lnTo>
                        <a:pt x="374" y="1198"/>
                      </a:lnTo>
                      <a:lnTo>
                        <a:pt x="374" y="1200"/>
                      </a:lnTo>
                      <a:lnTo>
                        <a:pt x="372" y="1200"/>
                      </a:lnTo>
                      <a:lnTo>
                        <a:pt x="372" y="1202"/>
                      </a:lnTo>
                      <a:lnTo>
                        <a:pt x="370" y="1203"/>
                      </a:lnTo>
                      <a:lnTo>
                        <a:pt x="369" y="1203"/>
                      </a:lnTo>
                      <a:lnTo>
                        <a:pt x="369" y="1205"/>
                      </a:lnTo>
                      <a:lnTo>
                        <a:pt x="367" y="1207"/>
                      </a:lnTo>
                      <a:lnTo>
                        <a:pt x="367" y="1209"/>
                      </a:lnTo>
                      <a:lnTo>
                        <a:pt x="365" y="1209"/>
                      </a:lnTo>
                      <a:lnTo>
                        <a:pt x="365" y="1211"/>
                      </a:lnTo>
                      <a:lnTo>
                        <a:pt x="367" y="1211"/>
                      </a:lnTo>
                      <a:lnTo>
                        <a:pt x="367" y="1213"/>
                      </a:lnTo>
                      <a:lnTo>
                        <a:pt x="365" y="1213"/>
                      </a:lnTo>
                      <a:lnTo>
                        <a:pt x="365" y="1215"/>
                      </a:lnTo>
                      <a:lnTo>
                        <a:pt x="363" y="1217"/>
                      </a:lnTo>
                      <a:lnTo>
                        <a:pt x="361" y="1217"/>
                      </a:lnTo>
                      <a:lnTo>
                        <a:pt x="361" y="1219"/>
                      </a:lnTo>
                      <a:lnTo>
                        <a:pt x="361" y="1220"/>
                      </a:lnTo>
                      <a:lnTo>
                        <a:pt x="359" y="1220"/>
                      </a:lnTo>
                      <a:lnTo>
                        <a:pt x="359" y="1222"/>
                      </a:lnTo>
                      <a:lnTo>
                        <a:pt x="359" y="1224"/>
                      </a:lnTo>
                      <a:lnTo>
                        <a:pt x="357" y="1224"/>
                      </a:lnTo>
                      <a:lnTo>
                        <a:pt x="357" y="1226"/>
                      </a:lnTo>
                      <a:lnTo>
                        <a:pt x="355" y="1228"/>
                      </a:lnTo>
                      <a:lnTo>
                        <a:pt x="355" y="1230"/>
                      </a:lnTo>
                      <a:lnTo>
                        <a:pt x="353" y="1230"/>
                      </a:lnTo>
                      <a:lnTo>
                        <a:pt x="353" y="1232"/>
                      </a:lnTo>
                      <a:lnTo>
                        <a:pt x="352" y="1232"/>
                      </a:lnTo>
                      <a:lnTo>
                        <a:pt x="352" y="1234"/>
                      </a:lnTo>
                      <a:lnTo>
                        <a:pt x="352" y="1235"/>
                      </a:lnTo>
                      <a:lnTo>
                        <a:pt x="350" y="1235"/>
                      </a:lnTo>
                      <a:lnTo>
                        <a:pt x="350" y="1237"/>
                      </a:lnTo>
                      <a:lnTo>
                        <a:pt x="348" y="1237"/>
                      </a:lnTo>
                      <a:lnTo>
                        <a:pt x="348" y="1239"/>
                      </a:lnTo>
                      <a:lnTo>
                        <a:pt x="346" y="1239"/>
                      </a:lnTo>
                      <a:lnTo>
                        <a:pt x="348" y="1241"/>
                      </a:lnTo>
                      <a:lnTo>
                        <a:pt x="346" y="1243"/>
                      </a:lnTo>
                      <a:lnTo>
                        <a:pt x="346" y="1245"/>
                      </a:lnTo>
                      <a:lnTo>
                        <a:pt x="344" y="1245"/>
                      </a:lnTo>
                      <a:lnTo>
                        <a:pt x="344" y="1247"/>
                      </a:lnTo>
                      <a:lnTo>
                        <a:pt x="342" y="1247"/>
                      </a:lnTo>
                      <a:lnTo>
                        <a:pt x="342" y="1249"/>
                      </a:lnTo>
                      <a:lnTo>
                        <a:pt x="340" y="1249"/>
                      </a:lnTo>
                      <a:lnTo>
                        <a:pt x="338" y="1251"/>
                      </a:lnTo>
                      <a:close/>
                    </a:path>
                  </a:pathLst>
                </a:custGeom>
                <a:solidFill>
                  <a:srgbClr val="CDFFCD"/>
                </a:solidFill>
                <a:ln w="9525">
                  <a:solidFill>
                    <a:schemeClr val="accent6"/>
                  </a:solidFill>
                  <a:round/>
                  <a:headEnd/>
                  <a:tailEnd/>
                </a:ln>
              </p:spPr>
              <p:txBody>
                <a:bodyPr vert="horz" wrap="square" lIns="89614" tIns="44807" rIns="89614" bIns="44807" numCol="1" anchor="t" anchorCtr="0" compatLnSpc="1">
                  <a:prstTxWarp prst="textNoShape">
                    <a:avLst/>
                  </a:prstTxWarp>
                </a:bodyPr>
                <a:lstStyle/>
                <a:p>
                  <a:pPr fontAlgn="base">
                    <a:spcBef>
                      <a:spcPct val="0"/>
                    </a:spcBef>
                    <a:spcAft>
                      <a:spcPct val="0"/>
                    </a:spcAft>
                  </a:pPr>
                  <a:endParaRPr lang="en-US" sz="1568" dirty="0">
                    <a:solidFill>
                      <a:srgbClr val="000000"/>
                    </a:solidFill>
                  </a:endParaRPr>
                </a:p>
              </p:txBody>
            </p:sp>
            <p:sp>
              <p:nvSpPr>
                <p:cNvPr id="48" name="Freeform 32"/>
                <p:cNvSpPr>
                  <a:spLocks/>
                </p:cNvSpPr>
                <p:nvPr/>
              </p:nvSpPr>
              <p:spPr bwMode="auto">
                <a:xfrm>
                  <a:off x="3640138" y="4008438"/>
                  <a:ext cx="3024188" cy="2019300"/>
                </a:xfrm>
                <a:custGeom>
                  <a:avLst/>
                  <a:gdLst>
                    <a:gd name="T0" fmla="*/ 1847 w 1905"/>
                    <a:gd name="T1" fmla="*/ 397 h 1272"/>
                    <a:gd name="T2" fmla="*/ 1781 w 1905"/>
                    <a:gd name="T3" fmla="*/ 448 h 1272"/>
                    <a:gd name="T4" fmla="*/ 1723 w 1905"/>
                    <a:gd name="T5" fmla="*/ 499 h 1272"/>
                    <a:gd name="T6" fmla="*/ 1678 w 1905"/>
                    <a:gd name="T7" fmla="*/ 546 h 1272"/>
                    <a:gd name="T8" fmla="*/ 1635 w 1905"/>
                    <a:gd name="T9" fmla="*/ 596 h 1272"/>
                    <a:gd name="T10" fmla="*/ 1599 w 1905"/>
                    <a:gd name="T11" fmla="*/ 647 h 1272"/>
                    <a:gd name="T12" fmla="*/ 1554 w 1905"/>
                    <a:gd name="T13" fmla="*/ 694 h 1272"/>
                    <a:gd name="T14" fmla="*/ 1505 w 1905"/>
                    <a:gd name="T15" fmla="*/ 745 h 1272"/>
                    <a:gd name="T16" fmla="*/ 1448 w 1905"/>
                    <a:gd name="T17" fmla="*/ 796 h 1272"/>
                    <a:gd name="T18" fmla="*/ 1377 w 1905"/>
                    <a:gd name="T19" fmla="*/ 845 h 1272"/>
                    <a:gd name="T20" fmla="*/ 1332 w 1905"/>
                    <a:gd name="T21" fmla="*/ 896 h 1272"/>
                    <a:gd name="T22" fmla="*/ 1270 w 1905"/>
                    <a:gd name="T23" fmla="*/ 943 h 1272"/>
                    <a:gd name="T24" fmla="*/ 1202 w 1905"/>
                    <a:gd name="T25" fmla="*/ 996 h 1272"/>
                    <a:gd name="T26" fmla="*/ 1125 w 1905"/>
                    <a:gd name="T27" fmla="*/ 1050 h 1272"/>
                    <a:gd name="T28" fmla="*/ 1055 w 1905"/>
                    <a:gd name="T29" fmla="*/ 1092 h 1272"/>
                    <a:gd name="T30" fmla="*/ 967 w 1905"/>
                    <a:gd name="T31" fmla="*/ 1131 h 1272"/>
                    <a:gd name="T32" fmla="*/ 771 w 1905"/>
                    <a:gd name="T33" fmla="*/ 1135 h 1272"/>
                    <a:gd name="T34" fmla="*/ 751 w 1905"/>
                    <a:gd name="T35" fmla="*/ 1201 h 1272"/>
                    <a:gd name="T36" fmla="*/ 702 w 1905"/>
                    <a:gd name="T37" fmla="*/ 1216 h 1272"/>
                    <a:gd name="T38" fmla="*/ 576 w 1905"/>
                    <a:gd name="T39" fmla="*/ 1201 h 1272"/>
                    <a:gd name="T40" fmla="*/ 534 w 1905"/>
                    <a:gd name="T41" fmla="*/ 1272 h 1272"/>
                    <a:gd name="T42" fmla="*/ 463 w 1905"/>
                    <a:gd name="T43" fmla="*/ 1259 h 1272"/>
                    <a:gd name="T44" fmla="*/ 386 w 1905"/>
                    <a:gd name="T45" fmla="*/ 1231 h 1272"/>
                    <a:gd name="T46" fmla="*/ 295 w 1905"/>
                    <a:gd name="T47" fmla="*/ 1214 h 1272"/>
                    <a:gd name="T48" fmla="*/ 231 w 1905"/>
                    <a:gd name="T49" fmla="*/ 1193 h 1272"/>
                    <a:gd name="T50" fmla="*/ 179 w 1905"/>
                    <a:gd name="T51" fmla="*/ 1127 h 1272"/>
                    <a:gd name="T52" fmla="*/ 0 w 1905"/>
                    <a:gd name="T53" fmla="*/ 1011 h 1272"/>
                    <a:gd name="T54" fmla="*/ 130 w 1905"/>
                    <a:gd name="T55" fmla="*/ 738 h 1272"/>
                    <a:gd name="T56" fmla="*/ 310 w 1905"/>
                    <a:gd name="T57" fmla="*/ 662 h 1272"/>
                    <a:gd name="T58" fmla="*/ 361 w 1905"/>
                    <a:gd name="T59" fmla="*/ 568 h 1272"/>
                    <a:gd name="T60" fmla="*/ 461 w 1905"/>
                    <a:gd name="T61" fmla="*/ 442 h 1272"/>
                    <a:gd name="T62" fmla="*/ 623 w 1905"/>
                    <a:gd name="T63" fmla="*/ 367 h 1272"/>
                    <a:gd name="T64" fmla="*/ 707 w 1905"/>
                    <a:gd name="T65" fmla="*/ 267 h 1272"/>
                    <a:gd name="T66" fmla="*/ 726 w 1905"/>
                    <a:gd name="T67" fmla="*/ 178 h 1272"/>
                    <a:gd name="T68" fmla="*/ 777 w 1905"/>
                    <a:gd name="T69" fmla="*/ 201 h 1272"/>
                    <a:gd name="T70" fmla="*/ 814 w 1905"/>
                    <a:gd name="T71" fmla="*/ 169 h 1272"/>
                    <a:gd name="T72" fmla="*/ 871 w 1905"/>
                    <a:gd name="T73" fmla="*/ 150 h 1272"/>
                    <a:gd name="T74" fmla="*/ 925 w 1905"/>
                    <a:gd name="T75" fmla="*/ 177 h 1272"/>
                    <a:gd name="T76" fmla="*/ 986 w 1905"/>
                    <a:gd name="T77" fmla="*/ 197 h 1272"/>
                    <a:gd name="T78" fmla="*/ 1040 w 1905"/>
                    <a:gd name="T79" fmla="*/ 190 h 1272"/>
                    <a:gd name="T80" fmla="*/ 1089 w 1905"/>
                    <a:gd name="T81" fmla="*/ 177 h 1272"/>
                    <a:gd name="T82" fmla="*/ 1121 w 1905"/>
                    <a:gd name="T83" fmla="*/ 160 h 1272"/>
                    <a:gd name="T84" fmla="*/ 1162 w 1905"/>
                    <a:gd name="T85" fmla="*/ 148 h 1272"/>
                    <a:gd name="T86" fmla="*/ 1183 w 1905"/>
                    <a:gd name="T87" fmla="*/ 118 h 1272"/>
                    <a:gd name="T88" fmla="*/ 1206 w 1905"/>
                    <a:gd name="T89" fmla="*/ 92 h 1272"/>
                    <a:gd name="T90" fmla="*/ 1241 w 1905"/>
                    <a:gd name="T91" fmla="*/ 133 h 1272"/>
                    <a:gd name="T92" fmla="*/ 1275 w 1905"/>
                    <a:gd name="T93" fmla="*/ 175 h 1272"/>
                    <a:gd name="T94" fmla="*/ 1330 w 1905"/>
                    <a:gd name="T95" fmla="*/ 192 h 1272"/>
                    <a:gd name="T96" fmla="*/ 1390 w 1905"/>
                    <a:gd name="T97" fmla="*/ 148 h 1272"/>
                    <a:gd name="T98" fmla="*/ 1413 w 1905"/>
                    <a:gd name="T99" fmla="*/ 105 h 1272"/>
                    <a:gd name="T100" fmla="*/ 1433 w 1905"/>
                    <a:gd name="T101" fmla="*/ 67 h 1272"/>
                    <a:gd name="T102" fmla="*/ 1486 w 1905"/>
                    <a:gd name="T103" fmla="*/ 35 h 1272"/>
                    <a:gd name="T104" fmla="*/ 1561 w 1905"/>
                    <a:gd name="T105" fmla="*/ 28 h 1272"/>
                    <a:gd name="T106" fmla="*/ 1629 w 1905"/>
                    <a:gd name="T107" fmla="*/ 30 h 1272"/>
                    <a:gd name="T108" fmla="*/ 1635 w 1905"/>
                    <a:gd name="T109" fmla="*/ 75 h 1272"/>
                    <a:gd name="T110" fmla="*/ 1648 w 1905"/>
                    <a:gd name="T111" fmla="*/ 143 h 1272"/>
                    <a:gd name="T112" fmla="*/ 1657 w 1905"/>
                    <a:gd name="T113" fmla="*/ 184 h 1272"/>
                    <a:gd name="T114" fmla="*/ 1772 w 1905"/>
                    <a:gd name="T115" fmla="*/ 199 h 1272"/>
                    <a:gd name="T116" fmla="*/ 1806 w 1905"/>
                    <a:gd name="T117" fmla="*/ 209 h 1272"/>
                    <a:gd name="T118" fmla="*/ 1832 w 1905"/>
                    <a:gd name="T119" fmla="*/ 235 h 1272"/>
                    <a:gd name="T120" fmla="*/ 1857 w 1905"/>
                    <a:gd name="T121" fmla="*/ 250 h 1272"/>
                    <a:gd name="T122" fmla="*/ 1889 w 1905"/>
                    <a:gd name="T123" fmla="*/ 269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5" h="1272">
                      <a:moveTo>
                        <a:pt x="1905" y="322"/>
                      </a:moveTo>
                      <a:lnTo>
                        <a:pt x="1902" y="327"/>
                      </a:lnTo>
                      <a:lnTo>
                        <a:pt x="1900" y="329"/>
                      </a:lnTo>
                      <a:lnTo>
                        <a:pt x="1900" y="331"/>
                      </a:lnTo>
                      <a:lnTo>
                        <a:pt x="1898" y="333"/>
                      </a:lnTo>
                      <a:lnTo>
                        <a:pt x="1896" y="335"/>
                      </a:lnTo>
                      <a:lnTo>
                        <a:pt x="1896" y="337"/>
                      </a:lnTo>
                      <a:lnTo>
                        <a:pt x="1896" y="338"/>
                      </a:lnTo>
                      <a:lnTo>
                        <a:pt x="1894" y="338"/>
                      </a:lnTo>
                      <a:lnTo>
                        <a:pt x="1892" y="342"/>
                      </a:lnTo>
                      <a:lnTo>
                        <a:pt x="1890" y="342"/>
                      </a:lnTo>
                      <a:lnTo>
                        <a:pt x="1887" y="346"/>
                      </a:lnTo>
                      <a:lnTo>
                        <a:pt x="1889" y="346"/>
                      </a:lnTo>
                      <a:lnTo>
                        <a:pt x="1887" y="348"/>
                      </a:lnTo>
                      <a:lnTo>
                        <a:pt x="1885" y="352"/>
                      </a:lnTo>
                      <a:lnTo>
                        <a:pt x="1881" y="354"/>
                      </a:lnTo>
                      <a:lnTo>
                        <a:pt x="1881" y="355"/>
                      </a:lnTo>
                      <a:lnTo>
                        <a:pt x="1877" y="359"/>
                      </a:lnTo>
                      <a:lnTo>
                        <a:pt x="1875" y="361"/>
                      </a:lnTo>
                      <a:lnTo>
                        <a:pt x="1873" y="361"/>
                      </a:lnTo>
                      <a:lnTo>
                        <a:pt x="1873" y="363"/>
                      </a:lnTo>
                      <a:lnTo>
                        <a:pt x="1873" y="365"/>
                      </a:lnTo>
                      <a:lnTo>
                        <a:pt x="1873" y="367"/>
                      </a:lnTo>
                      <a:lnTo>
                        <a:pt x="1873" y="369"/>
                      </a:lnTo>
                      <a:lnTo>
                        <a:pt x="1870" y="370"/>
                      </a:lnTo>
                      <a:lnTo>
                        <a:pt x="1868" y="370"/>
                      </a:lnTo>
                      <a:lnTo>
                        <a:pt x="1868" y="372"/>
                      </a:lnTo>
                      <a:lnTo>
                        <a:pt x="1868" y="374"/>
                      </a:lnTo>
                      <a:lnTo>
                        <a:pt x="1866" y="374"/>
                      </a:lnTo>
                      <a:lnTo>
                        <a:pt x="1866" y="376"/>
                      </a:lnTo>
                      <a:lnTo>
                        <a:pt x="1864" y="376"/>
                      </a:lnTo>
                      <a:lnTo>
                        <a:pt x="1864" y="378"/>
                      </a:lnTo>
                      <a:lnTo>
                        <a:pt x="1862" y="380"/>
                      </a:lnTo>
                      <a:lnTo>
                        <a:pt x="1860" y="382"/>
                      </a:lnTo>
                      <a:lnTo>
                        <a:pt x="1858" y="382"/>
                      </a:lnTo>
                      <a:lnTo>
                        <a:pt x="1858" y="384"/>
                      </a:lnTo>
                      <a:lnTo>
                        <a:pt x="1858" y="386"/>
                      </a:lnTo>
                      <a:lnTo>
                        <a:pt x="1857" y="386"/>
                      </a:lnTo>
                      <a:lnTo>
                        <a:pt x="1857" y="387"/>
                      </a:lnTo>
                      <a:lnTo>
                        <a:pt x="1855" y="387"/>
                      </a:lnTo>
                      <a:lnTo>
                        <a:pt x="1855" y="389"/>
                      </a:lnTo>
                      <a:lnTo>
                        <a:pt x="1853" y="389"/>
                      </a:lnTo>
                      <a:lnTo>
                        <a:pt x="1851" y="391"/>
                      </a:lnTo>
                      <a:lnTo>
                        <a:pt x="1849" y="391"/>
                      </a:lnTo>
                      <a:lnTo>
                        <a:pt x="1849" y="393"/>
                      </a:lnTo>
                      <a:lnTo>
                        <a:pt x="1849" y="391"/>
                      </a:lnTo>
                      <a:lnTo>
                        <a:pt x="1847" y="391"/>
                      </a:lnTo>
                      <a:lnTo>
                        <a:pt x="1847" y="393"/>
                      </a:lnTo>
                      <a:lnTo>
                        <a:pt x="1847" y="395"/>
                      </a:lnTo>
                      <a:lnTo>
                        <a:pt x="1847" y="397"/>
                      </a:lnTo>
                      <a:lnTo>
                        <a:pt x="1845" y="399"/>
                      </a:lnTo>
                      <a:lnTo>
                        <a:pt x="1845" y="401"/>
                      </a:lnTo>
                      <a:lnTo>
                        <a:pt x="1841" y="402"/>
                      </a:lnTo>
                      <a:lnTo>
                        <a:pt x="1840" y="402"/>
                      </a:lnTo>
                      <a:lnTo>
                        <a:pt x="1840" y="404"/>
                      </a:lnTo>
                      <a:lnTo>
                        <a:pt x="1840" y="406"/>
                      </a:lnTo>
                      <a:lnTo>
                        <a:pt x="1838" y="406"/>
                      </a:lnTo>
                      <a:lnTo>
                        <a:pt x="1836" y="408"/>
                      </a:lnTo>
                      <a:lnTo>
                        <a:pt x="1834" y="408"/>
                      </a:lnTo>
                      <a:lnTo>
                        <a:pt x="1834" y="410"/>
                      </a:lnTo>
                      <a:lnTo>
                        <a:pt x="1832" y="410"/>
                      </a:lnTo>
                      <a:lnTo>
                        <a:pt x="1832" y="412"/>
                      </a:lnTo>
                      <a:lnTo>
                        <a:pt x="1832" y="414"/>
                      </a:lnTo>
                      <a:lnTo>
                        <a:pt x="1830" y="414"/>
                      </a:lnTo>
                      <a:lnTo>
                        <a:pt x="1828" y="416"/>
                      </a:lnTo>
                      <a:lnTo>
                        <a:pt x="1826" y="418"/>
                      </a:lnTo>
                      <a:lnTo>
                        <a:pt x="1825" y="418"/>
                      </a:lnTo>
                      <a:lnTo>
                        <a:pt x="1823" y="419"/>
                      </a:lnTo>
                      <a:lnTo>
                        <a:pt x="1823" y="421"/>
                      </a:lnTo>
                      <a:lnTo>
                        <a:pt x="1823" y="423"/>
                      </a:lnTo>
                      <a:lnTo>
                        <a:pt x="1821" y="423"/>
                      </a:lnTo>
                      <a:lnTo>
                        <a:pt x="1819" y="425"/>
                      </a:lnTo>
                      <a:lnTo>
                        <a:pt x="1817" y="427"/>
                      </a:lnTo>
                      <a:lnTo>
                        <a:pt x="1815" y="427"/>
                      </a:lnTo>
                      <a:lnTo>
                        <a:pt x="1813" y="429"/>
                      </a:lnTo>
                      <a:lnTo>
                        <a:pt x="1811" y="429"/>
                      </a:lnTo>
                      <a:lnTo>
                        <a:pt x="1808" y="429"/>
                      </a:lnTo>
                      <a:lnTo>
                        <a:pt x="1806" y="429"/>
                      </a:lnTo>
                      <a:lnTo>
                        <a:pt x="1802" y="429"/>
                      </a:lnTo>
                      <a:lnTo>
                        <a:pt x="1800" y="429"/>
                      </a:lnTo>
                      <a:lnTo>
                        <a:pt x="1800" y="431"/>
                      </a:lnTo>
                      <a:lnTo>
                        <a:pt x="1798" y="431"/>
                      </a:lnTo>
                      <a:lnTo>
                        <a:pt x="1796" y="431"/>
                      </a:lnTo>
                      <a:lnTo>
                        <a:pt x="1794" y="431"/>
                      </a:lnTo>
                      <a:lnTo>
                        <a:pt x="1796" y="431"/>
                      </a:lnTo>
                      <a:lnTo>
                        <a:pt x="1796" y="433"/>
                      </a:lnTo>
                      <a:lnTo>
                        <a:pt x="1794" y="433"/>
                      </a:lnTo>
                      <a:lnTo>
                        <a:pt x="1791" y="435"/>
                      </a:lnTo>
                      <a:lnTo>
                        <a:pt x="1789" y="436"/>
                      </a:lnTo>
                      <a:lnTo>
                        <a:pt x="1787" y="436"/>
                      </a:lnTo>
                      <a:lnTo>
                        <a:pt x="1787" y="438"/>
                      </a:lnTo>
                      <a:lnTo>
                        <a:pt x="1787" y="440"/>
                      </a:lnTo>
                      <a:lnTo>
                        <a:pt x="1787" y="442"/>
                      </a:lnTo>
                      <a:lnTo>
                        <a:pt x="1785" y="442"/>
                      </a:lnTo>
                      <a:lnTo>
                        <a:pt x="1785" y="440"/>
                      </a:lnTo>
                      <a:lnTo>
                        <a:pt x="1785" y="442"/>
                      </a:lnTo>
                      <a:lnTo>
                        <a:pt x="1785" y="444"/>
                      </a:lnTo>
                      <a:lnTo>
                        <a:pt x="1785" y="446"/>
                      </a:lnTo>
                      <a:lnTo>
                        <a:pt x="1783" y="446"/>
                      </a:lnTo>
                      <a:lnTo>
                        <a:pt x="1781" y="448"/>
                      </a:lnTo>
                      <a:lnTo>
                        <a:pt x="1781" y="450"/>
                      </a:lnTo>
                      <a:lnTo>
                        <a:pt x="1778" y="453"/>
                      </a:lnTo>
                      <a:lnTo>
                        <a:pt x="1778" y="455"/>
                      </a:lnTo>
                      <a:lnTo>
                        <a:pt x="1776" y="455"/>
                      </a:lnTo>
                      <a:lnTo>
                        <a:pt x="1776" y="457"/>
                      </a:lnTo>
                      <a:lnTo>
                        <a:pt x="1774" y="457"/>
                      </a:lnTo>
                      <a:lnTo>
                        <a:pt x="1774" y="459"/>
                      </a:lnTo>
                      <a:lnTo>
                        <a:pt x="1772" y="461"/>
                      </a:lnTo>
                      <a:lnTo>
                        <a:pt x="1770" y="461"/>
                      </a:lnTo>
                      <a:lnTo>
                        <a:pt x="1768" y="461"/>
                      </a:lnTo>
                      <a:lnTo>
                        <a:pt x="1768" y="463"/>
                      </a:lnTo>
                      <a:lnTo>
                        <a:pt x="1766" y="463"/>
                      </a:lnTo>
                      <a:lnTo>
                        <a:pt x="1762" y="465"/>
                      </a:lnTo>
                      <a:lnTo>
                        <a:pt x="1762" y="467"/>
                      </a:lnTo>
                      <a:lnTo>
                        <a:pt x="1762" y="468"/>
                      </a:lnTo>
                      <a:lnTo>
                        <a:pt x="1761" y="468"/>
                      </a:lnTo>
                      <a:lnTo>
                        <a:pt x="1761" y="470"/>
                      </a:lnTo>
                      <a:lnTo>
                        <a:pt x="1761" y="472"/>
                      </a:lnTo>
                      <a:lnTo>
                        <a:pt x="1759" y="472"/>
                      </a:lnTo>
                      <a:lnTo>
                        <a:pt x="1755" y="474"/>
                      </a:lnTo>
                      <a:lnTo>
                        <a:pt x="1755" y="476"/>
                      </a:lnTo>
                      <a:lnTo>
                        <a:pt x="1753" y="476"/>
                      </a:lnTo>
                      <a:lnTo>
                        <a:pt x="1753" y="478"/>
                      </a:lnTo>
                      <a:lnTo>
                        <a:pt x="1751" y="478"/>
                      </a:lnTo>
                      <a:lnTo>
                        <a:pt x="1751" y="480"/>
                      </a:lnTo>
                      <a:lnTo>
                        <a:pt x="1749" y="480"/>
                      </a:lnTo>
                      <a:lnTo>
                        <a:pt x="1747" y="480"/>
                      </a:lnTo>
                      <a:lnTo>
                        <a:pt x="1744" y="482"/>
                      </a:lnTo>
                      <a:lnTo>
                        <a:pt x="1742" y="483"/>
                      </a:lnTo>
                      <a:lnTo>
                        <a:pt x="1740" y="485"/>
                      </a:lnTo>
                      <a:lnTo>
                        <a:pt x="1742" y="485"/>
                      </a:lnTo>
                      <a:lnTo>
                        <a:pt x="1742" y="487"/>
                      </a:lnTo>
                      <a:lnTo>
                        <a:pt x="1740" y="487"/>
                      </a:lnTo>
                      <a:lnTo>
                        <a:pt x="1740" y="489"/>
                      </a:lnTo>
                      <a:lnTo>
                        <a:pt x="1738" y="489"/>
                      </a:lnTo>
                      <a:lnTo>
                        <a:pt x="1738" y="491"/>
                      </a:lnTo>
                      <a:lnTo>
                        <a:pt x="1736" y="491"/>
                      </a:lnTo>
                      <a:lnTo>
                        <a:pt x="1734" y="491"/>
                      </a:lnTo>
                      <a:lnTo>
                        <a:pt x="1732" y="491"/>
                      </a:lnTo>
                      <a:lnTo>
                        <a:pt x="1732" y="493"/>
                      </a:lnTo>
                      <a:lnTo>
                        <a:pt x="1731" y="493"/>
                      </a:lnTo>
                      <a:lnTo>
                        <a:pt x="1729" y="493"/>
                      </a:lnTo>
                      <a:lnTo>
                        <a:pt x="1729" y="495"/>
                      </a:lnTo>
                      <a:lnTo>
                        <a:pt x="1729" y="497"/>
                      </a:lnTo>
                      <a:lnTo>
                        <a:pt x="1727" y="497"/>
                      </a:lnTo>
                      <a:lnTo>
                        <a:pt x="1725" y="497"/>
                      </a:lnTo>
                      <a:lnTo>
                        <a:pt x="1727" y="497"/>
                      </a:lnTo>
                      <a:lnTo>
                        <a:pt x="1725" y="497"/>
                      </a:lnTo>
                      <a:lnTo>
                        <a:pt x="1725" y="499"/>
                      </a:lnTo>
                      <a:lnTo>
                        <a:pt x="1723" y="499"/>
                      </a:lnTo>
                      <a:lnTo>
                        <a:pt x="1721" y="499"/>
                      </a:lnTo>
                      <a:lnTo>
                        <a:pt x="1721" y="500"/>
                      </a:lnTo>
                      <a:lnTo>
                        <a:pt x="1717" y="499"/>
                      </a:lnTo>
                      <a:lnTo>
                        <a:pt x="1717" y="500"/>
                      </a:lnTo>
                      <a:lnTo>
                        <a:pt x="1714" y="500"/>
                      </a:lnTo>
                      <a:lnTo>
                        <a:pt x="1714" y="502"/>
                      </a:lnTo>
                      <a:lnTo>
                        <a:pt x="1712" y="502"/>
                      </a:lnTo>
                      <a:lnTo>
                        <a:pt x="1710" y="502"/>
                      </a:lnTo>
                      <a:lnTo>
                        <a:pt x="1708" y="504"/>
                      </a:lnTo>
                      <a:lnTo>
                        <a:pt x="1708" y="506"/>
                      </a:lnTo>
                      <a:lnTo>
                        <a:pt x="1706" y="506"/>
                      </a:lnTo>
                      <a:lnTo>
                        <a:pt x="1706" y="508"/>
                      </a:lnTo>
                      <a:lnTo>
                        <a:pt x="1706" y="510"/>
                      </a:lnTo>
                      <a:lnTo>
                        <a:pt x="1704" y="510"/>
                      </a:lnTo>
                      <a:lnTo>
                        <a:pt x="1706" y="510"/>
                      </a:lnTo>
                      <a:lnTo>
                        <a:pt x="1704" y="510"/>
                      </a:lnTo>
                      <a:lnTo>
                        <a:pt x="1704" y="512"/>
                      </a:lnTo>
                      <a:lnTo>
                        <a:pt x="1702" y="512"/>
                      </a:lnTo>
                      <a:lnTo>
                        <a:pt x="1702" y="514"/>
                      </a:lnTo>
                      <a:lnTo>
                        <a:pt x="1704" y="514"/>
                      </a:lnTo>
                      <a:lnTo>
                        <a:pt x="1702" y="514"/>
                      </a:lnTo>
                      <a:lnTo>
                        <a:pt x="1704" y="514"/>
                      </a:lnTo>
                      <a:lnTo>
                        <a:pt x="1704" y="515"/>
                      </a:lnTo>
                      <a:lnTo>
                        <a:pt x="1702" y="515"/>
                      </a:lnTo>
                      <a:lnTo>
                        <a:pt x="1702" y="517"/>
                      </a:lnTo>
                      <a:lnTo>
                        <a:pt x="1700" y="517"/>
                      </a:lnTo>
                      <a:lnTo>
                        <a:pt x="1700" y="519"/>
                      </a:lnTo>
                      <a:lnTo>
                        <a:pt x="1699" y="519"/>
                      </a:lnTo>
                      <a:lnTo>
                        <a:pt x="1699" y="521"/>
                      </a:lnTo>
                      <a:lnTo>
                        <a:pt x="1697" y="521"/>
                      </a:lnTo>
                      <a:lnTo>
                        <a:pt x="1695" y="521"/>
                      </a:lnTo>
                      <a:lnTo>
                        <a:pt x="1693" y="523"/>
                      </a:lnTo>
                      <a:lnTo>
                        <a:pt x="1691" y="523"/>
                      </a:lnTo>
                      <a:lnTo>
                        <a:pt x="1691" y="525"/>
                      </a:lnTo>
                      <a:lnTo>
                        <a:pt x="1691" y="529"/>
                      </a:lnTo>
                      <a:lnTo>
                        <a:pt x="1691" y="531"/>
                      </a:lnTo>
                      <a:lnTo>
                        <a:pt x="1691" y="532"/>
                      </a:lnTo>
                      <a:lnTo>
                        <a:pt x="1689" y="534"/>
                      </a:lnTo>
                      <a:lnTo>
                        <a:pt x="1687" y="534"/>
                      </a:lnTo>
                      <a:lnTo>
                        <a:pt x="1689" y="534"/>
                      </a:lnTo>
                      <a:lnTo>
                        <a:pt x="1689" y="536"/>
                      </a:lnTo>
                      <a:lnTo>
                        <a:pt x="1689" y="538"/>
                      </a:lnTo>
                      <a:lnTo>
                        <a:pt x="1687" y="538"/>
                      </a:lnTo>
                      <a:lnTo>
                        <a:pt x="1685" y="538"/>
                      </a:lnTo>
                      <a:lnTo>
                        <a:pt x="1683" y="538"/>
                      </a:lnTo>
                      <a:lnTo>
                        <a:pt x="1682" y="540"/>
                      </a:lnTo>
                      <a:lnTo>
                        <a:pt x="1680" y="542"/>
                      </a:lnTo>
                      <a:lnTo>
                        <a:pt x="1680" y="544"/>
                      </a:lnTo>
                      <a:lnTo>
                        <a:pt x="1678" y="544"/>
                      </a:lnTo>
                      <a:lnTo>
                        <a:pt x="1678" y="546"/>
                      </a:lnTo>
                      <a:lnTo>
                        <a:pt x="1676" y="546"/>
                      </a:lnTo>
                      <a:lnTo>
                        <a:pt x="1676" y="547"/>
                      </a:lnTo>
                      <a:lnTo>
                        <a:pt x="1674" y="547"/>
                      </a:lnTo>
                      <a:lnTo>
                        <a:pt x="1674" y="549"/>
                      </a:lnTo>
                      <a:lnTo>
                        <a:pt x="1672" y="549"/>
                      </a:lnTo>
                      <a:lnTo>
                        <a:pt x="1672" y="551"/>
                      </a:lnTo>
                      <a:lnTo>
                        <a:pt x="1670" y="551"/>
                      </a:lnTo>
                      <a:lnTo>
                        <a:pt x="1670" y="553"/>
                      </a:lnTo>
                      <a:lnTo>
                        <a:pt x="1670" y="555"/>
                      </a:lnTo>
                      <a:lnTo>
                        <a:pt x="1668" y="555"/>
                      </a:lnTo>
                      <a:lnTo>
                        <a:pt x="1667" y="555"/>
                      </a:lnTo>
                      <a:lnTo>
                        <a:pt x="1667" y="557"/>
                      </a:lnTo>
                      <a:lnTo>
                        <a:pt x="1667" y="559"/>
                      </a:lnTo>
                      <a:lnTo>
                        <a:pt x="1667" y="561"/>
                      </a:lnTo>
                      <a:lnTo>
                        <a:pt x="1667" y="563"/>
                      </a:lnTo>
                      <a:lnTo>
                        <a:pt x="1665" y="563"/>
                      </a:lnTo>
                      <a:lnTo>
                        <a:pt x="1663" y="563"/>
                      </a:lnTo>
                      <a:lnTo>
                        <a:pt x="1663" y="564"/>
                      </a:lnTo>
                      <a:lnTo>
                        <a:pt x="1663" y="566"/>
                      </a:lnTo>
                      <a:lnTo>
                        <a:pt x="1661" y="568"/>
                      </a:lnTo>
                      <a:lnTo>
                        <a:pt x="1659" y="568"/>
                      </a:lnTo>
                      <a:lnTo>
                        <a:pt x="1659" y="570"/>
                      </a:lnTo>
                      <a:lnTo>
                        <a:pt x="1659" y="572"/>
                      </a:lnTo>
                      <a:lnTo>
                        <a:pt x="1657" y="572"/>
                      </a:lnTo>
                      <a:lnTo>
                        <a:pt x="1657" y="574"/>
                      </a:lnTo>
                      <a:lnTo>
                        <a:pt x="1655" y="576"/>
                      </a:lnTo>
                      <a:lnTo>
                        <a:pt x="1655" y="578"/>
                      </a:lnTo>
                      <a:lnTo>
                        <a:pt x="1655" y="579"/>
                      </a:lnTo>
                      <a:lnTo>
                        <a:pt x="1653" y="579"/>
                      </a:lnTo>
                      <a:lnTo>
                        <a:pt x="1653" y="581"/>
                      </a:lnTo>
                      <a:lnTo>
                        <a:pt x="1652" y="581"/>
                      </a:lnTo>
                      <a:lnTo>
                        <a:pt x="1650" y="581"/>
                      </a:lnTo>
                      <a:lnTo>
                        <a:pt x="1648" y="581"/>
                      </a:lnTo>
                      <a:lnTo>
                        <a:pt x="1646" y="581"/>
                      </a:lnTo>
                      <a:lnTo>
                        <a:pt x="1646" y="583"/>
                      </a:lnTo>
                      <a:lnTo>
                        <a:pt x="1648" y="583"/>
                      </a:lnTo>
                      <a:lnTo>
                        <a:pt x="1646" y="583"/>
                      </a:lnTo>
                      <a:lnTo>
                        <a:pt x="1646" y="585"/>
                      </a:lnTo>
                      <a:lnTo>
                        <a:pt x="1644" y="585"/>
                      </a:lnTo>
                      <a:lnTo>
                        <a:pt x="1644" y="587"/>
                      </a:lnTo>
                      <a:lnTo>
                        <a:pt x="1642" y="587"/>
                      </a:lnTo>
                      <a:lnTo>
                        <a:pt x="1642" y="589"/>
                      </a:lnTo>
                      <a:lnTo>
                        <a:pt x="1640" y="589"/>
                      </a:lnTo>
                      <a:lnTo>
                        <a:pt x="1640" y="591"/>
                      </a:lnTo>
                      <a:lnTo>
                        <a:pt x="1638" y="591"/>
                      </a:lnTo>
                      <a:lnTo>
                        <a:pt x="1638" y="593"/>
                      </a:lnTo>
                      <a:lnTo>
                        <a:pt x="1638" y="595"/>
                      </a:lnTo>
                      <a:lnTo>
                        <a:pt x="1636" y="595"/>
                      </a:lnTo>
                      <a:lnTo>
                        <a:pt x="1635" y="595"/>
                      </a:lnTo>
                      <a:lnTo>
                        <a:pt x="1635" y="596"/>
                      </a:lnTo>
                      <a:lnTo>
                        <a:pt x="1635" y="598"/>
                      </a:lnTo>
                      <a:lnTo>
                        <a:pt x="1633" y="598"/>
                      </a:lnTo>
                      <a:lnTo>
                        <a:pt x="1633" y="600"/>
                      </a:lnTo>
                      <a:lnTo>
                        <a:pt x="1635" y="600"/>
                      </a:lnTo>
                      <a:lnTo>
                        <a:pt x="1633" y="600"/>
                      </a:lnTo>
                      <a:lnTo>
                        <a:pt x="1633" y="602"/>
                      </a:lnTo>
                      <a:lnTo>
                        <a:pt x="1633" y="604"/>
                      </a:lnTo>
                      <a:lnTo>
                        <a:pt x="1631" y="604"/>
                      </a:lnTo>
                      <a:lnTo>
                        <a:pt x="1631" y="606"/>
                      </a:lnTo>
                      <a:lnTo>
                        <a:pt x="1629" y="606"/>
                      </a:lnTo>
                      <a:lnTo>
                        <a:pt x="1629" y="608"/>
                      </a:lnTo>
                      <a:lnTo>
                        <a:pt x="1627" y="608"/>
                      </a:lnTo>
                      <a:lnTo>
                        <a:pt x="1627" y="610"/>
                      </a:lnTo>
                      <a:lnTo>
                        <a:pt x="1627" y="611"/>
                      </a:lnTo>
                      <a:lnTo>
                        <a:pt x="1625" y="613"/>
                      </a:lnTo>
                      <a:lnTo>
                        <a:pt x="1623" y="615"/>
                      </a:lnTo>
                      <a:lnTo>
                        <a:pt x="1621" y="617"/>
                      </a:lnTo>
                      <a:lnTo>
                        <a:pt x="1623" y="617"/>
                      </a:lnTo>
                      <a:lnTo>
                        <a:pt x="1623" y="619"/>
                      </a:lnTo>
                      <a:lnTo>
                        <a:pt x="1621" y="619"/>
                      </a:lnTo>
                      <a:lnTo>
                        <a:pt x="1623" y="619"/>
                      </a:lnTo>
                      <a:lnTo>
                        <a:pt x="1623" y="621"/>
                      </a:lnTo>
                      <a:lnTo>
                        <a:pt x="1621" y="621"/>
                      </a:lnTo>
                      <a:lnTo>
                        <a:pt x="1620" y="621"/>
                      </a:lnTo>
                      <a:lnTo>
                        <a:pt x="1618" y="623"/>
                      </a:lnTo>
                      <a:lnTo>
                        <a:pt x="1618" y="625"/>
                      </a:lnTo>
                      <a:lnTo>
                        <a:pt x="1618" y="627"/>
                      </a:lnTo>
                      <a:lnTo>
                        <a:pt x="1616" y="627"/>
                      </a:lnTo>
                      <a:lnTo>
                        <a:pt x="1616" y="628"/>
                      </a:lnTo>
                      <a:lnTo>
                        <a:pt x="1614" y="628"/>
                      </a:lnTo>
                      <a:lnTo>
                        <a:pt x="1612" y="628"/>
                      </a:lnTo>
                      <a:lnTo>
                        <a:pt x="1612" y="630"/>
                      </a:lnTo>
                      <a:lnTo>
                        <a:pt x="1610" y="630"/>
                      </a:lnTo>
                      <a:lnTo>
                        <a:pt x="1610" y="632"/>
                      </a:lnTo>
                      <a:lnTo>
                        <a:pt x="1608" y="632"/>
                      </a:lnTo>
                      <a:lnTo>
                        <a:pt x="1608" y="630"/>
                      </a:lnTo>
                      <a:lnTo>
                        <a:pt x="1608" y="632"/>
                      </a:lnTo>
                      <a:lnTo>
                        <a:pt x="1606" y="632"/>
                      </a:lnTo>
                      <a:lnTo>
                        <a:pt x="1606" y="634"/>
                      </a:lnTo>
                      <a:lnTo>
                        <a:pt x="1604" y="634"/>
                      </a:lnTo>
                      <a:lnTo>
                        <a:pt x="1603" y="636"/>
                      </a:lnTo>
                      <a:lnTo>
                        <a:pt x="1603" y="638"/>
                      </a:lnTo>
                      <a:lnTo>
                        <a:pt x="1603" y="640"/>
                      </a:lnTo>
                      <a:lnTo>
                        <a:pt x="1603" y="638"/>
                      </a:lnTo>
                      <a:lnTo>
                        <a:pt x="1603" y="640"/>
                      </a:lnTo>
                      <a:lnTo>
                        <a:pt x="1603" y="642"/>
                      </a:lnTo>
                      <a:lnTo>
                        <a:pt x="1601" y="642"/>
                      </a:lnTo>
                      <a:lnTo>
                        <a:pt x="1599" y="643"/>
                      </a:lnTo>
                      <a:lnTo>
                        <a:pt x="1599" y="645"/>
                      </a:lnTo>
                      <a:lnTo>
                        <a:pt x="1599" y="647"/>
                      </a:lnTo>
                      <a:lnTo>
                        <a:pt x="1597" y="647"/>
                      </a:lnTo>
                      <a:lnTo>
                        <a:pt x="1597" y="649"/>
                      </a:lnTo>
                      <a:lnTo>
                        <a:pt x="1595" y="649"/>
                      </a:lnTo>
                      <a:lnTo>
                        <a:pt x="1595" y="647"/>
                      </a:lnTo>
                      <a:lnTo>
                        <a:pt x="1595" y="649"/>
                      </a:lnTo>
                      <a:lnTo>
                        <a:pt x="1593" y="649"/>
                      </a:lnTo>
                      <a:lnTo>
                        <a:pt x="1593" y="651"/>
                      </a:lnTo>
                      <a:lnTo>
                        <a:pt x="1591" y="653"/>
                      </a:lnTo>
                      <a:lnTo>
                        <a:pt x="1589" y="653"/>
                      </a:lnTo>
                      <a:lnTo>
                        <a:pt x="1589" y="655"/>
                      </a:lnTo>
                      <a:lnTo>
                        <a:pt x="1588" y="655"/>
                      </a:lnTo>
                      <a:lnTo>
                        <a:pt x="1588" y="657"/>
                      </a:lnTo>
                      <a:lnTo>
                        <a:pt x="1588" y="659"/>
                      </a:lnTo>
                      <a:lnTo>
                        <a:pt x="1586" y="659"/>
                      </a:lnTo>
                      <a:lnTo>
                        <a:pt x="1588" y="659"/>
                      </a:lnTo>
                      <a:lnTo>
                        <a:pt x="1588" y="660"/>
                      </a:lnTo>
                      <a:lnTo>
                        <a:pt x="1586" y="660"/>
                      </a:lnTo>
                      <a:lnTo>
                        <a:pt x="1586" y="662"/>
                      </a:lnTo>
                      <a:lnTo>
                        <a:pt x="1584" y="662"/>
                      </a:lnTo>
                      <a:lnTo>
                        <a:pt x="1584" y="664"/>
                      </a:lnTo>
                      <a:lnTo>
                        <a:pt x="1582" y="664"/>
                      </a:lnTo>
                      <a:lnTo>
                        <a:pt x="1582" y="666"/>
                      </a:lnTo>
                      <a:lnTo>
                        <a:pt x="1580" y="666"/>
                      </a:lnTo>
                      <a:lnTo>
                        <a:pt x="1580" y="668"/>
                      </a:lnTo>
                      <a:lnTo>
                        <a:pt x="1580" y="670"/>
                      </a:lnTo>
                      <a:lnTo>
                        <a:pt x="1578" y="670"/>
                      </a:lnTo>
                      <a:lnTo>
                        <a:pt x="1576" y="670"/>
                      </a:lnTo>
                      <a:lnTo>
                        <a:pt x="1576" y="672"/>
                      </a:lnTo>
                      <a:lnTo>
                        <a:pt x="1574" y="672"/>
                      </a:lnTo>
                      <a:lnTo>
                        <a:pt x="1574" y="670"/>
                      </a:lnTo>
                      <a:lnTo>
                        <a:pt x="1574" y="672"/>
                      </a:lnTo>
                      <a:lnTo>
                        <a:pt x="1574" y="674"/>
                      </a:lnTo>
                      <a:lnTo>
                        <a:pt x="1573" y="677"/>
                      </a:lnTo>
                      <a:lnTo>
                        <a:pt x="1571" y="677"/>
                      </a:lnTo>
                      <a:lnTo>
                        <a:pt x="1571" y="679"/>
                      </a:lnTo>
                      <a:lnTo>
                        <a:pt x="1571" y="681"/>
                      </a:lnTo>
                      <a:lnTo>
                        <a:pt x="1569" y="683"/>
                      </a:lnTo>
                      <a:lnTo>
                        <a:pt x="1567" y="683"/>
                      </a:lnTo>
                      <a:lnTo>
                        <a:pt x="1565" y="683"/>
                      </a:lnTo>
                      <a:lnTo>
                        <a:pt x="1565" y="685"/>
                      </a:lnTo>
                      <a:lnTo>
                        <a:pt x="1563" y="685"/>
                      </a:lnTo>
                      <a:lnTo>
                        <a:pt x="1563" y="687"/>
                      </a:lnTo>
                      <a:lnTo>
                        <a:pt x="1561" y="687"/>
                      </a:lnTo>
                      <a:lnTo>
                        <a:pt x="1559" y="687"/>
                      </a:lnTo>
                      <a:lnTo>
                        <a:pt x="1559" y="689"/>
                      </a:lnTo>
                      <a:lnTo>
                        <a:pt x="1557" y="689"/>
                      </a:lnTo>
                      <a:lnTo>
                        <a:pt x="1557" y="691"/>
                      </a:lnTo>
                      <a:lnTo>
                        <a:pt x="1556" y="692"/>
                      </a:lnTo>
                      <a:lnTo>
                        <a:pt x="1554" y="692"/>
                      </a:lnTo>
                      <a:lnTo>
                        <a:pt x="1554" y="694"/>
                      </a:lnTo>
                      <a:lnTo>
                        <a:pt x="1554" y="696"/>
                      </a:lnTo>
                      <a:lnTo>
                        <a:pt x="1552" y="696"/>
                      </a:lnTo>
                      <a:lnTo>
                        <a:pt x="1552" y="698"/>
                      </a:lnTo>
                      <a:lnTo>
                        <a:pt x="1550" y="698"/>
                      </a:lnTo>
                      <a:lnTo>
                        <a:pt x="1548" y="700"/>
                      </a:lnTo>
                      <a:lnTo>
                        <a:pt x="1546" y="700"/>
                      </a:lnTo>
                      <a:lnTo>
                        <a:pt x="1544" y="700"/>
                      </a:lnTo>
                      <a:lnTo>
                        <a:pt x="1544" y="702"/>
                      </a:lnTo>
                      <a:lnTo>
                        <a:pt x="1542" y="704"/>
                      </a:lnTo>
                      <a:lnTo>
                        <a:pt x="1542" y="706"/>
                      </a:lnTo>
                      <a:lnTo>
                        <a:pt x="1541" y="707"/>
                      </a:lnTo>
                      <a:lnTo>
                        <a:pt x="1539" y="707"/>
                      </a:lnTo>
                      <a:lnTo>
                        <a:pt x="1539" y="709"/>
                      </a:lnTo>
                      <a:lnTo>
                        <a:pt x="1537" y="709"/>
                      </a:lnTo>
                      <a:lnTo>
                        <a:pt x="1537" y="711"/>
                      </a:lnTo>
                      <a:lnTo>
                        <a:pt x="1537" y="713"/>
                      </a:lnTo>
                      <a:lnTo>
                        <a:pt x="1535" y="713"/>
                      </a:lnTo>
                      <a:lnTo>
                        <a:pt x="1535" y="715"/>
                      </a:lnTo>
                      <a:lnTo>
                        <a:pt x="1535" y="717"/>
                      </a:lnTo>
                      <a:lnTo>
                        <a:pt x="1533" y="717"/>
                      </a:lnTo>
                      <a:lnTo>
                        <a:pt x="1531" y="717"/>
                      </a:lnTo>
                      <a:lnTo>
                        <a:pt x="1531" y="719"/>
                      </a:lnTo>
                      <a:lnTo>
                        <a:pt x="1529" y="719"/>
                      </a:lnTo>
                      <a:lnTo>
                        <a:pt x="1527" y="721"/>
                      </a:lnTo>
                      <a:lnTo>
                        <a:pt x="1525" y="723"/>
                      </a:lnTo>
                      <a:lnTo>
                        <a:pt x="1525" y="724"/>
                      </a:lnTo>
                      <a:lnTo>
                        <a:pt x="1525" y="726"/>
                      </a:lnTo>
                      <a:lnTo>
                        <a:pt x="1524" y="726"/>
                      </a:lnTo>
                      <a:lnTo>
                        <a:pt x="1524" y="724"/>
                      </a:lnTo>
                      <a:lnTo>
                        <a:pt x="1524" y="726"/>
                      </a:lnTo>
                      <a:lnTo>
                        <a:pt x="1522" y="726"/>
                      </a:lnTo>
                      <a:lnTo>
                        <a:pt x="1522" y="728"/>
                      </a:lnTo>
                      <a:lnTo>
                        <a:pt x="1520" y="728"/>
                      </a:lnTo>
                      <a:lnTo>
                        <a:pt x="1520" y="730"/>
                      </a:lnTo>
                      <a:lnTo>
                        <a:pt x="1518" y="730"/>
                      </a:lnTo>
                      <a:lnTo>
                        <a:pt x="1518" y="732"/>
                      </a:lnTo>
                      <a:lnTo>
                        <a:pt x="1516" y="732"/>
                      </a:lnTo>
                      <a:lnTo>
                        <a:pt x="1516" y="734"/>
                      </a:lnTo>
                      <a:lnTo>
                        <a:pt x="1514" y="734"/>
                      </a:lnTo>
                      <a:lnTo>
                        <a:pt x="1512" y="736"/>
                      </a:lnTo>
                      <a:lnTo>
                        <a:pt x="1512" y="738"/>
                      </a:lnTo>
                      <a:lnTo>
                        <a:pt x="1512" y="739"/>
                      </a:lnTo>
                      <a:lnTo>
                        <a:pt x="1512" y="741"/>
                      </a:lnTo>
                      <a:lnTo>
                        <a:pt x="1510" y="741"/>
                      </a:lnTo>
                      <a:lnTo>
                        <a:pt x="1510" y="743"/>
                      </a:lnTo>
                      <a:lnTo>
                        <a:pt x="1510" y="741"/>
                      </a:lnTo>
                      <a:lnTo>
                        <a:pt x="1509" y="741"/>
                      </a:lnTo>
                      <a:lnTo>
                        <a:pt x="1509" y="743"/>
                      </a:lnTo>
                      <a:lnTo>
                        <a:pt x="1507" y="743"/>
                      </a:lnTo>
                      <a:lnTo>
                        <a:pt x="1505" y="745"/>
                      </a:lnTo>
                      <a:lnTo>
                        <a:pt x="1503" y="745"/>
                      </a:lnTo>
                      <a:lnTo>
                        <a:pt x="1501" y="745"/>
                      </a:lnTo>
                      <a:lnTo>
                        <a:pt x="1501" y="747"/>
                      </a:lnTo>
                      <a:lnTo>
                        <a:pt x="1499" y="747"/>
                      </a:lnTo>
                      <a:lnTo>
                        <a:pt x="1499" y="749"/>
                      </a:lnTo>
                      <a:lnTo>
                        <a:pt x="1499" y="751"/>
                      </a:lnTo>
                      <a:lnTo>
                        <a:pt x="1499" y="753"/>
                      </a:lnTo>
                      <a:lnTo>
                        <a:pt x="1497" y="753"/>
                      </a:lnTo>
                      <a:lnTo>
                        <a:pt x="1495" y="753"/>
                      </a:lnTo>
                      <a:lnTo>
                        <a:pt x="1495" y="755"/>
                      </a:lnTo>
                      <a:lnTo>
                        <a:pt x="1494" y="755"/>
                      </a:lnTo>
                      <a:lnTo>
                        <a:pt x="1494" y="756"/>
                      </a:lnTo>
                      <a:lnTo>
                        <a:pt x="1492" y="756"/>
                      </a:lnTo>
                      <a:lnTo>
                        <a:pt x="1492" y="758"/>
                      </a:lnTo>
                      <a:lnTo>
                        <a:pt x="1492" y="760"/>
                      </a:lnTo>
                      <a:lnTo>
                        <a:pt x="1490" y="760"/>
                      </a:lnTo>
                      <a:lnTo>
                        <a:pt x="1490" y="762"/>
                      </a:lnTo>
                      <a:lnTo>
                        <a:pt x="1488" y="762"/>
                      </a:lnTo>
                      <a:lnTo>
                        <a:pt x="1488" y="764"/>
                      </a:lnTo>
                      <a:lnTo>
                        <a:pt x="1486" y="764"/>
                      </a:lnTo>
                      <a:lnTo>
                        <a:pt x="1486" y="766"/>
                      </a:lnTo>
                      <a:lnTo>
                        <a:pt x="1486" y="768"/>
                      </a:lnTo>
                      <a:lnTo>
                        <a:pt x="1486" y="770"/>
                      </a:lnTo>
                      <a:lnTo>
                        <a:pt x="1482" y="770"/>
                      </a:lnTo>
                      <a:lnTo>
                        <a:pt x="1482" y="771"/>
                      </a:lnTo>
                      <a:lnTo>
                        <a:pt x="1480" y="771"/>
                      </a:lnTo>
                      <a:lnTo>
                        <a:pt x="1480" y="773"/>
                      </a:lnTo>
                      <a:lnTo>
                        <a:pt x="1478" y="773"/>
                      </a:lnTo>
                      <a:lnTo>
                        <a:pt x="1478" y="775"/>
                      </a:lnTo>
                      <a:lnTo>
                        <a:pt x="1477" y="777"/>
                      </a:lnTo>
                      <a:lnTo>
                        <a:pt x="1475" y="779"/>
                      </a:lnTo>
                      <a:lnTo>
                        <a:pt x="1473" y="779"/>
                      </a:lnTo>
                      <a:lnTo>
                        <a:pt x="1469" y="781"/>
                      </a:lnTo>
                      <a:lnTo>
                        <a:pt x="1467" y="783"/>
                      </a:lnTo>
                      <a:lnTo>
                        <a:pt x="1465" y="783"/>
                      </a:lnTo>
                      <a:lnTo>
                        <a:pt x="1465" y="785"/>
                      </a:lnTo>
                      <a:lnTo>
                        <a:pt x="1463" y="785"/>
                      </a:lnTo>
                      <a:lnTo>
                        <a:pt x="1460" y="785"/>
                      </a:lnTo>
                      <a:lnTo>
                        <a:pt x="1460" y="787"/>
                      </a:lnTo>
                      <a:lnTo>
                        <a:pt x="1458" y="787"/>
                      </a:lnTo>
                      <a:lnTo>
                        <a:pt x="1456" y="787"/>
                      </a:lnTo>
                      <a:lnTo>
                        <a:pt x="1456" y="788"/>
                      </a:lnTo>
                      <a:lnTo>
                        <a:pt x="1454" y="788"/>
                      </a:lnTo>
                      <a:lnTo>
                        <a:pt x="1454" y="790"/>
                      </a:lnTo>
                      <a:lnTo>
                        <a:pt x="1454" y="792"/>
                      </a:lnTo>
                      <a:lnTo>
                        <a:pt x="1452" y="794"/>
                      </a:lnTo>
                      <a:lnTo>
                        <a:pt x="1450" y="794"/>
                      </a:lnTo>
                      <a:lnTo>
                        <a:pt x="1452" y="794"/>
                      </a:lnTo>
                      <a:lnTo>
                        <a:pt x="1450" y="796"/>
                      </a:lnTo>
                      <a:lnTo>
                        <a:pt x="1448" y="796"/>
                      </a:lnTo>
                      <a:lnTo>
                        <a:pt x="1448" y="798"/>
                      </a:lnTo>
                      <a:lnTo>
                        <a:pt x="1446" y="798"/>
                      </a:lnTo>
                      <a:lnTo>
                        <a:pt x="1445" y="800"/>
                      </a:lnTo>
                      <a:lnTo>
                        <a:pt x="1445" y="802"/>
                      </a:lnTo>
                      <a:lnTo>
                        <a:pt x="1443" y="803"/>
                      </a:lnTo>
                      <a:lnTo>
                        <a:pt x="1441" y="805"/>
                      </a:lnTo>
                      <a:lnTo>
                        <a:pt x="1441" y="807"/>
                      </a:lnTo>
                      <a:lnTo>
                        <a:pt x="1441" y="809"/>
                      </a:lnTo>
                      <a:lnTo>
                        <a:pt x="1439" y="809"/>
                      </a:lnTo>
                      <a:lnTo>
                        <a:pt x="1439" y="811"/>
                      </a:lnTo>
                      <a:lnTo>
                        <a:pt x="1437" y="811"/>
                      </a:lnTo>
                      <a:lnTo>
                        <a:pt x="1435" y="811"/>
                      </a:lnTo>
                      <a:lnTo>
                        <a:pt x="1433" y="811"/>
                      </a:lnTo>
                      <a:lnTo>
                        <a:pt x="1431" y="811"/>
                      </a:lnTo>
                      <a:lnTo>
                        <a:pt x="1431" y="813"/>
                      </a:lnTo>
                      <a:lnTo>
                        <a:pt x="1430" y="813"/>
                      </a:lnTo>
                      <a:lnTo>
                        <a:pt x="1430" y="815"/>
                      </a:lnTo>
                      <a:lnTo>
                        <a:pt x="1428" y="815"/>
                      </a:lnTo>
                      <a:lnTo>
                        <a:pt x="1428" y="813"/>
                      </a:lnTo>
                      <a:lnTo>
                        <a:pt x="1428" y="815"/>
                      </a:lnTo>
                      <a:lnTo>
                        <a:pt x="1426" y="815"/>
                      </a:lnTo>
                      <a:lnTo>
                        <a:pt x="1426" y="817"/>
                      </a:lnTo>
                      <a:lnTo>
                        <a:pt x="1424" y="817"/>
                      </a:lnTo>
                      <a:lnTo>
                        <a:pt x="1422" y="819"/>
                      </a:lnTo>
                      <a:lnTo>
                        <a:pt x="1420" y="819"/>
                      </a:lnTo>
                      <a:lnTo>
                        <a:pt x="1420" y="820"/>
                      </a:lnTo>
                      <a:lnTo>
                        <a:pt x="1418" y="820"/>
                      </a:lnTo>
                      <a:lnTo>
                        <a:pt x="1418" y="822"/>
                      </a:lnTo>
                      <a:lnTo>
                        <a:pt x="1416" y="822"/>
                      </a:lnTo>
                      <a:lnTo>
                        <a:pt x="1416" y="824"/>
                      </a:lnTo>
                      <a:lnTo>
                        <a:pt x="1415" y="824"/>
                      </a:lnTo>
                      <a:lnTo>
                        <a:pt x="1415" y="826"/>
                      </a:lnTo>
                      <a:lnTo>
                        <a:pt x="1413" y="826"/>
                      </a:lnTo>
                      <a:lnTo>
                        <a:pt x="1411" y="826"/>
                      </a:lnTo>
                      <a:lnTo>
                        <a:pt x="1409" y="826"/>
                      </a:lnTo>
                      <a:lnTo>
                        <a:pt x="1409" y="828"/>
                      </a:lnTo>
                      <a:lnTo>
                        <a:pt x="1407" y="828"/>
                      </a:lnTo>
                      <a:lnTo>
                        <a:pt x="1407" y="830"/>
                      </a:lnTo>
                      <a:lnTo>
                        <a:pt x="1405" y="830"/>
                      </a:lnTo>
                      <a:lnTo>
                        <a:pt x="1403" y="832"/>
                      </a:lnTo>
                      <a:lnTo>
                        <a:pt x="1401" y="832"/>
                      </a:lnTo>
                      <a:lnTo>
                        <a:pt x="1398" y="832"/>
                      </a:lnTo>
                      <a:lnTo>
                        <a:pt x="1398" y="834"/>
                      </a:lnTo>
                      <a:lnTo>
                        <a:pt x="1396" y="834"/>
                      </a:lnTo>
                      <a:lnTo>
                        <a:pt x="1390" y="834"/>
                      </a:lnTo>
                      <a:lnTo>
                        <a:pt x="1388" y="835"/>
                      </a:lnTo>
                      <a:lnTo>
                        <a:pt x="1384" y="837"/>
                      </a:lnTo>
                      <a:lnTo>
                        <a:pt x="1383" y="839"/>
                      </a:lnTo>
                      <a:lnTo>
                        <a:pt x="1381" y="841"/>
                      </a:lnTo>
                      <a:lnTo>
                        <a:pt x="1377" y="845"/>
                      </a:lnTo>
                      <a:lnTo>
                        <a:pt x="1375" y="849"/>
                      </a:lnTo>
                      <a:lnTo>
                        <a:pt x="1375" y="851"/>
                      </a:lnTo>
                      <a:lnTo>
                        <a:pt x="1375" y="852"/>
                      </a:lnTo>
                      <a:lnTo>
                        <a:pt x="1375" y="854"/>
                      </a:lnTo>
                      <a:lnTo>
                        <a:pt x="1375" y="856"/>
                      </a:lnTo>
                      <a:lnTo>
                        <a:pt x="1373" y="856"/>
                      </a:lnTo>
                      <a:lnTo>
                        <a:pt x="1373" y="858"/>
                      </a:lnTo>
                      <a:lnTo>
                        <a:pt x="1373" y="860"/>
                      </a:lnTo>
                      <a:lnTo>
                        <a:pt x="1371" y="860"/>
                      </a:lnTo>
                      <a:lnTo>
                        <a:pt x="1373" y="860"/>
                      </a:lnTo>
                      <a:lnTo>
                        <a:pt x="1371" y="862"/>
                      </a:lnTo>
                      <a:lnTo>
                        <a:pt x="1371" y="864"/>
                      </a:lnTo>
                      <a:lnTo>
                        <a:pt x="1369" y="864"/>
                      </a:lnTo>
                      <a:lnTo>
                        <a:pt x="1371" y="864"/>
                      </a:lnTo>
                      <a:lnTo>
                        <a:pt x="1369" y="864"/>
                      </a:lnTo>
                      <a:lnTo>
                        <a:pt x="1369" y="866"/>
                      </a:lnTo>
                      <a:lnTo>
                        <a:pt x="1369" y="868"/>
                      </a:lnTo>
                      <a:lnTo>
                        <a:pt x="1367" y="868"/>
                      </a:lnTo>
                      <a:lnTo>
                        <a:pt x="1367" y="869"/>
                      </a:lnTo>
                      <a:lnTo>
                        <a:pt x="1366" y="869"/>
                      </a:lnTo>
                      <a:lnTo>
                        <a:pt x="1364" y="871"/>
                      </a:lnTo>
                      <a:lnTo>
                        <a:pt x="1366" y="871"/>
                      </a:lnTo>
                      <a:lnTo>
                        <a:pt x="1366" y="873"/>
                      </a:lnTo>
                      <a:lnTo>
                        <a:pt x="1364" y="873"/>
                      </a:lnTo>
                      <a:lnTo>
                        <a:pt x="1362" y="875"/>
                      </a:lnTo>
                      <a:lnTo>
                        <a:pt x="1360" y="875"/>
                      </a:lnTo>
                      <a:lnTo>
                        <a:pt x="1358" y="875"/>
                      </a:lnTo>
                      <a:lnTo>
                        <a:pt x="1358" y="877"/>
                      </a:lnTo>
                      <a:lnTo>
                        <a:pt x="1356" y="877"/>
                      </a:lnTo>
                      <a:lnTo>
                        <a:pt x="1356" y="879"/>
                      </a:lnTo>
                      <a:lnTo>
                        <a:pt x="1354" y="879"/>
                      </a:lnTo>
                      <a:lnTo>
                        <a:pt x="1352" y="879"/>
                      </a:lnTo>
                      <a:lnTo>
                        <a:pt x="1352" y="881"/>
                      </a:lnTo>
                      <a:lnTo>
                        <a:pt x="1354" y="883"/>
                      </a:lnTo>
                      <a:lnTo>
                        <a:pt x="1352" y="883"/>
                      </a:lnTo>
                      <a:lnTo>
                        <a:pt x="1351" y="883"/>
                      </a:lnTo>
                      <a:lnTo>
                        <a:pt x="1351" y="884"/>
                      </a:lnTo>
                      <a:lnTo>
                        <a:pt x="1349" y="884"/>
                      </a:lnTo>
                      <a:lnTo>
                        <a:pt x="1349" y="886"/>
                      </a:lnTo>
                      <a:lnTo>
                        <a:pt x="1347" y="886"/>
                      </a:lnTo>
                      <a:lnTo>
                        <a:pt x="1345" y="886"/>
                      </a:lnTo>
                      <a:lnTo>
                        <a:pt x="1345" y="888"/>
                      </a:lnTo>
                      <a:lnTo>
                        <a:pt x="1343" y="888"/>
                      </a:lnTo>
                      <a:lnTo>
                        <a:pt x="1341" y="890"/>
                      </a:lnTo>
                      <a:lnTo>
                        <a:pt x="1337" y="892"/>
                      </a:lnTo>
                      <a:lnTo>
                        <a:pt x="1336" y="892"/>
                      </a:lnTo>
                      <a:lnTo>
                        <a:pt x="1336" y="894"/>
                      </a:lnTo>
                      <a:lnTo>
                        <a:pt x="1334" y="894"/>
                      </a:lnTo>
                      <a:lnTo>
                        <a:pt x="1334" y="896"/>
                      </a:lnTo>
                      <a:lnTo>
                        <a:pt x="1332" y="896"/>
                      </a:lnTo>
                      <a:lnTo>
                        <a:pt x="1332" y="898"/>
                      </a:lnTo>
                      <a:lnTo>
                        <a:pt x="1332" y="900"/>
                      </a:lnTo>
                      <a:lnTo>
                        <a:pt x="1330" y="900"/>
                      </a:lnTo>
                      <a:lnTo>
                        <a:pt x="1330" y="901"/>
                      </a:lnTo>
                      <a:lnTo>
                        <a:pt x="1328" y="901"/>
                      </a:lnTo>
                      <a:lnTo>
                        <a:pt x="1326" y="903"/>
                      </a:lnTo>
                      <a:lnTo>
                        <a:pt x="1324" y="903"/>
                      </a:lnTo>
                      <a:lnTo>
                        <a:pt x="1324" y="905"/>
                      </a:lnTo>
                      <a:lnTo>
                        <a:pt x="1324" y="907"/>
                      </a:lnTo>
                      <a:lnTo>
                        <a:pt x="1322" y="907"/>
                      </a:lnTo>
                      <a:lnTo>
                        <a:pt x="1324" y="907"/>
                      </a:lnTo>
                      <a:lnTo>
                        <a:pt x="1326" y="909"/>
                      </a:lnTo>
                      <a:lnTo>
                        <a:pt x="1324" y="909"/>
                      </a:lnTo>
                      <a:lnTo>
                        <a:pt x="1322" y="909"/>
                      </a:lnTo>
                      <a:lnTo>
                        <a:pt x="1322" y="911"/>
                      </a:lnTo>
                      <a:lnTo>
                        <a:pt x="1320" y="911"/>
                      </a:lnTo>
                      <a:lnTo>
                        <a:pt x="1320" y="913"/>
                      </a:lnTo>
                      <a:lnTo>
                        <a:pt x="1319" y="913"/>
                      </a:lnTo>
                      <a:lnTo>
                        <a:pt x="1317" y="913"/>
                      </a:lnTo>
                      <a:lnTo>
                        <a:pt x="1315" y="915"/>
                      </a:lnTo>
                      <a:lnTo>
                        <a:pt x="1313" y="915"/>
                      </a:lnTo>
                      <a:lnTo>
                        <a:pt x="1313" y="916"/>
                      </a:lnTo>
                      <a:lnTo>
                        <a:pt x="1311" y="916"/>
                      </a:lnTo>
                      <a:lnTo>
                        <a:pt x="1309" y="916"/>
                      </a:lnTo>
                      <a:lnTo>
                        <a:pt x="1309" y="918"/>
                      </a:lnTo>
                      <a:lnTo>
                        <a:pt x="1307" y="918"/>
                      </a:lnTo>
                      <a:lnTo>
                        <a:pt x="1307" y="920"/>
                      </a:lnTo>
                      <a:lnTo>
                        <a:pt x="1305" y="920"/>
                      </a:lnTo>
                      <a:lnTo>
                        <a:pt x="1305" y="922"/>
                      </a:lnTo>
                      <a:lnTo>
                        <a:pt x="1304" y="922"/>
                      </a:lnTo>
                      <a:lnTo>
                        <a:pt x="1302" y="922"/>
                      </a:lnTo>
                      <a:lnTo>
                        <a:pt x="1300" y="924"/>
                      </a:lnTo>
                      <a:lnTo>
                        <a:pt x="1300" y="926"/>
                      </a:lnTo>
                      <a:lnTo>
                        <a:pt x="1298" y="926"/>
                      </a:lnTo>
                      <a:lnTo>
                        <a:pt x="1294" y="928"/>
                      </a:lnTo>
                      <a:lnTo>
                        <a:pt x="1292" y="930"/>
                      </a:lnTo>
                      <a:lnTo>
                        <a:pt x="1290" y="930"/>
                      </a:lnTo>
                      <a:lnTo>
                        <a:pt x="1288" y="932"/>
                      </a:lnTo>
                      <a:lnTo>
                        <a:pt x="1287" y="932"/>
                      </a:lnTo>
                      <a:lnTo>
                        <a:pt x="1285" y="932"/>
                      </a:lnTo>
                      <a:lnTo>
                        <a:pt x="1283" y="933"/>
                      </a:lnTo>
                      <a:lnTo>
                        <a:pt x="1281" y="933"/>
                      </a:lnTo>
                      <a:lnTo>
                        <a:pt x="1279" y="933"/>
                      </a:lnTo>
                      <a:lnTo>
                        <a:pt x="1279" y="935"/>
                      </a:lnTo>
                      <a:lnTo>
                        <a:pt x="1277" y="935"/>
                      </a:lnTo>
                      <a:lnTo>
                        <a:pt x="1275" y="937"/>
                      </a:lnTo>
                      <a:lnTo>
                        <a:pt x="1273" y="939"/>
                      </a:lnTo>
                      <a:lnTo>
                        <a:pt x="1272" y="941"/>
                      </a:lnTo>
                      <a:lnTo>
                        <a:pt x="1272" y="943"/>
                      </a:lnTo>
                      <a:lnTo>
                        <a:pt x="1270" y="943"/>
                      </a:lnTo>
                      <a:lnTo>
                        <a:pt x="1270" y="945"/>
                      </a:lnTo>
                      <a:lnTo>
                        <a:pt x="1268" y="945"/>
                      </a:lnTo>
                      <a:lnTo>
                        <a:pt x="1270" y="945"/>
                      </a:lnTo>
                      <a:lnTo>
                        <a:pt x="1268" y="945"/>
                      </a:lnTo>
                      <a:lnTo>
                        <a:pt x="1268" y="947"/>
                      </a:lnTo>
                      <a:lnTo>
                        <a:pt x="1266" y="947"/>
                      </a:lnTo>
                      <a:lnTo>
                        <a:pt x="1266" y="948"/>
                      </a:lnTo>
                      <a:lnTo>
                        <a:pt x="1264" y="948"/>
                      </a:lnTo>
                      <a:lnTo>
                        <a:pt x="1262" y="948"/>
                      </a:lnTo>
                      <a:lnTo>
                        <a:pt x="1262" y="950"/>
                      </a:lnTo>
                      <a:lnTo>
                        <a:pt x="1260" y="950"/>
                      </a:lnTo>
                      <a:lnTo>
                        <a:pt x="1260" y="952"/>
                      </a:lnTo>
                      <a:lnTo>
                        <a:pt x="1258" y="952"/>
                      </a:lnTo>
                      <a:lnTo>
                        <a:pt x="1258" y="954"/>
                      </a:lnTo>
                      <a:lnTo>
                        <a:pt x="1257" y="954"/>
                      </a:lnTo>
                      <a:lnTo>
                        <a:pt x="1257" y="956"/>
                      </a:lnTo>
                      <a:lnTo>
                        <a:pt x="1255" y="956"/>
                      </a:lnTo>
                      <a:lnTo>
                        <a:pt x="1255" y="958"/>
                      </a:lnTo>
                      <a:lnTo>
                        <a:pt x="1253" y="958"/>
                      </a:lnTo>
                      <a:lnTo>
                        <a:pt x="1251" y="960"/>
                      </a:lnTo>
                      <a:lnTo>
                        <a:pt x="1251" y="962"/>
                      </a:lnTo>
                      <a:lnTo>
                        <a:pt x="1247" y="964"/>
                      </a:lnTo>
                      <a:lnTo>
                        <a:pt x="1245" y="964"/>
                      </a:lnTo>
                      <a:lnTo>
                        <a:pt x="1245" y="965"/>
                      </a:lnTo>
                      <a:lnTo>
                        <a:pt x="1245" y="967"/>
                      </a:lnTo>
                      <a:lnTo>
                        <a:pt x="1243" y="967"/>
                      </a:lnTo>
                      <a:lnTo>
                        <a:pt x="1241" y="967"/>
                      </a:lnTo>
                      <a:lnTo>
                        <a:pt x="1240" y="967"/>
                      </a:lnTo>
                      <a:lnTo>
                        <a:pt x="1240" y="969"/>
                      </a:lnTo>
                      <a:lnTo>
                        <a:pt x="1238" y="969"/>
                      </a:lnTo>
                      <a:lnTo>
                        <a:pt x="1236" y="971"/>
                      </a:lnTo>
                      <a:lnTo>
                        <a:pt x="1232" y="975"/>
                      </a:lnTo>
                      <a:lnTo>
                        <a:pt x="1226" y="977"/>
                      </a:lnTo>
                      <a:lnTo>
                        <a:pt x="1225" y="979"/>
                      </a:lnTo>
                      <a:lnTo>
                        <a:pt x="1223" y="979"/>
                      </a:lnTo>
                      <a:lnTo>
                        <a:pt x="1223" y="980"/>
                      </a:lnTo>
                      <a:lnTo>
                        <a:pt x="1221" y="982"/>
                      </a:lnTo>
                      <a:lnTo>
                        <a:pt x="1219" y="984"/>
                      </a:lnTo>
                      <a:lnTo>
                        <a:pt x="1217" y="984"/>
                      </a:lnTo>
                      <a:lnTo>
                        <a:pt x="1217" y="986"/>
                      </a:lnTo>
                      <a:lnTo>
                        <a:pt x="1215" y="986"/>
                      </a:lnTo>
                      <a:lnTo>
                        <a:pt x="1213" y="988"/>
                      </a:lnTo>
                      <a:lnTo>
                        <a:pt x="1211" y="988"/>
                      </a:lnTo>
                      <a:lnTo>
                        <a:pt x="1211" y="990"/>
                      </a:lnTo>
                      <a:lnTo>
                        <a:pt x="1211" y="992"/>
                      </a:lnTo>
                      <a:lnTo>
                        <a:pt x="1209" y="992"/>
                      </a:lnTo>
                      <a:lnTo>
                        <a:pt x="1209" y="994"/>
                      </a:lnTo>
                      <a:lnTo>
                        <a:pt x="1208" y="994"/>
                      </a:lnTo>
                      <a:lnTo>
                        <a:pt x="1206" y="994"/>
                      </a:lnTo>
                      <a:lnTo>
                        <a:pt x="1202" y="996"/>
                      </a:lnTo>
                      <a:lnTo>
                        <a:pt x="1200" y="997"/>
                      </a:lnTo>
                      <a:lnTo>
                        <a:pt x="1198" y="997"/>
                      </a:lnTo>
                      <a:lnTo>
                        <a:pt x="1198" y="999"/>
                      </a:lnTo>
                      <a:lnTo>
                        <a:pt x="1198" y="1001"/>
                      </a:lnTo>
                      <a:lnTo>
                        <a:pt x="1196" y="1001"/>
                      </a:lnTo>
                      <a:lnTo>
                        <a:pt x="1196" y="1003"/>
                      </a:lnTo>
                      <a:lnTo>
                        <a:pt x="1194" y="1003"/>
                      </a:lnTo>
                      <a:lnTo>
                        <a:pt x="1193" y="1005"/>
                      </a:lnTo>
                      <a:lnTo>
                        <a:pt x="1191" y="1007"/>
                      </a:lnTo>
                      <a:lnTo>
                        <a:pt x="1189" y="1007"/>
                      </a:lnTo>
                      <a:lnTo>
                        <a:pt x="1187" y="1007"/>
                      </a:lnTo>
                      <a:lnTo>
                        <a:pt x="1187" y="1009"/>
                      </a:lnTo>
                      <a:lnTo>
                        <a:pt x="1185" y="1009"/>
                      </a:lnTo>
                      <a:lnTo>
                        <a:pt x="1183" y="1009"/>
                      </a:lnTo>
                      <a:lnTo>
                        <a:pt x="1183" y="1011"/>
                      </a:lnTo>
                      <a:lnTo>
                        <a:pt x="1181" y="1011"/>
                      </a:lnTo>
                      <a:lnTo>
                        <a:pt x="1179" y="1011"/>
                      </a:lnTo>
                      <a:lnTo>
                        <a:pt x="1176" y="1016"/>
                      </a:lnTo>
                      <a:lnTo>
                        <a:pt x="1172" y="1016"/>
                      </a:lnTo>
                      <a:lnTo>
                        <a:pt x="1172" y="1018"/>
                      </a:lnTo>
                      <a:lnTo>
                        <a:pt x="1170" y="1018"/>
                      </a:lnTo>
                      <a:lnTo>
                        <a:pt x="1168" y="1020"/>
                      </a:lnTo>
                      <a:lnTo>
                        <a:pt x="1166" y="1022"/>
                      </a:lnTo>
                      <a:lnTo>
                        <a:pt x="1164" y="1022"/>
                      </a:lnTo>
                      <a:lnTo>
                        <a:pt x="1164" y="1024"/>
                      </a:lnTo>
                      <a:lnTo>
                        <a:pt x="1162" y="1024"/>
                      </a:lnTo>
                      <a:lnTo>
                        <a:pt x="1161" y="1026"/>
                      </a:lnTo>
                      <a:lnTo>
                        <a:pt x="1159" y="1026"/>
                      </a:lnTo>
                      <a:lnTo>
                        <a:pt x="1159" y="1028"/>
                      </a:lnTo>
                      <a:lnTo>
                        <a:pt x="1157" y="1029"/>
                      </a:lnTo>
                      <a:lnTo>
                        <a:pt x="1155" y="1029"/>
                      </a:lnTo>
                      <a:lnTo>
                        <a:pt x="1153" y="1031"/>
                      </a:lnTo>
                      <a:lnTo>
                        <a:pt x="1151" y="1031"/>
                      </a:lnTo>
                      <a:lnTo>
                        <a:pt x="1149" y="1033"/>
                      </a:lnTo>
                      <a:lnTo>
                        <a:pt x="1147" y="1035"/>
                      </a:lnTo>
                      <a:lnTo>
                        <a:pt x="1147" y="1037"/>
                      </a:lnTo>
                      <a:lnTo>
                        <a:pt x="1146" y="1039"/>
                      </a:lnTo>
                      <a:lnTo>
                        <a:pt x="1146" y="1041"/>
                      </a:lnTo>
                      <a:lnTo>
                        <a:pt x="1144" y="1041"/>
                      </a:lnTo>
                      <a:lnTo>
                        <a:pt x="1142" y="1041"/>
                      </a:lnTo>
                      <a:lnTo>
                        <a:pt x="1140" y="1041"/>
                      </a:lnTo>
                      <a:lnTo>
                        <a:pt x="1136" y="1043"/>
                      </a:lnTo>
                      <a:lnTo>
                        <a:pt x="1134" y="1043"/>
                      </a:lnTo>
                      <a:lnTo>
                        <a:pt x="1134" y="1044"/>
                      </a:lnTo>
                      <a:lnTo>
                        <a:pt x="1132" y="1044"/>
                      </a:lnTo>
                      <a:lnTo>
                        <a:pt x="1129" y="1046"/>
                      </a:lnTo>
                      <a:lnTo>
                        <a:pt x="1129" y="1048"/>
                      </a:lnTo>
                      <a:lnTo>
                        <a:pt x="1127" y="1048"/>
                      </a:lnTo>
                      <a:lnTo>
                        <a:pt x="1125" y="1048"/>
                      </a:lnTo>
                      <a:lnTo>
                        <a:pt x="1125" y="1050"/>
                      </a:lnTo>
                      <a:lnTo>
                        <a:pt x="1125" y="1052"/>
                      </a:lnTo>
                      <a:lnTo>
                        <a:pt x="1125" y="1050"/>
                      </a:lnTo>
                      <a:lnTo>
                        <a:pt x="1125" y="1052"/>
                      </a:lnTo>
                      <a:lnTo>
                        <a:pt x="1123" y="1052"/>
                      </a:lnTo>
                      <a:lnTo>
                        <a:pt x="1123" y="1054"/>
                      </a:lnTo>
                      <a:lnTo>
                        <a:pt x="1121" y="1056"/>
                      </a:lnTo>
                      <a:lnTo>
                        <a:pt x="1119" y="1058"/>
                      </a:lnTo>
                      <a:lnTo>
                        <a:pt x="1119" y="1060"/>
                      </a:lnTo>
                      <a:lnTo>
                        <a:pt x="1117" y="1060"/>
                      </a:lnTo>
                      <a:lnTo>
                        <a:pt x="1114" y="1061"/>
                      </a:lnTo>
                      <a:lnTo>
                        <a:pt x="1112" y="1061"/>
                      </a:lnTo>
                      <a:lnTo>
                        <a:pt x="1110" y="1061"/>
                      </a:lnTo>
                      <a:lnTo>
                        <a:pt x="1110" y="1063"/>
                      </a:lnTo>
                      <a:lnTo>
                        <a:pt x="1108" y="1063"/>
                      </a:lnTo>
                      <a:lnTo>
                        <a:pt x="1106" y="1063"/>
                      </a:lnTo>
                      <a:lnTo>
                        <a:pt x="1104" y="1063"/>
                      </a:lnTo>
                      <a:lnTo>
                        <a:pt x="1102" y="1065"/>
                      </a:lnTo>
                      <a:lnTo>
                        <a:pt x="1100" y="1065"/>
                      </a:lnTo>
                      <a:lnTo>
                        <a:pt x="1100" y="1067"/>
                      </a:lnTo>
                      <a:lnTo>
                        <a:pt x="1100" y="1069"/>
                      </a:lnTo>
                      <a:lnTo>
                        <a:pt x="1099" y="1069"/>
                      </a:lnTo>
                      <a:lnTo>
                        <a:pt x="1097" y="1071"/>
                      </a:lnTo>
                      <a:lnTo>
                        <a:pt x="1095" y="1071"/>
                      </a:lnTo>
                      <a:lnTo>
                        <a:pt x="1093" y="1071"/>
                      </a:lnTo>
                      <a:lnTo>
                        <a:pt x="1093" y="1073"/>
                      </a:lnTo>
                      <a:lnTo>
                        <a:pt x="1091" y="1073"/>
                      </a:lnTo>
                      <a:lnTo>
                        <a:pt x="1091" y="1075"/>
                      </a:lnTo>
                      <a:lnTo>
                        <a:pt x="1089" y="1075"/>
                      </a:lnTo>
                      <a:lnTo>
                        <a:pt x="1085" y="1075"/>
                      </a:lnTo>
                      <a:lnTo>
                        <a:pt x="1082" y="1075"/>
                      </a:lnTo>
                      <a:lnTo>
                        <a:pt x="1080" y="1076"/>
                      </a:lnTo>
                      <a:lnTo>
                        <a:pt x="1078" y="1076"/>
                      </a:lnTo>
                      <a:lnTo>
                        <a:pt x="1076" y="1076"/>
                      </a:lnTo>
                      <a:lnTo>
                        <a:pt x="1074" y="1078"/>
                      </a:lnTo>
                      <a:lnTo>
                        <a:pt x="1072" y="1078"/>
                      </a:lnTo>
                      <a:lnTo>
                        <a:pt x="1070" y="1078"/>
                      </a:lnTo>
                      <a:lnTo>
                        <a:pt x="1070" y="1080"/>
                      </a:lnTo>
                      <a:lnTo>
                        <a:pt x="1068" y="1080"/>
                      </a:lnTo>
                      <a:lnTo>
                        <a:pt x="1068" y="1082"/>
                      </a:lnTo>
                      <a:lnTo>
                        <a:pt x="1065" y="1082"/>
                      </a:lnTo>
                      <a:lnTo>
                        <a:pt x="1065" y="1084"/>
                      </a:lnTo>
                      <a:lnTo>
                        <a:pt x="1063" y="1084"/>
                      </a:lnTo>
                      <a:lnTo>
                        <a:pt x="1063" y="1086"/>
                      </a:lnTo>
                      <a:lnTo>
                        <a:pt x="1061" y="1086"/>
                      </a:lnTo>
                      <a:lnTo>
                        <a:pt x="1061" y="1088"/>
                      </a:lnTo>
                      <a:lnTo>
                        <a:pt x="1059" y="1088"/>
                      </a:lnTo>
                      <a:lnTo>
                        <a:pt x="1059" y="1090"/>
                      </a:lnTo>
                      <a:lnTo>
                        <a:pt x="1057" y="1090"/>
                      </a:lnTo>
                      <a:lnTo>
                        <a:pt x="1055" y="1090"/>
                      </a:lnTo>
                      <a:lnTo>
                        <a:pt x="1055" y="1092"/>
                      </a:lnTo>
                      <a:lnTo>
                        <a:pt x="1051" y="1092"/>
                      </a:lnTo>
                      <a:lnTo>
                        <a:pt x="1050" y="1093"/>
                      </a:lnTo>
                      <a:lnTo>
                        <a:pt x="1044" y="1093"/>
                      </a:lnTo>
                      <a:lnTo>
                        <a:pt x="1040" y="1095"/>
                      </a:lnTo>
                      <a:lnTo>
                        <a:pt x="1036" y="1095"/>
                      </a:lnTo>
                      <a:lnTo>
                        <a:pt x="1035" y="1097"/>
                      </a:lnTo>
                      <a:lnTo>
                        <a:pt x="1033" y="1097"/>
                      </a:lnTo>
                      <a:lnTo>
                        <a:pt x="1029" y="1097"/>
                      </a:lnTo>
                      <a:lnTo>
                        <a:pt x="1027" y="1099"/>
                      </a:lnTo>
                      <a:lnTo>
                        <a:pt x="1025" y="1099"/>
                      </a:lnTo>
                      <a:lnTo>
                        <a:pt x="1023" y="1099"/>
                      </a:lnTo>
                      <a:lnTo>
                        <a:pt x="1021" y="1101"/>
                      </a:lnTo>
                      <a:lnTo>
                        <a:pt x="1021" y="1103"/>
                      </a:lnTo>
                      <a:lnTo>
                        <a:pt x="1020" y="1103"/>
                      </a:lnTo>
                      <a:lnTo>
                        <a:pt x="1018" y="1103"/>
                      </a:lnTo>
                      <a:lnTo>
                        <a:pt x="1016" y="1105"/>
                      </a:lnTo>
                      <a:lnTo>
                        <a:pt x="1014" y="1105"/>
                      </a:lnTo>
                      <a:lnTo>
                        <a:pt x="1014" y="1107"/>
                      </a:lnTo>
                      <a:lnTo>
                        <a:pt x="1012" y="1107"/>
                      </a:lnTo>
                      <a:lnTo>
                        <a:pt x="1012" y="1108"/>
                      </a:lnTo>
                      <a:lnTo>
                        <a:pt x="1010" y="1108"/>
                      </a:lnTo>
                      <a:lnTo>
                        <a:pt x="1008" y="1108"/>
                      </a:lnTo>
                      <a:lnTo>
                        <a:pt x="1008" y="1110"/>
                      </a:lnTo>
                      <a:lnTo>
                        <a:pt x="1006" y="1112"/>
                      </a:lnTo>
                      <a:lnTo>
                        <a:pt x="1004" y="1112"/>
                      </a:lnTo>
                      <a:lnTo>
                        <a:pt x="1003" y="1112"/>
                      </a:lnTo>
                      <a:lnTo>
                        <a:pt x="1001" y="1112"/>
                      </a:lnTo>
                      <a:lnTo>
                        <a:pt x="999" y="1114"/>
                      </a:lnTo>
                      <a:lnTo>
                        <a:pt x="999" y="1116"/>
                      </a:lnTo>
                      <a:lnTo>
                        <a:pt x="997" y="1116"/>
                      </a:lnTo>
                      <a:lnTo>
                        <a:pt x="995" y="1118"/>
                      </a:lnTo>
                      <a:lnTo>
                        <a:pt x="995" y="1120"/>
                      </a:lnTo>
                      <a:lnTo>
                        <a:pt x="993" y="1120"/>
                      </a:lnTo>
                      <a:lnTo>
                        <a:pt x="991" y="1120"/>
                      </a:lnTo>
                      <a:lnTo>
                        <a:pt x="988" y="1120"/>
                      </a:lnTo>
                      <a:lnTo>
                        <a:pt x="984" y="1122"/>
                      </a:lnTo>
                      <a:lnTo>
                        <a:pt x="984" y="1124"/>
                      </a:lnTo>
                      <a:lnTo>
                        <a:pt x="982" y="1124"/>
                      </a:lnTo>
                      <a:lnTo>
                        <a:pt x="982" y="1125"/>
                      </a:lnTo>
                      <a:lnTo>
                        <a:pt x="980" y="1125"/>
                      </a:lnTo>
                      <a:lnTo>
                        <a:pt x="980" y="1127"/>
                      </a:lnTo>
                      <a:lnTo>
                        <a:pt x="978" y="1127"/>
                      </a:lnTo>
                      <a:lnTo>
                        <a:pt x="976" y="1127"/>
                      </a:lnTo>
                      <a:lnTo>
                        <a:pt x="976" y="1129"/>
                      </a:lnTo>
                      <a:lnTo>
                        <a:pt x="974" y="1129"/>
                      </a:lnTo>
                      <a:lnTo>
                        <a:pt x="972" y="1129"/>
                      </a:lnTo>
                      <a:lnTo>
                        <a:pt x="972" y="1131"/>
                      </a:lnTo>
                      <a:lnTo>
                        <a:pt x="971" y="1131"/>
                      </a:lnTo>
                      <a:lnTo>
                        <a:pt x="969" y="1131"/>
                      </a:lnTo>
                      <a:lnTo>
                        <a:pt x="967" y="1131"/>
                      </a:lnTo>
                      <a:lnTo>
                        <a:pt x="965" y="1133"/>
                      </a:lnTo>
                      <a:lnTo>
                        <a:pt x="963" y="1133"/>
                      </a:lnTo>
                      <a:lnTo>
                        <a:pt x="961" y="1133"/>
                      </a:lnTo>
                      <a:lnTo>
                        <a:pt x="961" y="1135"/>
                      </a:lnTo>
                      <a:lnTo>
                        <a:pt x="959" y="1135"/>
                      </a:lnTo>
                      <a:lnTo>
                        <a:pt x="957" y="1135"/>
                      </a:lnTo>
                      <a:lnTo>
                        <a:pt x="956" y="1135"/>
                      </a:lnTo>
                      <a:lnTo>
                        <a:pt x="954" y="1137"/>
                      </a:lnTo>
                      <a:lnTo>
                        <a:pt x="952" y="1137"/>
                      </a:lnTo>
                      <a:lnTo>
                        <a:pt x="948" y="1135"/>
                      </a:lnTo>
                      <a:lnTo>
                        <a:pt x="946" y="1135"/>
                      </a:lnTo>
                      <a:lnTo>
                        <a:pt x="944" y="1135"/>
                      </a:lnTo>
                      <a:lnTo>
                        <a:pt x="942" y="1133"/>
                      </a:lnTo>
                      <a:lnTo>
                        <a:pt x="931" y="1133"/>
                      </a:lnTo>
                      <a:lnTo>
                        <a:pt x="929" y="1133"/>
                      </a:lnTo>
                      <a:lnTo>
                        <a:pt x="924" y="1133"/>
                      </a:lnTo>
                      <a:lnTo>
                        <a:pt x="922" y="1135"/>
                      </a:lnTo>
                      <a:lnTo>
                        <a:pt x="918" y="1135"/>
                      </a:lnTo>
                      <a:lnTo>
                        <a:pt x="916" y="1135"/>
                      </a:lnTo>
                      <a:lnTo>
                        <a:pt x="907" y="1133"/>
                      </a:lnTo>
                      <a:lnTo>
                        <a:pt x="905" y="1133"/>
                      </a:lnTo>
                      <a:lnTo>
                        <a:pt x="905" y="1131"/>
                      </a:lnTo>
                      <a:lnTo>
                        <a:pt x="901" y="1129"/>
                      </a:lnTo>
                      <a:lnTo>
                        <a:pt x="890" y="1125"/>
                      </a:lnTo>
                      <a:lnTo>
                        <a:pt x="882" y="1122"/>
                      </a:lnTo>
                      <a:lnTo>
                        <a:pt x="877" y="1120"/>
                      </a:lnTo>
                      <a:lnTo>
                        <a:pt x="873" y="1120"/>
                      </a:lnTo>
                      <a:lnTo>
                        <a:pt x="869" y="1118"/>
                      </a:lnTo>
                      <a:lnTo>
                        <a:pt x="860" y="1116"/>
                      </a:lnTo>
                      <a:lnTo>
                        <a:pt x="854" y="1116"/>
                      </a:lnTo>
                      <a:lnTo>
                        <a:pt x="845" y="1116"/>
                      </a:lnTo>
                      <a:lnTo>
                        <a:pt x="837" y="1116"/>
                      </a:lnTo>
                      <a:lnTo>
                        <a:pt x="822" y="1116"/>
                      </a:lnTo>
                      <a:lnTo>
                        <a:pt x="813" y="1118"/>
                      </a:lnTo>
                      <a:lnTo>
                        <a:pt x="805" y="1118"/>
                      </a:lnTo>
                      <a:lnTo>
                        <a:pt x="801" y="1120"/>
                      </a:lnTo>
                      <a:lnTo>
                        <a:pt x="799" y="1120"/>
                      </a:lnTo>
                      <a:lnTo>
                        <a:pt x="798" y="1122"/>
                      </a:lnTo>
                      <a:lnTo>
                        <a:pt x="796" y="1122"/>
                      </a:lnTo>
                      <a:lnTo>
                        <a:pt x="794" y="1122"/>
                      </a:lnTo>
                      <a:lnTo>
                        <a:pt x="788" y="1124"/>
                      </a:lnTo>
                      <a:lnTo>
                        <a:pt x="786" y="1125"/>
                      </a:lnTo>
                      <a:lnTo>
                        <a:pt x="781" y="1127"/>
                      </a:lnTo>
                      <a:lnTo>
                        <a:pt x="779" y="1129"/>
                      </a:lnTo>
                      <a:lnTo>
                        <a:pt x="777" y="1129"/>
                      </a:lnTo>
                      <a:lnTo>
                        <a:pt x="775" y="1129"/>
                      </a:lnTo>
                      <a:lnTo>
                        <a:pt x="775" y="1131"/>
                      </a:lnTo>
                      <a:lnTo>
                        <a:pt x="773" y="1133"/>
                      </a:lnTo>
                      <a:lnTo>
                        <a:pt x="771" y="1133"/>
                      </a:lnTo>
                      <a:lnTo>
                        <a:pt x="771" y="1135"/>
                      </a:lnTo>
                      <a:lnTo>
                        <a:pt x="767" y="1135"/>
                      </a:lnTo>
                      <a:lnTo>
                        <a:pt x="764" y="1139"/>
                      </a:lnTo>
                      <a:lnTo>
                        <a:pt x="762" y="1139"/>
                      </a:lnTo>
                      <a:lnTo>
                        <a:pt x="762" y="1140"/>
                      </a:lnTo>
                      <a:lnTo>
                        <a:pt x="758" y="1142"/>
                      </a:lnTo>
                      <a:lnTo>
                        <a:pt x="756" y="1144"/>
                      </a:lnTo>
                      <a:lnTo>
                        <a:pt x="754" y="1144"/>
                      </a:lnTo>
                      <a:lnTo>
                        <a:pt x="754" y="1146"/>
                      </a:lnTo>
                      <a:lnTo>
                        <a:pt x="751" y="1148"/>
                      </a:lnTo>
                      <a:lnTo>
                        <a:pt x="749" y="1152"/>
                      </a:lnTo>
                      <a:lnTo>
                        <a:pt x="745" y="1156"/>
                      </a:lnTo>
                      <a:lnTo>
                        <a:pt x="743" y="1159"/>
                      </a:lnTo>
                      <a:lnTo>
                        <a:pt x="743" y="1161"/>
                      </a:lnTo>
                      <a:lnTo>
                        <a:pt x="741" y="1163"/>
                      </a:lnTo>
                      <a:lnTo>
                        <a:pt x="741" y="1165"/>
                      </a:lnTo>
                      <a:lnTo>
                        <a:pt x="739" y="1165"/>
                      </a:lnTo>
                      <a:lnTo>
                        <a:pt x="739" y="1167"/>
                      </a:lnTo>
                      <a:lnTo>
                        <a:pt x="739" y="1171"/>
                      </a:lnTo>
                      <a:lnTo>
                        <a:pt x="737" y="1171"/>
                      </a:lnTo>
                      <a:lnTo>
                        <a:pt x="737" y="1172"/>
                      </a:lnTo>
                      <a:lnTo>
                        <a:pt x="737" y="1174"/>
                      </a:lnTo>
                      <a:lnTo>
                        <a:pt x="735" y="1178"/>
                      </a:lnTo>
                      <a:lnTo>
                        <a:pt x="735" y="1180"/>
                      </a:lnTo>
                      <a:lnTo>
                        <a:pt x="735" y="1182"/>
                      </a:lnTo>
                      <a:lnTo>
                        <a:pt x="735" y="1184"/>
                      </a:lnTo>
                      <a:lnTo>
                        <a:pt x="734" y="1186"/>
                      </a:lnTo>
                      <a:lnTo>
                        <a:pt x="734" y="1188"/>
                      </a:lnTo>
                      <a:lnTo>
                        <a:pt x="735" y="1189"/>
                      </a:lnTo>
                      <a:lnTo>
                        <a:pt x="734" y="1189"/>
                      </a:lnTo>
                      <a:lnTo>
                        <a:pt x="735" y="1189"/>
                      </a:lnTo>
                      <a:lnTo>
                        <a:pt x="735" y="1191"/>
                      </a:lnTo>
                      <a:lnTo>
                        <a:pt x="737" y="1191"/>
                      </a:lnTo>
                      <a:lnTo>
                        <a:pt x="737" y="1193"/>
                      </a:lnTo>
                      <a:lnTo>
                        <a:pt x="739" y="1193"/>
                      </a:lnTo>
                      <a:lnTo>
                        <a:pt x="741" y="1193"/>
                      </a:lnTo>
                      <a:lnTo>
                        <a:pt x="739" y="1193"/>
                      </a:lnTo>
                      <a:lnTo>
                        <a:pt x="739" y="1195"/>
                      </a:lnTo>
                      <a:lnTo>
                        <a:pt x="741" y="1195"/>
                      </a:lnTo>
                      <a:lnTo>
                        <a:pt x="739" y="1195"/>
                      </a:lnTo>
                      <a:lnTo>
                        <a:pt x="741" y="1195"/>
                      </a:lnTo>
                      <a:lnTo>
                        <a:pt x="739" y="1195"/>
                      </a:lnTo>
                      <a:lnTo>
                        <a:pt x="739" y="1197"/>
                      </a:lnTo>
                      <a:lnTo>
                        <a:pt x="741" y="1197"/>
                      </a:lnTo>
                      <a:lnTo>
                        <a:pt x="741" y="1195"/>
                      </a:lnTo>
                      <a:lnTo>
                        <a:pt x="743" y="1195"/>
                      </a:lnTo>
                      <a:lnTo>
                        <a:pt x="743" y="1197"/>
                      </a:lnTo>
                      <a:lnTo>
                        <a:pt x="743" y="1199"/>
                      </a:lnTo>
                      <a:lnTo>
                        <a:pt x="745" y="1199"/>
                      </a:lnTo>
                      <a:lnTo>
                        <a:pt x="747" y="1201"/>
                      </a:lnTo>
                      <a:lnTo>
                        <a:pt x="751" y="1201"/>
                      </a:lnTo>
                      <a:lnTo>
                        <a:pt x="751" y="1203"/>
                      </a:lnTo>
                      <a:lnTo>
                        <a:pt x="752" y="1204"/>
                      </a:lnTo>
                      <a:lnTo>
                        <a:pt x="752" y="1206"/>
                      </a:lnTo>
                      <a:lnTo>
                        <a:pt x="754" y="1206"/>
                      </a:lnTo>
                      <a:lnTo>
                        <a:pt x="754" y="1208"/>
                      </a:lnTo>
                      <a:lnTo>
                        <a:pt x="754" y="1210"/>
                      </a:lnTo>
                      <a:lnTo>
                        <a:pt x="756" y="1210"/>
                      </a:lnTo>
                      <a:lnTo>
                        <a:pt x="756" y="1212"/>
                      </a:lnTo>
                      <a:lnTo>
                        <a:pt x="756" y="1214"/>
                      </a:lnTo>
                      <a:lnTo>
                        <a:pt x="758" y="1214"/>
                      </a:lnTo>
                      <a:lnTo>
                        <a:pt x="758" y="1216"/>
                      </a:lnTo>
                      <a:lnTo>
                        <a:pt x="756" y="1216"/>
                      </a:lnTo>
                      <a:lnTo>
                        <a:pt x="754" y="1216"/>
                      </a:lnTo>
                      <a:lnTo>
                        <a:pt x="752" y="1216"/>
                      </a:lnTo>
                      <a:lnTo>
                        <a:pt x="752" y="1214"/>
                      </a:lnTo>
                      <a:lnTo>
                        <a:pt x="751" y="1214"/>
                      </a:lnTo>
                      <a:lnTo>
                        <a:pt x="749" y="1214"/>
                      </a:lnTo>
                      <a:lnTo>
                        <a:pt x="747" y="1214"/>
                      </a:lnTo>
                      <a:lnTo>
                        <a:pt x="745" y="1216"/>
                      </a:lnTo>
                      <a:lnTo>
                        <a:pt x="743" y="1216"/>
                      </a:lnTo>
                      <a:lnTo>
                        <a:pt x="743" y="1218"/>
                      </a:lnTo>
                      <a:lnTo>
                        <a:pt x="741" y="1220"/>
                      </a:lnTo>
                      <a:lnTo>
                        <a:pt x="741" y="1221"/>
                      </a:lnTo>
                      <a:lnTo>
                        <a:pt x="739" y="1221"/>
                      </a:lnTo>
                      <a:lnTo>
                        <a:pt x="737" y="1221"/>
                      </a:lnTo>
                      <a:lnTo>
                        <a:pt x="735" y="1221"/>
                      </a:lnTo>
                      <a:lnTo>
                        <a:pt x="735" y="1220"/>
                      </a:lnTo>
                      <a:lnTo>
                        <a:pt x="734" y="1220"/>
                      </a:lnTo>
                      <a:lnTo>
                        <a:pt x="734" y="1221"/>
                      </a:lnTo>
                      <a:lnTo>
                        <a:pt x="732" y="1221"/>
                      </a:lnTo>
                      <a:lnTo>
                        <a:pt x="730" y="1221"/>
                      </a:lnTo>
                      <a:lnTo>
                        <a:pt x="728" y="1221"/>
                      </a:lnTo>
                      <a:lnTo>
                        <a:pt x="726" y="1221"/>
                      </a:lnTo>
                      <a:lnTo>
                        <a:pt x="724" y="1221"/>
                      </a:lnTo>
                      <a:lnTo>
                        <a:pt x="724" y="1220"/>
                      </a:lnTo>
                      <a:lnTo>
                        <a:pt x="722" y="1220"/>
                      </a:lnTo>
                      <a:lnTo>
                        <a:pt x="722" y="1221"/>
                      </a:lnTo>
                      <a:lnTo>
                        <a:pt x="722" y="1220"/>
                      </a:lnTo>
                      <a:lnTo>
                        <a:pt x="720" y="1220"/>
                      </a:lnTo>
                      <a:lnTo>
                        <a:pt x="719" y="1220"/>
                      </a:lnTo>
                      <a:lnTo>
                        <a:pt x="717" y="1220"/>
                      </a:lnTo>
                      <a:lnTo>
                        <a:pt x="715" y="1220"/>
                      </a:lnTo>
                      <a:lnTo>
                        <a:pt x="713" y="1218"/>
                      </a:lnTo>
                      <a:lnTo>
                        <a:pt x="711" y="1218"/>
                      </a:lnTo>
                      <a:lnTo>
                        <a:pt x="709" y="1218"/>
                      </a:lnTo>
                      <a:lnTo>
                        <a:pt x="707" y="1218"/>
                      </a:lnTo>
                      <a:lnTo>
                        <a:pt x="705" y="1218"/>
                      </a:lnTo>
                      <a:lnTo>
                        <a:pt x="704" y="1218"/>
                      </a:lnTo>
                      <a:lnTo>
                        <a:pt x="702" y="1218"/>
                      </a:lnTo>
                      <a:lnTo>
                        <a:pt x="702" y="1216"/>
                      </a:lnTo>
                      <a:lnTo>
                        <a:pt x="702" y="1218"/>
                      </a:lnTo>
                      <a:lnTo>
                        <a:pt x="702" y="1216"/>
                      </a:lnTo>
                      <a:lnTo>
                        <a:pt x="700" y="1216"/>
                      </a:lnTo>
                      <a:lnTo>
                        <a:pt x="698" y="1216"/>
                      </a:lnTo>
                      <a:lnTo>
                        <a:pt x="696" y="1216"/>
                      </a:lnTo>
                      <a:lnTo>
                        <a:pt x="694" y="1216"/>
                      </a:lnTo>
                      <a:lnTo>
                        <a:pt x="692" y="1216"/>
                      </a:lnTo>
                      <a:lnTo>
                        <a:pt x="692" y="1218"/>
                      </a:lnTo>
                      <a:lnTo>
                        <a:pt x="690" y="1218"/>
                      </a:lnTo>
                      <a:lnTo>
                        <a:pt x="688" y="1218"/>
                      </a:lnTo>
                      <a:lnTo>
                        <a:pt x="687" y="1218"/>
                      </a:lnTo>
                      <a:lnTo>
                        <a:pt x="685" y="1218"/>
                      </a:lnTo>
                      <a:lnTo>
                        <a:pt x="685" y="1216"/>
                      </a:lnTo>
                      <a:lnTo>
                        <a:pt x="685" y="1218"/>
                      </a:lnTo>
                      <a:lnTo>
                        <a:pt x="683" y="1218"/>
                      </a:lnTo>
                      <a:lnTo>
                        <a:pt x="681" y="1218"/>
                      </a:lnTo>
                      <a:lnTo>
                        <a:pt x="681" y="1216"/>
                      </a:lnTo>
                      <a:lnTo>
                        <a:pt x="679" y="1216"/>
                      </a:lnTo>
                      <a:lnTo>
                        <a:pt x="677" y="1214"/>
                      </a:lnTo>
                      <a:lnTo>
                        <a:pt x="675" y="1214"/>
                      </a:lnTo>
                      <a:lnTo>
                        <a:pt x="672" y="1212"/>
                      </a:lnTo>
                      <a:lnTo>
                        <a:pt x="670" y="1212"/>
                      </a:lnTo>
                      <a:lnTo>
                        <a:pt x="668" y="1212"/>
                      </a:lnTo>
                      <a:lnTo>
                        <a:pt x="668" y="1210"/>
                      </a:lnTo>
                      <a:lnTo>
                        <a:pt x="666" y="1210"/>
                      </a:lnTo>
                      <a:lnTo>
                        <a:pt x="664" y="1208"/>
                      </a:lnTo>
                      <a:lnTo>
                        <a:pt x="662" y="1208"/>
                      </a:lnTo>
                      <a:lnTo>
                        <a:pt x="660" y="1206"/>
                      </a:lnTo>
                      <a:lnTo>
                        <a:pt x="658" y="1204"/>
                      </a:lnTo>
                      <a:lnTo>
                        <a:pt x="656" y="1204"/>
                      </a:lnTo>
                      <a:lnTo>
                        <a:pt x="655" y="1204"/>
                      </a:lnTo>
                      <a:lnTo>
                        <a:pt x="653" y="1203"/>
                      </a:lnTo>
                      <a:lnTo>
                        <a:pt x="651" y="1203"/>
                      </a:lnTo>
                      <a:lnTo>
                        <a:pt x="643" y="1199"/>
                      </a:lnTo>
                      <a:lnTo>
                        <a:pt x="641" y="1199"/>
                      </a:lnTo>
                      <a:lnTo>
                        <a:pt x="640" y="1199"/>
                      </a:lnTo>
                      <a:lnTo>
                        <a:pt x="638" y="1199"/>
                      </a:lnTo>
                      <a:lnTo>
                        <a:pt x="636" y="1197"/>
                      </a:lnTo>
                      <a:lnTo>
                        <a:pt x="630" y="1197"/>
                      </a:lnTo>
                      <a:lnTo>
                        <a:pt x="617" y="1195"/>
                      </a:lnTo>
                      <a:lnTo>
                        <a:pt x="606" y="1195"/>
                      </a:lnTo>
                      <a:lnTo>
                        <a:pt x="600" y="1195"/>
                      </a:lnTo>
                      <a:lnTo>
                        <a:pt x="598" y="1195"/>
                      </a:lnTo>
                      <a:lnTo>
                        <a:pt x="589" y="1197"/>
                      </a:lnTo>
                      <a:lnTo>
                        <a:pt x="587" y="1197"/>
                      </a:lnTo>
                      <a:lnTo>
                        <a:pt x="585" y="1199"/>
                      </a:lnTo>
                      <a:lnTo>
                        <a:pt x="583" y="1199"/>
                      </a:lnTo>
                      <a:lnTo>
                        <a:pt x="579" y="1199"/>
                      </a:lnTo>
                      <a:lnTo>
                        <a:pt x="577" y="1199"/>
                      </a:lnTo>
                      <a:lnTo>
                        <a:pt x="576" y="1201"/>
                      </a:lnTo>
                      <a:lnTo>
                        <a:pt x="570" y="1203"/>
                      </a:lnTo>
                      <a:lnTo>
                        <a:pt x="566" y="1206"/>
                      </a:lnTo>
                      <a:lnTo>
                        <a:pt x="564" y="1206"/>
                      </a:lnTo>
                      <a:lnTo>
                        <a:pt x="562" y="1208"/>
                      </a:lnTo>
                      <a:lnTo>
                        <a:pt x="561" y="1210"/>
                      </a:lnTo>
                      <a:lnTo>
                        <a:pt x="561" y="1212"/>
                      </a:lnTo>
                      <a:lnTo>
                        <a:pt x="561" y="1214"/>
                      </a:lnTo>
                      <a:lnTo>
                        <a:pt x="561" y="1216"/>
                      </a:lnTo>
                      <a:lnTo>
                        <a:pt x="561" y="1218"/>
                      </a:lnTo>
                      <a:lnTo>
                        <a:pt x="561" y="1220"/>
                      </a:lnTo>
                      <a:lnTo>
                        <a:pt x="561" y="1221"/>
                      </a:lnTo>
                      <a:lnTo>
                        <a:pt x="559" y="1221"/>
                      </a:lnTo>
                      <a:lnTo>
                        <a:pt x="559" y="1223"/>
                      </a:lnTo>
                      <a:lnTo>
                        <a:pt x="561" y="1225"/>
                      </a:lnTo>
                      <a:lnTo>
                        <a:pt x="559" y="1225"/>
                      </a:lnTo>
                      <a:lnTo>
                        <a:pt x="559" y="1227"/>
                      </a:lnTo>
                      <a:lnTo>
                        <a:pt x="559" y="1231"/>
                      </a:lnTo>
                      <a:lnTo>
                        <a:pt x="557" y="1233"/>
                      </a:lnTo>
                      <a:lnTo>
                        <a:pt x="555" y="1233"/>
                      </a:lnTo>
                      <a:lnTo>
                        <a:pt x="555" y="1235"/>
                      </a:lnTo>
                      <a:lnTo>
                        <a:pt x="553" y="1236"/>
                      </a:lnTo>
                      <a:lnTo>
                        <a:pt x="549" y="1240"/>
                      </a:lnTo>
                      <a:lnTo>
                        <a:pt x="547" y="1242"/>
                      </a:lnTo>
                      <a:lnTo>
                        <a:pt x="546" y="1242"/>
                      </a:lnTo>
                      <a:lnTo>
                        <a:pt x="546" y="1244"/>
                      </a:lnTo>
                      <a:lnTo>
                        <a:pt x="544" y="1244"/>
                      </a:lnTo>
                      <a:lnTo>
                        <a:pt x="542" y="1246"/>
                      </a:lnTo>
                      <a:lnTo>
                        <a:pt x="542" y="1248"/>
                      </a:lnTo>
                      <a:lnTo>
                        <a:pt x="540" y="1250"/>
                      </a:lnTo>
                      <a:lnTo>
                        <a:pt x="538" y="1250"/>
                      </a:lnTo>
                      <a:lnTo>
                        <a:pt x="538" y="1253"/>
                      </a:lnTo>
                      <a:lnTo>
                        <a:pt x="536" y="1255"/>
                      </a:lnTo>
                      <a:lnTo>
                        <a:pt x="536" y="1257"/>
                      </a:lnTo>
                      <a:lnTo>
                        <a:pt x="536" y="1259"/>
                      </a:lnTo>
                      <a:lnTo>
                        <a:pt x="538" y="1261"/>
                      </a:lnTo>
                      <a:lnTo>
                        <a:pt x="540" y="1261"/>
                      </a:lnTo>
                      <a:lnTo>
                        <a:pt x="540" y="1263"/>
                      </a:lnTo>
                      <a:lnTo>
                        <a:pt x="542" y="1263"/>
                      </a:lnTo>
                      <a:lnTo>
                        <a:pt x="542" y="1265"/>
                      </a:lnTo>
                      <a:lnTo>
                        <a:pt x="544" y="1265"/>
                      </a:lnTo>
                      <a:lnTo>
                        <a:pt x="544" y="1267"/>
                      </a:lnTo>
                      <a:lnTo>
                        <a:pt x="546" y="1267"/>
                      </a:lnTo>
                      <a:lnTo>
                        <a:pt x="544" y="1267"/>
                      </a:lnTo>
                      <a:lnTo>
                        <a:pt x="542" y="1267"/>
                      </a:lnTo>
                      <a:lnTo>
                        <a:pt x="540" y="1267"/>
                      </a:lnTo>
                      <a:lnTo>
                        <a:pt x="538" y="1267"/>
                      </a:lnTo>
                      <a:lnTo>
                        <a:pt x="536" y="1268"/>
                      </a:lnTo>
                      <a:lnTo>
                        <a:pt x="536" y="1270"/>
                      </a:lnTo>
                      <a:lnTo>
                        <a:pt x="536" y="1272"/>
                      </a:lnTo>
                      <a:lnTo>
                        <a:pt x="534" y="1272"/>
                      </a:lnTo>
                      <a:lnTo>
                        <a:pt x="534" y="1270"/>
                      </a:lnTo>
                      <a:lnTo>
                        <a:pt x="532" y="1270"/>
                      </a:lnTo>
                      <a:lnTo>
                        <a:pt x="529" y="1268"/>
                      </a:lnTo>
                      <a:lnTo>
                        <a:pt x="527" y="1268"/>
                      </a:lnTo>
                      <a:lnTo>
                        <a:pt x="527" y="1267"/>
                      </a:lnTo>
                      <a:lnTo>
                        <a:pt x="525" y="1267"/>
                      </a:lnTo>
                      <a:lnTo>
                        <a:pt x="525" y="1268"/>
                      </a:lnTo>
                      <a:lnTo>
                        <a:pt x="523" y="1268"/>
                      </a:lnTo>
                      <a:lnTo>
                        <a:pt x="521" y="1268"/>
                      </a:lnTo>
                      <a:lnTo>
                        <a:pt x="521" y="1267"/>
                      </a:lnTo>
                      <a:lnTo>
                        <a:pt x="521" y="1268"/>
                      </a:lnTo>
                      <a:lnTo>
                        <a:pt x="519" y="1268"/>
                      </a:lnTo>
                      <a:lnTo>
                        <a:pt x="519" y="1267"/>
                      </a:lnTo>
                      <a:lnTo>
                        <a:pt x="517" y="1267"/>
                      </a:lnTo>
                      <a:lnTo>
                        <a:pt x="515" y="1267"/>
                      </a:lnTo>
                      <a:lnTo>
                        <a:pt x="515" y="1265"/>
                      </a:lnTo>
                      <a:lnTo>
                        <a:pt x="514" y="1265"/>
                      </a:lnTo>
                      <a:lnTo>
                        <a:pt x="512" y="1265"/>
                      </a:lnTo>
                      <a:lnTo>
                        <a:pt x="510" y="1265"/>
                      </a:lnTo>
                      <a:lnTo>
                        <a:pt x="508" y="1265"/>
                      </a:lnTo>
                      <a:lnTo>
                        <a:pt x="506" y="1265"/>
                      </a:lnTo>
                      <a:lnTo>
                        <a:pt x="506" y="1267"/>
                      </a:lnTo>
                      <a:lnTo>
                        <a:pt x="502" y="1265"/>
                      </a:lnTo>
                      <a:lnTo>
                        <a:pt x="500" y="1265"/>
                      </a:lnTo>
                      <a:lnTo>
                        <a:pt x="498" y="1265"/>
                      </a:lnTo>
                      <a:lnTo>
                        <a:pt x="498" y="1263"/>
                      </a:lnTo>
                      <a:lnTo>
                        <a:pt x="497" y="1263"/>
                      </a:lnTo>
                      <a:lnTo>
                        <a:pt x="495" y="1263"/>
                      </a:lnTo>
                      <a:lnTo>
                        <a:pt x="495" y="1261"/>
                      </a:lnTo>
                      <a:lnTo>
                        <a:pt x="493" y="1261"/>
                      </a:lnTo>
                      <a:lnTo>
                        <a:pt x="491" y="1261"/>
                      </a:lnTo>
                      <a:lnTo>
                        <a:pt x="487" y="1259"/>
                      </a:lnTo>
                      <a:lnTo>
                        <a:pt x="485" y="1259"/>
                      </a:lnTo>
                      <a:lnTo>
                        <a:pt x="483" y="1259"/>
                      </a:lnTo>
                      <a:lnTo>
                        <a:pt x="482" y="1259"/>
                      </a:lnTo>
                      <a:lnTo>
                        <a:pt x="480" y="1261"/>
                      </a:lnTo>
                      <a:lnTo>
                        <a:pt x="478" y="1263"/>
                      </a:lnTo>
                      <a:lnTo>
                        <a:pt x="478" y="1265"/>
                      </a:lnTo>
                      <a:lnTo>
                        <a:pt x="476" y="1265"/>
                      </a:lnTo>
                      <a:lnTo>
                        <a:pt x="474" y="1265"/>
                      </a:lnTo>
                      <a:lnTo>
                        <a:pt x="474" y="1263"/>
                      </a:lnTo>
                      <a:lnTo>
                        <a:pt x="472" y="1263"/>
                      </a:lnTo>
                      <a:lnTo>
                        <a:pt x="472" y="1265"/>
                      </a:lnTo>
                      <a:lnTo>
                        <a:pt x="472" y="1263"/>
                      </a:lnTo>
                      <a:lnTo>
                        <a:pt x="470" y="1263"/>
                      </a:lnTo>
                      <a:lnTo>
                        <a:pt x="468" y="1263"/>
                      </a:lnTo>
                      <a:lnTo>
                        <a:pt x="467" y="1261"/>
                      </a:lnTo>
                      <a:lnTo>
                        <a:pt x="465" y="1261"/>
                      </a:lnTo>
                      <a:lnTo>
                        <a:pt x="463" y="1261"/>
                      </a:lnTo>
                      <a:lnTo>
                        <a:pt x="463" y="1259"/>
                      </a:lnTo>
                      <a:lnTo>
                        <a:pt x="461" y="1259"/>
                      </a:lnTo>
                      <a:lnTo>
                        <a:pt x="461" y="1261"/>
                      </a:lnTo>
                      <a:lnTo>
                        <a:pt x="461" y="1259"/>
                      </a:lnTo>
                      <a:lnTo>
                        <a:pt x="459" y="1259"/>
                      </a:lnTo>
                      <a:lnTo>
                        <a:pt x="455" y="1259"/>
                      </a:lnTo>
                      <a:lnTo>
                        <a:pt x="453" y="1259"/>
                      </a:lnTo>
                      <a:lnTo>
                        <a:pt x="451" y="1259"/>
                      </a:lnTo>
                      <a:lnTo>
                        <a:pt x="451" y="1257"/>
                      </a:lnTo>
                      <a:lnTo>
                        <a:pt x="450" y="1257"/>
                      </a:lnTo>
                      <a:lnTo>
                        <a:pt x="450" y="1259"/>
                      </a:lnTo>
                      <a:lnTo>
                        <a:pt x="448" y="1259"/>
                      </a:lnTo>
                      <a:lnTo>
                        <a:pt x="448" y="1257"/>
                      </a:lnTo>
                      <a:lnTo>
                        <a:pt x="446" y="1257"/>
                      </a:lnTo>
                      <a:lnTo>
                        <a:pt x="444" y="1255"/>
                      </a:lnTo>
                      <a:lnTo>
                        <a:pt x="440" y="1253"/>
                      </a:lnTo>
                      <a:lnTo>
                        <a:pt x="438" y="1253"/>
                      </a:lnTo>
                      <a:lnTo>
                        <a:pt x="438" y="1252"/>
                      </a:lnTo>
                      <a:lnTo>
                        <a:pt x="436" y="1252"/>
                      </a:lnTo>
                      <a:lnTo>
                        <a:pt x="436" y="1250"/>
                      </a:lnTo>
                      <a:lnTo>
                        <a:pt x="435" y="1250"/>
                      </a:lnTo>
                      <a:lnTo>
                        <a:pt x="435" y="1248"/>
                      </a:lnTo>
                      <a:lnTo>
                        <a:pt x="433" y="1246"/>
                      </a:lnTo>
                      <a:lnTo>
                        <a:pt x="429" y="1244"/>
                      </a:lnTo>
                      <a:lnTo>
                        <a:pt x="427" y="1242"/>
                      </a:lnTo>
                      <a:lnTo>
                        <a:pt x="425" y="1242"/>
                      </a:lnTo>
                      <a:lnTo>
                        <a:pt x="425" y="1240"/>
                      </a:lnTo>
                      <a:lnTo>
                        <a:pt x="423" y="1240"/>
                      </a:lnTo>
                      <a:lnTo>
                        <a:pt x="421" y="1240"/>
                      </a:lnTo>
                      <a:lnTo>
                        <a:pt x="421" y="1238"/>
                      </a:lnTo>
                      <a:lnTo>
                        <a:pt x="419" y="1238"/>
                      </a:lnTo>
                      <a:lnTo>
                        <a:pt x="418" y="1238"/>
                      </a:lnTo>
                      <a:lnTo>
                        <a:pt x="416" y="1238"/>
                      </a:lnTo>
                      <a:lnTo>
                        <a:pt x="414" y="1238"/>
                      </a:lnTo>
                      <a:lnTo>
                        <a:pt x="412" y="1238"/>
                      </a:lnTo>
                      <a:lnTo>
                        <a:pt x="410" y="1238"/>
                      </a:lnTo>
                      <a:lnTo>
                        <a:pt x="406" y="1238"/>
                      </a:lnTo>
                      <a:lnTo>
                        <a:pt x="404" y="1238"/>
                      </a:lnTo>
                      <a:lnTo>
                        <a:pt x="403" y="1238"/>
                      </a:lnTo>
                      <a:lnTo>
                        <a:pt x="403" y="1236"/>
                      </a:lnTo>
                      <a:lnTo>
                        <a:pt x="401" y="1236"/>
                      </a:lnTo>
                      <a:lnTo>
                        <a:pt x="399" y="1236"/>
                      </a:lnTo>
                      <a:lnTo>
                        <a:pt x="399" y="1235"/>
                      </a:lnTo>
                      <a:lnTo>
                        <a:pt x="397" y="1235"/>
                      </a:lnTo>
                      <a:lnTo>
                        <a:pt x="395" y="1235"/>
                      </a:lnTo>
                      <a:lnTo>
                        <a:pt x="393" y="1235"/>
                      </a:lnTo>
                      <a:lnTo>
                        <a:pt x="393" y="1233"/>
                      </a:lnTo>
                      <a:lnTo>
                        <a:pt x="391" y="1233"/>
                      </a:lnTo>
                      <a:lnTo>
                        <a:pt x="389" y="1233"/>
                      </a:lnTo>
                      <a:lnTo>
                        <a:pt x="388" y="1233"/>
                      </a:lnTo>
                      <a:lnTo>
                        <a:pt x="386" y="1231"/>
                      </a:lnTo>
                      <a:lnTo>
                        <a:pt x="384" y="1231"/>
                      </a:lnTo>
                      <a:lnTo>
                        <a:pt x="382" y="1231"/>
                      </a:lnTo>
                      <a:lnTo>
                        <a:pt x="380" y="1229"/>
                      </a:lnTo>
                      <a:lnTo>
                        <a:pt x="378" y="1229"/>
                      </a:lnTo>
                      <a:lnTo>
                        <a:pt x="376" y="1227"/>
                      </a:lnTo>
                      <a:lnTo>
                        <a:pt x="374" y="1227"/>
                      </a:lnTo>
                      <a:lnTo>
                        <a:pt x="374" y="1225"/>
                      </a:lnTo>
                      <a:lnTo>
                        <a:pt x="372" y="1225"/>
                      </a:lnTo>
                      <a:lnTo>
                        <a:pt x="371" y="1225"/>
                      </a:lnTo>
                      <a:lnTo>
                        <a:pt x="371" y="1223"/>
                      </a:lnTo>
                      <a:lnTo>
                        <a:pt x="369" y="1223"/>
                      </a:lnTo>
                      <a:lnTo>
                        <a:pt x="363" y="1223"/>
                      </a:lnTo>
                      <a:lnTo>
                        <a:pt x="361" y="1221"/>
                      </a:lnTo>
                      <a:lnTo>
                        <a:pt x="359" y="1221"/>
                      </a:lnTo>
                      <a:lnTo>
                        <a:pt x="357" y="1221"/>
                      </a:lnTo>
                      <a:lnTo>
                        <a:pt x="357" y="1223"/>
                      </a:lnTo>
                      <a:lnTo>
                        <a:pt x="356" y="1221"/>
                      </a:lnTo>
                      <a:lnTo>
                        <a:pt x="356" y="1223"/>
                      </a:lnTo>
                      <a:lnTo>
                        <a:pt x="354" y="1221"/>
                      </a:lnTo>
                      <a:lnTo>
                        <a:pt x="350" y="1220"/>
                      </a:lnTo>
                      <a:lnTo>
                        <a:pt x="348" y="1220"/>
                      </a:lnTo>
                      <a:lnTo>
                        <a:pt x="348" y="1221"/>
                      </a:lnTo>
                      <a:lnTo>
                        <a:pt x="346" y="1221"/>
                      </a:lnTo>
                      <a:lnTo>
                        <a:pt x="344" y="1221"/>
                      </a:lnTo>
                      <a:lnTo>
                        <a:pt x="342" y="1221"/>
                      </a:lnTo>
                      <a:lnTo>
                        <a:pt x="342" y="1220"/>
                      </a:lnTo>
                      <a:lnTo>
                        <a:pt x="342" y="1221"/>
                      </a:lnTo>
                      <a:lnTo>
                        <a:pt x="340" y="1221"/>
                      </a:lnTo>
                      <a:lnTo>
                        <a:pt x="339" y="1220"/>
                      </a:lnTo>
                      <a:lnTo>
                        <a:pt x="335" y="1220"/>
                      </a:lnTo>
                      <a:lnTo>
                        <a:pt x="333" y="1220"/>
                      </a:lnTo>
                      <a:lnTo>
                        <a:pt x="331" y="1220"/>
                      </a:lnTo>
                      <a:lnTo>
                        <a:pt x="331" y="1218"/>
                      </a:lnTo>
                      <a:lnTo>
                        <a:pt x="329" y="1218"/>
                      </a:lnTo>
                      <a:lnTo>
                        <a:pt x="325" y="1218"/>
                      </a:lnTo>
                      <a:lnTo>
                        <a:pt x="324" y="1218"/>
                      </a:lnTo>
                      <a:lnTo>
                        <a:pt x="322" y="1218"/>
                      </a:lnTo>
                      <a:lnTo>
                        <a:pt x="320" y="1218"/>
                      </a:lnTo>
                      <a:lnTo>
                        <a:pt x="318" y="1218"/>
                      </a:lnTo>
                      <a:lnTo>
                        <a:pt x="316" y="1218"/>
                      </a:lnTo>
                      <a:lnTo>
                        <a:pt x="314" y="1216"/>
                      </a:lnTo>
                      <a:lnTo>
                        <a:pt x="310" y="1216"/>
                      </a:lnTo>
                      <a:lnTo>
                        <a:pt x="307" y="1214"/>
                      </a:lnTo>
                      <a:lnTo>
                        <a:pt x="305" y="1214"/>
                      </a:lnTo>
                      <a:lnTo>
                        <a:pt x="303" y="1214"/>
                      </a:lnTo>
                      <a:lnTo>
                        <a:pt x="301" y="1214"/>
                      </a:lnTo>
                      <a:lnTo>
                        <a:pt x="299" y="1214"/>
                      </a:lnTo>
                      <a:lnTo>
                        <a:pt x="297" y="1212"/>
                      </a:lnTo>
                      <a:lnTo>
                        <a:pt x="297" y="1214"/>
                      </a:lnTo>
                      <a:lnTo>
                        <a:pt x="295" y="1214"/>
                      </a:lnTo>
                      <a:lnTo>
                        <a:pt x="293" y="1214"/>
                      </a:lnTo>
                      <a:lnTo>
                        <a:pt x="292" y="1214"/>
                      </a:lnTo>
                      <a:lnTo>
                        <a:pt x="290" y="1212"/>
                      </a:lnTo>
                      <a:lnTo>
                        <a:pt x="286" y="1212"/>
                      </a:lnTo>
                      <a:lnTo>
                        <a:pt x="284" y="1212"/>
                      </a:lnTo>
                      <a:lnTo>
                        <a:pt x="282" y="1212"/>
                      </a:lnTo>
                      <a:lnTo>
                        <a:pt x="280" y="1212"/>
                      </a:lnTo>
                      <a:lnTo>
                        <a:pt x="278" y="1212"/>
                      </a:lnTo>
                      <a:lnTo>
                        <a:pt x="278" y="1210"/>
                      </a:lnTo>
                      <a:lnTo>
                        <a:pt x="277" y="1210"/>
                      </a:lnTo>
                      <a:lnTo>
                        <a:pt x="275" y="1210"/>
                      </a:lnTo>
                      <a:lnTo>
                        <a:pt x="273" y="1210"/>
                      </a:lnTo>
                      <a:lnTo>
                        <a:pt x="271" y="1210"/>
                      </a:lnTo>
                      <a:lnTo>
                        <a:pt x="273" y="1210"/>
                      </a:lnTo>
                      <a:lnTo>
                        <a:pt x="271" y="1210"/>
                      </a:lnTo>
                      <a:lnTo>
                        <a:pt x="271" y="1208"/>
                      </a:lnTo>
                      <a:lnTo>
                        <a:pt x="269" y="1208"/>
                      </a:lnTo>
                      <a:lnTo>
                        <a:pt x="267" y="1208"/>
                      </a:lnTo>
                      <a:lnTo>
                        <a:pt x="265" y="1208"/>
                      </a:lnTo>
                      <a:lnTo>
                        <a:pt x="263" y="1208"/>
                      </a:lnTo>
                      <a:lnTo>
                        <a:pt x="263" y="1206"/>
                      </a:lnTo>
                      <a:lnTo>
                        <a:pt x="263" y="1208"/>
                      </a:lnTo>
                      <a:lnTo>
                        <a:pt x="261" y="1206"/>
                      </a:lnTo>
                      <a:lnTo>
                        <a:pt x="260" y="1206"/>
                      </a:lnTo>
                      <a:lnTo>
                        <a:pt x="258" y="1206"/>
                      </a:lnTo>
                      <a:lnTo>
                        <a:pt x="256" y="1204"/>
                      </a:lnTo>
                      <a:lnTo>
                        <a:pt x="254" y="1204"/>
                      </a:lnTo>
                      <a:lnTo>
                        <a:pt x="252" y="1204"/>
                      </a:lnTo>
                      <a:lnTo>
                        <a:pt x="250" y="1204"/>
                      </a:lnTo>
                      <a:lnTo>
                        <a:pt x="248" y="1204"/>
                      </a:lnTo>
                      <a:lnTo>
                        <a:pt x="248" y="1203"/>
                      </a:lnTo>
                      <a:lnTo>
                        <a:pt x="246" y="1203"/>
                      </a:lnTo>
                      <a:lnTo>
                        <a:pt x="245" y="1203"/>
                      </a:lnTo>
                      <a:lnTo>
                        <a:pt x="243" y="1203"/>
                      </a:lnTo>
                      <a:lnTo>
                        <a:pt x="241" y="1203"/>
                      </a:lnTo>
                      <a:lnTo>
                        <a:pt x="241" y="1201"/>
                      </a:lnTo>
                      <a:lnTo>
                        <a:pt x="241" y="1203"/>
                      </a:lnTo>
                      <a:lnTo>
                        <a:pt x="239" y="1201"/>
                      </a:lnTo>
                      <a:lnTo>
                        <a:pt x="237" y="1201"/>
                      </a:lnTo>
                      <a:lnTo>
                        <a:pt x="235" y="1201"/>
                      </a:lnTo>
                      <a:lnTo>
                        <a:pt x="233" y="1201"/>
                      </a:lnTo>
                      <a:lnTo>
                        <a:pt x="233" y="1199"/>
                      </a:lnTo>
                      <a:lnTo>
                        <a:pt x="231" y="1199"/>
                      </a:lnTo>
                      <a:lnTo>
                        <a:pt x="233" y="1199"/>
                      </a:lnTo>
                      <a:lnTo>
                        <a:pt x="233" y="1197"/>
                      </a:lnTo>
                      <a:lnTo>
                        <a:pt x="231" y="1197"/>
                      </a:lnTo>
                      <a:lnTo>
                        <a:pt x="231" y="1195"/>
                      </a:lnTo>
                      <a:lnTo>
                        <a:pt x="233" y="1195"/>
                      </a:lnTo>
                      <a:lnTo>
                        <a:pt x="231" y="1195"/>
                      </a:lnTo>
                      <a:lnTo>
                        <a:pt x="231" y="1193"/>
                      </a:lnTo>
                      <a:lnTo>
                        <a:pt x="230" y="1193"/>
                      </a:lnTo>
                      <a:lnTo>
                        <a:pt x="230" y="1191"/>
                      </a:lnTo>
                      <a:lnTo>
                        <a:pt x="230" y="1189"/>
                      </a:lnTo>
                      <a:lnTo>
                        <a:pt x="230" y="1188"/>
                      </a:lnTo>
                      <a:lnTo>
                        <a:pt x="231" y="1188"/>
                      </a:lnTo>
                      <a:lnTo>
                        <a:pt x="230" y="1188"/>
                      </a:lnTo>
                      <a:lnTo>
                        <a:pt x="230" y="1186"/>
                      </a:lnTo>
                      <a:lnTo>
                        <a:pt x="231" y="1186"/>
                      </a:lnTo>
                      <a:lnTo>
                        <a:pt x="231" y="1184"/>
                      </a:lnTo>
                      <a:lnTo>
                        <a:pt x="231" y="1182"/>
                      </a:lnTo>
                      <a:lnTo>
                        <a:pt x="231" y="1180"/>
                      </a:lnTo>
                      <a:lnTo>
                        <a:pt x="230" y="1180"/>
                      </a:lnTo>
                      <a:lnTo>
                        <a:pt x="231" y="1178"/>
                      </a:lnTo>
                      <a:lnTo>
                        <a:pt x="233" y="1178"/>
                      </a:lnTo>
                      <a:lnTo>
                        <a:pt x="235" y="1178"/>
                      </a:lnTo>
                      <a:lnTo>
                        <a:pt x="235" y="1176"/>
                      </a:lnTo>
                      <a:lnTo>
                        <a:pt x="233" y="1176"/>
                      </a:lnTo>
                      <a:lnTo>
                        <a:pt x="233" y="1174"/>
                      </a:lnTo>
                      <a:lnTo>
                        <a:pt x="233" y="1172"/>
                      </a:lnTo>
                      <a:lnTo>
                        <a:pt x="235" y="1172"/>
                      </a:lnTo>
                      <a:lnTo>
                        <a:pt x="235" y="1171"/>
                      </a:lnTo>
                      <a:lnTo>
                        <a:pt x="235" y="1172"/>
                      </a:lnTo>
                      <a:lnTo>
                        <a:pt x="237" y="1172"/>
                      </a:lnTo>
                      <a:lnTo>
                        <a:pt x="237" y="1171"/>
                      </a:lnTo>
                      <a:lnTo>
                        <a:pt x="239" y="1171"/>
                      </a:lnTo>
                      <a:lnTo>
                        <a:pt x="241" y="1171"/>
                      </a:lnTo>
                      <a:lnTo>
                        <a:pt x="243" y="1171"/>
                      </a:lnTo>
                      <a:lnTo>
                        <a:pt x="243" y="1169"/>
                      </a:lnTo>
                      <a:lnTo>
                        <a:pt x="245" y="1169"/>
                      </a:lnTo>
                      <a:lnTo>
                        <a:pt x="245" y="1167"/>
                      </a:lnTo>
                      <a:lnTo>
                        <a:pt x="245" y="1165"/>
                      </a:lnTo>
                      <a:lnTo>
                        <a:pt x="246" y="1165"/>
                      </a:lnTo>
                      <a:lnTo>
                        <a:pt x="226" y="1157"/>
                      </a:lnTo>
                      <a:lnTo>
                        <a:pt x="222" y="1156"/>
                      </a:lnTo>
                      <a:lnTo>
                        <a:pt x="211" y="1154"/>
                      </a:lnTo>
                      <a:lnTo>
                        <a:pt x="209" y="1144"/>
                      </a:lnTo>
                      <a:lnTo>
                        <a:pt x="211" y="1142"/>
                      </a:lnTo>
                      <a:lnTo>
                        <a:pt x="199" y="1139"/>
                      </a:lnTo>
                      <a:lnTo>
                        <a:pt x="199" y="1140"/>
                      </a:lnTo>
                      <a:lnTo>
                        <a:pt x="192" y="1142"/>
                      </a:lnTo>
                      <a:lnTo>
                        <a:pt x="192" y="1148"/>
                      </a:lnTo>
                      <a:lnTo>
                        <a:pt x="186" y="1148"/>
                      </a:lnTo>
                      <a:lnTo>
                        <a:pt x="182" y="1146"/>
                      </a:lnTo>
                      <a:lnTo>
                        <a:pt x="177" y="1144"/>
                      </a:lnTo>
                      <a:lnTo>
                        <a:pt x="173" y="1142"/>
                      </a:lnTo>
                      <a:lnTo>
                        <a:pt x="167" y="1142"/>
                      </a:lnTo>
                      <a:lnTo>
                        <a:pt x="173" y="1137"/>
                      </a:lnTo>
                      <a:lnTo>
                        <a:pt x="177" y="1133"/>
                      </a:lnTo>
                      <a:lnTo>
                        <a:pt x="177" y="1131"/>
                      </a:lnTo>
                      <a:lnTo>
                        <a:pt x="179" y="1127"/>
                      </a:lnTo>
                      <a:lnTo>
                        <a:pt x="181" y="1120"/>
                      </a:lnTo>
                      <a:lnTo>
                        <a:pt x="182" y="1120"/>
                      </a:lnTo>
                      <a:lnTo>
                        <a:pt x="188" y="1120"/>
                      </a:lnTo>
                      <a:lnTo>
                        <a:pt x="201" y="1116"/>
                      </a:lnTo>
                      <a:lnTo>
                        <a:pt x="205" y="1114"/>
                      </a:lnTo>
                      <a:lnTo>
                        <a:pt x="205" y="1108"/>
                      </a:lnTo>
                      <a:lnTo>
                        <a:pt x="209" y="1107"/>
                      </a:lnTo>
                      <a:lnTo>
                        <a:pt x="209" y="1099"/>
                      </a:lnTo>
                      <a:lnTo>
                        <a:pt x="216" y="1105"/>
                      </a:lnTo>
                      <a:lnTo>
                        <a:pt x="228" y="1105"/>
                      </a:lnTo>
                      <a:lnTo>
                        <a:pt x="233" y="1105"/>
                      </a:lnTo>
                      <a:lnTo>
                        <a:pt x="239" y="1105"/>
                      </a:lnTo>
                      <a:lnTo>
                        <a:pt x="239" y="1101"/>
                      </a:lnTo>
                      <a:lnTo>
                        <a:pt x="239" y="1092"/>
                      </a:lnTo>
                      <a:lnTo>
                        <a:pt x="226" y="1080"/>
                      </a:lnTo>
                      <a:lnTo>
                        <a:pt x="226" y="1075"/>
                      </a:lnTo>
                      <a:lnTo>
                        <a:pt x="220" y="1075"/>
                      </a:lnTo>
                      <a:lnTo>
                        <a:pt x="220" y="1061"/>
                      </a:lnTo>
                      <a:lnTo>
                        <a:pt x="222" y="1054"/>
                      </a:lnTo>
                      <a:lnTo>
                        <a:pt x="222" y="1052"/>
                      </a:lnTo>
                      <a:lnTo>
                        <a:pt x="214" y="1048"/>
                      </a:lnTo>
                      <a:lnTo>
                        <a:pt x="207" y="1044"/>
                      </a:lnTo>
                      <a:lnTo>
                        <a:pt x="205" y="1044"/>
                      </a:lnTo>
                      <a:lnTo>
                        <a:pt x="199" y="1041"/>
                      </a:lnTo>
                      <a:lnTo>
                        <a:pt x="198" y="1041"/>
                      </a:lnTo>
                      <a:lnTo>
                        <a:pt x="196" y="1037"/>
                      </a:lnTo>
                      <a:lnTo>
                        <a:pt x="194" y="1035"/>
                      </a:lnTo>
                      <a:lnTo>
                        <a:pt x="186" y="1037"/>
                      </a:lnTo>
                      <a:lnTo>
                        <a:pt x="175" y="1035"/>
                      </a:lnTo>
                      <a:lnTo>
                        <a:pt x="167" y="1035"/>
                      </a:lnTo>
                      <a:lnTo>
                        <a:pt x="164" y="1035"/>
                      </a:lnTo>
                      <a:lnTo>
                        <a:pt x="158" y="1035"/>
                      </a:lnTo>
                      <a:lnTo>
                        <a:pt x="160" y="1041"/>
                      </a:lnTo>
                      <a:lnTo>
                        <a:pt x="149" y="1026"/>
                      </a:lnTo>
                      <a:lnTo>
                        <a:pt x="149" y="1024"/>
                      </a:lnTo>
                      <a:lnTo>
                        <a:pt x="143" y="1018"/>
                      </a:lnTo>
                      <a:lnTo>
                        <a:pt x="117" y="1018"/>
                      </a:lnTo>
                      <a:lnTo>
                        <a:pt x="102" y="1018"/>
                      </a:lnTo>
                      <a:lnTo>
                        <a:pt x="96" y="1022"/>
                      </a:lnTo>
                      <a:lnTo>
                        <a:pt x="85" y="1022"/>
                      </a:lnTo>
                      <a:lnTo>
                        <a:pt x="72" y="1026"/>
                      </a:lnTo>
                      <a:lnTo>
                        <a:pt x="60" y="1029"/>
                      </a:lnTo>
                      <a:lnTo>
                        <a:pt x="51" y="1031"/>
                      </a:lnTo>
                      <a:lnTo>
                        <a:pt x="24" y="1028"/>
                      </a:lnTo>
                      <a:lnTo>
                        <a:pt x="13" y="1028"/>
                      </a:lnTo>
                      <a:lnTo>
                        <a:pt x="9" y="1028"/>
                      </a:lnTo>
                      <a:lnTo>
                        <a:pt x="13" y="1028"/>
                      </a:lnTo>
                      <a:lnTo>
                        <a:pt x="0" y="1020"/>
                      </a:lnTo>
                      <a:lnTo>
                        <a:pt x="0" y="1016"/>
                      </a:lnTo>
                      <a:lnTo>
                        <a:pt x="0" y="1011"/>
                      </a:lnTo>
                      <a:lnTo>
                        <a:pt x="0" y="999"/>
                      </a:lnTo>
                      <a:lnTo>
                        <a:pt x="9" y="999"/>
                      </a:lnTo>
                      <a:lnTo>
                        <a:pt x="9" y="994"/>
                      </a:lnTo>
                      <a:lnTo>
                        <a:pt x="13" y="994"/>
                      </a:lnTo>
                      <a:lnTo>
                        <a:pt x="21" y="980"/>
                      </a:lnTo>
                      <a:lnTo>
                        <a:pt x="23" y="975"/>
                      </a:lnTo>
                      <a:lnTo>
                        <a:pt x="24" y="969"/>
                      </a:lnTo>
                      <a:lnTo>
                        <a:pt x="26" y="969"/>
                      </a:lnTo>
                      <a:lnTo>
                        <a:pt x="26" y="967"/>
                      </a:lnTo>
                      <a:lnTo>
                        <a:pt x="30" y="964"/>
                      </a:lnTo>
                      <a:lnTo>
                        <a:pt x="32" y="960"/>
                      </a:lnTo>
                      <a:lnTo>
                        <a:pt x="36" y="956"/>
                      </a:lnTo>
                      <a:lnTo>
                        <a:pt x="40" y="943"/>
                      </a:lnTo>
                      <a:lnTo>
                        <a:pt x="47" y="933"/>
                      </a:lnTo>
                      <a:lnTo>
                        <a:pt x="56" y="922"/>
                      </a:lnTo>
                      <a:lnTo>
                        <a:pt x="56" y="913"/>
                      </a:lnTo>
                      <a:lnTo>
                        <a:pt x="51" y="907"/>
                      </a:lnTo>
                      <a:lnTo>
                        <a:pt x="51" y="903"/>
                      </a:lnTo>
                      <a:lnTo>
                        <a:pt x="60" y="898"/>
                      </a:lnTo>
                      <a:lnTo>
                        <a:pt x="55" y="884"/>
                      </a:lnTo>
                      <a:lnTo>
                        <a:pt x="68" y="869"/>
                      </a:lnTo>
                      <a:lnTo>
                        <a:pt x="70" y="862"/>
                      </a:lnTo>
                      <a:lnTo>
                        <a:pt x="92" y="862"/>
                      </a:lnTo>
                      <a:lnTo>
                        <a:pt x="98" y="856"/>
                      </a:lnTo>
                      <a:lnTo>
                        <a:pt x="96" y="856"/>
                      </a:lnTo>
                      <a:lnTo>
                        <a:pt x="90" y="839"/>
                      </a:lnTo>
                      <a:lnTo>
                        <a:pt x="105" y="828"/>
                      </a:lnTo>
                      <a:lnTo>
                        <a:pt x="115" y="830"/>
                      </a:lnTo>
                      <a:lnTo>
                        <a:pt x="119" y="834"/>
                      </a:lnTo>
                      <a:lnTo>
                        <a:pt x="132" y="835"/>
                      </a:lnTo>
                      <a:lnTo>
                        <a:pt x="145" y="841"/>
                      </a:lnTo>
                      <a:lnTo>
                        <a:pt x="164" y="847"/>
                      </a:lnTo>
                      <a:lnTo>
                        <a:pt x="169" y="828"/>
                      </a:lnTo>
                      <a:lnTo>
                        <a:pt x="158" y="828"/>
                      </a:lnTo>
                      <a:lnTo>
                        <a:pt x="158" y="824"/>
                      </a:lnTo>
                      <a:lnTo>
                        <a:pt x="158" y="819"/>
                      </a:lnTo>
                      <a:lnTo>
                        <a:pt x="158" y="817"/>
                      </a:lnTo>
                      <a:lnTo>
                        <a:pt x="152" y="811"/>
                      </a:lnTo>
                      <a:lnTo>
                        <a:pt x="152" y="809"/>
                      </a:lnTo>
                      <a:lnTo>
                        <a:pt x="137" y="802"/>
                      </a:lnTo>
                      <a:lnTo>
                        <a:pt x="135" y="800"/>
                      </a:lnTo>
                      <a:lnTo>
                        <a:pt x="141" y="796"/>
                      </a:lnTo>
                      <a:lnTo>
                        <a:pt x="145" y="794"/>
                      </a:lnTo>
                      <a:lnTo>
                        <a:pt x="147" y="781"/>
                      </a:lnTo>
                      <a:lnTo>
                        <a:pt x="145" y="781"/>
                      </a:lnTo>
                      <a:lnTo>
                        <a:pt x="143" y="771"/>
                      </a:lnTo>
                      <a:lnTo>
                        <a:pt x="141" y="764"/>
                      </a:lnTo>
                      <a:lnTo>
                        <a:pt x="130" y="753"/>
                      </a:lnTo>
                      <a:lnTo>
                        <a:pt x="130" y="741"/>
                      </a:lnTo>
                      <a:lnTo>
                        <a:pt x="130" y="738"/>
                      </a:lnTo>
                      <a:lnTo>
                        <a:pt x="124" y="724"/>
                      </a:lnTo>
                      <a:lnTo>
                        <a:pt x="137" y="717"/>
                      </a:lnTo>
                      <a:lnTo>
                        <a:pt x="141" y="719"/>
                      </a:lnTo>
                      <a:lnTo>
                        <a:pt x="147" y="717"/>
                      </a:lnTo>
                      <a:lnTo>
                        <a:pt x="147" y="715"/>
                      </a:lnTo>
                      <a:lnTo>
                        <a:pt x="149" y="711"/>
                      </a:lnTo>
                      <a:lnTo>
                        <a:pt x="152" y="702"/>
                      </a:lnTo>
                      <a:lnTo>
                        <a:pt x="156" y="706"/>
                      </a:lnTo>
                      <a:lnTo>
                        <a:pt x="156" y="707"/>
                      </a:lnTo>
                      <a:lnTo>
                        <a:pt x="158" y="707"/>
                      </a:lnTo>
                      <a:lnTo>
                        <a:pt x="162" y="709"/>
                      </a:lnTo>
                      <a:lnTo>
                        <a:pt x="167" y="711"/>
                      </a:lnTo>
                      <a:lnTo>
                        <a:pt x="171" y="715"/>
                      </a:lnTo>
                      <a:lnTo>
                        <a:pt x="175" y="707"/>
                      </a:lnTo>
                      <a:lnTo>
                        <a:pt x="175" y="704"/>
                      </a:lnTo>
                      <a:lnTo>
                        <a:pt x="182" y="694"/>
                      </a:lnTo>
                      <a:lnTo>
                        <a:pt x="196" y="696"/>
                      </a:lnTo>
                      <a:lnTo>
                        <a:pt x="201" y="696"/>
                      </a:lnTo>
                      <a:lnTo>
                        <a:pt x="209" y="698"/>
                      </a:lnTo>
                      <a:lnTo>
                        <a:pt x="218" y="700"/>
                      </a:lnTo>
                      <a:lnTo>
                        <a:pt x="235" y="700"/>
                      </a:lnTo>
                      <a:lnTo>
                        <a:pt x="237" y="700"/>
                      </a:lnTo>
                      <a:lnTo>
                        <a:pt x="241" y="696"/>
                      </a:lnTo>
                      <a:lnTo>
                        <a:pt x="235" y="689"/>
                      </a:lnTo>
                      <a:lnTo>
                        <a:pt x="233" y="687"/>
                      </a:lnTo>
                      <a:lnTo>
                        <a:pt x="237" y="675"/>
                      </a:lnTo>
                      <a:lnTo>
                        <a:pt x="237" y="672"/>
                      </a:lnTo>
                      <a:lnTo>
                        <a:pt x="239" y="670"/>
                      </a:lnTo>
                      <a:lnTo>
                        <a:pt x="239" y="668"/>
                      </a:lnTo>
                      <a:lnTo>
                        <a:pt x="245" y="668"/>
                      </a:lnTo>
                      <a:lnTo>
                        <a:pt x="248" y="662"/>
                      </a:lnTo>
                      <a:lnTo>
                        <a:pt x="250" y="662"/>
                      </a:lnTo>
                      <a:lnTo>
                        <a:pt x="252" y="660"/>
                      </a:lnTo>
                      <a:lnTo>
                        <a:pt x="256" y="659"/>
                      </a:lnTo>
                      <a:lnTo>
                        <a:pt x="258" y="657"/>
                      </a:lnTo>
                      <a:lnTo>
                        <a:pt x="263" y="651"/>
                      </a:lnTo>
                      <a:lnTo>
                        <a:pt x="269" y="655"/>
                      </a:lnTo>
                      <a:lnTo>
                        <a:pt x="271" y="655"/>
                      </a:lnTo>
                      <a:lnTo>
                        <a:pt x="277" y="660"/>
                      </a:lnTo>
                      <a:lnTo>
                        <a:pt x="282" y="666"/>
                      </a:lnTo>
                      <a:lnTo>
                        <a:pt x="282" y="668"/>
                      </a:lnTo>
                      <a:lnTo>
                        <a:pt x="284" y="670"/>
                      </a:lnTo>
                      <a:lnTo>
                        <a:pt x="288" y="672"/>
                      </a:lnTo>
                      <a:lnTo>
                        <a:pt x="293" y="674"/>
                      </a:lnTo>
                      <a:lnTo>
                        <a:pt x="295" y="674"/>
                      </a:lnTo>
                      <a:lnTo>
                        <a:pt x="301" y="668"/>
                      </a:lnTo>
                      <a:lnTo>
                        <a:pt x="303" y="668"/>
                      </a:lnTo>
                      <a:lnTo>
                        <a:pt x="307" y="666"/>
                      </a:lnTo>
                      <a:lnTo>
                        <a:pt x="309" y="664"/>
                      </a:lnTo>
                      <a:lnTo>
                        <a:pt x="310" y="662"/>
                      </a:lnTo>
                      <a:lnTo>
                        <a:pt x="312" y="659"/>
                      </a:lnTo>
                      <a:lnTo>
                        <a:pt x="320" y="657"/>
                      </a:lnTo>
                      <a:lnTo>
                        <a:pt x="331" y="655"/>
                      </a:lnTo>
                      <a:lnTo>
                        <a:pt x="335" y="651"/>
                      </a:lnTo>
                      <a:lnTo>
                        <a:pt x="333" y="649"/>
                      </a:lnTo>
                      <a:lnTo>
                        <a:pt x="333" y="643"/>
                      </a:lnTo>
                      <a:lnTo>
                        <a:pt x="340" y="645"/>
                      </a:lnTo>
                      <a:lnTo>
                        <a:pt x="346" y="645"/>
                      </a:lnTo>
                      <a:lnTo>
                        <a:pt x="348" y="645"/>
                      </a:lnTo>
                      <a:lnTo>
                        <a:pt x="352" y="642"/>
                      </a:lnTo>
                      <a:lnTo>
                        <a:pt x="350" y="642"/>
                      </a:lnTo>
                      <a:lnTo>
                        <a:pt x="354" y="638"/>
                      </a:lnTo>
                      <a:lnTo>
                        <a:pt x="356" y="636"/>
                      </a:lnTo>
                      <a:lnTo>
                        <a:pt x="357" y="634"/>
                      </a:lnTo>
                      <a:lnTo>
                        <a:pt x="357" y="627"/>
                      </a:lnTo>
                      <a:lnTo>
                        <a:pt x="356" y="625"/>
                      </a:lnTo>
                      <a:lnTo>
                        <a:pt x="352" y="623"/>
                      </a:lnTo>
                      <a:lnTo>
                        <a:pt x="348" y="630"/>
                      </a:lnTo>
                      <a:lnTo>
                        <a:pt x="348" y="625"/>
                      </a:lnTo>
                      <a:lnTo>
                        <a:pt x="348" y="623"/>
                      </a:lnTo>
                      <a:lnTo>
                        <a:pt x="350" y="617"/>
                      </a:lnTo>
                      <a:lnTo>
                        <a:pt x="352" y="617"/>
                      </a:lnTo>
                      <a:lnTo>
                        <a:pt x="352" y="615"/>
                      </a:lnTo>
                      <a:lnTo>
                        <a:pt x="354" y="613"/>
                      </a:lnTo>
                      <a:lnTo>
                        <a:pt x="357" y="615"/>
                      </a:lnTo>
                      <a:lnTo>
                        <a:pt x="359" y="611"/>
                      </a:lnTo>
                      <a:lnTo>
                        <a:pt x="356" y="610"/>
                      </a:lnTo>
                      <a:lnTo>
                        <a:pt x="357" y="604"/>
                      </a:lnTo>
                      <a:lnTo>
                        <a:pt x="359" y="600"/>
                      </a:lnTo>
                      <a:lnTo>
                        <a:pt x="361" y="600"/>
                      </a:lnTo>
                      <a:lnTo>
                        <a:pt x="367" y="602"/>
                      </a:lnTo>
                      <a:lnTo>
                        <a:pt x="367" y="600"/>
                      </a:lnTo>
                      <a:lnTo>
                        <a:pt x="371" y="600"/>
                      </a:lnTo>
                      <a:lnTo>
                        <a:pt x="371" y="598"/>
                      </a:lnTo>
                      <a:lnTo>
                        <a:pt x="372" y="598"/>
                      </a:lnTo>
                      <a:lnTo>
                        <a:pt x="371" y="596"/>
                      </a:lnTo>
                      <a:lnTo>
                        <a:pt x="369" y="595"/>
                      </a:lnTo>
                      <a:lnTo>
                        <a:pt x="374" y="589"/>
                      </a:lnTo>
                      <a:lnTo>
                        <a:pt x="380" y="583"/>
                      </a:lnTo>
                      <a:lnTo>
                        <a:pt x="376" y="581"/>
                      </a:lnTo>
                      <a:lnTo>
                        <a:pt x="376" y="579"/>
                      </a:lnTo>
                      <a:lnTo>
                        <a:pt x="374" y="579"/>
                      </a:lnTo>
                      <a:lnTo>
                        <a:pt x="371" y="576"/>
                      </a:lnTo>
                      <a:lnTo>
                        <a:pt x="372" y="574"/>
                      </a:lnTo>
                      <a:lnTo>
                        <a:pt x="372" y="572"/>
                      </a:lnTo>
                      <a:lnTo>
                        <a:pt x="369" y="570"/>
                      </a:lnTo>
                      <a:lnTo>
                        <a:pt x="365" y="566"/>
                      </a:lnTo>
                      <a:lnTo>
                        <a:pt x="363" y="566"/>
                      </a:lnTo>
                      <a:lnTo>
                        <a:pt x="361" y="566"/>
                      </a:lnTo>
                      <a:lnTo>
                        <a:pt x="361" y="568"/>
                      </a:lnTo>
                      <a:lnTo>
                        <a:pt x="357" y="568"/>
                      </a:lnTo>
                      <a:lnTo>
                        <a:pt x="354" y="568"/>
                      </a:lnTo>
                      <a:lnTo>
                        <a:pt x="350" y="568"/>
                      </a:lnTo>
                      <a:lnTo>
                        <a:pt x="350" y="563"/>
                      </a:lnTo>
                      <a:lnTo>
                        <a:pt x="354" y="551"/>
                      </a:lnTo>
                      <a:lnTo>
                        <a:pt x="359" y="553"/>
                      </a:lnTo>
                      <a:lnTo>
                        <a:pt x="361" y="553"/>
                      </a:lnTo>
                      <a:lnTo>
                        <a:pt x="363" y="544"/>
                      </a:lnTo>
                      <a:lnTo>
                        <a:pt x="369" y="542"/>
                      </a:lnTo>
                      <a:lnTo>
                        <a:pt x="371" y="540"/>
                      </a:lnTo>
                      <a:lnTo>
                        <a:pt x="363" y="536"/>
                      </a:lnTo>
                      <a:lnTo>
                        <a:pt x="363" y="534"/>
                      </a:lnTo>
                      <a:lnTo>
                        <a:pt x="361" y="532"/>
                      </a:lnTo>
                      <a:lnTo>
                        <a:pt x="361" y="527"/>
                      </a:lnTo>
                      <a:lnTo>
                        <a:pt x="365" y="519"/>
                      </a:lnTo>
                      <a:lnTo>
                        <a:pt x="376" y="519"/>
                      </a:lnTo>
                      <a:lnTo>
                        <a:pt x="380" y="521"/>
                      </a:lnTo>
                      <a:lnTo>
                        <a:pt x="384" y="521"/>
                      </a:lnTo>
                      <a:lnTo>
                        <a:pt x="386" y="525"/>
                      </a:lnTo>
                      <a:lnTo>
                        <a:pt x="388" y="525"/>
                      </a:lnTo>
                      <a:lnTo>
                        <a:pt x="389" y="525"/>
                      </a:lnTo>
                      <a:lnTo>
                        <a:pt x="391" y="527"/>
                      </a:lnTo>
                      <a:lnTo>
                        <a:pt x="391" y="523"/>
                      </a:lnTo>
                      <a:lnTo>
                        <a:pt x="393" y="525"/>
                      </a:lnTo>
                      <a:lnTo>
                        <a:pt x="395" y="527"/>
                      </a:lnTo>
                      <a:lnTo>
                        <a:pt x="399" y="525"/>
                      </a:lnTo>
                      <a:lnTo>
                        <a:pt x="401" y="523"/>
                      </a:lnTo>
                      <a:lnTo>
                        <a:pt x="403" y="521"/>
                      </a:lnTo>
                      <a:lnTo>
                        <a:pt x="404" y="519"/>
                      </a:lnTo>
                      <a:lnTo>
                        <a:pt x="406" y="514"/>
                      </a:lnTo>
                      <a:lnTo>
                        <a:pt x="410" y="510"/>
                      </a:lnTo>
                      <a:lnTo>
                        <a:pt x="412" y="510"/>
                      </a:lnTo>
                      <a:lnTo>
                        <a:pt x="431" y="510"/>
                      </a:lnTo>
                      <a:lnTo>
                        <a:pt x="431" y="508"/>
                      </a:lnTo>
                      <a:lnTo>
                        <a:pt x="429" y="502"/>
                      </a:lnTo>
                      <a:lnTo>
                        <a:pt x="435" y="510"/>
                      </a:lnTo>
                      <a:lnTo>
                        <a:pt x="436" y="510"/>
                      </a:lnTo>
                      <a:lnTo>
                        <a:pt x="442" y="508"/>
                      </a:lnTo>
                      <a:lnTo>
                        <a:pt x="451" y="508"/>
                      </a:lnTo>
                      <a:lnTo>
                        <a:pt x="453" y="508"/>
                      </a:lnTo>
                      <a:lnTo>
                        <a:pt x="453" y="506"/>
                      </a:lnTo>
                      <a:lnTo>
                        <a:pt x="455" y="499"/>
                      </a:lnTo>
                      <a:lnTo>
                        <a:pt x="455" y="489"/>
                      </a:lnTo>
                      <a:lnTo>
                        <a:pt x="457" y="478"/>
                      </a:lnTo>
                      <a:lnTo>
                        <a:pt x="451" y="467"/>
                      </a:lnTo>
                      <a:lnTo>
                        <a:pt x="457" y="459"/>
                      </a:lnTo>
                      <a:lnTo>
                        <a:pt x="457" y="457"/>
                      </a:lnTo>
                      <a:lnTo>
                        <a:pt x="459" y="450"/>
                      </a:lnTo>
                      <a:lnTo>
                        <a:pt x="455" y="446"/>
                      </a:lnTo>
                      <a:lnTo>
                        <a:pt x="461" y="442"/>
                      </a:lnTo>
                      <a:lnTo>
                        <a:pt x="467" y="440"/>
                      </a:lnTo>
                      <a:lnTo>
                        <a:pt x="468" y="425"/>
                      </a:lnTo>
                      <a:lnTo>
                        <a:pt x="468" y="421"/>
                      </a:lnTo>
                      <a:lnTo>
                        <a:pt x="476" y="416"/>
                      </a:lnTo>
                      <a:lnTo>
                        <a:pt x="489" y="412"/>
                      </a:lnTo>
                      <a:lnTo>
                        <a:pt x="493" y="412"/>
                      </a:lnTo>
                      <a:lnTo>
                        <a:pt x="495" y="412"/>
                      </a:lnTo>
                      <a:lnTo>
                        <a:pt x="502" y="416"/>
                      </a:lnTo>
                      <a:lnTo>
                        <a:pt x="504" y="418"/>
                      </a:lnTo>
                      <a:lnTo>
                        <a:pt x="504" y="419"/>
                      </a:lnTo>
                      <a:lnTo>
                        <a:pt x="508" y="416"/>
                      </a:lnTo>
                      <a:lnTo>
                        <a:pt x="514" y="416"/>
                      </a:lnTo>
                      <a:lnTo>
                        <a:pt x="515" y="416"/>
                      </a:lnTo>
                      <a:lnTo>
                        <a:pt x="521" y="414"/>
                      </a:lnTo>
                      <a:lnTo>
                        <a:pt x="525" y="414"/>
                      </a:lnTo>
                      <a:lnTo>
                        <a:pt x="525" y="412"/>
                      </a:lnTo>
                      <a:lnTo>
                        <a:pt x="532" y="404"/>
                      </a:lnTo>
                      <a:lnTo>
                        <a:pt x="534" y="402"/>
                      </a:lnTo>
                      <a:lnTo>
                        <a:pt x="540" y="406"/>
                      </a:lnTo>
                      <a:lnTo>
                        <a:pt x="542" y="408"/>
                      </a:lnTo>
                      <a:lnTo>
                        <a:pt x="544" y="408"/>
                      </a:lnTo>
                      <a:lnTo>
                        <a:pt x="544" y="406"/>
                      </a:lnTo>
                      <a:lnTo>
                        <a:pt x="544" y="402"/>
                      </a:lnTo>
                      <a:lnTo>
                        <a:pt x="542" y="397"/>
                      </a:lnTo>
                      <a:lnTo>
                        <a:pt x="540" y="395"/>
                      </a:lnTo>
                      <a:lnTo>
                        <a:pt x="549" y="391"/>
                      </a:lnTo>
                      <a:lnTo>
                        <a:pt x="553" y="391"/>
                      </a:lnTo>
                      <a:lnTo>
                        <a:pt x="559" y="391"/>
                      </a:lnTo>
                      <a:lnTo>
                        <a:pt x="561" y="393"/>
                      </a:lnTo>
                      <a:lnTo>
                        <a:pt x="564" y="391"/>
                      </a:lnTo>
                      <a:lnTo>
                        <a:pt x="564" y="387"/>
                      </a:lnTo>
                      <a:lnTo>
                        <a:pt x="564" y="386"/>
                      </a:lnTo>
                      <a:lnTo>
                        <a:pt x="566" y="386"/>
                      </a:lnTo>
                      <a:lnTo>
                        <a:pt x="568" y="382"/>
                      </a:lnTo>
                      <a:lnTo>
                        <a:pt x="574" y="378"/>
                      </a:lnTo>
                      <a:lnTo>
                        <a:pt x="576" y="378"/>
                      </a:lnTo>
                      <a:lnTo>
                        <a:pt x="579" y="376"/>
                      </a:lnTo>
                      <a:lnTo>
                        <a:pt x="583" y="376"/>
                      </a:lnTo>
                      <a:lnTo>
                        <a:pt x="589" y="376"/>
                      </a:lnTo>
                      <a:lnTo>
                        <a:pt x="593" y="378"/>
                      </a:lnTo>
                      <a:lnTo>
                        <a:pt x="596" y="372"/>
                      </a:lnTo>
                      <a:lnTo>
                        <a:pt x="600" y="374"/>
                      </a:lnTo>
                      <a:lnTo>
                        <a:pt x="604" y="374"/>
                      </a:lnTo>
                      <a:lnTo>
                        <a:pt x="608" y="370"/>
                      </a:lnTo>
                      <a:lnTo>
                        <a:pt x="611" y="369"/>
                      </a:lnTo>
                      <a:lnTo>
                        <a:pt x="617" y="369"/>
                      </a:lnTo>
                      <a:lnTo>
                        <a:pt x="619" y="365"/>
                      </a:lnTo>
                      <a:lnTo>
                        <a:pt x="621" y="367"/>
                      </a:lnTo>
                      <a:lnTo>
                        <a:pt x="623" y="369"/>
                      </a:lnTo>
                      <a:lnTo>
                        <a:pt x="623" y="367"/>
                      </a:lnTo>
                      <a:lnTo>
                        <a:pt x="625" y="363"/>
                      </a:lnTo>
                      <a:lnTo>
                        <a:pt x="628" y="361"/>
                      </a:lnTo>
                      <a:lnTo>
                        <a:pt x="630" y="361"/>
                      </a:lnTo>
                      <a:lnTo>
                        <a:pt x="632" y="359"/>
                      </a:lnTo>
                      <a:lnTo>
                        <a:pt x="632" y="357"/>
                      </a:lnTo>
                      <a:lnTo>
                        <a:pt x="630" y="357"/>
                      </a:lnTo>
                      <a:lnTo>
                        <a:pt x="632" y="354"/>
                      </a:lnTo>
                      <a:lnTo>
                        <a:pt x="634" y="354"/>
                      </a:lnTo>
                      <a:lnTo>
                        <a:pt x="636" y="354"/>
                      </a:lnTo>
                      <a:lnTo>
                        <a:pt x="636" y="355"/>
                      </a:lnTo>
                      <a:lnTo>
                        <a:pt x="647" y="361"/>
                      </a:lnTo>
                      <a:lnTo>
                        <a:pt x="647" y="363"/>
                      </a:lnTo>
                      <a:lnTo>
                        <a:pt x="649" y="363"/>
                      </a:lnTo>
                      <a:lnTo>
                        <a:pt x="651" y="363"/>
                      </a:lnTo>
                      <a:lnTo>
                        <a:pt x="653" y="361"/>
                      </a:lnTo>
                      <a:lnTo>
                        <a:pt x="670" y="367"/>
                      </a:lnTo>
                      <a:lnTo>
                        <a:pt x="673" y="365"/>
                      </a:lnTo>
                      <a:lnTo>
                        <a:pt x="677" y="361"/>
                      </a:lnTo>
                      <a:lnTo>
                        <a:pt x="675" y="357"/>
                      </a:lnTo>
                      <a:lnTo>
                        <a:pt x="675" y="355"/>
                      </a:lnTo>
                      <a:lnTo>
                        <a:pt x="677" y="342"/>
                      </a:lnTo>
                      <a:lnTo>
                        <a:pt x="679" y="338"/>
                      </a:lnTo>
                      <a:lnTo>
                        <a:pt x="679" y="337"/>
                      </a:lnTo>
                      <a:lnTo>
                        <a:pt x="685" y="337"/>
                      </a:lnTo>
                      <a:lnTo>
                        <a:pt x="687" y="335"/>
                      </a:lnTo>
                      <a:lnTo>
                        <a:pt x="692" y="327"/>
                      </a:lnTo>
                      <a:lnTo>
                        <a:pt x="692" y="325"/>
                      </a:lnTo>
                      <a:lnTo>
                        <a:pt x="694" y="320"/>
                      </a:lnTo>
                      <a:lnTo>
                        <a:pt x="690" y="316"/>
                      </a:lnTo>
                      <a:lnTo>
                        <a:pt x="694" y="312"/>
                      </a:lnTo>
                      <a:lnTo>
                        <a:pt x="696" y="314"/>
                      </a:lnTo>
                      <a:lnTo>
                        <a:pt x="700" y="310"/>
                      </a:lnTo>
                      <a:lnTo>
                        <a:pt x="704" y="308"/>
                      </a:lnTo>
                      <a:lnTo>
                        <a:pt x="707" y="299"/>
                      </a:lnTo>
                      <a:lnTo>
                        <a:pt x="702" y="299"/>
                      </a:lnTo>
                      <a:lnTo>
                        <a:pt x="700" y="293"/>
                      </a:lnTo>
                      <a:lnTo>
                        <a:pt x="700" y="291"/>
                      </a:lnTo>
                      <a:lnTo>
                        <a:pt x="702" y="290"/>
                      </a:lnTo>
                      <a:lnTo>
                        <a:pt x="704" y="288"/>
                      </a:lnTo>
                      <a:lnTo>
                        <a:pt x="709" y="284"/>
                      </a:lnTo>
                      <a:lnTo>
                        <a:pt x="707" y="282"/>
                      </a:lnTo>
                      <a:lnTo>
                        <a:pt x="707" y="280"/>
                      </a:lnTo>
                      <a:lnTo>
                        <a:pt x="707" y="276"/>
                      </a:lnTo>
                      <a:lnTo>
                        <a:pt x="709" y="274"/>
                      </a:lnTo>
                      <a:lnTo>
                        <a:pt x="709" y="273"/>
                      </a:lnTo>
                      <a:lnTo>
                        <a:pt x="709" y="271"/>
                      </a:lnTo>
                      <a:lnTo>
                        <a:pt x="711" y="269"/>
                      </a:lnTo>
                      <a:lnTo>
                        <a:pt x="711" y="267"/>
                      </a:lnTo>
                      <a:lnTo>
                        <a:pt x="709" y="267"/>
                      </a:lnTo>
                      <a:lnTo>
                        <a:pt x="707" y="267"/>
                      </a:lnTo>
                      <a:lnTo>
                        <a:pt x="705" y="263"/>
                      </a:lnTo>
                      <a:lnTo>
                        <a:pt x="698" y="258"/>
                      </a:lnTo>
                      <a:lnTo>
                        <a:pt x="702" y="252"/>
                      </a:lnTo>
                      <a:lnTo>
                        <a:pt x="711" y="246"/>
                      </a:lnTo>
                      <a:lnTo>
                        <a:pt x="719" y="235"/>
                      </a:lnTo>
                      <a:lnTo>
                        <a:pt x="713" y="237"/>
                      </a:lnTo>
                      <a:lnTo>
                        <a:pt x="707" y="233"/>
                      </a:lnTo>
                      <a:lnTo>
                        <a:pt x="702" y="233"/>
                      </a:lnTo>
                      <a:lnTo>
                        <a:pt x="702" y="231"/>
                      </a:lnTo>
                      <a:lnTo>
                        <a:pt x="702" y="227"/>
                      </a:lnTo>
                      <a:lnTo>
                        <a:pt x="702" y="226"/>
                      </a:lnTo>
                      <a:lnTo>
                        <a:pt x="700" y="220"/>
                      </a:lnTo>
                      <a:lnTo>
                        <a:pt x="700" y="218"/>
                      </a:lnTo>
                      <a:lnTo>
                        <a:pt x="700" y="216"/>
                      </a:lnTo>
                      <a:lnTo>
                        <a:pt x="700" y="214"/>
                      </a:lnTo>
                      <a:lnTo>
                        <a:pt x="696" y="214"/>
                      </a:lnTo>
                      <a:lnTo>
                        <a:pt x="696" y="212"/>
                      </a:lnTo>
                      <a:lnTo>
                        <a:pt x="698" y="210"/>
                      </a:lnTo>
                      <a:lnTo>
                        <a:pt x="698" y="209"/>
                      </a:lnTo>
                      <a:lnTo>
                        <a:pt x="698" y="207"/>
                      </a:lnTo>
                      <a:lnTo>
                        <a:pt x="696" y="205"/>
                      </a:lnTo>
                      <a:lnTo>
                        <a:pt x="696" y="203"/>
                      </a:lnTo>
                      <a:lnTo>
                        <a:pt x="696" y="201"/>
                      </a:lnTo>
                      <a:lnTo>
                        <a:pt x="700" y="199"/>
                      </a:lnTo>
                      <a:lnTo>
                        <a:pt x="698" y="197"/>
                      </a:lnTo>
                      <a:lnTo>
                        <a:pt x="696" y="195"/>
                      </a:lnTo>
                      <a:lnTo>
                        <a:pt x="696" y="192"/>
                      </a:lnTo>
                      <a:lnTo>
                        <a:pt x="694" y="188"/>
                      </a:lnTo>
                      <a:lnTo>
                        <a:pt x="696" y="186"/>
                      </a:lnTo>
                      <a:lnTo>
                        <a:pt x="698" y="184"/>
                      </a:lnTo>
                      <a:lnTo>
                        <a:pt x="698" y="186"/>
                      </a:lnTo>
                      <a:lnTo>
                        <a:pt x="698" y="188"/>
                      </a:lnTo>
                      <a:lnTo>
                        <a:pt x="700" y="188"/>
                      </a:lnTo>
                      <a:lnTo>
                        <a:pt x="702" y="188"/>
                      </a:lnTo>
                      <a:lnTo>
                        <a:pt x="702" y="186"/>
                      </a:lnTo>
                      <a:lnTo>
                        <a:pt x="704" y="186"/>
                      </a:lnTo>
                      <a:lnTo>
                        <a:pt x="705" y="186"/>
                      </a:lnTo>
                      <a:lnTo>
                        <a:pt x="707" y="186"/>
                      </a:lnTo>
                      <a:lnTo>
                        <a:pt x="707" y="184"/>
                      </a:lnTo>
                      <a:lnTo>
                        <a:pt x="709" y="184"/>
                      </a:lnTo>
                      <a:lnTo>
                        <a:pt x="711" y="182"/>
                      </a:lnTo>
                      <a:lnTo>
                        <a:pt x="713" y="182"/>
                      </a:lnTo>
                      <a:lnTo>
                        <a:pt x="715" y="182"/>
                      </a:lnTo>
                      <a:lnTo>
                        <a:pt x="717" y="182"/>
                      </a:lnTo>
                      <a:lnTo>
                        <a:pt x="719" y="182"/>
                      </a:lnTo>
                      <a:lnTo>
                        <a:pt x="720" y="182"/>
                      </a:lnTo>
                      <a:lnTo>
                        <a:pt x="722" y="182"/>
                      </a:lnTo>
                      <a:lnTo>
                        <a:pt x="724" y="182"/>
                      </a:lnTo>
                      <a:lnTo>
                        <a:pt x="724" y="180"/>
                      </a:lnTo>
                      <a:lnTo>
                        <a:pt x="726" y="178"/>
                      </a:lnTo>
                      <a:lnTo>
                        <a:pt x="728" y="177"/>
                      </a:lnTo>
                      <a:lnTo>
                        <a:pt x="728" y="175"/>
                      </a:lnTo>
                      <a:lnTo>
                        <a:pt x="730" y="175"/>
                      </a:lnTo>
                      <a:lnTo>
                        <a:pt x="732" y="175"/>
                      </a:lnTo>
                      <a:lnTo>
                        <a:pt x="732" y="177"/>
                      </a:lnTo>
                      <a:lnTo>
                        <a:pt x="734" y="177"/>
                      </a:lnTo>
                      <a:lnTo>
                        <a:pt x="734" y="178"/>
                      </a:lnTo>
                      <a:lnTo>
                        <a:pt x="734" y="180"/>
                      </a:lnTo>
                      <a:lnTo>
                        <a:pt x="735" y="182"/>
                      </a:lnTo>
                      <a:lnTo>
                        <a:pt x="735" y="184"/>
                      </a:lnTo>
                      <a:lnTo>
                        <a:pt x="737" y="184"/>
                      </a:lnTo>
                      <a:lnTo>
                        <a:pt x="737" y="186"/>
                      </a:lnTo>
                      <a:lnTo>
                        <a:pt x="737" y="188"/>
                      </a:lnTo>
                      <a:lnTo>
                        <a:pt x="735" y="190"/>
                      </a:lnTo>
                      <a:lnTo>
                        <a:pt x="735" y="192"/>
                      </a:lnTo>
                      <a:lnTo>
                        <a:pt x="734" y="192"/>
                      </a:lnTo>
                      <a:lnTo>
                        <a:pt x="734" y="194"/>
                      </a:lnTo>
                      <a:lnTo>
                        <a:pt x="735" y="194"/>
                      </a:lnTo>
                      <a:lnTo>
                        <a:pt x="735" y="195"/>
                      </a:lnTo>
                      <a:lnTo>
                        <a:pt x="737" y="195"/>
                      </a:lnTo>
                      <a:lnTo>
                        <a:pt x="739" y="195"/>
                      </a:lnTo>
                      <a:lnTo>
                        <a:pt x="741" y="195"/>
                      </a:lnTo>
                      <a:lnTo>
                        <a:pt x="743" y="195"/>
                      </a:lnTo>
                      <a:lnTo>
                        <a:pt x="743" y="194"/>
                      </a:lnTo>
                      <a:lnTo>
                        <a:pt x="745" y="194"/>
                      </a:lnTo>
                      <a:lnTo>
                        <a:pt x="747" y="192"/>
                      </a:lnTo>
                      <a:lnTo>
                        <a:pt x="749" y="192"/>
                      </a:lnTo>
                      <a:lnTo>
                        <a:pt x="751" y="190"/>
                      </a:lnTo>
                      <a:lnTo>
                        <a:pt x="752" y="190"/>
                      </a:lnTo>
                      <a:lnTo>
                        <a:pt x="752" y="192"/>
                      </a:lnTo>
                      <a:lnTo>
                        <a:pt x="754" y="192"/>
                      </a:lnTo>
                      <a:lnTo>
                        <a:pt x="754" y="194"/>
                      </a:lnTo>
                      <a:lnTo>
                        <a:pt x="752" y="194"/>
                      </a:lnTo>
                      <a:lnTo>
                        <a:pt x="752" y="195"/>
                      </a:lnTo>
                      <a:lnTo>
                        <a:pt x="752" y="197"/>
                      </a:lnTo>
                      <a:lnTo>
                        <a:pt x="754" y="199"/>
                      </a:lnTo>
                      <a:lnTo>
                        <a:pt x="756" y="201"/>
                      </a:lnTo>
                      <a:lnTo>
                        <a:pt x="758" y="201"/>
                      </a:lnTo>
                      <a:lnTo>
                        <a:pt x="760" y="201"/>
                      </a:lnTo>
                      <a:lnTo>
                        <a:pt x="760" y="203"/>
                      </a:lnTo>
                      <a:lnTo>
                        <a:pt x="762" y="203"/>
                      </a:lnTo>
                      <a:lnTo>
                        <a:pt x="766" y="203"/>
                      </a:lnTo>
                      <a:lnTo>
                        <a:pt x="767" y="203"/>
                      </a:lnTo>
                      <a:lnTo>
                        <a:pt x="767" y="201"/>
                      </a:lnTo>
                      <a:lnTo>
                        <a:pt x="769" y="203"/>
                      </a:lnTo>
                      <a:lnTo>
                        <a:pt x="771" y="203"/>
                      </a:lnTo>
                      <a:lnTo>
                        <a:pt x="773" y="205"/>
                      </a:lnTo>
                      <a:lnTo>
                        <a:pt x="775" y="203"/>
                      </a:lnTo>
                      <a:lnTo>
                        <a:pt x="777" y="203"/>
                      </a:lnTo>
                      <a:lnTo>
                        <a:pt x="777" y="201"/>
                      </a:lnTo>
                      <a:lnTo>
                        <a:pt x="777" y="197"/>
                      </a:lnTo>
                      <a:lnTo>
                        <a:pt x="777" y="195"/>
                      </a:lnTo>
                      <a:lnTo>
                        <a:pt x="777" y="194"/>
                      </a:lnTo>
                      <a:lnTo>
                        <a:pt x="777" y="192"/>
                      </a:lnTo>
                      <a:lnTo>
                        <a:pt x="779" y="192"/>
                      </a:lnTo>
                      <a:lnTo>
                        <a:pt x="779" y="190"/>
                      </a:lnTo>
                      <a:lnTo>
                        <a:pt x="781" y="190"/>
                      </a:lnTo>
                      <a:lnTo>
                        <a:pt x="781" y="188"/>
                      </a:lnTo>
                      <a:lnTo>
                        <a:pt x="783" y="188"/>
                      </a:lnTo>
                      <a:lnTo>
                        <a:pt x="784" y="188"/>
                      </a:lnTo>
                      <a:lnTo>
                        <a:pt x="786" y="188"/>
                      </a:lnTo>
                      <a:lnTo>
                        <a:pt x="788" y="188"/>
                      </a:lnTo>
                      <a:lnTo>
                        <a:pt x="790" y="188"/>
                      </a:lnTo>
                      <a:lnTo>
                        <a:pt x="792" y="188"/>
                      </a:lnTo>
                      <a:lnTo>
                        <a:pt x="794" y="188"/>
                      </a:lnTo>
                      <a:lnTo>
                        <a:pt x="796" y="188"/>
                      </a:lnTo>
                      <a:lnTo>
                        <a:pt x="796" y="186"/>
                      </a:lnTo>
                      <a:lnTo>
                        <a:pt x="796" y="184"/>
                      </a:lnTo>
                      <a:lnTo>
                        <a:pt x="798" y="184"/>
                      </a:lnTo>
                      <a:lnTo>
                        <a:pt x="798" y="182"/>
                      </a:lnTo>
                      <a:lnTo>
                        <a:pt x="799" y="182"/>
                      </a:lnTo>
                      <a:lnTo>
                        <a:pt x="799" y="180"/>
                      </a:lnTo>
                      <a:lnTo>
                        <a:pt x="801" y="180"/>
                      </a:lnTo>
                      <a:lnTo>
                        <a:pt x="803" y="180"/>
                      </a:lnTo>
                      <a:lnTo>
                        <a:pt x="805" y="180"/>
                      </a:lnTo>
                      <a:lnTo>
                        <a:pt x="805" y="182"/>
                      </a:lnTo>
                      <a:lnTo>
                        <a:pt x="805" y="180"/>
                      </a:lnTo>
                      <a:lnTo>
                        <a:pt x="807" y="180"/>
                      </a:lnTo>
                      <a:lnTo>
                        <a:pt x="807" y="178"/>
                      </a:lnTo>
                      <a:lnTo>
                        <a:pt x="807" y="177"/>
                      </a:lnTo>
                      <a:lnTo>
                        <a:pt x="805" y="177"/>
                      </a:lnTo>
                      <a:lnTo>
                        <a:pt x="805" y="175"/>
                      </a:lnTo>
                      <a:lnTo>
                        <a:pt x="803" y="173"/>
                      </a:lnTo>
                      <a:lnTo>
                        <a:pt x="803" y="171"/>
                      </a:lnTo>
                      <a:lnTo>
                        <a:pt x="801" y="171"/>
                      </a:lnTo>
                      <a:lnTo>
                        <a:pt x="801" y="169"/>
                      </a:lnTo>
                      <a:lnTo>
                        <a:pt x="801" y="167"/>
                      </a:lnTo>
                      <a:lnTo>
                        <a:pt x="801" y="165"/>
                      </a:lnTo>
                      <a:lnTo>
                        <a:pt x="801" y="163"/>
                      </a:lnTo>
                      <a:lnTo>
                        <a:pt x="803" y="163"/>
                      </a:lnTo>
                      <a:lnTo>
                        <a:pt x="803" y="162"/>
                      </a:lnTo>
                      <a:lnTo>
                        <a:pt x="805" y="162"/>
                      </a:lnTo>
                      <a:lnTo>
                        <a:pt x="805" y="160"/>
                      </a:lnTo>
                      <a:lnTo>
                        <a:pt x="807" y="160"/>
                      </a:lnTo>
                      <a:lnTo>
                        <a:pt x="809" y="160"/>
                      </a:lnTo>
                      <a:lnTo>
                        <a:pt x="809" y="162"/>
                      </a:lnTo>
                      <a:lnTo>
                        <a:pt x="811" y="163"/>
                      </a:lnTo>
                      <a:lnTo>
                        <a:pt x="813" y="165"/>
                      </a:lnTo>
                      <a:lnTo>
                        <a:pt x="814" y="167"/>
                      </a:lnTo>
                      <a:lnTo>
                        <a:pt x="814" y="169"/>
                      </a:lnTo>
                      <a:lnTo>
                        <a:pt x="814" y="171"/>
                      </a:lnTo>
                      <a:lnTo>
                        <a:pt x="814" y="173"/>
                      </a:lnTo>
                      <a:lnTo>
                        <a:pt x="816" y="173"/>
                      </a:lnTo>
                      <a:lnTo>
                        <a:pt x="818" y="173"/>
                      </a:lnTo>
                      <a:lnTo>
                        <a:pt x="818" y="171"/>
                      </a:lnTo>
                      <a:lnTo>
                        <a:pt x="818" y="169"/>
                      </a:lnTo>
                      <a:lnTo>
                        <a:pt x="818" y="167"/>
                      </a:lnTo>
                      <a:lnTo>
                        <a:pt x="818" y="165"/>
                      </a:lnTo>
                      <a:lnTo>
                        <a:pt x="820" y="165"/>
                      </a:lnTo>
                      <a:lnTo>
                        <a:pt x="820" y="163"/>
                      </a:lnTo>
                      <a:lnTo>
                        <a:pt x="822" y="163"/>
                      </a:lnTo>
                      <a:lnTo>
                        <a:pt x="822" y="162"/>
                      </a:lnTo>
                      <a:lnTo>
                        <a:pt x="824" y="162"/>
                      </a:lnTo>
                      <a:lnTo>
                        <a:pt x="826" y="160"/>
                      </a:lnTo>
                      <a:lnTo>
                        <a:pt x="828" y="160"/>
                      </a:lnTo>
                      <a:lnTo>
                        <a:pt x="830" y="160"/>
                      </a:lnTo>
                      <a:lnTo>
                        <a:pt x="831" y="160"/>
                      </a:lnTo>
                      <a:lnTo>
                        <a:pt x="833" y="160"/>
                      </a:lnTo>
                      <a:lnTo>
                        <a:pt x="835" y="158"/>
                      </a:lnTo>
                      <a:lnTo>
                        <a:pt x="837" y="158"/>
                      </a:lnTo>
                      <a:lnTo>
                        <a:pt x="839" y="158"/>
                      </a:lnTo>
                      <a:lnTo>
                        <a:pt x="841" y="158"/>
                      </a:lnTo>
                      <a:lnTo>
                        <a:pt x="843" y="158"/>
                      </a:lnTo>
                      <a:lnTo>
                        <a:pt x="845" y="156"/>
                      </a:lnTo>
                      <a:lnTo>
                        <a:pt x="846" y="156"/>
                      </a:lnTo>
                      <a:lnTo>
                        <a:pt x="846" y="154"/>
                      </a:lnTo>
                      <a:lnTo>
                        <a:pt x="848" y="154"/>
                      </a:lnTo>
                      <a:lnTo>
                        <a:pt x="850" y="156"/>
                      </a:lnTo>
                      <a:lnTo>
                        <a:pt x="852" y="156"/>
                      </a:lnTo>
                      <a:lnTo>
                        <a:pt x="852" y="154"/>
                      </a:lnTo>
                      <a:lnTo>
                        <a:pt x="854" y="154"/>
                      </a:lnTo>
                      <a:lnTo>
                        <a:pt x="856" y="154"/>
                      </a:lnTo>
                      <a:lnTo>
                        <a:pt x="858" y="154"/>
                      </a:lnTo>
                      <a:lnTo>
                        <a:pt x="858" y="152"/>
                      </a:lnTo>
                      <a:lnTo>
                        <a:pt x="860" y="152"/>
                      </a:lnTo>
                      <a:lnTo>
                        <a:pt x="860" y="154"/>
                      </a:lnTo>
                      <a:lnTo>
                        <a:pt x="862" y="154"/>
                      </a:lnTo>
                      <a:lnTo>
                        <a:pt x="862" y="156"/>
                      </a:lnTo>
                      <a:lnTo>
                        <a:pt x="863" y="158"/>
                      </a:lnTo>
                      <a:lnTo>
                        <a:pt x="865" y="160"/>
                      </a:lnTo>
                      <a:lnTo>
                        <a:pt x="867" y="160"/>
                      </a:lnTo>
                      <a:lnTo>
                        <a:pt x="869" y="160"/>
                      </a:lnTo>
                      <a:lnTo>
                        <a:pt x="871" y="160"/>
                      </a:lnTo>
                      <a:lnTo>
                        <a:pt x="873" y="158"/>
                      </a:lnTo>
                      <a:lnTo>
                        <a:pt x="871" y="156"/>
                      </a:lnTo>
                      <a:lnTo>
                        <a:pt x="871" y="154"/>
                      </a:lnTo>
                      <a:lnTo>
                        <a:pt x="873" y="154"/>
                      </a:lnTo>
                      <a:lnTo>
                        <a:pt x="871" y="154"/>
                      </a:lnTo>
                      <a:lnTo>
                        <a:pt x="871" y="152"/>
                      </a:lnTo>
                      <a:lnTo>
                        <a:pt x="871" y="150"/>
                      </a:lnTo>
                      <a:lnTo>
                        <a:pt x="869" y="150"/>
                      </a:lnTo>
                      <a:lnTo>
                        <a:pt x="867" y="150"/>
                      </a:lnTo>
                      <a:lnTo>
                        <a:pt x="867" y="148"/>
                      </a:lnTo>
                      <a:lnTo>
                        <a:pt x="867" y="146"/>
                      </a:lnTo>
                      <a:lnTo>
                        <a:pt x="869" y="146"/>
                      </a:lnTo>
                      <a:lnTo>
                        <a:pt x="869" y="145"/>
                      </a:lnTo>
                      <a:lnTo>
                        <a:pt x="871" y="145"/>
                      </a:lnTo>
                      <a:lnTo>
                        <a:pt x="871" y="143"/>
                      </a:lnTo>
                      <a:lnTo>
                        <a:pt x="873" y="143"/>
                      </a:lnTo>
                      <a:lnTo>
                        <a:pt x="875" y="143"/>
                      </a:lnTo>
                      <a:lnTo>
                        <a:pt x="877" y="143"/>
                      </a:lnTo>
                      <a:lnTo>
                        <a:pt x="878" y="145"/>
                      </a:lnTo>
                      <a:lnTo>
                        <a:pt x="880" y="145"/>
                      </a:lnTo>
                      <a:lnTo>
                        <a:pt x="880" y="146"/>
                      </a:lnTo>
                      <a:lnTo>
                        <a:pt x="882" y="148"/>
                      </a:lnTo>
                      <a:lnTo>
                        <a:pt x="884" y="148"/>
                      </a:lnTo>
                      <a:lnTo>
                        <a:pt x="884" y="150"/>
                      </a:lnTo>
                      <a:lnTo>
                        <a:pt x="884" y="152"/>
                      </a:lnTo>
                      <a:lnTo>
                        <a:pt x="884" y="154"/>
                      </a:lnTo>
                      <a:lnTo>
                        <a:pt x="884" y="156"/>
                      </a:lnTo>
                      <a:lnTo>
                        <a:pt x="884" y="158"/>
                      </a:lnTo>
                      <a:lnTo>
                        <a:pt x="886" y="158"/>
                      </a:lnTo>
                      <a:lnTo>
                        <a:pt x="888" y="158"/>
                      </a:lnTo>
                      <a:lnTo>
                        <a:pt x="890" y="158"/>
                      </a:lnTo>
                      <a:lnTo>
                        <a:pt x="892" y="158"/>
                      </a:lnTo>
                      <a:lnTo>
                        <a:pt x="893" y="158"/>
                      </a:lnTo>
                      <a:lnTo>
                        <a:pt x="895" y="160"/>
                      </a:lnTo>
                      <a:lnTo>
                        <a:pt x="897" y="160"/>
                      </a:lnTo>
                      <a:lnTo>
                        <a:pt x="899" y="160"/>
                      </a:lnTo>
                      <a:lnTo>
                        <a:pt x="901" y="160"/>
                      </a:lnTo>
                      <a:lnTo>
                        <a:pt x="901" y="162"/>
                      </a:lnTo>
                      <a:lnTo>
                        <a:pt x="901" y="163"/>
                      </a:lnTo>
                      <a:lnTo>
                        <a:pt x="901" y="165"/>
                      </a:lnTo>
                      <a:lnTo>
                        <a:pt x="901" y="167"/>
                      </a:lnTo>
                      <a:lnTo>
                        <a:pt x="901" y="169"/>
                      </a:lnTo>
                      <a:lnTo>
                        <a:pt x="903" y="169"/>
                      </a:lnTo>
                      <a:lnTo>
                        <a:pt x="905" y="171"/>
                      </a:lnTo>
                      <a:lnTo>
                        <a:pt x="905" y="173"/>
                      </a:lnTo>
                      <a:lnTo>
                        <a:pt x="905" y="175"/>
                      </a:lnTo>
                      <a:lnTo>
                        <a:pt x="907" y="175"/>
                      </a:lnTo>
                      <a:lnTo>
                        <a:pt x="909" y="175"/>
                      </a:lnTo>
                      <a:lnTo>
                        <a:pt x="910" y="175"/>
                      </a:lnTo>
                      <a:lnTo>
                        <a:pt x="912" y="173"/>
                      </a:lnTo>
                      <a:lnTo>
                        <a:pt x="914" y="173"/>
                      </a:lnTo>
                      <a:lnTo>
                        <a:pt x="916" y="173"/>
                      </a:lnTo>
                      <a:lnTo>
                        <a:pt x="918" y="175"/>
                      </a:lnTo>
                      <a:lnTo>
                        <a:pt x="920" y="175"/>
                      </a:lnTo>
                      <a:lnTo>
                        <a:pt x="922" y="177"/>
                      </a:lnTo>
                      <a:lnTo>
                        <a:pt x="924" y="177"/>
                      </a:lnTo>
                      <a:lnTo>
                        <a:pt x="925" y="177"/>
                      </a:lnTo>
                      <a:lnTo>
                        <a:pt x="925" y="175"/>
                      </a:lnTo>
                      <a:lnTo>
                        <a:pt x="927" y="175"/>
                      </a:lnTo>
                      <a:lnTo>
                        <a:pt x="927" y="173"/>
                      </a:lnTo>
                      <a:lnTo>
                        <a:pt x="929" y="173"/>
                      </a:lnTo>
                      <a:lnTo>
                        <a:pt x="931" y="173"/>
                      </a:lnTo>
                      <a:lnTo>
                        <a:pt x="933" y="173"/>
                      </a:lnTo>
                      <a:lnTo>
                        <a:pt x="935" y="171"/>
                      </a:lnTo>
                      <a:lnTo>
                        <a:pt x="935" y="169"/>
                      </a:lnTo>
                      <a:lnTo>
                        <a:pt x="937" y="169"/>
                      </a:lnTo>
                      <a:lnTo>
                        <a:pt x="939" y="169"/>
                      </a:lnTo>
                      <a:lnTo>
                        <a:pt x="941" y="167"/>
                      </a:lnTo>
                      <a:lnTo>
                        <a:pt x="942" y="167"/>
                      </a:lnTo>
                      <a:lnTo>
                        <a:pt x="944" y="167"/>
                      </a:lnTo>
                      <a:lnTo>
                        <a:pt x="946" y="167"/>
                      </a:lnTo>
                      <a:lnTo>
                        <a:pt x="946" y="169"/>
                      </a:lnTo>
                      <a:lnTo>
                        <a:pt x="948" y="169"/>
                      </a:lnTo>
                      <a:lnTo>
                        <a:pt x="950" y="169"/>
                      </a:lnTo>
                      <a:lnTo>
                        <a:pt x="950" y="171"/>
                      </a:lnTo>
                      <a:lnTo>
                        <a:pt x="952" y="171"/>
                      </a:lnTo>
                      <a:lnTo>
                        <a:pt x="954" y="173"/>
                      </a:lnTo>
                      <a:lnTo>
                        <a:pt x="956" y="175"/>
                      </a:lnTo>
                      <a:lnTo>
                        <a:pt x="957" y="175"/>
                      </a:lnTo>
                      <a:lnTo>
                        <a:pt x="959" y="175"/>
                      </a:lnTo>
                      <a:lnTo>
                        <a:pt x="959" y="177"/>
                      </a:lnTo>
                      <a:lnTo>
                        <a:pt x="959" y="178"/>
                      </a:lnTo>
                      <a:lnTo>
                        <a:pt x="957" y="180"/>
                      </a:lnTo>
                      <a:lnTo>
                        <a:pt x="957" y="182"/>
                      </a:lnTo>
                      <a:lnTo>
                        <a:pt x="957" y="184"/>
                      </a:lnTo>
                      <a:lnTo>
                        <a:pt x="956" y="184"/>
                      </a:lnTo>
                      <a:lnTo>
                        <a:pt x="957" y="186"/>
                      </a:lnTo>
                      <a:lnTo>
                        <a:pt x="959" y="186"/>
                      </a:lnTo>
                      <a:lnTo>
                        <a:pt x="961" y="186"/>
                      </a:lnTo>
                      <a:lnTo>
                        <a:pt x="961" y="188"/>
                      </a:lnTo>
                      <a:lnTo>
                        <a:pt x="963" y="188"/>
                      </a:lnTo>
                      <a:lnTo>
                        <a:pt x="965" y="188"/>
                      </a:lnTo>
                      <a:lnTo>
                        <a:pt x="965" y="190"/>
                      </a:lnTo>
                      <a:lnTo>
                        <a:pt x="967" y="190"/>
                      </a:lnTo>
                      <a:lnTo>
                        <a:pt x="969" y="190"/>
                      </a:lnTo>
                      <a:lnTo>
                        <a:pt x="969" y="192"/>
                      </a:lnTo>
                      <a:lnTo>
                        <a:pt x="971" y="192"/>
                      </a:lnTo>
                      <a:lnTo>
                        <a:pt x="971" y="194"/>
                      </a:lnTo>
                      <a:lnTo>
                        <a:pt x="972" y="194"/>
                      </a:lnTo>
                      <a:lnTo>
                        <a:pt x="974" y="195"/>
                      </a:lnTo>
                      <a:lnTo>
                        <a:pt x="976" y="197"/>
                      </a:lnTo>
                      <a:lnTo>
                        <a:pt x="978" y="197"/>
                      </a:lnTo>
                      <a:lnTo>
                        <a:pt x="980" y="197"/>
                      </a:lnTo>
                      <a:lnTo>
                        <a:pt x="982" y="197"/>
                      </a:lnTo>
                      <a:lnTo>
                        <a:pt x="984" y="197"/>
                      </a:lnTo>
                      <a:lnTo>
                        <a:pt x="986" y="195"/>
                      </a:lnTo>
                      <a:lnTo>
                        <a:pt x="986" y="197"/>
                      </a:lnTo>
                      <a:lnTo>
                        <a:pt x="988" y="197"/>
                      </a:lnTo>
                      <a:lnTo>
                        <a:pt x="989" y="197"/>
                      </a:lnTo>
                      <a:lnTo>
                        <a:pt x="991" y="197"/>
                      </a:lnTo>
                      <a:lnTo>
                        <a:pt x="993" y="197"/>
                      </a:lnTo>
                      <a:lnTo>
                        <a:pt x="993" y="195"/>
                      </a:lnTo>
                      <a:lnTo>
                        <a:pt x="995" y="195"/>
                      </a:lnTo>
                      <a:lnTo>
                        <a:pt x="995" y="197"/>
                      </a:lnTo>
                      <a:lnTo>
                        <a:pt x="995" y="199"/>
                      </a:lnTo>
                      <a:lnTo>
                        <a:pt x="997" y="199"/>
                      </a:lnTo>
                      <a:lnTo>
                        <a:pt x="995" y="199"/>
                      </a:lnTo>
                      <a:lnTo>
                        <a:pt x="995" y="201"/>
                      </a:lnTo>
                      <a:lnTo>
                        <a:pt x="993" y="201"/>
                      </a:lnTo>
                      <a:lnTo>
                        <a:pt x="993" y="203"/>
                      </a:lnTo>
                      <a:lnTo>
                        <a:pt x="993" y="205"/>
                      </a:lnTo>
                      <a:lnTo>
                        <a:pt x="995" y="205"/>
                      </a:lnTo>
                      <a:lnTo>
                        <a:pt x="997" y="205"/>
                      </a:lnTo>
                      <a:lnTo>
                        <a:pt x="999" y="205"/>
                      </a:lnTo>
                      <a:lnTo>
                        <a:pt x="1001" y="205"/>
                      </a:lnTo>
                      <a:lnTo>
                        <a:pt x="1001" y="203"/>
                      </a:lnTo>
                      <a:lnTo>
                        <a:pt x="1003" y="203"/>
                      </a:lnTo>
                      <a:lnTo>
                        <a:pt x="1003" y="201"/>
                      </a:lnTo>
                      <a:lnTo>
                        <a:pt x="1004" y="201"/>
                      </a:lnTo>
                      <a:lnTo>
                        <a:pt x="1004" y="199"/>
                      </a:lnTo>
                      <a:lnTo>
                        <a:pt x="1004" y="197"/>
                      </a:lnTo>
                      <a:lnTo>
                        <a:pt x="1006" y="197"/>
                      </a:lnTo>
                      <a:lnTo>
                        <a:pt x="1006" y="199"/>
                      </a:lnTo>
                      <a:lnTo>
                        <a:pt x="1008" y="201"/>
                      </a:lnTo>
                      <a:lnTo>
                        <a:pt x="1008" y="203"/>
                      </a:lnTo>
                      <a:lnTo>
                        <a:pt x="1010" y="203"/>
                      </a:lnTo>
                      <a:lnTo>
                        <a:pt x="1012" y="203"/>
                      </a:lnTo>
                      <a:lnTo>
                        <a:pt x="1014" y="203"/>
                      </a:lnTo>
                      <a:lnTo>
                        <a:pt x="1016" y="203"/>
                      </a:lnTo>
                      <a:lnTo>
                        <a:pt x="1016" y="201"/>
                      </a:lnTo>
                      <a:lnTo>
                        <a:pt x="1018" y="199"/>
                      </a:lnTo>
                      <a:lnTo>
                        <a:pt x="1018" y="197"/>
                      </a:lnTo>
                      <a:lnTo>
                        <a:pt x="1020" y="197"/>
                      </a:lnTo>
                      <a:lnTo>
                        <a:pt x="1021" y="197"/>
                      </a:lnTo>
                      <a:lnTo>
                        <a:pt x="1023" y="197"/>
                      </a:lnTo>
                      <a:lnTo>
                        <a:pt x="1025" y="197"/>
                      </a:lnTo>
                      <a:lnTo>
                        <a:pt x="1027" y="197"/>
                      </a:lnTo>
                      <a:lnTo>
                        <a:pt x="1027" y="195"/>
                      </a:lnTo>
                      <a:lnTo>
                        <a:pt x="1029" y="195"/>
                      </a:lnTo>
                      <a:lnTo>
                        <a:pt x="1029" y="194"/>
                      </a:lnTo>
                      <a:lnTo>
                        <a:pt x="1031" y="194"/>
                      </a:lnTo>
                      <a:lnTo>
                        <a:pt x="1031" y="192"/>
                      </a:lnTo>
                      <a:lnTo>
                        <a:pt x="1033" y="192"/>
                      </a:lnTo>
                      <a:lnTo>
                        <a:pt x="1035" y="192"/>
                      </a:lnTo>
                      <a:lnTo>
                        <a:pt x="1036" y="190"/>
                      </a:lnTo>
                      <a:lnTo>
                        <a:pt x="1038" y="190"/>
                      </a:lnTo>
                      <a:lnTo>
                        <a:pt x="1040" y="190"/>
                      </a:lnTo>
                      <a:lnTo>
                        <a:pt x="1042" y="190"/>
                      </a:lnTo>
                      <a:lnTo>
                        <a:pt x="1042" y="192"/>
                      </a:lnTo>
                      <a:lnTo>
                        <a:pt x="1044" y="192"/>
                      </a:lnTo>
                      <a:lnTo>
                        <a:pt x="1044" y="194"/>
                      </a:lnTo>
                      <a:lnTo>
                        <a:pt x="1046" y="195"/>
                      </a:lnTo>
                      <a:lnTo>
                        <a:pt x="1046" y="197"/>
                      </a:lnTo>
                      <a:lnTo>
                        <a:pt x="1048" y="197"/>
                      </a:lnTo>
                      <a:lnTo>
                        <a:pt x="1048" y="199"/>
                      </a:lnTo>
                      <a:lnTo>
                        <a:pt x="1050" y="201"/>
                      </a:lnTo>
                      <a:lnTo>
                        <a:pt x="1050" y="203"/>
                      </a:lnTo>
                      <a:lnTo>
                        <a:pt x="1051" y="203"/>
                      </a:lnTo>
                      <a:lnTo>
                        <a:pt x="1053" y="203"/>
                      </a:lnTo>
                      <a:lnTo>
                        <a:pt x="1055" y="203"/>
                      </a:lnTo>
                      <a:lnTo>
                        <a:pt x="1057" y="203"/>
                      </a:lnTo>
                      <a:lnTo>
                        <a:pt x="1057" y="201"/>
                      </a:lnTo>
                      <a:lnTo>
                        <a:pt x="1057" y="199"/>
                      </a:lnTo>
                      <a:lnTo>
                        <a:pt x="1057" y="197"/>
                      </a:lnTo>
                      <a:lnTo>
                        <a:pt x="1057" y="195"/>
                      </a:lnTo>
                      <a:lnTo>
                        <a:pt x="1059" y="195"/>
                      </a:lnTo>
                      <a:lnTo>
                        <a:pt x="1061" y="195"/>
                      </a:lnTo>
                      <a:lnTo>
                        <a:pt x="1061" y="197"/>
                      </a:lnTo>
                      <a:lnTo>
                        <a:pt x="1063" y="197"/>
                      </a:lnTo>
                      <a:lnTo>
                        <a:pt x="1065" y="197"/>
                      </a:lnTo>
                      <a:lnTo>
                        <a:pt x="1067" y="197"/>
                      </a:lnTo>
                      <a:lnTo>
                        <a:pt x="1068" y="197"/>
                      </a:lnTo>
                      <a:lnTo>
                        <a:pt x="1070" y="197"/>
                      </a:lnTo>
                      <a:lnTo>
                        <a:pt x="1072" y="197"/>
                      </a:lnTo>
                      <a:lnTo>
                        <a:pt x="1074" y="197"/>
                      </a:lnTo>
                      <a:lnTo>
                        <a:pt x="1074" y="195"/>
                      </a:lnTo>
                      <a:lnTo>
                        <a:pt x="1076" y="195"/>
                      </a:lnTo>
                      <a:lnTo>
                        <a:pt x="1076" y="194"/>
                      </a:lnTo>
                      <a:lnTo>
                        <a:pt x="1076" y="192"/>
                      </a:lnTo>
                      <a:lnTo>
                        <a:pt x="1074" y="190"/>
                      </a:lnTo>
                      <a:lnTo>
                        <a:pt x="1074" y="188"/>
                      </a:lnTo>
                      <a:lnTo>
                        <a:pt x="1072" y="188"/>
                      </a:lnTo>
                      <a:lnTo>
                        <a:pt x="1072" y="186"/>
                      </a:lnTo>
                      <a:lnTo>
                        <a:pt x="1070" y="186"/>
                      </a:lnTo>
                      <a:lnTo>
                        <a:pt x="1070" y="184"/>
                      </a:lnTo>
                      <a:lnTo>
                        <a:pt x="1072" y="184"/>
                      </a:lnTo>
                      <a:lnTo>
                        <a:pt x="1074" y="184"/>
                      </a:lnTo>
                      <a:lnTo>
                        <a:pt x="1074" y="182"/>
                      </a:lnTo>
                      <a:lnTo>
                        <a:pt x="1076" y="180"/>
                      </a:lnTo>
                      <a:lnTo>
                        <a:pt x="1078" y="180"/>
                      </a:lnTo>
                      <a:lnTo>
                        <a:pt x="1078" y="178"/>
                      </a:lnTo>
                      <a:lnTo>
                        <a:pt x="1080" y="178"/>
                      </a:lnTo>
                      <a:lnTo>
                        <a:pt x="1082" y="178"/>
                      </a:lnTo>
                      <a:lnTo>
                        <a:pt x="1083" y="177"/>
                      </a:lnTo>
                      <a:lnTo>
                        <a:pt x="1085" y="177"/>
                      </a:lnTo>
                      <a:lnTo>
                        <a:pt x="1087" y="177"/>
                      </a:lnTo>
                      <a:lnTo>
                        <a:pt x="1089" y="177"/>
                      </a:lnTo>
                      <a:lnTo>
                        <a:pt x="1091" y="177"/>
                      </a:lnTo>
                      <a:lnTo>
                        <a:pt x="1091" y="178"/>
                      </a:lnTo>
                      <a:lnTo>
                        <a:pt x="1093" y="178"/>
                      </a:lnTo>
                      <a:lnTo>
                        <a:pt x="1093" y="180"/>
                      </a:lnTo>
                      <a:lnTo>
                        <a:pt x="1095" y="178"/>
                      </a:lnTo>
                      <a:lnTo>
                        <a:pt x="1097" y="178"/>
                      </a:lnTo>
                      <a:lnTo>
                        <a:pt x="1099" y="178"/>
                      </a:lnTo>
                      <a:lnTo>
                        <a:pt x="1099" y="177"/>
                      </a:lnTo>
                      <a:lnTo>
                        <a:pt x="1099" y="175"/>
                      </a:lnTo>
                      <a:lnTo>
                        <a:pt x="1100" y="175"/>
                      </a:lnTo>
                      <a:lnTo>
                        <a:pt x="1100" y="173"/>
                      </a:lnTo>
                      <a:lnTo>
                        <a:pt x="1100" y="171"/>
                      </a:lnTo>
                      <a:lnTo>
                        <a:pt x="1099" y="171"/>
                      </a:lnTo>
                      <a:lnTo>
                        <a:pt x="1097" y="171"/>
                      </a:lnTo>
                      <a:lnTo>
                        <a:pt x="1095" y="171"/>
                      </a:lnTo>
                      <a:lnTo>
                        <a:pt x="1095" y="169"/>
                      </a:lnTo>
                      <a:lnTo>
                        <a:pt x="1095" y="167"/>
                      </a:lnTo>
                      <a:lnTo>
                        <a:pt x="1093" y="165"/>
                      </a:lnTo>
                      <a:lnTo>
                        <a:pt x="1091" y="165"/>
                      </a:lnTo>
                      <a:lnTo>
                        <a:pt x="1089" y="163"/>
                      </a:lnTo>
                      <a:lnTo>
                        <a:pt x="1089" y="162"/>
                      </a:lnTo>
                      <a:lnTo>
                        <a:pt x="1089" y="160"/>
                      </a:lnTo>
                      <a:lnTo>
                        <a:pt x="1091" y="160"/>
                      </a:lnTo>
                      <a:lnTo>
                        <a:pt x="1093" y="160"/>
                      </a:lnTo>
                      <a:lnTo>
                        <a:pt x="1095" y="160"/>
                      </a:lnTo>
                      <a:lnTo>
                        <a:pt x="1095" y="158"/>
                      </a:lnTo>
                      <a:lnTo>
                        <a:pt x="1097" y="158"/>
                      </a:lnTo>
                      <a:lnTo>
                        <a:pt x="1097" y="160"/>
                      </a:lnTo>
                      <a:lnTo>
                        <a:pt x="1099" y="160"/>
                      </a:lnTo>
                      <a:lnTo>
                        <a:pt x="1100" y="160"/>
                      </a:lnTo>
                      <a:lnTo>
                        <a:pt x="1100" y="158"/>
                      </a:lnTo>
                      <a:lnTo>
                        <a:pt x="1102" y="158"/>
                      </a:lnTo>
                      <a:lnTo>
                        <a:pt x="1104" y="158"/>
                      </a:lnTo>
                      <a:lnTo>
                        <a:pt x="1106" y="158"/>
                      </a:lnTo>
                      <a:lnTo>
                        <a:pt x="1106" y="156"/>
                      </a:lnTo>
                      <a:lnTo>
                        <a:pt x="1108" y="156"/>
                      </a:lnTo>
                      <a:lnTo>
                        <a:pt x="1110" y="156"/>
                      </a:lnTo>
                      <a:lnTo>
                        <a:pt x="1112" y="156"/>
                      </a:lnTo>
                      <a:lnTo>
                        <a:pt x="1112" y="158"/>
                      </a:lnTo>
                      <a:lnTo>
                        <a:pt x="1112" y="160"/>
                      </a:lnTo>
                      <a:lnTo>
                        <a:pt x="1112" y="162"/>
                      </a:lnTo>
                      <a:lnTo>
                        <a:pt x="1114" y="162"/>
                      </a:lnTo>
                      <a:lnTo>
                        <a:pt x="1114" y="163"/>
                      </a:lnTo>
                      <a:lnTo>
                        <a:pt x="1115" y="165"/>
                      </a:lnTo>
                      <a:lnTo>
                        <a:pt x="1117" y="165"/>
                      </a:lnTo>
                      <a:lnTo>
                        <a:pt x="1117" y="163"/>
                      </a:lnTo>
                      <a:lnTo>
                        <a:pt x="1119" y="163"/>
                      </a:lnTo>
                      <a:lnTo>
                        <a:pt x="1119" y="162"/>
                      </a:lnTo>
                      <a:lnTo>
                        <a:pt x="1119" y="160"/>
                      </a:lnTo>
                      <a:lnTo>
                        <a:pt x="1121" y="160"/>
                      </a:lnTo>
                      <a:lnTo>
                        <a:pt x="1123" y="160"/>
                      </a:lnTo>
                      <a:lnTo>
                        <a:pt x="1125" y="158"/>
                      </a:lnTo>
                      <a:lnTo>
                        <a:pt x="1125" y="156"/>
                      </a:lnTo>
                      <a:lnTo>
                        <a:pt x="1123" y="156"/>
                      </a:lnTo>
                      <a:lnTo>
                        <a:pt x="1123" y="154"/>
                      </a:lnTo>
                      <a:lnTo>
                        <a:pt x="1121" y="152"/>
                      </a:lnTo>
                      <a:lnTo>
                        <a:pt x="1123" y="150"/>
                      </a:lnTo>
                      <a:lnTo>
                        <a:pt x="1125" y="150"/>
                      </a:lnTo>
                      <a:lnTo>
                        <a:pt x="1127" y="150"/>
                      </a:lnTo>
                      <a:lnTo>
                        <a:pt x="1127" y="152"/>
                      </a:lnTo>
                      <a:lnTo>
                        <a:pt x="1129" y="152"/>
                      </a:lnTo>
                      <a:lnTo>
                        <a:pt x="1130" y="152"/>
                      </a:lnTo>
                      <a:lnTo>
                        <a:pt x="1132" y="152"/>
                      </a:lnTo>
                      <a:lnTo>
                        <a:pt x="1134" y="152"/>
                      </a:lnTo>
                      <a:lnTo>
                        <a:pt x="1134" y="154"/>
                      </a:lnTo>
                      <a:lnTo>
                        <a:pt x="1136" y="154"/>
                      </a:lnTo>
                      <a:lnTo>
                        <a:pt x="1136" y="156"/>
                      </a:lnTo>
                      <a:lnTo>
                        <a:pt x="1138" y="156"/>
                      </a:lnTo>
                      <a:lnTo>
                        <a:pt x="1138" y="154"/>
                      </a:lnTo>
                      <a:lnTo>
                        <a:pt x="1138" y="152"/>
                      </a:lnTo>
                      <a:lnTo>
                        <a:pt x="1140" y="152"/>
                      </a:lnTo>
                      <a:lnTo>
                        <a:pt x="1142" y="150"/>
                      </a:lnTo>
                      <a:lnTo>
                        <a:pt x="1142" y="148"/>
                      </a:lnTo>
                      <a:lnTo>
                        <a:pt x="1142" y="146"/>
                      </a:lnTo>
                      <a:lnTo>
                        <a:pt x="1142" y="145"/>
                      </a:lnTo>
                      <a:lnTo>
                        <a:pt x="1144" y="145"/>
                      </a:lnTo>
                      <a:lnTo>
                        <a:pt x="1146" y="145"/>
                      </a:lnTo>
                      <a:lnTo>
                        <a:pt x="1146" y="146"/>
                      </a:lnTo>
                      <a:lnTo>
                        <a:pt x="1146" y="148"/>
                      </a:lnTo>
                      <a:lnTo>
                        <a:pt x="1146" y="150"/>
                      </a:lnTo>
                      <a:lnTo>
                        <a:pt x="1147" y="150"/>
                      </a:lnTo>
                      <a:lnTo>
                        <a:pt x="1147" y="152"/>
                      </a:lnTo>
                      <a:lnTo>
                        <a:pt x="1147" y="150"/>
                      </a:lnTo>
                      <a:lnTo>
                        <a:pt x="1147" y="148"/>
                      </a:lnTo>
                      <a:lnTo>
                        <a:pt x="1147" y="146"/>
                      </a:lnTo>
                      <a:lnTo>
                        <a:pt x="1149" y="146"/>
                      </a:lnTo>
                      <a:lnTo>
                        <a:pt x="1149" y="145"/>
                      </a:lnTo>
                      <a:lnTo>
                        <a:pt x="1149" y="143"/>
                      </a:lnTo>
                      <a:lnTo>
                        <a:pt x="1151" y="143"/>
                      </a:lnTo>
                      <a:lnTo>
                        <a:pt x="1153" y="143"/>
                      </a:lnTo>
                      <a:lnTo>
                        <a:pt x="1153" y="145"/>
                      </a:lnTo>
                      <a:lnTo>
                        <a:pt x="1153" y="146"/>
                      </a:lnTo>
                      <a:lnTo>
                        <a:pt x="1153" y="148"/>
                      </a:lnTo>
                      <a:lnTo>
                        <a:pt x="1155" y="148"/>
                      </a:lnTo>
                      <a:lnTo>
                        <a:pt x="1157" y="148"/>
                      </a:lnTo>
                      <a:lnTo>
                        <a:pt x="1157" y="150"/>
                      </a:lnTo>
                      <a:lnTo>
                        <a:pt x="1159" y="150"/>
                      </a:lnTo>
                      <a:lnTo>
                        <a:pt x="1159" y="148"/>
                      </a:lnTo>
                      <a:lnTo>
                        <a:pt x="1161" y="148"/>
                      </a:lnTo>
                      <a:lnTo>
                        <a:pt x="1162" y="148"/>
                      </a:lnTo>
                      <a:lnTo>
                        <a:pt x="1162" y="150"/>
                      </a:lnTo>
                      <a:lnTo>
                        <a:pt x="1164" y="152"/>
                      </a:lnTo>
                      <a:lnTo>
                        <a:pt x="1166" y="152"/>
                      </a:lnTo>
                      <a:lnTo>
                        <a:pt x="1166" y="150"/>
                      </a:lnTo>
                      <a:lnTo>
                        <a:pt x="1166" y="148"/>
                      </a:lnTo>
                      <a:lnTo>
                        <a:pt x="1166" y="146"/>
                      </a:lnTo>
                      <a:lnTo>
                        <a:pt x="1168" y="145"/>
                      </a:lnTo>
                      <a:lnTo>
                        <a:pt x="1170" y="145"/>
                      </a:lnTo>
                      <a:lnTo>
                        <a:pt x="1172" y="145"/>
                      </a:lnTo>
                      <a:lnTo>
                        <a:pt x="1174" y="143"/>
                      </a:lnTo>
                      <a:lnTo>
                        <a:pt x="1172" y="143"/>
                      </a:lnTo>
                      <a:lnTo>
                        <a:pt x="1172" y="141"/>
                      </a:lnTo>
                      <a:lnTo>
                        <a:pt x="1170" y="141"/>
                      </a:lnTo>
                      <a:lnTo>
                        <a:pt x="1170" y="139"/>
                      </a:lnTo>
                      <a:lnTo>
                        <a:pt x="1168" y="139"/>
                      </a:lnTo>
                      <a:lnTo>
                        <a:pt x="1166" y="137"/>
                      </a:lnTo>
                      <a:lnTo>
                        <a:pt x="1164" y="137"/>
                      </a:lnTo>
                      <a:lnTo>
                        <a:pt x="1164" y="135"/>
                      </a:lnTo>
                      <a:lnTo>
                        <a:pt x="1164" y="133"/>
                      </a:lnTo>
                      <a:lnTo>
                        <a:pt x="1166" y="131"/>
                      </a:lnTo>
                      <a:lnTo>
                        <a:pt x="1168" y="131"/>
                      </a:lnTo>
                      <a:lnTo>
                        <a:pt x="1170" y="131"/>
                      </a:lnTo>
                      <a:lnTo>
                        <a:pt x="1172" y="131"/>
                      </a:lnTo>
                      <a:lnTo>
                        <a:pt x="1172" y="133"/>
                      </a:lnTo>
                      <a:lnTo>
                        <a:pt x="1174" y="133"/>
                      </a:lnTo>
                      <a:lnTo>
                        <a:pt x="1176" y="133"/>
                      </a:lnTo>
                      <a:lnTo>
                        <a:pt x="1178" y="133"/>
                      </a:lnTo>
                      <a:lnTo>
                        <a:pt x="1179" y="133"/>
                      </a:lnTo>
                      <a:lnTo>
                        <a:pt x="1179" y="131"/>
                      </a:lnTo>
                      <a:lnTo>
                        <a:pt x="1181" y="130"/>
                      </a:lnTo>
                      <a:lnTo>
                        <a:pt x="1183" y="130"/>
                      </a:lnTo>
                      <a:lnTo>
                        <a:pt x="1183" y="128"/>
                      </a:lnTo>
                      <a:lnTo>
                        <a:pt x="1181" y="126"/>
                      </a:lnTo>
                      <a:lnTo>
                        <a:pt x="1179" y="126"/>
                      </a:lnTo>
                      <a:lnTo>
                        <a:pt x="1179" y="128"/>
                      </a:lnTo>
                      <a:lnTo>
                        <a:pt x="1178" y="128"/>
                      </a:lnTo>
                      <a:lnTo>
                        <a:pt x="1176" y="128"/>
                      </a:lnTo>
                      <a:lnTo>
                        <a:pt x="1174" y="128"/>
                      </a:lnTo>
                      <a:lnTo>
                        <a:pt x="1174" y="126"/>
                      </a:lnTo>
                      <a:lnTo>
                        <a:pt x="1172" y="126"/>
                      </a:lnTo>
                      <a:lnTo>
                        <a:pt x="1172" y="124"/>
                      </a:lnTo>
                      <a:lnTo>
                        <a:pt x="1174" y="124"/>
                      </a:lnTo>
                      <a:lnTo>
                        <a:pt x="1174" y="122"/>
                      </a:lnTo>
                      <a:lnTo>
                        <a:pt x="1176" y="122"/>
                      </a:lnTo>
                      <a:lnTo>
                        <a:pt x="1176" y="120"/>
                      </a:lnTo>
                      <a:lnTo>
                        <a:pt x="1176" y="118"/>
                      </a:lnTo>
                      <a:lnTo>
                        <a:pt x="1178" y="118"/>
                      </a:lnTo>
                      <a:lnTo>
                        <a:pt x="1179" y="118"/>
                      </a:lnTo>
                      <a:lnTo>
                        <a:pt x="1181" y="118"/>
                      </a:lnTo>
                      <a:lnTo>
                        <a:pt x="1183" y="118"/>
                      </a:lnTo>
                      <a:lnTo>
                        <a:pt x="1183" y="120"/>
                      </a:lnTo>
                      <a:lnTo>
                        <a:pt x="1185" y="120"/>
                      </a:lnTo>
                      <a:lnTo>
                        <a:pt x="1187" y="120"/>
                      </a:lnTo>
                      <a:lnTo>
                        <a:pt x="1187" y="118"/>
                      </a:lnTo>
                      <a:lnTo>
                        <a:pt x="1189" y="118"/>
                      </a:lnTo>
                      <a:lnTo>
                        <a:pt x="1191" y="116"/>
                      </a:lnTo>
                      <a:lnTo>
                        <a:pt x="1193" y="116"/>
                      </a:lnTo>
                      <a:lnTo>
                        <a:pt x="1193" y="114"/>
                      </a:lnTo>
                      <a:lnTo>
                        <a:pt x="1193" y="113"/>
                      </a:lnTo>
                      <a:lnTo>
                        <a:pt x="1191" y="111"/>
                      </a:lnTo>
                      <a:lnTo>
                        <a:pt x="1191" y="109"/>
                      </a:lnTo>
                      <a:lnTo>
                        <a:pt x="1191" y="107"/>
                      </a:lnTo>
                      <a:lnTo>
                        <a:pt x="1189" y="107"/>
                      </a:lnTo>
                      <a:lnTo>
                        <a:pt x="1189" y="105"/>
                      </a:lnTo>
                      <a:lnTo>
                        <a:pt x="1187" y="105"/>
                      </a:lnTo>
                      <a:lnTo>
                        <a:pt x="1187" y="107"/>
                      </a:lnTo>
                      <a:lnTo>
                        <a:pt x="1187" y="109"/>
                      </a:lnTo>
                      <a:lnTo>
                        <a:pt x="1187" y="111"/>
                      </a:lnTo>
                      <a:lnTo>
                        <a:pt x="1185" y="111"/>
                      </a:lnTo>
                      <a:lnTo>
                        <a:pt x="1183" y="111"/>
                      </a:lnTo>
                      <a:lnTo>
                        <a:pt x="1183" y="109"/>
                      </a:lnTo>
                      <a:lnTo>
                        <a:pt x="1183" y="107"/>
                      </a:lnTo>
                      <a:lnTo>
                        <a:pt x="1181" y="105"/>
                      </a:lnTo>
                      <a:lnTo>
                        <a:pt x="1183" y="105"/>
                      </a:lnTo>
                      <a:lnTo>
                        <a:pt x="1183" y="103"/>
                      </a:lnTo>
                      <a:lnTo>
                        <a:pt x="1183" y="101"/>
                      </a:lnTo>
                      <a:lnTo>
                        <a:pt x="1183" y="99"/>
                      </a:lnTo>
                      <a:lnTo>
                        <a:pt x="1181" y="99"/>
                      </a:lnTo>
                      <a:lnTo>
                        <a:pt x="1179" y="99"/>
                      </a:lnTo>
                      <a:lnTo>
                        <a:pt x="1178" y="98"/>
                      </a:lnTo>
                      <a:lnTo>
                        <a:pt x="1179" y="98"/>
                      </a:lnTo>
                      <a:lnTo>
                        <a:pt x="1181" y="96"/>
                      </a:lnTo>
                      <a:lnTo>
                        <a:pt x="1183" y="96"/>
                      </a:lnTo>
                      <a:lnTo>
                        <a:pt x="1185" y="96"/>
                      </a:lnTo>
                      <a:lnTo>
                        <a:pt x="1185" y="98"/>
                      </a:lnTo>
                      <a:lnTo>
                        <a:pt x="1187" y="98"/>
                      </a:lnTo>
                      <a:lnTo>
                        <a:pt x="1187" y="99"/>
                      </a:lnTo>
                      <a:lnTo>
                        <a:pt x="1189" y="101"/>
                      </a:lnTo>
                      <a:lnTo>
                        <a:pt x="1191" y="101"/>
                      </a:lnTo>
                      <a:lnTo>
                        <a:pt x="1191" y="99"/>
                      </a:lnTo>
                      <a:lnTo>
                        <a:pt x="1193" y="99"/>
                      </a:lnTo>
                      <a:lnTo>
                        <a:pt x="1194" y="98"/>
                      </a:lnTo>
                      <a:lnTo>
                        <a:pt x="1196" y="98"/>
                      </a:lnTo>
                      <a:lnTo>
                        <a:pt x="1196" y="96"/>
                      </a:lnTo>
                      <a:lnTo>
                        <a:pt x="1198" y="96"/>
                      </a:lnTo>
                      <a:lnTo>
                        <a:pt x="1200" y="96"/>
                      </a:lnTo>
                      <a:lnTo>
                        <a:pt x="1202" y="96"/>
                      </a:lnTo>
                      <a:lnTo>
                        <a:pt x="1202" y="94"/>
                      </a:lnTo>
                      <a:lnTo>
                        <a:pt x="1204" y="94"/>
                      </a:lnTo>
                      <a:lnTo>
                        <a:pt x="1206" y="92"/>
                      </a:lnTo>
                      <a:lnTo>
                        <a:pt x="1208" y="92"/>
                      </a:lnTo>
                      <a:lnTo>
                        <a:pt x="1208" y="94"/>
                      </a:lnTo>
                      <a:lnTo>
                        <a:pt x="1209" y="94"/>
                      </a:lnTo>
                      <a:lnTo>
                        <a:pt x="1209" y="96"/>
                      </a:lnTo>
                      <a:lnTo>
                        <a:pt x="1211" y="96"/>
                      </a:lnTo>
                      <a:lnTo>
                        <a:pt x="1211" y="98"/>
                      </a:lnTo>
                      <a:lnTo>
                        <a:pt x="1209" y="98"/>
                      </a:lnTo>
                      <a:lnTo>
                        <a:pt x="1209" y="99"/>
                      </a:lnTo>
                      <a:lnTo>
                        <a:pt x="1211" y="99"/>
                      </a:lnTo>
                      <a:lnTo>
                        <a:pt x="1211" y="101"/>
                      </a:lnTo>
                      <a:lnTo>
                        <a:pt x="1211" y="103"/>
                      </a:lnTo>
                      <a:lnTo>
                        <a:pt x="1211" y="105"/>
                      </a:lnTo>
                      <a:lnTo>
                        <a:pt x="1209" y="105"/>
                      </a:lnTo>
                      <a:lnTo>
                        <a:pt x="1211" y="105"/>
                      </a:lnTo>
                      <a:lnTo>
                        <a:pt x="1211" y="107"/>
                      </a:lnTo>
                      <a:lnTo>
                        <a:pt x="1213" y="107"/>
                      </a:lnTo>
                      <a:lnTo>
                        <a:pt x="1215" y="109"/>
                      </a:lnTo>
                      <a:lnTo>
                        <a:pt x="1213" y="111"/>
                      </a:lnTo>
                      <a:lnTo>
                        <a:pt x="1215" y="111"/>
                      </a:lnTo>
                      <a:lnTo>
                        <a:pt x="1217" y="111"/>
                      </a:lnTo>
                      <a:lnTo>
                        <a:pt x="1217" y="113"/>
                      </a:lnTo>
                      <a:lnTo>
                        <a:pt x="1219" y="114"/>
                      </a:lnTo>
                      <a:lnTo>
                        <a:pt x="1221" y="114"/>
                      </a:lnTo>
                      <a:lnTo>
                        <a:pt x="1223" y="114"/>
                      </a:lnTo>
                      <a:lnTo>
                        <a:pt x="1223" y="113"/>
                      </a:lnTo>
                      <a:lnTo>
                        <a:pt x="1223" y="114"/>
                      </a:lnTo>
                      <a:lnTo>
                        <a:pt x="1225" y="113"/>
                      </a:lnTo>
                      <a:lnTo>
                        <a:pt x="1226" y="114"/>
                      </a:lnTo>
                      <a:lnTo>
                        <a:pt x="1226" y="116"/>
                      </a:lnTo>
                      <a:lnTo>
                        <a:pt x="1228" y="116"/>
                      </a:lnTo>
                      <a:lnTo>
                        <a:pt x="1228" y="118"/>
                      </a:lnTo>
                      <a:lnTo>
                        <a:pt x="1230" y="118"/>
                      </a:lnTo>
                      <a:lnTo>
                        <a:pt x="1230" y="120"/>
                      </a:lnTo>
                      <a:lnTo>
                        <a:pt x="1232" y="120"/>
                      </a:lnTo>
                      <a:lnTo>
                        <a:pt x="1230" y="120"/>
                      </a:lnTo>
                      <a:lnTo>
                        <a:pt x="1232" y="120"/>
                      </a:lnTo>
                      <a:lnTo>
                        <a:pt x="1232" y="122"/>
                      </a:lnTo>
                      <a:lnTo>
                        <a:pt x="1232" y="124"/>
                      </a:lnTo>
                      <a:lnTo>
                        <a:pt x="1234" y="124"/>
                      </a:lnTo>
                      <a:lnTo>
                        <a:pt x="1234" y="126"/>
                      </a:lnTo>
                      <a:lnTo>
                        <a:pt x="1236" y="126"/>
                      </a:lnTo>
                      <a:lnTo>
                        <a:pt x="1236" y="128"/>
                      </a:lnTo>
                      <a:lnTo>
                        <a:pt x="1234" y="128"/>
                      </a:lnTo>
                      <a:lnTo>
                        <a:pt x="1234" y="130"/>
                      </a:lnTo>
                      <a:lnTo>
                        <a:pt x="1234" y="131"/>
                      </a:lnTo>
                      <a:lnTo>
                        <a:pt x="1236" y="131"/>
                      </a:lnTo>
                      <a:lnTo>
                        <a:pt x="1236" y="133"/>
                      </a:lnTo>
                      <a:lnTo>
                        <a:pt x="1238" y="133"/>
                      </a:lnTo>
                      <a:lnTo>
                        <a:pt x="1240" y="133"/>
                      </a:lnTo>
                      <a:lnTo>
                        <a:pt x="1241" y="133"/>
                      </a:lnTo>
                      <a:lnTo>
                        <a:pt x="1241" y="131"/>
                      </a:lnTo>
                      <a:lnTo>
                        <a:pt x="1243" y="131"/>
                      </a:lnTo>
                      <a:lnTo>
                        <a:pt x="1243" y="133"/>
                      </a:lnTo>
                      <a:lnTo>
                        <a:pt x="1243" y="135"/>
                      </a:lnTo>
                      <a:lnTo>
                        <a:pt x="1241" y="135"/>
                      </a:lnTo>
                      <a:lnTo>
                        <a:pt x="1243" y="135"/>
                      </a:lnTo>
                      <a:lnTo>
                        <a:pt x="1243" y="137"/>
                      </a:lnTo>
                      <a:lnTo>
                        <a:pt x="1245" y="137"/>
                      </a:lnTo>
                      <a:lnTo>
                        <a:pt x="1245" y="139"/>
                      </a:lnTo>
                      <a:lnTo>
                        <a:pt x="1245" y="141"/>
                      </a:lnTo>
                      <a:lnTo>
                        <a:pt x="1247" y="141"/>
                      </a:lnTo>
                      <a:lnTo>
                        <a:pt x="1247" y="143"/>
                      </a:lnTo>
                      <a:lnTo>
                        <a:pt x="1245" y="143"/>
                      </a:lnTo>
                      <a:lnTo>
                        <a:pt x="1245" y="145"/>
                      </a:lnTo>
                      <a:lnTo>
                        <a:pt x="1247" y="145"/>
                      </a:lnTo>
                      <a:lnTo>
                        <a:pt x="1245" y="145"/>
                      </a:lnTo>
                      <a:lnTo>
                        <a:pt x="1243" y="146"/>
                      </a:lnTo>
                      <a:lnTo>
                        <a:pt x="1245" y="146"/>
                      </a:lnTo>
                      <a:lnTo>
                        <a:pt x="1247" y="146"/>
                      </a:lnTo>
                      <a:lnTo>
                        <a:pt x="1247" y="148"/>
                      </a:lnTo>
                      <a:lnTo>
                        <a:pt x="1249" y="150"/>
                      </a:lnTo>
                      <a:lnTo>
                        <a:pt x="1251" y="150"/>
                      </a:lnTo>
                      <a:lnTo>
                        <a:pt x="1251" y="152"/>
                      </a:lnTo>
                      <a:lnTo>
                        <a:pt x="1253" y="152"/>
                      </a:lnTo>
                      <a:lnTo>
                        <a:pt x="1253" y="154"/>
                      </a:lnTo>
                      <a:lnTo>
                        <a:pt x="1255" y="152"/>
                      </a:lnTo>
                      <a:lnTo>
                        <a:pt x="1255" y="154"/>
                      </a:lnTo>
                      <a:lnTo>
                        <a:pt x="1257" y="154"/>
                      </a:lnTo>
                      <a:lnTo>
                        <a:pt x="1258" y="156"/>
                      </a:lnTo>
                      <a:lnTo>
                        <a:pt x="1260" y="156"/>
                      </a:lnTo>
                      <a:lnTo>
                        <a:pt x="1260" y="158"/>
                      </a:lnTo>
                      <a:lnTo>
                        <a:pt x="1262" y="158"/>
                      </a:lnTo>
                      <a:lnTo>
                        <a:pt x="1264" y="158"/>
                      </a:lnTo>
                      <a:lnTo>
                        <a:pt x="1264" y="160"/>
                      </a:lnTo>
                      <a:lnTo>
                        <a:pt x="1266" y="160"/>
                      </a:lnTo>
                      <a:lnTo>
                        <a:pt x="1266" y="162"/>
                      </a:lnTo>
                      <a:lnTo>
                        <a:pt x="1266" y="163"/>
                      </a:lnTo>
                      <a:lnTo>
                        <a:pt x="1268" y="163"/>
                      </a:lnTo>
                      <a:lnTo>
                        <a:pt x="1266" y="163"/>
                      </a:lnTo>
                      <a:lnTo>
                        <a:pt x="1266" y="165"/>
                      </a:lnTo>
                      <a:lnTo>
                        <a:pt x="1268" y="165"/>
                      </a:lnTo>
                      <a:lnTo>
                        <a:pt x="1268" y="167"/>
                      </a:lnTo>
                      <a:lnTo>
                        <a:pt x="1270" y="167"/>
                      </a:lnTo>
                      <a:lnTo>
                        <a:pt x="1272" y="167"/>
                      </a:lnTo>
                      <a:lnTo>
                        <a:pt x="1272" y="169"/>
                      </a:lnTo>
                      <a:lnTo>
                        <a:pt x="1273" y="169"/>
                      </a:lnTo>
                      <a:lnTo>
                        <a:pt x="1273" y="171"/>
                      </a:lnTo>
                      <a:lnTo>
                        <a:pt x="1273" y="173"/>
                      </a:lnTo>
                      <a:lnTo>
                        <a:pt x="1275" y="173"/>
                      </a:lnTo>
                      <a:lnTo>
                        <a:pt x="1275" y="175"/>
                      </a:lnTo>
                      <a:lnTo>
                        <a:pt x="1277" y="175"/>
                      </a:lnTo>
                      <a:lnTo>
                        <a:pt x="1277" y="177"/>
                      </a:lnTo>
                      <a:lnTo>
                        <a:pt x="1279" y="177"/>
                      </a:lnTo>
                      <a:lnTo>
                        <a:pt x="1279" y="178"/>
                      </a:lnTo>
                      <a:lnTo>
                        <a:pt x="1279" y="180"/>
                      </a:lnTo>
                      <a:lnTo>
                        <a:pt x="1281" y="180"/>
                      </a:lnTo>
                      <a:lnTo>
                        <a:pt x="1281" y="178"/>
                      </a:lnTo>
                      <a:lnTo>
                        <a:pt x="1283" y="180"/>
                      </a:lnTo>
                      <a:lnTo>
                        <a:pt x="1285" y="180"/>
                      </a:lnTo>
                      <a:lnTo>
                        <a:pt x="1287" y="180"/>
                      </a:lnTo>
                      <a:lnTo>
                        <a:pt x="1287" y="182"/>
                      </a:lnTo>
                      <a:lnTo>
                        <a:pt x="1288" y="182"/>
                      </a:lnTo>
                      <a:lnTo>
                        <a:pt x="1290" y="182"/>
                      </a:lnTo>
                      <a:lnTo>
                        <a:pt x="1290" y="184"/>
                      </a:lnTo>
                      <a:lnTo>
                        <a:pt x="1290" y="182"/>
                      </a:lnTo>
                      <a:lnTo>
                        <a:pt x="1292" y="182"/>
                      </a:lnTo>
                      <a:lnTo>
                        <a:pt x="1292" y="184"/>
                      </a:lnTo>
                      <a:lnTo>
                        <a:pt x="1292" y="182"/>
                      </a:lnTo>
                      <a:lnTo>
                        <a:pt x="1292" y="184"/>
                      </a:lnTo>
                      <a:lnTo>
                        <a:pt x="1292" y="182"/>
                      </a:lnTo>
                      <a:lnTo>
                        <a:pt x="1294" y="182"/>
                      </a:lnTo>
                      <a:lnTo>
                        <a:pt x="1296" y="182"/>
                      </a:lnTo>
                      <a:lnTo>
                        <a:pt x="1298" y="182"/>
                      </a:lnTo>
                      <a:lnTo>
                        <a:pt x="1300" y="182"/>
                      </a:lnTo>
                      <a:lnTo>
                        <a:pt x="1302" y="182"/>
                      </a:lnTo>
                      <a:lnTo>
                        <a:pt x="1304" y="182"/>
                      </a:lnTo>
                      <a:lnTo>
                        <a:pt x="1305" y="182"/>
                      </a:lnTo>
                      <a:lnTo>
                        <a:pt x="1307" y="182"/>
                      </a:lnTo>
                      <a:lnTo>
                        <a:pt x="1309" y="182"/>
                      </a:lnTo>
                      <a:lnTo>
                        <a:pt x="1311" y="182"/>
                      </a:lnTo>
                      <a:lnTo>
                        <a:pt x="1313" y="182"/>
                      </a:lnTo>
                      <a:lnTo>
                        <a:pt x="1315" y="182"/>
                      </a:lnTo>
                      <a:lnTo>
                        <a:pt x="1315" y="180"/>
                      </a:lnTo>
                      <a:lnTo>
                        <a:pt x="1317" y="180"/>
                      </a:lnTo>
                      <a:lnTo>
                        <a:pt x="1317" y="178"/>
                      </a:lnTo>
                      <a:lnTo>
                        <a:pt x="1317" y="180"/>
                      </a:lnTo>
                      <a:lnTo>
                        <a:pt x="1319" y="180"/>
                      </a:lnTo>
                      <a:lnTo>
                        <a:pt x="1319" y="178"/>
                      </a:lnTo>
                      <a:lnTo>
                        <a:pt x="1320" y="178"/>
                      </a:lnTo>
                      <a:lnTo>
                        <a:pt x="1322" y="178"/>
                      </a:lnTo>
                      <a:lnTo>
                        <a:pt x="1324" y="178"/>
                      </a:lnTo>
                      <a:lnTo>
                        <a:pt x="1324" y="180"/>
                      </a:lnTo>
                      <a:lnTo>
                        <a:pt x="1324" y="182"/>
                      </a:lnTo>
                      <a:lnTo>
                        <a:pt x="1324" y="184"/>
                      </a:lnTo>
                      <a:lnTo>
                        <a:pt x="1326" y="184"/>
                      </a:lnTo>
                      <a:lnTo>
                        <a:pt x="1328" y="186"/>
                      </a:lnTo>
                      <a:lnTo>
                        <a:pt x="1328" y="188"/>
                      </a:lnTo>
                      <a:lnTo>
                        <a:pt x="1328" y="190"/>
                      </a:lnTo>
                      <a:lnTo>
                        <a:pt x="1330" y="190"/>
                      </a:lnTo>
                      <a:lnTo>
                        <a:pt x="1330" y="192"/>
                      </a:lnTo>
                      <a:lnTo>
                        <a:pt x="1334" y="192"/>
                      </a:lnTo>
                      <a:lnTo>
                        <a:pt x="1339" y="194"/>
                      </a:lnTo>
                      <a:lnTo>
                        <a:pt x="1343" y="194"/>
                      </a:lnTo>
                      <a:lnTo>
                        <a:pt x="1345" y="195"/>
                      </a:lnTo>
                      <a:lnTo>
                        <a:pt x="1349" y="195"/>
                      </a:lnTo>
                      <a:lnTo>
                        <a:pt x="1358" y="195"/>
                      </a:lnTo>
                      <a:lnTo>
                        <a:pt x="1360" y="195"/>
                      </a:lnTo>
                      <a:lnTo>
                        <a:pt x="1366" y="194"/>
                      </a:lnTo>
                      <a:lnTo>
                        <a:pt x="1373" y="201"/>
                      </a:lnTo>
                      <a:lnTo>
                        <a:pt x="1373" y="199"/>
                      </a:lnTo>
                      <a:lnTo>
                        <a:pt x="1375" y="199"/>
                      </a:lnTo>
                      <a:lnTo>
                        <a:pt x="1375" y="197"/>
                      </a:lnTo>
                      <a:lnTo>
                        <a:pt x="1377" y="197"/>
                      </a:lnTo>
                      <a:lnTo>
                        <a:pt x="1377" y="195"/>
                      </a:lnTo>
                      <a:lnTo>
                        <a:pt x="1377" y="194"/>
                      </a:lnTo>
                      <a:lnTo>
                        <a:pt x="1377" y="192"/>
                      </a:lnTo>
                      <a:lnTo>
                        <a:pt x="1375" y="192"/>
                      </a:lnTo>
                      <a:lnTo>
                        <a:pt x="1375" y="190"/>
                      </a:lnTo>
                      <a:lnTo>
                        <a:pt x="1375" y="188"/>
                      </a:lnTo>
                      <a:lnTo>
                        <a:pt x="1375" y="186"/>
                      </a:lnTo>
                      <a:lnTo>
                        <a:pt x="1375" y="184"/>
                      </a:lnTo>
                      <a:lnTo>
                        <a:pt x="1373" y="182"/>
                      </a:lnTo>
                      <a:lnTo>
                        <a:pt x="1373" y="180"/>
                      </a:lnTo>
                      <a:lnTo>
                        <a:pt x="1373" y="178"/>
                      </a:lnTo>
                      <a:lnTo>
                        <a:pt x="1373" y="177"/>
                      </a:lnTo>
                      <a:lnTo>
                        <a:pt x="1375" y="177"/>
                      </a:lnTo>
                      <a:lnTo>
                        <a:pt x="1377" y="177"/>
                      </a:lnTo>
                      <a:lnTo>
                        <a:pt x="1377" y="175"/>
                      </a:lnTo>
                      <a:lnTo>
                        <a:pt x="1379" y="175"/>
                      </a:lnTo>
                      <a:lnTo>
                        <a:pt x="1381" y="175"/>
                      </a:lnTo>
                      <a:lnTo>
                        <a:pt x="1383" y="173"/>
                      </a:lnTo>
                      <a:lnTo>
                        <a:pt x="1384" y="171"/>
                      </a:lnTo>
                      <a:lnTo>
                        <a:pt x="1384" y="169"/>
                      </a:lnTo>
                      <a:lnTo>
                        <a:pt x="1386" y="169"/>
                      </a:lnTo>
                      <a:lnTo>
                        <a:pt x="1384" y="169"/>
                      </a:lnTo>
                      <a:lnTo>
                        <a:pt x="1386" y="167"/>
                      </a:lnTo>
                      <a:lnTo>
                        <a:pt x="1386" y="165"/>
                      </a:lnTo>
                      <a:lnTo>
                        <a:pt x="1386" y="163"/>
                      </a:lnTo>
                      <a:lnTo>
                        <a:pt x="1384" y="162"/>
                      </a:lnTo>
                      <a:lnTo>
                        <a:pt x="1384" y="160"/>
                      </a:lnTo>
                      <a:lnTo>
                        <a:pt x="1386" y="160"/>
                      </a:lnTo>
                      <a:lnTo>
                        <a:pt x="1386" y="158"/>
                      </a:lnTo>
                      <a:lnTo>
                        <a:pt x="1388" y="156"/>
                      </a:lnTo>
                      <a:lnTo>
                        <a:pt x="1390" y="156"/>
                      </a:lnTo>
                      <a:lnTo>
                        <a:pt x="1390" y="154"/>
                      </a:lnTo>
                      <a:lnTo>
                        <a:pt x="1390" y="152"/>
                      </a:lnTo>
                      <a:lnTo>
                        <a:pt x="1388" y="152"/>
                      </a:lnTo>
                      <a:lnTo>
                        <a:pt x="1388" y="150"/>
                      </a:lnTo>
                      <a:lnTo>
                        <a:pt x="1390" y="150"/>
                      </a:lnTo>
                      <a:lnTo>
                        <a:pt x="1390" y="148"/>
                      </a:lnTo>
                      <a:lnTo>
                        <a:pt x="1390" y="146"/>
                      </a:lnTo>
                      <a:lnTo>
                        <a:pt x="1390" y="145"/>
                      </a:lnTo>
                      <a:lnTo>
                        <a:pt x="1388" y="145"/>
                      </a:lnTo>
                      <a:lnTo>
                        <a:pt x="1388" y="143"/>
                      </a:lnTo>
                      <a:lnTo>
                        <a:pt x="1386" y="143"/>
                      </a:lnTo>
                      <a:lnTo>
                        <a:pt x="1386" y="141"/>
                      </a:lnTo>
                      <a:lnTo>
                        <a:pt x="1384" y="141"/>
                      </a:lnTo>
                      <a:lnTo>
                        <a:pt x="1384" y="139"/>
                      </a:lnTo>
                      <a:lnTo>
                        <a:pt x="1384" y="137"/>
                      </a:lnTo>
                      <a:lnTo>
                        <a:pt x="1386" y="137"/>
                      </a:lnTo>
                      <a:lnTo>
                        <a:pt x="1386" y="135"/>
                      </a:lnTo>
                      <a:lnTo>
                        <a:pt x="1388" y="133"/>
                      </a:lnTo>
                      <a:lnTo>
                        <a:pt x="1390" y="133"/>
                      </a:lnTo>
                      <a:lnTo>
                        <a:pt x="1390" y="131"/>
                      </a:lnTo>
                      <a:lnTo>
                        <a:pt x="1390" y="130"/>
                      </a:lnTo>
                      <a:lnTo>
                        <a:pt x="1392" y="130"/>
                      </a:lnTo>
                      <a:lnTo>
                        <a:pt x="1394" y="130"/>
                      </a:lnTo>
                      <a:lnTo>
                        <a:pt x="1394" y="128"/>
                      </a:lnTo>
                      <a:lnTo>
                        <a:pt x="1396" y="128"/>
                      </a:lnTo>
                      <a:lnTo>
                        <a:pt x="1396" y="130"/>
                      </a:lnTo>
                      <a:lnTo>
                        <a:pt x="1398" y="130"/>
                      </a:lnTo>
                      <a:lnTo>
                        <a:pt x="1398" y="128"/>
                      </a:lnTo>
                      <a:lnTo>
                        <a:pt x="1399" y="128"/>
                      </a:lnTo>
                      <a:lnTo>
                        <a:pt x="1401" y="128"/>
                      </a:lnTo>
                      <a:lnTo>
                        <a:pt x="1403" y="128"/>
                      </a:lnTo>
                      <a:lnTo>
                        <a:pt x="1403" y="126"/>
                      </a:lnTo>
                      <a:lnTo>
                        <a:pt x="1403" y="124"/>
                      </a:lnTo>
                      <a:lnTo>
                        <a:pt x="1405" y="124"/>
                      </a:lnTo>
                      <a:lnTo>
                        <a:pt x="1405" y="122"/>
                      </a:lnTo>
                      <a:lnTo>
                        <a:pt x="1407" y="122"/>
                      </a:lnTo>
                      <a:lnTo>
                        <a:pt x="1407" y="124"/>
                      </a:lnTo>
                      <a:lnTo>
                        <a:pt x="1409" y="124"/>
                      </a:lnTo>
                      <a:lnTo>
                        <a:pt x="1411" y="124"/>
                      </a:lnTo>
                      <a:lnTo>
                        <a:pt x="1411" y="122"/>
                      </a:lnTo>
                      <a:lnTo>
                        <a:pt x="1409" y="122"/>
                      </a:lnTo>
                      <a:lnTo>
                        <a:pt x="1409" y="120"/>
                      </a:lnTo>
                      <a:lnTo>
                        <a:pt x="1411" y="120"/>
                      </a:lnTo>
                      <a:lnTo>
                        <a:pt x="1411" y="118"/>
                      </a:lnTo>
                      <a:lnTo>
                        <a:pt x="1411" y="116"/>
                      </a:lnTo>
                      <a:lnTo>
                        <a:pt x="1413" y="116"/>
                      </a:lnTo>
                      <a:lnTo>
                        <a:pt x="1413" y="114"/>
                      </a:lnTo>
                      <a:lnTo>
                        <a:pt x="1413" y="113"/>
                      </a:lnTo>
                      <a:lnTo>
                        <a:pt x="1413" y="111"/>
                      </a:lnTo>
                      <a:lnTo>
                        <a:pt x="1415" y="111"/>
                      </a:lnTo>
                      <a:lnTo>
                        <a:pt x="1415" y="109"/>
                      </a:lnTo>
                      <a:lnTo>
                        <a:pt x="1413" y="109"/>
                      </a:lnTo>
                      <a:lnTo>
                        <a:pt x="1413" y="107"/>
                      </a:lnTo>
                      <a:lnTo>
                        <a:pt x="1413" y="105"/>
                      </a:lnTo>
                      <a:lnTo>
                        <a:pt x="1415" y="105"/>
                      </a:lnTo>
                      <a:lnTo>
                        <a:pt x="1413" y="105"/>
                      </a:lnTo>
                      <a:lnTo>
                        <a:pt x="1413" y="103"/>
                      </a:lnTo>
                      <a:lnTo>
                        <a:pt x="1411" y="103"/>
                      </a:lnTo>
                      <a:lnTo>
                        <a:pt x="1409" y="101"/>
                      </a:lnTo>
                      <a:lnTo>
                        <a:pt x="1409" y="99"/>
                      </a:lnTo>
                      <a:lnTo>
                        <a:pt x="1409" y="98"/>
                      </a:lnTo>
                      <a:lnTo>
                        <a:pt x="1411" y="98"/>
                      </a:lnTo>
                      <a:lnTo>
                        <a:pt x="1409" y="98"/>
                      </a:lnTo>
                      <a:lnTo>
                        <a:pt x="1409" y="96"/>
                      </a:lnTo>
                      <a:lnTo>
                        <a:pt x="1411" y="96"/>
                      </a:lnTo>
                      <a:lnTo>
                        <a:pt x="1409" y="96"/>
                      </a:lnTo>
                      <a:lnTo>
                        <a:pt x="1407" y="96"/>
                      </a:lnTo>
                      <a:lnTo>
                        <a:pt x="1407" y="94"/>
                      </a:lnTo>
                      <a:lnTo>
                        <a:pt x="1405" y="94"/>
                      </a:lnTo>
                      <a:lnTo>
                        <a:pt x="1403" y="94"/>
                      </a:lnTo>
                      <a:lnTo>
                        <a:pt x="1403" y="92"/>
                      </a:lnTo>
                      <a:lnTo>
                        <a:pt x="1401" y="92"/>
                      </a:lnTo>
                      <a:lnTo>
                        <a:pt x="1399" y="92"/>
                      </a:lnTo>
                      <a:lnTo>
                        <a:pt x="1399" y="90"/>
                      </a:lnTo>
                      <a:lnTo>
                        <a:pt x="1399" y="88"/>
                      </a:lnTo>
                      <a:lnTo>
                        <a:pt x="1398" y="86"/>
                      </a:lnTo>
                      <a:lnTo>
                        <a:pt x="1398" y="84"/>
                      </a:lnTo>
                      <a:lnTo>
                        <a:pt x="1399" y="84"/>
                      </a:lnTo>
                      <a:lnTo>
                        <a:pt x="1399" y="82"/>
                      </a:lnTo>
                      <a:lnTo>
                        <a:pt x="1401" y="82"/>
                      </a:lnTo>
                      <a:lnTo>
                        <a:pt x="1401" y="81"/>
                      </a:lnTo>
                      <a:lnTo>
                        <a:pt x="1403" y="81"/>
                      </a:lnTo>
                      <a:lnTo>
                        <a:pt x="1405" y="79"/>
                      </a:lnTo>
                      <a:lnTo>
                        <a:pt x="1405" y="77"/>
                      </a:lnTo>
                      <a:lnTo>
                        <a:pt x="1407" y="77"/>
                      </a:lnTo>
                      <a:lnTo>
                        <a:pt x="1409" y="77"/>
                      </a:lnTo>
                      <a:lnTo>
                        <a:pt x="1411" y="77"/>
                      </a:lnTo>
                      <a:lnTo>
                        <a:pt x="1411" y="75"/>
                      </a:lnTo>
                      <a:lnTo>
                        <a:pt x="1413" y="75"/>
                      </a:lnTo>
                      <a:lnTo>
                        <a:pt x="1415" y="75"/>
                      </a:lnTo>
                      <a:lnTo>
                        <a:pt x="1416" y="75"/>
                      </a:lnTo>
                      <a:lnTo>
                        <a:pt x="1418" y="77"/>
                      </a:lnTo>
                      <a:lnTo>
                        <a:pt x="1420" y="75"/>
                      </a:lnTo>
                      <a:lnTo>
                        <a:pt x="1422" y="75"/>
                      </a:lnTo>
                      <a:lnTo>
                        <a:pt x="1424" y="75"/>
                      </a:lnTo>
                      <a:lnTo>
                        <a:pt x="1424" y="73"/>
                      </a:lnTo>
                      <a:lnTo>
                        <a:pt x="1424" y="71"/>
                      </a:lnTo>
                      <a:lnTo>
                        <a:pt x="1426" y="71"/>
                      </a:lnTo>
                      <a:lnTo>
                        <a:pt x="1428" y="71"/>
                      </a:lnTo>
                      <a:lnTo>
                        <a:pt x="1428" y="69"/>
                      </a:lnTo>
                      <a:lnTo>
                        <a:pt x="1430" y="69"/>
                      </a:lnTo>
                      <a:lnTo>
                        <a:pt x="1430" y="67"/>
                      </a:lnTo>
                      <a:lnTo>
                        <a:pt x="1430" y="69"/>
                      </a:lnTo>
                      <a:lnTo>
                        <a:pt x="1431" y="69"/>
                      </a:lnTo>
                      <a:lnTo>
                        <a:pt x="1433" y="69"/>
                      </a:lnTo>
                      <a:lnTo>
                        <a:pt x="1433" y="67"/>
                      </a:lnTo>
                      <a:lnTo>
                        <a:pt x="1431" y="66"/>
                      </a:lnTo>
                      <a:lnTo>
                        <a:pt x="1433" y="66"/>
                      </a:lnTo>
                      <a:lnTo>
                        <a:pt x="1433" y="64"/>
                      </a:lnTo>
                      <a:lnTo>
                        <a:pt x="1433" y="62"/>
                      </a:lnTo>
                      <a:lnTo>
                        <a:pt x="1433" y="60"/>
                      </a:lnTo>
                      <a:lnTo>
                        <a:pt x="1435" y="58"/>
                      </a:lnTo>
                      <a:lnTo>
                        <a:pt x="1435" y="56"/>
                      </a:lnTo>
                      <a:lnTo>
                        <a:pt x="1435" y="54"/>
                      </a:lnTo>
                      <a:lnTo>
                        <a:pt x="1437" y="54"/>
                      </a:lnTo>
                      <a:lnTo>
                        <a:pt x="1437" y="52"/>
                      </a:lnTo>
                      <a:lnTo>
                        <a:pt x="1437" y="50"/>
                      </a:lnTo>
                      <a:lnTo>
                        <a:pt x="1439" y="50"/>
                      </a:lnTo>
                      <a:lnTo>
                        <a:pt x="1441" y="50"/>
                      </a:lnTo>
                      <a:lnTo>
                        <a:pt x="1443" y="50"/>
                      </a:lnTo>
                      <a:lnTo>
                        <a:pt x="1443" y="49"/>
                      </a:lnTo>
                      <a:lnTo>
                        <a:pt x="1445" y="49"/>
                      </a:lnTo>
                      <a:lnTo>
                        <a:pt x="1445" y="47"/>
                      </a:lnTo>
                      <a:lnTo>
                        <a:pt x="1445" y="45"/>
                      </a:lnTo>
                      <a:lnTo>
                        <a:pt x="1446" y="45"/>
                      </a:lnTo>
                      <a:lnTo>
                        <a:pt x="1446" y="43"/>
                      </a:lnTo>
                      <a:lnTo>
                        <a:pt x="1448" y="43"/>
                      </a:lnTo>
                      <a:lnTo>
                        <a:pt x="1450" y="43"/>
                      </a:lnTo>
                      <a:lnTo>
                        <a:pt x="1450" y="45"/>
                      </a:lnTo>
                      <a:lnTo>
                        <a:pt x="1452" y="45"/>
                      </a:lnTo>
                      <a:lnTo>
                        <a:pt x="1454" y="45"/>
                      </a:lnTo>
                      <a:lnTo>
                        <a:pt x="1456" y="45"/>
                      </a:lnTo>
                      <a:lnTo>
                        <a:pt x="1456" y="47"/>
                      </a:lnTo>
                      <a:lnTo>
                        <a:pt x="1458" y="47"/>
                      </a:lnTo>
                      <a:lnTo>
                        <a:pt x="1460" y="47"/>
                      </a:lnTo>
                      <a:lnTo>
                        <a:pt x="1462" y="47"/>
                      </a:lnTo>
                      <a:lnTo>
                        <a:pt x="1462" y="45"/>
                      </a:lnTo>
                      <a:lnTo>
                        <a:pt x="1463" y="47"/>
                      </a:lnTo>
                      <a:lnTo>
                        <a:pt x="1463" y="45"/>
                      </a:lnTo>
                      <a:lnTo>
                        <a:pt x="1465" y="47"/>
                      </a:lnTo>
                      <a:lnTo>
                        <a:pt x="1465" y="45"/>
                      </a:lnTo>
                      <a:lnTo>
                        <a:pt x="1467" y="45"/>
                      </a:lnTo>
                      <a:lnTo>
                        <a:pt x="1469" y="45"/>
                      </a:lnTo>
                      <a:lnTo>
                        <a:pt x="1471" y="45"/>
                      </a:lnTo>
                      <a:lnTo>
                        <a:pt x="1473" y="45"/>
                      </a:lnTo>
                      <a:lnTo>
                        <a:pt x="1473" y="43"/>
                      </a:lnTo>
                      <a:lnTo>
                        <a:pt x="1475" y="43"/>
                      </a:lnTo>
                      <a:lnTo>
                        <a:pt x="1477" y="41"/>
                      </a:lnTo>
                      <a:lnTo>
                        <a:pt x="1478" y="41"/>
                      </a:lnTo>
                      <a:lnTo>
                        <a:pt x="1478" y="39"/>
                      </a:lnTo>
                      <a:lnTo>
                        <a:pt x="1480" y="39"/>
                      </a:lnTo>
                      <a:lnTo>
                        <a:pt x="1480" y="37"/>
                      </a:lnTo>
                      <a:lnTo>
                        <a:pt x="1482" y="37"/>
                      </a:lnTo>
                      <a:lnTo>
                        <a:pt x="1484" y="37"/>
                      </a:lnTo>
                      <a:lnTo>
                        <a:pt x="1484" y="35"/>
                      </a:lnTo>
                      <a:lnTo>
                        <a:pt x="1486" y="35"/>
                      </a:lnTo>
                      <a:lnTo>
                        <a:pt x="1486" y="37"/>
                      </a:lnTo>
                      <a:lnTo>
                        <a:pt x="1488" y="37"/>
                      </a:lnTo>
                      <a:lnTo>
                        <a:pt x="1490" y="35"/>
                      </a:lnTo>
                      <a:lnTo>
                        <a:pt x="1490" y="37"/>
                      </a:lnTo>
                      <a:lnTo>
                        <a:pt x="1492" y="37"/>
                      </a:lnTo>
                      <a:lnTo>
                        <a:pt x="1494" y="37"/>
                      </a:lnTo>
                      <a:lnTo>
                        <a:pt x="1495" y="37"/>
                      </a:lnTo>
                      <a:lnTo>
                        <a:pt x="1497" y="39"/>
                      </a:lnTo>
                      <a:lnTo>
                        <a:pt x="1499" y="39"/>
                      </a:lnTo>
                      <a:lnTo>
                        <a:pt x="1501" y="39"/>
                      </a:lnTo>
                      <a:lnTo>
                        <a:pt x="1503" y="39"/>
                      </a:lnTo>
                      <a:lnTo>
                        <a:pt x="1505" y="39"/>
                      </a:lnTo>
                      <a:lnTo>
                        <a:pt x="1507" y="39"/>
                      </a:lnTo>
                      <a:lnTo>
                        <a:pt x="1509" y="39"/>
                      </a:lnTo>
                      <a:lnTo>
                        <a:pt x="1510" y="39"/>
                      </a:lnTo>
                      <a:lnTo>
                        <a:pt x="1510" y="41"/>
                      </a:lnTo>
                      <a:lnTo>
                        <a:pt x="1512" y="41"/>
                      </a:lnTo>
                      <a:lnTo>
                        <a:pt x="1514" y="41"/>
                      </a:lnTo>
                      <a:lnTo>
                        <a:pt x="1516" y="41"/>
                      </a:lnTo>
                      <a:lnTo>
                        <a:pt x="1518" y="39"/>
                      </a:lnTo>
                      <a:lnTo>
                        <a:pt x="1520" y="39"/>
                      </a:lnTo>
                      <a:lnTo>
                        <a:pt x="1520" y="37"/>
                      </a:lnTo>
                      <a:lnTo>
                        <a:pt x="1522" y="37"/>
                      </a:lnTo>
                      <a:lnTo>
                        <a:pt x="1524" y="37"/>
                      </a:lnTo>
                      <a:lnTo>
                        <a:pt x="1525" y="35"/>
                      </a:lnTo>
                      <a:lnTo>
                        <a:pt x="1527" y="35"/>
                      </a:lnTo>
                      <a:lnTo>
                        <a:pt x="1529" y="35"/>
                      </a:lnTo>
                      <a:lnTo>
                        <a:pt x="1529" y="34"/>
                      </a:lnTo>
                      <a:lnTo>
                        <a:pt x="1531" y="34"/>
                      </a:lnTo>
                      <a:lnTo>
                        <a:pt x="1533" y="34"/>
                      </a:lnTo>
                      <a:lnTo>
                        <a:pt x="1535" y="34"/>
                      </a:lnTo>
                      <a:lnTo>
                        <a:pt x="1535" y="32"/>
                      </a:lnTo>
                      <a:lnTo>
                        <a:pt x="1537" y="32"/>
                      </a:lnTo>
                      <a:lnTo>
                        <a:pt x="1539" y="32"/>
                      </a:lnTo>
                      <a:lnTo>
                        <a:pt x="1541" y="32"/>
                      </a:lnTo>
                      <a:lnTo>
                        <a:pt x="1542" y="32"/>
                      </a:lnTo>
                      <a:lnTo>
                        <a:pt x="1544" y="32"/>
                      </a:lnTo>
                      <a:lnTo>
                        <a:pt x="1546" y="32"/>
                      </a:lnTo>
                      <a:lnTo>
                        <a:pt x="1548" y="32"/>
                      </a:lnTo>
                      <a:lnTo>
                        <a:pt x="1548" y="30"/>
                      </a:lnTo>
                      <a:lnTo>
                        <a:pt x="1550" y="30"/>
                      </a:lnTo>
                      <a:lnTo>
                        <a:pt x="1552" y="28"/>
                      </a:lnTo>
                      <a:lnTo>
                        <a:pt x="1552" y="30"/>
                      </a:lnTo>
                      <a:lnTo>
                        <a:pt x="1554" y="30"/>
                      </a:lnTo>
                      <a:lnTo>
                        <a:pt x="1554" y="28"/>
                      </a:lnTo>
                      <a:lnTo>
                        <a:pt x="1556" y="28"/>
                      </a:lnTo>
                      <a:lnTo>
                        <a:pt x="1557" y="30"/>
                      </a:lnTo>
                      <a:lnTo>
                        <a:pt x="1557" y="28"/>
                      </a:lnTo>
                      <a:lnTo>
                        <a:pt x="1559" y="28"/>
                      </a:lnTo>
                      <a:lnTo>
                        <a:pt x="1561" y="28"/>
                      </a:lnTo>
                      <a:lnTo>
                        <a:pt x="1561" y="26"/>
                      </a:lnTo>
                      <a:lnTo>
                        <a:pt x="1563" y="26"/>
                      </a:lnTo>
                      <a:lnTo>
                        <a:pt x="1565" y="26"/>
                      </a:lnTo>
                      <a:lnTo>
                        <a:pt x="1563" y="24"/>
                      </a:lnTo>
                      <a:lnTo>
                        <a:pt x="1563" y="22"/>
                      </a:lnTo>
                      <a:lnTo>
                        <a:pt x="1565" y="22"/>
                      </a:lnTo>
                      <a:lnTo>
                        <a:pt x="1567" y="22"/>
                      </a:lnTo>
                      <a:lnTo>
                        <a:pt x="1569" y="22"/>
                      </a:lnTo>
                      <a:lnTo>
                        <a:pt x="1569" y="20"/>
                      </a:lnTo>
                      <a:lnTo>
                        <a:pt x="1571" y="20"/>
                      </a:lnTo>
                      <a:lnTo>
                        <a:pt x="1573" y="20"/>
                      </a:lnTo>
                      <a:lnTo>
                        <a:pt x="1573" y="18"/>
                      </a:lnTo>
                      <a:lnTo>
                        <a:pt x="1574" y="18"/>
                      </a:lnTo>
                      <a:lnTo>
                        <a:pt x="1574" y="20"/>
                      </a:lnTo>
                      <a:lnTo>
                        <a:pt x="1576" y="20"/>
                      </a:lnTo>
                      <a:lnTo>
                        <a:pt x="1576" y="18"/>
                      </a:lnTo>
                      <a:lnTo>
                        <a:pt x="1578" y="17"/>
                      </a:lnTo>
                      <a:lnTo>
                        <a:pt x="1580" y="17"/>
                      </a:lnTo>
                      <a:lnTo>
                        <a:pt x="1582" y="17"/>
                      </a:lnTo>
                      <a:lnTo>
                        <a:pt x="1582" y="15"/>
                      </a:lnTo>
                      <a:lnTo>
                        <a:pt x="1584" y="15"/>
                      </a:lnTo>
                      <a:lnTo>
                        <a:pt x="1584" y="13"/>
                      </a:lnTo>
                      <a:lnTo>
                        <a:pt x="1586" y="11"/>
                      </a:lnTo>
                      <a:lnTo>
                        <a:pt x="1588" y="11"/>
                      </a:lnTo>
                      <a:lnTo>
                        <a:pt x="1589" y="11"/>
                      </a:lnTo>
                      <a:lnTo>
                        <a:pt x="1591" y="11"/>
                      </a:lnTo>
                      <a:lnTo>
                        <a:pt x="1591" y="9"/>
                      </a:lnTo>
                      <a:lnTo>
                        <a:pt x="1591" y="11"/>
                      </a:lnTo>
                      <a:lnTo>
                        <a:pt x="1593" y="9"/>
                      </a:lnTo>
                      <a:lnTo>
                        <a:pt x="1595" y="9"/>
                      </a:lnTo>
                      <a:lnTo>
                        <a:pt x="1597" y="9"/>
                      </a:lnTo>
                      <a:lnTo>
                        <a:pt x="1597" y="7"/>
                      </a:lnTo>
                      <a:lnTo>
                        <a:pt x="1597" y="5"/>
                      </a:lnTo>
                      <a:lnTo>
                        <a:pt x="1599" y="5"/>
                      </a:lnTo>
                      <a:lnTo>
                        <a:pt x="1599" y="3"/>
                      </a:lnTo>
                      <a:lnTo>
                        <a:pt x="1601" y="3"/>
                      </a:lnTo>
                      <a:lnTo>
                        <a:pt x="1601" y="1"/>
                      </a:lnTo>
                      <a:lnTo>
                        <a:pt x="1603" y="1"/>
                      </a:lnTo>
                      <a:lnTo>
                        <a:pt x="1604" y="1"/>
                      </a:lnTo>
                      <a:lnTo>
                        <a:pt x="1604" y="0"/>
                      </a:lnTo>
                      <a:lnTo>
                        <a:pt x="1606" y="1"/>
                      </a:lnTo>
                      <a:lnTo>
                        <a:pt x="1612" y="3"/>
                      </a:lnTo>
                      <a:lnTo>
                        <a:pt x="1618" y="13"/>
                      </a:lnTo>
                      <a:lnTo>
                        <a:pt x="1623" y="17"/>
                      </a:lnTo>
                      <a:lnTo>
                        <a:pt x="1627" y="24"/>
                      </a:lnTo>
                      <a:lnTo>
                        <a:pt x="1629" y="28"/>
                      </a:lnTo>
                      <a:lnTo>
                        <a:pt x="1629" y="30"/>
                      </a:lnTo>
                      <a:lnTo>
                        <a:pt x="1631" y="30"/>
                      </a:lnTo>
                      <a:lnTo>
                        <a:pt x="1631" y="32"/>
                      </a:lnTo>
                      <a:lnTo>
                        <a:pt x="1629" y="30"/>
                      </a:lnTo>
                      <a:lnTo>
                        <a:pt x="1629" y="32"/>
                      </a:lnTo>
                      <a:lnTo>
                        <a:pt x="1629" y="34"/>
                      </a:lnTo>
                      <a:lnTo>
                        <a:pt x="1631" y="32"/>
                      </a:lnTo>
                      <a:lnTo>
                        <a:pt x="1631" y="34"/>
                      </a:lnTo>
                      <a:lnTo>
                        <a:pt x="1629" y="34"/>
                      </a:lnTo>
                      <a:lnTo>
                        <a:pt x="1631" y="34"/>
                      </a:lnTo>
                      <a:lnTo>
                        <a:pt x="1631" y="35"/>
                      </a:lnTo>
                      <a:lnTo>
                        <a:pt x="1631" y="37"/>
                      </a:lnTo>
                      <a:lnTo>
                        <a:pt x="1631" y="35"/>
                      </a:lnTo>
                      <a:lnTo>
                        <a:pt x="1631" y="37"/>
                      </a:lnTo>
                      <a:lnTo>
                        <a:pt x="1629" y="37"/>
                      </a:lnTo>
                      <a:lnTo>
                        <a:pt x="1631" y="37"/>
                      </a:lnTo>
                      <a:lnTo>
                        <a:pt x="1629" y="37"/>
                      </a:lnTo>
                      <a:lnTo>
                        <a:pt x="1629" y="39"/>
                      </a:lnTo>
                      <a:lnTo>
                        <a:pt x="1629" y="41"/>
                      </a:lnTo>
                      <a:lnTo>
                        <a:pt x="1631" y="41"/>
                      </a:lnTo>
                      <a:lnTo>
                        <a:pt x="1629" y="41"/>
                      </a:lnTo>
                      <a:lnTo>
                        <a:pt x="1629" y="43"/>
                      </a:lnTo>
                      <a:lnTo>
                        <a:pt x="1631" y="43"/>
                      </a:lnTo>
                      <a:lnTo>
                        <a:pt x="1631" y="45"/>
                      </a:lnTo>
                      <a:lnTo>
                        <a:pt x="1629" y="45"/>
                      </a:lnTo>
                      <a:lnTo>
                        <a:pt x="1629" y="47"/>
                      </a:lnTo>
                      <a:lnTo>
                        <a:pt x="1631" y="47"/>
                      </a:lnTo>
                      <a:lnTo>
                        <a:pt x="1631" y="49"/>
                      </a:lnTo>
                      <a:lnTo>
                        <a:pt x="1629" y="49"/>
                      </a:lnTo>
                      <a:lnTo>
                        <a:pt x="1629" y="50"/>
                      </a:lnTo>
                      <a:lnTo>
                        <a:pt x="1627" y="50"/>
                      </a:lnTo>
                      <a:lnTo>
                        <a:pt x="1627" y="52"/>
                      </a:lnTo>
                      <a:lnTo>
                        <a:pt x="1627" y="54"/>
                      </a:lnTo>
                      <a:lnTo>
                        <a:pt x="1629" y="54"/>
                      </a:lnTo>
                      <a:lnTo>
                        <a:pt x="1629" y="56"/>
                      </a:lnTo>
                      <a:lnTo>
                        <a:pt x="1631" y="56"/>
                      </a:lnTo>
                      <a:lnTo>
                        <a:pt x="1631" y="58"/>
                      </a:lnTo>
                      <a:lnTo>
                        <a:pt x="1629" y="58"/>
                      </a:lnTo>
                      <a:lnTo>
                        <a:pt x="1629" y="60"/>
                      </a:lnTo>
                      <a:lnTo>
                        <a:pt x="1629" y="62"/>
                      </a:lnTo>
                      <a:lnTo>
                        <a:pt x="1631" y="62"/>
                      </a:lnTo>
                      <a:lnTo>
                        <a:pt x="1633" y="62"/>
                      </a:lnTo>
                      <a:lnTo>
                        <a:pt x="1633" y="64"/>
                      </a:lnTo>
                      <a:lnTo>
                        <a:pt x="1635" y="64"/>
                      </a:lnTo>
                      <a:lnTo>
                        <a:pt x="1633" y="64"/>
                      </a:lnTo>
                      <a:lnTo>
                        <a:pt x="1631" y="64"/>
                      </a:lnTo>
                      <a:lnTo>
                        <a:pt x="1631" y="66"/>
                      </a:lnTo>
                      <a:lnTo>
                        <a:pt x="1633" y="66"/>
                      </a:lnTo>
                      <a:lnTo>
                        <a:pt x="1633" y="67"/>
                      </a:lnTo>
                      <a:lnTo>
                        <a:pt x="1633" y="69"/>
                      </a:lnTo>
                      <a:lnTo>
                        <a:pt x="1633" y="71"/>
                      </a:lnTo>
                      <a:lnTo>
                        <a:pt x="1633" y="73"/>
                      </a:lnTo>
                      <a:lnTo>
                        <a:pt x="1635" y="73"/>
                      </a:lnTo>
                      <a:lnTo>
                        <a:pt x="1635" y="75"/>
                      </a:lnTo>
                      <a:lnTo>
                        <a:pt x="1635" y="77"/>
                      </a:lnTo>
                      <a:lnTo>
                        <a:pt x="1636" y="77"/>
                      </a:lnTo>
                      <a:lnTo>
                        <a:pt x="1638" y="77"/>
                      </a:lnTo>
                      <a:lnTo>
                        <a:pt x="1640" y="77"/>
                      </a:lnTo>
                      <a:lnTo>
                        <a:pt x="1638" y="77"/>
                      </a:lnTo>
                      <a:lnTo>
                        <a:pt x="1638" y="79"/>
                      </a:lnTo>
                      <a:lnTo>
                        <a:pt x="1640" y="79"/>
                      </a:lnTo>
                      <a:lnTo>
                        <a:pt x="1640" y="77"/>
                      </a:lnTo>
                      <a:lnTo>
                        <a:pt x="1640" y="79"/>
                      </a:lnTo>
                      <a:lnTo>
                        <a:pt x="1642" y="79"/>
                      </a:lnTo>
                      <a:lnTo>
                        <a:pt x="1640" y="79"/>
                      </a:lnTo>
                      <a:lnTo>
                        <a:pt x="1640" y="81"/>
                      </a:lnTo>
                      <a:lnTo>
                        <a:pt x="1642" y="81"/>
                      </a:lnTo>
                      <a:lnTo>
                        <a:pt x="1640" y="81"/>
                      </a:lnTo>
                      <a:lnTo>
                        <a:pt x="1642" y="81"/>
                      </a:lnTo>
                      <a:lnTo>
                        <a:pt x="1642" y="82"/>
                      </a:lnTo>
                      <a:lnTo>
                        <a:pt x="1640" y="82"/>
                      </a:lnTo>
                      <a:lnTo>
                        <a:pt x="1640" y="81"/>
                      </a:lnTo>
                      <a:lnTo>
                        <a:pt x="1640" y="82"/>
                      </a:lnTo>
                      <a:lnTo>
                        <a:pt x="1642" y="82"/>
                      </a:lnTo>
                      <a:lnTo>
                        <a:pt x="1644" y="82"/>
                      </a:lnTo>
                      <a:lnTo>
                        <a:pt x="1646" y="84"/>
                      </a:lnTo>
                      <a:lnTo>
                        <a:pt x="1644" y="84"/>
                      </a:lnTo>
                      <a:lnTo>
                        <a:pt x="1646" y="84"/>
                      </a:lnTo>
                      <a:lnTo>
                        <a:pt x="1648" y="86"/>
                      </a:lnTo>
                      <a:lnTo>
                        <a:pt x="1659" y="88"/>
                      </a:lnTo>
                      <a:lnTo>
                        <a:pt x="1659" y="90"/>
                      </a:lnTo>
                      <a:lnTo>
                        <a:pt x="1665" y="90"/>
                      </a:lnTo>
                      <a:lnTo>
                        <a:pt x="1661" y="82"/>
                      </a:lnTo>
                      <a:lnTo>
                        <a:pt x="1659" y="79"/>
                      </a:lnTo>
                      <a:lnTo>
                        <a:pt x="1661" y="79"/>
                      </a:lnTo>
                      <a:lnTo>
                        <a:pt x="1667" y="82"/>
                      </a:lnTo>
                      <a:lnTo>
                        <a:pt x="1672" y="88"/>
                      </a:lnTo>
                      <a:lnTo>
                        <a:pt x="1678" y="94"/>
                      </a:lnTo>
                      <a:lnTo>
                        <a:pt x="1676" y="99"/>
                      </a:lnTo>
                      <a:lnTo>
                        <a:pt x="1674" y="103"/>
                      </a:lnTo>
                      <a:lnTo>
                        <a:pt x="1676" y="105"/>
                      </a:lnTo>
                      <a:lnTo>
                        <a:pt x="1678" y="113"/>
                      </a:lnTo>
                      <a:lnTo>
                        <a:pt x="1674" y="113"/>
                      </a:lnTo>
                      <a:lnTo>
                        <a:pt x="1670" y="111"/>
                      </a:lnTo>
                      <a:lnTo>
                        <a:pt x="1672" y="116"/>
                      </a:lnTo>
                      <a:lnTo>
                        <a:pt x="1661" y="120"/>
                      </a:lnTo>
                      <a:lnTo>
                        <a:pt x="1659" y="122"/>
                      </a:lnTo>
                      <a:lnTo>
                        <a:pt x="1659" y="126"/>
                      </a:lnTo>
                      <a:lnTo>
                        <a:pt x="1655" y="124"/>
                      </a:lnTo>
                      <a:lnTo>
                        <a:pt x="1653" y="126"/>
                      </a:lnTo>
                      <a:lnTo>
                        <a:pt x="1650" y="128"/>
                      </a:lnTo>
                      <a:lnTo>
                        <a:pt x="1650" y="131"/>
                      </a:lnTo>
                      <a:lnTo>
                        <a:pt x="1652" y="137"/>
                      </a:lnTo>
                      <a:lnTo>
                        <a:pt x="1648" y="143"/>
                      </a:lnTo>
                      <a:lnTo>
                        <a:pt x="1646" y="152"/>
                      </a:lnTo>
                      <a:lnTo>
                        <a:pt x="1638" y="150"/>
                      </a:lnTo>
                      <a:lnTo>
                        <a:pt x="1636" y="154"/>
                      </a:lnTo>
                      <a:lnTo>
                        <a:pt x="1636" y="158"/>
                      </a:lnTo>
                      <a:lnTo>
                        <a:pt x="1638" y="158"/>
                      </a:lnTo>
                      <a:lnTo>
                        <a:pt x="1636" y="158"/>
                      </a:lnTo>
                      <a:lnTo>
                        <a:pt x="1638" y="158"/>
                      </a:lnTo>
                      <a:lnTo>
                        <a:pt x="1638" y="160"/>
                      </a:lnTo>
                      <a:lnTo>
                        <a:pt x="1638" y="162"/>
                      </a:lnTo>
                      <a:lnTo>
                        <a:pt x="1638" y="163"/>
                      </a:lnTo>
                      <a:lnTo>
                        <a:pt x="1640" y="163"/>
                      </a:lnTo>
                      <a:lnTo>
                        <a:pt x="1640" y="165"/>
                      </a:lnTo>
                      <a:lnTo>
                        <a:pt x="1640" y="163"/>
                      </a:lnTo>
                      <a:lnTo>
                        <a:pt x="1642" y="162"/>
                      </a:lnTo>
                      <a:lnTo>
                        <a:pt x="1640" y="162"/>
                      </a:lnTo>
                      <a:lnTo>
                        <a:pt x="1640" y="160"/>
                      </a:lnTo>
                      <a:lnTo>
                        <a:pt x="1642" y="160"/>
                      </a:lnTo>
                      <a:lnTo>
                        <a:pt x="1642" y="162"/>
                      </a:lnTo>
                      <a:lnTo>
                        <a:pt x="1642" y="160"/>
                      </a:lnTo>
                      <a:lnTo>
                        <a:pt x="1642" y="162"/>
                      </a:lnTo>
                      <a:lnTo>
                        <a:pt x="1644" y="162"/>
                      </a:lnTo>
                      <a:lnTo>
                        <a:pt x="1644" y="163"/>
                      </a:lnTo>
                      <a:lnTo>
                        <a:pt x="1642" y="165"/>
                      </a:lnTo>
                      <a:lnTo>
                        <a:pt x="1640" y="165"/>
                      </a:lnTo>
                      <a:lnTo>
                        <a:pt x="1638" y="165"/>
                      </a:lnTo>
                      <a:lnTo>
                        <a:pt x="1629" y="171"/>
                      </a:lnTo>
                      <a:lnTo>
                        <a:pt x="1631" y="175"/>
                      </a:lnTo>
                      <a:lnTo>
                        <a:pt x="1636" y="177"/>
                      </a:lnTo>
                      <a:lnTo>
                        <a:pt x="1635" y="178"/>
                      </a:lnTo>
                      <a:lnTo>
                        <a:pt x="1642" y="182"/>
                      </a:lnTo>
                      <a:lnTo>
                        <a:pt x="1644" y="184"/>
                      </a:lnTo>
                      <a:lnTo>
                        <a:pt x="1646" y="184"/>
                      </a:lnTo>
                      <a:lnTo>
                        <a:pt x="1646" y="182"/>
                      </a:lnTo>
                      <a:lnTo>
                        <a:pt x="1648" y="182"/>
                      </a:lnTo>
                      <a:lnTo>
                        <a:pt x="1648" y="184"/>
                      </a:lnTo>
                      <a:lnTo>
                        <a:pt x="1646" y="184"/>
                      </a:lnTo>
                      <a:lnTo>
                        <a:pt x="1646" y="186"/>
                      </a:lnTo>
                      <a:lnTo>
                        <a:pt x="1646" y="188"/>
                      </a:lnTo>
                      <a:lnTo>
                        <a:pt x="1646" y="190"/>
                      </a:lnTo>
                      <a:lnTo>
                        <a:pt x="1648" y="190"/>
                      </a:lnTo>
                      <a:lnTo>
                        <a:pt x="1648" y="188"/>
                      </a:lnTo>
                      <a:lnTo>
                        <a:pt x="1650" y="188"/>
                      </a:lnTo>
                      <a:lnTo>
                        <a:pt x="1652" y="188"/>
                      </a:lnTo>
                      <a:lnTo>
                        <a:pt x="1652" y="186"/>
                      </a:lnTo>
                      <a:lnTo>
                        <a:pt x="1650" y="186"/>
                      </a:lnTo>
                      <a:lnTo>
                        <a:pt x="1650" y="184"/>
                      </a:lnTo>
                      <a:lnTo>
                        <a:pt x="1652" y="184"/>
                      </a:lnTo>
                      <a:lnTo>
                        <a:pt x="1653" y="184"/>
                      </a:lnTo>
                      <a:lnTo>
                        <a:pt x="1655" y="184"/>
                      </a:lnTo>
                      <a:lnTo>
                        <a:pt x="1657" y="184"/>
                      </a:lnTo>
                      <a:lnTo>
                        <a:pt x="1659" y="184"/>
                      </a:lnTo>
                      <a:lnTo>
                        <a:pt x="1667" y="184"/>
                      </a:lnTo>
                      <a:lnTo>
                        <a:pt x="1670" y="188"/>
                      </a:lnTo>
                      <a:lnTo>
                        <a:pt x="1678" y="190"/>
                      </a:lnTo>
                      <a:lnTo>
                        <a:pt x="1682" y="192"/>
                      </a:lnTo>
                      <a:lnTo>
                        <a:pt x="1689" y="199"/>
                      </a:lnTo>
                      <a:lnTo>
                        <a:pt x="1695" y="192"/>
                      </a:lnTo>
                      <a:lnTo>
                        <a:pt x="1699" y="194"/>
                      </a:lnTo>
                      <a:lnTo>
                        <a:pt x="1702" y="190"/>
                      </a:lnTo>
                      <a:lnTo>
                        <a:pt x="1708" y="190"/>
                      </a:lnTo>
                      <a:lnTo>
                        <a:pt x="1712" y="190"/>
                      </a:lnTo>
                      <a:lnTo>
                        <a:pt x="1714" y="190"/>
                      </a:lnTo>
                      <a:lnTo>
                        <a:pt x="1717" y="186"/>
                      </a:lnTo>
                      <a:lnTo>
                        <a:pt x="1719" y="184"/>
                      </a:lnTo>
                      <a:lnTo>
                        <a:pt x="1721" y="184"/>
                      </a:lnTo>
                      <a:lnTo>
                        <a:pt x="1731" y="182"/>
                      </a:lnTo>
                      <a:lnTo>
                        <a:pt x="1734" y="190"/>
                      </a:lnTo>
                      <a:lnTo>
                        <a:pt x="1736" y="190"/>
                      </a:lnTo>
                      <a:lnTo>
                        <a:pt x="1740" y="192"/>
                      </a:lnTo>
                      <a:lnTo>
                        <a:pt x="1746" y="194"/>
                      </a:lnTo>
                      <a:lnTo>
                        <a:pt x="1746" y="195"/>
                      </a:lnTo>
                      <a:lnTo>
                        <a:pt x="1747" y="194"/>
                      </a:lnTo>
                      <a:lnTo>
                        <a:pt x="1749" y="194"/>
                      </a:lnTo>
                      <a:lnTo>
                        <a:pt x="1749" y="195"/>
                      </a:lnTo>
                      <a:lnTo>
                        <a:pt x="1751" y="195"/>
                      </a:lnTo>
                      <a:lnTo>
                        <a:pt x="1751" y="197"/>
                      </a:lnTo>
                      <a:lnTo>
                        <a:pt x="1751" y="199"/>
                      </a:lnTo>
                      <a:lnTo>
                        <a:pt x="1751" y="201"/>
                      </a:lnTo>
                      <a:lnTo>
                        <a:pt x="1753" y="201"/>
                      </a:lnTo>
                      <a:lnTo>
                        <a:pt x="1753" y="203"/>
                      </a:lnTo>
                      <a:lnTo>
                        <a:pt x="1753" y="205"/>
                      </a:lnTo>
                      <a:lnTo>
                        <a:pt x="1755" y="205"/>
                      </a:lnTo>
                      <a:lnTo>
                        <a:pt x="1755" y="203"/>
                      </a:lnTo>
                      <a:lnTo>
                        <a:pt x="1757" y="203"/>
                      </a:lnTo>
                      <a:lnTo>
                        <a:pt x="1757" y="205"/>
                      </a:lnTo>
                      <a:lnTo>
                        <a:pt x="1759" y="205"/>
                      </a:lnTo>
                      <a:lnTo>
                        <a:pt x="1759" y="203"/>
                      </a:lnTo>
                      <a:lnTo>
                        <a:pt x="1759" y="205"/>
                      </a:lnTo>
                      <a:lnTo>
                        <a:pt x="1759" y="203"/>
                      </a:lnTo>
                      <a:lnTo>
                        <a:pt x="1761" y="203"/>
                      </a:lnTo>
                      <a:lnTo>
                        <a:pt x="1762" y="203"/>
                      </a:lnTo>
                      <a:lnTo>
                        <a:pt x="1764" y="203"/>
                      </a:lnTo>
                      <a:lnTo>
                        <a:pt x="1766" y="203"/>
                      </a:lnTo>
                      <a:lnTo>
                        <a:pt x="1768" y="203"/>
                      </a:lnTo>
                      <a:lnTo>
                        <a:pt x="1768" y="201"/>
                      </a:lnTo>
                      <a:lnTo>
                        <a:pt x="1770" y="201"/>
                      </a:lnTo>
                      <a:lnTo>
                        <a:pt x="1770" y="199"/>
                      </a:lnTo>
                      <a:lnTo>
                        <a:pt x="1772" y="199"/>
                      </a:lnTo>
                      <a:lnTo>
                        <a:pt x="1774" y="199"/>
                      </a:lnTo>
                      <a:lnTo>
                        <a:pt x="1772" y="199"/>
                      </a:lnTo>
                      <a:lnTo>
                        <a:pt x="1774" y="199"/>
                      </a:lnTo>
                      <a:lnTo>
                        <a:pt x="1774" y="201"/>
                      </a:lnTo>
                      <a:lnTo>
                        <a:pt x="1776" y="201"/>
                      </a:lnTo>
                      <a:lnTo>
                        <a:pt x="1776" y="203"/>
                      </a:lnTo>
                      <a:lnTo>
                        <a:pt x="1774" y="203"/>
                      </a:lnTo>
                      <a:lnTo>
                        <a:pt x="1776" y="203"/>
                      </a:lnTo>
                      <a:lnTo>
                        <a:pt x="1774" y="203"/>
                      </a:lnTo>
                      <a:lnTo>
                        <a:pt x="1776" y="203"/>
                      </a:lnTo>
                      <a:lnTo>
                        <a:pt x="1776" y="205"/>
                      </a:lnTo>
                      <a:lnTo>
                        <a:pt x="1776" y="203"/>
                      </a:lnTo>
                      <a:lnTo>
                        <a:pt x="1778" y="203"/>
                      </a:lnTo>
                      <a:lnTo>
                        <a:pt x="1778" y="205"/>
                      </a:lnTo>
                      <a:lnTo>
                        <a:pt x="1778" y="207"/>
                      </a:lnTo>
                      <a:lnTo>
                        <a:pt x="1779" y="207"/>
                      </a:lnTo>
                      <a:lnTo>
                        <a:pt x="1779" y="209"/>
                      </a:lnTo>
                      <a:lnTo>
                        <a:pt x="1781" y="209"/>
                      </a:lnTo>
                      <a:lnTo>
                        <a:pt x="1783" y="209"/>
                      </a:lnTo>
                      <a:lnTo>
                        <a:pt x="1783" y="210"/>
                      </a:lnTo>
                      <a:lnTo>
                        <a:pt x="1785" y="210"/>
                      </a:lnTo>
                      <a:lnTo>
                        <a:pt x="1787" y="210"/>
                      </a:lnTo>
                      <a:lnTo>
                        <a:pt x="1787" y="212"/>
                      </a:lnTo>
                      <a:lnTo>
                        <a:pt x="1789" y="212"/>
                      </a:lnTo>
                      <a:lnTo>
                        <a:pt x="1789" y="214"/>
                      </a:lnTo>
                      <a:lnTo>
                        <a:pt x="1791" y="214"/>
                      </a:lnTo>
                      <a:lnTo>
                        <a:pt x="1791" y="212"/>
                      </a:lnTo>
                      <a:lnTo>
                        <a:pt x="1793" y="212"/>
                      </a:lnTo>
                      <a:lnTo>
                        <a:pt x="1791" y="210"/>
                      </a:lnTo>
                      <a:lnTo>
                        <a:pt x="1793" y="210"/>
                      </a:lnTo>
                      <a:lnTo>
                        <a:pt x="1793" y="209"/>
                      </a:lnTo>
                      <a:lnTo>
                        <a:pt x="1793" y="210"/>
                      </a:lnTo>
                      <a:lnTo>
                        <a:pt x="1793" y="212"/>
                      </a:lnTo>
                      <a:lnTo>
                        <a:pt x="1794" y="212"/>
                      </a:lnTo>
                      <a:lnTo>
                        <a:pt x="1796" y="212"/>
                      </a:lnTo>
                      <a:lnTo>
                        <a:pt x="1796" y="210"/>
                      </a:lnTo>
                      <a:lnTo>
                        <a:pt x="1796" y="212"/>
                      </a:lnTo>
                      <a:lnTo>
                        <a:pt x="1796" y="210"/>
                      </a:lnTo>
                      <a:lnTo>
                        <a:pt x="1796" y="209"/>
                      </a:lnTo>
                      <a:lnTo>
                        <a:pt x="1798" y="209"/>
                      </a:lnTo>
                      <a:lnTo>
                        <a:pt x="1798" y="210"/>
                      </a:lnTo>
                      <a:lnTo>
                        <a:pt x="1800" y="210"/>
                      </a:lnTo>
                      <a:lnTo>
                        <a:pt x="1800" y="209"/>
                      </a:lnTo>
                      <a:lnTo>
                        <a:pt x="1798" y="209"/>
                      </a:lnTo>
                      <a:lnTo>
                        <a:pt x="1798" y="207"/>
                      </a:lnTo>
                      <a:lnTo>
                        <a:pt x="1800" y="207"/>
                      </a:lnTo>
                      <a:lnTo>
                        <a:pt x="1802" y="207"/>
                      </a:lnTo>
                      <a:lnTo>
                        <a:pt x="1802" y="209"/>
                      </a:lnTo>
                      <a:lnTo>
                        <a:pt x="1804" y="209"/>
                      </a:lnTo>
                      <a:lnTo>
                        <a:pt x="1804" y="210"/>
                      </a:lnTo>
                      <a:lnTo>
                        <a:pt x="1806" y="210"/>
                      </a:lnTo>
                      <a:lnTo>
                        <a:pt x="1806" y="209"/>
                      </a:lnTo>
                      <a:lnTo>
                        <a:pt x="1806" y="207"/>
                      </a:lnTo>
                      <a:lnTo>
                        <a:pt x="1808" y="207"/>
                      </a:lnTo>
                      <a:lnTo>
                        <a:pt x="1808" y="209"/>
                      </a:lnTo>
                      <a:lnTo>
                        <a:pt x="1808" y="210"/>
                      </a:lnTo>
                      <a:lnTo>
                        <a:pt x="1806" y="212"/>
                      </a:lnTo>
                      <a:lnTo>
                        <a:pt x="1806" y="214"/>
                      </a:lnTo>
                      <a:lnTo>
                        <a:pt x="1806" y="216"/>
                      </a:lnTo>
                      <a:lnTo>
                        <a:pt x="1808" y="216"/>
                      </a:lnTo>
                      <a:lnTo>
                        <a:pt x="1810" y="216"/>
                      </a:lnTo>
                      <a:lnTo>
                        <a:pt x="1810" y="214"/>
                      </a:lnTo>
                      <a:lnTo>
                        <a:pt x="1811" y="214"/>
                      </a:lnTo>
                      <a:lnTo>
                        <a:pt x="1811" y="216"/>
                      </a:lnTo>
                      <a:lnTo>
                        <a:pt x="1811" y="218"/>
                      </a:lnTo>
                      <a:lnTo>
                        <a:pt x="1813" y="218"/>
                      </a:lnTo>
                      <a:lnTo>
                        <a:pt x="1813" y="220"/>
                      </a:lnTo>
                      <a:lnTo>
                        <a:pt x="1811" y="220"/>
                      </a:lnTo>
                      <a:lnTo>
                        <a:pt x="1813" y="220"/>
                      </a:lnTo>
                      <a:lnTo>
                        <a:pt x="1815" y="220"/>
                      </a:lnTo>
                      <a:lnTo>
                        <a:pt x="1815" y="218"/>
                      </a:lnTo>
                      <a:lnTo>
                        <a:pt x="1817" y="218"/>
                      </a:lnTo>
                      <a:lnTo>
                        <a:pt x="1817" y="220"/>
                      </a:lnTo>
                      <a:lnTo>
                        <a:pt x="1817" y="222"/>
                      </a:lnTo>
                      <a:lnTo>
                        <a:pt x="1817" y="224"/>
                      </a:lnTo>
                      <a:lnTo>
                        <a:pt x="1817" y="226"/>
                      </a:lnTo>
                      <a:lnTo>
                        <a:pt x="1819" y="226"/>
                      </a:lnTo>
                      <a:lnTo>
                        <a:pt x="1819" y="224"/>
                      </a:lnTo>
                      <a:lnTo>
                        <a:pt x="1821" y="224"/>
                      </a:lnTo>
                      <a:lnTo>
                        <a:pt x="1823" y="224"/>
                      </a:lnTo>
                      <a:lnTo>
                        <a:pt x="1823" y="226"/>
                      </a:lnTo>
                      <a:lnTo>
                        <a:pt x="1825" y="226"/>
                      </a:lnTo>
                      <a:lnTo>
                        <a:pt x="1826" y="226"/>
                      </a:lnTo>
                      <a:lnTo>
                        <a:pt x="1828" y="226"/>
                      </a:lnTo>
                      <a:lnTo>
                        <a:pt x="1828" y="227"/>
                      </a:lnTo>
                      <a:lnTo>
                        <a:pt x="1826" y="229"/>
                      </a:lnTo>
                      <a:lnTo>
                        <a:pt x="1826" y="231"/>
                      </a:lnTo>
                      <a:lnTo>
                        <a:pt x="1826" y="233"/>
                      </a:lnTo>
                      <a:lnTo>
                        <a:pt x="1826" y="231"/>
                      </a:lnTo>
                      <a:lnTo>
                        <a:pt x="1828" y="231"/>
                      </a:lnTo>
                      <a:lnTo>
                        <a:pt x="1828" y="229"/>
                      </a:lnTo>
                      <a:lnTo>
                        <a:pt x="1830" y="229"/>
                      </a:lnTo>
                      <a:lnTo>
                        <a:pt x="1832" y="229"/>
                      </a:lnTo>
                      <a:lnTo>
                        <a:pt x="1832" y="227"/>
                      </a:lnTo>
                      <a:lnTo>
                        <a:pt x="1834" y="227"/>
                      </a:lnTo>
                      <a:lnTo>
                        <a:pt x="1834" y="229"/>
                      </a:lnTo>
                      <a:lnTo>
                        <a:pt x="1834" y="231"/>
                      </a:lnTo>
                      <a:lnTo>
                        <a:pt x="1832" y="231"/>
                      </a:lnTo>
                      <a:lnTo>
                        <a:pt x="1832" y="233"/>
                      </a:lnTo>
                      <a:lnTo>
                        <a:pt x="1832" y="235"/>
                      </a:lnTo>
                      <a:lnTo>
                        <a:pt x="1832" y="237"/>
                      </a:lnTo>
                      <a:lnTo>
                        <a:pt x="1832" y="235"/>
                      </a:lnTo>
                      <a:lnTo>
                        <a:pt x="1834" y="235"/>
                      </a:lnTo>
                      <a:lnTo>
                        <a:pt x="1836" y="235"/>
                      </a:lnTo>
                      <a:lnTo>
                        <a:pt x="1838" y="235"/>
                      </a:lnTo>
                      <a:lnTo>
                        <a:pt x="1838" y="233"/>
                      </a:lnTo>
                      <a:lnTo>
                        <a:pt x="1838" y="231"/>
                      </a:lnTo>
                      <a:lnTo>
                        <a:pt x="1838" y="229"/>
                      </a:lnTo>
                      <a:lnTo>
                        <a:pt x="1836" y="229"/>
                      </a:lnTo>
                      <a:lnTo>
                        <a:pt x="1836" y="227"/>
                      </a:lnTo>
                      <a:lnTo>
                        <a:pt x="1838" y="227"/>
                      </a:lnTo>
                      <a:lnTo>
                        <a:pt x="1840" y="227"/>
                      </a:lnTo>
                      <a:lnTo>
                        <a:pt x="1841" y="227"/>
                      </a:lnTo>
                      <a:lnTo>
                        <a:pt x="1841" y="229"/>
                      </a:lnTo>
                      <a:lnTo>
                        <a:pt x="1843" y="229"/>
                      </a:lnTo>
                      <a:lnTo>
                        <a:pt x="1843" y="231"/>
                      </a:lnTo>
                      <a:lnTo>
                        <a:pt x="1843" y="233"/>
                      </a:lnTo>
                      <a:lnTo>
                        <a:pt x="1843" y="235"/>
                      </a:lnTo>
                      <a:lnTo>
                        <a:pt x="1841" y="235"/>
                      </a:lnTo>
                      <a:lnTo>
                        <a:pt x="1840" y="235"/>
                      </a:lnTo>
                      <a:lnTo>
                        <a:pt x="1840" y="237"/>
                      </a:lnTo>
                      <a:lnTo>
                        <a:pt x="1838" y="237"/>
                      </a:lnTo>
                      <a:lnTo>
                        <a:pt x="1838" y="239"/>
                      </a:lnTo>
                      <a:lnTo>
                        <a:pt x="1840" y="239"/>
                      </a:lnTo>
                      <a:lnTo>
                        <a:pt x="1840" y="241"/>
                      </a:lnTo>
                      <a:lnTo>
                        <a:pt x="1841" y="241"/>
                      </a:lnTo>
                      <a:lnTo>
                        <a:pt x="1843" y="241"/>
                      </a:lnTo>
                      <a:lnTo>
                        <a:pt x="1845" y="239"/>
                      </a:lnTo>
                      <a:lnTo>
                        <a:pt x="1845" y="241"/>
                      </a:lnTo>
                      <a:lnTo>
                        <a:pt x="1845" y="239"/>
                      </a:lnTo>
                      <a:lnTo>
                        <a:pt x="1847" y="239"/>
                      </a:lnTo>
                      <a:lnTo>
                        <a:pt x="1849" y="239"/>
                      </a:lnTo>
                      <a:lnTo>
                        <a:pt x="1849" y="241"/>
                      </a:lnTo>
                      <a:lnTo>
                        <a:pt x="1847" y="241"/>
                      </a:lnTo>
                      <a:lnTo>
                        <a:pt x="1847" y="242"/>
                      </a:lnTo>
                      <a:lnTo>
                        <a:pt x="1847" y="244"/>
                      </a:lnTo>
                      <a:lnTo>
                        <a:pt x="1845" y="244"/>
                      </a:lnTo>
                      <a:lnTo>
                        <a:pt x="1845" y="246"/>
                      </a:lnTo>
                      <a:lnTo>
                        <a:pt x="1847" y="246"/>
                      </a:lnTo>
                      <a:lnTo>
                        <a:pt x="1847" y="248"/>
                      </a:lnTo>
                      <a:lnTo>
                        <a:pt x="1849" y="248"/>
                      </a:lnTo>
                      <a:lnTo>
                        <a:pt x="1851" y="248"/>
                      </a:lnTo>
                      <a:lnTo>
                        <a:pt x="1853" y="248"/>
                      </a:lnTo>
                      <a:lnTo>
                        <a:pt x="1855" y="248"/>
                      </a:lnTo>
                      <a:lnTo>
                        <a:pt x="1857" y="248"/>
                      </a:lnTo>
                      <a:lnTo>
                        <a:pt x="1857" y="246"/>
                      </a:lnTo>
                      <a:lnTo>
                        <a:pt x="1857" y="244"/>
                      </a:lnTo>
                      <a:lnTo>
                        <a:pt x="1858" y="244"/>
                      </a:lnTo>
                      <a:lnTo>
                        <a:pt x="1858" y="246"/>
                      </a:lnTo>
                      <a:lnTo>
                        <a:pt x="1858" y="248"/>
                      </a:lnTo>
                      <a:lnTo>
                        <a:pt x="1857" y="248"/>
                      </a:lnTo>
                      <a:lnTo>
                        <a:pt x="1857" y="250"/>
                      </a:lnTo>
                      <a:lnTo>
                        <a:pt x="1858" y="250"/>
                      </a:lnTo>
                      <a:lnTo>
                        <a:pt x="1860" y="248"/>
                      </a:lnTo>
                      <a:lnTo>
                        <a:pt x="1860" y="250"/>
                      </a:lnTo>
                      <a:lnTo>
                        <a:pt x="1862" y="250"/>
                      </a:lnTo>
                      <a:lnTo>
                        <a:pt x="1860" y="252"/>
                      </a:lnTo>
                      <a:lnTo>
                        <a:pt x="1860" y="254"/>
                      </a:lnTo>
                      <a:lnTo>
                        <a:pt x="1862" y="254"/>
                      </a:lnTo>
                      <a:lnTo>
                        <a:pt x="1862" y="252"/>
                      </a:lnTo>
                      <a:lnTo>
                        <a:pt x="1864" y="252"/>
                      </a:lnTo>
                      <a:lnTo>
                        <a:pt x="1864" y="250"/>
                      </a:lnTo>
                      <a:lnTo>
                        <a:pt x="1866" y="250"/>
                      </a:lnTo>
                      <a:lnTo>
                        <a:pt x="1866" y="252"/>
                      </a:lnTo>
                      <a:lnTo>
                        <a:pt x="1868" y="252"/>
                      </a:lnTo>
                      <a:lnTo>
                        <a:pt x="1870" y="252"/>
                      </a:lnTo>
                      <a:lnTo>
                        <a:pt x="1872" y="252"/>
                      </a:lnTo>
                      <a:lnTo>
                        <a:pt x="1873" y="252"/>
                      </a:lnTo>
                      <a:lnTo>
                        <a:pt x="1873" y="254"/>
                      </a:lnTo>
                      <a:lnTo>
                        <a:pt x="1875" y="254"/>
                      </a:lnTo>
                      <a:lnTo>
                        <a:pt x="1873" y="256"/>
                      </a:lnTo>
                      <a:lnTo>
                        <a:pt x="1873" y="258"/>
                      </a:lnTo>
                      <a:lnTo>
                        <a:pt x="1875" y="258"/>
                      </a:lnTo>
                      <a:lnTo>
                        <a:pt x="1877" y="258"/>
                      </a:lnTo>
                      <a:lnTo>
                        <a:pt x="1877" y="256"/>
                      </a:lnTo>
                      <a:lnTo>
                        <a:pt x="1879" y="256"/>
                      </a:lnTo>
                      <a:lnTo>
                        <a:pt x="1879" y="258"/>
                      </a:lnTo>
                      <a:lnTo>
                        <a:pt x="1879" y="259"/>
                      </a:lnTo>
                      <a:lnTo>
                        <a:pt x="1879" y="261"/>
                      </a:lnTo>
                      <a:lnTo>
                        <a:pt x="1879" y="259"/>
                      </a:lnTo>
                      <a:lnTo>
                        <a:pt x="1877" y="259"/>
                      </a:lnTo>
                      <a:lnTo>
                        <a:pt x="1875" y="259"/>
                      </a:lnTo>
                      <a:lnTo>
                        <a:pt x="1873" y="258"/>
                      </a:lnTo>
                      <a:lnTo>
                        <a:pt x="1873" y="259"/>
                      </a:lnTo>
                      <a:lnTo>
                        <a:pt x="1875" y="261"/>
                      </a:lnTo>
                      <a:lnTo>
                        <a:pt x="1875" y="263"/>
                      </a:lnTo>
                      <a:lnTo>
                        <a:pt x="1877" y="263"/>
                      </a:lnTo>
                      <a:lnTo>
                        <a:pt x="1877" y="261"/>
                      </a:lnTo>
                      <a:lnTo>
                        <a:pt x="1879" y="261"/>
                      </a:lnTo>
                      <a:lnTo>
                        <a:pt x="1881" y="263"/>
                      </a:lnTo>
                      <a:lnTo>
                        <a:pt x="1883" y="263"/>
                      </a:lnTo>
                      <a:lnTo>
                        <a:pt x="1885" y="263"/>
                      </a:lnTo>
                      <a:lnTo>
                        <a:pt x="1887" y="263"/>
                      </a:lnTo>
                      <a:lnTo>
                        <a:pt x="1887" y="265"/>
                      </a:lnTo>
                      <a:lnTo>
                        <a:pt x="1885" y="265"/>
                      </a:lnTo>
                      <a:lnTo>
                        <a:pt x="1885" y="267"/>
                      </a:lnTo>
                      <a:lnTo>
                        <a:pt x="1887" y="267"/>
                      </a:lnTo>
                      <a:lnTo>
                        <a:pt x="1887" y="269"/>
                      </a:lnTo>
                      <a:lnTo>
                        <a:pt x="1889" y="269"/>
                      </a:lnTo>
                      <a:lnTo>
                        <a:pt x="1887" y="269"/>
                      </a:lnTo>
                      <a:lnTo>
                        <a:pt x="1887" y="271"/>
                      </a:lnTo>
                      <a:lnTo>
                        <a:pt x="1889" y="269"/>
                      </a:lnTo>
                      <a:lnTo>
                        <a:pt x="1890" y="271"/>
                      </a:lnTo>
                      <a:lnTo>
                        <a:pt x="1890" y="273"/>
                      </a:lnTo>
                      <a:lnTo>
                        <a:pt x="1892" y="273"/>
                      </a:lnTo>
                      <a:lnTo>
                        <a:pt x="1892" y="274"/>
                      </a:lnTo>
                      <a:lnTo>
                        <a:pt x="1892" y="276"/>
                      </a:lnTo>
                      <a:lnTo>
                        <a:pt x="1892" y="278"/>
                      </a:lnTo>
                      <a:lnTo>
                        <a:pt x="1890" y="278"/>
                      </a:lnTo>
                      <a:lnTo>
                        <a:pt x="1890" y="280"/>
                      </a:lnTo>
                      <a:lnTo>
                        <a:pt x="1892" y="280"/>
                      </a:lnTo>
                      <a:lnTo>
                        <a:pt x="1892" y="282"/>
                      </a:lnTo>
                      <a:lnTo>
                        <a:pt x="1890" y="284"/>
                      </a:lnTo>
                      <a:lnTo>
                        <a:pt x="1890" y="286"/>
                      </a:lnTo>
                      <a:lnTo>
                        <a:pt x="1892" y="286"/>
                      </a:lnTo>
                      <a:lnTo>
                        <a:pt x="1892" y="288"/>
                      </a:lnTo>
                      <a:lnTo>
                        <a:pt x="1894" y="288"/>
                      </a:lnTo>
                      <a:lnTo>
                        <a:pt x="1894" y="290"/>
                      </a:lnTo>
                      <a:lnTo>
                        <a:pt x="1896" y="290"/>
                      </a:lnTo>
                      <a:lnTo>
                        <a:pt x="1896" y="291"/>
                      </a:lnTo>
                      <a:lnTo>
                        <a:pt x="1894" y="291"/>
                      </a:lnTo>
                      <a:lnTo>
                        <a:pt x="1894" y="293"/>
                      </a:lnTo>
                      <a:lnTo>
                        <a:pt x="1892" y="293"/>
                      </a:lnTo>
                      <a:lnTo>
                        <a:pt x="1892" y="295"/>
                      </a:lnTo>
                      <a:lnTo>
                        <a:pt x="1892" y="297"/>
                      </a:lnTo>
                      <a:lnTo>
                        <a:pt x="1892" y="299"/>
                      </a:lnTo>
                      <a:lnTo>
                        <a:pt x="1890" y="299"/>
                      </a:lnTo>
                      <a:lnTo>
                        <a:pt x="1890" y="301"/>
                      </a:lnTo>
                      <a:lnTo>
                        <a:pt x="1892" y="301"/>
                      </a:lnTo>
                      <a:lnTo>
                        <a:pt x="1890" y="303"/>
                      </a:lnTo>
                      <a:lnTo>
                        <a:pt x="1892" y="303"/>
                      </a:lnTo>
                      <a:lnTo>
                        <a:pt x="1892" y="301"/>
                      </a:lnTo>
                      <a:lnTo>
                        <a:pt x="1894" y="301"/>
                      </a:lnTo>
                      <a:lnTo>
                        <a:pt x="1894" y="303"/>
                      </a:lnTo>
                      <a:lnTo>
                        <a:pt x="1896" y="303"/>
                      </a:lnTo>
                      <a:lnTo>
                        <a:pt x="1896" y="305"/>
                      </a:lnTo>
                      <a:lnTo>
                        <a:pt x="1898" y="305"/>
                      </a:lnTo>
                      <a:lnTo>
                        <a:pt x="1900" y="305"/>
                      </a:lnTo>
                      <a:lnTo>
                        <a:pt x="1898" y="305"/>
                      </a:lnTo>
                      <a:lnTo>
                        <a:pt x="1898" y="306"/>
                      </a:lnTo>
                      <a:lnTo>
                        <a:pt x="1898" y="308"/>
                      </a:lnTo>
                      <a:lnTo>
                        <a:pt x="1898" y="310"/>
                      </a:lnTo>
                      <a:lnTo>
                        <a:pt x="1898" y="312"/>
                      </a:lnTo>
                      <a:lnTo>
                        <a:pt x="1898" y="314"/>
                      </a:lnTo>
                      <a:lnTo>
                        <a:pt x="1900" y="314"/>
                      </a:lnTo>
                      <a:lnTo>
                        <a:pt x="1900" y="316"/>
                      </a:lnTo>
                      <a:lnTo>
                        <a:pt x="1902" y="316"/>
                      </a:lnTo>
                      <a:lnTo>
                        <a:pt x="1904" y="318"/>
                      </a:lnTo>
                      <a:lnTo>
                        <a:pt x="1905" y="320"/>
                      </a:lnTo>
                      <a:lnTo>
                        <a:pt x="1905" y="322"/>
                      </a:lnTo>
                      <a:close/>
                    </a:path>
                  </a:pathLst>
                </a:custGeom>
                <a:solidFill>
                  <a:srgbClr val="CDFFCD"/>
                </a:solidFill>
                <a:ln w="9525">
                  <a:solidFill>
                    <a:schemeClr val="accent6"/>
                  </a:solidFill>
                  <a:round/>
                  <a:headEnd/>
                  <a:tailEnd/>
                </a:ln>
              </p:spPr>
              <p:txBody>
                <a:bodyPr vert="horz" wrap="square" lIns="89614" tIns="44807" rIns="89614" bIns="44807" numCol="1" anchor="t" anchorCtr="0" compatLnSpc="1">
                  <a:prstTxWarp prst="textNoShape">
                    <a:avLst/>
                  </a:prstTxWarp>
                </a:bodyPr>
                <a:lstStyle/>
                <a:p>
                  <a:pPr fontAlgn="base">
                    <a:spcBef>
                      <a:spcPct val="0"/>
                    </a:spcBef>
                    <a:spcAft>
                      <a:spcPct val="0"/>
                    </a:spcAft>
                  </a:pPr>
                  <a:endParaRPr lang="en-US" sz="1568" dirty="0">
                    <a:solidFill>
                      <a:srgbClr val="000000"/>
                    </a:solidFill>
                  </a:endParaRPr>
                </a:p>
              </p:txBody>
            </p:sp>
            <p:sp>
              <p:nvSpPr>
                <p:cNvPr id="49" name="Freeform 33"/>
                <p:cNvSpPr>
                  <a:spLocks/>
                </p:cNvSpPr>
                <p:nvPr/>
              </p:nvSpPr>
              <p:spPr bwMode="auto">
                <a:xfrm>
                  <a:off x="4294188" y="2471738"/>
                  <a:ext cx="2203450" cy="1862138"/>
                </a:xfrm>
                <a:custGeom>
                  <a:avLst/>
                  <a:gdLst>
                    <a:gd name="T0" fmla="*/ 1042 w 1388"/>
                    <a:gd name="T1" fmla="*/ 94 h 1173"/>
                    <a:gd name="T2" fmla="*/ 1072 w 1388"/>
                    <a:gd name="T3" fmla="*/ 105 h 1173"/>
                    <a:gd name="T4" fmla="*/ 1091 w 1388"/>
                    <a:gd name="T5" fmla="*/ 87 h 1173"/>
                    <a:gd name="T6" fmla="*/ 1145 w 1388"/>
                    <a:gd name="T7" fmla="*/ 107 h 1173"/>
                    <a:gd name="T8" fmla="*/ 1198 w 1388"/>
                    <a:gd name="T9" fmla="*/ 96 h 1173"/>
                    <a:gd name="T10" fmla="*/ 1224 w 1388"/>
                    <a:gd name="T11" fmla="*/ 139 h 1173"/>
                    <a:gd name="T12" fmla="*/ 1256 w 1388"/>
                    <a:gd name="T13" fmla="*/ 151 h 1173"/>
                    <a:gd name="T14" fmla="*/ 1279 w 1388"/>
                    <a:gd name="T15" fmla="*/ 166 h 1173"/>
                    <a:gd name="T16" fmla="*/ 1307 w 1388"/>
                    <a:gd name="T17" fmla="*/ 188 h 1173"/>
                    <a:gd name="T18" fmla="*/ 1335 w 1388"/>
                    <a:gd name="T19" fmla="*/ 226 h 1173"/>
                    <a:gd name="T20" fmla="*/ 1371 w 1388"/>
                    <a:gd name="T21" fmla="*/ 222 h 1173"/>
                    <a:gd name="T22" fmla="*/ 1369 w 1388"/>
                    <a:gd name="T23" fmla="*/ 279 h 1173"/>
                    <a:gd name="T24" fmla="*/ 1364 w 1388"/>
                    <a:gd name="T25" fmla="*/ 352 h 1173"/>
                    <a:gd name="T26" fmla="*/ 1270 w 1388"/>
                    <a:gd name="T27" fmla="*/ 501 h 1173"/>
                    <a:gd name="T28" fmla="*/ 1149 w 1388"/>
                    <a:gd name="T29" fmla="*/ 604 h 1173"/>
                    <a:gd name="T30" fmla="*/ 1110 w 1388"/>
                    <a:gd name="T31" fmla="*/ 559 h 1173"/>
                    <a:gd name="T32" fmla="*/ 1066 w 1388"/>
                    <a:gd name="T33" fmla="*/ 561 h 1173"/>
                    <a:gd name="T34" fmla="*/ 1025 w 1388"/>
                    <a:gd name="T35" fmla="*/ 582 h 1173"/>
                    <a:gd name="T36" fmla="*/ 980 w 1388"/>
                    <a:gd name="T37" fmla="*/ 587 h 1173"/>
                    <a:gd name="T38" fmla="*/ 952 w 1388"/>
                    <a:gd name="T39" fmla="*/ 621 h 1173"/>
                    <a:gd name="T40" fmla="*/ 910 w 1388"/>
                    <a:gd name="T41" fmla="*/ 636 h 1173"/>
                    <a:gd name="T42" fmla="*/ 873 w 1388"/>
                    <a:gd name="T43" fmla="*/ 651 h 1173"/>
                    <a:gd name="T44" fmla="*/ 841 w 1388"/>
                    <a:gd name="T45" fmla="*/ 687 h 1173"/>
                    <a:gd name="T46" fmla="*/ 822 w 1388"/>
                    <a:gd name="T47" fmla="*/ 729 h 1173"/>
                    <a:gd name="T48" fmla="*/ 788 w 1388"/>
                    <a:gd name="T49" fmla="*/ 777 h 1173"/>
                    <a:gd name="T50" fmla="*/ 756 w 1388"/>
                    <a:gd name="T51" fmla="*/ 830 h 1173"/>
                    <a:gd name="T52" fmla="*/ 698 w 1388"/>
                    <a:gd name="T53" fmla="*/ 853 h 1173"/>
                    <a:gd name="T54" fmla="*/ 734 w 1388"/>
                    <a:gd name="T55" fmla="*/ 969 h 1173"/>
                    <a:gd name="T56" fmla="*/ 771 w 1388"/>
                    <a:gd name="T57" fmla="*/ 1045 h 1173"/>
                    <a:gd name="T58" fmla="*/ 781 w 1388"/>
                    <a:gd name="T59" fmla="*/ 1084 h 1173"/>
                    <a:gd name="T60" fmla="*/ 752 w 1388"/>
                    <a:gd name="T61" fmla="*/ 1120 h 1173"/>
                    <a:gd name="T62" fmla="*/ 707 w 1388"/>
                    <a:gd name="T63" fmla="*/ 1131 h 1173"/>
                    <a:gd name="T64" fmla="*/ 664 w 1388"/>
                    <a:gd name="T65" fmla="*/ 1148 h 1173"/>
                    <a:gd name="T66" fmla="*/ 609 w 1388"/>
                    <a:gd name="T67" fmla="*/ 1165 h 1173"/>
                    <a:gd name="T68" fmla="*/ 549 w 1388"/>
                    <a:gd name="T69" fmla="*/ 1154 h 1173"/>
                    <a:gd name="T70" fmla="*/ 483 w 1388"/>
                    <a:gd name="T71" fmla="*/ 1128 h 1173"/>
                    <a:gd name="T72" fmla="*/ 429 w 1388"/>
                    <a:gd name="T73" fmla="*/ 1126 h 1173"/>
                    <a:gd name="T74" fmla="*/ 384 w 1388"/>
                    <a:gd name="T75" fmla="*/ 1154 h 1173"/>
                    <a:gd name="T76" fmla="*/ 325 w 1388"/>
                    <a:gd name="T77" fmla="*/ 1154 h 1173"/>
                    <a:gd name="T78" fmla="*/ 254 w 1388"/>
                    <a:gd name="T79" fmla="*/ 1135 h 1173"/>
                    <a:gd name="T80" fmla="*/ 196 w 1388"/>
                    <a:gd name="T81" fmla="*/ 1090 h 1173"/>
                    <a:gd name="T82" fmla="*/ 152 w 1388"/>
                    <a:gd name="T83" fmla="*/ 1034 h 1173"/>
                    <a:gd name="T84" fmla="*/ 111 w 1388"/>
                    <a:gd name="T85" fmla="*/ 968 h 1173"/>
                    <a:gd name="T86" fmla="*/ 51 w 1388"/>
                    <a:gd name="T87" fmla="*/ 922 h 1173"/>
                    <a:gd name="T88" fmla="*/ 2 w 1388"/>
                    <a:gd name="T89" fmla="*/ 862 h 1173"/>
                    <a:gd name="T90" fmla="*/ 190 w 1388"/>
                    <a:gd name="T91" fmla="*/ 382 h 1173"/>
                    <a:gd name="T92" fmla="*/ 244 w 1388"/>
                    <a:gd name="T93" fmla="*/ 324 h 1173"/>
                    <a:gd name="T94" fmla="*/ 318 w 1388"/>
                    <a:gd name="T95" fmla="*/ 284 h 1173"/>
                    <a:gd name="T96" fmla="*/ 378 w 1388"/>
                    <a:gd name="T97" fmla="*/ 258 h 1173"/>
                    <a:gd name="T98" fmla="*/ 431 w 1388"/>
                    <a:gd name="T99" fmla="*/ 307 h 1173"/>
                    <a:gd name="T100" fmla="*/ 466 w 1388"/>
                    <a:gd name="T101" fmla="*/ 248 h 1173"/>
                    <a:gd name="T102" fmla="*/ 513 w 1388"/>
                    <a:gd name="T103" fmla="*/ 207 h 1173"/>
                    <a:gd name="T104" fmla="*/ 545 w 1388"/>
                    <a:gd name="T105" fmla="*/ 184 h 1173"/>
                    <a:gd name="T106" fmla="*/ 544 w 1388"/>
                    <a:gd name="T107" fmla="*/ 134 h 1173"/>
                    <a:gd name="T108" fmla="*/ 594 w 1388"/>
                    <a:gd name="T109" fmla="*/ 98 h 1173"/>
                    <a:gd name="T110" fmla="*/ 655 w 1388"/>
                    <a:gd name="T111" fmla="*/ 83 h 1173"/>
                    <a:gd name="T112" fmla="*/ 702 w 1388"/>
                    <a:gd name="T113" fmla="*/ 75 h 1173"/>
                    <a:gd name="T114" fmla="*/ 752 w 1388"/>
                    <a:gd name="T115" fmla="*/ 60 h 1173"/>
                    <a:gd name="T116" fmla="*/ 809 w 1388"/>
                    <a:gd name="T117" fmla="*/ 47 h 1173"/>
                    <a:gd name="T118" fmla="*/ 850 w 1388"/>
                    <a:gd name="T119" fmla="*/ 28 h 1173"/>
                    <a:gd name="T120" fmla="*/ 907 w 1388"/>
                    <a:gd name="T121" fmla="*/ 11 h 1173"/>
                    <a:gd name="T122" fmla="*/ 950 w 1388"/>
                    <a:gd name="T123" fmla="*/ 43 h 1173"/>
                    <a:gd name="T124" fmla="*/ 993 w 1388"/>
                    <a:gd name="T125" fmla="*/ 71 h 1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88" h="1173">
                      <a:moveTo>
                        <a:pt x="995" y="62"/>
                      </a:moveTo>
                      <a:lnTo>
                        <a:pt x="997" y="62"/>
                      </a:lnTo>
                      <a:lnTo>
                        <a:pt x="997" y="64"/>
                      </a:lnTo>
                      <a:lnTo>
                        <a:pt x="997" y="66"/>
                      </a:lnTo>
                      <a:lnTo>
                        <a:pt x="999" y="66"/>
                      </a:lnTo>
                      <a:lnTo>
                        <a:pt x="999" y="68"/>
                      </a:lnTo>
                      <a:lnTo>
                        <a:pt x="999" y="70"/>
                      </a:lnTo>
                      <a:lnTo>
                        <a:pt x="999" y="71"/>
                      </a:lnTo>
                      <a:lnTo>
                        <a:pt x="1001" y="71"/>
                      </a:lnTo>
                      <a:lnTo>
                        <a:pt x="1001" y="70"/>
                      </a:lnTo>
                      <a:lnTo>
                        <a:pt x="1003" y="70"/>
                      </a:lnTo>
                      <a:lnTo>
                        <a:pt x="1003" y="68"/>
                      </a:lnTo>
                      <a:lnTo>
                        <a:pt x="1004" y="68"/>
                      </a:lnTo>
                      <a:lnTo>
                        <a:pt x="1004" y="70"/>
                      </a:lnTo>
                      <a:lnTo>
                        <a:pt x="1004" y="71"/>
                      </a:lnTo>
                      <a:lnTo>
                        <a:pt x="1006" y="73"/>
                      </a:lnTo>
                      <a:lnTo>
                        <a:pt x="1006" y="75"/>
                      </a:lnTo>
                      <a:lnTo>
                        <a:pt x="1010" y="77"/>
                      </a:lnTo>
                      <a:lnTo>
                        <a:pt x="1010" y="79"/>
                      </a:lnTo>
                      <a:lnTo>
                        <a:pt x="1010" y="77"/>
                      </a:lnTo>
                      <a:lnTo>
                        <a:pt x="1012" y="77"/>
                      </a:lnTo>
                      <a:lnTo>
                        <a:pt x="1012" y="75"/>
                      </a:lnTo>
                      <a:lnTo>
                        <a:pt x="1012" y="73"/>
                      </a:lnTo>
                      <a:lnTo>
                        <a:pt x="1014" y="73"/>
                      </a:lnTo>
                      <a:lnTo>
                        <a:pt x="1016" y="73"/>
                      </a:lnTo>
                      <a:lnTo>
                        <a:pt x="1018" y="73"/>
                      </a:lnTo>
                      <a:lnTo>
                        <a:pt x="1018" y="75"/>
                      </a:lnTo>
                      <a:lnTo>
                        <a:pt x="1016" y="75"/>
                      </a:lnTo>
                      <a:lnTo>
                        <a:pt x="1014" y="77"/>
                      </a:lnTo>
                      <a:lnTo>
                        <a:pt x="1014" y="79"/>
                      </a:lnTo>
                      <a:lnTo>
                        <a:pt x="1016" y="81"/>
                      </a:lnTo>
                      <a:lnTo>
                        <a:pt x="1018" y="79"/>
                      </a:lnTo>
                      <a:lnTo>
                        <a:pt x="1019" y="77"/>
                      </a:lnTo>
                      <a:lnTo>
                        <a:pt x="1021" y="75"/>
                      </a:lnTo>
                      <a:lnTo>
                        <a:pt x="1023" y="75"/>
                      </a:lnTo>
                      <a:lnTo>
                        <a:pt x="1025" y="75"/>
                      </a:lnTo>
                      <a:lnTo>
                        <a:pt x="1027" y="77"/>
                      </a:lnTo>
                      <a:lnTo>
                        <a:pt x="1029" y="77"/>
                      </a:lnTo>
                      <a:lnTo>
                        <a:pt x="1029" y="75"/>
                      </a:lnTo>
                      <a:lnTo>
                        <a:pt x="1031" y="75"/>
                      </a:lnTo>
                      <a:lnTo>
                        <a:pt x="1033" y="75"/>
                      </a:lnTo>
                      <a:lnTo>
                        <a:pt x="1034" y="75"/>
                      </a:lnTo>
                      <a:lnTo>
                        <a:pt x="1034" y="77"/>
                      </a:lnTo>
                      <a:lnTo>
                        <a:pt x="1034" y="79"/>
                      </a:lnTo>
                      <a:lnTo>
                        <a:pt x="1034" y="81"/>
                      </a:lnTo>
                      <a:lnTo>
                        <a:pt x="1036" y="81"/>
                      </a:lnTo>
                      <a:lnTo>
                        <a:pt x="1036" y="83"/>
                      </a:lnTo>
                      <a:lnTo>
                        <a:pt x="1036" y="85"/>
                      </a:lnTo>
                      <a:lnTo>
                        <a:pt x="1038" y="85"/>
                      </a:lnTo>
                      <a:lnTo>
                        <a:pt x="1038" y="87"/>
                      </a:lnTo>
                      <a:lnTo>
                        <a:pt x="1038" y="88"/>
                      </a:lnTo>
                      <a:lnTo>
                        <a:pt x="1040" y="88"/>
                      </a:lnTo>
                      <a:lnTo>
                        <a:pt x="1040" y="90"/>
                      </a:lnTo>
                      <a:lnTo>
                        <a:pt x="1042" y="92"/>
                      </a:lnTo>
                      <a:lnTo>
                        <a:pt x="1042" y="94"/>
                      </a:lnTo>
                      <a:lnTo>
                        <a:pt x="1040" y="94"/>
                      </a:lnTo>
                      <a:lnTo>
                        <a:pt x="1040" y="96"/>
                      </a:lnTo>
                      <a:lnTo>
                        <a:pt x="1038" y="96"/>
                      </a:lnTo>
                      <a:lnTo>
                        <a:pt x="1038" y="98"/>
                      </a:lnTo>
                      <a:lnTo>
                        <a:pt x="1040" y="98"/>
                      </a:lnTo>
                      <a:lnTo>
                        <a:pt x="1040" y="100"/>
                      </a:lnTo>
                      <a:lnTo>
                        <a:pt x="1040" y="98"/>
                      </a:lnTo>
                      <a:lnTo>
                        <a:pt x="1042" y="98"/>
                      </a:lnTo>
                      <a:lnTo>
                        <a:pt x="1042" y="96"/>
                      </a:lnTo>
                      <a:lnTo>
                        <a:pt x="1044" y="96"/>
                      </a:lnTo>
                      <a:lnTo>
                        <a:pt x="1044" y="94"/>
                      </a:lnTo>
                      <a:lnTo>
                        <a:pt x="1046" y="94"/>
                      </a:lnTo>
                      <a:lnTo>
                        <a:pt x="1046" y="92"/>
                      </a:lnTo>
                      <a:lnTo>
                        <a:pt x="1048" y="90"/>
                      </a:lnTo>
                      <a:lnTo>
                        <a:pt x="1048" y="88"/>
                      </a:lnTo>
                      <a:lnTo>
                        <a:pt x="1046" y="87"/>
                      </a:lnTo>
                      <a:lnTo>
                        <a:pt x="1044" y="87"/>
                      </a:lnTo>
                      <a:lnTo>
                        <a:pt x="1044" y="85"/>
                      </a:lnTo>
                      <a:lnTo>
                        <a:pt x="1046" y="85"/>
                      </a:lnTo>
                      <a:lnTo>
                        <a:pt x="1046" y="83"/>
                      </a:lnTo>
                      <a:lnTo>
                        <a:pt x="1046" y="85"/>
                      </a:lnTo>
                      <a:lnTo>
                        <a:pt x="1048" y="85"/>
                      </a:lnTo>
                      <a:lnTo>
                        <a:pt x="1050" y="87"/>
                      </a:lnTo>
                      <a:lnTo>
                        <a:pt x="1051" y="87"/>
                      </a:lnTo>
                      <a:lnTo>
                        <a:pt x="1051" y="88"/>
                      </a:lnTo>
                      <a:lnTo>
                        <a:pt x="1051" y="90"/>
                      </a:lnTo>
                      <a:lnTo>
                        <a:pt x="1053" y="90"/>
                      </a:lnTo>
                      <a:lnTo>
                        <a:pt x="1053" y="88"/>
                      </a:lnTo>
                      <a:lnTo>
                        <a:pt x="1053" y="87"/>
                      </a:lnTo>
                      <a:lnTo>
                        <a:pt x="1053" y="85"/>
                      </a:lnTo>
                      <a:lnTo>
                        <a:pt x="1053" y="83"/>
                      </a:lnTo>
                      <a:lnTo>
                        <a:pt x="1053" y="81"/>
                      </a:lnTo>
                      <a:lnTo>
                        <a:pt x="1055" y="81"/>
                      </a:lnTo>
                      <a:lnTo>
                        <a:pt x="1055" y="83"/>
                      </a:lnTo>
                      <a:lnTo>
                        <a:pt x="1055" y="85"/>
                      </a:lnTo>
                      <a:lnTo>
                        <a:pt x="1057" y="87"/>
                      </a:lnTo>
                      <a:lnTo>
                        <a:pt x="1059" y="88"/>
                      </a:lnTo>
                      <a:lnTo>
                        <a:pt x="1061" y="88"/>
                      </a:lnTo>
                      <a:lnTo>
                        <a:pt x="1061" y="90"/>
                      </a:lnTo>
                      <a:lnTo>
                        <a:pt x="1063" y="90"/>
                      </a:lnTo>
                      <a:lnTo>
                        <a:pt x="1063" y="92"/>
                      </a:lnTo>
                      <a:lnTo>
                        <a:pt x="1063" y="94"/>
                      </a:lnTo>
                      <a:lnTo>
                        <a:pt x="1063" y="96"/>
                      </a:lnTo>
                      <a:lnTo>
                        <a:pt x="1061" y="96"/>
                      </a:lnTo>
                      <a:lnTo>
                        <a:pt x="1061" y="98"/>
                      </a:lnTo>
                      <a:lnTo>
                        <a:pt x="1063" y="98"/>
                      </a:lnTo>
                      <a:lnTo>
                        <a:pt x="1065" y="98"/>
                      </a:lnTo>
                      <a:lnTo>
                        <a:pt x="1065" y="100"/>
                      </a:lnTo>
                      <a:lnTo>
                        <a:pt x="1066" y="100"/>
                      </a:lnTo>
                      <a:lnTo>
                        <a:pt x="1068" y="100"/>
                      </a:lnTo>
                      <a:lnTo>
                        <a:pt x="1068" y="102"/>
                      </a:lnTo>
                      <a:lnTo>
                        <a:pt x="1068" y="103"/>
                      </a:lnTo>
                      <a:lnTo>
                        <a:pt x="1070" y="103"/>
                      </a:lnTo>
                      <a:lnTo>
                        <a:pt x="1070" y="105"/>
                      </a:lnTo>
                      <a:lnTo>
                        <a:pt x="1072" y="105"/>
                      </a:lnTo>
                      <a:lnTo>
                        <a:pt x="1072" y="107"/>
                      </a:lnTo>
                      <a:lnTo>
                        <a:pt x="1074" y="107"/>
                      </a:lnTo>
                      <a:lnTo>
                        <a:pt x="1072" y="107"/>
                      </a:lnTo>
                      <a:lnTo>
                        <a:pt x="1072" y="109"/>
                      </a:lnTo>
                      <a:lnTo>
                        <a:pt x="1072" y="111"/>
                      </a:lnTo>
                      <a:lnTo>
                        <a:pt x="1070" y="111"/>
                      </a:lnTo>
                      <a:lnTo>
                        <a:pt x="1068" y="111"/>
                      </a:lnTo>
                      <a:lnTo>
                        <a:pt x="1068" y="113"/>
                      </a:lnTo>
                      <a:lnTo>
                        <a:pt x="1068" y="115"/>
                      </a:lnTo>
                      <a:lnTo>
                        <a:pt x="1070" y="115"/>
                      </a:lnTo>
                      <a:lnTo>
                        <a:pt x="1070" y="113"/>
                      </a:lnTo>
                      <a:lnTo>
                        <a:pt x="1072" y="113"/>
                      </a:lnTo>
                      <a:lnTo>
                        <a:pt x="1074" y="113"/>
                      </a:lnTo>
                      <a:lnTo>
                        <a:pt x="1074" y="111"/>
                      </a:lnTo>
                      <a:lnTo>
                        <a:pt x="1076" y="111"/>
                      </a:lnTo>
                      <a:lnTo>
                        <a:pt x="1076" y="109"/>
                      </a:lnTo>
                      <a:lnTo>
                        <a:pt x="1076" y="107"/>
                      </a:lnTo>
                      <a:lnTo>
                        <a:pt x="1076" y="105"/>
                      </a:lnTo>
                      <a:lnTo>
                        <a:pt x="1078" y="105"/>
                      </a:lnTo>
                      <a:lnTo>
                        <a:pt x="1080" y="105"/>
                      </a:lnTo>
                      <a:lnTo>
                        <a:pt x="1080" y="107"/>
                      </a:lnTo>
                      <a:lnTo>
                        <a:pt x="1082" y="105"/>
                      </a:lnTo>
                      <a:lnTo>
                        <a:pt x="1083" y="103"/>
                      </a:lnTo>
                      <a:lnTo>
                        <a:pt x="1083" y="102"/>
                      </a:lnTo>
                      <a:lnTo>
                        <a:pt x="1085" y="102"/>
                      </a:lnTo>
                      <a:lnTo>
                        <a:pt x="1087" y="102"/>
                      </a:lnTo>
                      <a:lnTo>
                        <a:pt x="1089" y="102"/>
                      </a:lnTo>
                      <a:lnTo>
                        <a:pt x="1089" y="100"/>
                      </a:lnTo>
                      <a:lnTo>
                        <a:pt x="1087" y="100"/>
                      </a:lnTo>
                      <a:lnTo>
                        <a:pt x="1087" y="98"/>
                      </a:lnTo>
                      <a:lnTo>
                        <a:pt x="1089" y="98"/>
                      </a:lnTo>
                      <a:lnTo>
                        <a:pt x="1091" y="98"/>
                      </a:lnTo>
                      <a:lnTo>
                        <a:pt x="1093" y="98"/>
                      </a:lnTo>
                      <a:lnTo>
                        <a:pt x="1093" y="100"/>
                      </a:lnTo>
                      <a:lnTo>
                        <a:pt x="1095" y="100"/>
                      </a:lnTo>
                      <a:lnTo>
                        <a:pt x="1097" y="102"/>
                      </a:lnTo>
                      <a:lnTo>
                        <a:pt x="1098" y="100"/>
                      </a:lnTo>
                      <a:lnTo>
                        <a:pt x="1098" y="98"/>
                      </a:lnTo>
                      <a:lnTo>
                        <a:pt x="1100" y="96"/>
                      </a:lnTo>
                      <a:lnTo>
                        <a:pt x="1100" y="94"/>
                      </a:lnTo>
                      <a:lnTo>
                        <a:pt x="1098" y="94"/>
                      </a:lnTo>
                      <a:lnTo>
                        <a:pt x="1098" y="92"/>
                      </a:lnTo>
                      <a:lnTo>
                        <a:pt x="1097" y="92"/>
                      </a:lnTo>
                      <a:lnTo>
                        <a:pt x="1095" y="92"/>
                      </a:lnTo>
                      <a:lnTo>
                        <a:pt x="1093" y="92"/>
                      </a:lnTo>
                      <a:lnTo>
                        <a:pt x="1093" y="94"/>
                      </a:lnTo>
                      <a:lnTo>
                        <a:pt x="1091" y="94"/>
                      </a:lnTo>
                      <a:lnTo>
                        <a:pt x="1091" y="96"/>
                      </a:lnTo>
                      <a:lnTo>
                        <a:pt x="1089" y="94"/>
                      </a:lnTo>
                      <a:lnTo>
                        <a:pt x="1087" y="94"/>
                      </a:lnTo>
                      <a:lnTo>
                        <a:pt x="1087" y="92"/>
                      </a:lnTo>
                      <a:lnTo>
                        <a:pt x="1089" y="92"/>
                      </a:lnTo>
                      <a:lnTo>
                        <a:pt x="1089" y="90"/>
                      </a:lnTo>
                      <a:lnTo>
                        <a:pt x="1091" y="88"/>
                      </a:lnTo>
                      <a:lnTo>
                        <a:pt x="1091" y="87"/>
                      </a:lnTo>
                      <a:lnTo>
                        <a:pt x="1093" y="87"/>
                      </a:lnTo>
                      <a:lnTo>
                        <a:pt x="1093" y="85"/>
                      </a:lnTo>
                      <a:lnTo>
                        <a:pt x="1095" y="85"/>
                      </a:lnTo>
                      <a:lnTo>
                        <a:pt x="1095" y="83"/>
                      </a:lnTo>
                      <a:lnTo>
                        <a:pt x="1097" y="83"/>
                      </a:lnTo>
                      <a:lnTo>
                        <a:pt x="1097" y="81"/>
                      </a:lnTo>
                      <a:lnTo>
                        <a:pt x="1098" y="81"/>
                      </a:lnTo>
                      <a:lnTo>
                        <a:pt x="1098" y="83"/>
                      </a:lnTo>
                      <a:lnTo>
                        <a:pt x="1100" y="83"/>
                      </a:lnTo>
                      <a:lnTo>
                        <a:pt x="1100" y="85"/>
                      </a:lnTo>
                      <a:lnTo>
                        <a:pt x="1100" y="83"/>
                      </a:lnTo>
                      <a:lnTo>
                        <a:pt x="1102" y="85"/>
                      </a:lnTo>
                      <a:lnTo>
                        <a:pt x="1104" y="85"/>
                      </a:lnTo>
                      <a:lnTo>
                        <a:pt x="1104" y="87"/>
                      </a:lnTo>
                      <a:lnTo>
                        <a:pt x="1106" y="87"/>
                      </a:lnTo>
                      <a:lnTo>
                        <a:pt x="1106" y="88"/>
                      </a:lnTo>
                      <a:lnTo>
                        <a:pt x="1108" y="88"/>
                      </a:lnTo>
                      <a:lnTo>
                        <a:pt x="1110" y="88"/>
                      </a:lnTo>
                      <a:lnTo>
                        <a:pt x="1112" y="88"/>
                      </a:lnTo>
                      <a:lnTo>
                        <a:pt x="1112" y="87"/>
                      </a:lnTo>
                      <a:lnTo>
                        <a:pt x="1113" y="87"/>
                      </a:lnTo>
                      <a:lnTo>
                        <a:pt x="1115" y="87"/>
                      </a:lnTo>
                      <a:lnTo>
                        <a:pt x="1115" y="88"/>
                      </a:lnTo>
                      <a:lnTo>
                        <a:pt x="1115" y="90"/>
                      </a:lnTo>
                      <a:lnTo>
                        <a:pt x="1117" y="90"/>
                      </a:lnTo>
                      <a:lnTo>
                        <a:pt x="1119" y="90"/>
                      </a:lnTo>
                      <a:lnTo>
                        <a:pt x="1119" y="92"/>
                      </a:lnTo>
                      <a:lnTo>
                        <a:pt x="1119" y="94"/>
                      </a:lnTo>
                      <a:lnTo>
                        <a:pt x="1121" y="94"/>
                      </a:lnTo>
                      <a:lnTo>
                        <a:pt x="1121" y="96"/>
                      </a:lnTo>
                      <a:lnTo>
                        <a:pt x="1123" y="96"/>
                      </a:lnTo>
                      <a:lnTo>
                        <a:pt x="1125" y="96"/>
                      </a:lnTo>
                      <a:lnTo>
                        <a:pt x="1125" y="94"/>
                      </a:lnTo>
                      <a:lnTo>
                        <a:pt x="1127" y="94"/>
                      </a:lnTo>
                      <a:lnTo>
                        <a:pt x="1127" y="96"/>
                      </a:lnTo>
                      <a:lnTo>
                        <a:pt x="1129" y="96"/>
                      </a:lnTo>
                      <a:lnTo>
                        <a:pt x="1130" y="96"/>
                      </a:lnTo>
                      <a:lnTo>
                        <a:pt x="1130" y="98"/>
                      </a:lnTo>
                      <a:lnTo>
                        <a:pt x="1130" y="100"/>
                      </a:lnTo>
                      <a:lnTo>
                        <a:pt x="1130" y="102"/>
                      </a:lnTo>
                      <a:lnTo>
                        <a:pt x="1132" y="102"/>
                      </a:lnTo>
                      <a:lnTo>
                        <a:pt x="1134" y="102"/>
                      </a:lnTo>
                      <a:lnTo>
                        <a:pt x="1136" y="103"/>
                      </a:lnTo>
                      <a:lnTo>
                        <a:pt x="1136" y="102"/>
                      </a:lnTo>
                      <a:lnTo>
                        <a:pt x="1138" y="100"/>
                      </a:lnTo>
                      <a:lnTo>
                        <a:pt x="1138" y="98"/>
                      </a:lnTo>
                      <a:lnTo>
                        <a:pt x="1140" y="100"/>
                      </a:lnTo>
                      <a:lnTo>
                        <a:pt x="1140" y="102"/>
                      </a:lnTo>
                      <a:lnTo>
                        <a:pt x="1140" y="103"/>
                      </a:lnTo>
                      <a:lnTo>
                        <a:pt x="1140" y="105"/>
                      </a:lnTo>
                      <a:lnTo>
                        <a:pt x="1140" y="107"/>
                      </a:lnTo>
                      <a:lnTo>
                        <a:pt x="1142" y="107"/>
                      </a:lnTo>
                      <a:lnTo>
                        <a:pt x="1142" y="105"/>
                      </a:lnTo>
                      <a:lnTo>
                        <a:pt x="1144" y="105"/>
                      </a:lnTo>
                      <a:lnTo>
                        <a:pt x="1145" y="107"/>
                      </a:lnTo>
                      <a:lnTo>
                        <a:pt x="1147" y="107"/>
                      </a:lnTo>
                      <a:lnTo>
                        <a:pt x="1147" y="105"/>
                      </a:lnTo>
                      <a:lnTo>
                        <a:pt x="1149" y="105"/>
                      </a:lnTo>
                      <a:lnTo>
                        <a:pt x="1149" y="103"/>
                      </a:lnTo>
                      <a:lnTo>
                        <a:pt x="1151" y="103"/>
                      </a:lnTo>
                      <a:lnTo>
                        <a:pt x="1151" y="102"/>
                      </a:lnTo>
                      <a:lnTo>
                        <a:pt x="1153" y="103"/>
                      </a:lnTo>
                      <a:lnTo>
                        <a:pt x="1155" y="103"/>
                      </a:lnTo>
                      <a:lnTo>
                        <a:pt x="1155" y="105"/>
                      </a:lnTo>
                      <a:lnTo>
                        <a:pt x="1157" y="107"/>
                      </a:lnTo>
                      <a:lnTo>
                        <a:pt x="1157" y="109"/>
                      </a:lnTo>
                      <a:lnTo>
                        <a:pt x="1157" y="111"/>
                      </a:lnTo>
                      <a:lnTo>
                        <a:pt x="1159" y="111"/>
                      </a:lnTo>
                      <a:lnTo>
                        <a:pt x="1159" y="113"/>
                      </a:lnTo>
                      <a:lnTo>
                        <a:pt x="1161" y="113"/>
                      </a:lnTo>
                      <a:lnTo>
                        <a:pt x="1161" y="111"/>
                      </a:lnTo>
                      <a:lnTo>
                        <a:pt x="1162" y="111"/>
                      </a:lnTo>
                      <a:lnTo>
                        <a:pt x="1162" y="109"/>
                      </a:lnTo>
                      <a:lnTo>
                        <a:pt x="1162" y="107"/>
                      </a:lnTo>
                      <a:lnTo>
                        <a:pt x="1162" y="105"/>
                      </a:lnTo>
                      <a:lnTo>
                        <a:pt x="1162" y="103"/>
                      </a:lnTo>
                      <a:lnTo>
                        <a:pt x="1161" y="103"/>
                      </a:lnTo>
                      <a:lnTo>
                        <a:pt x="1159" y="102"/>
                      </a:lnTo>
                      <a:lnTo>
                        <a:pt x="1161" y="102"/>
                      </a:lnTo>
                      <a:lnTo>
                        <a:pt x="1161" y="100"/>
                      </a:lnTo>
                      <a:lnTo>
                        <a:pt x="1162" y="100"/>
                      </a:lnTo>
                      <a:lnTo>
                        <a:pt x="1164" y="102"/>
                      </a:lnTo>
                      <a:lnTo>
                        <a:pt x="1166" y="100"/>
                      </a:lnTo>
                      <a:lnTo>
                        <a:pt x="1168" y="98"/>
                      </a:lnTo>
                      <a:lnTo>
                        <a:pt x="1170" y="100"/>
                      </a:lnTo>
                      <a:lnTo>
                        <a:pt x="1172" y="100"/>
                      </a:lnTo>
                      <a:lnTo>
                        <a:pt x="1174" y="100"/>
                      </a:lnTo>
                      <a:lnTo>
                        <a:pt x="1176" y="98"/>
                      </a:lnTo>
                      <a:lnTo>
                        <a:pt x="1177" y="98"/>
                      </a:lnTo>
                      <a:lnTo>
                        <a:pt x="1177" y="96"/>
                      </a:lnTo>
                      <a:lnTo>
                        <a:pt x="1177" y="94"/>
                      </a:lnTo>
                      <a:lnTo>
                        <a:pt x="1179" y="94"/>
                      </a:lnTo>
                      <a:lnTo>
                        <a:pt x="1179" y="92"/>
                      </a:lnTo>
                      <a:lnTo>
                        <a:pt x="1181" y="92"/>
                      </a:lnTo>
                      <a:lnTo>
                        <a:pt x="1181" y="94"/>
                      </a:lnTo>
                      <a:lnTo>
                        <a:pt x="1183" y="94"/>
                      </a:lnTo>
                      <a:lnTo>
                        <a:pt x="1185" y="96"/>
                      </a:lnTo>
                      <a:lnTo>
                        <a:pt x="1187" y="96"/>
                      </a:lnTo>
                      <a:lnTo>
                        <a:pt x="1189" y="96"/>
                      </a:lnTo>
                      <a:lnTo>
                        <a:pt x="1191" y="96"/>
                      </a:lnTo>
                      <a:lnTo>
                        <a:pt x="1191" y="98"/>
                      </a:lnTo>
                      <a:lnTo>
                        <a:pt x="1192" y="98"/>
                      </a:lnTo>
                      <a:lnTo>
                        <a:pt x="1194" y="100"/>
                      </a:lnTo>
                      <a:lnTo>
                        <a:pt x="1194" y="102"/>
                      </a:lnTo>
                      <a:lnTo>
                        <a:pt x="1196" y="102"/>
                      </a:lnTo>
                      <a:lnTo>
                        <a:pt x="1196" y="103"/>
                      </a:lnTo>
                      <a:lnTo>
                        <a:pt x="1198" y="102"/>
                      </a:lnTo>
                      <a:lnTo>
                        <a:pt x="1198" y="100"/>
                      </a:lnTo>
                      <a:lnTo>
                        <a:pt x="1198" y="98"/>
                      </a:lnTo>
                      <a:lnTo>
                        <a:pt x="1198" y="96"/>
                      </a:lnTo>
                      <a:lnTo>
                        <a:pt x="1200" y="96"/>
                      </a:lnTo>
                      <a:lnTo>
                        <a:pt x="1202" y="96"/>
                      </a:lnTo>
                      <a:lnTo>
                        <a:pt x="1202" y="98"/>
                      </a:lnTo>
                      <a:lnTo>
                        <a:pt x="1204" y="98"/>
                      </a:lnTo>
                      <a:lnTo>
                        <a:pt x="1204" y="100"/>
                      </a:lnTo>
                      <a:lnTo>
                        <a:pt x="1204" y="102"/>
                      </a:lnTo>
                      <a:lnTo>
                        <a:pt x="1202" y="102"/>
                      </a:lnTo>
                      <a:lnTo>
                        <a:pt x="1202" y="103"/>
                      </a:lnTo>
                      <a:lnTo>
                        <a:pt x="1202" y="105"/>
                      </a:lnTo>
                      <a:lnTo>
                        <a:pt x="1204" y="105"/>
                      </a:lnTo>
                      <a:lnTo>
                        <a:pt x="1204" y="107"/>
                      </a:lnTo>
                      <a:lnTo>
                        <a:pt x="1204" y="109"/>
                      </a:lnTo>
                      <a:lnTo>
                        <a:pt x="1206" y="111"/>
                      </a:lnTo>
                      <a:lnTo>
                        <a:pt x="1206" y="113"/>
                      </a:lnTo>
                      <a:lnTo>
                        <a:pt x="1208" y="113"/>
                      </a:lnTo>
                      <a:lnTo>
                        <a:pt x="1206" y="113"/>
                      </a:lnTo>
                      <a:lnTo>
                        <a:pt x="1206" y="115"/>
                      </a:lnTo>
                      <a:lnTo>
                        <a:pt x="1206" y="113"/>
                      </a:lnTo>
                      <a:lnTo>
                        <a:pt x="1204" y="115"/>
                      </a:lnTo>
                      <a:lnTo>
                        <a:pt x="1204" y="117"/>
                      </a:lnTo>
                      <a:lnTo>
                        <a:pt x="1204" y="119"/>
                      </a:lnTo>
                      <a:lnTo>
                        <a:pt x="1202" y="119"/>
                      </a:lnTo>
                      <a:lnTo>
                        <a:pt x="1204" y="119"/>
                      </a:lnTo>
                      <a:lnTo>
                        <a:pt x="1204" y="120"/>
                      </a:lnTo>
                      <a:lnTo>
                        <a:pt x="1204" y="119"/>
                      </a:lnTo>
                      <a:lnTo>
                        <a:pt x="1206" y="119"/>
                      </a:lnTo>
                      <a:lnTo>
                        <a:pt x="1206" y="120"/>
                      </a:lnTo>
                      <a:lnTo>
                        <a:pt x="1208" y="120"/>
                      </a:lnTo>
                      <a:lnTo>
                        <a:pt x="1208" y="122"/>
                      </a:lnTo>
                      <a:lnTo>
                        <a:pt x="1208" y="120"/>
                      </a:lnTo>
                      <a:lnTo>
                        <a:pt x="1208" y="122"/>
                      </a:lnTo>
                      <a:lnTo>
                        <a:pt x="1209" y="124"/>
                      </a:lnTo>
                      <a:lnTo>
                        <a:pt x="1209" y="126"/>
                      </a:lnTo>
                      <a:lnTo>
                        <a:pt x="1211" y="128"/>
                      </a:lnTo>
                      <a:lnTo>
                        <a:pt x="1209" y="128"/>
                      </a:lnTo>
                      <a:lnTo>
                        <a:pt x="1211" y="128"/>
                      </a:lnTo>
                      <a:lnTo>
                        <a:pt x="1211" y="130"/>
                      </a:lnTo>
                      <a:lnTo>
                        <a:pt x="1213" y="130"/>
                      </a:lnTo>
                      <a:lnTo>
                        <a:pt x="1213" y="132"/>
                      </a:lnTo>
                      <a:lnTo>
                        <a:pt x="1215" y="132"/>
                      </a:lnTo>
                      <a:lnTo>
                        <a:pt x="1215" y="134"/>
                      </a:lnTo>
                      <a:lnTo>
                        <a:pt x="1213" y="134"/>
                      </a:lnTo>
                      <a:lnTo>
                        <a:pt x="1215" y="136"/>
                      </a:lnTo>
                      <a:lnTo>
                        <a:pt x="1217" y="137"/>
                      </a:lnTo>
                      <a:lnTo>
                        <a:pt x="1217" y="139"/>
                      </a:lnTo>
                      <a:lnTo>
                        <a:pt x="1217" y="141"/>
                      </a:lnTo>
                      <a:lnTo>
                        <a:pt x="1217" y="143"/>
                      </a:lnTo>
                      <a:lnTo>
                        <a:pt x="1217" y="145"/>
                      </a:lnTo>
                      <a:lnTo>
                        <a:pt x="1219" y="145"/>
                      </a:lnTo>
                      <a:lnTo>
                        <a:pt x="1219" y="143"/>
                      </a:lnTo>
                      <a:lnTo>
                        <a:pt x="1221" y="143"/>
                      </a:lnTo>
                      <a:lnTo>
                        <a:pt x="1221" y="141"/>
                      </a:lnTo>
                      <a:lnTo>
                        <a:pt x="1223" y="141"/>
                      </a:lnTo>
                      <a:lnTo>
                        <a:pt x="1223" y="139"/>
                      </a:lnTo>
                      <a:lnTo>
                        <a:pt x="1224" y="139"/>
                      </a:lnTo>
                      <a:lnTo>
                        <a:pt x="1226" y="139"/>
                      </a:lnTo>
                      <a:lnTo>
                        <a:pt x="1226" y="137"/>
                      </a:lnTo>
                      <a:lnTo>
                        <a:pt x="1226" y="139"/>
                      </a:lnTo>
                      <a:lnTo>
                        <a:pt x="1226" y="137"/>
                      </a:lnTo>
                      <a:lnTo>
                        <a:pt x="1228" y="137"/>
                      </a:lnTo>
                      <a:lnTo>
                        <a:pt x="1228" y="136"/>
                      </a:lnTo>
                      <a:lnTo>
                        <a:pt x="1230" y="136"/>
                      </a:lnTo>
                      <a:lnTo>
                        <a:pt x="1232" y="136"/>
                      </a:lnTo>
                      <a:lnTo>
                        <a:pt x="1232" y="137"/>
                      </a:lnTo>
                      <a:lnTo>
                        <a:pt x="1234" y="137"/>
                      </a:lnTo>
                      <a:lnTo>
                        <a:pt x="1236" y="137"/>
                      </a:lnTo>
                      <a:lnTo>
                        <a:pt x="1236" y="136"/>
                      </a:lnTo>
                      <a:lnTo>
                        <a:pt x="1238" y="136"/>
                      </a:lnTo>
                      <a:lnTo>
                        <a:pt x="1236" y="136"/>
                      </a:lnTo>
                      <a:lnTo>
                        <a:pt x="1238" y="136"/>
                      </a:lnTo>
                      <a:lnTo>
                        <a:pt x="1238" y="134"/>
                      </a:lnTo>
                      <a:lnTo>
                        <a:pt x="1238" y="136"/>
                      </a:lnTo>
                      <a:lnTo>
                        <a:pt x="1240" y="136"/>
                      </a:lnTo>
                      <a:lnTo>
                        <a:pt x="1240" y="137"/>
                      </a:lnTo>
                      <a:lnTo>
                        <a:pt x="1241" y="136"/>
                      </a:lnTo>
                      <a:lnTo>
                        <a:pt x="1241" y="137"/>
                      </a:lnTo>
                      <a:lnTo>
                        <a:pt x="1243" y="137"/>
                      </a:lnTo>
                      <a:lnTo>
                        <a:pt x="1245" y="137"/>
                      </a:lnTo>
                      <a:lnTo>
                        <a:pt x="1247" y="137"/>
                      </a:lnTo>
                      <a:lnTo>
                        <a:pt x="1245" y="137"/>
                      </a:lnTo>
                      <a:lnTo>
                        <a:pt x="1247" y="137"/>
                      </a:lnTo>
                      <a:lnTo>
                        <a:pt x="1247" y="139"/>
                      </a:lnTo>
                      <a:lnTo>
                        <a:pt x="1245" y="139"/>
                      </a:lnTo>
                      <a:lnTo>
                        <a:pt x="1247" y="139"/>
                      </a:lnTo>
                      <a:lnTo>
                        <a:pt x="1247" y="141"/>
                      </a:lnTo>
                      <a:lnTo>
                        <a:pt x="1247" y="143"/>
                      </a:lnTo>
                      <a:lnTo>
                        <a:pt x="1249" y="145"/>
                      </a:lnTo>
                      <a:lnTo>
                        <a:pt x="1249" y="147"/>
                      </a:lnTo>
                      <a:lnTo>
                        <a:pt x="1247" y="147"/>
                      </a:lnTo>
                      <a:lnTo>
                        <a:pt x="1249" y="147"/>
                      </a:lnTo>
                      <a:lnTo>
                        <a:pt x="1249" y="149"/>
                      </a:lnTo>
                      <a:lnTo>
                        <a:pt x="1249" y="147"/>
                      </a:lnTo>
                      <a:lnTo>
                        <a:pt x="1251" y="147"/>
                      </a:lnTo>
                      <a:lnTo>
                        <a:pt x="1251" y="149"/>
                      </a:lnTo>
                      <a:lnTo>
                        <a:pt x="1249" y="149"/>
                      </a:lnTo>
                      <a:lnTo>
                        <a:pt x="1251" y="149"/>
                      </a:lnTo>
                      <a:lnTo>
                        <a:pt x="1251" y="151"/>
                      </a:lnTo>
                      <a:lnTo>
                        <a:pt x="1253" y="151"/>
                      </a:lnTo>
                      <a:lnTo>
                        <a:pt x="1253" y="149"/>
                      </a:lnTo>
                      <a:lnTo>
                        <a:pt x="1253" y="151"/>
                      </a:lnTo>
                      <a:lnTo>
                        <a:pt x="1255" y="151"/>
                      </a:lnTo>
                      <a:lnTo>
                        <a:pt x="1253" y="151"/>
                      </a:lnTo>
                      <a:lnTo>
                        <a:pt x="1253" y="149"/>
                      </a:lnTo>
                      <a:lnTo>
                        <a:pt x="1255" y="149"/>
                      </a:lnTo>
                      <a:lnTo>
                        <a:pt x="1255" y="147"/>
                      </a:lnTo>
                      <a:lnTo>
                        <a:pt x="1255" y="149"/>
                      </a:lnTo>
                      <a:lnTo>
                        <a:pt x="1255" y="147"/>
                      </a:lnTo>
                      <a:lnTo>
                        <a:pt x="1255" y="149"/>
                      </a:lnTo>
                      <a:lnTo>
                        <a:pt x="1256" y="149"/>
                      </a:lnTo>
                      <a:lnTo>
                        <a:pt x="1256" y="151"/>
                      </a:lnTo>
                      <a:lnTo>
                        <a:pt x="1256" y="149"/>
                      </a:lnTo>
                      <a:lnTo>
                        <a:pt x="1256" y="151"/>
                      </a:lnTo>
                      <a:lnTo>
                        <a:pt x="1256" y="152"/>
                      </a:lnTo>
                      <a:lnTo>
                        <a:pt x="1256" y="151"/>
                      </a:lnTo>
                      <a:lnTo>
                        <a:pt x="1256" y="152"/>
                      </a:lnTo>
                      <a:lnTo>
                        <a:pt x="1258" y="151"/>
                      </a:lnTo>
                      <a:lnTo>
                        <a:pt x="1260" y="151"/>
                      </a:lnTo>
                      <a:lnTo>
                        <a:pt x="1260" y="152"/>
                      </a:lnTo>
                      <a:lnTo>
                        <a:pt x="1260" y="151"/>
                      </a:lnTo>
                      <a:lnTo>
                        <a:pt x="1262" y="151"/>
                      </a:lnTo>
                      <a:lnTo>
                        <a:pt x="1260" y="151"/>
                      </a:lnTo>
                      <a:lnTo>
                        <a:pt x="1262" y="151"/>
                      </a:lnTo>
                      <a:lnTo>
                        <a:pt x="1262" y="152"/>
                      </a:lnTo>
                      <a:lnTo>
                        <a:pt x="1264" y="152"/>
                      </a:lnTo>
                      <a:lnTo>
                        <a:pt x="1264" y="154"/>
                      </a:lnTo>
                      <a:lnTo>
                        <a:pt x="1266" y="156"/>
                      </a:lnTo>
                      <a:lnTo>
                        <a:pt x="1264" y="156"/>
                      </a:lnTo>
                      <a:lnTo>
                        <a:pt x="1266" y="156"/>
                      </a:lnTo>
                      <a:lnTo>
                        <a:pt x="1268" y="158"/>
                      </a:lnTo>
                      <a:lnTo>
                        <a:pt x="1268" y="156"/>
                      </a:lnTo>
                      <a:lnTo>
                        <a:pt x="1270" y="156"/>
                      </a:lnTo>
                      <a:lnTo>
                        <a:pt x="1270" y="154"/>
                      </a:lnTo>
                      <a:lnTo>
                        <a:pt x="1271" y="154"/>
                      </a:lnTo>
                      <a:lnTo>
                        <a:pt x="1273" y="154"/>
                      </a:lnTo>
                      <a:lnTo>
                        <a:pt x="1273" y="156"/>
                      </a:lnTo>
                      <a:lnTo>
                        <a:pt x="1273" y="158"/>
                      </a:lnTo>
                      <a:lnTo>
                        <a:pt x="1273" y="156"/>
                      </a:lnTo>
                      <a:lnTo>
                        <a:pt x="1273" y="158"/>
                      </a:lnTo>
                      <a:lnTo>
                        <a:pt x="1273" y="160"/>
                      </a:lnTo>
                      <a:lnTo>
                        <a:pt x="1275" y="160"/>
                      </a:lnTo>
                      <a:lnTo>
                        <a:pt x="1273" y="160"/>
                      </a:lnTo>
                      <a:lnTo>
                        <a:pt x="1273" y="158"/>
                      </a:lnTo>
                      <a:lnTo>
                        <a:pt x="1273" y="160"/>
                      </a:lnTo>
                      <a:lnTo>
                        <a:pt x="1273" y="162"/>
                      </a:lnTo>
                      <a:lnTo>
                        <a:pt x="1275" y="162"/>
                      </a:lnTo>
                      <a:lnTo>
                        <a:pt x="1273" y="162"/>
                      </a:lnTo>
                      <a:lnTo>
                        <a:pt x="1273" y="164"/>
                      </a:lnTo>
                      <a:lnTo>
                        <a:pt x="1273" y="166"/>
                      </a:lnTo>
                      <a:lnTo>
                        <a:pt x="1271" y="166"/>
                      </a:lnTo>
                      <a:lnTo>
                        <a:pt x="1271" y="168"/>
                      </a:lnTo>
                      <a:lnTo>
                        <a:pt x="1271" y="169"/>
                      </a:lnTo>
                      <a:lnTo>
                        <a:pt x="1273" y="169"/>
                      </a:lnTo>
                      <a:lnTo>
                        <a:pt x="1273" y="171"/>
                      </a:lnTo>
                      <a:lnTo>
                        <a:pt x="1275" y="171"/>
                      </a:lnTo>
                      <a:lnTo>
                        <a:pt x="1275" y="169"/>
                      </a:lnTo>
                      <a:lnTo>
                        <a:pt x="1275" y="168"/>
                      </a:lnTo>
                      <a:lnTo>
                        <a:pt x="1275" y="166"/>
                      </a:lnTo>
                      <a:lnTo>
                        <a:pt x="1277" y="166"/>
                      </a:lnTo>
                      <a:lnTo>
                        <a:pt x="1277" y="168"/>
                      </a:lnTo>
                      <a:lnTo>
                        <a:pt x="1277" y="166"/>
                      </a:lnTo>
                      <a:lnTo>
                        <a:pt x="1277" y="168"/>
                      </a:lnTo>
                      <a:lnTo>
                        <a:pt x="1279" y="168"/>
                      </a:lnTo>
                      <a:lnTo>
                        <a:pt x="1279" y="166"/>
                      </a:lnTo>
                      <a:lnTo>
                        <a:pt x="1279" y="168"/>
                      </a:lnTo>
                      <a:lnTo>
                        <a:pt x="1279" y="166"/>
                      </a:lnTo>
                      <a:lnTo>
                        <a:pt x="1281" y="166"/>
                      </a:lnTo>
                      <a:lnTo>
                        <a:pt x="1281" y="168"/>
                      </a:lnTo>
                      <a:lnTo>
                        <a:pt x="1283" y="168"/>
                      </a:lnTo>
                      <a:lnTo>
                        <a:pt x="1285" y="168"/>
                      </a:lnTo>
                      <a:lnTo>
                        <a:pt x="1285" y="166"/>
                      </a:lnTo>
                      <a:lnTo>
                        <a:pt x="1287" y="166"/>
                      </a:lnTo>
                      <a:lnTo>
                        <a:pt x="1287" y="168"/>
                      </a:lnTo>
                      <a:lnTo>
                        <a:pt x="1287" y="166"/>
                      </a:lnTo>
                      <a:lnTo>
                        <a:pt x="1287" y="168"/>
                      </a:lnTo>
                      <a:lnTo>
                        <a:pt x="1288" y="168"/>
                      </a:lnTo>
                      <a:lnTo>
                        <a:pt x="1288" y="166"/>
                      </a:lnTo>
                      <a:lnTo>
                        <a:pt x="1287" y="166"/>
                      </a:lnTo>
                      <a:lnTo>
                        <a:pt x="1288" y="166"/>
                      </a:lnTo>
                      <a:lnTo>
                        <a:pt x="1290" y="166"/>
                      </a:lnTo>
                      <a:lnTo>
                        <a:pt x="1290" y="168"/>
                      </a:lnTo>
                      <a:lnTo>
                        <a:pt x="1292" y="168"/>
                      </a:lnTo>
                      <a:lnTo>
                        <a:pt x="1294" y="168"/>
                      </a:lnTo>
                      <a:lnTo>
                        <a:pt x="1296" y="168"/>
                      </a:lnTo>
                      <a:lnTo>
                        <a:pt x="1296" y="169"/>
                      </a:lnTo>
                      <a:lnTo>
                        <a:pt x="1296" y="168"/>
                      </a:lnTo>
                      <a:lnTo>
                        <a:pt x="1296" y="169"/>
                      </a:lnTo>
                      <a:lnTo>
                        <a:pt x="1298" y="169"/>
                      </a:lnTo>
                      <a:lnTo>
                        <a:pt x="1296" y="168"/>
                      </a:lnTo>
                      <a:lnTo>
                        <a:pt x="1298" y="168"/>
                      </a:lnTo>
                      <a:lnTo>
                        <a:pt x="1298" y="169"/>
                      </a:lnTo>
                      <a:lnTo>
                        <a:pt x="1298" y="171"/>
                      </a:lnTo>
                      <a:lnTo>
                        <a:pt x="1300" y="171"/>
                      </a:lnTo>
                      <a:lnTo>
                        <a:pt x="1300" y="169"/>
                      </a:lnTo>
                      <a:lnTo>
                        <a:pt x="1300" y="171"/>
                      </a:lnTo>
                      <a:lnTo>
                        <a:pt x="1300" y="169"/>
                      </a:lnTo>
                      <a:lnTo>
                        <a:pt x="1300" y="171"/>
                      </a:lnTo>
                      <a:lnTo>
                        <a:pt x="1302" y="171"/>
                      </a:lnTo>
                      <a:lnTo>
                        <a:pt x="1302" y="173"/>
                      </a:lnTo>
                      <a:lnTo>
                        <a:pt x="1303" y="173"/>
                      </a:lnTo>
                      <a:lnTo>
                        <a:pt x="1302" y="173"/>
                      </a:lnTo>
                      <a:lnTo>
                        <a:pt x="1303" y="175"/>
                      </a:lnTo>
                      <a:lnTo>
                        <a:pt x="1303" y="173"/>
                      </a:lnTo>
                      <a:lnTo>
                        <a:pt x="1303" y="175"/>
                      </a:lnTo>
                      <a:lnTo>
                        <a:pt x="1303" y="177"/>
                      </a:lnTo>
                      <a:lnTo>
                        <a:pt x="1305" y="177"/>
                      </a:lnTo>
                      <a:lnTo>
                        <a:pt x="1305" y="175"/>
                      </a:lnTo>
                      <a:lnTo>
                        <a:pt x="1305" y="177"/>
                      </a:lnTo>
                      <a:lnTo>
                        <a:pt x="1307" y="177"/>
                      </a:lnTo>
                      <a:lnTo>
                        <a:pt x="1307" y="179"/>
                      </a:lnTo>
                      <a:lnTo>
                        <a:pt x="1307" y="181"/>
                      </a:lnTo>
                      <a:lnTo>
                        <a:pt x="1307" y="183"/>
                      </a:lnTo>
                      <a:lnTo>
                        <a:pt x="1309" y="183"/>
                      </a:lnTo>
                      <a:lnTo>
                        <a:pt x="1307" y="183"/>
                      </a:lnTo>
                      <a:lnTo>
                        <a:pt x="1309" y="183"/>
                      </a:lnTo>
                      <a:lnTo>
                        <a:pt x="1309" y="184"/>
                      </a:lnTo>
                      <a:lnTo>
                        <a:pt x="1307" y="184"/>
                      </a:lnTo>
                      <a:lnTo>
                        <a:pt x="1307" y="186"/>
                      </a:lnTo>
                      <a:lnTo>
                        <a:pt x="1309" y="186"/>
                      </a:lnTo>
                      <a:lnTo>
                        <a:pt x="1309" y="188"/>
                      </a:lnTo>
                      <a:lnTo>
                        <a:pt x="1307" y="188"/>
                      </a:lnTo>
                      <a:lnTo>
                        <a:pt x="1309" y="190"/>
                      </a:lnTo>
                      <a:lnTo>
                        <a:pt x="1311" y="190"/>
                      </a:lnTo>
                      <a:lnTo>
                        <a:pt x="1313" y="188"/>
                      </a:lnTo>
                      <a:lnTo>
                        <a:pt x="1313" y="190"/>
                      </a:lnTo>
                      <a:lnTo>
                        <a:pt x="1313" y="192"/>
                      </a:lnTo>
                      <a:lnTo>
                        <a:pt x="1311" y="192"/>
                      </a:lnTo>
                      <a:lnTo>
                        <a:pt x="1311" y="194"/>
                      </a:lnTo>
                      <a:lnTo>
                        <a:pt x="1313" y="194"/>
                      </a:lnTo>
                      <a:lnTo>
                        <a:pt x="1313" y="192"/>
                      </a:lnTo>
                      <a:lnTo>
                        <a:pt x="1313" y="194"/>
                      </a:lnTo>
                      <a:lnTo>
                        <a:pt x="1311" y="196"/>
                      </a:lnTo>
                      <a:lnTo>
                        <a:pt x="1313" y="196"/>
                      </a:lnTo>
                      <a:lnTo>
                        <a:pt x="1311" y="198"/>
                      </a:lnTo>
                      <a:lnTo>
                        <a:pt x="1311" y="200"/>
                      </a:lnTo>
                      <a:lnTo>
                        <a:pt x="1313" y="200"/>
                      </a:lnTo>
                      <a:lnTo>
                        <a:pt x="1315" y="200"/>
                      </a:lnTo>
                      <a:lnTo>
                        <a:pt x="1315" y="198"/>
                      </a:lnTo>
                      <a:lnTo>
                        <a:pt x="1317" y="198"/>
                      </a:lnTo>
                      <a:lnTo>
                        <a:pt x="1317" y="200"/>
                      </a:lnTo>
                      <a:lnTo>
                        <a:pt x="1319" y="200"/>
                      </a:lnTo>
                      <a:lnTo>
                        <a:pt x="1319" y="201"/>
                      </a:lnTo>
                      <a:lnTo>
                        <a:pt x="1319" y="203"/>
                      </a:lnTo>
                      <a:lnTo>
                        <a:pt x="1319" y="205"/>
                      </a:lnTo>
                      <a:lnTo>
                        <a:pt x="1320" y="205"/>
                      </a:lnTo>
                      <a:lnTo>
                        <a:pt x="1322" y="205"/>
                      </a:lnTo>
                      <a:lnTo>
                        <a:pt x="1320" y="205"/>
                      </a:lnTo>
                      <a:lnTo>
                        <a:pt x="1320" y="203"/>
                      </a:lnTo>
                      <a:lnTo>
                        <a:pt x="1322" y="203"/>
                      </a:lnTo>
                      <a:lnTo>
                        <a:pt x="1322" y="205"/>
                      </a:lnTo>
                      <a:lnTo>
                        <a:pt x="1324" y="205"/>
                      </a:lnTo>
                      <a:lnTo>
                        <a:pt x="1324" y="207"/>
                      </a:lnTo>
                      <a:lnTo>
                        <a:pt x="1322" y="207"/>
                      </a:lnTo>
                      <a:lnTo>
                        <a:pt x="1322" y="205"/>
                      </a:lnTo>
                      <a:lnTo>
                        <a:pt x="1322" y="207"/>
                      </a:lnTo>
                      <a:lnTo>
                        <a:pt x="1322" y="209"/>
                      </a:lnTo>
                      <a:lnTo>
                        <a:pt x="1324" y="207"/>
                      </a:lnTo>
                      <a:lnTo>
                        <a:pt x="1326" y="207"/>
                      </a:lnTo>
                      <a:lnTo>
                        <a:pt x="1326" y="209"/>
                      </a:lnTo>
                      <a:lnTo>
                        <a:pt x="1328" y="209"/>
                      </a:lnTo>
                      <a:lnTo>
                        <a:pt x="1330" y="209"/>
                      </a:lnTo>
                      <a:lnTo>
                        <a:pt x="1330" y="211"/>
                      </a:lnTo>
                      <a:lnTo>
                        <a:pt x="1328" y="211"/>
                      </a:lnTo>
                      <a:lnTo>
                        <a:pt x="1328" y="213"/>
                      </a:lnTo>
                      <a:lnTo>
                        <a:pt x="1330" y="215"/>
                      </a:lnTo>
                      <a:lnTo>
                        <a:pt x="1328" y="215"/>
                      </a:lnTo>
                      <a:lnTo>
                        <a:pt x="1326" y="216"/>
                      </a:lnTo>
                      <a:lnTo>
                        <a:pt x="1328" y="216"/>
                      </a:lnTo>
                      <a:lnTo>
                        <a:pt x="1328" y="218"/>
                      </a:lnTo>
                      <a:lnTo>
                        <a:pt x="1330" y="218"/>
                      </a:lnTo>
                      <a:lnTo>
                        <a:pt x="1332" y="220"/>
                      </a:lnTo>
                      <a:lnTo>
                        <a:pt x="1332" y="222"/>
                      </a:lnTo>
                      <a:lnTo>
                        <a:pt x="1334" y="222"/>
                      </a:lnTo>
                      <a:lnTo>
                        <a:pt x="1334" y="224"/>
                      </a:lnTo>
                      <a:lnTo>
                        <a:pt x="1335" y="224"/>
                      </a:lnTo>
                      <a:lnTo>
                        <a:pt x="1335" y="226"/>
                      </a:lnTo>
                      <a:lnTo>
                        <a:pt x="1335" y="228"/>
                      </a:lnTo>
                      <a:lnTo>
                        <a:pt x="1337" y="228"/>
                      </a:lnTo>
                      <a:lnTo>
                        <a:pt x="1339" y="228"/>
                      </a:lnTo>
                      <a:lnTo>
                        <a:pt x="1339" y="230"/>
                      </a:lnTo>
                      <a:lnTo>
                        <a:pt x="1341" y="230"/>
                      </a:lnTo>
                      <a:lnTo>
                        <a:pt x="1341" y="232"/>
                      </a:lnTo>
                      <a:lnTo>
                        <a:pt x="1343" y="232"/>
                      </a:lnTo>
                      <a:lnTo>
                        <a:pt x="1341" y="232"/>
                      </a:lnTo>
                      <a:lnTo>
                        <a:pt x="1341" y="233"/>
                      </a:lnTo>
                      <a:lnTo>
                        <a:pt x="1343" y="233"/>
                      </a:lnTo>
                      <a:lnTo>
                        <a:pt x="1341" y="233"/>
                      </a:lnTo>
                      <a:lnTo>
                        <a:pt x="1343" y="233"/>
                      </a:lnTo>
                      <a:lnTo>
                        <a:pt x="1343" y="235"/>
                      </a:lnTo>
                      <a:lnTo>
                        <a:pt x="1343" y="237"/>
                      </a:lnTo>
                      <a:lnTo>
                        <a:pt x="1345" y="239"/>
                      </a:lnTo>
                      <a:lnTo>
                        <a:pt x="1345" y="241"/>
                      </a:lnTo>
                      <a:lnTo>
                        <a:pt x="1347" y="241"/>
                      </a:lnTo>
                      <a:lnTo>
                        <a:pt x="1349" y="241"/>
                      </a:lnTo>
                      <a:lnTo>
                        <a:pt x="1349" y="239"/>
                      </a:lnTo>
                      <a:lnTo>
                        <a:pt x="1350" y="241"/>
                      </a:lnTo>
                      <a:lnTo>
                        <a:pt x="1352" y="241"/>
                      </a:lnTo>
                      <a:lnTo>
                        <a:pt x="1352" y="239"/>
                      </a:lnTo>
                      <a:lnTo>
                        <a:pt x="1352" y="241"/>
                      </a:lnTo>
                      <a:lnTo>
                        <a:pt x="1354" y="241"/>
                      </a:lnTo>
                      <a:lnTo>
                        <a:pt x="1354" y="239"/>
                      </a:lnTo>
                      <a:lnTo>
                        <a:pt x="1354" y="237"/>
                      </a:lnTo>
                      <a:lnTo>
                        <a:pt x="1356" y="237"/>
                      </a:lnTo>
                      <a:lnTo>
                        <a:pt x="1358" y="237"/>
                      </a:lnTo>
                      <a:lnTo>
                        <a:pt x="1360" y="237"/>
                      </a:lnTo>
                      <a:lnTo>
                        <a:pt x="1360" y="239"/>
                      </a:lnTo>
                      <a:lnTo>
                        <a:pt x="1362" y="237"/>
                      </a:lnTo>
                      <a:lnTo>
                        <a:pt x="1362" y="239"/>
                      </a:lnTo>
                      <a:lnTo>
                        <a:pt x="1364" y="239"/>
                      </a:lnTo>
                      <a:lnTo>
                        <a:pt x="1364" y="237"/>
                      </a:lnTo>
                      <a:lnTo>
                        <a:pt x="1366" y="237"/>
                      </a:lnTo>
                      <a:lnTo>
                        <a:pt x="1367" y="237"/>
                      </a:lnTo>
                      <a:lnTo>
                        <a:pt x="1367" y="235"/>
                      </a:lnTo>
                      <a:lnTo>
                        <a:pt x="1369" y="235"/>
                      </a:lnTo>
                      <a:lnTo>
                        <a:pt x="1367" y="235"/>
                      </a:lnTo>
                      <a:lnTo>
                        <a:pt x="1369" y="233"/>
                      </a:lnTo>
                      <a:lnTo>
                        <a:pt x="1367" y="233"/>
                      </a:lnTo>
                      <a:lnTo>
                        <a:pt x="1367" y="232"/>
                      </a:lnTo>
                      <a:lnTo>
                        <a:pt x="1366" y="232"/>
                      </a:lnTo>
                      <a:lnTo>
                        <a:pt x="1367" y="232"/>
                      </a:lnTo>
                      <a:lnTo>
                        <a:pt x="1366" y="232"/>
                      </a:lnTo>
                      <a:lnTo>
                        <a:pt x="1367" y="232"/>
                      </a:lnTo>
                      <a:lnTo>
                        <a:pt x="1367" y="230"/>
                      </a:lnTo>
                      <a:lnTo>
                        <a:pt x="1367" y="228"/>
                      </a:lnTo>
                      <a:lnTo>
                        <a:pt x="1367" y="226"/>
                      </a:lnTo>
                      <a:lnTo>
                        <a:pt x="1367" y="224"/>
                      </a:lnTo>
                      <a:lnTo>
                        <a:pt x="1369" y="224"/>
                      </a:lnTo>
                      <a:lnTo>
                        <a:pt x="1369" y="222"/>
                      </a:lnTo>
                      <a:lnTo>
                        <a:pt x="1371" y="222"/>
                      </a:lnTo>
                      <a:lnTo>
                        <a:pt x="1371" y="220"/>
                      </a:lnTo>
                      <a:lnTo>
                        <a:pt x="1371" y="222"/>
                      </a:lnTo>
                      <a:lnTo>
                        <a:pt x="1371" y="220"/>
                      </a:lnTo>
                      <a:lnTo>
                        <a:pt x="1373" y="220"/>
                      </a:lnTo>
                      <a:lnTo>
                        <a:pt x="1373" y="218"/>
                      </a:lnTo>
                      <a:lnTo>
                        <a:pt x="1375" y="218"/>
                      </a:lnTo>
                      <a:lnTo>
                        <a:pt x="1377" y="218"/>
                      </a:lnTo>
                      <a:lnTo>
                        <a:pt x="1377" y="220"/>
                      </a:lnTo>
                      <a:lnTo>
                        <a:pt x="1379" y="220"/>
                      </a:lnTo>
                      <a:lnTo>
                        <a:pt x="1381" y="220"/>
                      </a:lnTo>
                      <a:lnTo>
                        <a:pt x="1381" y="222"/>
                      </a:lnTo>
                      <a:lnTo>
                        <a:pt x="1382" y="222"/>
                      </a:lnTo>
                      <a:lnTo>
                        <a:pt x="1375" y="224"/>
                      </a:lnTo>
                      <a:lnTo>
                        <a:pt x="1373" y="228"/>
                      </a:lnTo>
                      <a:lnTo>
                        <a:pt x="1371" y="230"/>
                      </a:lnTo>
                      <a:lnTo>
                        <a:pt x="1369" y="228"/>
                      </a:lnTo>
                      <a:lnTo>
                        <a:pt x="1367" y="232"/>
                      </a:lnTo>
                      <a:lnTo>
                        <a:pt x="1369" y="232"/>
                      </a:lnTo>
                      <a:lnTo>
                        <a:pt x="1371" y="233"/>
                      </a:lnTo>
                      <a:lnTo>
                        <a:pt x="1375" y="235"/>
                      </a:lnTo>
                      <a:lnTo>
                        <a:pt x="1373" y="235"/>
                      </a:lnTo>
                      <a:lnTo>
                        <a:pt x="1369" y="239"/>
                      </a:lnTo>
                      <a:lnTo>
                        <a:pt x="1369" y="241"/>
                      </a:lnTo>
                      <a:lnTo>
                        <a:pt x="1369" y="243"/>
                      </a:lnTo>
                      <a:lnTo>
                        <a:pt x="1369" y="245"/>
                      </a:lnTo>
                      <a:lnTo>
                        <a:pt x="1373" y="247"/>
                      </a:lnTo>
                      <a:lnTo>
                        <a:pt x="1377" y="245"/>
                      </a:lnTo>
                      <a:lnTo>
                        <a:pt x="1379" y="245"/>
                      </a:lnTo>
                      <a:lnTo>
                        <a:pt x="1379" y="247"/>
                      </a:lnTo>
                      <a:lnTo>
                        <a:pt x="1382" y="247"/>
                      </a:lnTo>
                      <a:lnTo>
                        <a:pt x="1384" y="250"/>
                      </a:lnTo>
                      <a:lnTo>
                        <a:pt x="1384" y="252"/>
                      </a:lnTo>
                      <a:lnTo>
                        <a:pt x="1386" y="254"/>
                      </a:lnTo>
                      <a:lnTo>
                        <a:pt x="1386" y="256"/>
                      </a:lnTo>
                      <a:lnTo>
                        <a:pt x="1388" y="256"/>
                      </a:lnTo>
                      <a:lnTo>
                        <a:pt x="1388" y="258"/>
                      </a:lnTo>
                      <a:lnTo>
                        <a:pt x="1388" y="260"/>
                      </a:lnTo>
                      <a:lnTo>
                        <a:pt x="1388" y="262"/>
                      </a:lnTo>
                      <a:lnTo>
                        <a:pt x="1388" y="264"/>
                      </a:lnTo>
                      <a:lnTo>
                        <a:pt x="1388" y="267"/>
                      </a:lnTo>
                      <a:lnTo>
                        <a:pt x="1386" y="265"/>
                      </a:lnTo>
                      <a:lnTo>
                        <a:pt x="1384" y="267"/>
                      </a:lnTo>
                      <a:lnTo>
                        <a:pt x="1382" y="267"/>
                      </a:lnTo>
                      <a:lnTo>
                        <a:pt x="1381" y="269"/>
                      </a:lnTo>
                      <a:lnTo>
                        <a:pt x="1381" y="271"/>
                      </a:lnTo>
                      <a:lnTo>
                        <a:pt x="1379" y="271"/>
                      </a:lnTo>
                      <a:lnTo>
                        <a:pt x="1377" y="269"/>
                      </a:lnTo>
                      <a:lnTo>
                        <a:pt x="1375" y="269"/>
                      </a:lnTo>
                      <a:lnTo>
                        <a:pt x="1375" y="271"/>
                      </a:lnTo>
                      <a:lnTo>
                        <a:pt x="1375" y="273"/>
                      </a:lnTo>
                      <a:lnTo>
                        <a:pt x="1373" y="273"/>
                      </a:lnTo>
                      <a:lnTo>
                        <a:pt x="1373" y="275"/>
                      </a:lnTo>
                      <a:lnTo>
                        <a:pt x="1371" y="275"/>
                      </a:lnTo>
                      <a:lnTo>
                        <a:pt x="1373" y="275"/>
                      </a:lnTo>
                      <a:lnTo>
                        <a:pt x="1371" y="277"/>
                      </a:lnTo>
                      <a:lnTo>
                        <a:pt x="1369" y="277"/>
                      </a:lnTo>
                      <a:lnTo>
                        <a:pt x="1369" y="279"/>
                      </a:lnTo>
                      <a:lnTo>
                        <a:pt x="1367" y="279"/>
                      </a:lnTo>
                      <a:lnTo>
                        <a:pt x="1366" y="279"/>
                      </a:lnTo>
                      <a:lnTo>
                        <a:pt x="1364" y="279"/>
                      </a:lnTo>
                      <a:lnTo>
                        <a:pt x="1362" y="279"/>
                      </a:lnTo>
                      <a:lnTo>
                        <a:pt x="1360" y="282"/>
                      </a:lnTo>
                      <a:lnTo>
                        <a:pt x="1360" y="284"/>
                      </a:lnTo>
                      <a:lnTo>
                        <a:pt x="1360" y="288"/>
                      </a:lnTo>
                      <a:lnTo>
                        <a:pt x="1362" y="290"/>
                      </a:lnTo>
                      <a:lnTo>
                        <a:pt x="1364" y="290"/>
                      </a:lnTo>
                      <a:lnTo>
                        <a:pt x="1364" y="292"/>
                      </a:lnTo>
                      <a:lnTo>
                        <a:pt x="1364" y="294"/>
                      </a:lnTo>
                      <a:lnTo>
                        <a:pt x="1366" y="294"/>
                      </a:lnTo>
                      <a:lnTo>
                        <a:pt x="1366" y="296"/>
                      </a:lnTo>
                      <a:lnTo>
                        <a:pt x="1367" y="296"/>
                      </a:lnTo>
                      <a:lnTo>
                        <a:pt x="1369" y="296"/>
                      </a:lnTo>
                      <a:lnTo>
                        <a:pt x="1369" y="299"/>
                      </a:lnTo>
                      <a:lnTo>
                        <a:pt x="1369" y="301"/>
                      </a:lnTo>
                      <a:lnTo>
                        <a:pt x="1369" y="303"/>
                      </a:lnTo>
                      <a:lnTo>
                        <a:pt x="1369" y="305"/>
                      </a:lnTo>
                      <a:lnTo>
                        <a:pt x="1369" y="309"/>
                      </a:lnTo>
                      <a:lnTo>
                        <a:pt x="1367" y="311"/>
                      </a:lnTo>
                      <a:lnTo>
                        <a:pt x="1369" y="312"/>
                      </a:lnTo>
                      <a:lnTo>
                        <a:pt x="1367" y="314"/>
                      </a:lnTo>
                      <a:lnTo>
                        <a:pt x="1367" y="316"/>
                      </a:lnTo>
                      <a:lnTo>
                        <a:pt x="1369" y="316"/>
                      </a:lnTo>
                      <a:lnTo>
                        <a:pt x="1369" y="318"/>
                      </a:lnTo>
                      <a:lnTo>
                        <a:pt x="1369" y="320"/>
                      </a:lnTo>
                      <a:lnTo>
                        <a:pt x="1371" y="322"/>
                      </a:lnTo>
                      <a:lnTo>
                        <a:pt x="1369" y="324"/>
                      </a:lnTo>
                      <a:lnTo>
                        <a:pt x="1371" y="324"/>
                      </a:lnTo>
                      <a:lnTo>
                        <a:pt x="1373" y="324"/>
                      </a:lnTo>
                      <a:lnTo>
                        <a:pt x="1373" y="326"/>
                      </a:lnTo>
                      <a:lnTo>
                        <a:pt x="1375" y="326"/>
                      </a:lnTo>
                      <a:lnTo>
                        <a:pt x="1375" y="328"/>
                      </a:lnTo>
                      <a:lnTo>
                        <a:pt x="1375" y="329"/>
                      </a:lnTo>
                      <a:lnTo>
                        <a:pt x="1373" y="329"/>
                      </a:lnTo>
                      <a:lnTo>
                        <a:pt x="1371" y="329"/>
                      </a:lnTo>
                      <a:lnTo>
                        <a:pt x="1371" y="331"/>
                      </a:lnTo>
                      <a:lnTo>
                        <a:pt x="1369" y="329"/>
                      </a:lnTo>
                      <a:lnTo>
                        <a:pt x="1367" y="331"/>
                      </a:lnTo>
                      <a:lnTo>
                        <a:pt x="1366" y="333"/>
                      </a:lnTo>
                      <a:lnTo>
                        <a:pt x="1366" y="335"/>
                      </a:lnTo>
                      <a:lnTo>
                        <a:pt x="1366" y="337"/>
                      </a:lnTo>
                      <a:lnTo>
                        <a:pt x="1366" y="339"/>
                      </a:lnTo>
                      <a:lnTo>
                        <a:pt x="1367" y="339"/>
                      </a:lnTo>
                      <a:lnTo>
                        <a:pt x="1367" y="341"/>
                      </a:lnTo>
                      <a:lnTo>
                        <a:pt x="1367" y="343"/>
                      </a:lnTo>
                      <a:lnTo>
                        <a:pt x="1366" y="343"/>
                      </a:lnTo>
                      <a:lnTo>
                        <a:pt x="1364" y="343"/>
                      </a:lnTo>
                      <a:lnTo>
                        <a:pt x="1364" y="344"/>
                      </a:lnTo>
                      <a:lnTo>
                        <a:pt x="1364" y="346"/>
                      </a:lnTo>
                      <a:lnTo>
                        <a:pt x="1364" y="348"/>
                      </a:lnTo>
                      <a:lnTo>
                        <a:pt x="1364" y="350"/>
                      </a:lnTo>
                      <a:lnTo>
                        <a:pt x="1362" y="350"/>
                      </a:lnTo>
                      <a:lnTo>
                        <a:pt x="1364" y="352"/>
                      </a:lnTo>
                      <a:lnTo>
                        <a:pt x="1364" y="354"/>
                      </a:lnTo>
                      <a:lnTo>
                        <a:pt x="1364" y="356"/>
                      </a:lnTo>
                      <a:lnTo>
                        <a:pt x="1362" y="356"/>
                      </a:lnTo>
                      <a:lnTo>
                        <a:pt x="1362" y="358"/>
                      </a:lnTo>
                      <a:lnTo>
                        <a:pt x="1360" y="360"/>
                      </a:lnTo>
                      <a:lnTo>
                        <a:pt x="1358" y="361"/>
                      </a:lnTo>
                      <a:lnTo>
                        <a:pt x="1356" y="360"/>
                      </a:lnTo>
                      <a:lnTo>
                        <a:pt x="1354" y="361"/>
                      </a:lnTo>
                      <a:lnTo>
                        <a:pt x="1356" y="361"/>
                      </a:lnTo>
                      <a:lnTo>
                        <a:pt x="1358" y="363"/>
                      </a:lnTo>
                      <a:lnTo>
                        <a:pt x="1356" y="365"/>
                      </a:lnTo>
                      <a:lnTo>
                        <a:pt x="1358" y="367"/>
                      </a:lnTo>
                      <a:lnTo>
                        <a:pt x="1360" y="367"/>
                      </a:lnTo>
                      <a:lnTo>
                        <a:pt x="1360" y="369"/>
                      </a:lnTo>
                      <a:lnTo>
                        <a:pt x="1362" y="371"/>
                      </a:lnTo>
                      <a:lnTo>
                        <a:pt x="1360" y="371"/>
                      </a:lnTo>
                      <a:lnTo>
                        <a:pt x="1358" y="371"/>
                      </a:lnTo>
                      <a:lnTo>
                        <a:pt x="1356" y="373"/>
                      </a:lnTo>
                      <a:lnTo>
                        <a:pt x="1354" y="375"/>
                      </a:lnTo>
                      <a:lnTo>
                        <a:pt x="1352" y="378"/>
                      </a:lnTo>
                      <a:lnTo>
                        <a:pt x="1350" y="382"/>
                      </a:lnTo>
                      <a:lnTo>
                        <a:pt x="1350" y="384"/>
                      </a:lnTo>
                      <a:lnTo>
                        <a:pt x="1350" y="388"/>
                      </a:lnTo>
                      <a:lnTo>
                        <a:pt x="1345" y="397"/>
                      </a:lnTo>
                      <a:lnTo>
                        <a:pt x="1349" y="403"/>
                      </a:lnTo>
                      <a:lnTo>
                        <a:pt x="1356" y="408"/>
                      </a:lnTo>
                      <a:lnTo>
                        <a:pt x="1354" y="412"/>
                      </a:lnTo>
                      <a:lnTo>
                        <a:pt x="1356" y="420"/>
                      </a:lnTo>
                      <a:lnTo>
                        <a:pt x="1354" y="424"/>
                      </a:lnTo>
                      <a:lnTo>
                        <a:pt x="1358" y="425"/>
                      </a:lnTo>
                      <a:lnTo>
                        <a:pt x="1358" y="431"/>
                      </a:lnTo>
                      <a:lnTo>
                        <a:pt x="1358" y="435"/>
                      </a:lnTo>
                      <a:lnTo>
                        <a:pt x="1349" y="437"/>
                      </a:lnTo>
                      <a:lnTo>
                        <a:pt x="1345" y="444"/>
                      </a:lnTo>
                      <a:lnTo>
                        <a:pt x="1343" y="446"/>
                      </a:lnTo>
                      <a:lnTo>
                        <a:pt x="1347" y="448"/>
                      </a:lnTo>
                      <a:lnTo>
                        <a:pt x="1347" y="450"/>
                      </a:lnTo>
                      <a:lnTo>
                        <a:pt x="1347" y="454"/>
                      </a:lnTo>
                      <a:lnTo>
                        <a:pt x="1345" y="454"/>
                      </a:lnTo>
                      <a:lnTo>
                        <a:pt x="1332" y="457"/>
                      </a:lnTo>
                      <a:lnTo>
                        <a:pt x="1328" y="456"/>
                      </a:lnTo>
                      <a:lnTo>
                        <a:pt x="1319" y="461"/>
                      </a:lnTo>
                      <a:lnTo>
                        <a:pt x="1311" y="463"/>
                      </a:lnTo>
                      <a:lnTo>
                        <a:pt x="1311" y="467"/>
                      </a:lnTo>
                      <a:lnTo>
                        <a:pt x="1305" y="472"/>
                      </a:lnTo>
                      <a:lnTo>
                        <a:pt x="1300" y="476"/>
                      </a:lnTo>
                      <a:lnTo>
                        <a:pt x="1300" y="480"/>
                      </a:lnTo>
                      <a:lnTo>
                        <a:pt x="1298" y="482"/>
                      </a:lnTo>
                      <a:lnTo>
                        <a:pt x="1294" y="493"/>
                      </a:lnTo>
                      <a:lnTo>
                        <a:pt x="1285" y="491"/>
                      </a:lnTo>
                      <a:lnTo>
                        <a:pt x="1283" y="491"/>
                      </a:lnTo>
                      <a:lnTo>
                        <a:pt x="1279" y="495"/>
                      </a:lnTo>
                      <a:lnTo>
                        <a:pt x="1275" y="499"/>
                      </a:lnTo>
                      <a:lnTo>
                        <a:pt x="1271" y="501"/>
                      </a:lnTo>
                      <a:lnTo>
                        <a:pt x="1270" y="501"/>
                      </a:lnTo>
                      <a:lnTo>
                        <a:pt x="1270" y="506"/>
                      </a:lnTo>
                      <a:lnTo>
                        <a:pt x="1262" y="510"/>
                      </a:lnTo>
                      <a:lnTo>
                        <a:pt x="1256" y="508"/>
                      </a:lnTo>
                      <a:lnTo>
                        <a:pt x="1255" y="508"/>
                      </a:lnTo>
                      <a:lnTo>
                        <a:pt x="1251" y="506"/>
                      </a:lnTo>
                      <a:lnTo>
                        <a:pt x="1247" y="516"/>
                      </a:lnTo>
                      <a:lnTo>
                        <a:pt x="1243" y="520"/>
                      </a:lnTo>
                      <a:lnTo>
                        <a:pt x="1238" y="527"/>
                      </a:lnTo>
                      <a:lnTo>
                        <a:pt x="1243" y="535"/>
                      </a:lnTo>
                      <a:lnTo>
                        <a:pt x="1240" y="540"/>
                      </a:lnTo>
                      <a:lnTo>
                        <a:pt x="1238" y="542"/>
                      </a:lnTo>
                      <a:lnTo>
                        <a:pt x="1234" y="540"/>
                      </a:lnTo>
                      <a:lnTo>
                        <a:pt x="1232" y="536"/>
                      </a:lnTo>
                      <a:lnTo>
                        <a:pt x="1230" y="540"/>
                      </a:lnTo>
                      <a:lnTo>
                        <a:pt x="1223" y="548"/>
                      </a:lnTo>
                      <a:lnTo>
                        <a:pt x="1213" y="542"/>
                      </a:lnTo>
                      <a:lnTo>
                        <a:pt x="1208" y="542"/>
                      </a:lnTo>
                      <a:lnTo>
                        <a:pt x="1181" y="550"/>
                      </a:lnTo>
                      <a:lnTo>
                        <a:pt x="1177" y="557"/>
                      </a:lnTo>
                      <a:lnTo>
                        <a:pt x="1179" y="559"/>
                      </a:lnTo>
                      <a:lnTo>
                        <a:pt x="1177" y="559"/>
                      </a:lnTo>
                      <a:lnTo>
                        <a:pt x="1176" y="561"/>
                      </a:lnTo>
                      <a:lnTo>
                        <a:pt x="1174" y="563"/>
                      </a:lnTo>
                      <a:lnTo>
                        <a:pt x="1174" y="565"/>
                      </a:lnTo>
                      <a:lnTo>
                        <a:pt x="1174" y="567"/>
                      </a:lnTo>
                      <a:lnTo>
                        <a:pt x="1174" y="569"/>
                      </a:lnTo>
                      <a:lnTo>
                        <a:pt x="1174" y="570"/>
                      </a:lnTo>
                      <a:lnTo>
                        <a:pt x="1174" y="572"/>
                      </a:lnTo>
                      <a:lnTo>
                        <a:pt x="1172" y="572"/>
                      </a:lnTo>
                      <a:lnTo>
                        <a:pt x="1172" y="574"/>
                      </a:lnTo>
                      <a:lnTo>
                        <a:pt x="1170" y="574"/>
                      </a:lnTo>
                      <a:lnTo>
                        <a:pt x="1170" y="576"/>
                      </a:lnTo>
                      <a:lnTo>
                        <a:pt x="1168" y="576"/>
                      </a:lnTo>
                      <a:lnTo>
                        <a:pt x="1166" y="578"/>
                      </a:lnTo>
                      <a:lnTo>
                        <a:pt x="1166" y="580"/>
                      </a:lnTo>
                      <a:lnTo>
                        <a:pt x="1164" y="582"/>
                      </a:lnTo>
                      <a:lnTo>
                        <a:pt x="1164" y="584"/>
                      </a:lnTo>
                      <a:lnTo>
                        <a:pt x="1162" y="584"/>
                      </a:lnTo>
                      <a:lnTo>
                        <a:pt x="1162" y="585"/>
                      </a:lnTo>
                      <a:lnTo>
                        <a:pt x="1162" y="587"/>
                      </a:lnTo>
                      <a:lnTo>
                        <a:pt x="1162" y="593"/>
                      </a:lnTo>
                      <a:lnTo>
                        <a:pt x="1161" y="599"/>
                      </a:lnTo>
                      <a:lnTo>
                        <a:pt x="1161" y="601"/>
                      </a:lnTo>
                      <a:lnTo>
                        <a:pt x="1159" y="601"/>
                      </a:lnTo>
                      <a:lnTo>
                        <a:pt x="1159" y="602"/>
                      </a:lnTo>
                      <a:lnTo>
                        <a:pt x="1157" y="602"/>
                      </a:lnTo>
                      <a:lnTo>
                        <a:pt x="1157" y="604"/>
                      </a:lnTo>
                      <a:lnTo>
                        <a:pt x="1157" y="606"/>
                      </a:lnTo>
                      <a:lnTo>
                        <a:pt x="1155" y="608"/>
                      </a:lnTo>
                      <a:lnTo>
                        <a:pt x="1155" y="606"/>
                      </a:lnTo>
                      <a:lnTo>
                        <a:pt x="1155" y="604"/>
                      </a:lnTo>
                      <a:lnTo>
                        <a:pt x="1153" y="604"/>
                      </a:lnTo>
                      <a:lnTo>
                        <a:pt x="1151" y="602"/>
                      </a:lnTo>
                      <a:lnTo>
                        <a:pt x="1151" y="604"/>
                      </a:lnTo>
                      <a:lnTo>
                        <a:pt x="1149" y="604"/>
                      </a:lnTo>
                      <a:lnTo>
                        <a:pt x="1147" y="604"/>
                      </a:lnTo>
                      <a:lnTo>
                        <a:pt x="1145" y="604"/>
                      </a:lnTo>
                      <a:lnTo>
                        <a:pt x="1145" y="606"/>
                      </a:lnTo>
                      <a:lnTo>
                        <a:pt x="1144" y="606"/>
                      </a:lnTo>
                      <a:lnTo>
                        <a:pt x="1144" y="608"/>
                      </a:lnTo>
                      <a:lnTo>
                        <a:pt x="1142" y="608"/>
                      </a:lnTo>
                      <a:lnTo>
                        <a:pt x="1140" y="608"/>
                      </a:lnTo>
                      <a:lnTo>
                        <a:pt x="1140" y="606"/>
                      </a:lnTo>
                      <a:lnTo>
                        <a:pt x="1138" y="606"/>
                      </a:lnTo>
                      <a:lnTo>
                        <a:pt x="1138" y="604"/>
                      </a:lnTo>
                      <a:lnTo>
                        <a:pt x="1138" y="602"/>
                      </a:lnTo>
                      <a:lnTo>
                        <a:pt x="1138" y="601"/>
                      </a:lnTo>
                      <a:lnTo>
                        <a:pt x="1138" y="599"/>
                      </a:lnTo>
                      <a:lnTo>
                        <a:pt x="1138" y="597"/>
                      </a:lnTo>
                      <a:lnTo>
                        <a:pt x="1138" y="595"/>
                      </a:lnTo>
                      <a:lnTo>
                        <a:pt x="1140" y="595"/>
                      </a:lnTo>
                      <a:lnTo>
                        <a:pt x="1140" y="593"/>
                      </a:lnTo>
                      <a:lnTo>
                        <a:pt x="1138" y="591"/>
                      </a:lnTo>
                      <a:lnTo>
                        <a:pt x="1138" y="589"/>
                      </a:lnTo>
                      <a:lnTo>
                        <a:pt x="1136" y="589"/>
                      </a:lnTo>
                      <a:lnTo>
                        <a:pt x="1136" y="587"/>
                      </a:lnTo>
                      <a:lnTo>
                        <a:pt x="1134" y="585"/>
                      </a:lnTo>
                      <a:lnTo>
                        <a:pt x="1134" y="587"/>
                      </a:lnTo>
                      <a:lnTo>
                        <a:pt x="1132" y="587"/>
                      </a:lnTo>
                      <a:lnTo>
                        <a:pt x="1130" y="587"/>
                      </a:lnTo>
                      <a:lnTo>
                        <a:pt x="1130" y="585"/>
                      </a:lnTo>
                      <a:lnTo>
                        <a:pt x="1129" y="585"/>
                      </a:lnTo>
                      <a:lnTo>
                        <a:pt x="1129" y="584"/>
                      </a:lnTo>
                      <a:lnTo>
                        <a:pt x="1127" y="584"/>
                      </a:lnTo>
                      <a:lnTo>
                        <a:pt x="1127" y="582"/>
                      </a:lnTo>
                      <a:lnTo>
                        <a:pt x="1125" y="582"/>
                      </a:lnTo>
                      <a:lnTo>
                        <a:pt x="1123" y="584"/>
                      </a:lnTo>
                      <a:lnTo>
                        <a:pt x="1121" y="584"/>
                      </a:lnTo>
                      <a:lnTo>
                        <a:pt x="1119" y="584"/>
                      </a:lnTo>
                      <a:lnTo>
                        <a:pt x="1117" y="584"/>
                      </a:lnTo>
                      <a:lnTo>
                        <a:pt x="1119" y="584"/>
                      </a:lnTo>
                      <a:lnTo>
                        <a:pt x="1119" y="582"/>
                      </a:lnTo>
                      <a:lnTo>
                        <a:pt x="1117" y="582"/>
                      </a:lnTo>
                      <a:lnTo>
                        <a:pt x="1117" y="580"/>
                      </a:lnTo>
                      <a:lnTo>
                        <a:pt x="1115" y="580"/>
                      </a:lnTo>
                      <a:lnTo>
                        <a:pt x="1113" y="580"/>
                      </a:lnTo>
                      <a:lnTo>
                        <a:pt x="1113" y="578"/>
                      </a:lnTo>
                      <a:lnTo>
                        <a:pt x="1113" y="576"/>
                      </a:lnTo>
                      <a:lnTo>
                        <a:pt x="1113" y="574"/>
                      </a:lnTo>
                      <a:lnTo>
                        <a:pt x="1113" y="572"/>
                      </a:lnTo>
                      <a:lnTo>
                        <a:pt x="1112" y="572"/>
                      </a:lnTo>
                      <a:lnTo>
                        <a:pt x="1112" y="570"/>
                      </a:lnTo>
                      <a:lnTo>
                        <a:pt x="1110" y="570"/>
                      </a:lnTo>
                      <a:lnTo>
                        <a:pt x="1110" y="569"/>
                      </a:lnTo>
                      <a:lnTo>
                        <a:pt x="1112" y="569"/>
                      </a:lnTo>
                      <a:lnTo>
                        <a:pt x="1112" y="567"/>
                      </a:lnTo>
                      <a:lnTo>
                        <a:pt x="1112" y="565"/>
                      </a:lnTo>
                      <a:lnTo>
                        <a:pt x="1112" y="563"/>
                      </a:lnTo>
                      <a:lnTo>
                        <a:pt x="1112" y="561"/>
                      </a:lnTo>
                      <a:lnTo>
                        <a:pt x="1110" y="559"/>
                      </a:lnTo>
                      <a:lnTo>
                        <a:pt x="1108" y="557"/>
                      </a:lnTo>
                      <a:lnTo>
                        <a:pt x="1108" y="555"/>
                      </a:lnTo>
                      <a:lnTo>
                        <a:pt x="1106" y="555"/>
                      </a:lnTo>
                      <a:lnTo>
                        <a:pt x="1108" y="555"/>
                      </a:lnTo>
                      <a:lnTo>
                        <a:pt x="1106" y="555"/>
                      </a:lnTo>
                      <a:lnTo>
                        <a:pt x="1106" y="553"/>
                      </a:lnTo>
                      <a:lnTo>
                        <a:pt x="1104" y="553"/>
                      </a:lnTo>
                      <a:lnTo>
                        <a:pt x="1104" y="552"/>
                      </a:lnTo>
                      <a:lnTo>
                        <a:pt x="1102" y="552"/>
                      </a:lnTo>
                      <a:lnTo>
                        <a:pt x="1100" y="552"/>
                      </a:lnTo>
                      <a:lnTo>
                        <a:pt x="1100" y="550"/>
                      </a:lnTo>
                      <a:lnTo>
                        <a:pt x="1098" y="550"/>
                      </a:lnTo>
                      <a:lnTo>
                        <a:pt x="1097" y="550"/>
                      </a:lnTo>
                      <a:lnTo>
                        <a:pt x="1097" y="552"/>
                      </a:lnTo>
                      <a:lnTo>
                        <a:pt x="1095" y="550"/>
                      </a:lnTo>
                      <a:lnTo>
                        <a:pt x="1095" y="552"/>
                      </a:lnTo>
                      <a:lnTo>
                        <a:pt x="1095" y="553"/>
                      </a:lnTo>
                      <a:lnTo>
                        <a:pt x="1095" y="552"/>
                      </a:lnTo>
                      <a:lnTo>
                        <a:pt x="1093" y="552"/>
                      </a:lnTo>
                      <a:lnTo>
                        <a:pt x="1091" y="552"/>
                      </a:lnTo>
                      <a:lnTo>
                        <a:pt x="1091" y="553"/>
                      </a:lnTo>
                      <a:lnTo>
                        <a:pt x="1091" y="555"/>
                      </a:lnTo>
                      <a:lnTo>
                        <a:pt x="1089" y="555"/>
                      </a:lnTo>
                      <a:lnTo>
                        <a:pt x="1089" y="557"/>
                      </a:lnTo>
                      <a:lnTo>
                        <a:pt x="1087" y="555"/>
                      </a:lnTo>
                      <a:lnTo>
                        <a:pt x="1087" y="557"/>
                      </a:lnTo>
                      <a:lnTo>
                        <a:pt x="1085" y="557"/>
                      </a:lnTo>
                      <a:lnTo>
                        <a:pt x="1085" y="559"/>
                      </a:lnTo>
                      <a:lnTo>
                        <a:pt x="1085" y="557"/>
                      </a:lnTo>
                      <a:lnTo>
                        <a:pt x="1085" y="559"/>
                      </a:lnTo>
                      <a:lnTo>
                        <a:pt x="1083" y="559"/>
                      </a:lnTo>
                      <a:lnTo>
                        <a:pt x="1085" y="559"/>
                      </a:lnTo>
                      <a:lnTo>
                        <a:pt x="1083" y="559"/>
                      </a:lnTo>
                      <a:lnTo>
                        <a:pt x="1082" y="559"/>
                      </a:lnTo>
                      <a:lnTo>
                        <a:pt x="1080" y="559"/>
                      </a:lnTo>
                      <a:lnTo>
                        <a:pt x="1080" y="561"/>
                      </a:lnTo>
                      <a:lnTo>
                        <a:pt x="1080" y="559"/>
                      </a:lnTo>
                      <a:lnTo>
                        <a:pt x="1078" y="559"/>
                      </a:lnTo>
                      <a:lnTo>
                        <a:pt x="1078" y="561"/>
                      </a:lnTo>
                      <a:lnTo>
                        <a:pt x="1078" y="559"/>
                      </a:lnTo>
                      <a:lnTo>
                        <a:pt x="1076" y="559"/>
                      </a:lnTo>
                      <a:lnTo>
                        <a:pt x="1074" y="559"/>
                      </a:lnTo>
                      <a:lnTo>
                        <a:pt x="1072" y="559"/>
                      </a:lnTo>
                      <a:lnTo>
                        <a:pt x="1072" y="561"/>
                      </a:lnTo>
                      <a:lnTo>
                        <a:pt x="1072" y="559"/>
                      </a:lnTo>
                      <a:lnTo>
                        <a:pt x="1070" y="559"/>
                      </a:lnTo>
                      <a:lnTo>
                        <a:pt x="1068" y="559"/>
                      </a:lnTo>
                      <a:lnTo>
                        <a:pt x="1068" y="561"/>
                      </a:lnTo>
                      <a:lnTo>
                        <a:pt x="1068" y="559"/>
                      </a:lnTo>
                      <a:lnTo>
                        <a:pt x="1066" y="559"/>
                      </a:lnTo>
                      <a:lnTo>
                        <a:pt x="1066" y="557"/>
                      </a:lnTo>
                      <a:lnTo>
                        <a:pt x="1066" y="559"/>
                      </a:lnTo>
                      <a:lnTo>
                        <a:pt x="1065" y="559"/>
                      </a:lnTo>
                      <a:lnTo>
                        <a:pt x="1066" y="559"/>
                      </a:lnTo>
                      <a:lnTo>
                        <a:pt x="1066" y="561"/>
                      </a:lnTo>
                      <a:lnTo>
                        <a:pt x="1065" y="561"/>
                      </a:lnTo>
                      <a:lnTo>
                        <a:pt x="1063" y="561"/>
                      </a:lnTo>
                      <a:lnTo>
                        <a:pt x="1063" y="563"/>
                      </a:lnTo>
                      <a:lnTo>
                        <a:pt x="1061" y="563"/>
                      </a:lnTo>
                      <a:lnTo>
                        <a:pt x="1061" y="561"/>
                      </a:lnTo>
                      <a:lnTo>
                        <a:pt x="1061" y="559"/>
                      </a:lnTo>
                      <a:lnTo>
                        <a:pt x="1061" y="561"/>
                      </a:lnTo>
                      <a:lnTo>
                        <a:pt x="1059" y="559"/>
                      </a:lnTo>
                      <a:lnTo>
                        <a:pt x="1057" y="559"/>
                      </a:lnTo>
                      <a:lnTo>
                        <a:pt x="1057" y="561"/>
                      </a:lnTo>
                      <a:lnTo>
                        <a:pt x="1055" y="561"/>
                      </a:lnTo>
                      <a:lnTo>
                        <a:pt x="1055" y="559"/>
                      </a:lnTo>
                      <a:lnTo>
                        <a:pt x="1055" y="561"/>
                      </a:lnTo>
                      <a:lnTo>
                        <a:pt x="1055" y="559"/>
                      </a:lnTo>
                      <a:lnTo>
                        <a:pt x="1053" y="559"/>
                      </a:lnTo>
                      <a:lnTo>
                        <a:pt x="1053" y="561"/>
                      </a:lnTo>
                      <a:lnTo>
                        <a:pt x="1051" y="561"/>
                      </a:lnTo>
                      <a:lnTo>
                        <a:pt x="1051" y="559"/>
                      </a:lnTo>
                      <a:lnTo>
                        <a:pt x="1051" y="561"/>
                      </a:lnTo>
                      <a:lnTo>
                        <a:pt x="1050" y="561"/>
                      </a:lnTo>
                      <a:lnTo>
                        <a:pt x="1051" y="561"/>
                      </a:lnTo>
                      <a:lnTo>
                        <a:pt x="1050" y="561"/>
                      </a:lnTo>
                      <a:lnTo>
                        <a:pt x="1050" y="563"/>
                      </a:lnTo>
                      <a:lnTo>
                        <a:pt x="1048" y="563"/>
                      </a:lnTo>
                      <a:lnTo>
                        <a:pt x="1046" y="563"/>
                      </a:lnTo>
                      <a:lnTo>
                        <a:pt x="1044" y="563"/>
                      </a:lnTo>
                      <a:lnTo>
                        <a:pt x="1044" y="565"/>
                      </a:lnTo>
                      <a:lnTo>
                        <a:pt x="1044" y="563"/>
                      </a:lnTo>
                      <a:lnTo>
                        <a:pt x="1042" y="563"/>
                      </a:lnTo>
                      <a:lnTo>
                        <a:pt x="1042" y="565"/>
                      </a:lnTo>
                      <a:lnTo>
                        <a:pt x="1040" y="565"/>
                      </a:lnTo>
                      <a:lnTo>
                        <a:pt x="1038" y="565"/>
                      </a:lnTo>
                      <a:lnTo>
                        <a:pt x="1036" y="565"/>
                      </a:lnTo>
                      <a:lnTo>
                        <a:pt x="1034" y="565"/>
                      </a:lnTo>
                      <a:lnTo>
                        <a:pt x="1036" y="565"/>
                      </a:lnTo>
                      <a:lnTo>
                        <a:pt x="1036" y="567"/>
                      </a:lnTo>
                      <a:lnTo>
                        <a:pt x="1034" y="567"/>
                      </a:lnTo>
                      <a:lnTo>
                        <a:pt x="1036" y="569"/>
                      </a:lnTo>
                      <a:lnTo>
                        <a:pt x="1036" y="570"/>
                      </a:lnTo>
                      <a:lnTo>
                        <a:pt x="1034" y="570"/>
                      </a:lnTo>
                      <a:lnTo>
                        <a:pt x="1033" y="570"/>
                      </a:lnTo>
                      <a:lnTo>
                        <a:pt x="1033" y="572"/>
                      </a:lnTo>
                      <a:lnTo>
                        <a:pt x="1031" y="572"/>
                      </a:lnTo>
                      <a:lnTo>
                        <a:pt x="1033" y="572"/>
                      </a:lnTo>
                      <a:lnTo>
                        <a:pt x="1031" y="572"/>
                      </a:lnTo>
                      <a:lnTo>
                        <a:pt x="1031" y="574"/>
                      </a:lnTo>
                      <a:lnTo>
                        <a:pt x="1029" y="574"/>
                      </a:lnTo>
                      <a:lnTo>
                        <a:pt x="1029" y="576"/>
                      </a:lnTo>
                      <a:lnTo>
                        <a:pt x="1027" y="576"/>
                      </a:lnTo>
                      <a:lnTo>
                        <a:pt x="1027" y="578"/>
                      </a:lnTo>
                      <a:lnTo>
                        <a:pt x="1027" y="580"/>
                      </a:lnTo>
                      <a:lnTo>
                        <a:pt x="1027" y="582"/>
                      </a:lnTo>
                      <a:lnTo>
                        <a:pt x="1027" y="584"/>
                      </a:lnTo>
                      <a:lnTo>
                        <a:pt x="1027" y="582"/>
                      </a:lnTo>
                      <a:lnTo>
                        <a:pt x="1025" y="582"/>
                      </a:lnTo>
                      <a:lnTo>
                        <a:pt x="1025" y="584"/>
                      </a:lnTo>
                      <a:lnTo>
                        <a:pt x="1025" y="585"/>
                      </a:lnTo>
                      <a:lnTo>
                        <a:pt x="1023" y="585"/>
                      </a:lnTo>
                      <a:lnTo>
                        <a:pt x="1023" y="584"/>
                      </a:lnTo>
                      <a:lnTo>
                        <a:pt x="1023" y="585"/>
                      </a:lnTo>
                      <a:lnTo>
                        <a:pt x="1023" y="587"/>
                      </a:lnTo>
                      <a:lnTo>
                        <a:pt x="1021" y="587"/>
                      </a:lnTo>
                      <a:lnTo>
                        <a:pt x="1021" y="585"/>
                      </a:lnTo>
                      <a:lnTo>
                        <a:pt x="1021" y="587"/>
                      </a:lnTo>
                      <a:lnTo>
                        <a:pt x="1021" y="585"/>
                      </a:lnTo>
                      <a:lnTo>
                        <a:pt x="1019" y="585"/>
                      </a:lnTo>
                      <a:lnTo>
                        <a:pt x="1018" y="585"/>
                      </a:lnTo>
                      <a:lnTo>
                        <a:pt x="1018" y="587"/>
                      </a:lnTo>
                      <a:lnTo>
                        <a:pt x="1016" y="587"/>
                      </a:lnTo>
                      <a:lnTo>
                        <a:pt x="1018" y="587"/>
                      </a:lnTo>
                      <a:lnTo>
                        <a:pt x="1018" y="589"/>
                      </a:lnTo>
                      <a:lnTo>
                        <a:pt x="1016" y="589"/>
                      </a:lnTo>
                      <a:lnTo>
                        <a:pt x="1016" y="587"/>
                      </a:lnTo>
                      <a:lnTo>
                        <a:pt x="1014" y="587"/>
                      </a:lnTo>
                      <a:lnTo>
                        <a:pt x="1012" y="587"/>
                      </a:lnTo>
                      <a:lnTo>
                        <a:pt x="1012" y="585"/>
                      </a:lnTo>
                      <a:lnTo>
                        <a:pt x="1010" y="585"/>
                      </a:lnTo>
                      <a:lnTo>
                        <a:pt x="1010" y="584"/>
                      </a:lnTo>
                      <a:lnTo>
                        <a:pt x="1010" y="585"/>
                      </a:lnTo>
                      <a:lnTo>
                        <a:pt x="1010" y="587"/>
                      </a:lnTo>
                      <a:lnTo>
                        <a:pt x="1010" y="589"/>
                      </a:lnTo>
                      <a:lnTo>
                        <a:pt x="1010" y="587"/>
                      </a:lnTo>
                      <a:lnTo>
                        <a:pt x="1008" y="587"/>
                      </a:lnTo>
                      <a:lnTo>
                        <a:pt x="1008" y="589"/>
                      </a:lnTo>
                      <a:lnTo>
                        <a:pt x="1008" y="587"/>
                      </a:lnTo>
                      <a:lnTo>
                        <a:pt x="1008" y="589"/>
                      </a:lnTo>
                      <a:lnTo>
                        <a:pt x="1006" y="589"/>
                      </a:lnTo>
                      <a:lnTo>
                        <a:pt x="1006" y="591"/>
                      </a:lnTo>
                      <a:lnTo>
                        <a:pt x="1004" y="591"/>
                      </a:lnTo>
                      <a:lnTo>
                        <a:pt x="1003" y="591"/>
                      </a:lnTo>
                      <a:lnTo>
                        <a:pt x="1003" y="589"/>
                      </a:lnTo>
                      <a:lnTo>
                        <a:pt x="1001" y="589"/>
                      </a:lnTo>
                      <a:lnTo>
                        <a:pt x="999" y="589"/>
                      </a:lnTo>
                      <a:lnTo>
                        <a:pt x="999" y="587"/>
                      </a:lnTo>
                      <a:lnTo>
                        <a:pt x="997" y="587"/>
                      </a:lnTo>
                      <a:lnTo>
                        <a:pt x="995" y="587"/>
                      </a:lnTo>
                      <a:lnTo>
                        <a:pt x="995" y="585"/>
                      </a:lnTo>
                      <a:lnTo>
                        <a:pt x="993" y="585"/>
                      </a:lnTo>
                      <a:lnTo>
                        <a:pt x="991" y="585"/>
                      </a:lnTo>
                      <a:lnTo>
                        <a:pt x="991" y="587"/>
                      </a:lnTo>
                      <a:lnTo>
                        <a:pt x="989" y="587"/>
                      </a:lnTo>
                      <a:lnTo>
                        <a:pt x="987" y="587"/>
                      </a:lnTo>
                      <a:lnTo>
                        <a:pt x="987" y="589"/>
                      </a:lnTo>
                      <a:lnTo>
                        <a:pt x="986" y="589"/>
                      </a:lnTo>
                      <a:lnTo>
                        <a:pt x="984" y="589"/>
                      </a:lnTo>
                      <a:lnTo>
                        <a:pt x="982" y="589"/>
                      </a:lnTo>
                      <a:lnTo>
                        <a:pt x="982" y="587"/>
                      </a:lnTo>
                      <a:lnTo>
                        <a:pt x="982" y="585"/>
                      </a:lnTo>
                      <a:lnTo>
                        <a:pt x="980" y="585"/>
                      </a:lnTo>
                      <a:lnTo>
                        <a:pt x="980" y="587"/>
                      </a:lnTo>
                      <a:lnTo>
                        <a:pt x="978" y="587"/>
                      </a:lnTo>
                      <a:lnTo>
                        <a:pt x="980" y="587"/>
                      </a:lnTo>
                      <a:lnTo>
                        <a:pt x="980" y="589"/>
                      </a:lnTo>
                      <a:lnTo>
                        <a:pt x="978" y="589"/>
                      </a:lnTo>
                      <a:lnTo>
                        <a:pt x="976" y="589"/>
                      </a:lnTo>
                      <a:lnTo>
                        <a:pt x="976" y="587"/>
                      </a:lnTo>
                      <a:lnTo>
                        <a:pt x="976" y="589"/>
                      </a:lnTo>
                      <a:lnTo>
                        <a:pt x="974" y="589"/>
                      </a:lnTo>
                      <a:lnTo>
                        <a:pt x="976" y="589"/>
                      </a:lnTo>
                      <a:lnTo>
                        <a:pt x="974" y="589"/>
                      </a:lnTo>
                      <a:lnTo>
                        <a:pt x="974" y="591"/>
                      </a:lnTo>
                      <a:lnTo>
                        <a:pt x="974" y="593"/>
                      </a:lnTo>
                      <a:lnTo>
                        <a:pt x="972" y="593"/>
                      </a:lnTo>
                      <a:lnTo>
                        <a:pt x="974" y="593"/>
                      </a:lnTo>
                      <a:lnTo>
                        <a:pt x="974" y="595"/>
                      </a:lnTo>
                      <a:lnTo>
                        <a:pt x="972" y="595"/>
                      </a:lnTo>
                      <a:lnTo>
                        <a:pt x="972" y="593"/>
                      </a:lnTo>
                      <a:lnTo>
                        <a:pt x="972" y="595"/>
                      </a:lnTo>
                      <a:lnTo>
                        <a:pt x="972" y="597"/>
                      </a:lnTo>
                      <a:lnTo>
                        <a:pt x="972" y="595"/>
                      </a:lnTo>
                      <a:lnTo>
                        <a:pt x="971" y="595"/>
                      </a:lnTo>
                      <a:lnTo>
                        <a:pt x="971" y="593"/>
                      </a:lnTo>
                      <a:lnTo>
                        <a:pt x="971" y="595"/>
                      </a:lnTo>
                      <a:lnTo>
                        <a:pt x="969" y="595"/>
                      </a:lnTo>
                      <a:lnTo>
                        <a:pt x="969" y="597"/>
                      </a:lnTo>
                      <a:lnTo>
                        <a:pt x="969" y="599"/>
                      </a:lnTo>
                      <a:lnTo>
                        <a:pt x="969" y="597"/>
                      </a:lnTo>
                      <a:lnTo>
                        <a:pt x="967" y="597"/>
                      </a:lnTo>
                      <a:lnTo>
                        <a:pt x="967" y="599"/>
                      </a:lnTo>
                      <a:lnTo>
                        <a:pt x="965" y="599"/>
                      </a:lnTo>
                      <a:lnTo>
                        <a:pt x="967" y="599"/>
                      </a:lnTo>
                      <a:lnTo>
                        <a:pt x="967" y="601"/>
                      </a:lnTo>
                      <a:lnTo>
                        <a:pt x="965" y="601"/>
                      </a:lnTo>
                      <a:lnTo>
                        <a:pt x="965" y="599"/>
                      </a:lnTo>
                      <a:lnTo>
                        <a:pt x="963" y="599"/>
                      </a:lnTo>
                      <a:lnTo>
                        <a:pt x="963" y="601"/>
                      </a:lnTo>
                      <a:lnTo>
                        <a:pt x="963" y="602"/>
                      </a:lnTo>
                      <a:lnTo>
                        <a:pt x="963" y="604"/>
                      </a:lnTo>
                      <a:lnTo>
                        <a:pt x="961" y="604"/>
                      </a:lnTo>
                      <a:lnTo>
                        <a:pt x="961" y="606"/>
                      </a:lnTo>
                      <a:lnTo>
                        <a:pt x="959" y="606"/>
                      </a:lnTo>
                      <a:lnTo>
                        <a:pt x="957" y="606"/>
                      </a:lnTo>
                      <a:lnTo>
                        <a:pt x="957" y="608"/>
                      </a:lnTo>
                      <a:lnTo>
                        <a:pt x="957" y="610"/>
                      </a:lnTo>
                      <a:lnTo>
                        <a:pt x="957" y="612"/>
                      </a:lnTo>
                      <a:lnTo>
                        <a:pt x="955" y="612"/>
                      </a:lnTo>
                      <a:lnTo>
                        <a:pt x="955" y="614"/>
                      </a:lnTo>
                      <a:lnTo>
                        <a:pt x="954" y="614"/>
                      </a:lnTo>
                      <a:lnTo>
                        <a:pt x="954" y="616"/>
                      </a:lnTo>
                      <a:lnTo>
                        <a:pt x="955" y="616"/>
                      </a:lnTo>
                      <a:lnTo>
                        <a:pt x="954" y="616"/>
                      </a:lnTo>
                      <a:lnTo>
                        <a:pt x="954" y="617"/>
                      </a:lnTo>
                      <a:lnTo>
                        <a:pt x="952" y="617"/>
                      </a:lnTo>
                      <a:lnTo>
                        <a:pt x="952" y="619"/>
                      </a:lnTo>
                      <a:lnTo>
                        <a:pt x="952" y="621"/>
                      </a:lnTo>
                      <a:lnTo>
                        <a:pt x="950" y="621"/>
                      </a:lnTo>
                      <a:lnTo>
                        <a:pt x="950" y="619"/>
                      </a:lnTo>
                      <a:lnTo>
                        <a:pt x="948" y="619"/>
                      </a:lnTo>
                      <a:lnTo>
                        <a:pt x="948" y="621"/>
                      </a:lnTo>
                      <a:lnTo>
                        <a:pt x="946" y="621"/>
                      </a:lnTo>
                      <a:lnTo>
                        <a:pt x="946" y="623"/>
                      </a:lnTo>
                      <a:lnTo>
                        <a:pt x="946" y="625"/>
                      </a:lnTo>
                      <a:lnTo>
                        <a:pt x="946" y="627"/>
                      </a:lnTo>
                      <a:lnTo>
                        <a:pt x="946" y="629"/>
                      </a:lnTo>
                      <a:lnTo>
                        <a:pt x="944" y="629"/>
                      </a:lnTo>
                      <a:lnTo>
                        <a:pt x="942" y="629"/>
                      </a:lnTo>
                      <a:lnTo>
                        <a:pt x="942" y="631"/>
                      </a:lnTo>
                      <a:lnTo>
                        <a:pt x="940" y="631"/>
                      </a:lnTo>
                      <a:lnTo>
                        <a:pt x="940" y="633"/>
                      </a:lnTo>
                      <a:lnTo>
                        <a:pt x="939" y="633"/>
                      </a:lnTo>
                      <a:lnTo>
                        <a:pt x="939" y="634"/>
                      </a:lnTo>
                      <a:lnTo>
                        <a:pt x="940" y="634"/>
                      </a:lnTo>
                      <a:lnTo>
                        <a:pt x="940" y="633"/>
                      </a:lnTo>
                      <a:lnTo>
                        <a:pt x="940" y="634"/>
                      </a:lnTo>
                      <a:lnTo>
                        <a:pt x="940" y="636"/>
                      </a:lnTo>
                      <a:lnTo>
                        <a:pt x="940" y="638"/>
                      </a:lnTo>
                      <a:lnTo>
                        <a:pt x="939" y="638"/>
                      </a:lnTo>
                      <a:lnTo>
                        <a:pt x="937" y="638"/>
                      </a:lnTo>
                      <a:lnTo>
                        <a:pt x="937" y="640"/>
                      </a:lnTo>
                      <a:lnTo>
                        <a:pt x="937" y="638"/>
                      </a:lnTo>
                      <a:lnTo>
                        <a:pt x="935" y="638"/>
                      </a:lnTo>
                      <a:lnTo>
                        <a:pt x="935" y="636"/>
                      </a:lnTo>
                      <a:lnTo>
                        <a:pt x="933" y="636"/>
                      </a:lnTo>
                      <a:lnTo>
                        <a:pt x="933" y="638"/>
                      </a:lnTo>
                      <a:lnTo>
                        <a:pt x="931" y="636"/>
                      </a:lnTo>
                      <a:lnTo>
                        <a:pt x="931" y="638"/>
                      </a:lnTo>
                      <a:lnTo>
                        <a:pt x="929" y="638"/>
                      </a:lnTo>
                      <a:lnTo>
                        <a:pt x="931" y="638"/>
                      </a:lnTo>
                      <a:lnTo>
                        <a:pt x="931" y="640"/>
                      </a:lnTo>
                      <a:lnTo>
                        <a:pt x="929" y="640"/>
                      </a:lnTo>
                      <a:lnTo>
                        <a:pt x="929" y="638"/>
                      </a:lnTo>
                      <a:lnTo>
                        <a:pt x="927" y="638"/>
                      </a:lnTo>
                      <a:lnTo>
                        <a:pt x="925" y="638"/>
                      </a:lnTo>
                      <a:lnTo>
                        <a:pt x="924" y="636"/>
                      </a:lnTo>
                      <a:lnTo>
                        <a:pt x="924" y="634"/>
                      </a:lnTo>
                      <a:lnTo>
                        <a:pt x="924" y="633"/>
                      </a:lnTo>
                      <a:lnTo>
                        <a:pt x="922" y="633"/>
                      </a:lnTo>
                      <a:lnTo>
                        <a:pt x="920" y="633"/>
                      </a:lnTo>
                      <a:lnTo>
                        <a:pt x="920" y="631"/>
                      </a:lnTo>
                      <a:lnTo>
                        <a:pt x="918" y="631"/>
                      </a:lnTo>
                      <a:lnTo>
                        <a:pt x="916" y="631"/>
                      </a:lnTo>
                      <a:lnTo>
                        <a:pt x="918" y="631"/>
                      </a:lnTo>
                      <a:lnTo>
                        <a:pt x="916" y="631"/>
                      </a:lnTo>
                      <a:lnTo>
                        <a:pt x="914" y="631"/>
                      </a:lnTo>
                      <a:lnTo>
                        <a:pt x="914" y="633"/>
                      </a:lnTo>
                      <a:lnTo>
                        <a:pt x="914" y="634"/>
                      </a:lnTo>
                      <a:lnTo>
                        <a:pt x="914" y="633"/>
                      </a:lnTo>
                      <a:lnTo>
                        <a:pt x="912" y="633"/>
                      </a:lnTo>
                      <a:lnTo>
                        <a:pt x="910" y="634"/>
                      </a:lnTo>
                      <a:lnTo>
                        <a:pt x="910" y="636"/>
                      </a:lnTo>
                      <a:lnTo>
                        <a:pt x="912" y="636"/>
                      </a:lnTo>
                      <a:lnTo>
                        <a:pt x="912" y="638"/>
                      </a:lnTo>
                      <a:lnTo>
                        <a:pt x="910" y="638"/>
                      </a:lnTo>
                      <a:lnTo>
                        <a:pt x="910" y="640"/>
                      </a:lnTo>
                      <a:lnTo>
                        <a:pt x="908" y="640"/>
                      </a:lnTo>
                      <a:lnTo>
                        <a:pt x="907" y="638"/>
                      </a:lnTo>
                      <a:lnTo>
                        <a:pt x="905" y="638"/>
                      </a:lnTo>
                      <a:lnTo>
                        <a:pt x="905" y="640"/>
                      </a:lnTo>
                      <a:lnTo>
                        <a:pt x="905" y="642"/>
                      </a:lnTo>
                      <a:lnTo>
                        <a:pt x="907" y="642"/>
                      </a:lnTo>
                      <a:lnTo>
                        <a:pt x="907" y="644"/>
                      </a:lnTo>
                      <a:lnTo>
                        <a:pt x="907" y="646"/>
                      </a:lnTo>
                      <a:lnTo>
                        <a:pt x="907" y="648"/>
                      </a:lnTo>
                      <a:lnTo>
                        <a:pt x="905" y="648"/>
                      </a:lnTo>
                      <a:lnTo>
                        <a:pt x="905" y="649"/>
                      </a:lnTo>
                      <a:lnTo>
                        <a:pt x="903" y="649"/>
                      </a:lnTo>
                      <a:lnTo>
                        <a:pt x="901" y="649"/>
                      </a:lnTo>
                      <a:lnTo>
                        <a:pt x="901" y="651"/>
                      </a:lnTo>
                      <a:lnTo>
                        <a:pt x="899" y="651"/>
                      </a:lnTo>
                      <a:lnTo>
                        <a:pt x="899" y="649"/>
                      </a:lnTo>
                      <a:lnTo>
                        <a:pt x="897" y="649"/>
                      </a:lnTo>
                      <a:lnTo>
                        <a:pt x="897" y="648"/>
                      </a:lnTo>
                      <a:lnTo>
                        <a:pt x="895" y="648"/>
                      </a:lnTo>
                      <a:lnTo>
                        <a:pt x="895" y="646"/>
                      </a:lnTo>
                      <a:lnTo>
                        <a:pt x="893" y="646"/>
                      </a:lnTo>
                      <a:lnTo>
                        <a:pt x="893" y="648"/>
                      </a:lnTo>
                      <a:lnTo>
                        <a:pt x="893" y="649"/>
                      </a:lnTo>
                      <a:lnTo>
                        <a:pt x="892" y="649"/>
                      </a:lnTo>
                      <a:lnTo>
                        <a:pt x="892" y="648"/>
                      </a:lnTo>
                      <a:lnTo>
                        <a:pt x="890" y="648"/>
                      </a:lnTo>
                      <a:lnTo>
                        <a:pt x="890" y="646"/>
                      </a:lnTo>
                      <a:lnTo>
                        <a:pt x="890" y="648"/>
                      </a:lnTo>
                      <a:lnTo>
                        <a:pt x="890" y="649"/>
                      </a:lnTo>
                      <a:lnTo>
                        <a:pt x="888" y="649"/>
                      </a:lnTo>
                      <a:lnTo>
                        <a:pt x="886" y="651"/>
                      </a:lnTo>
                      <a:lnTo>
                        <a:pt x="884" y="651"/>
                      </a:lnTo>
                      <a:lnTo>
                        <a:pt x="884" y="649"/>
                      </a:lnTo>
                      <a:lnTo>
                        <a:pt x="882" y="649"/>
                      </a:lnTo>
                      <a:lnTo>
                        <a:pt x="882" y="651"/>
                      </a:lnTo>
                      <a:lnTo>
                        <a:pt x="880" y="651"/>
                      </a:lnTo>
                      <a:lnTo>
                        <a:pt x="880" y="649"/>
                      </a:lnTo>
                      <a:lnTo>
                        <a:pt x="880" y="648"/>
                      </a:lnTo>
                      <a:lnTo>
                        <a:pt x="878" y="648"/>
                      </a:lnTo>
                      <a:lnTo>
                        <a:pt x="876" y="648"/>
                      </a:lnTo>
                      <a:lnTo>
                        <a:pt x="875" y="648"/>
                      </a:lnTo>
                      <a:lnTo>
                        <a:pt x="875" y="646"/>
                      </a:lnTo>
                      <a:lnTo>
                        <a:pt x="873" y="646"/>
                      </a:lnTo>
                      <a:lnTo>
                        <a:pt x="873" y="644"/>
                      </a:lnTo>
                      <a:lnTo>
                        <a:pt x="871" y="644"/>
                      </a:lnTo>
                      <a:lnTo>
                        <a:pt x="869" y="644"/>
                      </a:lnTo>
                      <a:lnTo>
                        <a:pt x="869" y="646"/>
                      </a:lnTo>
                      <a:lnTo>
                        <a:pt x="871" y="648"/>
                      </a:lnTo>
                      <a:lnTo>
                        <a:pt x="871" y="649"/>
                      </a:lnTo>
                      <a:lnTo>
                        <a:pt x="873" y="649"/>
                      </a:lnTo>
                      <a:lnTo>
                        <a:pt x="873" y="651"/>
                      </a:lnTo>
                      <a:lnTo>
                        <a:pt x="873" y="653"/>
                      </a:lnTo>
                      <a:lnTo>
                        <a:pt x="871" y="653"/>
                      </a:lnTo>
                      <a:lnTo>
                        <a:pt x="871" y="655"/>
                      </a:lnTo>
                      <a:lnTo>
                        <a:pt x="873" y="655"/>
                      </a:lnTo>
                      <a:lnTo>
                        <a:pt x="873" y="657"/>
                      </a:lnTo>
                      <a:lnTo>
                        <a:pt x="871" y="657"/>
                      </a:lnTo>
                      <a:lnTo>
                        <a:pt x="869" y="657"/>
                      </a:lnTo>
                      <a:lnTo>
                        <a:pt x="867" y="657"/>
                      </a:lnTo>
                      <a:lnTo>
                        <a:pt x="867" y="655"/>
                      </a:lnTo>
                      <a:lnTo>
                        <a:pt x="867" y="657"/>
                      </a:lnTo>
                      <a:lnTo>
                        <a:pt x="865" y="657"/>
                      </a:lnTo>
                      <a:lnTo>
                        <a:pt x="865" y="659"/>
                      </a:lnTo>
                      <a:lnTo>
                        <a:pt x="863" y="659"/>
                      </a:lnTo>
                      <a:lnTo>
                        <a:pt x="863" y="661"/>
                      </a:lnTo>
                      <a:lnTo>
                        <a:pt x="863" y="659"/>
                      </a:lnTo>
                      <a:lnTo>
                        <a:pt x="861" y="659"/>
                      </a:lnTo>
                      <a:lnTo>
                        <a:pt x="861" y="661"/>
                      </a:lnTo>
                      <a:lnTo>
                        <a:pt x="863" y="661"/>
                      </a:lnTo>
                      <a:lnTo>
                        <a:pt x="861" y="663"/>
                      </a:lnTo>
                      <a:lnTo>
                        <a:pt x="861" y="665"/>
                      </a:lnTo>
                      <a:lnTo>
                        <a:pt x="861" y="666"/>
                      </a:lnTo>
                      <a:lnTo>
                        <a:pt x="861" y="668"/>
                      </a:lnTo>
                      <a:lnTo>
                        <a:pt x="860" y="668"/>
                      </a:lnTo>
                      <a:lnTo>
                        <a:pt x="860" y="670"/>
                      </a:lnTo>
                      <a:lnTo>
                        <a:pt x="860" y="668"/>
                      </a:lnTo>
                      <a:lnTo>
                        <a:pt x="858" y="668"/>
                      </a:lnTo>
                      <a:lnTo>
                        <a:pt x="858" y="670"/>
                      </a:lnTo>
                      <a:lnTo>
                        <a:pt x="858" y="672"/>
                      </a:lnTo>
                      <a:lnTo>
                        <a:pt x="860" y="672"/>
                      </a:lnTo>
                      <a:lnTo>
                        <a:pt x="860" y="674"/>
                      </a:lnTo>
                      <a:lnTo>
                        <a:pt x="860" y="676"/>
                      </a:lnTo>
                      <a:lnTo>
                        <a:pt x="860" y="678"/>
                      </a:lnTo>
                      <a:lnTo>
                        <a:pt x="858" y="678"/>
                      </a:lnTo>
                      <a:lnTo>
                        <a:pt x="856" y="678"/>
                      </a:lnTo>
                      <a:lnTo>
                        <a:pt x="856" y="676"/>
                      </a:lnTo>
                      <a:lnTo>
                        <a:pt x="854" y="676"/>
                      </a:lnTo>
                      <a:lnTo>
                        <a:pt x="852" y="676"/>
                      </a:lnTo>
                      <a:lnTo>
                        <a:pt x="852" y="678"/>
                      </a:lnTo>
                      <a:lnTo>
                        <a:pt x="852" y="680"/>
                      </a:lnTo>
                      <a:lnTo>
                        <a:pt x="852" y="681"/>
                      </a:lnTo>
                      <a:lnTo>
                        <a:pt x="852" y="683"/>
                      </a:lnTo>
                      <a:lnTo>
                        <a:pt x="850" y="683"/>
                      </a:lnTo>
                      <a:lnTo>
                        <a:pt x="850" y="681"/>
                      </a:lnTo>
                      <a:lnTo>
                        <a:pt x="848" y="681"/>
                      </a:lnTo>
                      <a:lnTo>
                        <a:pt x="848" y="683"/>
                      </a:lnTo>
                      <a:lnTo>
                        <a:pt x="850" y="683"/>
                      </a:lnTo>
                      <a:lnTo>
                        <a:pt x="850" y="685"/>
                      </a:lnTo>
                      <a:lnTo>
                        <a:pt x="850" y="687"/>
                      </a:lnTo>
                      <a:lnTo>
                        <a:pt x="848" y="687"/>
                      </a:lnTo>
                      <a:lnTo>
                        <a:pt x="846" y="687"/>
                      </a:lnTo>
                      <a:lnTo>
                        <a:pt x="846" y="689"/>
                      </a:lnTo>
                      <a:lnTo>
                        <a:pt x="845" y="689"/>
                      </a:lnTo>
                      <a:lnTo>
                        <a:pt x="845" y="687"/>
                      </a:lnTo>
                      <a:lnTo>
                        <a:pt x="843" y="687"/>
                      </a:lnTo>
                      <a:lnTo>
                        <a:pt x="841" y="687"/>
                      </a:lnTo>
                      <a:lnTo>
                        <a:pt x="841" y="689"/>
                      </a:lnTo>
                      <a:lnTo>
                        <a:pt x="843" y="691"/>
                      </a:lnTo>
                      <a:lnTo>
                        <a:pt x="845" y="691"/>
                      </a:lnTo>
                      <a:lnTo>
                        <a:pt x="845" y="693"/>
                      </a:lnTo>
                      <a:lnTo>
                        <a:pt x="845" y="691"/>
                      </a:lnTo>
                      <a:lnTo>
                        <a:pt x="846" y="691"/>
                      </a:lnTo>
                      <a:lnTo>
                        <a:pt x="846" y="693"/>
                      </a:lnTo>
                      <a:lnTo>
                        <a:pt x="848" y="693"/>
                      </a:lnTo>
                      <a:lnTo>
                        <a:pt x="850" y="693"/>
                      </a:lnTo>
                      <a:lnTo>
                        <a:pt x="850" y="695"/>
                      </a:lnTo>
                      <a:lnTo>
                        <a:pt x="850" y="697"/>
                      </a:lnTo>
                      <a:lnTo>
                        <a:pt x="848" y="697"/>
                      </a:lnTo>
                      <a:lnTo>
                        <a:pt x="848" y="698"/>
                      </a:lnTo>
                      <a:lnTo>
                        <a:pt x="848" y="697"/>
                      </a:lnTo>
                      <a:lnTo>
                        <a:pt x="846" y="697"/>
                      </a:lnTo>
                      <a:lnTo>
                        <a:pt x="846" y="698"/>
                      </a:lnTo>
                      <a:lnTo>
                        <a:pt x="846" y="700"/>
                      </a:lnTo>
                      <a:lnTo>
                        <a:pt x="845" y="698"/>
                      </a:lnTo>
                      <a:lnTo>
                        <a:pt x="843" y="697"/>
                      </a:lnTo>
                      <a:lnTo>
                        <a:pt x="841" y="698"/>
                      </a:lnTo>
                      <a:lnTo>
                        <a:pt x="843" y="698"/>
                      </a:lnTo>
                      <a:lnTo>
                        <a:pt x="843" y="700"/>
                      </a:lnTo>
                      <a:lnTo>
                        <a:pt x="843" y="702"/>
                      </a:lnTo>
                      <a:lnTo>
                        <a:pt x="845" y="704"/>
                      </a:lnTo>
                      <a:lnTo>
                        <a:pt x="843" y="704"/>
                      </a:lnTo>
                      <a:lnTo>
                        <a:pt x="843" y="706"/>
                      </a:lnTo>
                      <a:lnTo>
                        <a:pt x="843" y="708"/>
                      </a:lnTo>
                      <a:lnTo>
                        <a:pt x="843" y="710"/>
                      </a:lnTo>
                      <a:lnTo>
                        <a:pt x="841" y="710"/>
                      </a:lnTo>
                      <a:lnTo>
                        <a:pt x="841" y="708"/>
                      </a:lnTo>
                      <a:lnTo>
                        <a:pt x="839" y="708"/>
                      </a:lnTo>
                      <a:lnTo>
                        <a:pt x="839" y="710"/>
                      </a:lnTo>
                      <a:lnTo>
                        <a:pt x="839" y="712"/>
                      </a:lnTo>
                      <a:lnTo>
                        <a:pt x="839" y="713"/>
                      </a:lnTo>
                      <a:lnTo>
                        <a:pt x="837" y="713"/>
                      </a:lnTo>
                      <a:lnTo>
                        <a:pt x="835" y="713"/>
                      </a:lnTo>
                      <a:lnTo>
                        <a:pt x="833" y="713"/>
                      </a:lnTo>
                      <a:lnTo>
                        <a:pt x="831" y="713"/>
                      </a:lnTo>
                      <a:lnTo>
                        <a:pt x="831" y="715"/>
                      </a:lnTo>
                      <a:lnTo>
                        <a:pt x="831" y="717"/>
                      </a:lnTo>
                      <a:lnTo>
                        <a:pt x="833" y="717"/>
                      </a:lnTo>
                      <a:lnTo>
                        <a:pt x="835" y="719"/>
                      </a:lnTo>
                      <a:lnTo>
                        <a:pt x="835" y="721"/>
                      </a:lnTo>
                      <a:lnTo>
                        <a:pt x="835" y="723"/>
                      </a:lnTo>
                      <a:lnTo>
                        <a:pt x="833" y="723"/>
                      </a:lnTo>
                      <a:lnTo>
                        <a:pt x="831" y="723"/>
                      </a:lnTo>
                      <a:lnTo>
                        <a:pt x="829" y="723"/>
                      </a:lnTo>
                      <a:lnTo>
                        <a:pt x="829" y="725"/>
                      </a:lnTo>
                      <a:lnTo>
                        <a:pt x="828" y="723"/>
                      </a:lnTo>
                      <a:lnTo>
                        <a:pt x="826" y="723"/>
                      </a:lnTo>
                      <a:lnTo>
                        <a:pt x="826" y="725"/>
                      </a:lnTo>
                      <a:lnTo>
                        <a:pt x="824" y="725"/>
                      </a:lnTo>
                      <a:lnTo>
                        <a:pt x="824" y="727"/>
                      </a:lnTo>
                      <a:lnTo>
                        <a:pt x="824" y="729"/>
                      </a:lnTo>
                      <a:lnTo>
                        <a:pt x="822" y="729"/>
                      </a:lnTo>
                      <a:lnTo>
                        <a:pt x="822" y="730"/>
                      </a:lnTo>
                      <a:lnTo>
                        <a:pt x="820" y="730"/>
                      </a:lnTo>
                      <a:lnTo>
                        <a:pt x="818" y="730"/>
                      </a:lnTo>
                      <a:lnTo>
                        <a:pt x="818" y="732"/>
                      </a:lnTo>
                      <a:lnTo>
                        <a:pt x="816" y="732"/>
                      </a:lnTo>
                      <a:lnTo>
                        <a:pt x="816" y="734"/>
                      </a:lnTo>
                      <a:lnTo>
                        <a:pt x="814" y="734"/>
                      </a:lnTo>
                      <a:lnTo>
                        <a:pt x="814" y="736"/>
                      </a:lnTo>
                      <a:lnTo>
                        <a:pt x="814" y="738"/>
                      </a:lnTo>
                      <a:lnTo>
                        <a:pt x="813" y="738"/>
                      </a:lnTo>
                      <a:lnTo>
                        <a:pt x="811" y="738"/>
                      </a:lnTo>
                      <a:lnTo>
                        <a:pt x="809" y="740"/>
                      </a:lnTo>
                      <a:lnTo>
                        <a:pt x="811" y="740"/>
                      </a:lnTo>
                      <a:lnTo>
                        <a:pt x="811" y="742"/>
                      </a:lnTo>
                      <a:lnTo>
                        <a:pt x="811" y="744"/>
                      </a:lnTo>
                      <a:lnTo>
                        <a:pt x="811" y="745"/>
                      </a:lnTo>
                      <a:lnTo>
                        <a:pt x="811" y="744"/>
                      </a:lnTo>
                      <a:lnTo>
                        <a:pt x="813" y="744"/>
                      </a:lnTo>
                      <a:lnTo>
                        <a:pt x="814" y="744"/>
                      </a:lnTo>
                      <a:lnTo>
                        <a:pt x="814" y="745"/>
                      </a:lnTo>
                      <a:lnTo>
                        <a:pt x="816" y="745"/>
                      </a:lnTo>
                      <a:lnTo>
                        <a:pt x="816" y="747"/>
                      </a:lnTo>
                      <a:lnTo>
                        <a:pt x="816" y="749"/>
                      </a:lnTo>
                      <a:lnTo>
                        <a:pt x="814" y="751"/>
                      </a:lnTo>
                      <a:lnTo>
                        <a:pt x="813" y="751"/>
                      </a:lnTo>
                      <a:lnTo>
                        <a:pt x="811" y="753"/>
                      </a:lnTo>
                      <a:lnTo>
                        <a:pt x="811" y="755"/>
                      </a:lnTo>
                      <a:lnTo>
                        <a:pt x="809" y="757"/>
                      </a:lnTo>
                      <a:lnTo>
                        <a:pt x="807" y="757"/>
                      </a:lnTo>
                      <a:lnTo>
                        <a:pt x="805" y="757"/>
                      </a:lnTo>
                      <a:lnTo>
                        <a:pt x="803" y="757"/>
                      </a:lnTo>
                      <a:lnTo>
                        <a:pt x="803" y="759"/>
                      </a:lnTo>
                      <a:lnTo>
                        <a:pt x="803" y="761"/>
                      </a:lnTo>
                      <a:lnTo>
                        <a:pt x="803" y="762"/>
                      </a:lnTo>
                      <a:lnTo>
                        <a:pt x="801" y="762"/>
                      </a:lnTo>
                      <a:lnTo>
                        <a:pt x="801" y="761"/>
                      </a:lnTo>
                      <a:lnTo>
                        <a:pt x="799" y="761"/>
                      </a:lnTo>
                      <a:lnTo>
                        <a:pt x="797" y="761"/>
                      </a:lnTo>
                      <a:lnTo>
                        <a:pt x="796" y="761"/>
                      </a:lnTo>
                      <a:lnTo>
                        <a:pt x="794" y="761"/>
                      </a:lnTo>
                      <a:lnTo>
                        <a:pt x="794" y="762"/>
                      </a:lnTo>
                      <a:lnTo>
                        <a:pt x="794" y="764"/>
                      </a:lnTo>
                      <a:lnTo>
                        <a:pt x="796" y="764"/>
                      </a:lnTo>
                      <a:lnTo>
                        <a:pt x="796" y="766"/>
                      </a:lnTo>
                      <a:lnTo>
                        <a:pt x="797" y="768"/>
                      </a:lnTo>
                      <a:lnTo>
                        <a:pt x="796" y="768"/>
                      </a:lnTo>
                      <a:lnTo>
                        <a:pt x="796" y="770"/>
                      </a:lnTo>
                      <a:lnTo>
                        <a:pt x="794" y="770"/>
                      </a:lnTo>
                      <a:lnTo>
                        <a:pt x="792" y="770"/>
                      </a:lnTo>
                      <a:lnTo>
                        <a:pt x="790" y="770"/>
                      </a:lnTo>
                      <a:lnTo>
                        <a:pt x="790" y="772"/>
                      </a:lnTo>
                      <a:lnTo>
                        <a:pt x="788" y="772"/>
                      </a:lnTo>
                      <a:lnTo>
                        <a:pt x="788" y="774"/>
                      </a:lnTo>
                      <a:lnTo>
                        <a:pt x="788" y="776"/>
                      </a:lnTo>
                      <a:lnTo>
                        <a:pt x="788" y="777"/>
                      </a:lnTo>
                      <a:lnTo>
                        <a:pt x="788" y="779"/>
                      </a:lnTo>
                      <a:lnTo>
                        <a:pt x="788" y="781"/>
                      </a:lnTo>
                      <a:lnTo>
                        <a:pt x="788" y="783"/>
                      </a:lnTo>
                      <a:lnTo>
                        <a:pt x="786" y="783"/>
                      </a:lnTo>
                      <a:lnTo>
                        <a:pt x="784" y="783"/>
                      </a:lnTo>
                      <a:lnTo>
                        <a:pt x="784" y="781"/>
                      </a:lnTo>
                      <a:lnTo>
                        <a:pt x="782" y="781"/>
                      </a:lnTo>
                      <a:lnTo>
                        <a:pt x="781" y="781"/>
                      </a:lnTo>
                      <a:lnTo>
                        <a:pt x="781" y="783"/>
                      </a:lnTo>
                      <a:lnTo>
                        <a:pt x="782" y="785"/>
                      </a:lnTo>
                      <a:lnTo>
                        <a:pt x="782" y="787"/>
                      </a:lnTo>
                      <a:lnTo>
                        <a:pt x="784" y="787"/>
                      </a:lnTo>
                      <a:lnTo>
                        <a:pt x="784" y="789"/>
                      </a:lnTo>
                      <a:lnTo>
                        <a:pt x="784" y="791"/>
                      </a:lnTo>
                      <a:lnTo>
                        <a:pt x="786" y="793"/>
                      </a:lnTo>
                      <a:lnTo>
                        <a:pt x="784" y="794"/>
                      </a:lnTo>
                      <a:lnTo>
                        <a:pt x="782" y="794"/>
                      </a:lnTo>
                      <a:lnTo>
                        <a:pt x="781" y="794"/>
                      </a:lnTo>
                      <a:lnTo>
                        <a:pt x="781" y="796"/>
                      </a:lnTo>
                      <a:lnTo>
                        <a:pt x="779" y="794"/>
                      </a:lnTo>
                      <a:lnTo>
                        <a:pt x="777" y="796"/>
                      </a:lnTo>
                      <a:lnTo>
                        <a:pt x="777" y="798"/>
                      </a:lnTo>
                      <a:lnTo>
                        <a:pt x="777" y="800"/>
                      </a:lnTo>
                      <a:lnTo>
                        <a:pt x="775" y="800"/>
                      </a:lnTo>
                      <a:lnTo>
                        <a:pt x="775" y="802"/>
                      </a:lnTo>
                      <a:lnTo>
                        <a:pt x="775" y="804"/>
                      </a:lnTo>
                      <a:lnTo>
                        <a:pt x="773" y="804"/>
                      </a:lnTo>
                      <a:lnTo>
                        <a:pt x="773" y="806"/>
                      </a:lnTo>
                      <a:lnTo>
                        <a:pt x="771" y="806"/>
                      </a:lnTo>
                      <a:lnTo>
                        <a:pt x="769" y="806"/>
                      </a:lnTo>
                      <a:lnTo>
                        <a:pt x="767" y="808"/>
                      </a:lnTo>
                      <a:lnTo>
                        <a:pt x="769" y="809"/>
                      </a:lnTo>
                      <a:lnTo>
                        <a:pt x="769" y="811"/>
                      </a:lnTo>
                      <a:lnTo>
                        <a:pt x="767" y="811"/>
                      </a:lnTo>
                      <a:lnTo>
                        <a:pt x="769" y="811"/>
                      </a:lnTo>
                      <a:lnTo>
                        <a:pt x="769" y="813"/>
                      </a:lnTo>
                      <a:lnTo>
                        <a:pt x="769" y="815"/>
                      </a:lnTo>
                      <a:lnTo>
                        <a:pt x="769" y="817"/>
                      </a:lnTo>
                      <a:lnTo>
                        <a:pt x="767" y="817"/>
                      </a:lnTo>
                      <a:lnTo>
                        <a:pt x="766" y="817"/>
                      </a:lnTo>
                      <a:lnTo>
                        <a:pt x="764" y="817"/>
                      </a:lnTo>
                      <a:lnTo>
                        <a:pt x="764" y="815"/>
                      </a:lnTo>
                      <a:lnTo>
                        <a:pt x="762" y="815"/>
                      </a:lnTo>
                      <a:lnTo>
                        <a:pt x="760" y="817"/>
                      </a:lnTo>
                      <a:lnTo>
                        <a:pt x="758" y="817"/>
                      </a:lnTo>
                      <a:lnTo>
                        <a:pt x="756" y="819"/>
                      </a:lnTo>
                      <a:lnTo>
                        <a:pt x="756" y="821"/>
                      </a:lnTo>
                      <a:lnTo>
                        <a:pt x="754" y="821"/>
                      </a:lnTo>
                      <a:lnTo>
                        <a:pt x="756" y="823"/>
                      </a:lnTo>
                      <a:lnTo>
                        <a:pt x="754" y="823"/>
                      </a:lnTo>
                      <a:lnTo>
                        <a:pt x="754" y="825"/>
                      </a:lnTo>
                      <a:lnTo>
                        <a:pt x="754" y="826"/>
                      </a:lnTo>
                      <a:lnTo>
                        <a:pt x="754" y="828"/>
                      </a:lnTo>
                      <a:lnTo>
                        <a:pt x="756" y="828"/>
                      </a:lnTo>
                      <a:lnTo>
                        <a:pt x="756" y="830"/>
                      </a:lnTo>
                      <a:lnTo>
                        <a:pt x="754" y="830"/>
                      </a:lnTo>
                      <a:lnTo>
                        <a:pt x="752" y="830"/>
                      </a:lnTo>
                      <a:lnTo>
                        <a:pt x="750" y="830"/>
                      </a:lnTo>
                      <a:lnTo>
                        <a:pt x="750" y="828"/>
                      </a:lnTo>
                      <a:lnTo>
                        <a:pt x="749" y="828"/>
                      </a:lnTo>
                      <a:lnTo>
                        <a:pt x="747" y="828"/>
                      </a:lnTo>
                      <a:lnTo>
                        <a:pt x="747" y="830"/>
                      </a:lnTo>
                      <a:lnTo>
                        <a:pt x="745" y="830"/>
                      </a:lnTo>
                      <a:lnTo>
                        <a:pt x="743" y="830"/>
                      </a:lnTo>
                      <a:lnTo>
                        <a:pt x="743" y="832"/>
                      </a:lnTo>
                      <a:lnTo>
                        <a:pt x="743" y="834"/>
                      </a:lnTo>
                      <a:lnTo>
                        <a:pt x="743" y="836"/>
                      </a:lnTo>
                      <a:lnTo>
                        <a:pt x="741" y="836"/>
                      </a:lnTo>
                      <a:lnTo>
                        <a:pt x="739" y="836"/>
                      </a:lnTo>
                      <a:lnTo>
                        <a:pt x="739" y="838"/>
                      </a:lnTo>
                      <a:lnTo>
                        <a:pt x="739" y="836"/>
                      </a:lnTo>
                      <a:lnTo>
                        <a:pt x="737" y="836"/>
                      </a:lnTo>
                      <a:lnTo>
                        <a:pt x="737" y="838"/>
                      </a:lnTo>
                      <a:lnTo>
                        <a:pt x="735" y="836"/>
                      </a:lnTo>
                      <a:lnTo>
                        <a:pt x="735" y="834"/>
                      </a:lnTo>
                      <a:lnTo>
                        <a:pt x="734" y="834"/>
                      </a:lnTo>
                      <a:lnTo>
                        <a:pt x="734" y="836"/>
                      </a:lnTo>
                      <a:lnTo>
                        <a:pt x="732" y="836"/>
                      </a:lnTo>
                      <a:lnTo>
                        <a:pt x="732" y="838"/>
                      </a:lnTo>
                      <a:lnTo>
                        <a:pt x="730" y="838"/>
                      </a:lnTo>
                      <a:lnTo>
                        <a:pt x="730" y="840"/>
                      </a:lnTo>
                      <a:lnTo>
                        <a:pt x="730" y="841"/>
                      </a:lnTo>
                      <a:lnTo>
                        <a:pt x="728" y="841"/>
                      </a:lnTo>
                      <a:lnTo>
                        <a:pt x="726" y="841"/>
                      </a:lnTo>
                      <a:lnTo>
                        <a:pt x="724" y="840"/>
                      </a:lnTo>
                      <a:lnTo>
                        <a:pt x="722" y="840"/>
                      </a:lnTo>
                      <a:lnTo>
                        <a:pt x="720" y="840"/>
                      </a:lnTo>
                      <a:lnTo>
                        <a:pt x="718" y="840"/>
                      </a:lnTo>
                      <a:lnTo>
                        <a:pt x="718" y="838"/>
                      </a:lnTo>
                      <a:lnTo>
                        <a:pt x="717" y="838"/>
                      </a:lnTo>
                      <a:lnTo>
                        <a:pt x="717" y="840"/>
                      </a:lnTo>
                      <a:lnTo>
                        <a:pt x="715" y="840"/>
                      </a:lnTo>
                      <a:lnTo>
                        <a:pt x="715" y="841"/>
                      </a:lnTo>
                      <a:lnTo>
                        <a:pt x="713" y="843"/>
                      </a:lnTo>
                      <a:lnTo>
                        <a:pt x="711" y="841"/>
                      </a:lnTo>
                      <a:lnTo>
                        <a:pt x="711" y="843"/>
                      </a:lnTo>
                      <a:lnTo>
                        <a:pt x="709" y="843"/>
                      </a:lnTo>
                      <a:lnTo>
                        <a:pt x="707" y="843"/>
                      </a:lnTo>
                      <a:lnTo>
                        <a:pt x="707" y="845"/>
                      </a:lnTo>
                      <a:lnTo>
                        <a:pt x="705" y="847"/>
                      </a:lnTo>
                      <a:lnTo>
                        <a:pt x="703" y="847"/>
                      </a:lnTo>
                      <a:lnTo>
                        <a:pt x="703" y="849"/>
                      </a:lnTo>
                      <a:lnTo>
                        <a:pt x="705" y="851"/>
                      </a:lnTo>
                      <a:lnTo>
                        <a:pt x="703" y="851"/>
                      </a:lnTo>
                      <a:lnTo>
                        <a:pt x="702" y="851"/>
                      </a:lnTo>
                      <a:lnTo>
                        <a:pt x="702" y="853"/>
                      </a:lnTo>
                      <a:lnTo>
                        <a:pt x="700" y="853"/>
                      </a:lnTo>
                      <a:lnTo>
                        <a:pt x="700" y="855"/>
                      </a:lnTo>
                      <a:lnTo>
                        <a:pt x="698" y="855"/>
                      </a:lnTo>
                      <a:lnTo>
                        <a:pt x="698" y="853"/>
                      </a:lnTo>
                      <a:lnTo>
                        <a:pt x="698" y="851"/>
                      </a:lnTo>
                      <a:lnTo>
                        <a:pt x="696" y="851"/>
                      </a:lnTo>
                      <a:lnTo>
                        <a:pt x="696" y="849"/>
                      </a:lnTo>
                      <a:lnTo>
                        <a:pt x="694" y="849"/>
                      </a:lnTo>
                      <a:lnTo>
                        <a:pt x="694" y="851"/>
                      </a:lnTo>
                      <a:lnTo>
                        <a:pt x="694" y="853"/>
                      </a:lnTo>
                      <a:lnTo>
                        <a:pt x="694" y="855"/>
                      </a:lnTo>
                      <a:lnTo>
                        <a:pt x="694" y="857"/>
                      </a:lnTo>
                      <a:lnTo>
                        <a:pt x="694" y="858"/>
                      </a:lnTo>
                      <a:lnTo>
                        <a:pt x="692" y="858"/>
                      </a:lnTo>
                      <a:lnTo>
                        <a:pt x="692" y="860"/>
                      </a:lnTo>
                      <a:lnTo>
                        <a:pt x="690" y="860"/>
                      </a:lnTo>
                      <a:lnTo>
                        <a:pt x="688" y="860"/>
                      </a:lnTo>
                      <a:lnTo>
                        <a:pt x="688" y="858"/>
                      </a:lnTo>
                      <a:lnTo>
                        <a:pt x="687" y="857"/>
                      </a:lnTo>
                      <a:lnTo>
                        <a:pt x="687" y="855"/>
                      </a:lnTo>
                      <a:lnTo>
                        <a:pt x="685" y="855"/>
                      </a:lnTo>
                      <a:lnTo>
                        <a:pt x="683" y="855"/>
                      </a:lnTo>
                      <a:lnTo>
                        <a:pt x="681" y="855"/>
                      </a:lnTo>
                      <a:lnTo>
                        <a:pt x="681" y="857"/>
                      </a:lnTo>
                      <a:lnTo>
                        <a:pt x="683" y="857"/>
                      </a:lnTo>
                      <a:lnTo>
                        <a:pt x="683" y="858"/>
                      </a:lnTo>
                      <a:lnTo>
                        <a:pt x="685" y="860"/>
                      </a:lnTo>
                      <a:lnTo>
                        <a:pt x="685" y="862"/>
                      </a:lnTo>
                      <a:lnTo>
                        <a:pt x="683" y="862"/>
                      </a:lnTo>
                      <a:lnTo>
                        <a:pt x="681" y="864"/>
                      </a:lnTo>
                      <a:lnTo>
                        <a:pt x="681" y="866"/>
                      </a:lnTo>
                      <a:lnTo>
                        <a:pt x="681" y="868"/>
                      </a:lnTo>
                      <a:lnTo>
                        <a:pt x="681" y="870"/>
                      </a:lnTo>
                      <a:lnTo>
                        <a:pt x="683" y="870"/>
                      </a:lnTo>
                      <a:lnTo>
                        <a:pt x="685" y="870"/>
                      </a:lnTo>
                      <a:lnTo>
                        <a:pt x="685" y="872"/>
                      </a:lnTo>
                      <a:lnTo>
                        <a:pt x="687" y="873"/>
                      </a:lnTo>
                      <a:lnTo>
                        <a:pt x="690" y="875"/>
                      </a:lnTo>
                      <a:lnTo>
                        <a:pt x="692" y="879"/>
                      </a:lnTo>
                      <a:lnTo>
                        <a:pt x="694" y="881"/>
                      </a:lnTo>
                      <a:lnTo>
                        <a:pt x="696" y="883"/>
                      </a:lnTo>
                      <a:lnTo>
                        <a:pt x="698" y="883"/>
                      </a:lnTo>
                      <a:lnTo>
                        <a:pt x="700" y="885"/>
                      </a:lnTo>
                      <a:lnTo>
                        <a:pt x="698" y="887"/>
                      </a:lnTo>
                      <a:lnTo>
                        <a:pt x="702" y="889"/>
                      </a:lnTo>
                      <a:lnTo>
                        <a:pt x="705" y="896"/>
                      </a:lnTo>
                      <a:lnTo>
                        <a:pt x="711" y="911"/>
                      </a:lnTo>
                      <a:lnTo>
                        <a:pt x="713" y="917"/>
                      </a:lnTo>
                      <a:lnTo>
                        <a:pt x="718" y="928"/>
                      </a:lnTo>
                      <a:lnTo>
                        <a:pt x="720" y="932"/>
                      </a:lnTo>
                      <a:lnTo>
                        <a:pt x="722" y="937"/>
                      </a:lnTo>
                      <a:lnTo>
                        <a:pt x="722" y="939"/>
                      </a:lnTo>
                      <a:lnTo>
                        <a:pt x="724" y="941"/>
                      </a:lnTo>
                      <a:lnTo>
                        <a:pt x="724" y="945"/>
                      </a:lnTo>
                      <a:lnTo>
                        <a:pt x="726" y="949"/>
                      </a:lnTo>
                      <a:lnTo>
                        <a:pt x="728" y="953"/>
                      </a:lnTo>
                      <a:lnTo>
                        <a:pt x="732" y="964"/>
                      </a:lnTo>
                      <a:lnTo>
                        <a:pt x="734" y="968"/>
                      </a:lnTo>
                      <a:lnTo>
                        <a:pt x="734" y="969"/>
                      </a:lnTo>
                      <a:lnTo>
                        <a:pt x="734" y="971"/>
                      </a:lnTo>
                      <a:lnTo>
                        <a:pt x="737" y="971"/>
                      </a:lnTo>
                      <a:lnTo>
                        <a:pt x="743" y="975"/>
                      </a:lnTo>
                      <a:lnTo>
                        <a:pt x="747" y="975"/>
                      </a:lnTo>
                      <a:lnTo>
                        <a:pt x="745" y="977"/>
                      </a:lnTo>
                      <a:lnTo>
                        <a:pt x="745" y="981"/>
                      </a:lnTo>
                      <a:lnTo>
                        <a:pt x="747" y="981"/>
                      </a:lnTo>
                      <a:lnTo>
                        <a:pt x="749" y="981"/>
                      </a:lnTo>
                      <a:lnTo>
                        <a:pt x="749" y="983"/>
                      </a:lnTo>
                      <a:lnTo>
                        <a:pt x="750" y="983"/>
                      </a:lnTo>
                      <a:lnTo>
                        <a:pt x="752" y="983"/>
                      </a:lnTo>
                      <a:lnTo>
                        <a:pt x="752" y="985"/>
                      </a:lnTo>
                      <a:lnTo>
                        <a:pt x="760" y="1009"/>
                      </a:lnTo>
                      <a:lnTo>
                        <a:pt x="760" y="1011"/>
                      </a:lnTo>
                      <a:lnTo>
                        <a:pt x="762" y="1011"/>
                      </a:lnTo>
                      <a:lnTo>
                        <a:pt x="764" y="1011"/>
                      </a:lnTo>
                      <a:lnTo>
                        <a:pt x="766" y="1011"/>
                      </a:lnTo>
                      <a:lnTo>
                        <a:pt x="767" y="1011"/>
                      </a:lnTo>
                      <a:lnTo>
                        <a:pt x="769" y="1011"/>
                      </a:lnTo>
                      <a:lnTo>
                        <a:pt x="771" y="1011"/>
                      </a:lnTo>
                      <a:lnTo>
                        <a:pt x="773" y="1011"/>
                      </a:lnTo>
                      <a:lnTo>
                        <a:pt x="775" y="1011"/>
                      </a:lnTo>
                      <a:lnTo>
                        <a:pt x="777" y="1011"/>
                      </a:lnTo>
                      <a:lnTo>
                        <a:pt x="779" y="1011"/>
                      </a:lnTo>
                      <a:lnTo>
                        <a:pt x="779" y="1009"/>
                      </a:lnTo>
                      <a:lnTo>
                        <a:pt x="781" y="1009"/>
                      </a:lnTo>
                      <a:lnTo>
                        <a:pt x="781" y="1011"/>
                      </a:lnTo>
                      <a:lnTo>
                        <a:pt x="781" y="1013"/>
                      </a:lnTo>
                      <a:lnTo>
                        <a:pt x="782" y="1013"/>
                      </a:lnTo>
                      <a:lnTo>
                        <a:pt x="782" y="1015"/>
                      </a:lnTo>
                      <a:lnTo>
                        <a:pt x="781" y="1015"/>
                      </a:lnTo>
                      <a:lnTo>
                        <a:pt x="781" y="1017"/>
                      </a:lnTo>
                      <a:lnTo>
                        <a:pt x="779" y="1017"/>
                      </a:lnTo>
                      <a:lnTo>
                        <a:pt x="777" y="1017"/>
                      </a:lnTo>
                      <a:lnTo>
                        <a:pt x="777" y="1018"/>
                      </a:lnTo>
                      <a:lnTo>
                        <a:pt x="777" y="1020"/>
                      </a:lnTo>
                      <a:lnTo>
                        <a:pt x="775" y="1020"/>
                      </a:lnTo>
                      <a:lnTo>
                        <a:pt x="775" y="1022"/>
                      </a:lnTo>
                      <a:lnTo>
                        <a:pt x="777" y="1024"/>
                      </a:lnTo>
                      <a:lnTo>
                        <a:pt x="775" y="1026"/>
                      </a:lnTo>
                      <a:lnTo>
                        <a:pt x="773" y="1024"/>
                      </a:lnTo>
                      <a:lnTo>
                        <a:pt x="771" y="1024"/>
                      </a:lnTo>
                      <a:lnTo>
                        <a:pt x="771" y="1026"/>
                      </a:lnTo>
                      <a:lnTo>
                        <a:pt x="773" y="1026"/>
                      </a:lnTo>
                      <a:lnTo>
                        <a:pt x="773" y="1028"/>
                      </a:lnTo>
                      <a:lnTo>
                        <a:pt x="773" y="1030"/>
                      </a:lnTo>
                      <a:lnTo>
                        <a:pt x="771" y="1030"/>
                      </a:lnTo>
                      <a:lnTo>
                        <a:pt x="771" y="1032"/>
                      </a:lnTo>
                      <a:lnTo>
                        <a:pt x="771" y="1034"/>
                      </a:lnTo>
                      <a:lnTo>
                        <a:pt x="771" y="1035"/>
                      </a:lnTo>
                      <a:lnTo>
                        <a:pt x="771" y="1037"/>
                      </a:lnTo>
                      <a:lnTo>
                        <a:pt x="771" y="1039"/>
                      </a:lnTo>
                      <a:lnTo>
                        <a:pt x="771" y="1041"/>
                      </a:lnTo>
                      <a:lnTo>
                        <a:pt x="771" y="1043"/>
                      </a:lnTo>
                      <a:lnTo>
                        <a:pt x="771" y="1045"/>
                      </a:lnTo>
                      <a:lnTo>
                        <a:pt x="771" y="1047"/>
                      </a:lnTo>
                      <a:lnTo>
                        <a:pt x="771" y="1049"/>
                      </a:lnTo>
                      <a:lnTo>
                        <a:pt x="771" y="1050"/>
                      </a:lnTo>
                      <a:lnTo>
                        <a:pt x="773" y="1050"/>
                      </a:lnTo>
                      <a:lnTo>
                        <a:pt x="773" y="1049"/>
                      </a:lnTo>
                      <a:lnTo>
                        <a:pt x="775" y="1049"/>
                      </a:lnTo>
                      <a:lnTo>
                        <a:pt x="775" y="1050"/>
                      </a:lnTo>
                      <a:lnTo>
                        <a:pt x="775" y="1052"/>
                      </a:lnTo>
                      <a:lnTo>
                        <a:pt x="777" y="1050"/>
                      </a:lnTo>
                      <a:lnTo>
                        <a:pt x="777" y="1052"/>
                      </a:lnTo>
                      <a:lnTo>
                        <a:pt x="775" y="1054"/>
                      </a:lnTo>
                      <a:lnTo>
                        <a:pt x="777" y="1054"/>
                      </a:lnTo>
                      <a:lnTo>
                        <a:pt x="777" y="1056"/>
                      </a:lnTo>
                      <a:lnTo>
                        <a:pt x="775" y="1056"/>
                      </a:lnTo>
                      <a:lnTo>
                        <a:pt x="775" y="1058"/>
                      </a:lnTo>
                      <a:lnTo>
                        <a:pt x="777" y="1058"/>
                      </a:lnTo>
                      <a:lnTo>
                        <a:pt x="779" y="1058"/>
                      </a:lnTo>
                      <a:lnTo>
                        <a:pt x="779" y="1060"/>
                      </a:lnTo>
                      <a:lnTo>
                        <a:pt x="777" y="1060"/>
                      </a:lnTo>
                      <a:lnTo>
                        <a:pt x="775" y="1060"/>
                      </a:lnTo>
                      <a:lnTo>
                        <a:pt x="777" y="1062"/>
                      </a:lnTo>
                      <a:lnTo>
                        <a:pt x="777" y="1064"/>
                      </a:lnTo>
                      <a:lnTo>
                        <a:pt x="775" y="1064"/>
                      </a:lnTo>
                      <a:lnTo>
                        <a:pt x="775" y="1062"/>
                      </a:lnTo>
                      <a:lnTo>
                        <a:pt x="775" y="1064"/>
                      </a:lnTo>
                      <a:lnTo>
                        <a:pt x="773" y="1064"/>
                      </a:lnTo>
                      <a:lnTo>
                        <a:pt x="773" y="1066"/>
                      </a:lnTo>
                      <a:lnTo>
                        <a:pt x="773" y="1064"/>
                      </a:lnTo>
                      <a:lnTo>
                        <a:pt x="771" y="1064"/>
                      </a:lnTo>
                      <a:lnTo>
                        <a:pt x="769" y="1064"/>
                      </a:lnTo>
                      <a:lnTo>
                        <a:pt x="767" y="1066"/>
                      </a:lnTo>
                      <a:lnTo>
                        <a:pt x="766" y="1066"/>
                      </a:lnTo>
                      <a:lnTo>
                        <a:pt x="767" y="1067"/>
                      </a:lnTo>
                      <a:lnTo>
                        <a:pt x="769" y="1067"/>
                      </a:lnTo>
                      <a:lnTo>
                        <a:pt x="771" y="1067"/>
                      </a:lnTo>
                      <a:lnTo>
                        <a:pt x="771" y="1069"/>
                      </a:lnTo>
                      <a:lnTo>
                        <a:pt x="771" y="1071"/>
                      </a:lnTo>
                      <a:lnTo>
                        <a:pt x="771" y="1073"/>
                      </a:lnTo>
                      <a:lnTo>
                        <a:pt x="769" y="1073"/>
                      </a:lnTo>
                      <a:lnTo>
                        <a:pt x="771" y="1075"/>
                      </a:lnTo>
                      <a:lnTo>
                        <a:pt x="771" y="1077"/>
                      </a:lnTo>
                      <a:lnTo>
                        <a:pt x="771" y="1079"/>
                      </a:lnTo>
                      <a:lnTo>
                        <a:pt x="773" y="1079"/>
                      </a:lnTo>
                      <a:lnTo>
                        <a:pt x="775" y="1079"/>
                      </a:lnTo>
                      <a:lnTo>
                        <a:pt x="775" y="1077"/>
                      </a:lnTo>
                      <a:lnTo>
                        <a:pt x="775" y="1075"/>
                      </a:lnTo>
                      <a:lnTo>
                        <a:pt x="775" y="1073"/>
                      </a:lnTo>
                      <a:lnTo>
                        <a:pt x="777" y="1073"/>
                      </a:lnTo>
                      <a:lnTo>
                        <a:pt x="777" y="1075"/>
                      </a:lnTo>
                      <a:lnTo>
                        <a:pt x="779" y="1075"/>
                      </a:lnTo>
                      <a:lnTo>
                        <a:pt x="779" y="1077"/>
                      </a:lnTo>
                      <a:lnTo>
                        <a:pt x="779" y="1079"/>
                      </a:lnTo>
                      <a:lnTo>
                        <a:pt x="781" y="1081"/>
                      </a:lnTo>
                      <a:lnTo>
                        <a:pt x="781" y="1082"/>
                      </a:lnTo>
                      <a:lnTo>
                        <a:pt x="781" y="1084"/>
                      </a:lnTo>
                      <a:lnTo>
                        <a:pt x="779" y="1084"/>
                      </a:lnTo>
                      <a:lnTo>
                        <a:pt x="777" y="1086"/>
                      </a:lnTo>
                      <a:lnTo>
                        <a:pt x="775" y="1086"/>
                      </a:lnTo>
                      <a:lnTo>
                        <a:pt x="775" y="1088"/>
                      </a:lnTo>
                      <a:lnTo>
                        <a:pt x="773" y="1088"/>
                      </a:lnTo>
                      <a:lnTo>
                        <a:pt x="771" y="1088"/>
                      </a:lnTo>
                      <a:lnTo>
                        <a:pt x="771" y="1086"/>
                      </a:lnTo>
                      <a:lnTo>
                        <a:pt x="769" y="1086"/>
                      </a:lnTo>
                      <a:lnTo>
                        <a:pt x="767" y="1086"/>
                      </a:lnTo>
                      <a:lnTo>
                        <a:pt x="766" y="1086"/>
                      </a:lnTo>
                      <a:lnTo>
                        <a:pt x="764" y="1086"/>
                      </a:lnTo>
                      <a:lnTo>
                        <a:pt x="764" y="1088"/>
                      </a:lnTo>
                      <a:lnTo>
                        <a:pt x="764" y="1090"/>
                      </a:lnTo>
                      <a:lnTo>
                        <a:pt x="762" y="1090"/>
                      </a:lnTo>
                      <a:lnTo>
                        <a:pt x="762" y="1092"/>
                      </a:lnTo>
                      <a:lnTo>
                        <a:pt x="760" y="1092"/>
                      </a:lnTo>
                      <a:lnTo>
                        <a:pt x="760" y="1094"/>
                      </a:lnTo>
                      <a:lnTo>
                        <a:pt x="762" y="1094"/>
                      </a:lnTo>
                      <a:lnTo>
                        <a:pt x="762" y="1096"/>
                      </a:lnTo>
                      <a:lnTo>
                        <a:pt x="764" y="1096"/>
                      </a:lnTo>
                      <a:lnTo>
                        <a:pt x="766" y="1096"/>
                      </a:lnTo>
                      <a:lnTo>
                        <a:pt x="767" y="1096"/>
                      </a:lnTo>
                      <a:lnTo>
                        <a:pt x="767" y="1094"/>
                      </a:lnTo>
                      <a:lnTo>
                        <a:pt x="769" y="1094"/>
                      </a:lnTo>
                      <a:lnTo>
                        <a:pt x="771" y="1096"/>
                      </a:lnTo>
                      <a:lnTo>
                        <a:pt x="771" y="1098"/>
                      </a:lnTo>
                      <a:lnTo>
                        <a:pt x="769" y="1098"/>
                      </a:lnTo>
                      <a:lnTo>
                        <a:pt x="767" y="1099"/>
                      </a:lnTo>
                      <a:lnTo>
                        <a:pt x="767" y="1101"/>
                      </a:lnTo>
                      <a:lnTo>
                        <a:pt x="766" y="1101"/>
                      </a:lnTo>
                      <a:lnTo>
                        <a:pt x="764" y="1101"/>
                      </a:lnTo>
                      <a:lnTo>
                        <a:pt x="762" y="1101"/>
                      </a:lnTo>
                      <a:lnTo>
                        <a:pt x="760" y="1101"/>
                      </a:lnTo>
                      <a:lnTo>
                        <a:pt x="760" y="1099"/>
                      </a:lnTo>
                      <a:lnTo>
                        <a:pt x="758" y="1099"/>
                      </a:lnTo>
                      <a:lnTo>
                        <a:pt x="756" y="1099"/>
                      </a:lnTo>
                      <a:lnTo>
                        <a:pt x="754" y="1099"/>
                      </a:lnTo>
                      <a:lnTo>
                        <a:pt x="752" y="1101"/>
                      </a:lnTo>
                      <a:lnTo>
                        <a:pt x="752" y="1103"/>
                      </a:lnTo>
                      <a:lnTo>
                        <a:pt x="752" y="1105"/>
                      </a:lnTo>
                      <a:lnTo>
                        <a:pt x="754" y="1105"/>
                      </a:lnTo>
                      <a:lnTo>
                        <a:pt x="756" y="1107"/>
                      </a:lnTo>
                      <a:lnTo>
                        <a:pt x="758" y="1107"/>
                      </a:lnTo>
                      <a:lnTo>
                        <a:pt x="758" y="1109"/>
                      </a:lnTo>
                      <a:lnTo>
                        <a:pt x="760" y="1109"/>
                      </a:lnTo>
                      <a:lnTo>
                        <a:pt x="760" y="1111"/>
                      </a:lnTo>
                      <a:lnTo>
                        <a:pt x="762" y="1111"/>
                      </a:lnTo>
                      <a:lnTo>
                        <a:pt x="760" y="1113"/>
                      </a:lnTo>
                      <a:lnTo>
                        <a:pt x="758" y="1113"/>
                      </a:lnTo>
                      <a:lnTo>
                        <a:pt x="756" y="1113"/>
                      </a:lnTo>
                      <a:lnTo>
                        <a:pt x="754" y="1114"/>
                      </a:lnTo>
                      <a:lnTo>
                        <a:pt x="754" y="1116"/>
                      </a:lnTo>
                      <a:lnTo>
                        <a:pt x="754" y="1118"/>
                      </a:lnTo>
                      <a:lnTo>
                        <a:pt x="754" y="1120"/>
                      </a:lnTo>
                      <a:lnTo>
                        <a:pt x="752" y="1120"/>
                      </a:lnTo>
                      <a:lnTo>
                        <a:pt x="750" y="1118"/>
                      </a:lnTo>
                      <a:lnTo>
                        <a:pt x="750" y="1116"/>
                      </a:lnTo>
                      <a:lnTo>
                        <a:pt x="749" y="1116"/>
                      </a:lnTo>
                      <a:lnTo>
                        <a:pt x="747" y="1116"/>
                      </a:lnTo>
                      <a:lnTo>
                        <a:pt x="747" y="1118"/>
                      </a:lnTo>
                      <a:lnTo>
                        <a:pt x="745" y="1118"/>
                      </a:lnTo>
                      <a:lnTo>
                        <a:pt x="745" y="1116"/>
                      </a:lnTo>
                      <a:lnTo>
                        <a:pt x="743" y="1116"/>
                      </a:lnTo>
                      <a:lnTo>
                        <a:pt x="741" y="1116"/>
                      </a:lnTo>
                      <a:lnTo>
                        <a:pt x="741" y="1114"/>
                      </a:lnTo>
                      <a:lnTo>
                        <a:pt x="741" y="1113"/>
                      </a:lnTo>
                      <a:lnTo>
                        <a:pt x="741" y="1111"/>
                      </a:lnTo>
                      <a:lnTo>
                        <a:pt x="739" y="1111"/>
                      </a:lnTo>
                      <a:lnTo>
                        <a:pt x="737" y="1111"/>
                      </a:lnTo>
                      <a:lnTo>
                        <a:pt x="737" y="1113"/>
                      </a:lnTo>
                      <a:lnTo>
                        <a:pt x="737" y="1114"/>
                      </a:lnTo>
                      <a:lnTo>
                        <a:pt x="735" y="1114"/>
                      </a:lnTo>
                      <a:lnTo>
                        <a:pt x="735" y="1116"/>
                      </a:lnTo>
                      <a:lnTo>
                        <a:pt x="735" y="1118"/>
                      </a:lnTo>
                      <a:lnTo>
                        <a:pt x="735" y="1120"/>
                      </a:lnTo>
                      <a:lnTo>
                        <a:pt x="735" y="1118"/>
                      </a:lnTo>
                      <a:lnTo>
                        <a:pt x="734" y="1118"/>
                      </a:lnTo>
                      <a:lnTo>
                        <a:pt x="734" y="1116"/>
                      </a:lnTo>
                      <a:lnTo>
                        <a:pt x="734" y="1114"/>
                      </a:lnTo>
                      <a:lnTo>
                        <a:pt x="734" y="1113"/>
                      </a:lnTo>
                      <a:lnTo>
                        <a:pt x="732" y="1113"/>
                      </a:lnTo>
                      <a:lnTo>
                        <a:pt x="730" y="1113"/>
                      </a:lnTo>
                      <a:lnTo>
                        <a:pt x="730" y="1114"/>
                      </a:lnTo>
                      <a:lnTo>
                        <a:pt x="730" y="1116"/>
                      </a:lnTo>
                      <a:lnTo>
                        <a:pt x="730" y="1118"/>
                      </a:lnTo>
                      <a:lnTo>
                        <a:pt x="728" y="1120"/>
                      </a:lnTo>
                      <a:lnTo>
                        <a:pt x="726" y="1120"/>
                      </a:lnTo>
                      <a:lnTo>
                        <a:pt x="726" y="1122"/>
                      </a:lnTo>
                      <a:lnTo>
                        <a:pt x="726" y="1124"/>
                      </a:lnTo>
                      <a:lnTo>
                        <a:pt x="724" y="1124"/>
                      </a:lnTo>
                      <a:lnTo>
                        <a:pt x="724" y="1122"/>
                      </a:lnTo>
                      <a:lnTo>
                        <a:pt x="722" y="1122"/>
                      </a:lnTo>
                      <a:lnTo>
                        <a:pt x="722" y="1120"/>
                      </a:lnTo>
                      <a:lnTo>
                        <a:pt x="720" y="1120"/>
                      </a:lnTo>
                      <a:lnTo>
                        <a:pt x="718" y="1120"/>
                      </a:lnTo>
                      <a:lnTo>
                        <a:pt x="717" y="1120"/>
                      </a:lnTo>
                      <a:lnTo>
                        <a:pt x="715" y="1120"/>
                      </a:lnTo>
                      <a:lnTo>
                        <a:pt x="715" y="1118"/>
                      </a:lnTo>
                      <a:lnTo>
                        <a:pt x="713" y="1118"/>
                      </a:lnTo>
                      <a:lnTo>
                        <a:pt x="711" y="1118"/>
                      </a:lnTo>
                      <a:lnTo>
                        <a:pt x="709" y="1120"/>
                      </a:lnTo>
                      <a:lnTo>
                        <a:pt x="711" y="1122"/>
                      </a:lnTo>
                      <a:lnTo>
                        <a:pt x="711" y="1124"/>
                      </a:lnTo>
                      <a:lnTo>
                        <a:pt x="713" y="1124"/>
                      </a:lnTo>
                      <a:lnTo>
                        <a:pt x="713" y="1126"/>
                      </a:lnTo>
                      <a:lnTo>
                        <a:pt x="711" y="1128"/>
                      </a:lnTo>
                      <a:lnTo>
                        <a:pt x="709" y="1128"/>
                      </a:lnTo>
                      <a:lnTo>
                        <a:pt x="707" y="1128"/>
                      </a:lnTo>
                      <a:lnTo>
                        <a:pt x="707" y="1130"/>
                      </a:lnTo>
                      <a:lnTo>
                        <a:pt x="707" y="1131"/>
                      </a:lnTo>
                      <a:lnTo>
                        <a:pt x="705" y="1131"/>
                      </a:lnTo>
                      <a:lnTo>
                        <a:pt x="705" y="1133"/>
                      </a:lnTo>
                      <a:lnTo>
                        <a:pt x="703" y="1133"/>
                      </a:lnTo>
                      <a:lnTo>
                        <a:pt x="702" y="1131"/>
                      </a:lnTo>
                      <a:lnTo>
                        <a:pt x="702" y="1130"/>
                      </a:lnTo>
                      <a:lnTo>
                        <a:pt x="700" y="1130"/>
                      </a:lnTo>
                      <a:lnTo>
                        <a:pt x="700" y="1128"/>
                      </a:lnTo>
                      <a:lnTo>
                        <a:pt x="700" y="1126"/>
                      </a:lnTo>
                      <a:lnTo>
                        <a:pt x="700" y="1124"/>
                      </a:lnTo>
                      <a:lnTo>
                        <a:pt x="698" y="1124"/>
                      </a:lnTo>
                      <a:lnTo>
                        <a:pt x="696" y="1124"/>
                      </a:lnTo>
                      <a:lnTo>
                        <a:pt x="694" y="1124"/>
                      </a:lnTo>
                      <a:lnTo>
                        <a:pt x="694" y="1126"/>
                      </a:lnTo>
                      <a:lnTo>
                        <a:pt x="692" y="1126"/>
                      </a:lnTo>
                      <a:lnTo>
                        <a:pt x="690" y="1126"/>
                      </a:lnTo>
                      <a:lnTo>
                        <a:pt x="688" y="1126"/>
                      </a:lnTo>
                      <a:lnTo>
                        <a:pt x="688" y="1128"/>
                      </a:lnTo>
                      <a:lnTo>
                        <a:pt x="687" y="1128"/>
                      </a:lnTo>
                      <a:lnTo>
                        <a:pt x="685" y="1128"/>
                      </a:lnTo>
                      <a:lnTo>
                        <a:pt x="685" y="1126"/>
                      </a:lnTo>
                      <a:lnTo>
                        <a:pt x="683" y="1126"/>
                      </a:lnTo>
                      <a:lnTo>
                        <a:pt x="683" y="1128"/>
                      </a:lnTo>
                      <a:lnTo>
                        <a:pt x="681" y="1128"/>
                      </a:lnTo>
                      <a:lnTo>
                        <a:pt x="679" y="1128"/>
                      </a:lnTo>
                      <a:lnTo>
                        <a:pt x="677" y="1128"/>
                      </a:lnTo>
                      <a:lnTo>
                        <a:pt x="677" y="1130"/>
                      </a:lnTo>
                      <a:lnTo>
                        <a:pt x="677" y="1131"/>
                      </a:lnTo>
                      <a:lnTo>
                        <a:pt x="679" y="1133"/>
                      </a:lnTo>
                      <a:lnTo>
                        <a:pt x="681" y="1133"/>
                      </a:lnTo>
                      <a:lnTo>
                        <a:pt x="683" y="1135"/>
                      </a:lnTo>
                      <a:lnTo>
                        <a:pt x="683" y="1137"/>
                      </a:lnTo>
                      <a:lnTo>
                        <a:pt x="683" y="1139"/>
                      </a:lnTo>
                      <a:lnTo>
                        <a:pt x="685" y="1139"/>
                      </a:lnTo>
                      <a:lnTo>
                        <a:pt x="687" y="1139"/>
                      </a:lnTo>
                      <a:lnTo>
                        <a:pt x="688" y="1139"/>
                      </a:lnTo>
                      <a:lnTo>
                        <a:pt x="688" y="1141"/>
                      </a:lnTo>
                      <a:lnTo>
                        <a:pt x="688" y="1143"/>
                      </a:lnTo>
                      <a:lnTo>
                        <a:pt x="687" y="1143"/>
                      </a:lnTo>
                      <a:lnTo>
                        <a:pt x="687" y="1145"/>
                      </a:lnTo>
                      <a:lnTo>
                        <a:pt x="687" y="1146"/>
                      </a:lnTo>
                      <a:lnTo>
                        <a:pt x="685" y="1146"/>
                      </a:lnTo>
                      <a:lnTo>
                        <a:pt x="683" y="1146"/>
                      </a:lnTo>
                      <a:lnTo>
                        <a:pt x="681" y="1148"/>
                      </a:lnTo>
                      <a:lnTo>
                        <a:pt x="681" y="1146"/>
                      </a:lnTo>
                      <a:lnTo>
                        <a:pt x="679" y="1146"/>
                      </a:lnTo>
                      <a:lnTo>
                        <a:pt x="679" y="1145"/>
                      </a:lnTo>
                      <a:lnTo>
                        <a:pt x="677" y="1145"/>
                      </a:lnTo>
                      <a:lnTo>
                        <a:pt x="675" y="1145"/>
                      </a:lnTo>
                      <a:lnTo>
                        <a:pt x="673" y="1145"/>
                      </a:lnTo>
                      <a:lnTo>
                        <a:pt x="671" y="1145"/>
                      </a:lnTo>
                      <a:lnTo>
                        <a:pt x="670" y="1146"/>
                      </a:lnTo>
                      <a:lnTo>
                        <a:pt x="668" y="1146"/>
                      </a:lnTo>
                      <a:lnTo>
                        <a:pt x="666" y="1146"/>
                      </a:lnTo>
                      <a:lnTo>
                        <a:pt x="666" y="1148"/>
                      </a:lnTo>
                      <a:lnTo>
                        <a:pt x="664" y="1148"/>
                      </a:lnTo>
                      <a:lnTo>
                        <a:pt x="662" y="1150"/>
                      </a:lnTo>
                      <a:lnTo>
                        <a:pt x="662" y="1152"/>
                      </a:lnTo>
                      <a:lnTo>
                        <a:pt x="660" y="1152"/>
                      </a:lnTo>
                      <a:lnTo>
                        <a:pt x="658" y="1152"/>
                      </a:lnTo>
                      <a:lnTo>
                        <a:pt x="658" y="1154"/>
                      </a:lnTo>
                      <a:lnTo>
                        <a:pt x="660" y="1154"/>
                      </a:lnTo>
                      <a:lnTo>
                        <a:pt x="660" y="1156"/>
                      </a:lnTo>
                      <a:lnTo>
                        <a:pt x="662" y="1156"/>
                      </a:lnTo>
                      <a:lnTo>
                        <a:pt x="662" y="1158"/>
                      </a:lnTo>
                      <a:lnTo>
                        <a:pt x="664" y="1160"/>
                      </a:lnTo>
                      <a:lnTo>
                        <a:pt x="664" y="1162"/>
                      </a:lnTo>
                      <a:lnTo>
                        <a:pt x="664" y="1163"/>
                      </a:lnTo>
                      <a:lnTo>
                        <a:pt x="662" y="1163"/>
                      </a:lnTo>
                      <a:lnTo>
                        <a:pt x="662" y="1165"/>
                      </a:lnTo>
                      <a:lnTo>
                        <a:pt x="660" y="1165"/>
                      </a:lnTo>
                      <a:lnTo>
                        <a:pt x="658" y="1165"/>
                      </a:lnTo>
                      <a:lnTo>
                        <a:pt x="656" y="1165"/>
                      </a:lnTo>
                      <a:lnTo>
                        <a:pt x="655" y="1165"/>
                      </a:lnTo>
                      <a:lnTo>
                        <a:pt x="653" y="1165"/>
                      </a:lnTo>
                      <a:lnTo>
                        <a:pt x="651" y="1165"/>
                      </a:lnTo>
                      <a:lnTo>
                        <a:pt x="649" y="1165"/>
                      </a:lnTo>
                      <a:lnTo>
                        <a:pt x="649" y="1163"/>
                      </a:lnTo>
                      <a:lnTo>
                        <a:pt x="647" y="1163"/>
                      </a:lnTo>
                      <a:lnTo>
                        <a:pt x="645" y="1163"/>
                      </a:lnTo>
                      <a:lnTo>
                        <a:pt x="645" y="1165"/>
                      </a:lnTo>
                      <a:lnTo>
                        <a:pt x="645" y="1167"/>
                      </a:lnTo>
                      <a:lnTo>
                        <a:pt x="645" y="1169"/>
                      </a:lnTo>
                      <a:lnTo>
                        <a:pt x="645" y="1171"/>
                      </a:lnTo>
                      <a:lnTo>
                        <a:pt x="643" y="1171"/>
                      </a:lnTo>
                      <a:lnTo>
                        <a:pt x="641" y="1171"/>
                      </a:lnTo>
                      <a:lnTo>
                        <a:pt x="639" y="1171"/>
                      </a:lnTo>
                      <a:lnTo>
                        <a:pt x="638" y="1171"/>
                      </a:lnTo>
                      <a:lnTo>
                        <a:pt x="638" y="1169"/>
                      </a:lnTo>
                      <a:lnTo>
                        <a:pt x="636" y="1167"/>
                      </a:lnTo>
                      <a:lnTo>
                        <a:pt x="636" y="1165"/>
                      </a:lnTo>
                      <a:lnTo>
                        <a:pt x="634" y="1165"/>
                      </a:lnTo>
                      <a:lnTo>
                        <a:pt x="634" y="1163"/>
                      </a:lnTo>
                      <a:lnTo>
                        <a:pt x="632" y="1162"/>
                      </a:lnTo>
                      <a:lnTo>
                        <a:pt x="632" y="1160"/>
                      </a:lnTo>
                      <a:lnTo>
                        <a:pt x="630" y="1160"/>
                      </a:lnTo>
                      <a:lnTo>
                        <a:pt x="630" y="1158"/>
                      </a:lnTo>
                      <a:lnTo>
                        <a:pt x="628" y="1158"/>
                      </a:lnTo>
                      <a:lnTo>
                        <a:pt x="626" y="1158"/>
                      </a:lnTo>
                      <a:lnTo>
                        <a:pt x="624" y="1158"/>
                      </a:lnTo>
                      <a:lnTo>
                        <a:pt x="623" y="1160"/>
                      </a:lnTo>
                      <a:lnTo>
                        <a:pt x="621" y="1160"/>
                      </a:lnTo>
                      <a:lnTo>
                        <a:pt x="619" y="1160"/>
                      </a:lnTo>
                      <a:lnTo>
                        <a:pt x="619" y="1162"/>
                      </a:lnTo>
                      <a:lnTo>
                        <a:pt x="617" y="1162"/>
                      </a:lnTo>
                      <a:lnTo>
                        <a:pt x="617" y="1163"/>
                      </a:lnTo>
                      <a:lnTo>
                        <a:pt x="615" y="1163"/>
                      </a:lnTo>
                      <a:lnTo>
                        <a:pt x="615" y="1165"/>
                      </a:lnTo>
                      <a:lnTo>
                        <a:pt x="613" y="1165"/>
                      </a:lnTo>
                      <a:lnTo>
                        <a:pt x="611" y="1165"/>
                      </a:lnTo>
                      <a:lnTo>
                        <a:pt x="609" y="1165"/>
                      </a:lnTo>
                      <a:lnTo>
                        <a:pt x="608" y="1165"/>
                      </a:lnTo>
                      <a:lnTo>
                        <a:pt x="606" y="1165"/>
                      </a:lnTo>
                      <a:lnTo>
                        <a:pt x="606" y="1167"/>
                      </a:lnTo>
                      <a:lnTo>
                        <a:pt x="604" y="1169"/>
                      </a:lnTo>
                      <a:lnTo>
                        <a:pt x="604" y="1171"/>
                      </a:lnTo>
                      <a:lnTo>
                        <a:pt x="602" y="1171"/>
                      </a:lnTo>
                      <a:lnTo>
                        <a:pt x="600" y="1171"/>
                      </a:lnTo>
                      <a:lnTo>
                        <a:pt x="598" y="1171"/>
                      </a:lnTo>
                      <a:lnTo>
                        <a:pt x="596" y="1171"/>
                      </a:lnTo>
                      <a:lnTo>
                        <a:pt x="596" y="1169"/>
                      </a:lnTo>
                      <a:lnTo>
                        <a:pt x="594" y="1167"/>
                      </a:lnTo>
                      <a:lnTo>
                        <a:pt x="594" y="1165"/>
                      </a:lnTo>
                      <a:lnTo>
                        <a:pt x="592" y="1165"/>
                      </a:lnTo>
                      <a:lnTo>
                        <a:pt x="592" y="1167"/>
                      </a:lnTo>
                      <a:lnTo>
                        <a:pt x="592" y="1169"/>
                      </a:lnTo>
                      <a:lnTo>
                        <a:pt x="591" y="1169"/>
                      </a:lnTo>
                      <a:lnTo>
                        <a:pt x="591" y="1171"/>
                      </a:lnTo>
                      <a:lnTo>
                        <a:pt x="589" y="1171"/>
                      </a:lnTo>
                      <a:lnTo>
                        <a:pt x="589" y="1173"/>
                      </a:lnTo>
                      <a:lnTo>
                        <a:pt x="587" y="1173"/>
                      </a:lnTo>
                      <a:lnTo>
                        <a:pt x="585" y="1173"/>
                      </a:lnTo>
                      <a:lnTo>
                        <a:pt x="583" y="1173"/>
                      </a:lnTo>
                      <a:lnTo>
                        <a:pt x="581" y="1173"/>
                      </a:lnTo>
                      <a:lnTo>
                        <a:pt x="581" y="1171"/>
                      </a:lnTo>
                      <a:lnTo>
                        <a:pt x="581" y="1169"/>
                      </a:lnTo>
                      <a:lnTo>
                        <a:pt x="583" y="1169"/>
                      </a:lnTo>
                      <a:lnTo>
                        <a:pt x="583" y="1167"/>
                      </a:lnTo>
                      <a:lnTo>
                        <a:pt x="585" y="1167"/>
                      </a:lnTo>
                      <a:lnTo>
                        <a:pt x="583" y="1167"/>
                      </a:lnTo>
                      <a:lnTo>
                        <a:pt x="583" y="1165"/>
                      </a:lnTo>
                      <a:lnTo>
                        <a:pt x="583" y="1163"/>
                      </a:lnTo>
                      <a:lnTo>
                        <a:pt x="581" y="1163"/>
                      </a:lnTo>
                      <a:lnTo>
                        <a:pt x="581" y="1165"/>
                      </a:lnTo>
                      <a:lnTo>
                        <a:pt x="579" y="1165"/>
                      </a:lnTo>
                      <a:lnTo>
                        <a:pt x="577" y="1165"/>
                      </a:lnTo>
                      <a:lnTo>
                        <a:pt x="576" y="1165"/>
                      </a:lnTo>
                      <a:lnTo>
                        <a:pt x="574" y="1165"/>
                      </a:lnTo>
                      <a:lnTo>
                        <a:pt x="574" y="1163"/>
                      </a:lnTo>
                      <a:lnTo>
                        <a:pt x="572" y="1165"/>
                      </a:lnTo>
                      <a:lnTo>
                        <a:pt x="570" y="1165"/>
                      </a:lnTo>
                      <a:lnTo>
                        <a:pt x="568" y="1165"/>
                      </a:lnTo>
                      <a:lnTo>
                        <a:pt x="566" y="1165"/>
                      </a:lnTo>
                      <a:lnTo>
                        <a:pt x="564" y="1165"/>
                      </a:lnTo>
                      <a:lnTo>
                        <a:pt x="562" y="1163"/>
                      </a:lnTo>
                      <a:lnTo>
                        <a:pt x="560" y="1162"/>
                      </a:lnTo>
                      <a:lnTo>
                        <a:pt x="559" y="1162"/>
                      </a:lnTo>
                      <a:lnTo>
                        <a:pt x="559" y="1160"/>
                      </a:lnTo>
                      <a:lnTo>
                        <a:pt x="557" y="1160"/>
                      </a:lnTo>
                      <a:lnTo>
                        <a:pt x="557" y="1158"/>
                      </a:lnTo>
                      <a:lnTo>
                        <a:pt x="555" y="1158"/>
                      </a:lnTo>
                      <a:lnTo>
                        <a:pt x="553" y="1158"/>
                      </a:lnTo>
                      <a:lnTo>
                        <a:pt x="553" y="1156"/>
                      </a:lnTo>
                      <a:lnTo>
                        <a:pt x="551" y="1156"/>
                      </a:lnTo>
                      <a:lnTo>
                        <a:pt x="549" y="1156"/>
                      </a:lnTo>
                      <a:lnTo>
                        <a:pt x="549" y="1154"/>
                      </a:lnTo>
                      <a:lnTo>
                        <a:pt x="547" y="1154"/>
                      </a:lnTo>
                      <a:lnTo>
                        <a:pt x="545" y="1154"/>
                      </a:lnTo>
                      <a:lnTo>
                        <a:pt x="544" y="1152"/>
                      </a:lnTo>
                      <a:lnTo>
                        <a:pt x="545" y="1152"/>
                      </a:lnTo>
                      <a:lnTo>
                        <a:pt x="545" y="1150"/>
                      </a:lnTo>
                      <a:lnTo>
                        <a:pt x="545" y="1148"/>
                      </a:lnTo>
                      <a:lnTo>
                        <a:pt x="547" y="1146"/>
                      </a:lnTo>
                      <a:lnTo>
                        <a:pt x="547" y="1145"/>
                      </a:lnTo>
                      <a:lnTo>
                        <a:pt x="547" y="1143"/>
                      </a:lnTo>
                      <a:lnTo>
                        <a:pt x="545" y="1143"/>
                      </a:lnTo>
                      <a:lnTo>
                        <a:pt x="544" y="1143"/>
                      </a:lnTo>
                      <a:lnTo>
                        <a:pt x="542" y="1141"/>
                      </a:lnTo>
                      <a:lnTo>
                        <a:pt x="540" y="1139"/>
                      </a:lnTo>
                      <a:lnTo>
                        <a:pt x="538" y="1139"/>
                      </a:lnTo>
                      <a:lnTo>
                        <a:pt x="538" y="1137"/>
                      </a:lnTo>
                      <a:lnTo>
                        <a:pt x="536" y="1137"/>
                      </a:lnTo>
                      <a:lnTo>
                        <a:pt x="534" y="1137"/>
                      </a:lnTo>
                      <a:lnTo>
                        <a:pt x="534" y="1135"/>
                      </a:lnTo>
                      <a:lnTo>
                        <a:pt x="532" y="1135"/>
                      </a:lnTo>
                      <a:lnTo>
                        <a:pt x="530" y="1135"/>
                      </a:lnTo>
                      <a:lnTo>
                        <a:pt x="529" y="1135"/>
                      </a:lnTo>
                      <a:lnTo>
                        <a:pt x="527" y="1137"/>
                      </a:lnTo>
                      <a:lnTo>
                        <a:pt x="525" y="1137"/>
                      </a:lnTo>
                      <a:lnTo>
                        <a:pt x="523" y="1137"/>
                      </a:lnTo>
                      <a:lnTo>
                        <a:pt x="523" y="1139"/>
                      </a:lnTo>
                      <a:lnTo>
                        <a:pt x="521" y="1141"/>
                      </a:lnTo>
                      <a:lnTo>
                        <a:pt x="519" y="1141"/>
                      </a:lnTo>
                      <a:lnTo>
                        <a:pt x="517" y="1141"/>
                      </a:lnTo>
                      <a:lnTo>
                        <a:pt x="515" y="1141"/>
                      </a:lnTo>
                      <a:lnTo>
                        <a:pt x="515" y="1143"/>
                      </a:lnTo>
                      <a:lnTo>
                        <a:pt x="513" y="1143"/>
                      </a:lnTo>
                      <a:lnTo>
                        <a:pt x="513" y="1145"/>
                      </a:lnTo>
                      <a:lnTo>
                        <a:pt x="512" y="1145"/>
                      </a:lnTo>
                      <a:lnTo>
                        <a:pt x="510" y="1145"/>
                      </a:lnTo>
                      <a:lnTo>
                        <a:pt x="508" y="1143"/>
                      </a:lnTo>
                      <a:lnTo>
                        <a:pt x="506" y="1143"/>
                      </a:lnTo>
                      <a:lnTo>
                        <a:pt x="504" y="1141"/>
                      </a:lnTo>
                      <a:lnTo>
                        <a:pt x="502" y="1141"/>
                      </a:lnTo>
                      <a:lnTo>
                        <a:pt x="500" y="1141"/>
                      </a:lnTo>
                      <a:lnTo>
                        <a:pt x="498" y="1143"/>
                      </a:lnTo>
                      <a:lnTo>
                        <a:pt x="497" y="1143"/>
                      </a:lnTo>
                      <a:lnTo>
                        <a:pt x="495" y="1143"/>
                      </a:lnTo>
                      <a:lnTo>
                        <a:pt x="493" y="1143"/>
                      </a:lnTo>
                      <a:lnTo>
                        <a:pt x="493" y="1141"/>
                      </a:lnTo>
                      <a:lnTo>
                        <a:pt x="493" y="1139"/>
                      </a:lnTo>
                      <a:lnTo>
                        <a:pt x="491" y="1137"/>
                      </a:lnTo>
                      <a:lnTo>
                        <a:pt x="489" y="1137"/>
                      </a:lnTo>
                      <a:lnTo>
                        <a:pt x="489" y="1135"/>
                      </a:lnTo>
                      <a:lnTo>
                        <a:pt x="489" y="1133"/>
                      </a:lnTo>
                      <a:lnTo>
                        <a:pt x="489" y="1131"/>
                      </a:lnTo>
                      <a:lnTo>
                        <a:pt x="489" y="1130"/>
                      </a:lnTo>
                      <a:lnTo>
                        <a:pt x="489" y="1128"/>
                      </a:lnTo>
                      <a:lnTo>
                        <a:pt x="487" y="1128"/>
                      </a:lnTo>
                      <a:lnTo>
                        <a:pt x="485" y="1128"/>
                      </a:lnTo>
                      <a:lnTo>
                        <a:pt x="483" y="1128"/>
                      </a:lnTo>
                      <a:lnTo>
                        <a:pt x="481" y="1126"/>
                      </a:lnTo>
                      <a:lnTo>
                        <a:pt x="480" y="1126"/>
                      </a:lnTo>
                      <a:lnTo>
                        <a:pt x="478" y="1126"/>
                      </a:lnTo>
                      <a:lnTo>
                        <a:pt x="476" y="1126"/>
                      </a:lnTo>
                      <a:lnTo>
                        <a:pt x="474" y="1126"/>
                      </a:lnTo>
                      <a:lnTo>
                        <a:pt x="472" y="1126"/>
                      </a:lnTo>
                      <a:lnTo>
                        <a:pt x="472" y="1124"/>
                      </a:lnTo>
                      <a:lnTo>
                        <a:pt x="472" y="1122"/>
                      </a:lnTo>
                      <a:lnTo>
                        <a:pt x="472" y="1120"/>
                      </a:lnTo>
                      <a:lnTo>
                        <a:pt x="472" y="1118"/>
                      </a:lnTo>
                      <a:lnTo>
                        <a:pt x="472" y="1116"/>
                      </a:lnTo>
                      <a:lnTo>
                        <a:pt x="470" y="1116"/>
                      </a:lnTo>
                      <a:lnTo>
                        <a:pt x="468" y="1114"/>
                      </a:lnTo>
                      <a:lnTo>
                        <a:pt x="468" y="1113"/>
                      </a:lnTo>
                      <a:lnTo>
                        <a:pt x="466" y="1113"/>
                      </a:lnTo>
                      <a:lnTo>
                        <a:pt x="465" y="1111"/>
                      </a:lnTo>
                      <a:lnTo>
                        <a:pt x="463" y="1111"/>
                      </a:lnTo>
                      <a:lnTo>
                        <a:pt x="461" y="1111"/>
                      </a:lnTo>
                      <a:lnTo>
                        <a:pt x="459" y="1111"/>
                      </a:lnTo>
                      <a:lnTo>
                        <a:pt x="459" y="1113"/>
                      </a:lnTo>
                      <a:lnTo>
                        <a:pt x="457" y="1113"/>
                      </a:lnTo>
                      <a:lnTo>
                        <a:pt x="457" y="1114"/>
                      </a:lnTo>
                      <a:lnTo>
                        <a:pt x="455" y="1114"/>
                      </a:lnTo>
                      <a:lnTo>
                        <a:pt x="455" y="1116"/>
                      </a:lnTo>
                      <a:lnTo>
                        <a:pt x="455" y="1118"/>
                      </a:lnTo>
                      <a:lnTo>
                        <a:pt x="457" y="1118"/>
                      </a:lnTo>
                      <a:lnTo>
                        <a:pt x="459" y="1118"/>
                      </a:lnTo>
                      <a:lnTo>
                        <a:pt x="459" y="1120"/>
                      </a:lnTo>
                      <a:lnTo>
                        <a:pt x="459" y="1122"/>
                      </a:lnTo>
                      <a:lnTo>
                        <a:pt x="461" y="1122"/>
                      </a:lnTo>
                      <a:lnTo>
                        <a:pt x="459" y="1122"/>
                      </a:lnTo>
                      <a:lnTo>
                        <a:pt x="459" y="1124"/>
                      </a:lnTo>
                      <a:lnTo>
                        <a:pt x="461" y="1126"/>
                      </a:lnTo>
                      <a:lnTo>
                        <a:pt x="459" y="1128"/>
                      </a:lnTo>
                      <a:lnTo>
                        <a:pt x="457" y="1128"/>
                      </a:lnTo>
                      <a:lnTo>
                        <a:pt x="455" y="1128"/>
                      </a:lnTo>
                      <a:lnTo>
                        <a:pt x="453" y="1128"/>
                      </a:lnTo>
                      <a:lnTo>
                        <a:pt x="451" y="1126"/>
                      </a:lnTo>
                      <a:lnTo>
                        <a:pt x="450" y="1124"/>
                      </a:lnTo>
                      <a:lnTo>
                        <a:pt x="450" y="1122"/>
                      </a:lnTo>
                      <a:lnTo>
                        <a:pt x="448" y="1122"/>
                      </a:lnTo>
                      <a:lnTo>
                        <a:pt x="448" y="1120"/>
                      </a:lnTo>
                      <a:lnTo>
                        <a:pt x="446" y="1120"/>
                      </a:lnTo>
                      <a:lnTo>
                        <a:pt x="446" y="1122"/>
                      </a:lnTo>
                      <a:lnTo>
                        <a:pt x="444" y="1122"/>
                      </a:lnTo>
                      <a:lnTo>
                        <a:pt x="442" y="1122"/>
                      </a:lnTo>
                      <a:lnTo>
                        <a:pt x="440" y="1122"/>
                      </a:lnTo>
                      <a:lnTo>
                        <a:pt x="440" y="1124"/>
                      </a:lnTo>
                      <a:lnTo>
                        <a:pt x="438" y="1124"/>
                      </a:lnTo>
                      <a:lnTo>
                        <a:pt x="436" y="1122"/>
                      </a:lnTo>
                      <a:lnTo>
                        <a:pt x="434" y="1122"/>
                      </a:lnTo>
                      <a:lnTo>
                        <a:pt x="434" y="1124"/>
                      </a:lnTo>
                      <a:lnTo>
                        <a:pt x="433" y="1124"/>
                      </a:lnTo>
                      <a:lnTo>
                        <a:pt x="431" y="1126"/>
                      </a:lnTo>
                      <a:lnTo>
                        <a:pt x="429" y="1126"/>
                      </a:lnTo>
                      <a:lnTo>
                        <a:pt x="427" y="1126"/>
                      </a:lnTo>
                      <a:lnTo>
                        <a:pt x="425" y="1126"/>
                      </a:lnTo>
                      <a:lnTo>
                        <a:pt x="423" y="1126"/>
                      </a:lnTo>
                      <a:lnTo>
                        <a:pt x="421" y="1128"/>
                      </a:lnTo>
                      <a:lnTo>
                        <a:pt x="419" y="1128"/>
                      </a:lnTo>
                      <a:lnTo>
                        <a:pt x="418" y="1128"/>
                      </a:lnTo>
                      <a:lnTo>
                        <a:pt x="416" y="1128"/>
                      </a:lnTo>
                      <a:lnTo>
                        <a:pt x="414" y="1128"/>
                      </a:lnTo>
                      <a:lnTo>
                        <a:pt x="412" y="1130"/>
                      </a:lnTo>
                      <a:lnTo>
                        <a:pt x="410" y="1130"/>
                      </a:lnTo>
                      <a:lnTo>
                        <a:pt x="410" y="1131"/>
                      </a:lnTo>
                      <a:lnTo>
                        <a:pt x="408" y="1131"/>
                      </a:lnTo>
                      <a:lnTo>
                        <a:pt x="408" y="1133"/>
                      </a:lnTo>
                      <a:lnTo>
                        <a:pt x="406" y="1133"/>
                      </a:lnTo>
                      <a:lnTo>
                        <a:pt x="406" y="1135"/>
                      </a:lnTo>
                      <a:lnTo>
                        <a:pt x="406" y="1137"/>
                      </a:lnTo>
                      <a:lnTo>
                        <a:pt x="406" y="1139"/>
                      </a:lnTo>
                      <a:lnTo>
                        <a:pt x="406" y="1141"/>
                      </a:lnTo>
                      <a:lnTo>
                        <a:pt x="404" y="1141"/>
                      </a:lnTo>
                      <a:lnTo>
                        <a:pt x="402" y="1141"/>
                      </a:lnTo>
                      <a:lnTo>
                        <a:pt x="402" y="1139"/>
                      </a:lnTo>
                      <a:lnTo>
                        <a:pt x="402" y="1137"/>
                      </a:lnTo>
                      <a:lnTo>
                        <a:pt x="402" y="1135"/>
                      </a:lnTo>
                      <a:lnTo>
                        <a:pt x="401" y="1133"/>
                      </a:lnTo>
                      <a:lnTo>
                        <a:pt x="399" y="1131"/>
                      </a:lnTo>
                      <a:lnTo>
                        <a:pt x="397" y="1130"/>
                      </a:lnTo>
                      <a:lnTo>
                        <a:pt x="397" y="1128"/>
                      </a:lnTo>
                      <a:lnTo>
                        <a:pt x="395" y="1128"/>
                      </a:lnTo>
                      <a:lnTo>
                        <a:pt x="393" y="1128"/>
                      </a:lnTo>
                      <a:lnTo>
                        <a:pt x="393" y="1130"/>
                      </a:lnTo>
                      <a:lnTo>
                        <a:pt x="391" y="1130"/>
                      </a:lnTo>
                      <a:lnTo>
                        <a:pt x="391" y="1131"/>
                      </a:lnTo>
                      <a:lnTo>
                        <a:pt x="389" y="1131"/>
                      </a:lnTo>
                      <a:lnTo>
                        <a:pt x="389" y="1133"/>
                      </a:lnTo>
                      <a:lnTo>
                        <a:pt x="389" y="1135"/>
                      </a:lnTo>
                      <a:lnTo>
                        <a:pt x="389" y="1137"/>
                      </a:lnTo>
                      <a:lnTo>
                        <a:pt x="389" y="1139"/>
                      </a:lnTo>
                      <a:lnTo>
                        <a:pt x="391" y="1139"/>
                      </a:lnTo>
                      <a:lnTo>
                        <a:pt x="391" y="1141"/>
                      </a:lnTo>
                      <a:lnTo>
                        <a:pt x="393" y="1143"/>
                      </a:lnTo>
                      <a:lnTo>
                        <a:pt x="393" y="1145"/>
                      </a:lnTo>
                      <a:lnTo>
                        <a:pt x="395" y="1145"/>
                      </a:lnTo>
                      <a:lnTo>
                        <a:pt x="395" y="1146"/>
                      </a:lnTo>
                      <a:lnTo>
                        <a:pt x="395" y="1148"/>
                      </a:lnTo>
                      <a:lnTo>
                        <a:pt x="393" y="1148"/>
                      </a:lnTo>
                      <a:lnTo>
                        <a:pt x="393" y="1150"/>
                      </a:lnTo>
                      <a:lnTo>
                        <a:pt x="393" y="1148"/>
                      </a:lnTo>
                      <a:lnTo>
                        <a:pt x="391" y="1148"/>
                      </a:lnTo>
                      <a:lnTo>
                        <a:pt x="389" y="1148"/>
                      </a:lnTo>
                      <a:lnTo>
                        <a:pt x="387" y="1148"/>
                      </a:lnTo>
                      <a:lnTo>
                        <a:pt x="387" y="1150"/>
                      </a:lnTo>
                      <a:lnTo>
                        <a:pt x="386" y="1150"/>
                      </a:lnTo>
                      <a:lnTo>
                        <a:pt x="386" y="1152"/>
                      </a:lnTo>
                      <a:lnTo>
                        <a:pt x="384" y="1152"/>
                      </a:lnTo>
                      <a:lnTo>
                        <a:pt x="384" y="1154"/>
                      </a:lnTo>
                      <a:lnTo>
                        <a:pt x="384" y="1156"/>
                      </a:lnTo>
                      <a:lnTo>
                        <a:pt x="382" y="1156"/>
                      </a:lnTo>
                      <a:lnTo>
                        <a:pt x="380" y="1156"/>
                      </a:lnTo>
                      <a:lnTo>
                        <a:pt x="378" y="1156"/>
                      </a:lnTo>
                      <a:lnTo>
                        <a:pt x="376" y="1156"/>
                      </a:lnTo>
                      <a:lnTo>
                        <a:pt x="374" y="1156"/>
                      </a:lnTo>
                      <a:lnTo>
                        <a:pt x="372" y="1156"/>
                      </a:lnTo>
                      <a:lnTo>
                        <a:pt x="371" y="1156"/>
                      </a:lnTo>
                      <a:lnTo>
                        <a:pt x="369" y="1156"/>
                      </a:lnTo>
                      <a:lnTo>
                        <a:pt x="369" y="1158"/>
                      </a:lnTo>
                      <a:lnTo>
                        <a:pt x="367" y="1158"/>
                      </a:lnTo>
                      <a:lnTo>
                        <a:pt x="367" y="1160"/>
                      </a:lnTo>
                      <a:lnTo>
                        <a:pt x="365" y="1160"/>
                      </a:lnTo>
                      <a:lnTo>
                        <a:pt x="365" y="1162"/>
                      </a:lnTo>
                      <a:lnTo>
                        <a:pt x="365" y="1163"/>
                      </a:lnTo>
                      <a:lnTo>
                        <a:pt x="365" y="1165"/>
                      </a:lnTo>
                      <a:lnTo>
                        <a:pt x="365" y="1169"/>
                      </a:lnTo>
                      <a:lnTo>
                        <a:pt x="365" y="1171"/>
                      </a:lnTo>
                      <a:lnTo>
                        <a:pt x="363" y="1171"/>
                      </a:lnTo>
                      <a:lnTo>
                        <a:pt x="361" y="1173"/>
                      </a:lnTo>
                      <a:lnTo>
                        <a:pt x="359" y="1171"/>
                      </a:lnTo>
                      <a:lnTo>
                        <a:pt x="357" y="1171"/>
                      </a:lnTo>
                      <a:lnTo>
                        <a:pt x="355" y="1169"/>
                      </a:lnTo>
                      <a:lnTo>
                        <a:pt x="355" y="1171"/>
                      </a:lnTo>
                      <a:lnTo>
                        <a:pt x="354" y="1171"/>
                      </a:lnTo>
                      <a:lnTo>
                        <a:pt x="350" y="1171"/>
                      </a:lnTo>
                      <a:lnTo>
                        <a:pt x="348" y="1171"/>
                      </a:lnTo>
                      <a:lnTo>
                        <a:pt x="348" y="1169"/>
                      </a:lnTo>
                      <a:lnTo>
                        <a:pt x="346" y="1169"/>
                      </a:lnTo>
                      <a:lnTo>
                        <a:pt x="344" y="1169"/>
                      </a:lnTo>
                      <a:lnTo>
                        <a:pt x="342" y="1167"/>
                      </a:lnTo>
                      <a:lnTo>
                        <a:pt x="340" y="1165"/>
                      </a:lnTo>
                      <a:lnTo>
                        <a:pt x="340" y="1163"/>
                      </a:lnTo>
                      <a:lnTo>
                        <a:pt x="340" y="1162"/>
                      </a:lnTo>
                      <a:lnTo>
                        <a:pt x="342" y="1162"/>
                      </a:lnTo>
                      <a:lnTo>
                        <a:pt x="342" y="1160"/>
                      </a:lnTo>
                      <a:lnTo>
                        <a:pt x="340" y="1160"/>
                      </a:lnTo>
                      <a:lnTo>
                        <a:pt x="340" y="1158"/>
                      </a:lnTo>
                      <a:lnTo>
                        <a:pt x="339" y="1158"/>
                      </a:lnTo>
                      <a:lnTo>
                        <a:pt x="337" y="1160"/>
                      </a:lnTo>
                      <a:lnTo>
                        <a:pt x="335" y="1160"/>
                      </a:lnTo>
                      <a:lnTo>
                        <a:pt x="333" y="1162"/>
                      </a:lnTo>
                      <a:lnTo>
                        <a:pt x="331" y="1162"/>
                      </a:lnTo>
                      <a:lnTo>
                        <a:pt x="331" y="1163"/>
                      </a:lnTo>
                      <a:lnTo>
                        <a:pt x="329" y="1163"/>
                      </a:lnTo>
                      <a:lnTo>
                        <a:pt x="327" y="1163"/>
                      </a:lnTo>
                      <a:lnTo>
                        <a:pt x="325" y="1163"/>
                      </a:lnTo>
                      <a:lnTo>
                        <a:pt x="323" y="1163"/>
                      </a:lnTo>
                      <a:lnTo>
                        <a:pt x="323" y="1162"/>
                      </a:lnTo>
                      <a:lnTo>
                        <a:pt x="322" y="1162"/>
                      </a:lnTo>
                      <a:lnTo>
                        <a:pt x="322" y="1160"/>
                      </a:lnTo>
                      <a:lnTo>
                        <a:pt x="323" y="1160"/>
                      </a:lnTo>
                      <a:lnTo>
                        <a:pt x="323" y="1158"/>
                      </a:lnTo>
                      <a:lnTo>
                        <a:pt x="325" y="1156"/>
                      </a:lnTo>
                      <a:lnTo>
                        <a:pt x="325" y="1154"/>
                      </a:lnTo>
                      <a:lnTo>
                        <a:pt x="325" y="1152"/>
                      </a:lnTo>
                      <a:lnTo>
                        <a:pt x="323" y="1152"/>
                      </a:lnTo>
                      <a:lnTo>
                        <a:pt x="323" y="1150"/>
                      </a:lnTo>
                      <a:lnTo>
                        <a:pt x="322" y="1148"/>
                      </a:lnTo>
                      <a:lnTo>
                        <a:pt x="322" y="1146"/>
                      </a:lnTo>
                      <a:lnTo>
                        <a:pt x="322" y="1145"/>
                      </a:lnTo>
                      <a:lnTo>
                        <a:pt x="320" y="1145"/>
                      </a:lnTo>
                      <a:lnTo>
                        <a:pt x="320" y="1143"/>
                      </a:lnTo>
                      <a:lnTo>
                        <a:pt x="318" y="1143"/>
                      </a:lnTo>
                      <a:lnTo>
                        <a:pt x="316" y="1143"/>
                      </a:lnTo>
                      <a:lnTo>
                        <a:pt x="316" y="1145"/>
                      </a:lnTo>
                      <a:lnTo>
                        <a:pt x="314" y="1146"/>
                      </a:lnTo>
                      <a:lnTo>
                        <a:pt x="312" y="1148"/>
                      </a:lnTo>
                      <a:lnTo>
                        <a:pt x="312" y="1150"/>
                      </a:lnTo>
                      <a:lnTo>
                        <a:pt x="310" y="1150"/>
                      </a:lnTo>
                      <a:lnTo>
                        <a:pt x="308" y="1150"/>
                      </a:lnTo>
                      <a:lnTo>
                        <a:pt x="307" y="1150"/>
                      </a:lnTo>
                      <a:lnTo>
                        <a:pt x="305" y="1150"/>
                      </a:lnTo>
                      <a:lnTo>
                        <a:pt x="303" y="1150"/>
                      </a:lnTo>
                      <a:lnTo>
                        <a:pt x="301" y="1150"/>
                      </a:lnTo>
                      <a:lnTo>
                        <a:pt x="299" y="1150"/>
                      </a:lnTo>
                      <a:lnTo>
                        <a:pt x="297" y="1152"/>
                      </a:lnTo>
                      <a:lnTo>
                        <a:pt x="295" y="1152"/>
                      </a:lnTo>
                      <a:lnTo>
                        <a:pt x="295" y="1154"/>
                      </a:lnTo>
                      <a:lnTo>
                        <a:pt x="293" y="1154"/>
                      </a:lnTo>
                      <a:lnTo>
                        <a:pt x="292" y="1154"/>
                      </a:lnTo>
                      <a:lnTo>
                        <a:pt x="290" y="1154"/>
                      </a:lnTo>
                      <a:lnTo>
                        <a:pt x="290" y="1156"/>
                      </a:lnTo>
                      <a:lnTo>
                        <a:pt x="288" y="1156"/>
                      </a:lnTo>
                      <a:lnTo>
                        <a:pt x="286" y="1156"/>
                      </a:lnTo>
                      <a:lnTo>
                        <a:pt x="286" y="1154"/>
                      </a:lnTo>
                      <a:lnTo>
                        <a:pt x="286" y="1152"/>
                      </a:lnTo>
                      <a:lnTo>
                        <a:pt x="284" y="1152"/>
                      </a:lnTo>
                      <a:lnTo>
                        <a:pt x="284" y="1150"/>
                      </a:lnTo>
                      <a:lnTo>
                        <a:pt x="282" y="1150"/>
                      </a:lnTo>
                      <a:lnTo>
                        <a:pt x="282" y="1148"/>
                      </a:lnTo>
                      <a:lnTo>
                        <a:pt x="280" y="1146"/>
                      </a:lnTo>
                      <a:lnTo>
                        <a:pt x="278" y="1146"/>
                      </a:lnTo>
                      <a:lnTo>
                        <a:pt x="278" y="1145"/>
                      </a:lnTo>
                      <a:lnTo>
                        <a:pt x="276" y="1143"/>
                      </a:lnTo>
                      <a:lnTo>
                        <a:pt x="275" y="1143"/>
                      </a:lnTo>
                      <a:lnTo>
                        <a:pt x="273" y="1141"/>
                      </a:lnTo>
                      <a:lnTo>
                        <a:pt x="273" y="1139"/>
                      </a:lnTo>
                      <a:lnTo>
                        <a:pt x="271" y="1137"/>
                      </a:lnTo>
                      <a:lnTo>
                        <a:pt x="269" y="1137"/>
                      </a:lnTo>
                      <a:lnTo>
                        <a:pt x="267" y="1137"/>
                      </a:lnTo>
                      <a:lnTo>
                        <a:pt x="265" y="1137"/>
                      </a:lnTo>
                      <a:lnTo>
                        <a:pt x="265" y="1135"/>
                      </a:lnTo>
                      <a:lnTo>
                        <a:pt x="263" y="1133"/>
                      </a:lnTo>
                      <a:lnTo>
                        <a:pt x="261" y="1133"/>
                      </a:lnTo>
                      <a:lnTo>
                        <a:pt x="260" y="1133"/>
                      </a:lnTo>
                      <a:lnTo>
                        <a:pt x="258" y="1133"/>
                      </a:lnTo>
                      <a:lnTo>
                        <a:pt x="258" y="1135"/>
                      </a:lnTo>
                      <a:lnTo>
                        <a:pt x="256" y="1135"/>
                      </a:lnTo>
                      <a:lnTo>
                        <a:pt x="254" y="1135"/>
                      </a:lnTo>
                      <a:lnTo>
                        <a:pt x="254" y="1133"/>
                      </a:lnTo>
                      <a:lnTo>
                        <a:pt x="252" y="1133"/>
                      </a:lnTo>
                      <a:lnTo>
                        <a:pt x="250" y="1133"/>
                      </a:lnTo>
                      <a:lnTo>
                        <a:pt x="250" y="1135"/>
                      </a:lnTo>
                      <a:lnTo>
                        <a:pt x="250" y="1137"/>
                      </a:lnTo>
                      <a:lnTo>
                        <a:pt x="248" y="1137"/>
                      </a:lnTo>
                      <a:lnTo>
                        <a:pt x="248" y="1139"/>
                      </a:lnTo>
                      <a:lnTo>
                        <a:pt x="246" y="1139"/>
                      </a:lnTo>
                      <a:lnTo>
                        <a:pt x="244" y="1139"/>
                      </a:lnTo>
                      <a:lnTo>
                        <a:pt x="243" y="1137"/>
                      </a:lnTo>
                      <a:lnTo>
                        <a:pt x="241" y="1135"/>
                      </a:lnTo>
                      <a:lnTo>
                        <a:pt x="239" y="1133"/>
                      </a:lnTo>
                      <a:lnTo>
                        <a:pt x="239" y="1131"/>
                      </a:lnTo>
                      <a:lnTo>
                        <a:pt x="239" y="1130"/>
                      </a:lnTo>
                      <a:lnTo>
                        <a:pt x="237" y="1130"/>
                      </a:lnTo>
                      <a:lnTo>
                        <a:pt x="237" y="1128"/>
                      </a:lnTo>
                      <a:lnTo>
                        <a:pt x="235" y="1128"/>
                      </a:lnTo>
                      <a:lnTo>
                        <a:pt x="235" y="1126"/>
                      </a:lnTo>
                      <a:lnTo>
                        <a:pt x="233" y="1126"/>
                      </a:lnTo>
                      <a:lnTo>
                        <a:pt x="233" y="1124"/>
                      </a:lnTo>
                      <a:lnTo>
                        <a:pt x="231" y="1122"/>
                      </a:lnTo>
                      <a:lnTo>
                        <a:pt x="229" y="1120"/>
                      </a:lnTo>
                      <a:lnTo>
                        <a:pt x="228" y="1120"/>
                      </a:lnTo>
                      <a:lnTo>
                        <a:pt x="228" y="1118"/>
                      </a:lnTo>
                      <a:lnTo>
                        <a:pt x="228" y="1116"/>
                      </a:lnTo>
                      <a:lnTo>
                        <a:pt x="226" y="1116"/>
                      </a:lnTo>
                      <a:lnTo>
                        <a:pt x="224" y="1116"/>
                      </a:lnTo>
                      <a:lnTo>
                        <a:pt x="222" y="1118"/>
                      </a:lnTo>
                      <a:lnTo>
                        <a:pt x="220" y="1118"/>
                      </a:lnTo>
                      <a:lnTo>
                        <a:pt x="218" y="1118"/>
                      </a:lnTo>
                      <a:lnTo>
                        <a:pt x="218" y="1116"/>
                      </a:lnTo>
                      <a:lnTo>
                        <a:pt x="216" y="1116"/>
                      </a:lnTo>
                      <a:lnTo>
                        <a:pt x="214" y="1116"/>
                      </a:lnTo>
                      <a:lnTo>
                        <a:pt x="214" y="1114"/>
                      </a:lnTo>
                      <a:lnTo>
                        <a:pt x="214" y="1113"/>
                      </a:lnTo>
                      <a:lnTo>
                        <a:pt x="213" y="1111"/>
                      </a:lnTo>
                      <a:lnTo>
                        <a:pt x="211" y="1111"/>
                      </a:lnTo>
                      <a:lnTo>
                        <a:pt x="211" y="1109"/>
                      </a:lnTo>
                      <a:lnTo>
                        <a:pt x="209" y="1109"/>
                      </a:lnTo>
                      <a:lnTo>
                        <a:pt x="209" y="1107"/>
                      </a:lnTo>
                      <a:lnTo>
                        <a:pt x="207" y="1105"/>
                      </a:lnTo>
                      <a:lnTo>
                        <a:pt x="205" y="1105"/>
                      </a:lnTo>
                      <a:lnTo>
                        <a:pt x="205" y="1103"/>
                      </a:lnTo>
                      <a:lnTo>
                        <a:pt x="205" y="1101"/>
                      </a:lnTo>
                      <a:lnTo>
                        <a:pt x="207" y="1101"/>
                      </a:lnTo>
                      <a:lnTo>
                        <a:pt x="207" y="1099"/>
                      </a:lnTo>
                      <a:lnTo>
                        <a:pt x="205" y="1098"/>
                      </a:lnTo>
                      <a:lnTo>
                        <a:pt x="205" y="1096"/>
                      </a:lnTo>
                      <a:lnTo>
                        <a:pt x="203" y="1096"/>
                      </a:lnTo>
                      <a:lnTo>
                        <a:pt x="203" y="1094"/>
                      </a:lnTo>
                      <a:lnTo>
                        <a:pt x="201" y="1094"/>
                      </a:lnTo>
                      <a:lnTo>
                        <a:pt x="199" y="1094"/>
                      </a:lnTo>
                      <a:lnTo>
                        <a:pt x="199" y="1092"/>
                      </a:lnTo>
                      <a:lnTo>
                        <a:pt x="197" y="1092"/>
                      </a:lnTo>
                      <a:lnTo>
                        <a:pt x="196" y="1090"/>
                      </a:lnTo>
                      <a:lnTo>
                        <a:pt x="196" y="1088"/>
                      </a:lnTo>
                      <a:lnTo>
                        <a:pt x="194" y="1086"/>
                      </a:lnTo>
                      <a:lnTo>
                        <a:pt x="194" y="1084"/>
                      </a:lnTo>
                      <a:lnTo>
                        <a:pt x="192" y="1084"/>
                      </a:lnTo>
                      <a:lnTo>
                        <a:pt x="192" y="1082"/>
                      </a:lnTo>
                      <a:lnTo>
                        <a:pt x="192" y="1081"/>
                      </a:lnTo>
                      <a:lnTo>
                        <a:pt x="192" y="1079"/>
                      </a:lnTo>
                      <a:lnTo>
                        <a:pt x="190" y="1079"/>
                      </a:lnTo>
                      <a:lnTo>
                        <a:pt x="190" y="1077"/>
                      </a:lnTo>
                      <a:lnTo>
                        <a:pt x="188" y="1077"/>
                      </a:lnTo>
                      <a:lnTo>
                        <a:pt x="186" y="1077"/>
                      </a:lnTo>
                      <a:lnTo>
                        <a:pt x="184" y="1075"/>
                      </a:lnTo>
                      <a:lnTo>
                        <a:pt x="182" y="1073"/>
                      </a:lnTo>
                      <a:lnTo>
                        <a:pt x="181" y="1073"/>
                      </a:lnTo>
                      <a:lnTo>
                        <a:pt x="179" y="1073"/>
                      </a:lnTo>
                      <a:lnTo>
                        <a:pt x="179" y="1075"/>
                      </a:lnTo>
                      <a:lnTo>
                        <a:pt x="177" y="1075"/>
                      </a:lnTo>
                      <a:lnTo>
                        <a:pt x="175" y="1075"/>
                      </a:lnTo>
                      <a:lnTo>
                        <a:pt x="177" y="1075"/>
                      </a:lnTo>
                      <a:lnTo>
                        <a:pt x="177" y="1073"/>
                      </a:lnTo>
                      <a:lnTo>
                        <a:pt x="175" y="1071"/>
                      </a:lnTo>
                      <a:lnTo>
                        <a:pt x="175" y="1069"/>
                      </a:lnTo>
                      <a:lnTo>
                        <a:pt x="177" y="1069"/>
                      </a:lnTo>
                      <a:lnTo>
                        <a:pt x="177" y="1067"/>
                      </a:lnTo>
                      <a:lnTo>
                        <a:pt x="179" y="1066"/>
                      </a:lnTo>
                      <a:lnTo>
                        <a:pt x="179" y="1064"/>
                      </a:lnTo>
                      <a:lnTo>
                        <a:pt x="179" y="1062"/>
                      </a:lnTo>
                      <a:lnTo>
                        <a:pt x="179" y="1060"/>
                      </a:lnTo>
                      <a:lnTo>
                        <a:pt x="177" y="1060"/>
                      </a:lnTo>
                      <a:lnTo>
                        <a:pt x="177" y="1058"/>
                      </a:lnTo>
                      <a:lnTo>
                        <a:pt x="177" y="1056"/>
                      </a:lnTo>
                      <a:lnTo>
                        <a:pt x="175" y="1054"/>
                      </a:lnTo>
                      <a:lnTo>
                        <a:pt x="175" y="1052"/>
                      </a:lnTo>
                      <a:lnTo>
                        <a:pt x="173" y="1052"/>
                      </a:lnTo>
                      <a:lnTo>
                        <a:pt x="171" y="1052"/>
                      </a:lnTo>
                      <a:lnTo>
                        <a:pt x="169" y="1054"/>
                      </a:lnTo>
                      <a:lnTo>
                        <a:pt x="167" y="1054"/>
                      </a:lnTo>
                      <a:lnTo>
                        <a:pt x="165" y="1054"/>
                      </a:lnTo>
                      <a:lnTo>
                        <a:pt x="164" y="1054"/>
                      </a:lnTo>
                      <a:lnTo>
                        <a:pt x="162" y="1054"/>
                      </a:lnTo>
                      <a:lnTo>
                        <a:pt x="162" y="1052"/>
                      </a:lnTo>
                      <a:lnTo>
                        <a:pt x="162" y="1050"/>
                      </a:lnTo>
                      <a:lnTo>
                        <a:pt x="160" y="1049"/>
                      </a:lnTo>
                      <a:lnTo>
                        <a:pt x="158" y="1049"/>
                      </a:lnTo>
                      <a:lnTo>
                        <a:pt x="156" y="1047"/>
                      </a:lnTo>
                      <a:lnTo>
                        <a:pt x="156" y="1045"/>
                      </a:lnTo>
                      <a:lnTo>
                        <a:pt x="154" y="1045"/>
                      </a:lnTo>
                      <a:lnTo>
                        <a:pt x="154" y="1043"/>
                      </a:lnTo>
                      <a:lnTo>
                        <a:pt x="152" y="1043"/>
                      </a:lnTo>
                      <a:lnTo>
                        <a:pt x="152" y="1041"/>
                      </a:lnTo>
                      <a:lnTo>
                        <a:pt x="154" y="1039"/>
                      </a:lnTo>
                      <a:lnTo>
                        <a:pt x="154" y="1037"/>
                      </a:lnTo>
                      <a:lnTo>
                        <a:pt x="154" y="1035"/>
                      </a:lnTo>
                      <a:lnTo>
                        <a:pt x="152" y="1035"/>
                      </a:lnTo>
                      <a:lnTo>
                        <a:pt x="152" y="1034"/>
                      </a:lnTo>
                      <a:lnTo>
                        <a:pt x="150" y="1034"/>
                      </a:lnTo>
                      <a:lnTo>
                        <a:pt x="149" y="1032"/>
                      </a:lnTo>
                      <a:lnTo>
                        <a:pt x="149" y="1030"/>
                      </a:lnTo>
                      <a:lnTo>
                        <a:pt x="149" y="1028"/>
                      </a:lnTo>
                      <a:lnTo>
                        <a:pt x="147" y="1028"/>
                      </a:lnTo>
                      <a:lnTo>
                        <a:pt x="145" y="1028"/>
                      </a:lnTo>
                      <a:lnTo>
                        <a:pt x="145" y="1030"/>
                      </a:lnTo>
                      <a:lnTo>
                        <a:pt x="143" y="1030"/>
                      </a:lnTo>
                      <a:lnTo>
                        <a:pt x="141" y="1030"/>
                      </a:lnTo>
                      <a:lnTo>
                        <a:pt x="141" y="1028"/>
                      </a:lnTo>
                      <a:lnTo>
                        <a:pt x="139" y="1026"/>
                      </a:lnTo>
                      <a:lnTo>
                        <a:pt x="139" y="1024"/>
                      </a:lnTo>
                      <a:lnTo>
                        <a:pt x="139" y="1022"/>
                      </a:lnTo>
                      <a:lnTo>
                        <a:pt x="137" y="1020"/>
                      </a:lnTo>
                      <a:lnTo>
                        <a:pt x="135" y="1020"/>
                      </a:lnTo>
                      <a:lnTo>
                        <a:pt x="135" y="1018"/>
                      </a:lnTo>
                      <a:lnTo>
                        <a:pt x="135" y="1017"/>
                      </a:lnTo>
                      <a:lnTo>
                        <a:pt x="135" y="1015"/>
                      </a:lnTo>
                      <a:lnTo>
                        <a:pt x="135" y="1013"/>
                      </a:lnTo>
                      <a:lnTo>
                        <a:pt x="135" y="1011"/>
                      </a:lnTo>
                      <a:lnTo>
                        <a:pt x="134" y="1009"/>
                      </a:lnTo>
                      <a:lnTo>
                        <a:pt x="134" y="1007"/>
                      </a:lnTo>
                      <a:lnTo>
                        <a:pt x="132" y="1007"/>
                      </a:lnTo>
                      <a:lnTo>
                        <a:pt x="132" y="1005"/>
                      </a:lnTo>
                      <a:lnTo>
                        <a:pt x="130" y="1005"/>
                      </a:lnTo>
                      <a:lnTo>
                        <a:pt x="128" y="1005"/>
                      </a:lnTo>
                      <a:lnTo>
                        <a:pt x="126" y="1005"/>
                      </a:lnTo>
                      <a:lnTo>
                        <a:pt x="126" y="1003"/>
                      </a:lnTo>
                      <a:lnTo>
                        <a:pt x="124" y="1003"/>
                      </a:lnTo>
                      <a:lnTo>
                        <a:pt x="124" y="1002"/>
                      </a:lnTo>
                      <a:lnTo>
                        <a:pt x="124" y="1000"/>
                      </a:lnTo>
                      <a:lnTo>
                        <a:pt x="126" y="998"/>
                      </a:lnTo>
                      <a:lnTo>
                        <a:pt x="126" y="996"/>
                      </a:lnTo>
                      <a:lnTo>
                        <a:pt x="124" y="996"/>
                      </a:lnTo>
                      <a:lnTo>
                        <a:pt x="122" y="994"/>
                      </a:lnTo>
                      <a:lnTo>
                        <a:pt x="122" y="992"/>
                      </a:lnTo>
                      <a:lnTo>
                        <a:pt x="120" y="992"/>
                      </a:lnTo>
                      <a:lnTo>
                        <a:pt x="118" y="992"/>
                      </a:lnTo>
                      <a:lnTo>
                        <a:pt x="118" y="990"/>
                      </a:lnTo>
                      <a:lnTo>
                        <a:pt x="118" y="988"/>
                      </a:lnTo>
                      <a:lnTo>
                        <a:pt x="117" y="986"/>
                      </a:lnTo>
                      <a:lnTo>
                        <a:pt x="117" y="985"/>
                      </a:lnTo>
                      <a:lnTo>
                        <a:pt x="115" y="985"/>
                      </a:lnTo>
                      <a:lnTo>
                        <a:pt x="115" y="983"/>
                      </a:lnTo>
                      <a:lnTo>
                        <a:pt x="115" y="981"/>
                      </a:lnTo>
                      <a:lnTo>
                        <a:pt x="115" y="979"/>
                      </a:lnTo>
                      <a:lnTo>
                        <a:pt x="115" y="977"/>
                      </a:lnTo>
                      <a:lnTo>
                        <a:pt x="117" y="977"/>
                      </a:lnTo>
                      <a:lnTo>
                        <a:pt x="117" y="975"/>
                      </a:lnTo>
                      <a:lnTo>
                        <a:pt x="117" y="973"/>
                      </a:lnTo>
                      <a:lnTo>
                        <a:pt x="117" y="971"/>
                      </a:lnTo>
                      <a:lnTo>
                        <a:pt x="115" y="969"/>
                      </a:lnTo>
                      <a:lnTo>
                        <a:pt x="115" y="968"/>
                      </a:lnTo>
                      <a:lnTo>
                        <a:pt x="113" y="968"/>
                      </a:lnTo>
                      <a:lnTo>
                        <a:pt x="111" y="968"/>
                      </a:lnTo>
                      <a:lnTo>
                        <a:pt x="111" y="966"/>
                      </a:lnTo>
                      <a:lnTo>
                        <a:pt x="109" y="966"/>
                      </a:lnTo>
                      <a:lnTo>
                        <a:pt x="107" y="966"/>
                      </a:lnTo>
                      <a:lnTo>
                        <a:pt x="105" y="966"/>
                      </a:lnTo>
                      <a:lnTo>
                        <a:pt x="103" y="966"/>
                      </a:lnTo>
                      <a:lnTo>
                        <a:pt x="102" y="966"/>
                      </a:lnTo>
                      <a:lnTo>
                        <a:pt x="100" y="966"/>
                      </a:lnTo>
                      <a:lnTo>
                        <a:pt x="98" y="966"/>
                      </a:lnTo>
                      <a:lnTo>
                        <a:pt x="96" y="966"/>
                      </a:lnTo>
                      <a:lnTo>
                        <a:pt x="94" y="966"/>
                      </a:lnTo>
                      <a:lnTo>
                        <a:pt x="92" y="964"/>
                      </a:lnTo>
                      <a:lnTo>
                        <a:pt x="90" y="964"/>
                      </a:lnTo>
                      <a:lnTo>
                        <a:pt x="88" y="962"/>
                      </a:lnTo>
                      <a:lnTo>
                        <a:pt x="88" y="964"/>
                      </a:lnTo>
                      <a:lnTo>
                        <a:pt x="88" y="962"/>
                      </a:lnTo>
                      <a:lnTo>
                        <a:pt x="86" y="962"/>
                      </a:lnTo>
                      <a:lnTo>
                        <a:pt x="85" y="962"/>
                      </a:lnTo>
                      <a:lnTo>
                        <a:pt x="83" y="960"/>
                      </a:lnTo>
                      <a:lnTo>
                        <a:pt x="83" y="958"/>
                      </a:lnTo>
                      <a:lnTo>
                        <a:pt x="83" y="956"/>
                      </a:lnTo>
                      <a:lnTo>
                        <a:pt x="81" y="956"/>
                      </a:lnTo>
                      <a:lnTo>
                        <a:pt x="81" y="954"/>
                      </a:lnTo>
                      <a:lnTo>
                        <a:pt x="81" y="953"/>
                      </a:lnTo>
                      <a:lnTo>
                        <a:pt x="81" y="951"/>
                      </a:lnTo>
                      <a:lnTo>
                        <a:pt x="81" y="949"/>
                      </a:lnTo>
                      <a:lnTo>
                        <a:pt x="81" y="947"/>
                      </a:lnTo>
                      <a:lnTo>
                        <a:pt x="81" y="945"/>
                      </a:lnTo>
                      <a:lnTo>
                        <a:pt x="81" y="943"/>
                      </a:lnTo>
                      <a:lnTo>
                        <a:pt x="81" y="941"/>
                      </a:lnTo>
                      <a:lnTo>
                        <a:pt x="81" y="939"/>
                      </a:lnTo>
                      <a:lnTo>
                        <a:pt x="79" y="937"/>
                      </a:lnTo>
                      <a:lnTo>
                        <a:pt x="77" y="937"/>
                      </a:lnTo>
                      <a:lnTo>
                        <a:pt x="77" y="939"/>
                      </a:lnTo>
                      <a:lnTo>
                        <a:pt x="77" y="941"/>
                      </a:lnTo>
                      <a:lnTo>
                        <a:pt x="75" y="941"/>
                      </a:lnTo>
                      <a:lnTo>
                        <a:pt x="73" y="941"/>
                      </a:lnTo>
                      <a:lnTo>
                        <a:pt x="71" y="941"/>
                      </a:lnTo>
                      <a:lnTo>
                        <a:pt x="70" y="941"/>
                      </a:lnTo>
                      <a:lnTo>
                        <a:pt x="68" y="941"/>
                      </a:lnTo>
                      <a:lnTo>
                        <a:pt x="66" y="941"/>
                      </a:lnTo>
                      <a:lnTo>
                        <a:pt x="64" y="941"/>
                      </a:lnTo>
                      <a:lnTo>
                        <a:pt x="64" y="939"/>
                      </a:lnTo>
                      <a:lnTo>
                        <a:pt x="62" y="939"/>
                      </a:lnTo>
                      <a:lnTo>
                        <a:pt x="60" y="937"/>
                      </a:lnTo>
                      <a:lnTo>
                        <a:pt x="58" y="936"/>
                      </a:lnTo>
                      <a:lnTo>
                        <a:pt x="56" y="934"/>
                      </a:lnTo>
                      <a:lnTo>
                        <a:pt x="56" y="932"/>
                      </a:lnTo>
                      <a:lnTo>
                        <a:pt x="55" y="932"/>
                      </a:lnTo>
                      <a:lnTo>
                        <a:pt x="55" y="930"/>
                      </a:lnTo>
                      <a:lnTo>
                        <a:pt x="53" y="930"/>
                      </a:lnTo>
                      <a:lnTo>
                        <a:pt x="53" y="928"/>
                      </a:lnTo>
                      <a:lnTo>
                        <a:pt x="53" y="926"/>
                      </a:lnTo>
                      <a:lnTo>
                        <a:pt x="53" y="924"/>
                      </a:lnTo>
                      <a:lnTo>
                        <a:pt x="51" y="924"/>
                      </a:lnTo>
                      <a:lnTo>
                        <a:pt x="51" y="922"/>
                      </a:lnTo>
                      <a:lnTo>
                        <a:pt x="49" y="922"/>
                      </a:lnTo>
                      <a:lnTo>
                        <a:pt x="47" y="922"/>
                      </a:lnTo>
                      <a:lnTo>
                        <a:pt x="45" y="922"/>
                      </a:lnTo>
                      <a:lnTo>
                        <a:pt x="43" y="922"/>
                      </a:lnTo>
                      <a:lnTo>
                        <a:pt x="41" y="922"/>
                      </a:lnTo>
                      <a:lnTo>
                        <a:pt x="41" y="921"/>
                      </a:lnTo>
                      <a:lnTo>
                        <a:pt x="39" y="921"/>
                      </a:lnTo>
                      <a:lnTo>
                        <a:pt x="39" y="919"/>
                      </a:lnTo>
                      <a:lnTo>
                        <a:pt x="39" y="917"/>
                      </a:lnTo>
                      <a:lnTo>
                        <a:pt x="39" y="915"/>
                      </a:lnTo>
                      <a:lnTo>
                        <a:pt x="38" y="915"/>
                      </a:lnTo>
                      <a:lnTo>
                        <a:pt x="38" y="913"/>
                      </a:lnTo>
                      <a:lnTo>
                        <a:pt x="36" y="913"/>
                      </a:lnTo>
                      <a:lnTo>
                        <a:pt x="34" y="913"/>
                      </a:lnTo>
                      <a:lnTo>
                        <a:pt x="32" y="913"/>
                      </a:lnTo>
                      <a:lnTo>
                        <a:pt x="30" y="913"/>
                      </a:lnTo>
                      <a:lnTo>
                        <a:pt x="28" y="913"/>
                      </a:lnTo>
                      <a:lnTo>
                        <a:pt x="26" y="913"/>
                      </a:lnTo>
                      <a:lnTo>
                        <a:pt x="24" y="913"/>
                      </a:lnTo>
                      <a:lnTo>
                        <a:pt x="23" y="913"/>
                      </a:lnTo>
                      <a:lnTo>
                        <a:pt x="23" y="911"/>
                      </a:lnTo>
                      <a:lnTo>
                        <a:pt x="21" y="911"/>
                      </a:lnTo>
                      <a:lnTo>
                        <a:pt x="21" y="909"/>
                      </a:lnTo>
                      <a:lnTo>
                        <a:pt x="19" y="909"/>
                      </a:lnTo>
                      <a:lnTo>
                        <a:pt x="17" y="907"/>
                      </a:lnTo>
                      <a:lnTo>
                        <a:pt x="15" y="905"/>
                      </a:lnTo>
                      <a:lnTo>
                        <a:pt x="15" y="904"/>
                      </a:lnTo>
                      <a:lnTo>
                        <a:pt x="15" y="902"/>
                      </a:lnTo>
                      <a:lnTo>
                        <a:pt x="13" y="902"/>
                      </a:lnTo>
                      <a:lnTo>
                        <a:pt x="13" y="900"/>
                      </a:lnTo>
                      <a:lnTo>
                        <a:pt x="11" y="900"/>
                      </a:lnTo>
                      <a:lnTo>
                        <a:pt x="11" y="898"/>
                      </a:lnTo>
                      <a:lnTo>
                        <a:pt x="9" y="896"/>
                      </a:lnTo>
                      <a:lnTo>
                        <a:pt x="9" y="894"/>
                      </a:lnTo>
                      <a:lnTo>
                        <a:pt x="9" y="892"/>
                      </a:lnTo>
                      <a:lnTo>
                        <a:pt x="7" y="892"/>
                      </a:lnTo>
                      <a:lnTo>
                        <a:pt x="7" y="890"/>
                      </a:lnTo>
                      <a:lnTo>
                        <a:pt x="7" y="889"/>
                      </a:lnTo>
                      <a:lnTo>
                        <a:pt x="7" y="887"/>
                      </a:lnTo>
                      <a:lnTo>
                        <a:pt x="6" y="887"/>
                      </a:lnTo>
                      <a:lnTo>
                        <a:pt x="6" y="885"/>
                      </a:lnTo>
                      <a:lnTo>
                        <a:pt x="4" y="885"/>
                      </a:lnTo>
                      <a:lnTo>
                        <a:pt x="2" y="885"/>
                      </a:lnTo>
                      <a:lnTo>
                        <a:pt x="2" y="883"/>
                      </a:lnTo>
                      <a:lnTo>
                        <a:pt x="0" y="883"/>
                      </a:lnTo>
                      <a:lnTo>
                        <a:pt x="0" y="881"/>
                      </a:lnTo>
                      <a:lnTo>
                        <a:pt x="0" y="879"/>
                      </a:lnTo>
                      <a:lnTo>
                        <a:pt x="0" y="877"/>
                      </a:lnTo>
                      <a:lnTo>
                        <a:pt x="0" y="875"/>
                      </a:lnTo>
                      <a:lnTo>
                        <a:pt x="0" y="873"/>
                      </a:lnTo>
                      <a:lnTo>
                        <a:pt x="2" y="870"/>
                      </a:lnTo>
                      <a:lnTo>
                        <a:pt x="2" y="868"/>
                      </a:lnTo>
                      <a:lnTo>
                        <a:pt x="0" y="868"/>
                      </a:lnTo>
                      <a:lnTo>
                        <a:pt x="0" y="866"/>
                      </a:lnTo>
                      <a:lnTo>
                        <a:pt x="2" y="862"/>
                      </a:lnTo>
                      <a:lnTo>
                        <a:pt x="17" y="830"/>
                      </a:lnTo>
                      <a:lnTo>
                        <a:pt x="34" y="796"/>
                      </a:lnTo>
                      <a:lnTo>
                        <a:pt x="47" y="766"/>
                      </a:lnTo>
                      <a:lnTo>
                        <a:pt x="62" y="736"/>
                      </a:lnTo>
                      <a:lnTo>
                        <a:pt x="66" y="729"/>
                      </a:lnTo>
                      <a:lnTo>
                        <a:pt x="79" y="700"/>
                      </a:lnTo>
                      <a:lnTo>
                        <a:pt x="81" y="697"/>
                      </a:lnTo>
                      <a:lnTo>
                        <a:pt x="88" y="681"/>
                      </a:lnTo>
                      <a:lnTo>
                        <a:pt x="103" y="649"/>
                      </a:lnTo>
                      <a:lnTo>
                        <a:pt x="113" y="631"/>
                      </a:lnTo>
                      <a:lnTo>
                        <a:pt x="117" y="625"/>
                      </a:lnTo>
                      <a:lnTo>
                        <a:pt x="118" y="619"/>
                      </a:lnTo>
                      <a:lnTo>
                        <a:pt x="120" y="616"/>
                      </a:lnTo>
                      <a:lnTo>
                        <a:pt x="130" y="595"/>
                      </a:lnTo>
                      <a:lnTo>
                        <a:pt x="141" y="572"/>
                      </a:lnTo>
                      <a:lnTo>
                        <a:pt x="122" y="565"/>
                      </a:lnTo>
                      <a:lnTo>
                        <a:pt x="132" y="533"/>
                      </a:lnTo>
                      <a:lnTo>
                        <a:pt x="128" y="529"/>
                      </a:lnTo>
                      <a:lnTo>
                        <a:pt x="134" y="521"/>
                      </a:lnTo>
                      <a:lnTo>
                        <a:pt x="135" y="518"/>
                      </a:lnTo>
                      <a:lnTo>
                        <a:pt x="137" y="518"/>
                      </a:lnTo>
                      <a:lnTo>
                        <a:pt x="141" y="508"/>
                      </a:lnTo>
                      <a:lnTo>
                        <a:pt x="143" y="504"/>
                      </a:lnTo>
                      <a:lnTo>
                        <a:pt x="150" y="478"/>
                      </a:lnTo>
                      <a:lnTo>
                        <a:pt x="139" y="472"/>
                      </a:lnTo>
                      <a:lnTo>
                        <a:pt x="134" y="461"/>
                      </a:lnTo>
                      <a:lnTo>
                        <a:pt x="143" y="463"/>
                      </a:lnTo>
                      <a:lnTo>
                        <a:pt x="147" y="456"/>
                      </a:lnTo>
                      <a:lnTo>
                        <a:pt x="158" y="456"/>
                      </a:lnTo>
                      <a:lnTo>
                        <a:pt x="165" y="433"/>
                      </a:lnTo>
                      <a:lnTo>
                        <a:pt x="167" y="425"/>
                      </a:lnTo>
                      <a:lnTo>
                        <a:pt x="173" y="405"/>
                      </a:lnTo>
                      <a:lnTo>
                        <a:pt x="175" y="405"/>
                      </a:lnTo>
                      <a:lnTo>
                        <a:pt x="175" y="403"/>
                      </a:lnTo>
                      <a:lnTo>
                        <a:pt x="177" y="403"/>
                      </a:lnTo>
                      <a:lnTo>
                        <a:pt x="179" y="403"/>
                      </a:lnTo>
                      <a:lnTo>
                        <a:pt x="181" y="403"/>
                      </a:lnTo>
                      <a:lnTo>
                        <a:pt x="181" y="405"/>
                      </a:lnTo>
                      <a:lnTo>
                        <a:pt x="182" y="403"/>
                      </a:lnTo>
                      <a:lnTo>
                        <a:pt x="184" y="403"/>
                      </a:lnTo>
                      <a:lnTo>
                        <a:pt x="186" y="403"/>
                      </a:lnTo>
                      <a:lnTo>
                        <a:pt x="186" y="401"/>
                      </a:lnTo>
                      <a:lnTo>
                        <a:pt x="186" y="399"/>
                      </a:lnTo>
                      <a:lnTo>
                        <a:pt x="186" y="397"/>
                      </a:lnTo>
                      <a:lnTo>
                        <a:pt x="188" y="395"/>
                      </a:lnTo>
                      <a:lnTo>
                        <a:pt x="188" y="393"/>
                      </a:lnTo>
                      <a:lnTo>
                        <a:pt x="190" y="393"/>
                      </a:lnTo>
                      <a:lnTo>
                        <a:pt x="190" y="392"/>
                      </a:lnTo>
                      <a:lnTo>
                        <a:pt x="192" y="390"/>
                      </a:lnTo>
                      <a:lnTo>
                        <a:pt x="194" y="388"/>
                      </a:lnTo>
                      <a:lnTo>
                        <a:pt x="194" y="386"/>
                      </a:lnTo>
                      <a:lnTo>
                        <a:pt x="194" y="384"/>
                      </a:lnTo>
                      <a:lnTo>
                        <a:pt x="192" y="384"/>
                      </a:lnTo>
                      <a:lnTo>
                        <a:pt x="192" y="382"/>
                      </a:lnTo>
                      <a:lnTo>
                        <a:pt x="190" y="382"/>
                      </a:lnTo>
                      <a:lnTo>
                        <a:pt x="190" y="380"/>
                      </a:lnTo>
                      <a:lnTo>
                        <a:pt x="190" y="378"/>
                      </a:lnTo>
                      <a:lnTo>
                        <a:pt x="190" y="376"/>
                      </a:lnTo>
                      <a:lnTo>
                        <a:pt x="192" y="376"/>
                      </a:lnTo>
                      <a:lnTo>
                        <a:pt x="194" y="376"/>
                      </a:lnTo>
                      <a:lnTo>
                        <a:pt x="194" y="375"/>
                      </a:lnTo>
                      <a:lnTo>
                        <a:pt x="196" y="375"/>
                      </a:lnTo>
                      <a:lnTo>
                        <a:pt x="196" y="373"/>
                      </a:lnTo>
                      <a:lnTo>
                        <a:pt x="197" y="371"/>
                      </a:lnTo>
                      <a:lnTo>
                        <a:pt x="199" y="369"/>
                      </a:lnTo>
                      <a:lnTo>
                        <a:pt x="199" y="367"/>
                      </a:lnTo>
                      <a:lnTo>
                        <a:pt x="199" y="365"/>
                      </a:lnTo>
                      <a:lnTo>
                        <a:pt x="199" y="363"/>
                      </a:lnTo>
                      <a:lnTo>
                        <a:pt x="199" y="361"/>
                      </a:lnTo>
                      <a:lnTo>
                        <a:pt x="201" y="361"/>
                      </a:lnTo>
                      <a:lnTo>
                        <a:pt x="203" y="361"/>
                      </a:lnTo>
                      <a:lnTo>
                        <a:pt x="205" y="363"/>
                      </a:lnTo>
                      <a:lnTo>
                        <a:pt x="207" y="363"/>
                      </a:lnTo>
                      <a:lnTo>
                        <a:pt x="207" y="361"/>
                      </a:lnTo>
                      <a:lnTo>
                        <a:pt x="209" y="361"/>
                      </a:lnTo>
                      <a:lnTo>
                        <a:pt x="209" y="360"/>
                      </a:lnTo>
                      <a:lnTo>
                        <a:pt x="211" y="360"/>
                      </a:lnTo>
                      <a:lnTo>
                        <a:pt x="213" y="358"/>
                      </a:lnTo>
                      <a:lnTo>
                        <a:pt x="214" y="358"/>
                      </a:lnTo>
                      <a:lnTo>
                        <a:pt x="214" y="356"/>
                      </a:lnTo>
                      <a:lnTo>
                        <a:pt x="214" y="354"/>
                      </a:lnTo>
                      <a:lnTo>
                        <a:pt x="216" y="352"/>
                      </a:lnTo>
                      <a:lnTo>
                        <a:pt x="218" y="350"/>
                      </a:lnTo>
                      <a:lnTo>
                        <a:pt x="220" y="350"/>
                      </a:lnTo>
                      <a:lnTo>
                        <a:pt x="222" y="348"/>
                      </a:lnTo>
                      <a:lnTo>
                        <a:pt x="224" y="348"/>
                      </a:lnTo>
                      <a:lnTo>
                        <a:pt x="226" y="348"/>
                      </a:lnTo>
                      <a:lnTo>
                        <a:pt x="226" y="346"/>
                      </a:lnTo>
                      <a:lnTo>
                        <a:pt x="228" y="346"/>
                      </a:lnTo>
                      <a:lnTo>
                        <a:pt x="229" y="344"/>
                      </a:lnTo>
                      <a:lnTo>
                        <a:pt x="231" y="344"/>
                      </a:lnTo>
                      <a:lnTo>
                        <a:pt x="231" y="343"/>
                      </a:lnTo>
                      <a:lnTo>
                        <a:pt x="231" y="341"/>
                      </a:lnTo>
                      <a:lnTo>
                        <a:pt x="229" y="341"/>
                      </a:lnTo>
                      <a:lnTo>
                        <a:pt x="229" y="339"/>
                      </a:lnTo>
                      <a:lnTo>
                        <a:pt x="228" y="339"/>
                      </a:lnTo>
                      <a:lnTo>
                        <a:pt x="228" y="337"/>
                      </a:lnTo>
                      <a:lnTo>
                        <a:pt x="228" y="335"/>
                      </a:lnTo>
                      <a:lnTo>
                        <a:pt x="229" y="333"/>
                      </a:lnTo>
                      <a:lnTo>
                        <a:pt x="231" y="333"/>
                      </a:lnTo>
                      <a:lnTo>
                        <a:pt x="233" y="331"/>
                      </a:lnTo>
                      <a:lnTo>
                        <a:pt x="233" y="329"/>
                      </a:lnTo>
                      <a:lnTo>
                        <a:pt x="235" y="328"/>
                      </a:lnTo>
                      <a:lnTo>
                        <a:pt x="235" y="326"/>
                      </a:lnTo>
                      <a:lnTo>
                        <a:pt x="237" y="326"/>
                      </a:lnTo>
                      <a:lnTo>
                        <a:pt x="237" y="324"/>
                      </a:lnTo>
                      <a:lnTo>
                        <a:pt x="239" y="324"/>
                      </a:lnTo>
                      <a:lnTo>
                        <a:pt x="241" y="324"/>
                      </a:lnTo>
                      <a:lnTo>
                        <a:pt x="243" y="324"/>
                      </a:lnTo>
                      <a:lnTo>
                        <a:pt x="244" y="324"/>
                      </a:lnTo>
                      <a:lnTo>
                        <a:pt x="246" y="324"/>
                      </a:lnTo>
                      <a:lnTo>
                        <a:pt x="248" y="324"/>
                      </a:lnTo>
                      <a:lnTo>
                        <a:pt x="250" y="324"/>
                      </a:lnTo>
                      <a:lnTo>
                        <a:pt x="252" y="322"/>
                      </a:lnTo>
                      <a:lnTo>
                        <a:pt x="252" y="324"/>
                      </a:lnTo>
                      <a:lnTo>
                        <a:pt x="254" y="324"/>
                      </a:lnTo>
                      <a:lnTo>
                        <a:pt x="254" y="322"/>
                      </a:lnTo>
                      <a:lnTo>
                        <a:pt x="254" y="320"/>
                      </a:lnTo>
                      <a:lnTo>
                        <a:pt x="256" y="320"/>
                      </a:lnTo>
                      <a:lnTo>
                        <a:pt x="256" y="318"/>
                      </a:lnTo>
                      <a:lnTo>
                        <a:pt x="256" y="316"/>
                      </a:lnTo>
                      <a:lnTo>
                        <a:pt x="258" y="314"/>
                      </a:lnTo>
                      <a:lnTo>
                        <a:pt x="258" y="312"/>
                      </a:lnTo>
                      <a:lnTo>
                        <a:pt x="260" y="312"/>
                      </a:lnTo>
                      <a:lnTo>
                        <a:pt x="260" y="311"/>
                      </a:lnTo>
                      <a:lnTo>
                        <a:pt x="261" y="311"/>
                      </a:lnTo>
                      <a:lnTo>
                        <a:pt x="263" y="309"/>
                      </a:lnTo>
                      <a:lnTo>
                        <a:pt x="265" y="307"/>
                      </a:lnTo>
                      <a:lnTo>
                        <a:pt x="267" y="305"/>
                      </a:lnTo>
                      <a:lnTo>
                        <a:pt x="269" y="305"/>
                      </a:lnTo>
                      <a:lnTo>
                        <a:pt x="269" y="303"/>
                      </a:lnTo>
                      <a:lnTo>
                        <a:pt x="271" y="303"/>
                      </a:lnTo>
                      <a:lnTo>
                        <a:pt x="273" y="303"/>
                      </a:lnTo>
                      <a:lnTo>
                        <a:pt x="275" y="301"/>
                      </a:lnTo>
                      <a:lnTo>
                        <a:pt x="276" y="301"/>
                      </a:lnTo>
                      <a:lnTo>
                        <a:pt x="278" y="301"/>
                      </a:lnTo>
                      <a:lnTo>
                        <a:pt x="280" y="301"/>
                      </a:lnTo>
                      <a:lnTo>
                        <a:pt x="282" y="301"/>
                      </a:lnTo>
                      <a:lnTo>
                        <a:pt x="282" y="299"/>
                      </a:lnTo>
                      <a:lnTo>
                        <a:pt x="284" y="299"/>
                      </a:lnTo>
                      <a:lnTo>
                        <a:pt x="286" y="299"/>
                      </a:lnTo>
                      <a:lnTo>
                        <a:pt x="288" y="299"/>
                      </a:lnTo>
                      <a:lnTo>
                        <a:pt x="288" y="297"/>
                      </a:lnTo>
                      <a:lnTo>
                        <a:pt x="288" y="296"/>
                      </a:lnTo>
                      <a:lnTo>
                        <a:pt x="290" y="294"/>
                      </a:lnTo>
                      <a:lnTo>
                        <a:pt x="292" y="294"/>
                      </a:lnTo>
                      <a:lnTo>
                        <a:pt x="293" y="296"/>
                      </a:lnTo>
                      <a:lnTo>
                        <a:pt x="295" y="296"/>
                      </a:lnTo>
                      <a:lnTo>
                        <a:pt x="297" y="296"/>
                      </a:lnTo>
                      <a:lnTo>
                        <a:pt x="299" y="296"/>
                      </a:lnTo>
                      <a:lnTo>
                        <a:pt x="301" y="294"/>
                      </a:lnTo>
                      <a:lnTo>
                        <a:pt x="303" y="294"/>
                      </a:lnTo>
                      <a:lnTo>
                        <a:pt x="305" y="294"/>
                      </a:lnTo>
                      <a:lnTo>
                        <a:pt x="307" y="294"/>
                      </a:lnTo>
                      <a:lnTo>
                        <a:pt x="308" y="294"/>
                      </a:lnTo>
                      <a:lnTo>
                        <a:pt x="308" y="292"/>
                      </a:lnTo>
                      <a:lnTo>
                        <a:pt x="310" y="292"/>
                      </a:lnTo>
                      <a:lnTo>
                        <a:pt x="312" y="292"/>
                      </a:lnTo>
                      <a:lnTo>
                        <a:pt x="312" y="290"/>
                      </a:lnTo>
                      <a:lnTo>
                        <a:pt x="314" y="290"/>
                      </a:lnTo>
                      <a:lnTo>
                        <a:pt x="314" y="288"/>
                      </a:lnTo>
                      <a:lnTo>
                        <a:pt x="314" y="286"/>
                      </a:lnTo>
                      <a:lnTo>
                        <a:pt x="316" y="286"/>
                      </a:lnTo>
                      <a:lnTo>
                        <a:pt x="316" y="284"/>
                      </a:lnTo>
                      <a:lnTo>
                        <a:pt x="318" y="284"/>
                      </a:lnTo>
                      <a:lnTo>
                        <a:pt x="320" y="284"/>
                      </a:lnTo>
                      <a:lnTo>
                        <a:pt x="322" y="284"/>
                      </a:lnTo>
                      <a:lnTo>
                        <a:pt x="322" y="286"/>
                      </a:lnTo>
                      <a:lnTo>
                        <a:pt x="323" y="286"/>
                      </a:lnTo>
                      <a:lnTo>
                        <a:pt x="323" y="288"/>
                      </a:lnTo>
                      <a:lnTo>
                        <a:pt x="325" y="288"/>
                      </a:lnTo>
                      <a:lnTo>
                        <a:pt x="327" y="288"/>
                      </a:lnTo>
                      <a:lnTo>
                        <a:pt x="327" y="290"/>
                      </a:lnTo>
                      <a:lnTo>
                        <a:pt x="329" y="290"/>
                      </a:lnTo>
                      <a:lnTo>
                        <a:pt x="329" y="292"/>
                      </a:lnTo>
                      <a:lnTo>
                        <a:pt x="331" y="292"/>
                      </a:lnTo>
                      <a:lnTo>
                        <a:pt x="331" y="294"/>
                      </a:lnTo>
                      <a:lnTo>
                        <a:pt x="333" y="294"/>
                      </a:lnTo>
                      <a:lnTo>
                        <a:pt x="333" y="296"/>
                      </a:lnTo>
                      <a:lnTo>
                        <a:pt x="335" y="296"/>
                      </a:lnTo>
                      <a:lnTo>
                        <a:pt x="337" y="296"/>
                      </a:lnTo>
                      <a:lnTo>
                        <a:pt x="337" y="294"/>
                      </a:lnTo>
                      <a:lnTo>
                        <a:pt x="339" y="294"/>
                      </a:lnTo>
                      <a:lnTo>
                        <a:pt x="339" y="292"/>
                      </a:lnTo>
                      <a:lnTo>
                        <a:pt x="340" y="290"/>
                      </a:lnTo>
                      <a:lnTo>
                        <a:pt x="340" y="288"/>
                      </a:lnTo>
                      <a:lnTo>
                        <a:pt x="339" y="286"/>
                      </a:lnTo>
                      <a:lnTo>
                        <a:pt x="339" y="284"/>
                      </a:lnTo>
                      <a:lnTo>
                        <a:pt x="340" y="282"/>
                      </a:lnTo>
                      <a:lnTo>
                        <a:pt x="340" y="280"/>
                      </a:lnTo>
                      <a:lnTo>
                        <a:pt x="340" y="279"/>
                      </a:lnTo>
                      <a:lnTo>
                        <a:pt x="339" y="279"/>
                      </a:lnTo>
                      <a:lnTo>
                        <a:pt x="339" y="277"/>
                      </a:lnTo>
                      <a:lnTo>
                        <a:pt x="340" y="277"/>
                      </a:lnTo>
                      <a:lnTo>
                        <a:pt x="340" y="275"/>
                      </a:lnTo>
                      <a:lnTo>
                        <a:pt x="342" y="275"/>
                      </a:lnTo>
                      <a:lnTo>
                        <a:pt x="344" y="275"/>
                      </a:lnTo>
                      <a:lnTo>
                        <a:pt x="346" y="275"/>
                      </a:lnTo>
                      <a:lnTo>
                        <a:pt x="348" y="275"/>
                      </a:lnTo>
                      <a:lnTo>
                        <a:pt x="350" y="273"/>
                      </a:lnTo>
                      <a:lnTo>
                        <a:pt x="352" y="271"/>
                      </a:lnTo>
                      <a:lnTo>
                        <a:pt x="354" y="271"/>
                      </a:lnTo>
                      <a:lnTo>
                        <a:pt x="355" y="271"/>
                      </a:lnTo>
                      <a:lnTo>
                        <a:pt x="355" y="269"/>
                      </a:lnTo>
                      <a:lnTo>
                        <a:pt x="357" y="269"/>
                      </a:lnTo>
                      <a:lnTo>
                        <a:pt x="357" y="267"/>
                      </a:lnTo>
                      <a:lnTo>
                        <a:pt x="359" y="267"/>
                      </a:lnTo>
                      <a:lnTo>
                        <a:pt x="361" y="267"/>
                      </a:lnTo>
                      <a:lnTo>
                        <a:pt x="361" y="265"/>
                      </a:lnTo>
                      <a:lnTo>
                        <a:pt x="363" y="265"/>
                      </a:lnTo>
                      <a:lnTo>
                        <a:pt x="365" y="264"/>
                      </a:lnTo>
                      <a:lnTo>
                        <a:pt x="367" y="264"/>
                      </a:lnTo>
                      <a:lnTo>
                        <a:pt x="369" y="264"/>
                      </a:lnTo>
                      <a:lnTo>
                        <a:pt x="371" y="264"/>
                      </a:lnTo>
                      <a:lnTo>
                        <a:pt x="372" y="264"/>
                      </a:lnTo>
                      <a:lnTo>
                        <a:pt x="372" y="262"/>
                      </a:lnTo>
                      <a:lnTo>
                        <a:pt x="374" y="260"/>
                      </a:lnTo>
                      <a:lnTo>
                        <a:pt x="376" y="260"/>
                      </a:lnTo>
                      <a:lnTo>
                        <a:pt x="376" y="258"/>
                      </a:lnTo>
                      <a:lnTo>
                        <a:pt x="378" y="258"/>
                      </a:lnTo>
                      <a:lnTo>
                        <a:pt x="380" y="258"/>
                      </a:lnTo>
                      <a:lnTo>
                        <a:pt x="380" y="260"/>
                      </a:lnTo>
                      <a:lnTo>
                        <a:pt x="380" y="262"/>
                      </a:lnTo>
                      <a:lnTo>
                        <a:pt x="382" y="264"/>
                      </a:lnTo>
                      <a:lnTo>
                        <a:pt x="382" y="265"/>
                      </a:lnTo>
                      <a:lnTo>
                        <a:pt x="382" y="267"/>
                      </a:lnTo>
                      <a:lnTo>
                        <a:pt x="382" y="269"/>
                      </a:lnTo>
                      <a:lnTo>
                        <a:pt x="382" y="271"/>
                      </a:lnTo>
                      <a:lnTo>
                        <a:pt x="384" y="273"/>
                      </a:lnTo>
                      <a:lnTo>
                        <a:pt x="386" y="275"/>
                      </a:lnTo>
                      <a:lnTo>
                        <a:pt x="387" y="275"/>
                      </a:lnTo>
                      <a:lnTo>
                        <a:pt x="389" y="275"/>
                      </a:lnTo>
                      <a:lnTo>
                        <a:pt x="389" y="277"/>
                      </a:lnTo>
                      <a:lnTo>
                        <a:pt x="391" y="275"/>
                      </a:lnTo>
                      <a:lnTo>
                        <a:pt x="393" y="275"/>
                      </a:lnTo>
                      <a:lnTo>
                        <a:pt x="395" y="275"/>
                      </a:lnTo>
                      <a:lnTo>
                        <a:pt x="395" y="273"/>
                      </a:lnTo>
                      <a:lnTo>
                        <a:pt x="395" y="271"/>
                      </a:lnTo>
                      <a:lnTo>
                        <a:pt x="397" y="271"/>
                      </a:lnTo>
                      <a:lnTo>
                        <a:pt x="399" y="271"/>
                      </a:lnTo>
                      <a:lnTo>
                        <a:pt x="399" y="269"/>
                      </a:lnTo>
                      <a:lnTo>
                        <a:pt x="401" y="269"/>
                      </a:lnTo>
                      <a:lnTo>
                        <a:pt x="402" y="269"/>
                      </a:lnTo>
                      <a:lnTo>
                        <a:pt x="404" y="269"/>
                      </a:lnTo>
                      <a:lnTo>
                        <a:pt x="406" y="271"/>
                      </a:lnTo>
                      <a:lnTo>
                        <a:pt x="406" y="273"/>
                      </a:lnTo>
                      <a:lnTo>
                        <a:pt x="408" y="275"/>
                      </a:lnTo>
                      <a:lnTo>
                        <a:pt x="408" y="277"/>
                      </a:lnTo>
                      <a:lnTo>
                        <a:pt x="410" y="277"/>
                      </a:lnTo>
                      <a:lnTo>
                        <a:pt x="412" y="277"/>
                      </a:lnTo>
                      <a:lnTo>
                        <a:pt x="412" y="275"/>
                      </a:lnTo>
                      <a:lnTo>
                        <a:pt x="414" y="275"/>
                      </a:lnTo>
                      <a:lnTo>
                        <a:pt x="418" y="275"/>
                      </a:lnTo>
                      <a:lnTo>
                        <a:pt x="418" y="277"/>
                      </a:lnTo>
                      <a:lnTo>
                        <a:pt x="418" y="279"/>
                      </a:lnTo>
                      <a:lnTo>
                        <a:pt x="419" y="279"/>
                      </a:lnTo>
                      <a:lnTo>
                        <a:pt x="419" y="280"/>
                      </a:lnTo>
                      <a:lnTo>
                        <a:pt x="421" y="280"/>
                      </a:lnTo>
                      <a:lnTo>
                        <a:pt x="421" y="282"/>
                      </a:lnTo>
                      <a:lnTo>
                        <a:pt x="423" y="282"/>
                      </a:lnTo>
                      <a:lnTo>
                        <a:pt x="423" y="284"/>
                      </a:lnTo>
                      <a:lnTo>
                        <a:pt x="423" y="286"/>
                      </a:lnTo>
                      <a:lnTo>
                        <a:pt x="423" y="288"/>
                      </a:lnTo>
                      <a:lnTo>
                        <a:pt x="423" y="290"/>
                      </a:lnTo>
                      <a:lnTo>
                        <a:pt x="425" y="292"/>
                      </a:lnTo>
                      <a:lnTo>
                        <a:pt x="425" y="294"/>
                      </a:lnTo>
                      <a:lnTo>
                        <a:pt x="423" y="296"/>
                      </a:lnTo>
                      <a:lnTo>
                        <a:pt x="423" y="297"/>
                      </a:lnTo>
                      <a:lnTo>
                        <a:pt x="423" y="299"/>
                      </a:lnTo>
                      <a:lnTo>
                        <a:pt x="423" y="301"/>
                      </a:lnTo>
                      <a:lnTo>
                        <a:pt x="425" y="303"/>
                      </a:lnTo>
                      <a:lnTo>
                        <a:pt x="427" y="305"/>
                      </a:lnTo>
                      <a:lnTo>
                        <a:pt x="427" y="307"/>
                      </a:lnTo>
                      <a:lnTo>
                        <a:pt x="429" y="307"/>
                      </a:lnTo>
                      <a:lnTo>
                        <a:pt x="431" y="307"/>
                      </a:lnTo>
                      <a:lnTo>
                        <a:pt x="433" y="307"/>
                      </a:lnTo>
                      <a:lnTo>
                        <a:pt x="433" y="305"/>
                      </a:lnTo>
                      <a:lnTo>
                        <a:pt x="434" y="305"/>
                      </a:lnTo>
                      <a:lnTo>
                        <a:pt x="434" y="303"/>
                      </a:lnTo>
                      <a:lnTo>
                        <a:pt x="436" y="303"/>
                      </a:lnTo>
                      <a:lnTo>
                        <a:pt x="438" y="303"/>
                      </a:lnTo>
                      <a:lnTo>
                        <a:pt x="438" y="301"/>
                      </a:lnTo>
                      <a:lnTo>
                        <a:pt x="440" y="301"/>
                      </a:lnTo>
                      <a:lnTo>
                        <a:pt x="442" y="299"/>
                      </a:lnTo>
                      <a:lnTo>
                        <a:pt x="444" y="297"/>
                      </a:lnTo>
                      <a:lnTo>
                        <a:pt x="446" y="296"/>
                      </a:lnTo>
                      <a:lnTo>
                        <a:pt x="446" y="294"/>
                      </a:lnTo>
                      <a:lnTo>
                        <a:pt x="446" y="292"/>
                      </a:lnTo>
                      <a:lnTo>
                        <a:pt x="444" y="292"/>
                      </a:lnTo>
                      <a:lnTo>
                        <a:pt x="442" y="292"/>
                      </a:lnTo>
                      <a:lnTo>
                        <a:pt x="440" y="292"/>
                      </a:lnTo>
                      <a:lnTo>
                        <a:pt x="438" y="292"/>
                      </a:lnTo>
                      <a:lnTo>
                        <a:pt x="438" y="290"/>
                      </a:lnTo>
                      <a:lnTo>
                        <a:pt x="436" y="288"/>
                      </a:lnTo>
                      <a:lnTo>
                        <a:pt x="436" y="286"/>
                      </a:lnTo>
                      <a:lnTo>
                        <a:pt x="438" y="284"/>
                      </a:lnTo>
                      <a:lnTo>
                        <a:pt x="440" y="284"/>
                      </a:lnTo>
                      <a:lnTo>
                        <a:pt x="442" y="282"/>
                      </a:lnTo>
                      <a:lnTo>
                        <a:pt x="444" y="282"/>
                      </a:lnTo>
                      <a:lnTo>
                        <a:pt x="444" y="280"/>
                      </a:lnTo>
                      <a:lnTo>
                        <a:pt x="442" y="277"/>
                      </a:lnTo>
                      <a:lnTo>
                        <a:pt x="442" y="275"/>
                      </a:lnTo>
                      <a:lnTo>
                        <a:pt x="440" y="275"/>
                      </a:lnTo>
                      <a:lnTo>
                        <a:pt x="440" y="273"/>
                      </a:lnTo>
                      <a:lnTo>
                        <a:pt x="442" y="273"/>
                      </a:lnTo>
                      <a:lnTo>
                        <a:pt x="442" y="271"/>
                      </a:lnTo>
                      <a:lnTo>
                        <a:pt x="442" y="269"/>
                      </a:lnTo>
                      <a:lnTo>
                        <a:pt x="444" y="267"/>
                      </a:lnTo>
                      <a:lnTo>
                        <a:pt x="444" y="265"/>
                      </a:lnTo>
                      <a:lnTo>
                        <a:pt x="446" y="265"/>
                      </a:lnTo>
                      <a:lnTo>
                        <a:pt x="448" y="267"/>
                      </a:lnTo>
                      <a:lnTo>
                        <a:pt x="450" y="267"/>
                      </a:lnTo>
                      <a:lnTo>
                        <a:pt x="450" y="265"/>
                      </a:lnTo>
                      <a:lnTo>
                        <a:pt x="451" y="265"/>
                      </a:lnTo>
                      <a:lnTo>
                        <a:pt x="453" y="264"/>
                      </a:lnTo>
                      <a:lnTo>
                        <a:pt x="453" y="262"/>
                      </a:lnTo>
                      <a:lnTo>
                        <a:pt x="453" y="260"/>
                      </a:lnTo>
                      <a:lnTo>
                        <a:pt x="453" y="258"/>
                      </a:lnTo>
                      <a:lnTo>
                        <a:pt x="455" y="256"/>
                      </a:lnTo>
                      <a:lnTo>
                        <a:pt x="457" y="256"/>
                      </a:lnTo>
                      <a:lnTo>
                        <a:pt x="459" y="256"/>
                      </a:lnTo>
                      <a:lnTo>
                        <a:pt x="459" y="258"/>
                      </a:lnTo>
                      <a:lnTo>
                        <a:pt x="461" y="258"/>
                      </a:lnTo>
                      <a:lnTo>
                        <a:pt x="461" y="256"/>
                      </a:lnTo>
                      <a:lnTo>
                        <a:pt x="463" y="256"/>
                      </a:lnTo>
                      <a:lnTo>
                        <a:pt x="463" y="254"/>
                      </a:lnTo>
                      <a:lnTo>
                        <a:pt x="465" y="252"/>
                      </a:lnTo>
                      <a:lnTo>
                        <a:pt x="465" y="250"/>
                      </a:lnTo>
                      <a:lnTo>
                        <a:pt x="465" y="248"/>
                      </a:lnTo>
                      <a:lnTo>
                        <a:pt x="466" y="248"/>
                      </a:lnTo>
                      <a:lnTo>
                        <a:pt x="468" y="248"/>
                      </a:lnTo>
                      <a:lnTo>
                        <a:pt x="470" y="248"/>
                      </a:lnTo>
                      <a:lnTo>
                        <a:pt x="470" y="247"/>
                      </a:lnTo>
                      <a:lnTo>
                        <a:pt x="472" y="245"/>
                      </a:lnTo>
                      <a:lnTo>
                        <a:pt x="474" y="243"/>
                      </a:lnTo>
                      <a:lnTo>
                        <a:pt x="476" y="243"/>
                      </a:lnTo>
                      <a:lnTo>
                        <a:pt x="478" y="243"/>
                      </a:lnTo>
                      <a:lnTo>
                        <a:pt x="480" y="243"/>
                      </a:lnTo>
                      <a:lnTo>
                        <a:pt x="480" y="241"/>
                      </a:lnTo>
                      <a:lnTo>
                        <a:pt x="481" y="239"/>
                      </a:lnTo>
                      <a:lnTo>
                        <a:pt x="481" y="237"/>
                      </a:lnTo>
                      <a:lnTo>
                        <a:pt x="480" y="237"/>
                      </a:lnTo>
                      <a:lnTo>
                        <a:pt x="480" y="235"/>
                      </a:lnTo>
                      <a:lnTo>
                        <a:pt x="478" y="235"/>
                      </a:lnTo>
                      <a:lnTo>
                        <a:pt x="478" y="233"/>
                      </a:lnTo>
                      <a:lnTo>
                        <a:pt x="478" y="232"/>
                      </a:lnTo>
                      <a:lnTo>
                        <a:pt x="478" y="230"/>
                      </a:lnTo>
                      <a:lnTo>
                        <a:pt x="480" y="230"/>
                      </a:lnTo>
                      <a:lnTo>
                        <a:pt x="480" y="228"/>
                      </a:lnTo>
                      <a:lnTo>
                        <a:pt x="481" y="226"/>
                      </a:lnTo>
                      <a:lnTo>
                        <a:pt x="481" y="224"/>
                      </a:lnTo>
                      <a:lnTo>
                        <a:pt x="483" y="222"/>
                      </a:lnTo>
                      <a:lnTo>
                        <a:pt x="483" y="220"/>
                      </a:lnTo>
                      <a:lnTo>
                        <a:pt x="483" y="218"/>
                      </a:lnTo>
                      <a:lnTo>
                        <a:pt x="485" y="218"/>
                      </a:lnTo>
                      <a:lnTo>
                        <a:pt x="487" y="218"/>
                      </a:lnTo>
                      <a:lnTo>
                        <a:pt x="487" y="216"/>
                      </a:lnTo>
                      <a:lnTo>
                        <a:pt x="489" y="216"/>
                      </a:lnTo>
                      <a:lnTo>
                        <a:pt x="489" y="215"/>
                      </a:lnTo>
                      <a:lnTo>
                        <a:pt x="491" y="215"/>
                      </a:lnTo>
                      <a:lnTo>
                        <a:pt x="491" y="216"/>
                      </a:lnTo>
                      <a:lnTo>
                        <a:pt x="493" y="216"/>
                      </a:lnTo>
                      <a:lnTo>
                        <a:pt x="495" y="216"/>
                      </a:lnTo>
                      <a:lnTo>
                        <a:pt x="497" y="216"/>
                      </a:lnTo>
                      <a:lnTo>
                        <a:pt x="497" y="215"/>
                      </a:lnTo>
                      <a:lnTo>
                        <a:pt x="498" y="215"/>
                      </a:lnTo>
                      <a:lnTo>
                        <a:pt x="500" y="215"/>
                      </a:lnTo>
                      <a:lnTo>
                        <a:pt x="502" y="216"/>
                      </a:lnTo>
                      <a:lnTo>
                        <a:pt x="502" y="218"/>
                      </a:lnTo>
                      <a:lnTo>
                        <a:pt x="502" y="220"/>
                      </a:lnTo>
                      <a:lnTo>
                        <a:pt x="504" y="220"/>
                      </a:lnTo>
                      <a:lnTo>
                        <a:pt x="504" y="218"/>
                      </a:lnTo>
                      <a:lnTo>
                        <a:pt x="506" y="218"/>
                      </a:lnTo>
                      <a:lnTo>
                        <a:pt x="506" y="216"/>
                      </a:lnTo>
                      <a:lnTo>
                        <a:pt x="506" y="215"/>
                      </a:lnTo>
                      <a:lnTo>
                        <a:pt x="506" y="213"/>
                      </a:lnTo>
                      <a:lnTo>
                        <a:pt x="506" y="211"/>
                      </a:lnTo>
                      <a:lnTo>
                        <a:pt x="508" y="211"/>
                      </a:lnTo>
                      <a:lnTo>
                        <a:pt x="508" y="209"/>
                      </a:lnTo>
                      <a:lnTo>
                        <a:pt x="508" y="207"/>
                      </a:lnTo>
                      <a:lnTo>
                        <a:pt x="510" y="207"/>
                      </a:lnTo>
                      <a:lnTo>
                        <a:pt x="510" y="205"/>
                      </a:lnTo>
                      <a:lnTo>
                        <a:pt x="512" y="205"/>
                      </a:lnTo>
                      <a:lnTo>
                        <a:pt x="512" y="207"/>
                      </a:lnTo>
                      <a:lnTo>
                        <a:pt x="513" y="207"/>
                      </a:lnTo>
                      <a:lnTo>
                        <a:pt x="515" y="207"/>
                      </a:lnTo>
                      <a:lnTo>
                        <a:pt x="515" y="205"/>
                      </a:lnTo>
                      <a:lnTo>
                        <a:pt x="517" y="205"/>
                      </a:lnTo>
                      <a:lnTo>
                        <a:pt x="517" y="207"/>
                      </a:lnTo>
                      <a:lnTo>
                        <a:pt x="519" y="207"/>
                      </a:lnTo>
                      <a:lnTo>
                        <a:pt x="521" y="207"/>
                      </a:lnTo>
                      <a:lnTo>
                        <a:pt x="523" y="209"/>
                      </a:lnTo>
                      <a:lnTo>
                        <a:pt x="525" y="209"/>
                      </a:lnTo>
                      <a:lnTo>
                        <a:pt x="527" y="211"/>
                      </a:lnTo>
                      <a:lnTo>
                        <a:pt x="529" y="211"/>
                      </a:lnTo>
                      <a:lnTo>
                        <a:pt x="530" y="213"/>
                      </a:lnTo>
                      <a:lnTo>
                        <a:pt x="530" y="211"/>
                      </a:lnTo>
                      <a:lnTo>
                        <a:pt x="532" y="211"/>
                      </a:lnTo>
                      <a:lnTo>
                        <a:pt x="532" y="209"/>
                      </a:lnTo>
                      <a:lnTo>
                        <a:pt x="534" y="209"/>
                      </a:lnTo>
                      <a:lnTo>
                        <a:pt x="534" y="207"/>
                      </a:lnTo>
                      <a:lnTo>
                        <a:pt x="536" y="207"/>
                      </a:lnTo>
                      <a:lnTo>
                        <a:pt x="538" y="205"/>
                      </a:lnTo>
                      <a:lnTo>
                        <a:pt x="540" y="207"/>
                      </a:lnTo>
                      <a:lnTo>
                        <a:pt x="542" y="207"/>
                      </a:lnTo>
                      <a:lnTo>
                        <a:pt x="544" y="207"/>
                      </a:lnTo>
                      <a:lnTo>
                        <a:pt x="544" y="209"/>
                      </a:lnTo>
                      <a:lnTo>
                        <a:pt x="545" y="209"/>
                      </a:lnTo>
                      <a:lnTo>
                        <a:pt x="547" y="209"/>
                      </a:lnTo>
                      <a:lnTo>
                        <a:pt x="549" y="209"/>
                      </a:lnTo>
                      <a:lnTo>
                        <a:pt x="551" y="209"/>
                      </a:lnTo>
                      <a:lnTo>
                        <a:pt x="553" y="209"/>
                      </a:lnTo>
                      <a:lnTo>
                        <a:pt x="553" y="207"/>
                      </a:lnTo>
                      <a:lnTo>
                        <a:pt x="553" y="205"/>
                      </a:lnTo>
                      <a:lnTo>
                        <a:pt x="551" y="205"/>
                      </a:lnTo>
                      <a:lnTo>
                        <a:pt x="549" y="205"/>
                      </a:lnTo>
                      <a:lnTo>
                        <a:pt x="549" y="203"/>
                      </a:lnTo>
                      <a:lnTo>
                        <a:pt x="547" y="203"/>
                      </a:lnTo>
                      <a:lnTo>
                        <a:pt x="545" y="205"/>
                      </a:lnTo>
                      <a:lnTo>
                        <a:pt x="545" y="203"/>
                      </a:lnTo>
                      <a:lnTo>
                        <a:pt x="544" y="203"/>
                      </a:lnTo>
                      <a:lnTo>
                        <a:pt x="544" y="201"/>
                      </a:lnTo>
                      <a:lnTo>
                        <a:pt x="542" y="201"/>
                      </a:lnTo>
                      <a:lnTo>
                        <a:pt x="540" y="201"/>
                      </a:lnTo>
                      <a:lnTo>
                        <a:pt x="540" y="200"/>
                      </a:lnTo>
                      <a:lnTo>
                        <a:pt x="538" y="198"/>
                      </a:lnTo>
                      <a:lnTo>
                        <a:pt x="536" y="198"/>
                      </a:lnTo>
                      <a:lnTo>
                        <a:pt x="536" y="196"/>
                      </a:lnTo>
                      <a:lnTo>
                        <a:pt x="536" y="194"/>
                      </a:lnTo>
                      <a:lnTo>
                        <a:pt x="538" y="192"/>
                      </a:lnTo>
                      <a:lnTo>
                        <a:pt x="538" y="190"/>
                      </a:lnTo>
                      <a:lnTo>
                        <a:pt x="538" y="188"/>
                      </a:lnTo>
                      <a:lnTo>
                        <a:pt x="540" y="188"/>
                      </a:lnTo>
                      <a:lnTo>
                        <a:pt x="540" y="186"/>
                      </a:lnTo>
                      <a:lnTo>
                        <a:pt x="542" y="186"/>
                      </a:lnTo>
                      <a:lnTo>
                        <a:pt x="542" y="184"/>
                      </a:lnTo>
                      <a:lnTo>
                        <a:pt x="544" y="184"/>
                      </a:lnTo>
                      <a:lnTo>
                        <a:pt x="544" y="183"/>
                      </a:lnTo>
                      <a:lnTo>
                        <a:pt x="545" y="183"/>
                      </a:lnTo>
                      <a:lnTo>
                        <a:pt x="545" y="184"/>
                      </a:lnTo>
                      <a:lnTo>
                        <a:pt x="545" y="186"/>
                      </a:lnTo>
                      <a:lnTo>
                        <a:pt x="544" y="186"/>
                      </a:lnTo>
                      <a:lnTo>
                        <a:pt x="544" y="188"/>
                      </a:lnTo>
                      <a:lnTo>
                        <a:pt x="545" y="188"/>
                      </a:lnTo>
                      <a:lnTo>
                        <a:pt x="547" y="188"/>
                      </a:lnTo>
                      <a:lnTo>
                        <a:pt x="547" y="186"/>
                      </a:lnTo>
                      <a:lnTo>
                        <a:pt x="547" y="184"/>
                      </a:lnTo>
                      <a:lnTo>
                        <a:pt x="547" y="183"/>
                      </a:lnTo>
                      <a:lnTo>
                        <a:pt x="547" y="181"/>
                      </a:lnTo>
                      <a:lnTo>
                        <a:pt x="547" y="179"/>
                      </a:lnTo>
                      <a:lnTo>
                        <a:pt x="547" y="177"/>
                      </a:lnTo>
                      <a:lnTo>
                        <a:pt x="547" y="175"/>
                      </a:lnTo>
                      <a:lnTo>
                        <a:pt x="549" y="173"/>
                      </a:lnTo>
                      <a:lnTo>
                        <a:pt x="549" y="171"/>
                      </a:lnTo>
                      <a:lnTo>
                        <a:pt x="549" y="169"/>
                      </a:lnTo>
                      <a:lnTo>
                        <a:pt x="547" y="169"/>
                      </a:lnTo>
                      <a:lnTo>
                        <a:pt x="547" y="168"/>
                      </a:lnTo>
                      <a:lnTo>
                        <a:pt x="545" y="168"/>
                      </a:lnTo>
                      <a:lnTo>
                        <a:pt x="545" y="166"/>
                      </a:lnTo>
                      <a:lnTo>
                        <a:pt x="544" y="166"/>
                      </a:lnTo>
                      <a:lnTo>
                        <a:pt x="544" y="164"/>
                      </a:lnTo>
                      <a:lnTo>
                        <a:pt x="542" y="164"/>
                      </a:lnTo>
                      <a:lnTo>
                        <a:pt x="542" y="162"/>
                      </a:lnTo>
                      <a:lnTo>
                        <a:pt x="540" y="162"/>
                      </a:lnTo>
                      <a:lnTo>
                        <a:pt x="540" y="160"/>
                      </a:lnTo>
                      <a:lnTo>
                        <a:pt x="538" y="160"/>
                      </a:lnTo>
                      <a:lnTo>
                        <a:pt x="538" y="158"/>
                      </a:lnTo>
                      <a:lnTo>
                        <a:pt x="536" y="158"/>
                      </a:lnTo>
                      <a:lnTo>
                        <a:pt x="534" y="158"/>
                      </a:lnTo>
                      <a:lnTo>
                        <a:pt x="534" y="156"/>
                      </a:lnTo>
                      <a:lnTo>
                        <a:pt x="534" y="154"/>
                      </a:lnTo>
                      <a:lnTo>
                        <a:pt x="532" y="154"/>
                      </a:lnTo>
                      <a:lnTo>
                        <a:pt x="532" y="152"/>
                      </a:lnTo>
                      <a:lnTo>
                        <a:pt x="532" y="151"/>
                      </a:lnTo>
                      <a:lnTo>
                        <a:pt x="532" y="149"/>
                      </a:lnTo>
                      <a:lnTo>
                        <a:pt x="530" y="149"/>
                      </a:lnTo>
                      <a:lnTo>
                        <a:pt x="530" y="147"/>
                      </a:lnTo>
                      <a:lnTo>
                        <a:pt x="530" y="145"/>
                      </a:lnTo>
                      <a:lnTo>
                        <a:pt x="529" y="145"/>
                      </a:lnTo>
                      <a:lnTo>
                        <a:pt x="529" y="143"/>
                      </a:lnTo>
                      <a:lnTo>
                        <a:pt x="530" y="141"/>
                      </a:lnTo>
                      <a:lnTo>
                        <a:pt x="530" y="139"/>
                      </a:lnTo>
                      <a:lnTo>
                        <a:pt x="530" y="137"/>
                      </a:lnTo>
                      <a:lnTo>
                        <a:pt x="532" y="137"/>
                      </a:lnTo>
                      <a:lnTo>
                        <a:pt x="534" y="137"/>
                      </a:lnTo>
                      <a:lnTo>
                        <a:pt x="534" y="139"/>
                      </a:lnTo>
                      <a:lnTo>
                        <a:pt x="536" y="139"/>
                      </a:lnTo>
                      <a:lnTo>
                        <a:pt x="538" y="139"/>
                      </a:lnTo>
                      <a:lnTo>
                        <a:pt x="538" y="141"/>
                      </a:lnTo>
                      <a:lnTo>
                        <a:pt x="540" y="141"/>
                      </a:lnTo>
                      <a:lnTo>
                        <a:pt x="542" y="139"/>
                      </a:lnTo>
                      <a:lnTo>
                        <a:pt x="544" y="139"/>
                      </a:lnTo>
                      <a:lnTo>
                        <a:pt x="544" y="137"/>
                      </a:lnTo>
                      <a:lnTo>
                        <a:pt x="544" y="136"/>
                      </a:lnTo>
                      <a:lnTo>
                        <a:pt x="544" y="134"/>
                      </a:lnTo>
                      <a:lnTo>
                        <a:pt x="545" y="134"/>
                      </a:lnTo>
                      <a:lnTo>
                        <a:pt x="545" y="132"/>
                      </a:lnTo>
                      <a:lnTo>
                        <a:pt x="547" y="132"/>
                      </a:lnTo>
                      <a:lnTo>
                        <a:pt x="547" y="134"/>
                      </a:lnTo>
                      <a:lnTo>
                        <a:pt x="549" y="134"/>
                      </a:lnTo>
                      <a:lnTo>
                        <a:pt x="551" y="132"/>
                      </a:lnTo>
                      <a:lnTo>
                        <a:pt x="551" y="130"/>
                      </a:lnTo>
                      <a:lnTo>
                        <a:pt x="553" y="130"/>
                      </a:lnTo>
                      <a:lnTo>
                        <a:pt x="553" y="128"/>
                      </a:lnTo>
                      <a:lnTo>
                        <a:pt x="555" y="126"/>
                      </a:lnTo>
                      <a:lnTo>
                        <a:pt x="555" y="124"/>
                      </a:lnTo>
                      <a:lnTo>
                        <a:pt x="555" y="122"/>
                      </a:lnTo>
                      <a:lnTo>
                        <a:pt x="557" y="122"/>
                      </a:lnTo>
                      <a:lnTo>
                        <a:pt x="557" y="120"/>
                      </a:lnTo>
                      <a:lnTo>
                        <a:pt x="559" y="120"/>
                      </a:lnTo>
                      <a:lnTo>
                        <a:pt x="560" y="120"/>
                      </a:lnTo>
                      <a:lnTo>
                        <a:pt x="560" y="122"/>
                      </a:lnTo>
                      <a:lnTo>
                        <a:pt x="562" y="122"/>
                      </a:lnTo>
                      <a:lnTo>
                        <a:pt x="562" y="124"/>
                      </a:lnTo>
                      <a:lnTo>
                        <a:pt x="566" y="124"/>
                      </a:lnTo>
                      <a:lnTo>
                        <a:pt x="568" y="126"/>
                      </a:lnTo>
                      <a:lnTo>
                        <a:pt x="570" y="126"/>
                      </a:lnTo>
                      <a:lnTo>
                        <a:pt x="572" y="126"/>
                      </a:lnTo>
                      <a:lnTo>
                        <a:pt x="572" y="124"/>
                      </a:lnTo>
                      <a:lnTo>
                        <a:pt x="572" y="122"/>
                      </a:lnTo>
                      <a:lnTo>
                        <a:pt x="572" y="120"/>
                      </a:lnTo>
                      <a:lnTo>
                        <a:pt x="574" y="119"/>
                      </a:lnTo>
                      <a:lnTo>
                        <a:pt x="574" y="117"/>
                      </a:lnTo>
                      <a:lnTo>
                        <a:pt x="574" y="115"/>
                      </a:lnTo>
                      <a:lnTo>
                        <a:pt x="572" y="115"/>
                      </a:lnTo>
                      <a:lnTo>
                        <a:pt x="572" y="113"/>
                      </a:lnTo>
                      <a:lnTo>
                        <a:pt x="570" y="113"/>
                      </a:lnTo>
                      <a:lnTo>
                        <a:pt x="570" y="111"/>
                      </a:lnTo>
                      <a:lnTo>
                        <a:pt x="570" y="109"/>
                      </a:lnTo>
                      <a:lnTo>
                        <a:pt x="572" y="109"/>
                      </a:lnTo>
                      <a:lnTo>
                        <a:pt x="572" y="107"/>
                      </a:lnTo>
                      <a:lnTo>
                        <a:pt x="574" y="105"/>
                      </a:lnTo>
                      <a:lnTo>
                        <a:pt x="576" y="105"/>
                      </a:lnTo>
                      <a:lnTo>
                        <a:pt x="576" y="103"/>
                      </a:lnTo>
                      <a:lnTo>
                        <a:pt x="577" y="103"/>
                      </a:lnTo>
                      <a:lnTo>
                        <a:pt x="579" y="103"/>
                      </a:lnTo>
                      <a:lnTo>
                        <a:pt x="579" y="102"/>
                      </a:lnTo>
                      <a:lnTo>
                        <a:pt x="579" y="100"/>
                      </a:lnTo>
                      <a:lnTo>
                        <a:pt x="579" y="98"/>
                      </a:lnTo>
                      <a:lnTo>
                        <a:pt x="579" y="96"/>
                      </a:lnTo>
                      <a:lnTo>
                        <a:pt x="581" y="96"/>
                      </a:lnTo>
                      <a:lnTo>
                        <a:pt x="583" y="96"/>
                      </a:lnTo>
                      <a:lnTo>
                        <a:pt x="585" y="96"/>
                      </a:lnTo>
                      <a:lnTo>
                        <a:pt x="587" y="96"/>
                      </a:lnTo>
                      <a:lnTo>
                        <a:pt x="589" y="94"/>
                      </a:lnTo>
                      <a:lnTo>
                        <a:pt x="591" y="94"/>
                      </a:lnTo>
                      <a:lnTo>
                        <a:pt x="592" y="94"/>
                      </a:lnTo>
                      <a:lnTo>
                        <a:pt x="594" y="94"/>
                      </a:lnTo>
                      <a:lnTo>
                        <a:pt x="594" y="96"/>
                      </a:lnTo>
                      <a:lnTo>
                        <a:pt x="594" y="98"/>
                      </a:lnTo>
                      <a:lnTo>
                        <a:pt x="594" y="100"/>
                      </a:lnTo>
                      <a:lnTo>
                        <a:pt x="596" y="100"/>
                      </a:lnTo>
                      <a:lnTo>
                        <a:pt x="598" y="100"/>
                      </a:lnTo>
                      <a:lnTo>
                        <a:pt x="600" y="100"/>
                      </a:lnTo>
                      <a:lnTo>
                        <a:pt x="600" y="98"/>
                      </a:lnTo>
                      <a:lnTo>
                        <a:pt x="600" y="96"/>
                      </a:lnTo>
                      <a:lnTo>
                        <a:pt x="602" y="96"/>
                      </a:lnTo>
                      <a:lnTo>
                        <a:pt x="602" y="94"/>
                      </a:lnTo>
                      <a:lnTo>
                        <a:pt x="602" y="92"/>
                      </a:lnTo>
                      <a:lnTo>
                        <a:pt x="604" y="88"/>
                      </a:lnTo>
                      <a:lnTo>
                        <a:pt x="606" y="88"/>
                      </a:lnTo>
                      <a:lnTo>
                        <a:pt x="606" y="87"/>
                      </a:lnTo>
                      <a:lnTo>
                        <a:pt x="608" y="87"/>
                      </a:lnTo>
                      <a:lnTo>
                        <a:pt x="609" y="87"/>
                      </a:lnTo>
                      <a:lnTo>
                        <a:pt x="609" y="85"/>
                      </a:lnTo>
                      <a:lnTo>
                        <a:pt x="611" y="85"/>
                      </a:lnTo>
                      <a:lnTo>
                        <a:pt x="613" y="85"/>
                      </a:lnTo>
                      <a:lnTo>
                        <a:pt x="615" y="85"/>
                      </a:lnTo>
                      <a:lnTo>
                        <a:pt x="615" y="83"/>
                      </a:lnTo>
                      <a:lnTo>
                        <a:pt x="617" y="83"/>
                      </a:lnTo>
                      <a:lnTo>
                        <a:pt x="617" y="81"/>
                      </a:lnTo>
                      <a:lnTo>
                        <a:pt x="619" y="81"/>
                      </a:lnTo>
                      <a:lnTo>
                        <a:pt x="619" y="79"/>
                      </a:lnTo>
                      <a:lnTo>
                        <a:pt x="621" y="79"/>
                      </a:lnTo>
                      <a:lnTo>
                        <a:pt x="623" y="79"/>
                      </a:lnTo>
                      <a:lnTo>
                        <a:pt x="624" y="79"/>
                      </a:lnTo>
                      <a:lnTo>
                        <a:pt x="624" y="77"/>
                      </a:lnTo>
                      <a:lnTo>
                        <a:pt x="626" y="77"/>
                      </a:lnTo>
                      <a:lnTo>
                        <a:pt x="626" y="75"/>
                      </a:lnTo>
                      <a:lnTo>
                        <a:pt x="628" y="75"/>
                      </a:lnTo>
                      <a:lnTo>
                        <a:pt x="628" y="77"/>
                      </a:lnTo>
                      <a:lnTo>
                        <a:pt x="628" y="79"/>
                      </a:lnTo>
                      <a:lnTo>
                        <a:pt x="628" y="81"/>
                      </a:lnTo>
                      <a:lnTo>
                        <a:pt x="630" y="81"/>
                      </a:lnTo>
                      <a:lnTo>
                        <a:pt x="632" y="81"/>
                      </a:lnTo>
                      <a:lnTo>
                        <a:pt x="634" y="81"/>
                      </a:lnTo>
                      <a:lnTo>
                        <a:pt x="636" y="79"/>
                      </a:lnTo>
                      <a:lnTo>
                        <a:pt x="638" y="79"/>
                      </a:lnTo>
                      <a:lnTo>
                        <a:pt x="638" y="77"/>
                      </a:lnTo>
                      <a:lnTo>
                        <a:pt x="639" y="77"/>
                      </a:lnTo>
                      <a:lnTo>
                        <a:pt x="639" y="75"/>
                      </a:lnTo>
                      <a:lnTo>
                        <a:pt x="641" y="73"/>
                      </a:lnTo>
                      <a:lnTo>
                        <a:pt x="641" y="71"/>
                      </a:lnTo>
                      <a:lnTo>
                        <a:pt x="643" y="71"/>
                      </a:lnTo>
                      <a:lnTo>
                        <a:pt x="643" y="73"/>
                      </a:lnTo>
                      <a:lnTo>
                        <a:pt x="645" y="73"/>
                      </a:lnTo>
                      <a:lnTo>
                        <a:pt x="645" y="75"/>
                      </a:lnTo>
                      <a:lnTo>
                        <a:pt x="647" y="77"/>
                      </a:lnTo>
                      <a:lnTo>
                        <a:pt x="649" y="77"/>
                      </a:lnTo>
                      <a:lnTo>
                        <a:pt x="651" y="77"/>
                      </a:lnTo>
                      <a:lnTo>
                        <a:pt x="653" y="77"/>
                      </a:lnTo>
                      <a:lnTo>
                        <a:pt x="653" y="79"/>
                      </a:lnTo>
                      <a:lnTo>
                        <a:pt x="655" y="79"/>
                      </a:lnTo>
                      <a:lnTo>
                        <a:pt x="655" y="81"/>
                      </a:lnTo>
                      <a:lnTo>
                        <a:pt x="655" y="83"/>
                      </a:lnTo>
                      <a:lnTo>
                        <a:pt x="655" y="85"/>
                      </a:lnTo>
                      <a:lnTo>
                        <a:pt x="655" y="87"/>
                      </a:lnTo>
                      <a:lnTo>
                        <a:pt x="656" y="87"/>
                      </a:lnTo>
                      <a:lnTo>
                        <a:pt x="656" y="88"/>
                      </a:lnTo>
                      <a:lnTo>
                        <a:pt x="656" y="87"/>
                      </a:lnTo>
                      <a:lnTo>
                        <a:pt x="658" y="87"/>
                      </a:lnTo>
                      <a:lnTo>
                        <a:pt x="658" y="85"/>
                      </a:lnTo>
                      <a:lnTo>
                        <a:pt x="658" y="83"/>
                      </a:lnTo>
                      <a:lnTo>
                        <a:pt x="658" y="81"/>
                      </a:lnTo>
                      <a:lnTo>
                        <a:pt x="658" y="79"/>
                      </a:lnTo>
                      <a:lnTo>
                        <a:pt x="658" y="77"/>
                      </a:lnTo>
                      <a:lnTo>
                        <a:pt x="658" y="75"/>
                      </a:lnTo>
                      <a:lnTo>
                        <a:pt x="658" y="73"/>
                      </a:lnTo>
                      <a:lnTo>
                        <a:pt x="656" y="71"/>
                      </a:lnTo>
                      <a:lnTo>
                        <a:pt x="656" y="70"/>
                      </a:lnTo>
                      <a:lnTo>
                        <a:pt x="656" y="68"/>
                      </a:lnTo>
                      <a:lnTo>
                        <a:pt x="658" y="66"/>
                      </a:lnTo>
                      <a:lnTo>
                        <a:pt x="658" y="64"/>
                      </a:lnTo>
                      <a:lnTo>
                        <a:pt x="658" y="62"/>
                      </a:lnTo>
                      <a:lnTo>
                        <a:pt x="660" y="62"/>
                      </a:lnTo>
                      <a:lnTo>
                        <a:pt x="660" y="60"/>
                      </a:lnTo>
                      <a:lnTo>
                        <a:pt x="662" y="58"/>
                      </a:lnTo>
                      <a:lnTo>
                        <a:pt x="664" y="58"/>
                      </a:lnTo>
                      <a:lnTo>
                        <a:pt x="664" y="60"/>
                      </a:lnTo>
                      <a:lnTo>
                        <a:pt x="664" y="62"/>
                      </a:lnTo>
                      <a:lnTo>
                        <a:pt x="664" y="64"/>
                      </a:lnTo>
                      <a:lnTo>
                        <a:pt x="664" y="66"/>
                      </a:lnTo>
                      <a:lnTo>
                        <a:pt x="666" y="66"/>
                      </a:lnTo>
                      <a:lnTo>
                        <a:pt x="666" y="68"/>
                      </a:lnTo>
                      <a:lnTo>
                        <a:pt x="668" y="68"/>
                      </a:lnTo>
                      <a:lnTo>
                        <a:pt x="670" y="68"/>
                      </a:lnTo>
                      <a:lnTo>
                        <a:pt x="670" y="70"/>
                      </a:lnTo>
                      <a:lnTo>
                        <a:pt x="671" y="70"/>
                      </a:lnTo>
                      <a:lnTo>
                        <a:pt x="673" y="71"/>
                      </a:lnTo>
                      <a:lnTo>
                        <a:pt x="675" y="71"/>
                      </a:lnTo>
                      <a:lnTo>
                        <a:pt x="675" y="73"/>
                      </a:lnTo>
                      <a:lnTo>
                        <a:pt x="677" y="73"/>
                      </a:lnTo>
                      <a:lnTo>
                        <a:pt x="679" y="73"/>
                      </a:lnTo>
                      <a:lnTo>
                        <a:pt x="679" y="75"/>
                      </a:lnTo>
                      <a:lnTo>
                        <a:pt x="681" y="75"/>
                      </a:lnTo>
                      <a:lnTo>
                        <a:pt x="683" y="75"/>
                      </a:lnTo>
                      <a:lnTo>
                        <a:pt x="683" y="77"/>
                      </a:lnTo>
                      <a:lnTo>
                        <a:pt x="683" y="75"/>
                      </a:lnTo>
                      <a:lnTo>
                        <a:pt x="683" y="77"/>
                      </a:lnTo>
                      <a:lnTo>
                        <a:pt x="685" y="77"/>
                      </a:lnTo>
                      <a:lnTo>
                        <a:pt x="687" y="77"/>
                      </a:lnTo>
                      <a:lnTo>
                        <a:pt x="688" y="77"/>
                      </a:lnTo>
                      <a:lnTo>
                        <a:pt x="690" y="77"/>
                      </a:lnTo>
                      <a:lnTo>
                        <a:pt x="692" y="77"/>
                      </a:lnTo>
                      <a:lnTo>
                        <a:pt x="694" y="77"/>
                      </a:lnTo>
                      <a:lnTo>
                        <a:pt x="696" y="77"/>
                      </a:lnTo>
                      <a:lnTo>
                        <a:pt x="698" y="77"/>
                      </a:lnTo>
                      <a:lnTo>
                        <a:pt x="700" y="77"/>
                      </a:lnTo>
                      <a:lnTo>
                        <a:pt x="700" y="75"/>
                      </a:lnTo>
                      <a:lnTo>
                        <a:pt x="702" y="75"/>
                      </a:lnTo>
                      <a:lnTo>
                        <a:pt x="703" y="75"/>
                      </a:lnTo>
                      <a:lnTo>
                        <a:pt x="703" y="73"/>
                      </a:lnTo>
                      <a:lnTo>
                        <a:pt x="705" y="73"/>
                      </a:lnTo>
                      <a:lnTo>
                        <a:pt x="707" y="73"/>
                      </a:lnTo>
                      <a:lnTo>
                        <a:pt x="707" y="75"/>
                      </a:lnTo>
                      <a:lnTo>
                        <a:pt x="709" y="75"/>
                      </a:lnTo>
                      <a:lnTo>
                        <a:pt x="711" y="77"/>
                      </a:lnTo>
                      <a:lnTo>
                        <a:pt x="713" y="77"/>
                      </a:lnTo>
                      <a:lnTo>
                        <a:pt x="713" y="79"/>
                      </a:lnTo>
                      <a:lnTo>
                        <a:pt x="715" y="79"/>
                      </a:lnTo>
                      <a:lnTo>
                        <a:pt x="715" y="77"/>
                      </a:lnTo>
                      <a:lnTo>
                        <a:pt x="717" y="77"/>
                      </a:lnTo>
                      <a:lnTo>
                        <a:pt x="717" y="75"/>
                      </a:lnTo>
                      <a:lnTo>
                        <a:pt x="718" y="75"/>
                      </a:lnTo>
                      <a:lnTo>
                        <a:pt x="718" y="73"/>
                      </a:lnTo>
                      <a:lnTo>
                        <a:pt x="720" y="73"/>
                      </a:lnTo>
                      <a:lnTo>
                        <a:pt x="722" y="73"/>
                      </a:lnTo>
                      <a:lnTo>
                        <a:pt x="724" y="73"/>
                      </a:lnTo>
                      <a:lnTo>
                        <a:pt x="724" y="75"/>
                      </a:lnTo>
                      <a:lnTo>
                        <a:pt x="724" y="77"/>
                      </a:lnTo>
                      <a:lnTo>
                        <a:pt x="724" y="79"/>
                      </a:lnTo>
                      <a:lnTo>
                        <a:pt x="724" y="81"/>
                      </a:lnTo>
                      <a:lnTo>
                        <a:pt x="724" y="83"/>
                      </a:lnTo>
                      <a:lnTo>
                        <a:pt x="722" y="83"/>
                      </a:lnTo>
                      <a:lnTo>
                        <a:pt x="722" y="85"/>
                      </a:lnTo>
                      <a:lnTo>
                        <a:pt x="722" y="87"/>
                      </a:lnTo>
                      <a:lnTo>
                        <a:pt x="724" y="87"/>
                      </a:lnTo>
                      <a:lnTo>
                        <a:pt x="724" y="88"/>
                      </a:lnTo>
                      <a:lnTo>
                        <a:pt x="726" y="88"/>
                      </a:lnTo>
                      <a:lnTo>
                        <a:pt x="728" y="88"/>
                      </a:lnTo>
                      <a:lnTo>
                        <a:pt x="730" y="90"/>
                      </a:lnTo>
                      <a:lnTo>
                        <a:pt x="730" y="88"/>
                      </a:lnTo>
                      <a:lnTo>
                        <a:pt x="732" y="88"/>
                      </a:lnTo>
                      <a:lnTo>
                        <a:pt x="732" y="87"/>
                      </a:lnTo>
                      <a:lnTo>
                        <a:pt x="732" y="85"/>
                      </a:lnTo>
                      <a:lnTo>
                        <a:pt x="732" y="83"/>
                      </a:lnTo>
                      <a:lnTo>
                        <a:pt x="732" y="81"/>
                      </a:lnTo>
                      <a:lnTo>
                        <a:pt x="734" y="79"/>
                      </a:lnTo>
                      <a:lnTo>
                        <a:pt x="735" y="79"/>
                      </a:lnTo>
                      <a:lnTo>
                        <a:pt x="735" y="77"/>
                      </a:lnTo>
                      <a:lnTo>
                        <a:pt x="737" y="75"/>
                      </a:lnTo>
                      <a:lnTo>
                        <a:pt x="737" y="73"/>
                      </a:lnTo>
                      <a:lnTo>
                        <a:pt x="739" y="71"/>
                      </a:lnTo>
                      <a:lnTo>
                        <a:pt x="741" y="71"/>
                      </a:lnTo>
                      <a:lnTo>
                        <a:pt x="741" y="70"/>
                      </a:lnTo>
                      <a:lnTo>
                        <a:pt x="743" y="70"/>
                      </a:lnTo>
                      <a:lnTo>
                        <a:pt x="745" y="70"/>
                      </a:lnTo>
                      <a:lnTo>
                        <a:pt x="745" y="68"/>
                      </a:lnTo>
                      <a:lnTo>
                        <a:pt x="745" y="66"/>
                      </a:lnTo>
                      <a:lnTo>
                        <a:pt x="747" y="64"/>
                      </a:lnTo>
                      <a:lnTo>
                        <a:pt x="749" y="64"/>
                      </a:lnTo>
                      <a:lnTo>
                        <a:pt x="749" y="62"/>
                      </a:lnTo>
                      <a:lnTo>
                        <a:pt x="750" y="62"/>
                      </a:lnTo>
                      <a:lnTo>
                        <a:pt x="750" y="60"/>
                      </a:lnTo>
                      <a:lnTo>
                        <a:pt x="752" y="60"/>
                      </a:lnTo>
                      <a:lnTo>
                        <a:pt x="752" y="58"/>
                      </a:lnTo>
                      <a:lnTo>
                        <a:pt x="752" y="56"/>
                      </a:lnTo>
                      <a:lnTo>
                        <a:pt x="754" y="56"/>
                      </a:lnTo>
                      <a:lnTo>
                        <a:pt x="754" y="55"/>
                      </a:lnTo>
                      <a:lnTo>
                        <a:pt x="754" y="53"/>
                      </a:lnTo>
                      <a:lnTo>
                        <a:pt x="756" y="53"/>
                      </a:lnTo>
                      <a:lnTo>
                        <a:pt x="758" y="53"/>
                      </a:lnTo>
                      <a:lnTo>
                        <a:pt x="760" y="53"/>
                      </a:lnTo>
                      <a:lnTo>
                        <a:pt x="762" y="53"/>
                      </a:lnTo>
                      <a:lnTo>
                        <a:pt x="762" y="55"/>
                      </a:lnTo>
                      <a:lnTo>
                        <a:pt x="764" y="55"/>
                      </a:lnTo>
                      <a:lnTo>
                        <a:pt x="764" y="56"/>
                      </a:lnTo>
                      <a:lnTo>
                        <a:pt x="764" y="58"/>
                      </a:lnTo>
                      <a:lnTo>
                        <a:pt x="766" y="58"/>
                      </a:lnTo>
                      <a:lnTo>
                        <a:pt x="766" y="60"/>
                      </a:lnTo>
                      <a:lnTo>
                        <a:pt x="767" y="60"/>
                      </a:lnTo>
                      <a:lnTo>
                        <a:pt x="767" y="62"/>
                      </a:lnTo>
                      <a:lnTo>
                        <a:pt x="769" y="62"/>
                      </a:lnTo>
                      <a:lnTo>
                        <a:pt x="771" y="64"/>
                      </a:lnTo>
                      <a:lnTo>
                        <a:pt x="771" y="66"/>
                      </a:lnTo>
                      <a:lnTo>
                        <a:pt x="771" y="68"/>
                      </a:lnTo>
                      <a:lnTo>
                        <a:pt x="773" y="68"/>
                      </a:lnTo>
                      <a:lnTo>
                        <a:pt x="775" y="68"/>
                      </a:lnTo>
                      <a:lnTo>
                        <a:pt x="775" y="66"/>
                      </a:lnTo>
                      <a:lnTo>
                        <a:pt x="777" y="68"/>
                      </a:lnTo>
                      <a:lnTo>
                        <a:pt x="777" y="70"/>
                      </a:lnTo>
                      <a:lnTo>
                        <a:pt x="777" y="71"/>
                      </a:lnTo>
                      <a:lnTo>
                        <a:pt x="779" y="71"/>
                      </a:lnTo>
                      <a:lnTo>
                        <a:pt x="779" y="73"/>
                      </a:lnTo>
                      <a:lnTo>
                        <a:pt x="781" y="73"/>
                      </a:lnTo>
                      <a:lnTo>
                        <a:pt x="782" y="73"/>
                      </a:lnTo>
                      <a:lnTo>
                        <a:pt x="784" y="73"/>
                      </a:lnTo>
                      <a:lnTo>
                        <a:pt x="786" y="71"/>
                      </a:lnTo>
                      <a:lnTo>
                        <a:pt x="786" y="70"/>
                      </a:lnTo>
                      <a:lnTo>
                        <a:pt x="788" y="70"/>
                      </a:lnTo>
                      <a:lnTo>
                        <a:pt x="788" y="68"/>
                      </a:lnTo>
                      <a:lnTo>
                        <a:pt x="790" y="66"/>
                      </a:lnTo>
                      <a:lnTo>
                        <a:pt x="792" y="66"/>
                      </a:lnTo>
                      <a:lnTo>
                        <a:pt x="792" y="64"/>
                      </a:lnTo>
                      <a:lnTo>
                        <a:pt x="794" y="64"/>
                      </a:lnTo>
                      <a:lnTo>
                        <a:pt x="796" y="64"/>
                      </a:lnTo>
                      <a:lnTo>
                        <a:pt x="797" y="62"/>
                      </a:lnTo>
                      <a:lnTo>
                        <a:pt x="799" y="62"/>
                      </a:lnTo>
                      <a:lnTo>
                        <a:pt x="799" y="60"/>
                      </a:lnTo>
                      <a:lnTo>
                        <a:pt x="799" y="58"/>
                      </a:lnTo>
                      <a:lnTo>
                        <a:pt x="799" y="56"/>
                      </a:lnTo>
                      <a:lnTo>
                        <a:pt x="799" y="55"/>
                      </a:lnTo>
                      <a:lnTo>
                        <a:pt x="801" y="55"/>
                      </a:lnTo>
                      <a:lnTo>
                        <a:pt x="801" y="53"/>
                      </a:lnTo>
                      <a:lnTo>
                        <a:pt x="803" y="51"/>
                      </a:lnTo>
                      <a:lnTo>
                        <a:pt x="805" y="51"/>
                      </a:lnTo>
                      <a:lnTo>
                        <a:pt x="805" y="49"/>
                      </a:lnTo>
                      <a:lnTo>
                        <a:pt x="807" y="49"/>
                      </a:lnTo>
                      <a:lnTo>
                        <a:pt x="809" y="49"/>
                      </a:lnTo>
                      <a:lnTo>
                        <a:pt x="809" y="47"/>
                      </a:lnTo>
                      <a:lnTo>
                        <a:pt x="809" y="45"/>
                      </a:lnTo>
                      <a:lnTo>
                        <a:pt x="807" y="45"/>
                      </a:lnTo>
                      <a:lnTo>
                        <a:pt x="809" y="43"/>
                      </a:lnTo>
                      <a:lnTo>
                        <a:pt x="809" y="41"/>
                      </a:lnTo>
                      <a:lnTo>
                        <a:pt x="809" y="39"/>
                      </a:lnTo>
                      <a:lnTo>
                        <a:pt x="809" y="38"/>
                      </a:lnTo>
                      <a:lnTo>
                        <a:pt x="807" y="38"/>
                      </a:lnTo>
                      <a:lnTo>
                        <a:pt x="807" y="36"/>
                      </a:lnTo>
                      <a:lnTo>
                        <a:pt x="807" y="34"/>
                      </a:lnTo>
                      <a:lnTo>
                        <a:pt x="809" y="34"/>
                      </a:lnTo>
                      <a:lnTo>
                        <a:pt x="809" y="32"/>
                      </a:lnTo>
                      <a:lnTo>
                        <a:pt x="811" y="32"/>
                      </a:lnTo>
                      <a:lnTo>
                        <a:pt x="813" y="34"/>
                      </a:lnTo>
                      <a:lnTo>
                        <a:pt x="814" y="34"/>
                      </a:lnTo>
                      <a:lnTo>
                        <a:pt x="816" y="34"/>
                      </a:lnTo>
                      <a:lnTo>
                        <a:pt x="816" y="32"/>
                      </a:lnTo>
                      <a:lnTo>
                        <a:pt x="818" y="30"/>
                      </a:lnTo>
                      <a:lnTo>
                        <a:pt x="820" y="30"/>
                      </a:lnTo>
                      <a:lnTo>
                        <a:pt x="820" y="32"/>
                      </a:lnTo>
                      <a:lnTo>
                        <a:pt x="822" y="32"/>
                      </a:lnTo>
                      <a:lnTo>
                        <a:pt x="824" y="32"/>
                      </a:lnTo>
                      <a:lnTo>
                        <a:pt x="826" y="32"/>
                      </a:lnTo>
                      <a:lnTo>
                        <a:pt x="826" y="30"/>
                      </a:lnTo>
                      <a:lnTo>
                        <a:pt x="826" y="28"/>
                      </a:lnTo>
                      <a:lnTo>
                        <a:pt x="824" y="26"/>
                      </a:lnTo>
                      <a:lnTo>
                        <a:pt x="824" y="24"/>
                      </a:lnTo>
                      <a:lnTo>
                        <a:pt x="822" y="24"/>
                      </a:lnTo>
                      <a:lnTo>
                        <a:pt x="822" y="23"/>
                      </a:lnTo>
                      <a:lnTo>
                        <a:pt x="824" y="23"/>
                      </a:lnTo>
                      <a:lnTo>
                        <a:pt x="826" y="23"/>
                      </a:lnTo>
                      <a:lnTo>
                        <a:pt x="826" y="21"/>
                      </a:lnTo>
                      <a:lnTo>
                        <a:pt x="828" y="21"/>
                      </a:lnTo>
                      <a:lnTo>
                        <a:pt x="829" y="21"/>
                      </a:lnTo>
                      <a:lnTo>
                        <a:pt x="831" y="21"/>
                      </a:lnTo>
                      <a:lnTo>
                        <a:pt x="833" y="21"/>
                      </a:lnTo>
                      <a:lnTo>
                        <a:pt x="833" y="19"/>
                      </a:lnTo>
                      <a:lnTo>
                        <a:pt x="835" y="19"/>
                      </a:lnTo>
                      <a:lnTo>
                        <a:pt x="837" y="19"/>
                      </a:lnTo>
                      <a:lnTo>
                        <a:pt x="839" y="19"/>
                      </a:lnTo>
                      <a:lnTo>
                        <a:pt x="839" y="21"/>
                      </a:lnTo>
                      <a:lnTo>
                        <a:pt x="839" y="23"/>
                      </a:lnTo>
                      <a:lnTo>
                        <a:pt x="839" y="24"/>
                      </a:lnTo>
                      <a:lnTo>
                        <a:pt x="839" y="26"/>
                      </a:lnTo>
                      <a:lnTo>
                        <a:pt x="837" y="26"/>
                      </a:lnTo>
                      <a:lnTo>
                        <a:pt x="837" y="28"/>
                      </a:lnTo>
                      <a:lnTo>
                        <a:pt x="839" y="28"/>
                      </a:lnTo>
                      <a:lnTo>
                        <a:pt x="839" y="30"/>
                      </a:lnTo>
                      <a:lnTo>
                        <a:pt x="841" y="30"/>
                      </a:lnTo>
                      <a:lnTo>
                        <a:pt x="841" y="28"/>
                      </a:lnTo>
                      <a:lnTo>
                        <a:pt x="843" y="28"/>
                      </a:lnTo>
                      <a:lnTo>
                        <a:pt x="845" y="30"/>
                      </a:lnTo>
                      <a:lnTo>
                        <a:pt x="846" y="30"/>
                      </a:lnTo>
                      <a:lnTo>
                        <a:pt x="848" y="30"/>
                      </a:lnTo>
                      <a:lnTo>
                        <a:pt x="850" y="30"/>
                      </a:lnTo>
                      <a:lnTo>
                        <a:pt x="850" y="28"/>
                      </a:lnTo>
                      <a:lnTo>
                        <a:pt x="852" y="28"/>
                      </a:lnTo>
                      <a:lnTo>
                        <a:pt x="852" y="26"/>
                      </a:lnTo>
                      <a:lnTo>
                        <a:pt x="854" y="26"/>
                      </a:lnTo>
                      <a:lnTo>
                        <a:pt x="854" y="28"/>
                      </a:lnTo>
                      <a:lnTo>
                        <a:pt x="856" y="28"/>
                      </a:lnTo>
                      <a:lnTo>
                        <a:pt x="858" y="28"/>
                      </a:lnTo>
                      <a:lnTo>
                        <a:pt x="858" y="26"/>
                      </a:lnTo>
                      <a:lnTo>
                        <a:pt x="860" y="26"/>
                      </a:lnTo>
                      <a:lnTo>
                        <a:pt x="861" y="26"/>
                      </a:lnTo>
                      <a:lnTo>
                        <a:pt x="863" y="26"/>
                      </a:lnTo>
                      <a:lnTo>
                        <a:pt x="865" y="28"/>
                      </a:lnTo>
                      <a:lnTo>
                        <a:pt x="867" y="28"/>
                      </a:lnTo>
                      <a:lnTo>
                        <a:pt x="867" y="30"/>
                      </a:lnTo>
                      <a:lnTo>
                        <a:pt x="867" y="32"/>
                      </a:lnTo>
                      <a:lnTo>
                        <a:pt x="869" y="32"/>
                      </a:lnTo>
                      <a:lnTo>
                        <a:pt x="869" y="34"/>
                      </a:lnTo>
                      <a:lnTo>
                        <a:pt x="869" y="36"/>
                      </a:lnTo>
                      <a:lnTo>
                        <a:pt x="871" y="36"/>
                      </a:lnTo>
                      <a:lnTo>
                        <a:pt x="871" y="38"/>
                      </a:lnTo>
                      <a:lnTo>
                        <a:pt x="873" y="38"/>
                      </a:lnTo>
                      <a:lnTo>
                        <a:pt x="875" y="38"/>
                      </a:lnTo>
                      <a:lnTo>
                        <a:pt x="875" y="36"/>
                      </a:lnTo>
                      <a:lnTo>
                        <a:pt x="875" y="34"/>
                      </a:lnTo>
                      <a:lnTo>
                        <a:pt x="873" y="34"/>
                      </a:lnTo>
                      <a:lnTo>
                        <a:pt x="873" y="32"/>
                      </a:lnTo>
                      <a:lnTo>
                        <a:pt x="873" y="30"/>
                      </a:lnTo>
                      <a:lnTo>
                        <a:pt x="873" y="28"/>
                      </a:lnTo>
                      <a:lnTo>
                        <a:pt x="875" y="26"/>
                      </a:lnTo>
                      <a:lnTo>
                        <a:pt x="875" y="24"/>
                      </a:lnTo>
                      <a:lnTo>
                        <a:pt x="876" y="24"/>
                      </a:lnTo>
                      <a:lnTo>
                        <a:pt x="878" y="24"/>
                      </a:lnTo>
                      <a:lnTo>
                        <a:pt x="878" y="23"/>
                      </a:lnTo>
                      <a:lnTo>
                        <a:pt x="880" y="23"/>
                      </a:lnTo>
                      <a:lnTo>
                        <a:pt x="882" y="23"/>
                      </a:lnTo>
                      <a:lnTo>
                        <a:pt x="882" y="24"/>
                      </a:lnTo>
                      <a:lnTo>
                        <a:pt x="884" y="24"/>
                      </a:lnTo>
                      <a:lnTo>
                        <a:pt x="886" y="24"/>
                      </a:lnTo>
                      <a:lnTo>
                        <a:pt x="886" y="23"/>
                      </a:lnTo>
                      <a:lnTo>
                        <a:pt x="888" y="23"/>
                      </a:lnTo>
                      <a:lnTo>
                        <a:pt x="888" y="24"/>
                      </a:lnTo>
                      <a:lnTo>
                        <a:pt x="890" y="24"/>
                      </a:lnTo>
                      <a:lnTo>
                        <a:pt x="892" y="23"/>
                      </a:lnTo>
                      <a:lnTo>
                        <a:pt x="893" y="23"/>
                      </a:lnTo>
                      <a:lnTo>
                        <a:pt x="895" y="23"/>
                      </a:lnTo>
                      <a:lnTo>
                        <a:pt x="897" y="23"/>
                      </a:lnTo>
                      <a:lnTo>
                        <a:pt x="899" y="23"/>
                      </a:lnTo>
                      <a:lnTo>
                        <a:pt x="901" y="23"/>
                      </a:lnTo>
                      <a:lnTo>
                        <a:pt x="903" y="23"/>
                      </a:lnTo>
                      <a:lnTo>
                        <a:pt x="903" y="21"/>
                      </a:lnTo>
                      <a:lnTo>
                        <a:pt x="903" y="19"/>
                      </a:lnTo>
                      <a:lnTo>
                        <a:pt x="905" y="17"/>
                      </a:lnTo>
                      <a:lnTo>
                        <a:pt x="907" y="15"/>
                      </a:lnTo>
                      <a:lnTo>
                        <a:pt x="907" y="13"/>
                      </a:lnTo>
                      <a:lnTo>
                        <a:pt x="905" y="13"/>
                      </a:lnTo>
                      <a:lnTo>
                        <a:pt x="907" y="11"/>
                      </a:lnTo>
                      <a:lnTo>
                        <a:pt x="908" y="11"/>
                      </a:lnTo>
                      <a:lnTo>
                        <a:pt x="910" y="11"/>
                      </a:lnTo>
                      <a:lnTo>
                        <a:pt x="912" y="11"/>
                      </a:lnTo>
                      <a:lnTo>
                        <a:pt x="914" y="11"/>
                      </a:lnTo>
                      <a:lnTo>
                        <a:pt x="914" y="9"/>
                      </a:lnTo>
                      <a:lnTo>
                        <a:pt x="916" y="7"/>
                      </a:lnTo>
                      <a:lnTo>
                        <a:pt x="916" y="6"/>
                      </a:lnTo>
                      <a:lnTo>
                        <a:pt x="916" y="4"/>
                      </a:lnTo>
                      <a:lnTo>
                        <a:pt x="918" y="4"/>
                      </a:lnTo>
                      <a:lnTo>
                        <a:pt x="918" y="2"/>
                      </a:lnTo>
                      <a:lnTo>
                        <a:pt x="920" y="2"/>
                      </a:lnTo>
                      <a:lnTo>
                        <a:pt x="922" y="2"/>
                      </a:lnTo>
                      <a:lnTo>
                        <a:pt x="924" y="2"/>
                      </a:lnTo>
                      <a:lnTo>
                        <a:pt x="924" y="0"/>
                      </a:lnTo>
                      <a:lnTo>
                        <a:pt x="925" y="0"/>
                      </a:lnTo>
                      <a:lnTo>
                        <a:pt x="927" y="2"/>
                      </a:lnTo>
                      <a:lnTo>
                        <a:pt x="927" y="4"/>
                      </a:lnTo>
                      <a:lnTo>
                        <a:pt x="929" y="4"/>
                      </a:lnTo>
                      <a:lnTo>
                        <a:pt x="929" y="6"/>
                      </a:lnTo>
                      <a:lnTo>
                        <a:pt x="931" y="6"/>
                      </a:lnTo>
                      <a:lnTo>
                        <a:pt x="931" y="7"/>
                      </a:lnTo>
                      <a:lnTo>
                        <a:pt x="933" y="7"/>
                      </a:lnTo>
                      <a:lnTo>
                        <a:pt x="933" y="9"/>
                      </a:lnTo>
                      <a:lnTo>
                        <a:pt x="933" y="11"/>
                      </a:lnTo>
                      <a:lnTo>
                        <a:pt x="933" y="13"/>
                      </a:lnTo>
                      <a:lnTo>
                        <a:pt x="931" y="13"/>
                      </a:lnTo>
                      <a:lnTo>
                        <a:pt x="931" y="15"/>
                      </a:lnTo>
                      <a:lnTo>
                        <a:pt x="931" y="17"/>
                      </a:lnTo>
                      <a:lnTo>
                        <a:pt x="931" y="19"/>
                      </a:lnTo>
                      <a:lnTo>
                        <a:pt x="931" y="21"/>
                      </a:lnTo>
                      <a:lnTo>
                        <a:pt x="933" y="21"/>
                      </a:lnTo>
                      <a:lnTo>
                        <a:pt x="933" y="23"/>
                      </a:lnTo>
                      <a:lnTo>
                        <a:pt x="933" y="24"/>
                      </a:lnTo>
                      <a:lnTo>
                        <a:pt x="935" y="26"/>
                      </a:lnTo>
                      <a:lnTo>
                        <a:pt x="935" y="28"/>
                      </a:lnTo>
                      <a:lnTo>
                        <a:pt x="935" y="30"/>
                      </a:lnTo>
                      <a:lnTo>
                        <a:pt x="937" y="30"/>
                      </a:lnTo>
                      <a:lnTo>
                        <a:pt x="939" y="30"/>
                      </a:lnTo>
                      <a:lnTo>
                        <a:pt x="939" y="32"/>
                      </a:lnTo>
                      <a:lnTo>
                        <a:pt x="940" y="32"/>
                      </a:lnTo>
                      <a:lnTo>
                        <a:pt x="940" y="34"/>
                      </a:lnTo>
                      <a:lnTo>
                        <a:pt x="939" y="34"/>
                      </a:lnTo>
                      <a:lnTo>
                        <a:pt x="937" y="34"/>
                      </a:lnTo>
                      <a:lnTo>
                        <a:pt x="937" y="36"/>
                      </a:lnTo>
                      <a:lnTo>
                        <a:pt x="939" y="36"/>
                      </a:lnTo>
                      <a:lnTo>
                        <a:pt x="940" y="36"/>
                      </a:lnTo>
                      <a:lnTo>
                        <a:pt x="942" y="36"/>
                      </a:lnTo>
                      <a:lnTo>
                        <a:pt x="942" y="38"/>
                      </a:lnTo>
                      <a:lnTo>
                        <a:pt x="944" y="38"/>
                      </a:lnTo>
                      <a:lnTo>
                        <a:pt x="946" y="39"/>
                      </a:lnTo>
                      <a:lnTo>
                        <a:pt x="944" y="39"/>
                      </a:lnTo>
                      <a:lnTo>
                        <a:pt x="946" y="39"/>
                      </a:lnTo>
                      <a:lnTo>
                        <a:pt x="946" y="41"/>
                      </a:lnTo>
                      <a:lnTo>
                        <a:pt x="948" y="43"/>
                      </a:lnTo>
                      <a:lnTo>
                        <a:pt x="950" y="43"/>
                      </a:lnTo>
                      <a:lnTo>
                        <a:pt x="950" y="45"/>
                      </a:lnTo>
                      <a:lnTo>
                        <a:pt x="952" y="45"/>
                      </a:lnTo>
                      <a:lnTo>
                        <a:pt x="952" y="47"/>
                      </a:lnTo>
                      <a:lnTo>
                        <a:pt x="954" y="47"/>
                      </a:lnTo>
                      <a:lnTo>
                        <a:pt x="954" y="49"/>
                      </a:lnTo>
                      <a:lnTo>
                        <a:pt x="955" y="49"/>
                      </a:lnTo>
                      <a:lnTo>
                        <a:pt x="957" y="49"/>
                      </a:lnTo>
                      <a:lnTo>
                        <a:pt x="959" y="49"/>
                      </a:lnTo>
                      <a:lnTo>
                        <a:pt x="961" y="51"/>
                      </a:lnTo>
                      <a:lnTo>
                        <a:pt x="963" y="51"/>
                      </a:lnTo>
                      <a:lnTo>
                        <a:pt x="963" y="53"/>
                      </a:lnTo>
                      <a:lnTo>
                        <a:pt x="963" y="55"/>
                      </a:lnTo>
                      <a:lnTo>
                        <a:pt x="963" y="56"/>
                      </a:lnTo>
                      <a:lnTo>
                        <a:pt x="963" y="58"/>
                      </a:lnTo>
                      <a:lnTo>
                        <a:pt x="963" y="60"/>
                      </a:lnTo>
                      <a:lnTo>
                        <a:pt x="963" y="62"/>
                      </a:lnTo>
                      <a:lnTo>
                        <a:pt x="963" y="64"/>
                      </a:lnTo>
                      <a:lnTo>
                        <a:pt x="965" y="64"/>
                      </a:lnTo>
                      <a:lnTo>
                        <a:pt x="967" y="62"/>
                      </a:lnTo>
                      <a:lnTo>
                        <a:pt x="969" y="64"/>
                      </a:lnTo>
                      <a:lnTo>
                        <a:pt x="971" y="62"/>
                      </a:lnTo>
                      <a:lnTo>
                        <a:pt x="972" y="62"/>
                      </a:lnTo>
                      <a:lnTo>
                        <a:pt x="974" y="62"/>
                      </a:lnTo>
                      <a:lnTo>
                        <a:pt x="974" y="64"/>
                      </a:lnTo>
                      <a:lnTo>
                        <a:pt x="976" y="64"/>
                      </a:lnTo>
                      <a:lnTo>
                        <a:pt x="976" y="62"/>
                      </a:lnTo>
                      <a:lnTo>
                        <a:pt x="976" y="60"/>
                      </a:lnTo>
                      <a:lnTo>
                        <a:pt x="976" y="58"/>
                      </a:lnTo>
                      <a:lnTo>
                        <a:pt x="976" y="56"/>
                      </a:lnTo>
                      <a:lnTo>
                        <a:pt x="974" y="56"/>
                      </a:lnTo>
                      <a:lnTo>
                        <a:pt x="974" y="55"/>
                      </a:lnTo>
                      <a:lnTo>
                        <a:pt x="972" y="55"/>
                      </a:lnTo>
                      <a:lnTo>
                        <a:pt x="972" y="53"/>
                      </a:lnTo>
                      <a:lnTo>
                        <a:pt x="972" y="51"/>
                      </a:lnTo>
                      <a:lnTo>
                        <a:pt x="974" y="51"/>
                      </a:lnTo>
                      <a:lnTo>
                        <a:pt x="976" y="51"/>
                      </a:lnTo>
                      <a:lnTo>
                        <a:pt x="978" y="53"/>
                      </a:lnTo>
                      <a:lnTo>
                        <a:pt x="978" y="55"/>
                      </a:lnTo>
                      <a:lnTo>
                        <a:pt x="978" y="56"/>
                      </a:lnTo>
                      <a:lnTo>
                        <a:pt x="980" y="56"/>
                      </a:lnTo>
                      <a:lnTo>
                        <a:pt x="980" y="58"/>
                      </a:lnTo>
                      <a:lnTo>
                        <a:pt x="980" y="60"/>
                      </a:lnTo>
                      <a:lnTo>
                        <a:pt x="980" y="62"/>
                      </a:lnTo>
                      <a:lnTo>
                        <a:pt x="980" y="64"/>
                      </a:lnTo>
                      <a:lnTo>
                        <a:pt x="982" y="64"/>
                      </a:lnTo>
                      <a:lnTo>
                        <a:pt x="982" y="66"/>
                      </a:lnTo>
                      <a:lnTo>
                        <a:pt x="984" y="68"/>
                      </a:lnTo>
                      <a:lnTo>
                        <a:pt x="984" y="70"/>
                      </a:lnTo>
                      <a:lnTo>
                        <a:pt x="986" y="70"/>
                      </a:lnTo>
                      <a:lnTo>
                        <a:pt x="987" y="70"/>
                      </a:lnTo>
                      <a:lnTo>
                        <a:pt x="989" y="71"/>
                      </a:lnTo>
                      <a:lnTo>
                        <a:pt x="989" y="73"/>
                      </a:lnTo>
                      <a:lnTo>
                        <a:pt x="991" y="73"/>
                      </a:lnTo>
                      <a:lnTo>
                        <a:pt x="993" y="73"/>
                      </a:lnTo>
                      <a:lnTo>
                        <a:pt x="993" y="71"/>
                      </a:lnTo>
                      <a:lnTo>
                        <a:pt x="993" y="70"/>
                      </a:lnTo>
                      <a:lnTo>
                        <a:pt x="991" y="70"/>
                      </a:lnTo>
                      <a:lnTo>
                        <a:pt x="991" y="68"/>
                      </a:lnTo>
                      <a:lnTo>
                        <a:pt x="991" y="66"/>
                      </a:lnTo>
                      <a:lnTo>
                        <a:pt x="991" y="64"/>
                      </a:lnTo>
                      <a:lnTo>
                        <a:pt x="991" y="62"/>
                      </a:lnTo>
                      <a:lnTo>
                        <a:pt x="993" y="62"/>
                      </a:lnTo>
                      <a:lnTo>
                        <a:pt x="993" y="60"/>
                      </a:lnTo>
                      <a:lnTo>
                        <a:pt x="993" y="62"/>
                      </a:lnTo>
                      <a:lnTo>
                        <a:pt x="995" y="62"/>
                      </a:lnTo>
                      <a:close/>
                    </a:path>
                  </a:pathLst>
                </a:custGeom>
                <a:solidFill>
                  <a:srgbClr val="CDFFCD"/>
                </a:solidFill>
                <a:ln w="9525">
                  <a:solidFill>
                    <a:schemeClr val="accent6"/>
                  </a:solidFill>
                  <a:round/>
                  <a:headEnd/>
                  <a:tailEnd/>
                </a:ln>
              </p:spPr>
              <p:txBody>
                <a:bodyPr vert="horz" wrap="square" lIns="89614" tIns="44807" rIns="89614" bIns="44807" numCol="1" anchor="t" anchorCtr="0" compatLnSpc="1">
                  <a:prstTxWarp prst="textNoShape">
                    <a:avLst/>
                  </a:prstTxWarp>
                </a:bodyPr>
                <a:lstStyle/>
                <a:p>
                  <a:pPr fontAlgn="base">
                    <a:spcBef>
                      <a:spcPct val="0"/>
                    </a:spcBef>
                    <a:spcAft>
                      <a:spcPct val="0"/>
                    </a:spcAft>
                  </a:pPr>
                  <a:endParaRPr lang="en-US" sz="1568" dirty="0">
                    <a:solidFill>
                      <a:srgbClr val="000000"/>
                    </a:solidFill>
                  </a:endParaRPr>
                </a:p>
              </p:txBody>
            </p:sp>
            <p:sp>
              <p:nvSpPr>
                <p:cNvPr id="50" name="Freeform 34"/>
                <p:cNvSpPr>
                  <a:spLocks/>
                </p:cNvSpPr>
                <p:nvPr/>
              </p:nvSpPr>
              <p:spPr bwMode="auto">
                <a:xfrm>
                  <a:off x="3595688" y="1557338"/>
                  <a:ext cx="2298700" cy="1574800"/>
                </a:xfrm>
                <a:custGeom>
                  <a:avLst/>
                  <a:gdLst>
                    <a:gd name="T0" fmla="*/ 1386 w 1448"/>
                    <a:gd name="T1" fmla="*/ 254 h 992"/>
                    <a:gd name="T2" fmla="*/ 1362 w 1448"/>
                    <a:gd name="T3" fmla="*/ 324 h 992"/>
                    <a:gd name="T4" fmla="*/ 1292 w 1448"/>
                    <a:gd name="T5" fmla="*/ 350 h 992"/>
                    <a:gd name="T6" fmla="*/ 1209 w 1448"/>
                    <a:gd name="T7" fmla="*/ 418 h 992"/>
                    <a:gd name="T8" fmla="*/ 1166 w 1448"/>
                    <a:gd name="T9" fmla="*/ 535 h 992"/>
                    <a:gd name="T10" fmla="*/ 1211 w 1448"/>
                    <a:gd name="T11" fmla="*/ 551 h 992"/>
                    <a:gd name="T12" fmla="*/ 1262 w 1448"/>
                    <a:gd name="T13" fmla="*/ 608 h 992"/>
                    <a:gd name="T14" fmla="*/ 1228 w 1448"/>
                    <a:gd name="T15" fmla="*/ 644 h 992"/>
                    <a:gd name="T16" fmla="*/ 1189 w 1448"/>
                    <a:gd name="T17" fmla="*/ 638 h 992"/>
                    <a:gd name="T18" fmla="*/ 1157 w 1448"/>
                    <a:gd name="T19" fmla="*/ 651 h 992"/>
                    <a:gd name="T20" fmla="*/ 1106 w 1448"/>
                    <a:gd name="T21" fmla="*/ 644 h 992"/>
                    <a:gd name="T22" fmla="*/ 1083 w 1448"/>
                    <a:gd name="T23" fmla="*/ 649 h 992"/>
                    <a:gd name="T24" fmla="*/ 1040 w 1448"/>
                    <a:gd name="T25" fmla="*/ 672 h 992"/>
                    <a:gd name="T26" fmla="*/ 1010 w 1448"/>
                    <a:gd name="T27" fmla="*/ 702 h 992"/>
                    <a:gd name="T28" fmla="*/ 970 w 1448"/>
                    <a:gd name="T29" fmla="*/ 721 h 992"/>
                    <a:gd name="T30" fmla="*/ 985 w 1448"/>
                    <a:gd name="T31" fmla="*/ 759 h 992"/>
                    <a:gd name="T32" fmla="*/ 974 w 1448"/>
                    <a:gd name="T33" fmla="*/ 785 h 992"/>
                    <a:gd name="T34" fmla="*/ 931 w 1448"/>
                    <a:gd name="T35" fmla="*/ 792 h 992"/>
                    <a:gd name="T36" fmla="*/ 899 w 1448"/>
                    <a:gd name="T37" fmla="*/ 834 h 992"/>
                    <a:gd name="T38" fmla="*/ 880 w 1448"/>
                    <a:gd name="T39" fmla="*/ 877 h 992"/>
                    <a:gd name="T40" fmla="*/ 844 w 1448"/>
                    <a:gd name="T41" fmla="*/ 845 h 992"/>
                    <a:gd name="T42" fmla="*/ 797 w 1448"/>
                    <a:gd name="T43" fmla="*/ 845 h 992"/>
                    <a:gd name="T44" fmla="*/ 760 w 1448"/>
                    <a:gd name="T45" fmla="*/ 860 h 992"/>
                    <a:gd name="T46" fmla="*/ 703 w 1448"/>
                    <a:gd name="T47" fmla="*/ 885 h 992"/>
                    <a:gd name="T48" fmla="*/ 666 w 1448"/>
                    <a:gd name="T49" fmla="*/ 922 h 992"/>
                    <a:gd name="T50" fmla="*/ 632 w 1448"/>
                    <a:gd name="T51" fmla="*/ 966 h 992"/>
                    <a:gd name="T52" fmla="*/ 566 w 1448"/>
                    <a:gd name="T53" fmla="*/ 937 h 992"/>
                    <a:gd name="T54" fmla="*/ 555 w 1448"/>
                    <a:gd name="T55" fmla="*/ 866 h 992"/>
                    <a:gd name="T56" fmla="*/ 525 w 1448"/>
                    <a:gd name="T57" fmla="*/ 872 h 992"/>
                    <a:gd name="T58" fmla="*/ 511 w 1448"/>
                    <a:gd name="T59" fmla="*/ 928 h 992"/>
                    <a:gd name="T60" fmla="*/ 506 w 1448"/>
                    <a:gd name="T61" fmla="*/ 968 h 992"/>
                    <a:gd name="T62" fmla="*/ 464 w 1448"/>
                    <a:gd name="T63" fmla="*/ 904 h 992"/>
                    <a:gd name="T64" fmla="*/ 337 w 1448"/>
                    <a:gd name="T65" fmla="*/ 751 h 992"/>
                    <a:gd name="T66" fmla="*/ 261 w 1448"/>
                    <a:gd name="T67" fmla="*/ 615 h 992"/>
                    <a:gd name="T68" fmla="*/ 21 w 1448"/>
                    <a:gd name="T69" fmla="*/ 489 h 992"/>
                    <a:gd name="T70" fmla="*/ 19 w 1448"/>
                    <a:gd name="T71" fmla="*/ 391 h 992"/>
                    <a:gd name="T72" fmla="*/ 28 w 1448"/>
                    <a:gd name="T73" fmla="*/ 348 h 992"/>
                    <a:gd name="T74" fmla="*/ 43 w 1448"/>
                    <a:gd name="T75" fmla="*/ 309 h 992"/>
                    <a:gd name="T76" fmla="*/ 52 w 1448"/>
                    <a:gd name="T77" fmla="*/ 263 h 992"/>
                    <a:gd name="T78" fmla="*/ 71 w 1448"/>
                    <a:gd name="T79" fmla="*/ 226 h 992"/>
                    <a:gd name="T80" fmla="*/ 105 w 1448"/>
                    <a:gd name="T81" fmla="*/ 188 h 992"/>
                    <a:gd name="T82" fmla="*/ 147 w 1448"/>
                    <a:gd name="T83" fmla="*/ 181 h 992"/>
                    <a:gd name="T84" fmla="*/ 199 w 1448"/>
                    <a:gd name="T85" fmla="*/ 188 h 992"/>
                    <a:gd name="T86" fmla="*/ 235 w 1448"/>
                    <a:gd name="T87" fmla="*/ 201 h 992"/>
                    <a:gd name="T88" fmla="*/ 269 w 1448"/>
                    <a:gd name="T89" fmla="*/ 222 h 992"/>
                    <a:gd name="T90" fmla="*/ 299 w 1448"/>
                    <a:gd name="T91" fmla="*/ 246 h 992"/>
                    <a:gd name="T92" fmla="*/ 331 w 1448"/>
                    <a:gd name="T93" fmla="*/ 280 h 992"/>
                    <a:gd name="T94" fmla="*/ 370 w 1448"/>
                    <a:gd name="T95" fmla="*/ 282 h 992"/>
                    <a:gd name="T96" fmla="*/ 416 w 1448"/>
                    <a:gd name="T97" fmla="*/ 294 h 992"/>
                    <a:gd name="T98" fmla="*/ 438 w 1448"/>
                    <a:gd name="T99" fmla="*/ 314 h 992"/>
                    <a:gd name="T100" fmla="*/ 481 w 1448"/>
                    <a:gd name="T101" fmla="*/ 316 h 992"/>
                    <a:gd name="T102" fmla="*/ 534 w 1448"/>
                    <a:gd name="T103" fmla="*/ 329 h 992"/>
                    <a:gd name="T104" fmla="*/ 581 w 1448"/>
                    <a:gd name="T105" fmla="*/ 329 h 992"/>
                    <a:gd name="T106" fmla="*/ 624 w 1448"/>
                    <a:gd name="T107" fmla="*/ 311 h 992"/>
                    <a:gd name="T108" fmla="*/ 671 w 1448"/>
                    <a:gd name="T109" fmla="*/ 320 h 992"/>
                    <a:gd name="T110" fmla="*/ 730 w 1448"/>
                    <a:gd name="T111" fmla="*/ 299 h 992"/>
                    <a:gd name="T112" fmla="*/ 786 w 1448"/>
                    <a:gd name="T113" fmla="*/ 184 h 992"/>
                    <a:gd name="T114" fmla="*/ 829 w 1448"/>
                    <a:gd name="T115" fmla="*/ 53 h 992"/>
                    <a:gd name="T116" fmla="*/ 970 w 1448"/>
                    <a:gd name="T117" fmla="*/ 11 h 992"/>
                    <a:gd name="T118" fmla="*/ 1042 w 1448"/>
                    <a:gd name="T119" fmla="*/ 62 h 992"/>
                    <a:gd name="T120" fmla="*/ 1204 w 1448"/>
                    <a:gd name="T121" fmla="*/ 126 h 992"/>
                    <a:gd name="T122" fmla="*/ 1328 w 1448"/>
                    <a:gd name="T123" fmla="*/ 96 h 992"/>
                    <a:gd name="T124" fmla="*/ 1401 w 1448"/>
                    <a:gd name="T125" fmla="*/ 143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8" h="992">
                      <a:moveTo>
                        <a:pt x="1448" y="190"/>
                      </a:moveTo>
                      <a:lnTo>
                        <a:pt x="1448" y="198"/>
                      </a:lnTo>
                      <a:lnTo>
                        <a:pt x="1446" y="199"/>
                      </a:lnTo>
                      <a:lnTo>
                        <a:pt x="1446" y="198"/>
                      </a:lnTo>
                      <a:lnTo>
                        <a:pt x="1444" y="198"/>
                      </a:lnTo>
                      <a:lnTo>
                        <a:pt x="1444" y="199"/>
                      </a:lnTo>
                      <a:lnTo>
                        <a:pt x="1441" y="199"/>
                      </a:lnTo>
                      <a:lnTo>
                        <a:pt x="1431" y="201"/>
                      </a:lnTo>
                      <a:lnTo>
                        <a:pt x="1429" y="199"/>
                      </a:lnTo>
                      <a:lnTo>
                        <a:pt x="1424" y="194"/>
                      </a:lnTo>
                      <a:lnTo>
                        <a:pt x="1418" y="196"/>
                      </a:lnTo>
                      <a:lnTo>
                        <a:pt x="1418" y="205"/>
                      </a:lnTo>
                      <a:lnTo>
                        <a:pt x="1405" y="209"/>
                      </a:lnTo>
                      <a:lnTo>
                        <a:pt x="1401" y="209"/>
                      </a:lnTo>
                      <a:lnTo>
                        <a:pt x="1401" y="205"/>
                      </a:lnTo>
                      <a:lnTo>
                        <a:pt x="1394" y="211"/>
                      </a:lnTo>
                      <a:lnTo>
                        <a:pt x="1390" y="214"/>
                      </a:lnTo>
                      <a:lnTo>
                        <a:pt x="1386" y="214"/>
                      </a:lnTo>
                      <a:lnTo>
                        <a:pt x="1384" y="216"/>
                      </a:lnTo>
                      <a:lnTo>
                        <a:pt x="1375" y="207"/>
                      </a:lnTo>
                      <a:lnTo>
                        <a:pt x="1373" y="203"/>
                      </a:lnTo>
                      <a:lnTo>
                        <a:pt x="1367" y="205"/>
                      </a:lnTo>
                      <a:lnTo>
                        <a:pt x="1365" y="205"/>
                      </a:lnTo>
                      <a:lnTo>
                        <a:pt x="1358" y="216"/>
                      </a:lnTo>
                      <a:lnTo>
                        <a:pt x="1362" y="222"/>
                      </a:lnTo>
                      <a:lnTo>
                        <a:pt x="1365" y="226"/>
                      </a:lnTo>
                      <a:lnTo>
                        <a:pt x="1371" y="222"/>
                      </a:lnTo>
                      <a:lnTo>
                        <a:pt x="1373" y="224"/>
                      </a:lnTo>
                      <a:lnTo>
                        <a:pt x="1375" y="228"/>
                      </a:lnTo>
                      <a:lnTo>
                        <a:pt x="1380" y="233"/>
                      </a:lnTo>
                      <a:lnTo>
                        <a:pt x="1382" y="235"/>
                      </a:lnTo>
                      <a:lnTo>
                        <a:pt x="1377" y="237"/>
                      </a:lnTo>
                      <a:lnTo>
                        <a:pt x="1375" y="237"/>
                      </a:lnTo>
                      <a:lnTo>
                        <a:pt x="1375" y="239"/>
                      </a:lnTo>
                      <a:lnTo>
                        <a:pt x="1375" y="241"/>
                      </a:lnTo>
                      <a:lnTo>
                        <a:pt x="1371" y="248"/>
                      </a:lnTo>
                      <a:lnTo>
                        <a:pt x="1379" y="252"/>
                      </a:lnTo>
                      <a:lnTo>
                        <a:pt x="1380" y="252"/>
                      </a:lnTo>
                      <a:lnTo>
                        <a:pt x="1386" y="254"/>
                      </a:lnTo>
                      <a:lnTo>
                        <a:pt x="1386" y="258"/>
                      </a:lnTo>
                      <a:lnTo>
                        <a:pt x="1386" y="260"/>
                      </a:lnTo>
                      <a:lnTo>
                        <a:pt x="1384" y="260"/>
                      </a:lnTo>
                      <a:lnTo>
                        <a:pt x="1380" y="260"/>
                      </a:lnTo>
                      <a:lnTo>
                        <a:pt x="1375" y="258"/>
                      </a:lnTo>
                      <a:lnTo>
                        <a:pt x="1371" y="258"/>
                      </a:lnTo>
                      <a:lnTo>
                        <a:pt x="1367" y="256"/>
                      </a:lnTo>
                      <a:lnTo>
                        <a:pt x="1365" y="263"/>
                      </a:lnTo>
                      <a:lnTo>
                        <a:pt x="1364" y="265"/>
                      </a:lnTo>
                      <a:lnTo>
                        <a:pt x="1362" y="269"/>
                      </a:lnTo>
                      <a:lnTo>
                        <a:pt x="1365" y="271"/>
                      </a:lnTo>
                      <a:lnTo>
                        <a:pt x="1365" y="273"/>
                      </a:lnTo>
                      <a:lnTo>
                        <a:pt x="1367" y="277"/>
                      </a:lnTo>
                      <a:lnTo>
                        <a:pt x="1367" y="280"/>
                      </a:lnTo>
                      <a:lnTo>
                        <a:pt x="1364" y="282"/>
                      </a:lnTo>
                      <a:lnTo>
                        <a:pt x="1364" y="284"/>
                      </a:lnTo>
                      <a:lnTo>
                        <a:pt x="1362" y="284"/>
                      </a:lnTo>
                      <a:lnTo>
                        <a:pt x="1362" y="286"/>
                      </a:lnTo>
                      <a:lnTo>
                        <a:pt x="1360" y="286"/>
                      </a:lnTo>
                      <a:lnTo>
                        <a:pt x="1360" y="288"/>
                      </a:lnTo>
                      <a:lnTo>
                        <a:pt x="1360" y="290"/>
                      </a:lnTo>
                      <a:lnTo>
                        <a:pt x="1360" y="292"/>
                      </a:lnTo>
                      <a:lnTo>
                        <a:pt x="1362" y="292"/>
                      </a:lnTo>
                      <a:lnTo>
                        <a:pt x="1362" y="294"/>
                      </a:lnTo>
                      <a:lnTo>
                        <a:pt x="1362" y="297"/>
                      </a:lnTo>
                      <a:lnTo>
                        <a:pt x="1362" y="299"/>
                      </a:lnTo>
                      <a:lnTo>
                        <a:pt x="1360" y="299"/>
                      </a:lnTo>
                      <a:lnTo>
                        <a:pt x="1362" y="303"/>
                      </a:lnTo>
                      <a:lnTo>
                        <a:pt x="1364" y="307"/>
                      </a:lnTo>
                      <a:lnTo>
                        <a:pt x="1365" y="311"/>
                      </a:lnTo>
                      <a:lnTo>
                        <a:pt x="1365" y="312"/>
                      </a:lnTo>
                      <a:lnTo>
                        <a:pt x="1367" y="314"/>
                      </a:lnTo>
                      <a:lnTo>
                        <a:pt x="1365" y="316"/>
                      </a:lnTo>
                      <a:lnTo>
                        <a:pt x="1364" y="316"/>
                      </a:lnTo>
                      <a:lnTo>
                        <a:pt x="1362" y="316"/>
                      </a:lnTo>
                      <a:lnTo>
                        <a:pt x="1360" y="316"/>
                      </a:lnTo>
                      <a:lnTo>
                        <a:pt x="1360" y="318"/>
                      </a:lnTo>
                      <a:lnTo>
                        <a:pt x="1360" y="320"/>
                      </a:lnTo>
                      <a:lnTo>
                        <a:pt x="1362" y="324"/>
                      </a:lnTo>
                      <a:lnTo>
                        <a:pt x="1362" y="326"/>
                      </a:lnTo>
                      <a:lnTo>
                        <a:pt x="1362" y="324"/>
                      </a:lnTo>
                      <a:lnTo>
                        <a:pt x="1364" y="326"/>
                      </a:lnTo>
                      <a:lnTo>
                        <a:pt x="1364" y="327"/>
                      </a:lnTo>
                      <a:lnTo>
                        <a:pt x="1362" y="329"/>
                      </a:lnTo>
                      <a:lnTo>
                        <a:pt x="1362" y="333"/>
                      </a:lnTo>
                      <a:lnTo>
                        <a:pt x="1358" y="335"/>
                      </a:lnTo>
                      <a:lnTo>
                        <a:pt x="1354" y="335"/>
                      </a:lnTo>
                      <a:lnTo>
                        <a:pt x="1358" y="339"/>
                      </a:lnTo>
                      <a:lnTo>
                        <a:pt x="1354" y="339"/>
                      </a:lnTo>
                      <a:lnTo>
                        <a:pt x="1347" y="341"/>
                      </a:lnTo>
                      <a:lnTo>
                        <a:pt x="1347" y="346"/>
                      </a:lnTo>
                      <a:lnTo>
                        <a:pt x="1345" y="346"/>
                      </a:lnTo>
                      <a:lnTo>
                        <a:pt x="1343" y="346"/>
                      </a:lnTo>
                      <a:lnTo>
                        <a:pt x="1343" y="344"/>
                      </a:lnTo>
                      <a:lnTo>
                        <a:pt x="1343" y="343"/>
                      </a:lnTo>
                      <a:lnTo>
                        <a:pt x="1343" y="341"/>
                      </a:lnTo>
                      <a:lnTo>
                        <a:pt x="1343" y="339"/>
                      </a:lnTo>
                      <a:lnTo>
                        <a:pt x="1345" y="337"/>
                      </a:lnTo>
                      <a:lnTo>
                        <a:pt x="1345" y="335"/>
                      </a:lnTo>
                      <a:lnTo>
                        <a:pt x="1343" y="335"/>
                      </a:lnTo>
                      <a:lnTo>
                        <a:pt x="1341" y="335"/>
                      </a:lnTo>
                      <a:lnTo>
                        <a:pt x="1339" y="335"/>
                      </a:lnTo>
                      <a:lnTo>
                        <a:pt x="1339" y="333"/>
                      </a:lnTo>
                      <a:lnTo>
                        <a:pt x="1337" y="333"/>
                      </a:lnTo>
                      <a:lnTo>
                        <a:pt x="1335" y="335"/>
                      </a:lnTo>
                      <a:lnTo>
                        <a:pt x="1335" y="337"/>
                      </a:lnTo>
                      <a:lnTo>
                        <a:pt x="1333" y="341"/>
                      </a:lnTo>
                      <a:lnTo>
                        <a:pt x="1335" y="343"/>
                      </a:lnTo>
                      <a:lnTo>
                        <a:pt x="1333" y="343"/>
                      </a:lnTo>
                      <a:lnTo>
                        <a:pt x="1330" y="346"/>
                      </a:lnTo>
                      <a:lnTo>
                        <a:pt x="1318" y="350"/>
                      </a:lnTo>
                      <a:lnTo>
                        <a:pt x="1307" y="356"/>
                      </a:lnTo>
                      <a:lnTo>
                        <a:pt x="1307" y="346"/>
                      </a:lnTo>
                      <a:lnTo>
                        <a:pt x="1307" y="343"/>
                      </a:lnTo>
                      <a:lnTo>
                        <a:pt x="1305" y="344"/>
                      </a:lnTo>
                      <a:lnTo>
                        <a:pt x="1303" y="344"/>
                      </a:lnTo>
                      <a:lnTo>
                        <a:pt x="1298" y="348"/>
                      </a:lnTo>
                      <a:lnTo>
                        <a:pt x="1292" y="350"/>
                      </a:lnTo>
                      <a:lnTo>
                        <a:pt x="1288" y="344"/>
                      </a:lnTo>
                      <a:lnTo>
                        <a:pt x="1286" y="341"/>
                      </a:lnTo>
                      <a:lnTo>
                        <a:pt x="1285" y="341"/>
                      </a:lnTo>
                      <a:lnTo>
                        <a:pt x="1283" y="341"/>
                      </a:lnTo>
                      <a:lnTo>
                        <a:pt x="1283" y="339"/>
                      </a:lnTo>
                      <a:lnTo>
                        <a:pt x="1283" y="335"/>
                      </a:lnTo>
                      <a:lnTo>
                        <a:pt x="1281" y="333"/>
                      </a:lnTo>
                      <a:lnTo>
                        <a:pt x="1281" y="331"/>
                      </a:lnTo>
                      <a:lnTo>
                        <a:pt x="1283" y="333"/>
                      </a:lnTo>
                      <a:lnTo>
                        <a:pt x="1281" y="327"/>
                      </a:lnTo>
                      <a:lnTo>
                        <a:pt x="1271" y="331"/>
                      </a:lnTo>
                      <a:lnTo>
                        <a:pt x="1269" y="333"/>
                      </a:lnTo>
                      <a:lnTo>
                        <a:pt x="1269" y="335"/>
                      </a:lnTo>
                      <a:lnTo>
                        <a:pt x="1264" y="339"/>
                      </a:lnTo>
                      <a:lnTo>
                        <a:pt x="1260" y="341"/>
                      </a:lnTo>
                      <a:lnTo>
                        <a:pt x="1256" y="343"/>
                      </a:lnTo>
                      <a:lnTo>
                        <a:pt x="1256" y="344"/>
                      </a:lnTo>
                      <a:lnTo>
                        <a:pt x="1253" y="343"/>
                      </a:lnTo>
                      <a:lnTo>
                        <a:pt x="1249" y="346"/>
                      </a:lnTo>
                      <a:lnTo>
                        <a:pt x="1245" y="346"/>
                      </a:lnTo>
                      <a:lnTo>
                        <a:pt x="1241" y="346"/>
                      </a:lnTo>
                      <a:lnTo>
                        <a:pt x="1236" y="348"/>
                      </a:lnTo>
                      <a:lnTo>
                        <a:pt x="1237" y="354"/>
                      </a:lnTo>
                      <a:lnTo>
                        <a:pt x="1234" y="354"/>
                      </a:lnTo>
                      <a:lnTo>
                        <a:pt x="1236" y="363"/>
                      </a:lnTo>
                      <a:lnTo>
                        <a:pt x="1234" y="363"/>
                      </a:lnTo>
                      <a:lnTo>
                        <a:pt x="1234" y="380"/>
                      </a:lnTo>
                      <a:lnTo>
                        <a:pt x="1234" y="386"/>
                      </a:lnTo>
                      <a:lnTo>
                        <a:pt x="1232" y="390"/>
                      </a:lnTo>
                      <a:lnTo>
                        <a:pt x="1230" y="390"/>
                      </a:lnTo>
                      <a:lnTo>
                        <a:pt x="1228" y="391"/>
                      </a:lnTo>
                      <a:lnTo>
                        <a:pt x="1228" y="393"/>
                      </a:lnTo>
                      <a:lnTo>
                        <a:pt x="1228" y="401"/>
                      </a:lnTo>
                      <a:lnTo>
                        <a:pt x="1226" y="407"/>
                      </a:lnTo>
                      <a:lnTo>
                        <a:pt x="1226" y="410"/>
                      </a:lnTo>
                      <a:lnTo>
                        <a:pt x="1224" y="410"/>
                      </a:lnTo>
                      <a:lnTo>
                        <a:pt x="1224" y="414"/>
                      </a:lnTo>
                      <a:lnTo>
                        <a:pt x="1224" y="420"/>
                      </a:lnTo>
                      <a:lnTo>
                        <a:pt x="1209" y="418"/>
                      </a:lnTo>
                      <a:lnTo>
                        <a:pt x="1209" y="427"/>
                      </a:lnTo>
                      <a:lnTo>
                        <a:pt x="1209" y="429"/>
                      </a:lnTo>
                      <a:lnTo>
                        <a:pt x="1204" y="429"/>
                      </a:lnTo>
                      <a:lnTo>
                        <a:pt x="1202" y="427"/>
                      </a:lnTo>
                      <a:lnTo>
                        <a:pt x="1200" y="427"/>
                      </a:lnTo>
                      <a:lnTo>
                        <a:pt x="1196" y="427"/>
                      </a:lnTo>
                      <a:lnTo>
                        <a:pt x="1194" y="427"/>
                      </a:lnTo>
                      <a:lnTo>
                        <a:pt x="1192" y="427"/>
                      </a:lnTo>
                      <a:lnTo>
                        <a:pt x="1194" y="442"/>
                      </a:lnTo>
                      <a:lnTo>
                        <a:pt x="1196" y="450"/>
                      </a:lnTo>
                      <a:lnTo>
                        <a:pt x="1196" y="452"/>
                      </a:lnTo>
                      <a:lnTo>
                        <a:pt x="1198" y="454"/>
                      </a:lnTo>
                      <a:lnTo>
                        <a:pt x="1198" y="457"/>
                      </a:lnTo>
                      <a:lnTo>
                        <a:pt x="1200" y="459"/>
                      </a:lnTo>
                      <a:lnTo>
                        <a:pt x="1200" y="463"/>
                      </a:lnTo>
                      <a:lnTo>
                        <a:pt x="1202" y="465"/>
                      </a:lnTo>
                      <a:lnTo>
                        <a:pt x="1198" y="469"/>
                      </a:lnTo>
                      <a:lnTo>
                        <a:pt x="1196" y="471"/>
                      </a:lnTo>
                      <a:lnTo>
                        <a:pt x="1194" y="472"/>
                      </a:lnTo>
                      <a:lnTo>
                        <a:pt x="1189" y="474"/>
                      </a:lnTo>
                      <a:lnTo>
                        <a:pt x="1187" y="474"/>
                      </a:lnTo>
                      <a:lnTo>
                        <a:pt x="1183" y="478"/>
                      </a:lnTo>
                      <a:lnTo>
                        <a:pt x="1177" y="482"/>
                      </a:lnTo>
                      <a:lnTo>
                        <a:pt x="1175" y="482"/>
                      </a:lnTo>
                      <a:lnTo>
                        <a:pt x="1170" y="489"/>
                      </a:lnTo>
                      <a:lnTo>
                        <a:pt x="1166" y="493"/>
                      </a:lnTo>
                      <a:lnTo>
                        <a:pt x="1172" y="506"/>
                      </a:lnTo>
                      <a:lnTo>
                        <a:pt x="1175" y="512"/>
                      </a:lnTo>
                      <a:lnTo>
                        <a:pt x="1175" y="514"/>
                      </a:lnTo>
                      <a:lnTo>
                        <a:pt x="1174" y="514"/>
                      </a:lnTo>
                      <a:lnTo>
                        <a:pt x="1174" y="516"/>
                      </a:lnTo>
                      <a:lnTo>
                        <a:pt x="1175" y="516"/>
                      </a:lnTo>
                      <a:lnTo>
                        <a:pt x="1175" y="525"/>
                      </a:lnTo>
                      <a:lnTo>
                        <a:pt x="1175" y="529"/>
                      </a:lnTo>
                      <a:lnTo>
                        <a:pt x="1172" y="533"/>
                      </a:lnTo>
                      <a:lnTo>
                        <a:pt x="1170" y="533"/>
                      </a:lnTo>
                      <a:lnTo>
                        <a:pt x="1168" y="533"/>
                      </a:lnTo>
                      <a:lnTo>
                        <a:pt x="1164" y="535"/>
                      </a:lnTo>
                      <a:lnTo>
                        <a:pt x="1166" y="535"/>
                      </a:lnTo>
                      <a:lnTo>
                        <a:pt x="1162" y="535"/>
                      </a:lnTo>
                      <a:lnTo>
                        <a:pt x="1157" y="535"/>
                      </a:lnTo>
                      <a:lnTo>
                        <a:pt x="1158" y="535"/>
                      </a:lnTo>
                      <a:lnTo>
                        <a:pt x="1160" y="542"/>
                      </a:lnTo>
                      <a:lnTo>
                        <a:pt x="1162" y="542"/>
                      </a:lnTo>
                      <a:lnTo>
                        <a:pt x="1164" y="546"/>
                      </a:lnTo>
                      <a:lnTo>
                        <a:pt x="1164" y="550"/>
                      </a:lnTo>
                      <a:lnTo>
                        <a:pt x="1175" y="548"/>
                      </a:lnTo>
                      <a:lnTo>
                        <a:pt x="1177" y="555"/>
                      </a:lnTo>
                      <a:lnTo>
                        <a:pt x="1177" y="557"/>
                      </a:lnTo>
                      <a:lnTo>
                        <a:pt x="1177" y="563"/>
                      </a:lnTo>
                      <a:lnTo>
                        <a:pt x="1179" y="567"/>
                      </a:lnTo>
                      <a:lnTo>
                        <a:pt x="1181" y="567"/>
                      </a:lnTo>
                      <a:lnTo>
                        <a:pt x="1183" y="567"/>
                      </a:lnTo>
                      <a:lnTo>
                        <a:pt x="1183" y="565"/>
                      </a:lnTo>
                      <a:lnTo>
                        <a:pt x="1183" y="567"/>
                      </a:lnTo>
                      <a:lnTo>
                        <a:pt x="1185" y="567"/>
                      </a:lnTo>
                      <a:lnTo>
                        <a:pt x="1185" y="565"/>
                      </a:lnTo>
                      <a:lnTo>
                        <a:pt x="1185" y="567"/>
                      </a:lnTo>
                      <a:lnTo>
                        <a:pt x="1185" y="565"/>
                      </a:lnTo>
                      <a:lnTo>
                        <a:pt x="1185" y="567"/>
                      </a:lnTo>
                      <a:lnTo>
                        <a:pt x="1187" y="567"/>
                      </a:lnTo>
                      <a:lnTo>
                        <a:pt x="1187" y="565"/>
                      </a:lnTo>
                      <a:lnTo>
                        <a:pt x="1187" y="567"/>
                      </a:lnTo>
                      <a:lnTo>
                        <a:pt x="1187" y="565"/>
                      </a:lnTo>
                      <a:lnTo>
                        <a:pt x="1189" y="565"/>
                      </a:lnTo>
                      <a:lnTo>
                        <a:pt x="1189" y="563"/>
                      </a:lnTo>
                      <a:lnTo>
                        <a:pt x="1189" y="565"/>
                      </a:lnTo>
                      <a:lnTo>
                        <a:pt x="1189" y="563"/>
                      </a:lnTo>
                      <a:lnTo>
                        <a:pt x="1190" y="563"/>
                      </a:lnTo>
                      <a:lnTo>
                        <a:pt x="1192" y="563"/>
                      </a:lnTo>
                      <a:lnTo>
                        <a:pt x="1194" y="563"/>
                      </a:lnTo>
                      <a:lnTo>
                        <a:pt x="1196" y="563"/>
                      </a:lnTo>
                      <a:lnTo>
                        <a:pt x="1206" y="561"/>
                      </a:lnTo>
                      <a:lnTo>
                        <a:pt x="1202" y="553"/>
                      </a:lnTo>
                      <a:lnTo>
                        <a:pt x="1204" y="550"/>
                      </a:lnTo>
                      <a:lnTo>
                        <a:pt x="1204" y="548"/>
                      </a:lnTo>
                      <a:lnTo>
                        <a:pt x="1211" y="550"/>
                      </a:lnTo>
                      <a:lnTo>
                        <a:pt x="1211" y="551"/>
                      </a:lnTo>
                      <a:lnTo>
                        <a:pt x="1213" y="553"/>
                      </a:lnTo>
                      <a:lnTo>
                        <a:pt x="1215" y="557"/>
                      </a:lnTo>
                      <a:lnTo>
                        <a:pt x="1213" y="559"/>
                      </a:lnTo>
                      <a:lnTo>
                        <a:pt x="1215" y="561"/>
                      </a:lnTo>
                      <a:lnTo>
                        <a:pt x="1219" y="565"/>
                      </a:lnTo>
                      <a:lnTo>
                        <a:pt x="1221" y="567"/>
                      </a:lnTo>
                      <a:lnTo>
                        <a:pt x="1222" y="567"/>
                      </a:lnTo>
                      <a:lnTo>
                        <a:pt x="1224" y="570"/>
                      </a:lnTo>
                      <a:lnTo>
                        <a:pt x="1226" y="570"/>
                      </a:lnTo>
                      <a:lnTo>
                        <a:pt x="1228" y="567"/>
                      </a:lnTo>
                      <a:lnTo>
                        <a:pt x="1234" y="565"/>
                      </a:lnTo>
                      <a:lnTo>
                        <a:pt x="1236" y="567"/>
                      </a:lnTo>
                      <a:lnTo>
                        <a:pt x="1243" y="568"/>
                      </a:lnTo>
                      <a:lnTo>
                        <a:pt x="1247" y="570"/>
                      </a:lnTo>
                      <a:lnTo>
                        <a:pt x="1262" y="570"/>
                      </a:lnTo>
                      <a:lnTo>
                        <a:pt x="1262" y="578"/>
                      </a:lnTo>
                      <a:lnTo>
                        <a:pt x="1262" y="580"/>
                      </a:lnTo>
                      <a:lnTo>
                        <a:pt x="1264" y="580"/>
                      </a:lnTo>
                      <a:lnTo>
                        <a:pt x="1264" y="589"/>
                      </a:lnTo>
                      <a:lnTo>
                        <a:pt x="1271" y="583"/>
                      </a:lnTo>
                      <a:lnTo>
                        <a:pt x="1271" y="589"/>
                      </a:lnTo>
                      <a:lnTo>
                        <a:pt x="1271" y="591"/>
                      </a:lnTo>
                      <a:lnTo>
                        <a:pt x="1268" y="593"/>
                      </a:lnTo>
                      <a:lnTo>
                        <a:pt x="1266" y="593"/>
                      </a:lnTo>
                      <a:lnTo>
                        <a:pt x="1266" y="595"/>
                      </a:lnTo>
                      <a:lnTo>
                        <a:pt x="1268" y="595"/>
                      </a:lnTo>
                      <a:lnTo>
                        <a:pt x="1268" y="597"/>
                      </a:lnTo>
                      <a:lnTo>
                        <a:pt x="1266" y="597"/>
                      </a:lnTo>
                      <a:lnTo>
                        <a:pt x="1266" y="599"/>
                      </a:lnTo>
                      <a:lnTo>
                        <a:pt x="1264" y="599"/>
                      </a:lnTo>
                      <a:lnTo>
                        <a:pt x="1262" y="599"/>
                      </a:lnTo>
                      <a:lnTo>
                        <a:pt x="1262" y="600"/>
                      </a:lnTo>
                      <a:lnTo>
                        <a:pt x="1264" y="600"/>
                      </a:lnTo>
                      <a:lnTo>
                        <a:pt x="1264" y="602"/>
                      </a:lnTo>
                      <a:lnTo>
                        <a:pt x="1266" y="604"/>
                      </a:lnTo>
                      <a:lnTo>
                        <a:pt x="1266" y="606"/>
                      </a:lnTo>
                      <a:lnTo>
                        <a:pt x="1266" y="608"/>
                      </a:lnTo>
                      <a:lnTo>
                        <a:pt x="1264" y="608"/>
                      </a:lnTo>
                      <a:lnTo>
                        <a:pt x="1262" y="608"/>
                      </a:lnTo>
                      <a:lnTo>
                        <a:pt x="1260" y="608"/>
                      </a:lnTo>
                      <a:lnTo>
                        <a:pt x="1260" y="606"/>
                      </a:lnTo>
                      <a:lnTo>
                        <a:pt x="1258" y="606"/>
                      </a:lnTo>
                      <a:lnTo>
                        <a:pt x="1256" y="608"/>
                      </a:lnTo>
                      <a:lnTo>
                        <a:pt x="1256" y="610"/>
                      </a:lnTo>
                      <a:lnTo>
                        <a:pt x="1254" y="610"/>
                      </a:lnTo>
                      <a:lnTo>
                        <a:pt x="1253" y="610"/>
                      </a:lnTo>
                      <a:lnTo>
                        <a:pt x="1251" y="608"/>
                      </a:lnTo>
                      <a:lnTo>
                        <a:pt x="1249" y="608"/>
                      </a:lnTo>
                      <a:lnTo>
                        <a:pt x="1249" y="610"/>
                      </a:lnTo>
                      <a:lnTo>
                        <a:pt x="1247" y="610"/>
                      </a:lnTo>
                      <a:lnTo>
                        <a:pt x="1247" y="612"/>
                      </a:lnTo>
                      <a:lnTo>
                        <a:pt x="1247" y="614"/>
                      </a:lnTo>
                      <a:lnTo>
                        <a:pt x="1249" y="614"/>
                      </a:lnTo>
                      <a:lnTo>
                        <a:pt x="1249" y="615"/>
                      </a:lnTo>
                      <a:lnTo>
                        <a:pt x="1249" y="617"/>
                      </a:lnTo>
                      <a:lnTo>
                        <a:pt x="1249" y="619"/>
                      </a:lnTo>
                      <a:lnTo>
                        <a:pt x="1247" y="621"/>
                      </a:lnTo>
                      <a:lnTo>
                        <a:pt x="1249" y="621"/>
                      </a:lnTo>
                      <a:lnTo>
                        <a:pt x="1249" y="623"/>
                      </a:lnTo>
                      <a:lnTo>
                        <a:pt x="1249" y="625"/>
                      </a:lnTo>
                      <a:lnTo>
                        <a:pt x="1247" y="625"/>
                      </a:lnTo>
                      <a:lnTo>
                        <a:pt x="1245" y="625"/>
                      </a:lnTo>
                      <a:lnTo>
                        <a:pt x="1245" y="627"/>
                      </a:lnTo>
                      <a:lnTo>
                        <a:pt x="1243" y="627"/>
                      </a:lnTo>
                      <a:lnTo>
                        <a:pt x="1241" y="629"/>
                      </a:lnTo>
                      <a:lnTo>
                        <a:pt x="1241" y="631"/>
                      </a:lnTo>
                      <a:lnTo>
                        <a:pt x="1239" y="631"/>
                      </a:lnTo>
                      <a:lnTo>
                        <a:pt x="1239" y="632"/>
                      </a:lnTo>
                      <a:lnTo>
                        <a:pt x="1239" y="634"/>
                      </a:lnTo>
                      <a:lnTo>
                        <a:pt x="1239" y="636"/>
                      </a:lnTo>
                      <a:lnTo>
                        <a:pt x="1239" y="638"/>
                      </a:lnTo>
                      <a:lnTo>
                        <a:pt x="1237" y="638"/>
                      </a:lnTo>
                      <a:lnTo>
                        <a:pt x="1236" y="640"/>
                      </a:lnTo>
                      <a:lnTo>
                        <a:pt x="1234" y="640"/>
                      </a:lnTo>
                      <a:lnTo>
                        <a:pt x="1232" y="640"/>
                      </a:lnTo>
                      <a:lnTo>
                        <a:pt x="1232" y="642"/>
                      </a:lnTo>
                      <a:lnTo>
                        <a:pt x="1230" y="642"/>
                      </a:lnTo>
                      <a:lnTo>
                        <a:pt x="1228" y="644"/>
                      </a:lnTo>
                      <a:lnTo>
                        <a:pt x="1228" y="646"/>
                      </a:lnTo>
                      <a:lnTo>
                        <a:pt x="1226" y="646"/>
                      </a:lnTo>
                      <a:lnTo>
                        <a:pt x="1226" y="647"/>
                      </a:lnTo>
                      <a:lnTo>
                        <a:pt x="1224" y="649"/>
                      </a:lnTo>
                      <a:lnTo>
                        <a:pt x="1222" y="649"/>
                      </a:lnTo>
                      <a:lnTo>
                        <a:pt x="1221" y="649"/>
                      </a:lnTo>
                      <a:lnTo>
                        <a:pt x="1219" y="649"/>
                      </a:lnTo>
                      <a:lnTo>
                        <a:pt x="1219" y="647"/>
                      </a:lnTo>
                      <a:lnTo>
                        <a:pt x="1217" y="647"/>
                      </a:lnTo>
                      <a:lnTo>
                        <a:pt x="1217" y="646"/>
                      </a:lnTo>
                      <a:lnTo>
                        <a:pt x="1217" y="644"/>
                      </a:lnTo>
                      <a:lnTo>
                        <a:pt x="1215" y="642"/>
                      </a:lnTo>
                      <a:lnTo>
                        <a:pt x="1215" y="644"/>
                      </a:lnTo>
                      <a:lnTo>
                        <a:pt x="1213" y="644"/>
                      </a:lnTo>
                      <a:lnTo>
                        <a:pt x="1211" y="644"/>
                      </a:lnTo>
                      <a:lnTo>
                        <a:pt x="1211" y="642"/>
                      </a:lnTo>
                      <a:lnTo>
                        <a:pt x="1211" y="640"/>
                      </a:lnTo>
                      <a:lnTo>
                        <a:pt x="1209" y="638"/>
                      </a:lnTo>
                      <a:lnTo>
                        <a:pt x="1207" y="638"/>
                      </a:lnTo>
                      <a:lnTo>
                        <a:pt x="1207" y="636"/>
                      </a:lnTo>
                      <a:lnTo>
                        <a:pt x="1206" y="636"/>
                      </a:lnTo>
                      <a:lnTo>
                        <a:pt x="1206" y="634"/>
                      </a:lnTo>
                      <a:lnTo>
                        <a:pt x="1204" y="634"/>
                      </a:lnTo>
                      <a:lnTo>
                        <a:pt x="1204" y="632"/>
                      </a:lnTo>
                      <a:lnTo>
                        <a:pt x="1204" y="631"/>
                      </a:lnTo>
                      <a:lnTo>
                        <a:pt x="1202" y="631"/>
                      </a:lnTo>
                      <a:lnTo>
                        <a:pt x="1202" y="629"/>
                      </a:lnTo>
                      <a:lnTo>
                        <a:pt x="1200" y="629"/>
                      </a:lnTo>
                      <a:lnTo>
                        <a:pt x="1198" y="629"/>
                      </a:lnTo>
                      <a:lnTo>
                        <a:pt x="1196" y="629"/>
                      </a:lnTo>
                      <a:lnTo>
                        <a:pt x="1194" y="629"/>
                      </a:lnTo>
                      <a:lnTo>
                        <a:pt x="1194" y="631"/>
                      </a:lnTo>
                      <a:lnTo>
                        <a:pt x="1194" y="632"/>
                      </a:lnTo>
                      <a:lnTo>
                        <a:pt x="1192" y="632"/>
                      </a:lnTo>
                      <a:lnTo>
                        <a:pt x="1192" y="634"/>
                      </a:lnTo>
                      <a:lnTo>
                        <a:pt x="1192" y="636"/>
                      </a:lnTo>
                      <a:lnTo>
                        <a:pt x="1190" y="636"/>
                      </a:lnTo>
                      <a:lnTo>
                        <a:pt x="1190" y="638"/>
                      </a:lnTo>
                      <a:lnTo>
                        <a:pt x="1189" y="638"/>
                      </a:lnTo>
                      <a:lnTo>
                        <a:pt x="1189" y="640"/>
                      </a:lnTo>
                      <a:lnTo>
                        <a:pt x="1187" y="640"/>
                      </a:lnTo>
                      <a:lnTo>
                        <a:pt x="1185" y="642"/>
                      </a:lnTo>
                      <a:lnTo>
                        <a:pt x="1185" y="644"/>
                      </a:lnTo>
                      <a:lnTo>
                        <a:pt x="1185" y="646"/>
                      </a:lnTo>
                      <a:lnTo>
                        <a:pt x="1183" y="646"/>
                      </a:lnTo>
                      <a:lnTo>
                        <a:pt x="1181" y="646"/>
                      </a:lnTo>
                      <a:lnTo>
                        <a:pt x="1181" y="647"/>
                      </a:lnTo>
                      <a:lnTo>
                        <a:pt x="1179" y="647"/>
                      </a:lnTo>
                      <a:lnTo>
                        <a:pt x="1177" y="649"/>
                      </a:lnTo>
                      <a:lnTo>
                        <a:pt x="1177" y="651"/>
                      </a:lnTo>
                      <a:lnTo>
                        <a:pt x="1175" y="653"/>
                      </a:lnTo>
                      <a:lnTo>
                        <a:pt x="1175" y="655"/>
                      </a:lnTo>
                      <a:lnTo>
                        <a:pt x="1174" y="655"/>
                      </a:lnTo>
                      <a:lnTo>
                        <a:pt x="1172" y="657"/>
                      </a:lnTo>
                      <a:lnTo>
                        <a:pt x="1172" y="659"/>
                      </a:lnTo>
                      <a:lnTo>
                        <a:pt x="1172" y="661"/>
                      </a:lnTo>
                      <a:lnTo>
                        <a:pt x="1172" y="663"/>
                      </a:lnTo>
                      <a:lnTo>
                        <a:pt x="1172" y="664"/>
                      </a:lnTo>
                      <a:lnTo>
                        <a:pt x="1170" y="664"/>
                      </a:lnTo>
                      <a:lnTo>
                        <a:pt x="1170" y="666"/>
                      </a:lnTo>
                      <a:lnTo>
                        <a:pt x="1168" y="664"/>
                      </a:lnTo>
                      <a:lnTo>
                        <a:pt x="1166" y="664"/>
                      </a:lnTo>
                      <a:lnTo>
                        <a:pt x="1164" y="664"/>
                      </a:lnTo>
                      <a:lnTo>
                        <a:pt x="1164" y="663"/>
                      </a:lnTo>
                      <a:lnTo>
                        <a:pt x="1162" y="663"/>
                      </a:lnTo>
                      <a:lnTo>
                        <a:pt x="1162" y="661"/>
                      </a:lnTo>
                      <a:lnTo>
                        <a:pt x="1162" y="659"/>
                      </a:lnTo>
                      <a:lnTo>
                        <a:pt x="1164" y="659"/>
                      </a:lnTo>
                      <a:lnTo>
                        <a:pt x="1164" y="657"/>
                      </a:lnTo>
                      <a:lnTo>
                        <a:pt x="1164" y="655"/>
                      </a:lnTo>
                      <a:lnTo>
                        <a:pt x="1164" y="653"/>
                      </a:lnTo>
                      <a:lnTo>
                        <a:pt x="1164" y="651"/>
                      </a:lnTo>
                      <a:lnTo>
                        <a:pt x="1164" y="649"/>
                      </a:lnTo>
                      <a:lnTo>
                        <a:pt x="1162" y="649"/>
                      </a:lnTo>
                      <a:lnTo>
                        <a:pt x="1160" y="649"/>
                      </a:lnTo>
                      <a:lnTo>
                        <a:pt x="1158" y="649"/>
                      </a:lnTo>
                      <a:lnTo>
                        <a:pt x="1158" y="651"/>
                      </a:lnTo>
                      <a:lnTo>
                        <a:pt x="1157" y="651"/>
                      </a:lnTo>
                      <a:lnTo>
                        <a:pt x="1157" y="653"/>
                      </a:lnTo>
                      <a:lnTo>
                        <a:pt x="1155" y="653"/>
                      </a:lnTo>
                      <a:lnTo>
                        <a:pt x="1155" y="655"/>
                      </a:lnTo>
                      <a:lnTo>
                        <a:pt x="1153" y="655"/>
                      </a:lnTo>
                      <a:lnTo>
                        <a:pt x="1153" y="653"/>
                      </a:lnTo>
                      <a:lnTo>
                        <a:pt x="1151" y="653"/>
                      </a:lnTo>
                      <a:lnTo>
                        <a:pt x="1149" y="651"/>
                      </a:lnTo>
                      <a:lnTo>
                        <a:pt x="1147" y="651"/>
                      </a:lnTo>
                      <a:lnTo>
                        <a:pt x="1147" y="649"/>
                      </a:lnTo>
                      <a:lnTo>
                        <a:pt x="1145" y="649"/>
                      </a:lnTo>
                      <a:lnTo>
                        <a:pt x="1143" y="649"/>
                      </a:lnTo>
                      <a:lnTo>
                        <a:pt x="1143" y="651"/>
                      </a:lnTo>
                      <a:lnTo>
                        <a:pt x="1142" y="651"/>
                      </a:lnTo>
                      <a:lnTo>
                        <a:pt x="1140" y="651"/>
                      </a:lnTo>
                      <a:lnTo>
                        <a:pt x="1140" y="653"/>
                      </a:lnTo>
                      <a:lnTo>
                        <a:pt x="1138" y="653"/>
                      </a:lnTo>
                      <a:lnTo>
                        <a:pt x="1136" y="653"/>
                      </a:lnTo>
                      <a:lnTo>
                        <a:pt x="1134" y="653"/>
                      </a:lnTo>
                      <a:lnTo>
                        <a:pt x="1132" y="653"/>
                      </a:lnTo>
                      <a:lnTo>
                        <a:pt x="1130" y="653"/>
                      </a:lnTo>
                      <a:lnTo>
                        <a:pt x="1128" y="653"/>
                      </a:lnTo>
                      <a:lnTo>
                        <a:pt x="1127" y="653"/>
                      </a:lnTo>
                      <a:lnTo>
                        <a:pt x="1125" y="653"/>
                      </a:lnTo>
                      <a:lnTo>
                        <a:pt x="1123" y="653"/>
                      </a:lnTo>
                      <a:lnTo>
                        <a:pt x="1123" y="651"/>
                      </a:lnTo>
                      <a:lnTo>
                        <a:pt x="1123" y="653"/>
                      </a:lnTo>
                      <a:lnTo>
                        <a:pt x="1123" y="651"/>
                      </a:lnTo>
                      <a:lnTo>
                        <a:pt x="1121" y="651"/>
                      </a:lnTo>
                      <a:lnTo>
                        <a:pt x="1119" y="651"/>
                      </a:lnTo>
                      <a:lnTo>
                        <a:pt x="1119" y="649"/>
                      </a:lnTo>
                      <a:lnTo>
                        <a:pt x="1117" y="649"/>
                      </a:lnTo>
                      <a:lnTo>
                        <a:pt x="1115" y="649"/>
                      </a:lnTo>
                      <a:lnTo>
                        <a:pt x="1115" y="647"/>
                      </a:lnTo>
                      <a:lnTo>
                        <a:pt x="1113" y="647"/>
                      </a:lnTo>
                      <a:lnTo>
                        <a:pt x="1111" y="646"/>
                      </a:lnTo>
                      <a:lnTo>
                        <a:pt x="1110" y="646"/>
                      </a:lnTo>
                      <a:lnTo>
                        <a:pt x="1110" y="644"/>
                      </a:lnTo>
                      <a:lnTo>
                        <a:pt x="1108" y="644"/>
                      </a:lnTo>
                      <a:lnTo>
                        <a:pt x="1106" y="644"/>
                      </a:lnTo>
                      <a:lnTo>
                        <a:pt x="1106" y="642"/>
                      </a:lnTo>
                      <a:lnTo>
                        <a:pt x="1104" y="642"/>
                      </a:lnTo>
                      <a:lnTo>
                        <a:pt x="1104" y="640"/>
                      </a:lnTo>
                      <a:lnTo>
                        <a:pt x="1104" y="638"/>
                      </a:lnTo>
                      <a:lnTo>
                        <a:pt x="1104" y="636"/>
                      </a:lnTo>
                      <a:lnTo>
                        <a:pt x="1104" y="634"/>
                      </a:lnTo>
                      <a:lnTo>
                        <a:pt x="1102" y="634"/>
                      </a:lnTo>
                      <a:lnTo>
                        <a:pt x="1100" y="636"/>
                      </a:lnTo>
                      <a:lnTo>
                        <a:pt x="1100" y="638"/>
                      </a:lnTo>
                      <a:lnTo>
                        <a:pt x="1098" y="638"/>
                      </a:lnTo>
                      <a:lnTo>
                        <a:pt x="1098" y="640"/>
                      </a:lnTo>
                      <a:lnTo>
                        <a:pt x="1098" y="642"/>
                      </a:lnTo>
                      <a:lnTo>
                        <a:pt x="1096" y="644"/>
                      </a:lnTo>
                      <a:lnTo>
                        <a:pt x="1096" y="646"/>
                      </a:lnTo>
                      <a:lnTo>
                        <a:pt x="1096" y="647"/>
                      </a:lnTo>
                      <a:lnTo>
                        <a:pt x="1098" y="649"/>
                      </a:lnTo>
                      <a:lnTo>
                        <a:pt x="1098" y="651"/>
                      </a:lnTo>
                      <a:lnTo>
                        <a:pt x="1098" y="653"/>
                      </a:lnTo>
                      <a:lnTo>
                        <a:pt x="1098" y="655"/>
                      </a:lnTo>
                      <a:lnTo>
                        <a:pt x="1098" y="657"/>
                      </a:lnTo>
                      <a:lnTo>
                        <a:pt x="1098" y="659"/>
                      </a:lnTo>
                      <a:lnTo>
                        <a:pt x="1098" y="661"/>
                      </a:lnTo>
                      <a:lnTo>
                        <a:pt x="1098" y="663"/>
                      </a:lnTo>
                      <a:lnTo>
                        <a:pt x="1096" y="663"/>
                      </a:lnTo>
                      <a:lnTo>
                        <a:pt x="1096" y="664"/>
                      </a:lnTo>
                      <a:lnTo>
                        <a:pt x="1096" y="663"/>
                      </a:lnTo>
                      <a:lnTo>
                        <a:pt x="1095" y="663"/>
                      </a:lnTo>
                      <a:lnTo>
                        <a:pt x="1095" y="661"/>
                      </a:lnTo>
                      <a:lnTo>
                        <a:pt x="1095" y="659"/>
                      </a:lnTo>
                      <a:lnTo>
                        <a:pt x="1095" y="657"/>
                      </a:lnTo>
                      <a:lnTo>
                        <a:pt x="1095" y="655"/>
                      </a:lnTo>
                      <a:lnTo>
                        <a:pt x="1093" y="655"/>
                      </a:lnTo>
                      <a:lnTo>
                        <a:pt x="1093" y="653"/>
                      </a:lnTo>
                      <a:lnTo>
                        <a:pt x="1091" y="653"/>
                      </a:lnTo>
                      <a:lnTo>
                        <a:pt x="1089" y="653"/>
                      </a:lnTo>
                      <a:lnTo>
                        <a:pt x="1087" y="653"/>
                      </a:lnTo>
                      <a:lnTo>
                        <a:pt x="1085" y="651"/>
                      </a:lnTo>
                      <a:lnTo>
                        <a:pt x="1085" y="649"/>
                      </a:lnTo>
                      <a:lnTo>
                        <a:pt x="1083" y="649"/>
                      </a:lnTo>
                      <a:lnTo>
                        <a:pt x="1083" y="647"/>
                      </a:lnTo>
                      <a:lnTo>
                        <a:pt x="1081" y="647"/>
                      </a:lnTo>
                      <a:lnTo>
                        <a:pt x="1081" y="649"/>
                      </a:lnTo>
                      <a:lnTo>
                        <a:pt x="1079" y="651"/>
                      </a:lnTo>
                      <a:lnTo>
                        <a:pt x="1079" y="653"/>
                      </a:lnTo>
                      <a:lnTo>
                        <a:pt x="1078" y="653"/>
                      </a:lnTo>
                      <a:lnTo>
                        <a:pt x="1078" y="655"/>
                      </a:lnTo>
                      <a:lnTo>
                        <a:pt x="1076" y="655"/>
                      </a:lnTo>
                      <a:lnTo>
                        <a:pt x="1074" y="657"/>
                      </a:lnTo>
                      <a:lnTo>
                        <a:pt x="1072" y="657"/>
                      </a:lnTo>
                      <a:lnTo>
                        <a:pt x="1070" y="657"/>
                      </a:lnTo>
                      <a:lnTo>
                        <a:pt x="1068" y="657"/>
                      </a:lnTo>
                      <a:lnTo>
                        <a:pt x="1068" y="655"/>
                      </a:lnTo>
                      <a:lnTo>
                        <a:pt x="1068" y="653"/>
                      </a:lnTo>
                      <a:lnTo>
                        <a:pt x="1068" y="651"/>
                      </a:lnTo>
                      <a:lnTo>
                        <a:pt x="1066" y="651"/>
                      </a:lnTo>
                      <a:lnTo>
                        <a:pt x="1066" y="653"/>
                      </a:lnTo>
                      <a:lnTo>
                        <a:pt x="1064" y="653"/>
                      </a:lnTo>
                      <a:lnTo>
                        <a:pt x="1064" y="655"/>
                      </a:lnTo>
                      <a:lnTo>
                        <a:pt x="1063" y="655"/>
                      </a:lnTo>
                      <a:lnTo>
                        <a:pt x="1061" y="655"/>
                      </a:lnTo>
                      <a:lnTo>
                        <a:pt x="1059" y="655"/>
                      </a:lnTo>
                      <a:lnTo>
                        <a:pt x="1059" y="657"/>
                      </a:lnTo>
                      <a:lnTo>
                        <a:pt x="1057" y="657"/>
                      </a:lnTo>
                      <a:lnTo>
                        <a:pt x="1057" y="659"/>
                      </a:lnTo>
                      <a:lnTo>
                        <a:pt x="1055" y="659"/>
                      </a:lnTo>
                      <a:lnTo>
                        <a:pt x="1055" y="661"/>
                      </a:lnTo>
                      <a:lnTo>
                        <a:pt x="1053" y="661"/>
                      </a:lnTo>
                      <a:lnTo>
                        <a:pt x="1051" y="661"/>
                      </a:lnTo>
                      <a:lnTo>
                        <a:pt x="1049" y="661"/>
                      </a:lnTo>
                      <a:lnTo>
                        <a:pt x="1049" y="663"/>
                      </a:lnTo>
                      <a:lnTo>
                        <a:pt x="1048" y="663"/>
                      </a:lnTo>
                      <a:lnTo>
                        <a:pt x="1046" y="663"/>
                      </a:lnTo>
                      <a:lnTo>
                        <a:pt x="1046" y="664"/>
                      </a:lnTo>
                      <a:lnTo>
                        <a:pt x="1044" y="664"/>
                      </a:lnTo>
                      <a:lnTo>
                        <a:pt x="1042" y="668"/>
                      </a:lnTo>
                      <a:lnTo>
                        <a:pt x="1042" y="670"/>
                      </a:lnTo>
                      <a:lnTo>
                        <a:pt x="1042" y="672"/>
                      </a:lnTo>
                      <a:lnTo>
                        <a:pt x="1040" y="672"/>
                      </a:lnTo>
                      <a:lnTo>
                        <a:pt x="1040" y="674"/>
                      </a:lnTo>
                      <a:lnTo>
                        <a:pt x="1040" y="676"/>
                      </a:lnTo>
                      <a:lnTo>
                        <a:pt x="1038" y="676"/>
                      </a:lnTo>
                      <a:lnTo>
                        <a:pt x="1036" y="676"/>
                      </a:lnTo>
                      <a:lnTo>
                        <a:pt x="1034" y="676"/>
                      </a:lnTo>
                      <a:lnTo>
                        <a:pt x="1034" y="674"/>
                      </a:lnTo>
                      <a:lnTo>
                        <a:pt x="1034" y="672"/>
                      </a:lnTo>
                      <a:lnTo>
                        <a:pt x="1034" y="670"/>
                      </a:lnTo>
                      <a:lnTo>
                        <a:pt x="1032" y="670"/>
                      </a:lnTo>
                      <a:lnTo>
                        <a:pt x="1031" y="670"/>
                      </a:lnTo>
                      <a:lnTo>
                        <a:pt x="1029" y="670"/>
                      </a:lnTo>
                      <a:lnTo>
                        <a:pt x="1027" y="672"/>
                      </a:lnTo>
                      <a:lnTo>
                        <a:pt x="1025" y="672"/>
                      </a:lnTo>
                      <a:lnTo>
                        <a:pt x="1023" y="672"/>
                      </a:lnTo>
                      <a:lnTo>
                        <a:pt x="1021" y="672"/>
                      </a:lnTo>
                      <a:lnTo>
                        <a:pt x="1019" y="672"/>
                      </a:lnTo>
                      <a:lnTo>
                        <a:pt x="1019" y="674"/>
                      </a:lnTo>
                      <a:lnTo>
                        <a:pt x="1019" y="676"/>
                      </a:lnTo>
                      <a:lnTo>
                        <a:pt x="1019" y="678"/>
                      </a:lnTo>
                      <a:lnTo>
                        <a:pt x="1019" y="679"/>
                      </a:lnTo>
                      <a:lnTo>
                        <a:pt x="1017" y="679"/>
                      </a:lnTo>
                      <a:lnTo>
                        <a:pt x="1016" y="679"/>
                      </a:lnTo>
                      <a:lnTo>
                        <a:pt x="1016" y="681"/>
                      </a:lnTo>
                      <a:lnTo>
                        <a:pt x="1014" y="681"/>
                      </a:lnTo>
                      <a:lnTo>
                        <a:pt x="1012" y="683"/>
                      </a:lnTo>
                      <a:lnTo>
                        <a:pt x="1012" y="685"/>
                      </a:lnTo>
                      <a:lnTo>
                        <a:pt x="1010" y="685"/>
                      </a:lnTo>
                      <a:lnTo>
                        <a:pt x="1010" y="687"/>
                      </a:lnTo>
                      <a:lnTo>
                        <a:pt x="1010" y="689"/>
                      </a:lnTo>
                      <a:lnTo>
                        <a:pt x="1012" y="689"/>
                      </a:lnTo>
                      <a:lnTo>
                        <a:pt x="1012" y="691"/>
                      </a:lnTo>
                      <a:lnTo>
                        <a:pt x="1014" y="691"/>
                      </a:lnTo>
                      <a:lnTo>
                        <a:pt x="1014" y="693"/>
                      </a:lnTo>
                      <a:lnTo>
                        <a:pt x="1014" y="695"/>
                      </a:lnTo>
                      <a:lnTo>
                        <a:pt x="1012" y="696"/>
                      </a:lnTo>
                      <a:lnTo>
                        <a:pt x="1012" y="698"/>
                      </a:lnTo>
                      <a:lnTo>
                        <a:pt x="1012" y="700"/>
                      </a:lnTo>
                      <a:lnTo>
                        <a:pt x="1012" y="702"/>
                      </a:lnTo>
                      <a:lnTo>
                        <a:pt x="1010" y="702"/>
                      </a:lnTo>
                      <a:lnTo>
                        <a:pt x="1008" y="702"/>
                      </a:lnTo>
                      <a:lnTo>
                        <a:pt x="1006" y="700"/>
                      </a:lnTo>
                      <a:lnTo>
                        <a:pt x="1002" y="700"/>
                      </a:lnTo>
                      <a:lnTo>
                        <a:pt x="1002" y="698"/>
                      </a:lnTo>
                      <a:lnTo>
                        <a:pt x="1000" y="698"/>
                      </a:lnTo>
                      <a:lnTo>
                        <a:pt x="1000" y="696"/>
                      </a:lnTo>
                      <a:lnTo>
                        <a:pt x="999" y="696"/>
                      </a:lnTo>
                      <a:lnTo>
                        <a:pt x="997" y="696"/>
                      </a:lnTo>
                      <a:lnTo>
                        <a:pt x="997" y="698"/>
                      </a:lnTo>
                      <a:lnTo>
                        <a:pt x="995" y="698"/>
                      </a:lnTo>
                      <a:lnTo>
                        <a:pt x="995" y="700"/>
                      </a:lnTo>
                      <a:lnTo>
                        <a:pt x="995" y="702"/>
                      </a:lnTo>
                      <a:lnTo>
                        <a:pt x="993" y="704"/>
                      </a:lnTo>
                      <a:lnTo>
                        <a:pt x="993" y="706"/>
                      </a:lnTo>
                      <a:lnTo>
                        <a:pt x="991" y="706"/>
                      </a:lnTo>
                      <a:lnTo>
                        <a:pt x="991" y="708"/>
                      </a:lnTo>
                      <a:lnTo>
                        <a:pt x="989" y="710"/>
                      </a:lnTo>
                      <a:lnTo>
                        <a:pt x="987" y="710"/>
                      </a:lnTo>
                      <a:lnTo>
                        <a:pt x="987" y="708"/>
                      </a:lnTo>
                      <a:lnTo>
                        <a:pt x="985" y="708"/>
                      </a:lnTo>
                      <a:lnTo>
                        <a:pt x="985" y="710"/>
                      </a:lnTo>
                      <a:lnTo>
                        <a:pt x="984" y="710"/>
                      </a:lnTo>
                      <a:lnTo>
                        <a:pt x="984" y="712"/>
                      </a:lnTo>
                      <a:lnTo>
                        <a:pt x="984" y="713"/>
                      </a:lnTo>
                      <a:lnTo>
                        <a:pt x="984" y="715"/>
                      </a:lnTo>
                      <a:lnTo>
                        <a:pt x="982" y="715"/>
                      </a:lnTo>
                      <a:lnTo>
                        <a:pt x="980" y="717"/>
                      </a:lnTo>
                      <a:lnTo>
                        <a:pt x="978" y="717"/>
                      </a:lnTo>
                      <a:lnTo>
                        <a:pt x="978" y="715"/>
                      </a:lnTo>
                      <a:lnTo>
                        <a:pt x="976" y="715"/>
                      </a:lnTo>
                      <a:lnTo>
                        <a:pt x="974" y="715"/>
                      </a:lnTo>
                      <a:lnTo>
                        <a:pt x="974" y="713"/>
                      </a:lnTo>
                      <a:lnTo>
                        <a:pt x="972" y="713"/>
                      </a:lnTo>
                      <a:lnTo>
                        <a:pt x="970" y="713"/>
                      </a:lnTo>
                      <a:lnTo>
                        <a:pt x="970" y="715"/>
                      </a:lnTo>
                      <a:lnTo>
                        <a:pt x="970" y="717"/>
                      </a:lnTo>
                      <a:lnTo>
                        <a:pt x="969" y="719"/>
                      </a:lnTo>
                      <a:lnTo>
                        <a:pt x="969" y="721"/>
                      </a:lnTo>
                      <a:lnTo>
                        <a:pt x="970" y="721"/>
                      </a:lnTo>
                      <a:lnTo>
                        <a:pt x="970" y="723"/>
                      </a:lnTo>
                      <a:lnTo>
                        <a:pt x="970" y="725"/>
                      </a:lnTo>
                      <a:lnTo>
                        <a:pt x="972" y="725"/>
                      </a:lnTo>
                      <a:lnTo>
                        <a:pt x="972" y="727"/>
                      </a:lnTo>
                      <a:lnTo>
                        <a:pt x="972" y="728"/>
                      </a:lnTo>
                      <a:lnTo>
                        <a:pt x="972" y="730"/>
                      </a:lnTo>
                      <a:lnTo>
                        <a:pt x="974" y="730"/>
                      </a:lnTo>
                      <a:lnTo>
                        <a:pt x="974" y="732"/>
                      </a:lnTo>
                      <a:lnTo>
                        <a:pt x="974" y="734"/>
                      </a:lnTo>
                      <a:lnTo>
                        <a:pt x="976" y="734"/>
                      </a:lnTo>
                      <a:lnTo>
                        <a:pt x="978" y="734"/>
                      </a:lnTo>
                      <a:lnTo>
                        <a:pt x="978" y="736"/>
                      </a:lnTo>
                      <a:lnTo>
                        <a:pt x="980" y="736"/>
                      </a:lnTo>
                      <a:lnTo>
                        <a:pt x="980" y="738"/>
                      </a:lnTo>
                      <a:lnTo>
                        <a:pt x="982" y="738"/>
                      </a:lnTo>
                      <a:lnTo>
                        <a:pt x="982" y="740"/>
                      </a:lnTo>
                      <a:lnTo>
                        <a:pt x="984" y="740"/>
                      </a:lnTo>
                      <a:lnTo>
                        <a:pt x="984" y="742"/>
                      </a:lnTo>
                      <a:lnTo>
                        <a:pt x="985" y="742"/>
                      </a:lnTo>
                      <a:lnTo>
                        <a:pt x="985" y="744"/>
                      </a:lnTo>
                      <a:lnTo>
                        <a:pt x="987" y="744"/>
                      </a:lnTo>
                      <a:lnTo>
                        <a:pt x="987" y="745"/>
                      </a:lnTo>
                      <a:lnTo>
                        <a:pt x="989" y="745"/>
                      </a:lnTo>
                      <a:lnTo>
                        <a:pt x="989" y="747"/>
                      </a:lnTo>
                      <a:lnTo>
                        <a:pt x="989" y="749"/>
                      </a:lnTo>
                      <a:lnTo>
                        <a:pt x="987" y="751"/>
                      </a:lnTo>
                      <a:lnTo>
                        <a:pt x="987" y="753"/>
                      </a:lnTo>
                      <a:lnTo>
                        <a:pt x="987" y="755"/>
                      </a:lnTo>
                      <a:lnTo>
                        <a:pt x="987" y="757"/>
                      </a:lnTo>
                      <a:lnTo>
                        <a:pt x="987" y="759"/>
                      </a:lnTo>
                      <a:lnTo>
                        <a:pt x="987" y="760"/>
                      </a:lnTo>
                      <a:lnTo>
                        <a:pt x="987" y="762"/>
                      </a:lnTo>
                      <a:lnTo>
                        <a:pt x="987" y="764"/>
                      </a:lnTo>
                      <a:lnTo>
                        <a:pt x="985" y="764"/>
                      </a:lnTo>
                      <a:lnTo>
                        <a:pt x="984" y="764"/>
                      </a:lnTo>
                      <a:lnTo>
                        <a:pt x="984" y="762"/>
                      </a:lnTo>
                      <a:lnTo>
                        <a:pt x="985" y="762"/>
                      </a:lnTo>
                      <a:lnTo>
                        <a:pt x="985" y="760"/>
                      </a:lnTo>
                      <a:lnTo>
                        <a:pt x="985" y="759"/>
                      </a:lnTo>
                      <a:lnTo>
                        <a:pt x="984" y="759"/>
                      </a:lnTo>
                      <a:lnTo>
                        <a:pt x="984" y="760"/>
                      </a:lnTo>
                      <a:lnTo>
                        <a:pt x="982" y="760"/>
                      </a:lnTo>
                      <a:lnTo>
                        <a:pt x="982" y="762"/>
                      </a:lnTo>
                      <a:lnTo>
                        <a:pt x="980" y="762"/>
                      </a:lnTo>
                      <a:lnTo>
                        <a:pt x="980" y="764"/>
                      </a:lnTo>
                      <a:lnTo>
                        <a:pt x="978" y="764"/>
                      </a:lnTo>
                      <a:lnTo>
                        <a:pt x="978" y="766"/>
                      </a:lnTo>
                      <a:lnTo>
                        <a:pt x="978" y="768"/>
                      </a:lnTo>
                      <a:lnTo>
                        <a:pt x="976" y="770"/>
                      </a:lnTo>
                      <a:lnTo>
                        <a:pt x="976" y="772"/>
                      </a:lnTo>
                      <a:lnTo>
                        <a:pt x="976" y="774"/>
                      </a:lnTo>
                      <a:lnTo>
                        <a:pt x="978" y="774"/>
                      </a:lnTo>
                      <a:lnTo>
                        <a:pt x="980" y="776"/>
                      </a:lnTo>
                      <a:lnTo>
                        <a:pt x="980" y="777"/>
                      </a:lnTo>
                      <a:lnTo>
                        <a:pt x="982" y="777"/>
                      </a:lnTo>
                      <a:lnTo>
                        <a:pt x="984" y="777"/>
                      </a:lnTo>
                      <a:lnTo>
                        <a:pt x="984" y="779"/>
                      </a:lnTo>
                      <a:lnTo>
                        <a:pt x="985" y="779"/>
                      </a:lnTo>
                      <a:lnTo>
                        <a:pt x="985" y="781"/>
                      </a:lnTo>
                      <a:lnTo>
                        <a:pt x="987" y="779"/>
                      </a:lnTo>
                      <a:lnTo>
                        <a:pt x="989" y="779"/>
                      </a:lnTo>
                      <a:lnTo>
                        <a:pt x="989" y="781"/>
                      </a:lnTo>
                      <a:lnTo>
                        <a:pt x="991" y="781"/>
                      </a:lnTo>
                      <a:lnTo>
                        <a:pt x="993" y="781"/>
                      </a:lnTo>
                      <a:lnTo>
                        <a:pt x="993" y="783"/>
                      </a:lnTo>
                      <a:lnTo>
                        <a:pt x="993" y="785"/>
                      </a:lnTo>
                      <a:lnTo>
                        <a:pt x="991" y="785"/>
                      </a:lnTo>
                      <a:lnTo>
                        <a:pt x="989" y="785"/>
                      </a:lnTo>
                      <a:lnTo>
                        <a:pt x="987" y="785"/>
                      </a:lnTo>
                      <a:lnTo>
                        <a:pt x="985" y="785"/>
                      </a:lnTo>
                      <a:lnTo>
                        <a:pt x="984" y="785"/>
                      </a:lnTo>
                      <a:lnTo>
                        <a:pt x="984" y="783"/>
                      </a:lnTo>
                      <a:lnTo>
                        <a:pt x="982" y="783"/>
                      </a:lnTo>
                      <a:lnTo>
                        <a:pt x="980" y="783"/>
                      </a:lnTo>
                      <a:lnTo>
                        <a:pt x="978" y="781"/>
                      </a:lnTo>
                      <a:lnTo>
                        <a:pt x="976" y="783"/>
                      </a:lnTo>
                      <a:lnTo>
                        <a:pt x="974" y="783"/>
                      </a:lnTo>
                      <a:lnTo>
                        <a:pt x="974" y="785"/>
                      </a:lnTo>
                      <a:lnTo>
                        <a:pt x="972" y="785"/>
                      </a:lnTo>
                      <a:lnTo>
                        <a:pt x="972" y="787"/>
                      </a:lnTo>
                      <a:lnTo>
                        <a:pt x="970" y="787"/>
                      </a:lnTo>
                      <a:lnTo>
                        <a:pt x="970" y="789"/>
                      </a:lnTo>
                      <a:lnTo>
                        <a:pt x="969" y="787"/>
                      </a:lnTo>
                      <a:lnTo>
                        <a:pt x="967" y="787"/>
                      </a:lnTo>
                      <a:lnTo>
                        <a:pt x="965" y="785"/>
                      </a:lnTo>
                      <a:lnTo>
                        <a:pt x="963" y="785"/>
                      </a:lnTo>
                      <a:lnTo>
                        <a:pt x="961" y="783"/>
                      </a:lnTo>
                      <a:lnTo>
                        <a:pt x="959" y="783"/>
                      </a:lnTo>
                      <a:lnTo>
                        <a:pt x="957" y="783"/>
                      </a:lnTo>
                      <a:lnTo>
                        <a:pt x="957" y="781"/>
                      </a:lnTo>
                      <a:lnTo>
                        <a:pt x="955" y="781"/>
                      </a:lnTo>
                      <a:lnTo>
                        <a:pt x="955" y="783"/>
                      </a:lnTo>
                      <a:lnTo>
                        <a:pt x="953" y="783"/>
                      </a:lnTo>
                      <a:lnTo>
                        <a:pt x="952" y="783"/>
                      </a:lnTo>
                      <a:lnTo>
                        <a:pt x="952" y="781"/>
                      </a:lnTo>
                      <a:lnTo>
                        <a:pt x="950" y="781"/>
                      </a:lnTo>
                      <a:lnTo>
                        <a:pt x="950" y="783"/>
                      </a:lnTo>
                      <a:lnTo>
                        <a:pt x="948" y="783"/>
                      </a:lnTo>
                      <a:lnTo>
                        <a:pt x="948" y="785"/>
                      </a:lnTo>
                      <a:lnTo>
                        <a:pt x="948" y="787"/>
                      </a:lnTo>
                      <a:lnTo>
                        <a:pt x="946" y="787"/>
                      </a:lnTo>
                      <a:lnTo>
                        <a:pt x="946" y="789"/>
                      </a:lnTo>
                      <a:lnTo>
                        <a:pt x="946" y="791"/>
                      </a:lnTo>
                      <a:lnTo>
                        <a:pt x="946" y="792"/>
                      </a:lnTo>
                      <a:lnTo>
                        <a:pt x="946" y="794"/>
                      </a:lnTo>
                      <a:lnTo>
                        <a:pt x="944" y="794"/>
                      </a:lnTo>
                      <a:lnTo>
                        <a:pt x="944" y="796"/>
                      </a:lnTo>
                      <a:lnTo>
                        <a:pt x="942" y="796"/>
                      </a:lnTo>
                      <a:lnTo>
                        <a:pt x="942" y="794"/>
                      </a:lnTo>
                      <a:lnTo>
                        <a:pt x="942" y="792"/>
                      </a:lnTo>
                      <a:lnTo>
                        <a:pt x="940" y="791"/>
                      </a:lnTo>
                      <a:lnTo>
                        <a:pt x="938" y="791"/>
                      </a:lnTo>
                      <a:lnTo>
                        <a:pt x="937" y="791"/>
                      </a:lnTo>
                      <a:lnTo>
                        <a:pt x="937" y="792"/>
                      </a:lnTo>
                      <a:lnTo>
                        <a:pt x="935" y="792"/>
                      </a:lnTo>
                      <a:lnTo>
                        <a:pt x="933" y="792"/>
                      </a:lnTo>
                      <a:lnTo>
                        <a:pt x="931" y="792"/>
                      </a:lnTo>
                      <a:lnTo>
                        <a:pt x="931" y="791"/>
                      </a:lnTo>
                      <a:lnTo>
                        <a:pt x="929" y="791"/>
                      </a:lnTo>
                      <a:lnTo>
                        <a:pt x="929" y="792"/>
                      </a:lnTo>
                      <a:lnTo>
                        <a:pt x="927" y="792"/>
                      </a:lnTo>
                      <a:lnTo>
                        <a:pt x="927" y="794"/>
                      </a:lnTo>
                      <a:lnTo>
                        <a:pt x="925" y="794"/>
                      </a:lnTo>
                      <a:lnTo>
                        <a:pt x="923" y="794"/>
                      </a:lnTo>
                      <a:lnTo>
                        <a:pt x="923" y="796"/>
                      </a:lnTo>
                      <a:lnTo>
                        <a:pt x="923" y="798"/>
                      </a:lnTo>
                      <a:lnTo>
                        <a:pt x="921" y="800"/>
                      </a:lnTo>
                      <a:lnTo>
                        <a:pt x="921" y="802"/>
                      </a:lnTo>
                      <a:lnTo>
                        <a:pt x="920" y="804"/>
                      </a:lnTo>
                      <a:lnTo>
                        <a:pt x="920" y="806"/>
                      </a:lnTo>
                      <a:lnTo>
                        <a:pt x="918" y="806"/>
                      </a:lnTo>
                      <a:lnTo>
                        <a:pt x="918" y="808"/>
                      </a:lnTo>
                      <a:lnTo>
                        <a:pt x="918" y="809"/>
                      </a:lnTo>
                      <a:lnTo>
                        <a:pt x="918" y="811"/>
                      </a:lnTo>
                      <a:lnTo>
                        <a:pt x="920" y="811"/>
                      </a:lnTo>
                      <a:lnTo>
                        <a:pt x="920" y="813"/>
                      </a:lnTo>
                      <a:lnTo>
                        <a:pt x="921" y="813"/>
                      </a:lnTo>
                      <a:lnTo>
                        <a:pt x="921" y="815"/>
                      </a:lnTo>
                      <a:lnTo>
                        <a:pt x="920" y="817"/>
                      </a:lnTo>
                      <a:lnTo>
                        <a:pt x="920" y="819"/>
                      </a:lnTo>
                      <a:lnTo>
                        <a:pt x="918" y="819"/>
                      </a:lnTo>
                      <a:lnTo>
                        <a:pt x="916" y="819"/>
                      </a:lnTo>
                      <a:lnTo>
                        <a:pt x="914" y="819"/>
                      </a:lnTo>
                      <a:lnTo>
                        <a:pt x="912" y="821"/>
                      </a:lnTo>
                      <a:lnTo>
                        <a:pt x="910" y="823"/>
                      </a:lnTo>
                      <a:lnTo>
                        <a:pt x="910" y="824"/>
                      </a:lnTo>
                      <a:lnTo>
                        <a:pt x="908" y="824"/>
                      </a:lnTo>
                      <a:lnTo>
                        <a:pt x="906" y="824"/>
                      </a:lnTo>
                      <a:lnTo>
                        <a:pt x="905" y="824"/>
                      </a:lnTo>
                      <a:lnTo>
                        <a:pt x="905" y="826"/>
                      </a:lnTo>
                      <a:lnTo>
                        <a:pt x="905" y="828"/>
                      </a:lnTo>
                      <a:lnTo>
                        <a:pt x="903" y="830"/>
                      </a:lnTo>
                      <a:lnTo>
                        <a:pt x="903" y="832"/>
                      </a:lnTo>
                      <a:lnTo>
                        <a:pt x="901" y="832"/>
                      </a:lnTo>
                      <a:lnTo>
                        <a:pt x="901" y="834"/>
                      </a:lnTo>
                      <a:lnTo>
                        <a:pt x="899" y="834"/>
                      </a:lnTo>
                      <a:lnTo>
                        <a:pt x="899" y="832"/>
                      </a:lnTo>
                      <a:lnTo>
                        <a:pt x="897" y="832"/>
                      </a:lnTo>
                      <a:lnTo>
                        <a:pt x="895" y="832"/>
                      </a:lnTo>
                      <a:lnTo>
                        <a:pt x="893" y="834"/>
                      </a:lnTo>
                      <a:lnTo>
                        <a:pt x="893" y="836"/>
                      </a:lnTo>
                      <a:lnTo>
                        <a:pt x="893" y="838"/>
                      </a:lnTo>
                      <a:lnTo>
                        <a:pt x="893" y="840"/>
                      </a:lnTo>
                      <a:lnTo>
                        <a:pt x="891" y="841"/>
                      </a:lnTo>
                      <a:lnTo>
                        <a:pt x="890" y="841"/>
                      </a:lnTo>
                      <a:lnTo>
                        <a:pt x="890" y="843"/>
                      </a:lnTo>
                      <a:lnTo>
                        <a:pt x="888" y="843"/>
                      </a:lnTo>
                      <a:lnTo>
                        <a:pt x="886" y="841"/>
                      </a:lnTo>
                      <a:lnTo>
                        <a:pt x="884" y="841"/>
                      </a:lnTo>
                      <a:lnTo>
                        <a:pt x="884" y="843"/>
                      </a:lnTo>
                      <a:lnTo>
                        <a:pt x="882" y="845"/>
                      </a:lnTo>
                      <a:lnTo>
                        <a:pt x="882" y="847"/>
                      </a:lnTo>
                      <a:lnTo>
                        <a:pt x="882" y="849"/>
                      </a:lnTo>
                      <a:lnTo>
                        <a:pt x="880" y="849"/>
                      </a:lnTo>
                      <a:lnTo>
                        <a:pt x="880" y="851"/>
                      </a:lnTo>
                      <a:lnTo>
                        <a:pt x="882" y="851"/>
                      </a:lnTo>
                      <a:lnTo>
                        <a:pt x="882" y="853"/>
                      </a:lnTo>
                      <a:lnTo>
                        <a:pt x="884" y="856"/>
                      </a:lnTo>
                      <a:lnTo>
                        <a:pt x="884" y="858"/>
                      </a:lnTo>
                      <a:lnTo>
                        <a:pt x="882" y="858"/>
                      </a:lnTo>
                      <a:lnTo>
                        <a:pt x="880" y="860"/>
                      </a:lnTo>
                      <a:lnTo>
                        <a:pt x="878" y="860"/>
                      </a:lnTo>
                      <a:lnTo>
                        <a:pt x="876" y="862"/>
                      </a:lnTo>
                      <a:lnTo>
                        <a:pt x="876" y="864"/>
                      </a:lnTo>
                      <a:lnTo>
                        <a:pt x="878" y="866"/>
                      </a:lnTo>
                      <a:lnTo>
                        <a:pt x="878" y="868"/>
                      </a:lnTo>
                      <a:lnTo>
                        <a:pt x="880" y="868"/>
                      </a:lnTo>
                      <a:lnTo>
                        <a:pt x="882" y="868"/>
                      </a:lnTo>
                      <a:lnTo>
                        <a:pt x="884" y="868"/>
                      </a:lnTo>
                      <a:lnTo>
                        <a:pt x="886" y="868"/>
                      </a:lnTo>
                      <a:lnTo>
                        <a:pt x="886" y="870"/>
                      </a:lnTo>
                      <a:lnTo>
                        <a:pt x="886" y="872"/>
                      </a:lnTo>
                      <a:lnTo>
                        <a:pt x="884" y="873"/>
                      </a:lnTo>
                      <a:lnTo>
                        <a:pt x="882" y="875"/>
                      </a:lnTo>
                      <a:lnTo>
                        <a:pt x="880" y="877"/>
                      </a:lnTo>
                      <a:lnTo>
                        <a:pt x="878" y="877"/>
                      </a:lnTo>
                      <a:lnTo>
                        <a:pt x="878" y="879"/>
                      </a:lnTo>
                      <a:lnTo>
                        <a:pt x="876" y="879"/>
                      </a:lnTo>
                      <a:lnTo>
                        <a:pt x="874" y="879"/>
                      </a:lnTo>
                      <a:lnTo>
                        <a:pt x="874" y="881"/>
                      </a:lnTo>
                      <a:lnTo>
                        <a:pt x="873" y="881"/>
                      </a:lnTo>
                      <a:lnTo>
                        <a:pt x="873" y="883"/>
                      </a:lnTo>
                      <a:lnTo>
                        <a:pt x="871" y="883"/>
                      </a:lnTo>
                      <a:lnTo>
                        <a:pt x="869" y="883"/>
                      </a:lnTo>
                      <a:lnTo>
                        <a:pt x="867" y="883"/>
                      </a:lnTo>
                      <a:lnTo>
                        <a:pt x="867" y="881"/>
                      </a:lnTo>
                      <a:lnTo>
                        <a:pt x="865" y="879"/>
                      </a:lnTo>
                      <a:lnTo>
                        <a:pt x="863" y="877"/>
                      </a:lnTo>
                      <a:lnTo>
                        <a:pt x="863" y="875"/>
                      </a:lnTo>
                      <a:lnTo>
                        <a:pt x="863" y="873"/>
                      </a:lnTo>
                      <a:lnTo>
                        <a:pt x="863" y="872"/>
                      </a:lnTo>
                      <a:lnTo>
                        <a:pt x="865" y="870"/>
                      </a:lnTo>
                      <a:lnTo>
                        <a:pt x="865" y="868"/>
                      </a:lnTo>
                      <a:lnTo>
                        <a:pt x="863" y="866"/>
                      </a:lnTo>
                      <a:lnTo>
                        <a:pt x="863" y="864"/>
                      </a:lnTo>
                      <a:lnTo>
                        <a:pt x="863" y="862"/>
                      </a:lnTo>
                      <a:lnTo>
                        <a:pt x="863" y="860"/>
                      </a:lnTo>
                      <a:lnTo>
                        <a:pt x="863" y="858"/>
                      </a:lnTo>
                      <a:lnTo>
                        <a:pt x="861" y="858"/>
                      </a:lnTo>
                      <a:lnTo>
                        <a:pt x="861" y="856"/>
                      </a:lnTo>
                      <a:lnTo>
                        <a:pt x="859" y="856"/>
                      </a:lnTo>
                      <a:lnTo>
                        <a:pt x="859" y="855"/>
                      </a:lnTo>
                      <a:lnTo>
                        <a:pt x="858" y="855"/>
                      </a:lnTo>
                      <a:lnTo>
                        <a:pt x="858" y="853"/>
                      </a:lnTo>
                      <a:lnTo>
                        <a:pt x="858" y="851"/>
                      </a:lnTo>
                      <a:lnTo>
                        <a:pt x="854" y="851"/>
                      </a:lnTo>
                      <a:lnTo>
                        <a:pt x="852" y="851"/>
                      </a:lnTo>
                      <a:lnTo>
                        <a:pt x="852" y="853"/>
                      </a:lnTo>
                      <a:lnTo>
                        <a:pt x="850" y="853"/>
                      </a:lnTo>
                      <a:lnTo>
                        <a:pt x="848" y="853"/>
                      </a:lnTo>
                      <a:lnTo>
                        <a:pt x="848" y="851"/>
                      </a:lnTo>
                      <a:lnTo>
                        <a:pt x="846" y="849"/>
                      </a:lnTo>
                      <a:lnTo>
                        <a:pt x="846" y="847"/>
                      </a:lnTo>
                      <a:lnTo>
                        <a:pt x="844" y="845"/>
                      </a:lnTo>
                      <a:lnTo>
                        <a:pt x="842" y="845"/>
                      </a:lnTo>
                      <a:lnTo>
                        <a:pt x="841" y="845"/>
                      </a:lnTo>
                      <a:lnTo>
                        <a:pt x="839" y="845"/>
                      </a:lnTo>
                      <a:lnTo>
                        <a:pt x="839" y="847"/>
                      </a:lnTo>
                      <a:lnTo>
                        <a:pt x="837" y="847"/>
                      </a:lnTo>
                      <a:lnTo>
                        <a:pt x="835" y="847"/>
                      </a:lnTo>
                      <a:lnTo>
                        <a:pt x="835" y="849"/>
                      </a:lnTo>
                      <a:lnTo>
                        <a:pt x="835" y="851"/>
                      </a:lnTo>
                      <a:lnTo>
                        <a:pt x="833" y="851"/>
                      </a:lnTo>
                      <a:lnTo>
                        <a:pt x="831" y="851"/>
                      </a:lnTo>
                      <a:lnTo>
                        <a:pt x="829" y="853"/>
                      </a:lnTo>
                      <a:lnTo>
                        <a:pt x="829" y="851"/>
                      </a:lnTo>
                      <a:lnTo>
                        <a:pt x="827" y="851"/>
                      </a:lnTo>
                      <a:lnTo>
                        <a:pt x="826" y="851"/>
                      </a:lnTo>
                      <a:lnTo>
                        <a:pt x="824" y="849"/>
                      </a:lnTo>
                      <a:lnTo>
                        <a:pt x="822" y="847"/>
                      </a:lnTo>
                      <a:lnTo>
                        <a:pt x="822" y="845"/>
                      </a:lnTo>
                      <a:lnTo>
                        <a:pt x="822" y="843"/>
                      </a:lnTo>
                      <a:lnTo>
                        <a:pt x="822" y="841"/>
                      </a:lnTo>
                      <a:lnTo>
                        <a:pt x="822" y="840"/>
                      </a:lnTo>
                      <a:lnTo>
                        <a:pt x="820" y="838"/>
                      </a:lnTo>
                      <a:lnTo>
                        <a:pt x="820" y="836"/>
                      </a:lnTo>
                      <a:lnTo>
                        <a:pt x="820" y="834"/>
                      </a:lnTo>
                      <a:lnTo>
                        <a:pt x="818" y="834"/>
                      </a:lnTo>
                      <a:lnTo>
                        <a:pt x="816" y="834"/>
                      </a:lnTo>
                      <a:lnTo>
                        <a:pt x="816" y="836"/>
                      </a:lnTo>
                      <a:lnTo>
                        <a:pt x="814" y="836"/>
                      </a:lnTo>
                      <a:lnTo>
                        <a:pt x="812" y="838"/>
                      </a:lnTo>
                      <a:lnTo>
                        <a:pt x="812" y="840"/>
                      </a:lnTo>
                      <a:lnTo>
                        <a:pt x="811" y="840"/>
                      </a:lnTo>
                      <a:lnTo>
                        <a:pt x="809" y="840"/>
                      </a:lnTo>
                      <a:lnTo>
                        <a:pt x="807" y="840"/>
                      </a:lnTo>
                      <a:lnTo>
                        <a:pt x="805" y="840"/>
                      </a:lnTo>
                      <a:lnTo>
                        <a:pt x="803" y="841"/>
                      </a:lnTo>
                      <a:lnTo>
                        <a:pt x="801" y="841"/>
                      </a:lnTo>
                      <a:lnTo>
                        <a:pt x="801" y="843"/>
                      </a:lnTo>
                      <a:lnTo>
                        <a:pt x="799" y="843"/>
                      </a:lnTo>
                      <a:lnTo>
                        <a:pt x="797" y="843"/>
                      </a:lnTo>
                      <a:lnTo>
                        <a:pt x="797" y="845"/>
                      </a:lnTo>
                      <a:lnTo>
                        <a:pt x="795" y="845"/>
                      </a:lnTo>
                      <a:lnTo>
                        <a:pt x="795" y="847"/>
                      </a:lnTo>
                      <a:lnTo>
                        <a:pt x="794" y="847"/>
                      </a:lnTo>
                      <a:lnTo>
                        <a:pt x="792" y="847"/>
                      </a:lnTo>
                      <a:lnTo>
                        <a:pt x="790" y="849"/>
                      </a:lnTo>
                      <a:lnTo>
                        <a:pt x="788" y="851"/>
                      </a:lnTo>
                      <a:lnTo>
                        <a:pt x="786" y="851"/>
                      </a:lnTo>
                      <a:lnTo>
                        <a:pt x="784" y="851"/>
                      </a:lnTo>
                      <a:lnTo>
                        <a:pt x="782" y="851"/>
                      </a:lnTo>
                      <a:lnTo>
                        <a:pt x="780" y="851"/>
                      </a:lnTo>
                      <a:lnTo>
                        <a:pt x="780" y="853"/>
                      </a:lnTo>
                      <a:lnTo>
                        <a:pt x="779" y="853"/>
                      </a:lnTo>
                      <a:lnTo>
                        <a:pt x="779" y="855"/>
                      </a:lnTo>
                      <a:lnTo>
                        <a:pt x="780" y="855"/>
                      </a:lnTo>
                      <a:lnTo>
                        <a:pt x="780" y="856"/>
                      </a:lnTo>
                      <a:lnTo>
                        <a:pt x="780" y="858"/>
                      </a:lnTo>
                      <a:lnTo>
                        <a:pt x="779" y="860"/>
                      </a:lnTo>
                      <a:lnTo>
                        <a:pt x="779" y="862"/>
                      </a:lnTo>
                      <a:lnTo>
                        <a:pt x="780" y="864"/>
                      </a:lnTo>
                      <a:lnTo>
                        <a:pt x="780" y="866"/>
                      </a:lnTo>
                      <a:lnTo>
                        <a:pt x="779" y="868"/>
                      </a:lnTo>
                      <a:lnTo>
                        <a:pt x="779" y="870"/>
                      </a:lnTo>
                      <a:lnTo>
                        <a:pt x="777" y="870"/>
                      </a:lnTo>
                      <a:lnTo>
                        <a:pt x="777" y="872"/>
                      </a:lnTo>
                      <a:lnTo>
                        <a:pt x="775" y="872"/>
                      </a:lnTo>
                      <a:lnTo>
                        <a:pt x="773" y="872"/>
                      </a:lnTo>
                      <a:lnTo>
                        <a:pt x="773" y="870"/>
                      </a:lnTo>
                      <a:lnTo>
                        <a:pt x="771" y="870"/>
                      </a:lnTo>
                      <a:lnTo>
                        <a:pt x="771" y="868"/>
                      </a:lnTo>
                      <a:lnTo>
                        <a:pt x="769" y="868"/>
                      </a:lnTo>
                      <a:lnTo>
                        <a:pt x="769" y="866"/>
                      </a:lnTo>
                      <a:lnTo>
                        <a:pt x="767" y="866"/>
                      </a:lnTo>
                      <a:lnTo>
                        <a:pt x="767" y="864"/>
                      </a:lnTo>
                      <a:lnTo>
                        <a:pt x="765" y="864"/>
                      </a:lnTo>
                      <a:lnTo>
                        <a:pt x="763" y="864"/>
                      </a:lnTo>
                      <a:lnTo>
                        <a:pt x="763" y="862"/>
                      </a:lnTo>
                      <a:lnTo>
                        <a:pt x="762" y="862"/>
                      </a:lnTo>
                      <a:lnTo>
                        <a:pt x="762" y="860"/>
                      </a:lnTo>
                      <a:lnTo>
                        <a:pt x="760" y="860"/>
                      </a:lnTo>
                      <a:lnTo>
                        <a:pt x="758" y="860"/>
                      </a:lnTo>
                      <a:lnTo>
                        <a:pt x="756" y="860"/>
                      </a:lnTo>
                      <a:lnTo>
                        <a:pt x="756" y="862"/>
                      </a:lnTo>
                      <a:lnTo>
                        <a:pt x="754" y="862"/>
                      </a:lnTo>
                      <a:lnTo>
                        <a:pt x="754" y="864"/>
                      </a:lnTo>
                      <a:lnTo>
                        <a:pt x="754" y="866"/>
                      </a:lnTo>
                      <a:lnTo>
                        <a:pt x="752" y="866"/>
                      </a:lnTo>
                      <a:lnTo>
                        <a:pt x="752" y="868"/>
                      </a:lnTo>
                      <a:lnTo>
                        <a:pt x="750" y="868"/>
                      </a:lnTo>
                      <a:lnTo>
                        <a:pt x="748" y="868"/>
                      </a:lnTo>
                      <a:lnTo>
                        <a:pt x="748" y="870"/>
                      </a:lnTo>
                      <a:lnTo>
                        <a:pt x="747" y="870"/>
                      </a:lnTo>
                      <a:lnTo>
                        <a:pt x="745" y="870"/>
                      </a:lnTo>
                      <a:lnTo>
                        <a:pt x="743" y="870"/>
                      </a:lnTo>
                      <a:lnTo>
                        <a:pt x="741" y="870"/>
                      </a:lnTo>
                      <a:lnTo>
                        <a:pt x="739" y="872"/>
                      </a:lnTo>
                      <a:lnTo>
                        <a:pt x="737" y="872"/>
                      </a:lnTo>
                      <a:lnTo>
                        <a:pt x="735" y="872"/>
                      </a:lnTo>
                      <a:lnTo>
                        <a:pt x="733" y="872"/>
                      </a:lnTo>
                      <a:lnTo>
                        <a:pt x="732" y="870"/>
                      </a:lnTo>
                      <a:lnTo>
                        <a:pt x="730" y="870"/>
                      </a:lnTo>
                      <a:lnTo>
                        <a:pt x="728" y="872"/>
                      </a:lnTo>
                      <a:lnTo>
                        <a:pt x="728" y="873"/>
                      </a:lnTo>
                      <a:lnTo>
                        <a:pt x="728" y="875"/>
                      </a:lnTo>
                      <a:lnTo>
                        <a:pt x="726" y="875"/>
                      </a:lnTo>
                      <a:lnTo>
                        <a:pt x="724" y="875"/>
                      </a:lnTo>
                      <a:lnTo>
                        <a:pt x="722" y="875"/>
                      </a:lnTo>
                      <a:lnTo>
                        <a:pt x="722" y="877"/>
                      </a:lnTo>
                      <a:lnTo>
                        <a:pt x="720" y="877"/>
                      </a:lnTo>
                      <a:lnTo>
                        <a:pt x="718" y="877"/>
                      </a:lnTo>
                      <a:lnTo>
                        <a:pt x="716" y="877"/>
                      </a:lnTo>
                      <a:lnTo>
                        <a:pt x="715" y="877"/>
                      </a:lnTo>
                      <a:lnTo>
                        <a:pt x="713" y="879"/>
                      </a:lnTo>
                      <a:lnTo>
                        <a:pt x="711" y="879"/>
                      </a:lnTo>
                      <a:lnTo>
                        <a:pt x="709" y="879"/>
                      </a:lnTo>
                      <a:lnTo>
                        <a:pt x="709" y="881"/>
                      </a:lnTo>
                      <a:lnTo>
                        <a:pt x="707" y="881"/>
                      </a:lnTo>
                      <a:lnTo>
                        <a:pt x="705" y="883"/>
                      </a:lnTo>
                      <a:lnTo>
                        <a:pt x="703" y="885"/>
                      </a:lnTo>
                      <a:lnTo>
                        <a:pt x="701" y="887"/>
                      </a:lnTo>
                      <a:lnTo>
                        <a:pt x="700" y="887"/>
                      </a:lnTo>
                      <a:lnTo>
                        <a:pt x="700" y="888"/>
                      </a:lnTo>
                      <a:lnTo>
                        <a:pt x="698" y="888"/>
                      </a:lnTo>
                      <a:lnTo>
                        <a:pt x="698" y="890"/>
                      </a:lnTo>
                      <a:lnTo>
                        <a:pt x="696" y="892"/>
                      </a:lnTo>
                      <a:lnTo>
                        <a:pt x="696" y="894"/>
                      </a:lnTo>
                      <a:lnTo>
                        <a:pt x="696" y="896"/>
                      </a:lnTo>
                      <a:lnTo>
                        <a:pt x="694" y="896"/>
                      </a:lnTo>
                      <a:lnTo>
                        <a:pt x="694" y="898"/>
                      </a:lnTo>
                      <a:lnTo>
                        <a:pt x="694" y="900"/>
                      </a:lnTo>
                      <a:lnTo>
                        <a:pt x="692" y="900"/>
                      </a:lnTo>
                      <a:lnTo>
                        <a:pt x="692" y="898"/>
                      </a:lnTo>
                      <a:lnTo>
                        <a:pt x="690" y="900"/>
                      </a:lnTo>
                      <a:lnTo>
                        <a:pt x="688" y="900"/>
                      </a:lnTo>
                      <a:lnTo>
                        <a:pt x="686" y="900"/>
                      </a:lnTo>
                      <a:lnTo>
                        <a:pt x="684" y="900"/>
                      </a:lnTo>
                      <a:lnTo>
                        <a:pt x="683" y="900"/>
                      </a:lnTo>
                      <a:lnTo>
                        <a:pt x="681" y="900"/>
                      </a:lnTo>
                      <a:lnTo>
                        <a:pt x="679" y="900"/>
                      </a:lnTo>
                      <a:lnTo>
                        <a:pt x="677" y="900"/>
                      </a:lnTo>
                      <a:lnTo>
                        <a:pt x="677" y="902"/>
                      </a:lnTo>
                      <a:lnTo>
                        <a:pt x="675" y="902"/>
                      </a:lnTo>
                      <a:lnTo>
                        <a:pt x="675" y="904"/>
                      </a:lnTo>
                      <a:lnTo>
                        <a:pt x="673" y="905"/>
                      </a:lnTo>
                      <a:lnTo>
                        <a:pt x="673" y="907"/>
                      </a:lnTo>
                      <a:lnTo>
                        <a:pt x="671" y="909"/>
                      </a:lnTo>
                      <a:lnTo>
                        <a:pt x="669" y="909"/>
                      </a:lnTo>
                      <a:lnTo>
                        <a:pt x="668" y="911"/>
                      </a:lnTo>
                      <a:lnTo>
                        <a:pt x="668" y="913"/>
                      </a:lnTo>
                      <a:lnTo>
                        <a:pt x="668" y="915"/>
                      </a:lnTo>
                      <a:lnTo>
                        <a:pt x="669" y="915"/>
                      </a:lnTo>
                      <a:lnTo>
                        <a:pt x="669" y="917"/>
                      </a:lnTo>
                      <a:lnTo>
                        <a:pt x="671" y="917"/>
                      </a:lnTo>
                      <a:lnTo>
                        <a:pt x="671" y="919"/>
                      </a:lnTo>
                      <a:lnTo>
                        <a:pt x="671" y="920"/>
                      </a:lnTo>
                      <a:lnTo>
                        <a:pt x="669" y="920"/>
                      </a:lnTo>
                      <a:lnTo>
                        <a:pt x="668" y="922"/>
                      </a:lnTo>
                      <a:lnTo>
                        <a:pt x="666" y="922"/>
                      </a:lnTo>
                      <a:lnTo>
                        <a:pt x="666" y="924"/>
                      </a:lnTo>
                      <a:lnTo>
                        <a:pt x="664" y="924"/>
                      </a:lnTo>
                      <a:lnTo>
                        <a:pt x="662" y="924"/>
                      </a:lnTo>
                      <a:lnTo>
                        <a:pt x="660" y="926"/>
                      </a:lnTo>
                      <a:lnTo>
                        <a:pt x="658" y="926"/>
                      </a:lnTo>
                      <a:lnTo>
                        <a:pt x="656" y="928"/>
                      </a:lnTo>
                      <a:lnTo>
                        <a:pt x="654" y="930"/>
                      </a:lnTo>
                      <a:lnTo>
                        <a:pt x="654" y="932"/>
                      </a:lnTo>
                      <a:lnTo>
                        <a:pt x="654" y="934"/>
                      </a:lnTo>
                      <a:lnTo>
                        <a:pt x="653" y="934"/>
                      </a:lnTo>
                      <a:lnTo>
                        <a:pt x="651" y="936"/>
                      </a:lnTo>
                      <a:lnTo>
                        <a:pt x="649" y="936"/>
                      </a:lnTo>
                      <a:lnTo>
                        <a:pt x="649" y="937"/>
                      </a:lnTo>
                      <a:lnTo>
                        <a:pt x="647" y="937"/>
                      </a:lnTo>
                      <a:lnTo>
                        <a:pt x="647" y="939"/>
                      </a:lnTo>
                      <a:lnTo>
                        <a:pt x="645" y="939"/>
                      </a:lnTo>
                      <a:lnTo>
                        <a:pt x="643" y="937"/>
                      </a:lnTo>
                      <a:lnTo>
                        <a:pt x="641" y="937"/>
                      </a:lnTo>
                      <a:lnTo>
                        <a:pt x="639" y="937"/>
                      </a:lnTo>
                      <a:lnTo>
                        <a:pt x="639" y="939"/>
                      </a:lnTo>
                      <a:lnTo>
                        <a:pt x="639" y="941"/>
                      </a:lnTo>
                      <a:lnTo>
                        <a:pt x="639" y="943"/>
                      </a:lnTo>
                      <a:lnTo>
                        <a:pt x="639" y="945"/>
                      </a:lnTo>
                      <a:lnTo>
                        <a:pt x="637" y="947"/>
                      </a:lnTo>
                      <a:lnTo>
                        <a:pt x="636" y="949"/>
                      </a:lnTo>
                      <a:lnTo>
                        <a:pt x="636" y="951"/>
                      </a:lnTo>
                      <a:lnTo>
                        <a:pt x="634" y="951"/>
                      </a:lnTo>
                      <a:lnTo>
                        <a:pt x="634" y="952"/>
                      </a:lnTo>
                      <a:lnTo>
                        <a:pt x="632" y="952"/>
                      </a:lnTo>
                      <a:lnTo>
                        <a:pt x="630" y="952"/>
                      </a:lnTo>
                      <a:lnTo>
                        <a:pt x="630" y="954"/>
                      </a:lnTo>
                      <a:lnTo>
                        <a:pt x="630" y="956"/>
                      </a:lnTo>
                      <a:lnTo>
                        <a:pt x="630" y="958"/>
                      </a:lnTo>
                      <a:lnTo>
                        <a:pt x="632" y="958"/>
                      </a:lnTo>
                      <a:lnTo>
                        <a:pt x="632" y="960"/>
                      </a:lnTo>
                      <a:lnTo>
                        <a:pt x="634" y="960"/>
                      </a:lnTo>
                      <a:lnTo>
                        <a:pt x="634" y="962"/>
                      </a:lnTo>
                      <a:lnTo>
                        <a:pt x="634" y="964"/>
                      </a:lnTo>
                      <a:lnTo>
                        <a:pt x="632" y="966"/>
                      </a:lnTo>
                      <a:lnTo>
                        <a:pt x="630" y="968"/>
                      </a:lnTo>
                      <a:lnTo>
                        <a:pt x="630" y="969"/>
                      </a:lnTo>
                      <a:lnTo>
                        <a:pt x="628" y="969"/>
                      </a:lnTo>
                      <a:lnTo>
                        <a:pt x="628" y="971"/>
                      </a:lnTo>
                      <a:lnTo>
                        <a:pt x="626" y="973"/>
                      </a:lnTo>
                      <a:lnTo>
                        <a:pt x="626" y="975"/>
                      </a:lnTo>
                      <a:lnTo>
                        <a:pt x="626" y="977"/>
                      </a:lnTo>
                      <a:lnTo>
                        <a:pt x="626" y="979"/>
                      </a:lnTo>
                      <a:lnTo>
                        <a:pt x="624" y="979"/>
                      </a:lnTo>
                      <a:lnTo>
                        <a:pt x="622" y="979"/>
                      </a:lnTo>
                      <a:lnTo>
                        <a:pt x="621" y="981"/>
                      </a:lnTo>
                      <a:lnTo>
                        <a:pt x="621" y="979"/>
                      </a:lnTo>
                      <a:lnTo>
                        <a:pt x="619" y="979"/>
                      </a:lnTo>
                      <a:lnTo>
                        <a:pt x="617" y="979"/>
                      </a:lnTo>
                      <a:lnTo>
                        <a:pt x="615" y="979"/>
                      </a:lnTo>
                      <a:lnTo>
                        <a:pt x="615" y="981"/>
                      </a:lnTo>
                      <a:lnTo>
                        <a:pt x="613" y="981"/>
                      </a:lnTo>
                      <a:lnTo>
                        <a:pt x="611" y="983"/>
                      </a:lnTo>
                      <a:lnTo>
                        <a:pt x="609" y="981"/>
                      </a:lnTo>
                      <a:lnTo>
                        <a:pt x="607" y="983"/>
                      </a:lnTo>
                      <a:lnTo>
                        <a:pt x="605" y="983"/>
                      </a:lnTo>
                      <a:lnTo>
                        <a:pt x="604" y="983"/>
                      </a:lnTo>
                      <a:lnTo>
                        <a:pt x="602" y="983"/>
                      </a:lnTo>
                      <a:lnTo>
                        <a:pt x="600" y="983"/>
                      </a:lnTo>
                      <a:lnTo>
                        <a:pt x="598" y="983"/>
                      </a:lnTo>
                      <a:lnTo>
                        <a:pt x="598" y="984"/>
                      </a:lnTo>
                      <a:lnTo>
                        <a:pt x="598" y="986"/>
                      </a:lnTo>
                      <a:lnTo>
                        <a:pt x="596" y="990"/>
                      </a:lnTo>
                      <a:lnTo>
                        <a:pt x="594" y="990"/>
                      </a:lnTo>
                      <a:lnTo>
                        <a:pt x="594" y="992"/>
                      </a:lnTo>
                      <a:lnTo>
                        <a:pt x="592" y="992"/>
                      </a:lnTo>
                      <a:lnTo>
                        <a:pt x="587" y="979"/>
                      </a:lnTo>
                      <a:lnTo>
                        <a:pt x="572" y="954"/>
                      </a:lnTo>
                      <a:lnTo>
                        <a:pt x="564" y="943"/>
                      </a:lnTo>
                      <a:lnTo>
                        <a:pt x="564" y="941"/>
                      </a:lnTo>
                      <a:lnTo>
                        <a:pt x="564" y="939"/>
                      </a:lnTo>
                      <a:lnTo>
                        <a:pt x="562" y="939"/>
                      </a:lnTo>
                      <a:lnTo>
                        <a:pt x="564" y="939"/>
                      </a:lnTo>
                      <a:lnTo>
                        <a:pt x="566" y="937"/>
                      </a:lnTo>
                      <a:lnTo>
                        <a:pt x="568" y="937"/>
                      </a:lnTo>
                      <a:lnTo>
                        <a:pt x="570" y="937"/>
                      </a:lnTo>
                      <a:lnTo>
                        <a:pt x="570" y="936"/>
                      </a:lnTo>
                      <a:lnTo>
                        <a:pt x="570" y="937"/>
                      </a:lnTo>
                      <a:lnTo>
                        <a:pt x="570" y="936"/>
                      </a:lnTo>
                      <a:lnTo>
                        <a:pt x="570" y="934"/>
                      </a:lnTo>
                      <a:lnTo>
                        <a:pt x="572" y="934"/>
                      </a:lnTo>
                      <a:lnTo>
                        <a:pt x="568" y="934"/>
                      </a:lnTo>
                      <a:lnTo>
                        <a:pt x="570" y="930"/>
                      </a:lnTo>
                      <a:lnTo>
                        <a:pt x="574" y="926"/>
                      </a:lnTo>
                      <a:lnTo>
                        <a:pt x="577" y="922"/>
                      </a:lnTo>
                      <a:lnTo>
                        <a:pt x="585" y="911"/>
                      </a:lnTo>
                      <a:lnTo>
                        <a:pt x="592" y="904"/>
                      </a:lnTo>
                      <a:lnTo>
                        <a:pt x="598" y="898"/>
                      </a:lnTo>
                      <a:lnTo>
                        <a:pt x="619" y="873"/>
                      </a:lnTo>
                      <a:lnTo>
                        <a:pt x="617" y="872"/>
                      </a:lnTo>
                      <a:lnTo>
                        <a:pt x="615" y="872"/>
                      </a:lnTo>
                      <a:lnTo>
                        <a:pt x="607" y="868"/>
                      </a:lnTo>
                      <a:lnTo>
                        <a:pt x="605" y="868"/>
                      </a:lnTo>
                      <a:lnTo>
                        <a:pt x="602" y="868"/>
                      </a:lnTo>
                      <a:lnTo>
                        <a:pt x="600" y="868"/>
                      </a:lnTo>
                      <a:lnTo>
                        <a:pt x="596" y="868"/>
                      </a:lnTo>
                      <a:lnTo>
                        <a:pt x="592" y="868"/>
                      </a:lnTo>
                      <a:lnTo>
                        <a:pt x="592" y="870"/>
                      </a:lnTo>
                      <a:lnTo>
                        <a:pt x="587" y="870"/>
                      </a:lnTo>
                      <a:lnTo>
                        <a:pt x="579" y="870"/>
                      </a:lnTo>
                      <a:lnTo>
                        <a:pt x="577" y="872"/>
                      </a:lnTo>
                      <a:lnTo>
                        <a:pt x="575" y="872"/>
                      </a:lnTo>
                      <a:lnTo>
                        <a:pt x="574" y="872"/>
                      </a:lnTo>
                      <a:lnTo>
                        <a:pt x="572" y="872"/>
                      </a:lnTo>
                      <a:lnTo>
                        <a:pt x="570" y="872"/>
                      </a:lnTo>
                      <a:lnTo>
                        <a:pt x="564" y="872"/>
                      </a:lnTo>
                      <a:lnTo>
                        <a:pt x="555" y="873"/>
                      </a:lnTo>
                      <a:lnTo>
                        <a:pt x="555" y="872"/>
                      </a:lnTo>
                      <a:lnTo>
                        <a:pt x="555" y="870"/>
                      </a:lnTo>
                      <a:lnTo>
                        <a:pt x="553" y="870"/>
                      </a:lnTo>
                      <a:lnTo>
                        <a:pt x="553" y="868"/>
                      </a:lnTo>
                      <a:lnTo>
                        <a:pt x="555" y="868"/>
                      </a:lnTo>
                      <a:lnTo>
                        <a:pt x="555" y="866"/>
                      </a:lnTo>
                      <a:lnTo>
                        <a:pt x="553" y="866"/>
                      </a:lnTo>
                      <a:lnTo>
                        <a:pt x="555" y="866"/>
                      </a:lnTo>
                      <a:lnTo>
                        <a:pt x="555" y="864"/>
                      </a:lnTo>
                      <a:lnTo>
                        <a:pt x="555" y="862"/>
                      </a:lnTo>
                      <a:lnTo>
                        <a:pt x="555" y="860"/>
                      </a:lnTo>
                      <a:lnTo>
                        <a:pt x="553" y="856"/>
                      </a:lnTo>
                      <a:lnTo>
                        <a:pt x="551" y="856"/>
                      </a:lnTo>
                      <a:lnTo>
                        <a:pt x="551" y="855"/>
                      </a:lnTo>
                      <a:lnTo>
                        <a:pt x="551" y="853"/>
                      </a:lnTo>
                      <a:lnTo>
                        <a:pt x="551" y="851"/>
                      </a:lnTo>
                      <a:lnTo>
                        <a:pt x="551" y="849"/>
                      </a:lnTo>
                      <a:lnTo>
                        <a:pt x="551" y="847"/>
                      </a:lnTo>
                      <a:lnTo>
                        <a:pt x="551" y="845"/>
                      </a:lnTo>
                      <a:lnTo>
                        <a:pt x="549" y="845"/>
                      </a:lnTo>
                      <a:lnTo>
                        <a:pt x="547" y="845"/>
                      </a:lnTo>
                      <a:lnTo>
                        <a:pt x="543" y="847"/>
                      </a:lnTo>
                      <a:lnTo>
                        <a:pt x="545" y="849"/>
                      </a:lnTo>
                      <a:lnTo>
                        <a:pt x="545" y="853"/>
                      </a:lnTo>
                      <a:lnTo>
                        <a:pt x="543" y="855"/>
                      </a:lnTo>
                      <a:lnTo>
                        <a:pt x="540" y="855"/>
                      </a:lnTo>
                      <a:lnTo>
                        <a:pt x="538" y="855"/>
                      </a:lnTo>
                      <a:lnTo>
                        <a:pt x="530" y="856"/>
                      </a:lnTo>
                      <a:lnTo>
                        <a:pt x="528" y="856"/>
                      </a:lnTo>
                      <a:lnTo>
                        <a:pt x="528" y="858"/>
                      </a:lnTo>
                      <a:lnTo>
                        <a:pt x="528" y="860"/>
                      </a:lnTo>
                      <a:lnTo>
                        <a:pt x="526" y="860"/>
                      </a:lnTo>
                      <a:lnTo>
                        <a:pt x="526" y="862"/>
                      </a:lnTo>
                      <a:lnTo>
                        <a:pt x="525" y="862"/>
                      </a:lnTo>
                      <a:lnTo>
                        <a:pt x="525" y="864"/>
                      </a:lnTo>
                      <a:lnTo>
                        <a:pt x="526" y="866"/>
                      </a:lnTo>
                      <a:lnTo>
                        <a:pt x="525" y="868"/>
                      </a:lnTo>
                      <a:lnTo>
                        <a:pt x="525" y="866"/>
                      </a:lnTo>
                      <a:lnTo>
                        <a:pt x="525" y="868"/>
                      </a:lnTo>
                      <a:lnTo>
                        <a:pt x="525" y="866"/>
                      </a:lnTo>
                      <a:lnTo>
                        <a:pt x="525" y="868"/>
                      </a:lnTo>
                      <a:lnTo>
                        <a:pt x="523" y="868"/>
                      </a:lnTo>
                      <a:lnTo>
                        <a:pt x="523" y="870"/>
                      </a:lnTo>
                      <a:lnTo>
                        <a:pt x="523" y="872"/>
                      </a:lnTo>
                      <a:lnTo>
                        <a:pt x="525" y="872"/>
                      </a:lnTo>
                      <a:lnTo>
                        <a:pt x="525" y="873"/>
                      </a:lnTo>
                      <a:lnTo>
                        <a:pt x="526" y="875"/>
                      </a:lnTo>
                      <a:lnTo>
                        <a:pt x="526" y="877"/>
                      </a:lnTo>
                      <a:lnTo>
                        <a:pt x="528" y="877"/>
                      </a:lnTo>
                      <a:lnTo>
                        <a:pt x="528" y="879"/>
                      </a:lnTo>
                      <a:lnTo>
                        <a:pt x="528" y="883"/>
                      </a:lnTo>
                      <a:lnTo>
                        <a:pt x="525" y="885"/>
                      </a:lnTo>
                      <a:lnTo>
                        <a:pt x="523" y="890"/>
                      </a:lnTo>
                      <a:lnTo>
                        <a:pt x="523" y="892"/>
                      </a:lnTo>
                      <a:lnTo>
                        <a:pt x="523" y="894"/>
                      </a:lnTo>
                      <a:lnTo>
                        <a:pt x="523" y="896"/>
                      </a:lnTo>
                      <a:lnTo>
                        <a:pt x="521" y="898"/>
                      </a:lnTo>
                      <a:lnTo>
                        <a:pt x="519" y="900"/>
                      </a:lnTo>
                      <a:lnTo>
                        <a:pt x="521" y="902"/>
                      </a:lnTo>
                      <a:lnTo>
                        <a:pt x="530" y="909"/>
                      </a:lnTo>
                      <a:lnTo>
                        <a:pt x="528" y="909"/>
                      </a:lnTo>
                      <a:lnTo>
                        <a:pt x="528" y="911"/>
                      </a:lnTo>
                      <a:lnTo>
                        <a:pt x="526" y="911"/>
                      </a:lnTo>
                      <a:lnTo>
                        <a:pt x="526" y="913"/>
                      </a:lnTo>
                      <a:lnTo>
                        <a:pt x="528" y="913"/>
                      </a:lnTo>
                      <a:lnTo>
                        <a:pt x="528" y="915"/>
                      </a:lnTo>
                      <a:lnTo>
                        <a:pt x="526" y="917"/>
                      </a:lnTo>
                      <a:lnTo>
                        <a:pt x="526" y="915"/>
                      </a:lnTo>
                      <a:lnTo>
                        <a:pt x="526" y="917"/>
                      </a:lnTo>
                      <a:lnTo>
                        <a:pt x="525" y="917"/>
                      </a:lnTo>
                      <a:lnTo>
                        <a:pt x="525" y="915"/>
                      </a:lnTo>
                      <a:lnTo>
                        <a:pt x="525" y="917"/>
                      </a:lnTo>
                      <a:lnTo>
                        <a:pt x="523" y="917"/>
                      </a:lnTo>
                      <a:lnTo>
                        <a:pt x="521" y="917"/>
                      </a:lnTo>
                      <a:lnTo>
                        <a:pt x="519" y="917"/>
                      </a:lnTo>
                      <a:lnTo>
                        <a:pt x="519" y="919"/>
                      </a:lnTo>
                      <a:lnTo>
                        <a:pt x="519" y="920"/>
                      </a:lnTo>
                      <a:lnTo>
                        <a:pt x="517" y="920"/>
                      </a:lnTo>
                      <a:lnTo>
                        <a:pt x="517" y="922"/>
                      </a:lnTo>
                      <a:lnTo>
                        <a:pt x="517" y="924"/>
                      </a:lnTo>
                      <a:lnTo>
                        <a:pt x="517" y="926"/>
                      </a:lnTo>
                      <a:lnTo>
                        <a:pt x="515" y="926"/>
                      </a:lnTo>
                      <a:lnTo>
                        <a:pt x="513" y="928"/>
                      </a:lnTo>
                      <a:lnTo>
                        <a:pt x="511" y="928"/>
                      </a:lnTo>
                      <a:lnTo>
                        <a:pt x="511" y="930"/>
                      </a:lnTo>
                      <a:lnTo>
                        <a:pt x="511" y="932"/>
                      </a:lnTo>
                      <a:lnTo>
                        <a:pt x="510" y="932"/>
                      </a:lnTo>
                      <a:lnTo>
                        <a:pt x="508" y="932"/>
                      </a:lnTo>
                      <a:lnTo>
                        <a:pt x="508" y="930"/>
                      </a:lnTo>
                      <a:lnTo>
                        <a:pt x="506" y="930"/>
                      </a:lnTo>
                      <a:lnTo>
                        <a:pt x="506" y="932"/>
                      </a:lnTo>
                      <a:lnTo>
                        <a:pt x="506" y="934"/>
                      </a:lnTo>
                      <a:lnTo>
                        <a:pt x="508" y="934"/>
                      </a:lnTo>
                      <a:lnTo>
                        <a:pt x="508" y="936"/>
                      </a:lnTo>
                      <a:lnTo>
                        <a:pt x="510" y="936"/>
                      </a:lnTo>
                      <a:lnTo>
                        <a:pt x="508" y="936"/>
                      </a:lnTo>
                      <a:lnTo>
                        <a:pt x="510" y="936"/>
                      </a:lnTo>
                      <a:lnTo>
                        <a:pt x="510" y="937"/>
                      </a:lnTo>
                      <a:lnTo>
                        <a:pt x="510" y="939"/>
                      </a:lnTo>
                      <a:lnTo>
                        <a:pt x="511" y="939"/>
                      </a:lnTo>
                      <a:lnTo>
                        <a:pt x="511" y="941"/>
                      </a:lnTo>
                      <a:lnTo>
                        <a:pt x="511" y="943"/>
                      </a:lnTo>
                      <a:lnTo>
                        <a:pt x="510" y="943"/>
                      </a:lnTo>
                      <a:lnTo>
                        <a:pt x="510" y="945"/>
                      </a:lnTo>
                      <a:lnTo>
                        <a:pt x="510" y="947"/>
                      </a:lnTo>
                      <a:lnTo>
                        <a:pt x="510" y="949"/>
                      </a:lnTo>
                      <a:lnTo>
                        <a:pt x="511" y="949"/>
                      </a:lnTo>
                      <a:lnTo>
                        <a:pt x="511" y="951"/>
                      </a:lnTo>
                      <a:lnTo>
                        <a:pt x="510" y="951"/>
                      </a:lnTo>
                      <a:lnTo>
                        <a:pt x="510" y="952"/>
                      </a:lnTo>
                      <a:lnTo>
                        <a:pt x="510" y="954"/>
                      </a:lnTo>
                      <a:lnTo>
                        <a:pt x="510" y="956"/>
                      </a:lnTo>
                      <a:lnTo>
                        <a:pt x="511" y="956"/>
                      </a:lnTo>
                      <a:lnTo>
                        <a:pt x="511" y="958"/>
                      </a:lnTo>
                      <a:lnTo>
                        <a:pt x="511" y="960"/>
                      </a:lnTo>
                      <a:lnTo>
                        <a:pt x="510" y="960"/>
                      </a:lnTo>
                      <a:lnTo>
                        <a:pt x="508" y="962"/>
                      </a:lnTo>
                      <a:lnTo>
                        <a:pt x="506" y="962"/>
                      </a:lnTo>
                      <a:lnTo>
                        <a:pt x="506" y="964"/>
                      </a:lnTo>
                      <a:lnTo>
                        <a:pt x="508" y="964"/>
                      </a:lnTo>
                      <a:lnTo>
                        <a:pt x="508" y="966"/>
                      </a:lnTo>
                      <a:lnTo>
                        <a:pt x="508" y="968"/>
                      </a:lnTo>
                      <a:lnTo>
                        <a:pt x="506" y="968"/>
                      </a:lnTo>
                      <a:lnTo>
                        <a:pt x="504" y="968"/>
                      </a:lnTo>
                      <a:lnTo>
                        <a:pt x="502" y="968"/>
                      </a:lnTo>
                      <a:lnTo>
                        <a:pt x="500" y="968"/>
                      </a:lnTo>
                      <a:lnTo>
                        <a:pt x="498" y="969"/>
                      </a:lnTo>
                      <a:lnTo>
                        <a:pt x="496" y="969"/>
                      </a:lnTo>
                      <a:lnTo>
                        <a:pt x="495" y="969"/>
                      </a:lnTo>
                      <a:lnTo>
                        <a:pt x="495" y="971"/>
                      </a:lnTo>
                      <a:lnTo>
                        <a:pt x="493" y="971"/>
                      </a:lnTo>
                      <a:lnTo>
                        <a:pt x="493" y="973"/>
                      </a:lnTo>
                      <a:lnTo>
                        <a:pt x="495" y="973"/>
                      </a:lnTo>
                      <a:lnTo>
                        <a:pt x="495" y="975"/>
                      </a:lnTo>
                      <a:lnTo>
                        <a:pt x="495" y="977"/>
                      </a:lnTo>
                      <a:lnTo>
                        <a:pt x="495" y="979"/>
                      </a:lnTo>
                      <a:lnTo>
                        <a:pt x="495" y="981"/>
                      </a:lnTo>
                      <a:lnTo>
                        <a:pt x="493" y="981"/>
                      </a:lnTo>
                      <a:lnTo>
                        <a:pt x="493" y="983"/>
                      </a:lnTo>
                      <a:lnTo>
                        <a:pt x="491" y="983"/>
                      </a:lnTo>
                      <a:lnTo>
                        <a:pt x="489" y="984"/>
                      </a:lnTo>
                      <a:lnTo>
                        <a:pt x="487" y="986"/>
                      </a:lnTo>
                      <a:lnTo>
                        <a:pt x="485" y="984"/>
                      </a:lnTo>
                      <a:lnTo>
                        <a:pt x="478" y="977"/>
                      </a:lnTo>
                      <a:lnTo>
                        <a:pt x="472" y="971"/>
                      </a:lnTo>
                      <a:lnTo>
                        <a:pt x="470" y="969"/>
                      </a:lnTo>
                      <a:lnTo>
                        <a:pt x="468" y="969"/>
                      </a:lnTo>
                      <a:lnTo>
                        <a:pt x="464" y="969"/>
                      </a:lnTo>
                      <a:lnTo>
                        <a:pt x="468" y="964"/>
                      </a:lnTo>
                      <a:lnTo>
                        <a:pt x="468" y="962"/>
                      </a:lnTo>
                      <a:lnTo>
                        <a:pt x="470" y="960"/>
                      </a:lnTo>
                      <a:lnTo>
                        <a:pt x="470" y="958"/>
                      </a:lnTo>
                      <a:lnTo>
                        <a:pt x="470" y="954"/>
                      </a:lnTo>
                      <a:lnTo>
                        <a:pt x="466" y="949"/>
                      </a:lnTo>
                      <a:lnTo>
                        <a:pt x="455" y="937"/>
                      </a:lnTo>
                      <a:lnTo>
                        <a:pt x="451" y="943"/>
                      </a:lnTo>
                      <a:lnTo>
                        <a:pt x="444" y="934"/>
                      </a:lnTo>
                      <a:lnTo>
                        <a:pt x="444" y="932"/>
                      </a:lnTo>
                      <a:lnTo>
                        <a:pt x="446" y="930"/>
                      </a:lnTo>
                      <a:lnTo>
                        <a:pt x="455" y="913"/>
                      </a:lnTo>
                      <a:lnTo>
                        <a:pt x="461" y="913"/>
                      </a:lnTo>
                      <a:lnTo>
                        <a:pt x="464" y="904"/>
                      </a:lnTo>
                      <a:lnTo>
                        <a:pt x="466" y="896"/>
                      </a:lnTo>
                      <a:lnTo>
                        <a:pt x="463" y="894"/>
                      </a:lnTo>
                      <a:lnTo>
                        <a:pt x="455" y="890"/>
                      </a:lnTo>
                      <a:lnTo>
                        <a:pt x="457" y="888"/>
                      </a:lnTo>
                      <a:lnTo>
                        <a:pt x="464" y="873"/>
                      </a:lnTo>
                      <a:lnTo>
                        <a:pt x="455" y="868"/>
                      </a:lnTo>
                      <a:lnTo>
                        <a:pt x="453" y="868"/>
                      </a:lnTo>
                      <a:lnTo>
                        <a:pt x="449" y="868"/>
                      </a:lnTo>
                      <a:lnTo>
                        <a:pt x="446" y="870"/>
                      </a:lnTo>
                      <a:lnTo>
                        <a:pt x="406" y="877"/>
                      </a:lnTo>
                      <a:lnTo>
                        <a:pt x="397" y="879"/>
                      </a:lnTo>
                      <a:lnTo>
                        <a:pt x="380" y="885"/>
                      </a:lnTo>
                      <a:lnTo>
                        <a:pt x="376" y="875"/>
                      </a:lnTo>
                      <a:lnTo>
                        <a:pt x="374" y="873"/>
                      </a:lnTo>
                      <a:lnTo>
                        <a:pt x="376" y="872"/>
                      </a:lnTo>
                      <a:lnTo>
                        <a:pt x="376" y="866"/>
                      </a:lnTo>
                      <a:lnTo>
                        <a:pt x="376" y="864"/>
                      </a:lnTo>
                      <a:lnTo>
                        <a:pt x="378" y="862"/>
                      </a:lnTo>
                      <a:lnTo>
                        <a:pt x="378" y="860"/>
                      </a:lnTo>
                      <a:lnTo>
                        <a:pt x="378" y="858"/>
                      </a:lnTo>
                      <a:lnTo>
                        <a:pt x="382" y="851"/>
                      </a:lnTo>
                      <a:lnTo>
                        <a:pt x="380" y="849"/>
                      </a:lnTo>
                      <a:lnTo>
                        <a:pt x="363" y="845"/>
                      </a:lnTo>
                      <a:lnTo>
                        <a:pt x="363" y="832"/>
                      </a:lnTo>
                      <a:lnTo>
                        <a:pt x="365" y="824"/>
                      </a:lnTo>
                      <a:lnTo>
                        <a:pt x="365" y="819"/>
                      </a:lnTo>
                      <a:lnTo>
                        <a:pt x="365" y="817"/>
                      </a:lnTo>
                      <a:lnTo>
                        <a:pt x="365" y="813"/>
                      </a:lnTo>
                      <a:lnTo>
                        <a:pt x="365" y="804"/>
                      </a:lnTo>
                      <a:lnTo>
                        <a:pt x="365" y="794"/>
                      </a:lnTo>
                      <a:lnTo>
                        <a:pt x="372" y="774"/>
                      </a:lnTo>
                      <a:lnTo>
                        <a:pt x="368" y="774"/>
                      </a:lnTo>
                      <a:lnTo>
                        <a:pt x="367" y="772"/>
                      </a:lnTo>
                      <a:lnTo>
                        <a:pt x="355" y="764"/>
                      </a:lnTo>
                      <a:lnTo>
                        <a:pt x="344" y="757"/>
                      </a:lnTo>
                      <a:lnTo>
                        <a:pt x="342" y="755"/>
                      </a:lnTo>
                      <a:lnTo>
                        <a:pt x="338" y="751"/>
                      </a:lnTo>
                      <a:lnTo>
                        <a:pt x="338" y="753"/>
                      </a:lnTo>
                      <a:lnTo>
                        <a:pt x="337" y="751"/>
                      </a:lnTo>
                      <a:lnTo>
                        <a:pt x="325" y="744"/>
                      </a:lnTo>
                      <a:lnTo>
                        <a:pt x="325" y="738"/>
                      </a:lnTo>
                      <a:lnTo>
                        <a:pt x="327" y="736"/>
                      </a:lnTo>
                      <a:lnTo>
                        <a:pt x="329" y="732"/>
                      </a:lnTo>
                      <a:lnTo>
                        <a:pt x="333" y="723"/>
                      </a:lnTo>
                      <a:lnTo>
                        <a:pt x="335" y="721"/>
                      </a:lnTo>
                      <a:lnTo>
                        <a:pt x="335" y="719"/>
                      </a:lnTo>
                      <a:lnTo>
                        <a:pt x="338" y="713"/>
                      </a:lnTo>
                      <a:lnTo>
                        <a:pt x="338" y="710"/>
                      </a:lnTo>
                      <a:lnTo>
                        <a:pt x="342" y="706"/>
                      </a:lnTo>
                      <a:lnTo>
                        <a:pt x="344" y="700"/>
                      </a:lnTo>
                      <a:lnTo>
                        <a:pt x="344" y="698"/>
                      </a:lnTo>
                      <a:lnTo>
                        <a:pt x="344" y="695"/>
                      </a:lnTo>
                      <a:lnTo>
                        <a:pt x="352" y="691"/>
                      </a:lnTo>
                      <a:lnTo>
                        <a:pt x="361" y="687"/>
                      </a:lnTo>
                      <a:lnTo>
                        <a:pt x="361" y="685"/>
                      </a:lnTo>
                      <a:lnTo>
                        <a:pt x="357" y="670"/>
                      </a:lnTo>
                      <a:lnTo>
                        <a:pt x="352" y="655"/>
                      </a:lnTo>
                      <a:lnTo>
                        <a:pt x="350" y="651"/>
                      </a:lnTo>
                      <a:lnTo>
                        <a:pt x="348" y="649"/>
                      </a:lnTo>
                      <a:lnTo>
                        <a:pt x="344" y="640"/>
                      </a:lnTo>
                      <a:lnTo>
                        <a:pt x="342" y="642"/>
                      </a:lnTo>
                      <a:lnTo>
                        <a:pt x="340" y="642"/>
                      </a:lnTo>
                      <a:lnTo>
                        <a:pt x="338" y="640"/>
                      </a:lnTo>
                      <a:lnTo>
                        <a:pt x="338" y="638"/>
                      </a:lnTo>
                      <a:lnTo>
                        <a:pt x="337" y="636"/>
                      </a:lnTo>
                      <a:lnTo>
                        <a:pt x="335" y="636"/>
                      </a:lnTo>
                      <a:lnTo>
                        <a:pt x="335" y="634"/>
                      </a:lnTo>
                      <a:lnTo>
                        <a:pt x="329" y="631"/>
                      </a:lnTo>
                      <a:lnTo>
                        <a:pt x="325" y="631"/>
                      </a:lnTo>
                      <a:lnTo>
                        <a:pt x="318" y="631"/>
                      </a:lnTo>
                      <a:lnTo>
                        <a:pt x="314" y="640"/>
                      </a:lnTo>
                      <a:lnTo>
                        <a:pt x="305" y="634"/>
                      </a:lnTo>
                      <a:lnTo>
                        <a:pt x="301" y="632"/>
                      </a:lnTo>
                      <a:lnTo>
                        <a:pt x="293" y="627"/>
                      </a:lnTo>
                      <a:lnTo>
                        <a:pt x="289" y="625"/>
                      </a:lnTo>
                      <a:lnTo>
                        <a:pt x="280" y="623"/>
                      </a:lnTo>
                      <a:lnTo>
                        <a:pt x="271" y="619"/>
                      </a:lnTo>
                      <a:lnTo>
                        <a:pt x="261" y="615"/>
                      </a:lnTo>
                      <a:lnTo>
                        <a:pt x="252" y="612"/>
                      </a:lnTo>
                      <a:lnTo>
                        <a:pt x="241" y="606"/>
                      </a:lnTo>
                      <a:lnTo>
                        <a:pt x="229" y="600"/>
                      </a:lnTo>
                      <a:lnTo>
                        <a:pt x="220" y="597"/>
                      </a:lnTo>
                      <a:lnTo>
                        <a:pt x="222" y="593"/>
                      </a:lnTo>
                      <a:lnTo>
                        <a:pt x="235" y="574"/>
                      </a:lnTo>
                      <a:lnTo>
                        <a:pt x="244" y="561"/>
                      </a:lnTo>
                      <a:lnTo>
                        <a:pt x="222" y="544"/>
                      </a:lnTo>
                      <a:lnTo>
                        <a:pt x="220" y="542"/>
                      </a:lnTo>
                      <a:lnTo>
                        <a:pt x="214" y="536"/>
                      </a:lnTo>
                      <a:lnTo>
                        <a:pt x="163" y="523"/>
                      </a:lnTo>
                      <a:lnTo>
                        <a:pt x="167" y="482"/>
                      </a:lnTo>
                      <a:lnTo>
                        <a:pt x="152" y="463"/>
                      </a:lnTo>
                      <a:lnTo>
                        <a:pt x="163" y="444"/>
                      </a:lnTo>
                      <a:lnTo>
                        <a:pt x="175" y="425"/>
                      </a:lnTo>
                      <a:lnTo>
                        <a:pt x="160" y="418"/>
                      </a:lnTo>
                      <a:lnTo>
                        <a:pt x="150" y="418"/>
                      </a:lnTo>
                      <a:lnTo>
                        <a:pt x="154" y="401"/>
                      </a:lnTo>
                      <a:lnTo>
                        <a:pt x="173" y="405"/>
                      </a:lnTo>
                      <a:lnTo>
                        <a:pt x="186" y="410"/>
                      </a:lnTo>
                      <a:lnTo>
                        <a:pt x="192" y="393"/>
                      </a:lnTo>
                      <a:lnTo>
                        <a:pt x="194" y="388"/>
                      </a:lnTo>
                      <a:lnTo>
                        <a:pt x="177" y="384"/>
                      </a:lnTo>
                      <a:lnTo>
                        <a:pt x="118" y="380"/>
                      </a:lnTo>
                      <a:lnTo>
                        <a:pt x="118" y="386"/>
                      </a:lnTo>
                      <a:lnTo>
                        <a:pt x="118" y="397"/>
                      </a:lnTo>
                      <a:lnTo>
                        <a:pt x="113" y="414"/>
                      </a:lnTo>
                      <a:lnTo>
                        <a:pt x="92" y="410"/>
                      </a:lnTo>
                      <a:lnTo>
                        <a:pt x="90" y="429"/>
                      </a:lnTo>
                      <a:lnTo>
                        <a:pt x="71" y="427"/>
                      </a:lnTo>
                      <a:lnTo>
                        <a:pt x="69" y="446"/>
                      </a:lnTo>
                      <a:lnTo>
                        <a:pt x="66" y="459"/>
                      </a:lnTo>
                      <a:lnTo>
                        <a:pt x="56" y="493"/>
                      </a:lnTo>
                      <a:lnTo>
                        <a:pt x="54" y="497"/>
                      </a:lnTo>
                      <a:lnTo>
                        <a:pt x="49" y="508"/>
                      </a:lnTo>
                      <a:lnTo>
                        <a:pt x="45" y="514"/>
                      </a:lnTo>
                      <a:lnTo>
                        <a:pt x="30" y="506"/>
                      </a:lnTo>
                      <a:lnTo>
                        <a:pt x="21" y="503"/>
                      </a:lnTo>
                      <a:lnTo>
                        <a:pt x="21" y="489"/>
                      </a:lnTo>
                      <a:lnTo>
                        <a:pt x="21" y="487"/>
                      </a:lnTo>
                      <a:lnTo>
                        <a:pt x="21" y="471"/>
                      </a:lnTo>
                      <a:lnTo>
                        <a:pt x="21" y="457"/>
                      </a:lnTo>
                      <a:lnTo>
                        <a:pt x="21" y="452"/>
                      </a:lnTo>
                      <a:lnTo>
                        <a:pt x="21" y="437"/>
                      </a:lnTo>
                      <a:lnTo>
                        <a:pt x="21" y="433"/>
                      </a:lnTo>
                      <a:lnTo>
                        <a:pt x="21" y="427"/>
                      </a:lnTo>
                      <a:lnTo>
                        <a:pt x="19" y="425"/>
                      </a:lnTo>
                      <a:lnTo>
                        <a:pt x="19" y="420"/>
                      </a:lnTo>
                      <a:lnTo>
                        <a:pt x="2" y="420"/>
                      </a:lnTo>
                      <a:lnTo>
                        <a:pt x="2" y="418"/>
                      </a:lnTo>
                      <a:lnTo>
                        <a:pt x="4" y="418"/>
                      </a:lnTo>
                      <a:lnTo>
                        <a:pt x="2" y="418"/>
                      </a:lnTo>
                      <a:lnTo>
                        <a:pt x="2" y="416"/>
                      </a:lnTo>
                      <a:lnTo>
                        <a:pt x="0" y="414"/>
                      </a:lnTo>
                      <a:lnTo>
                        <a:pt x="0" y="412"/>
                      </a:lnTo>
                      <a:lnTo>
                        <a:pt x="2" y="412"/>
                      </a:lnTo>
                      <a:lnTo>
                        <a:pt x="4" y="410"/>
                      </a:lnTo>
                      <a:lnTo>
                        <a:pt x="5" y="410"/>
                      </a:lnTo>
                      <a:lnTo>
                        <a:pt x="7" y="410"/>
                      </a:lnTo>
                      <a:lnTo>
                        <a:pt x="7" y="408"/>
                      </a:lnTo>
                      <a:lnTo>
                        <a:pt x="9" y="408"/>
                      </a:lnTo>
                      <a:lnTo>
                        <a:pt x="11" y="407"/>
                      </a:lnTo>
                      <a:lnTo>
                        <a:pt x="11" y="405"/>
                      </a:lnTo>
                      <a:lnTo>
                        <a:pt x="11" y="403"/>
                      </a:lnTo>
                      <a:lnTo>
                        <a:pt x="11" y="401"/>
                      </a:lnTo>
                      <a:lnTo>
                        <a:pt x="11" y="399"/>
                      </a:lnTo>
                      <a:lnTo>
                        <a:pt x="11" y="397"/>
                      </a:lnTo>
                      <a:lnTo>
                        <a:pt x="11" y="395"/>
                      </a:lnTo>
                      <a:lnTo>
                        <a:pt x="11" y="393"/>
                      </a:lnTo>
                      <a:lnTo>
                        <a:pt x="9" y="393"/>
                      </a:lnTo>
                      <a:lnTo>
                        <a:pt x="9" y="391"/>
                      </a:lnTo>
                      <a:lnTo>
                        <a:pt x="9" y="390"/>
                      </a:lnTo>
                      <a:lnTo>
                        <a:pt x="11" y="390"/>
                      </a:lnTo>
                      <a:lnTo>
                        <a:pt x="13" y="390"/>
                      </a:lnTo>
                      <a:lnTo>
                        <a:pt x="15" y="390"/>
                      </a:lnTo>
                      <a:lnTo>
                        <a:pt x="17" y="390"/>
                      </a:lnTo>
                      <a:lnTo>
                        <a:pt x="17" y="391"/>
                      </a:lnTo>
                      <a:lnTo>
                        <a:pt x="19" y="391"/>
                      </a:lnTo>
                      <a:lnTo>
                        <a:pt x="21" y="391"/>
                      </a:lnTo>
                      <a:lnTo>
                        <a:pt x="22" y="391"/>
                      </a:lnTo>
                      <a:lnTo>
                        <a:pt x="24" y="391"/>
                      </a:lnTo>
                      <a:lnTo>
                        <a:pt x="24" y="390"/>
                      </a:lnTo>
                      <a:lnTo>
                        <a:pt x="26" y="390"/>
                      </a:lnTo>
                      <a:lnTo>
                        <a:pt x="26" y="388"/>
                      </a:lnTo>
                      <a:lnTo>
                        <a:pt x="24" y="388"/>
                      </a:lnTo>
                      <a:lnTo>
                        <a:pt x="24" y="386"/>
                      </a:lnTo>
                      <a:lnTo>
                        <a:pt x="26" y="384"/>
                      </a:lnTo>
                      <a:lnTo>
                        <a:pt x="26" y="382"/>
                      </a:lnTo>
                      <a:lnTo>
                        <a:pt x="26" y="380"/>
                      </a:lnTo>
                      <a:lnTo>
                        <a:pt x="26" y="378"/>
                      </a:lnTo>
                      <a:lnTo>
                        <a:pt x="26" y="376"/>
                      </a:lnTo>
                      <a:lnTo>
                        <a:pt x="26" y="375"/>
                      </a:lnTo>
                      <a:lnTo>
                        <a:pt x="24" y="375"/>
                      </a:lnTo>
                      <a:lnTo>
                        <a:pt x="24" y="373"/>
                      </a:lnTo>
                      <a:lnTo>
                        <a:pt x="24" y="371"/>
                      </a:lnTo>
                      <a:lnTo>
                        <a:pt x="26" y="369"/>
                      </a:lnTo>
                      <a:lnTo>
                        <a:pt x="28" y="367"/>
                      </a:lnTo>
                      <a:lnTo>
                        <a:pt x="28" y="365"/>
                      </a:lnTo>
                      <a:lnTo>
                        <a:pt x="30" y="365"/>
                      </a:lnTo>
                      <a:lnTo>
                        <a:pt x="30" y="363"/>
                      </a:lnTo>
                      <a:lnTo>
                        <a:pt x="32" y="363"/>
                      </a:lnTo>
                      <a:lnTo>
                        <a:pt x="32" y="361"/>
                      </a:lnTo>
                      <a:lnTo>
                        <a:pt x="30" y="361"/>
                      </a:lnTo>
                      <a:lnTo>
                        <a:pt x="28" y="361"/>
                      </a:lnTo>
                      <a:lnTo>
                        <a:pt x="28" y="359"/>
                      </a:lnTo>
                      <a:lnTo>
                        <a:pt x="26" y="359"/>
                      </a:lnTo>
                      <a:lnTo>
                        <a:pt x="24" y="359"/>
                      </a:lnTo>
                      <a:lnTo>
                        <a:pt x="22" y="358"/>
                      </a:lnTo>
                      <a:lnTo>
                        <a:pt x="22" y="356"/>
                      </a:lnTo>
                      <a:lnTo>
                        <a:pt x="22" y="354"/>
                      </a:lnTo>
                      <a:lnTo>
                        <a:pt x="24" y="354"/>
                      </a:lnTo>
                      <a:lnTo>
                        <a:pt x="26" y="354"/>
                      </a:lnTo>
                      <a:lnTo>
                        <a:pt x="26" y="352"/>
                      </a:lnTo>
                      <a:lnTo>
                        <a:pt x="28" y="352"/>
                      </a:lnTo>
                      <a:lnTo>
                        <a:pt x="30" y="352"/>
                      </a:lnTo>
                      <a:lnTo>
                        <a:pt x="30" y="350"/>
                      </a:lnTo>
                      <a:lnTo>
                        <a:pt x="28" y="348"/>
                      </a:lnTo>
                      <a:lnTo>
                        <a:pt x="28" y="346"/>
                      </a:lnTo>
                      <a:lnTo>
                        <a:pt x="28" y="344"/>
                      </a:lnTo>
                      <a:lnTo>
                        <a:pt x="30" y="344"/>
                      </a:lnTo>
                      <a:lnTo>
                        <a:pt x="32" y="344"/>
                      </a:lnTo>
                      <a:lnTo>
                        <a:pt x="32" y="343"/>
                      </a:lnTo>
                      <a:lnTo>
                        <a:pt x="34" y="343"/>
                      </a:lnTo>
                      <a:lnTo>
                        <a:pt x="36" y="343"/>
                      </a:lnTo>
                      <a:lnTo>
                        <a:pt x="36" y="341"/>
                      </a:lnTo>
                      <a:lnTo>
                        <a:pt x="37" y="341"/>
                      </a:lnTo>
                      <a:lnTo>
                        <a:pt x="37" y="339"/>
                      </a:lnTo>
                      <a:lnTo>
                        <a:pt x="39" y="339"/>
                      </a:lnTo>
                      <a:lnTo>
                        <a:pt x="39" y="337"/>
                      </a:lnTo>
                      <a:lnTo>
                        <a:pt x="39" y="335"/>
                      </a:lnTo>
                      <a:lnTo>
                        <a:pt x="39" y="333"/>
                      </a:lnTo>
                      <a:lnTo>
                        <a:pt x="37" y="333"/>
                      </a:lnTo>
                      <a:lnTo>
                        <a:pt x="36" y="331"/>
                      </a:lnTo>
                      <a:lnTo>
                        <a:pt x="34" y="331"/>
                      </a:lnTo>
                      <a:lnTo>
                        <a:pt x="32" y="331"/>
                      </a:lnTo>
                      <a:lnTo>
                        <a:pt x="32" y="329"/>
                      </a:lnTo>
                      <a:lnTo>
                        <a:pt x="30" y="329"/>
                      </a:lnTo>
                      <a:lnTo>
                        <a:pt x="28" y="327"/>
                      </a:lnTo>
                      <a:lnTo>
                        <a:pt x="28" y="326"/>
                      </a:lnTo>
                      <a:lnTo>
                        <a:pt x="30" y="326"/>
                      </a:lnTo>
                      <a:lnTo>
                        <a:pt x="32" y="326"/>
                      </a:lnTo>
                      <a:lnTo>
                        <a:pt x="34" y="326"/>
                      </a:lnTo>
                      <a:lnTo>
                        <a:pt x="34" y="324"/>
                      </a:lnTo>
                      <a:lnTo>
                        <a:pt x="36" y="324"/>
                      </a:lnTo>
                      <a:lnTo>
                        <a:pt x="36" y="322"/>
                      </a:lnTo>
                      <a:lnTo>
                        <a:pt x="36" y="320"/>
                      </a:lnTo>
                      <a:lnTo>
                        <a:pt x="36" y="318"/>
                      </a:lnTo>
                      <a:lnTo>
                        <a:pt x="36" y="316"/>
                      </a:lnTo>
                      <a:lnTo>
                        <a:pt x="36" y="314"/>
                      </a:lnTo>
                      <a:lnTo>
                        <a:pt x="36" y="312"/>
                      </a:lnTo>
                      <a:lnTo>
                        <a:pt x="36" y="311"/>
                      </a:lnTo>
                      <a:lnTo>
                        <a:pt x="36" y="309"/>
                      </a:lnTo>
                      <a:lnTo>
                        <a:pt x="37" y="309"/>
                      </a:lnTo>
                      <a:lnTo>
                        <a:pt x="39" y="309"/>
                      </a:lnTo>
                      <a:lnTo>
                        <a:pt x="41" y="309"/>
                      </a:lnTo>
                      <a:lnTo>
                        <a:pt x="43" y="309"/>
                      </a:lnTo>
                      <a:lnTo>
                        <a:pt x="43" y="307"/>
                      </a:lnTo>
                      <a:lnTo>
                        <a:pt x="45" y="307"/>
                      </a:lnTo>
                      <a:lnTo>
                        <a:pt x="45" y="305"/>
                      </a:lnTo>
                      <a:lnTo>
                        <a:pt x="47" y="303"/>
                      </a:lnTo>
                      <a:lnTo>
                        <a:pt x="47" y="301"/>
                      </a:lnTo>
                      <a:lnTo>
                        <a:pt x="49" y="299"/>
                      </a:lnTo>
                      <a:lnTo>
                        <a:pt x="51" y="297"/>
                      </a:lnTo>
                      <a:lnTo>
                        <a:pt x="51" y="295"/>
                      </a:lnTo>
                      <a:lnTo>
                        <a:pt x="51" y="294"/>
                      </a:lnTo>
                      <a:lnTo>
                        <a:pt x="51" y="292"/>
                      </a:lnTo>
                      <a:lnTo>
                        <a:pt x="52" y="290"/>
                      </a:lnTo>
                      <a:lnTo>
                        <a:pt x="52" y="288"/>
                      </a:lnTo>
                      <a:lnTo>
                        <a:pt x="51" y="288"/>
                      </a:lnTo>
                      <a:lnTo>
                        <a:pt x="49" y="288"/>
                      </a:lnTo>
                      <a:lnTo>
                        <a:pt x="47" y="286"/>
                      </a:lnTo>
                      <a:lnTo>
                        <a:pt x="45" y="286"/>
                      </a:lnTo>
                      <a:lnTo>
                        <a:pt x="45" y="284"/>
                      </a:lnTo>
                      <a:lnTo>
                        <a:pt x="45" y="282"/>
                      </a:lnTo>
                      <a:lnTo>
                        <a:pt x="45" y="280"/>
                      </a:lnTo>
                      <a:lnTo>
                        <a:pt x="47" y="280"/>
                      </a:lnTo>
                      <a:lnTo>
                        <a:pt x="49" y="279"/>
                      </a:lnTo>
                      <a:lnTo>
                        <a:pt x="52" y="279"/>
                      </a:lnTo>
                      <a:lnTo>
                        <a:pt x="54" y="279"/>
                      </a:lnTo>
                      <a:lnTo>
                        <a:pt x="56" y="279"/>
                      </a:lnTo>
                      <a:lnTo>
                        <a:pt x="58" y="277"/>
                      </a:lnTo>
                      <a:lnTo>
                        <a:pt x="58" y="275"/>
                      </a:lnTo>
                      <a:lnTo>
                        <a:pt x="56" y="275"/>
                      </a:lnTo>
                      <a:lnTo>
                        <a:pt x="56" y="273"/>
                      </a:lnTo>
                      <a:lnTo>
                        <a:pt x="54" y="273"/>
                      </a:lnTo>
                      <a:lnTo>
                        <a:pt x="54" y="271"/>
                      </a:lnTo>
                      <a:lnTo>
                        <a:pt x="52" y="271"/>
                      </a:lnTo>
                      <a:lnTo>
                        <a:pt x="52" y="269"/>
                      </a:lnTo>
                      <a:lnTo>
                        <a:pt x="51" y="269"/>
                      </a:lnTo>
                      <a:lnTo>
                        <a:pt x="49" y="269"/>
                      </a:lnTo>
                      <a:lnTo>
                        <a:pt x="49" y="267"/>
                      </a:lnTo>
                      <a:lnTo>
                        <a:pt x="49" y="265"/>
                      </a:lnTo>
                      <a:lnTo>
                        <a:pt x="51" y="265"/>
                      </a:lnTo>
                      <a:lnTo>
                        <a:pt x="51" y="263"/>
                      </a:lnTo>
                      <a:lnTo>
                        <a:pt x="52" y="263"/>
                      </a:lnTo>
                      <a:lnTo>
                        <a:pt x="52" y="262"/>
                      </a:lnTo>
                      <a:lnTo>
                        <a:pt x="52" y="260"/>
                      </a:lnTo>
                      <a:lnTo>
                        <a:pt x="54" y="258"/>
                      </a:lnTo>
                      <a:lnTo>
                        <a:pt x="54" y="256"/>
                      </a:lnTo>
                      <a:lnTo>
                        <a:pt x="56" y="256"/>
                      </a:lnTo>
                      <a:lnTo>
                        <a:pt x="56" y="254"/>
                      </a:lnTo>
                      <a:lnTo>
                        <a:pt x="58" y="254"/>
                      </a:lnTo>
                      <a:lnTo>
                        <a:pt x="58" y="252"/>
                      </a:lnTo>
                      <a:lnTo>
                        <a:pt x="58" y="250"/>
                      </a:lnTo>
                      <a:lnTo>
                        <a:pt x="58" y="248"/>
                      </a:lnTo>
                      <a:lnTo>
                        <a:pt x="58" y="246"/>
                      </a:lnTo>
                      <a:lnTo>
                        <a:pt x="60" y="246"/>
                      </a:lnTo>
                      <a:lnTo>
                        <a:pt x="60" y="245"/>
                      </a:lnTo>
                      <a:lnTo>
                        <a:pt x="58" y="245"/>
                      </a:lnTo>
                      <a:lnTo>
                        <a:pt x="58" y="243"/>
                      </a:lnTo>
                      <a:lnTo>
                        <a:pt x="56" y="243"/>
                      </a:lnTo>
                      <a:lnTo>
                        <a:pt x="56" y="241"/>
                      </a:lnTo>
                      <a:lnTo>
                        <a:pt x="56" y="239"/>
                      </a:lnTo>
                      <a:lnTo>
                        <a:pt x="58" y="239"/>
                      </a:lnTo>
                      <a:lnTo>
                        <a:pt x="60" y="239"/>
                      </a:lnTo>
                      <a:lnTo>
                        <a:pt x="60" y="237"/>
                      </a:lnTo>
                      <a:lnTo>
                        <a:pt x="62" y="239"/>
                      </a:lnTo>
                      <a:lnTo>
                        <a:pt x="64" y="239"/>
                      </a:lnTo>
                      <a:lnTo>
                        <a:pt x="66" y="239"/>
                      </a:lnTo>
                      <a:lnTo>
                        <a:pt x="68" y="239"/>
                      </a:lnTo>
                      <a:lnTo>
                        <a:pt x="68" y="241"/>
                      </a:lnTo>
                      <a:lnTo>
                        <a:pt x="69" y="241"/>
                      </a:lnTo>
                      <a:lnTo>
                        <a:pt x="69" y="239"/>
                      </a:lnTo>
                      <a:lnTo>
                        <a:pt x="69" y="237"/>
                      </a:lnTo>
                      <a:lnTo>
                        <a:pt x="68" y="237"/>
                      </a:lnTo>
                      <a:lnTo>
                        <a:pt x="66" y="237"/>
                      </a:lnTo>
                      <a:lnTo>
                        <a:pt x="66" y="235"/>
                      </a:lnTo>
                      <a:lnTo>
                        <a:pt x="66" y="233"/>
                      </a:lnTo>
                      <a:lnTo>
                        <a:pt x="68" y="233"/>
                      </a:lnTo>
                      <a:lnTo>
                        <a:pt x="68" y="231"/>
                      </a:lnTo>
                      <a:lnTo>
                        <a:pt x="69" y="231"/>
                      </a:lnTo>
                      <a:lnTo>
                        <a:pt x="69" y="230"/>
                      </a:lnTo>
                      <a:lnTo>
                        <a:pt x="71" y="228"/>
                      </a:lnTo>
                      <a:lnTo>
                        <a:pt x="71" y="226"/>
                      </a:lnTo>
                      <a:lnTo>
                        <a:pt x="71" y="224"/>
                      </a:lnTo>
                      <a:lnTo>
                        <a:pt x="71" y="222"/>
                      </a:lnTo>
                      <a:lnTo>
                        <a:pt x="73" y="222"/>
                      </a:lnTo>
                      <a:lnTo>
                        <a:pt x="73" y="220"/>
                      </a:lnTo>
                      <a:lnTo>
                        <a:pt x="75" y="218"/>
                      </a:lnTo>
                      <a:lnTo>
                        <a:pt x="77" y="218"/>
                      </a:lnTo>
                      <a:lnTo>
                        <a:pt x="77" y="216"/>
                      </a:lnTo>
                      <a:lnTo>
                        <a:pt x="79" y="216"/>
                      </a:lnTo>
                      <a:lnTo>
                        <a:pt x="81" y="214"/>
                      </a:lnTo>
                      <a:lnTo>
                        <a:pt x="83" y="214"/>
                      </a:lnTo>
                      <a:lnTo>
                        <a:pt x="83" y="213"/>
                      </a:lnTo>
                      <a:lnTo>
                        <a:pt x="84" y="213"/>
                      </a:lnTo>
                      <a:lnTo>
                        <a:pt x="86" y="211"/>
                      </a:lnTo>
                      <a:lnTo>
                        <a:pt x="88" y="211"/>
                      </a:lnTo>
                      <a:lnTo>
                        <a:pt x="88" y="209"/>
                      </a:lnTo>
                      <a:lnTo>
                        <a:pt x="90" y="207"/>
                      </a:lnTo>
                      <a:lnTo>
                        <a:pt x="90" y="205"/>
                      </a:lnTo>
                      <a:lnTo>
                        <a:pt x="88" y="205"/>
                      </a:lnTo>
                      <a:lnTo>
                        <a:pt x="88" y="203"/>
                      </a:lnTo>
                      <a:lnTo>
                        <a:pt x="88" y="201"/>
                      </a:lnTo>
                      <a:lnTo>
                        <a:pt x="88" y="199"/>
                      </a:lnTo>
                      <a:lnTo>
                        <a:pt x="90" y="199"/>
                      </a:lnTo>
                      <a:lnTo>
                        <a:pt x="90" y="198"/>
                      </a:lnTo>
                      <a:lnTo>
                        <a:pt x="92" y="198"/>
                      </a:lnTo>
                      <a:lnTo>
                        <a:pt x="94" y="198"/>
                      </a:lnTo>
                      <a:lnTo>
                        <a:pt x="96" y="198"/>
                      </a:lnTo>
                      <a:lnTo>
                        <a:pt x="98" y="198"/>
                      </a:lnTo>
                      <a:lnTo>
                        <a:pt x="100" y="196"/>
                      </a:lnTo>
                      <a:lnTo>
                        <a:pt x="100" y="194"/>
                      </a:lnTo>
                      <a:lnTo>
                        <a:pt x="98" y="194"/>
                      </a:lnTo>
                      <a:lnTo>
                        <a:pt x="98" y="192"/>
                      </a:lnTo>
                      <a:lnTo>
                        <a:pt x="98" y="190"/>
                      </a:lnTo>
                      <a:lnTo>
                        <a:pt x="98" y="188"/>
                      </a:lnTo>
                      <a:lnTo>
                        <a:pt x="98" y="186"/>
                      </a:lnTo>
                      <a:lnTo>
                        <a:pt x="100" y="186"/>
                      </a:lnTo>
                      <a:lnTo>
                        <a:pt x="101" y="188"/>
                      </a:lnTo>
                      <a:lnTo>
                        <a:pt x="103" y="190"/>
                      </a:lnTo>
                      <a:lnTo>
                        <a:pt x="105" y="190"/>
                      </a:lnTo>
                      <a:lnTo>
                        <a:pt x="105" y="188"/>
                      </a:lnTo>
                      <a:lnTo>
                        <a:pt x="107" y="188"/>
                      </a:lnTo>
                      <a:lnTo>
                        <a:pt x="107" y="186"/>
                      </a:lnTo>
                      <a:lnTo>
                        <a:pt x="107" y="184"/>
                      </a:lnTo>
                      <a:lnTo>
                        <a:pt x="109" y="184"/>
                      </a:lnTo>
                      <a:lnTo>
                        <a:pt x="111" y="184"/>
                      </a:lnTo>
                      <a:lnTo>
                        <a:pt x="111" y="186"/>
                      </a:lnTo>
                      <a:lnTo>
                        <a:pt x="111" y="188"/>
                      </a:lnTo>
                      <a:lnTo>
                        <a:pt x="111" y="190"/>
                      </a:lnTo>
                      <a:lnTo>
                        <a:pt x="109" y="190"/>
                      </a:lnTo>
                      <a:lnTo>
                        <a:pt x="109" y="192"/>
                      </a:lnTo>
                      <a:lnTo>
                        <a:pt x="109" y="194"/>
                      </a:lnTo>
                      <a:lnTo>
                        <a:pt x="111" y="194"/>
                      </a:lnTo>
                      <a:lnTo>
                        <a:pt x="111" y="196"/>
                      </a:lnTo>
                      <a:lnTo>
                        <a:pt x="113" y="196"/>
                      </a:lnTo>
                      <a:lnTo>
                        <a:pt x="115" y="196"/>
                      </a:lnTo>
                      <a:lnTo>
                        <a:pt x="116" y="196"/>
                      </a:lnTo>
                      <a:lnTo>
                        <a:pt x="118" y="194"/>
                      </a:lnTo>
                      <a:lnTo>
                        <a:pt x="118" y="192"/>
                      </a:lnTo>
                      <a:lnTo>
                        <a:pt x="118" y="190"/>
                      </a:lnTo>
                      <a:lnTo>
                        <a:pt x="120" y="190"/>
                      </a:lnTo>
                      <a:lnTo>
                        <a:pt x="122" y="188"/>
                      </a:lnTo>
                      <a:lnTo>
                        <a:pt x="124" y="188"/>
                      </a:lnTo>
                      <a:lnTo>
                        <a:pt x="126" y="188"/>
                      </a:lnTo>
                      <a:lnTo>
                        <a:pt x="126" y="190"/>
                      </a:lnTo>
                      <a:lnTo>
                        <a:pt x="128" y="190"/>
                      </a:lnTo>
                      <a:lnTo>
                        <a:pt x="128" y="192"/>
                      </a:lnTo>
                      <a:lnTo>
                        <a:pt x="130" y="192"/>
                      </a:lnTo>
                      <a:lnTo>
                        <a:pt x="131" y="192"/>
                      </a:lnTo>
                      <a:lnTo>
                        <a:pt x="131" y="190"/>
                      </a:lnTo>
                      <a:lnTo>
                        <a:pt x="133" y="188"/>
                      </a:lnTo>
                      <a:lnTo>
                        <a:pt x="135" y="188"/>
                      </a:lnTo>
                      <a:lnTo>
                        <a:pt x="137" y="188"/>
                      </a:lnTo>
                      <a:lnTo>
                        <a:pt x="139" y="186"/>
                      </a:lnTo>
                      <a:lnTo>
                        <a:pt x="139" y="184"/>
                      </a:lnTo>
                      <a:lnTo>
                        <a:pt x="141" y="182"/>
                      </a:lnTo>
                      <a:lnTo>
                        <a:pt x="143" y="182"/>
                      </a:lnTo>
                      <a:lnTo>
                        <a:pt x="143" y="181"/>
                      </a:lnTo>
                      <a:lnTo>
                        <a:pt x="145" y="181"/>
                      </a:lnTo>
                      <a:lnTo>
                        <a:pt x="147" y="181"/>
                      </a:lnTo>
                      <a:lnTo>
                        <a:pt x="148" y="181"/>
                      </a:lnTo>
                      <a:lnTo>
                        <a:pt x="148" y="179"/>
                      </a:lnTo>
                      <a:lnTo>
                        <a:pt x="150" y="179"/>
                      </a:lnTo>
                      <a:lnTo>
                        <a:pt x="152" y="179"/>
                      </a:lnTo>
                      <a:lnTo>
                        <a:pt x="152" y="181"/>
                      </a:lnTo>
                      <a:lnTo>
                        <a:pt x="154" y="181"/>
                      </a:lnTo>
                      <a:lnTo>
                        <a:pt x="156" y="181"/>
                      </a:lnTo>
                      <a:lnTo>
                        <a:pt x="158" y="181"/>
                      </a:lnTo>
                      <a:lnTo>
                        <a:pt x="160" y="181"/>
                      </a:lnTo>
                      <a:lnTo>
                        <a:pt x="162" y="181"/>
                      </a:lnTo>
                      <a:lnTo>
                        <a:pt x="163" y="181"/>
                      </a:lnTo>
                      <a:lnTo>
                        <a:pt x="165" y="181"/>
                      </a:lnTo>
                      <a:lnTo>
                        <a:pt x="165" y="179"/>
                      </a:lnTo>
                      <a:lnTo>
                        <a:pt x="167" y="179"/>
                      </a:lnTo>
                      <a:lnTo>
                        <a:pt x="167" y="181"/>
                      </a:lnTo>
                      <a:lnTo>
                        <a:pt x="169" y="181"/>
                      </a:lnTo>
                      <a:lnTo>
                        <a:pt x="169" y="182"/>
                      </a:lnTo>
                      <a:lnTo>
                        <a:pt x="169" y="184"/>
                      </a:lnTo>
                      <a:lnTo>
                        <a:pt x="171" y="184"/>
                      </a:lnTo>
                      <a:lnTo>
                        <a:pt x="173" y="184"/>
                      </a:lnTo>
                      <a:lnTo>
                        <a:pt x="173" y="182"/>
                      </a:lnTo>
                      <a:lnTo>
                        <a:pt x="175" y="182"/>
                      </a:lnTo>
                      <a:lnTo>
                        <a:pt x="177" y="182"/>
                      </a:lnTo>
                      <a:lnTo>
                        <a:pt x="177" y="184"/>
                      </a:lnTo>
                      <a:lnTo>
                        <a:pt x="179" y="184"/>
                      </a:lnTo>
                      <a:lnTo>
                        <a:pt x="180" y="184"/>
                      </a:lnTo>
                      <a:lnTo>
                        <a:pt x="182" y="182"/>
                      </a:lnTo>
                      <a:lnTo>
                        <a:pt x="184" y="182"/>
                      </a:lnTo>
                      <a:lnTo>
                        <a:pt x="186" y="182"/>
                      </a:lnTo>
                      <a:lnTo>
                        <a:pt x="188" y="182"/>
                      </a:lnTo>
                      <a:lnTo>
                        <a:pt x="188" y="184"/>
                      </a:lnTo>
                      <a:lnTo>
                        <a:pt x="188" y="186"/>
                      </a:lnTo>
                      <a:lnTo>
                        <a:pt x="190" y="186"/>
                      </a:lnTo>
                      <a:lnTo>
                        <a:pt x="190" y="188"/>
                      </a:lnTo>
                      <a:lnTo>
                        <a:pt x="192" y="188"/>
                      </a:lnTo>
                      <a:lnTo>
                        <a:pt x="194" y="188"/>
                      </a:lnTo>
                      <a:lnTo>
                        <a:pt x="195" y="188"/>
                      </a:lnTo>
                      <a:lnTo>
                        <a:pt x="197" y="188"/>
                      </a:lnTo>
                      <a:lnTo>
                        <a:pt x="199" y="188"/>
                      </a:lnTo>
                      <a:lnTo>
                        <a:pt x="199" y="190"/>
                      </a:lnTo>
                      <a:lnTo>
                        <a:pt x="201" y="190"/>
                      </a:lnTo>
                      <a:lnTo>
                        <a:pt x="201" y="192"/>
                      </a:lnTo>
                      <a:lnTo>
                        <a:pt x="203" y="192"/>
                      </a:lnTo>
                      <a:lnTo>
                        <a:pt x="203" y="190"/>
                      </a:lnTo>
                      <a:lnTo>
                        <a:pt x="205" y="188"/>
                      </a:lnTo>
                      <a:lnTo>
                        <a:pt x="207" y="186"/>
                      </a:lnTo>
                      <a:lnTo>
                        <a:pt x="207" y="184"/>
                      </a:lnTo>
                      <a:lnTo>
                        <a:pt x="207" y="182"/>
                      </a:lnTo>
                      <a:lnTo>
                        <a:pt x="209" y="181"/>
                      </a:lnTo>
                      <a:lnTo>
                        <a:pt x="210" y="181"/>
                      </a:lnTo>
                      <a:lnTo>
                        <a:pt x="212" y="181"/>
                      </a:lnTo>
                      <a:lnTo>
                        <a:pt x="214" y="181"/>
                      </a:lnTo>
                      <a:lnTo>
                        <a:pt x="214" y="182"/>
                      </a:lnTo>
                      <a:lnTo>
                        <a:pt x="212" y="184"/>
                      </a:lnTo>
                      <a:lnTo>
                        <a:pt x="212" y="186"/>
                      </a:lnTo>
                      <a:lnTo>
                        <a:pt x="214" y="186"/>
                      </a:lnTo>
                      <a:lnTo>
                        <a:pt x="216" y="186"/>
                      </a:lnTo>
                      <a:lnTo>
                        <a:pt x="218" y="186"/>
                      </a:lnTo>
                      <a:lnTo>
                        <a:pt x="218" y="188"/>
                      </a:lnTo>
                      <a:lnTo>
                        <a:pt x="218" y="190"/>
                      </a:lnTo>
                      <a:lnTo>
                        <a:pt x="220" y="190"/>
                      </a:lnTo>
                      <a:lnTo>
                        <a:pt x="222" y="192"/>
                      </a:lnTo>
                      <a:lnTo>
                        <a:pt x="222" y="194"/>
                      </a:lnTo>
                      <a:lnTo>
                        <a:pt x="224" y="194"/>
                      </a:lnTo>
                      <a:lnTo>
                        <a:pt x="224" y="196"/>
                      </a:lnTo>
                      <a:lnTo>
                        <a:pt x="224" y="198"/>
                      </a:lnTo>
                      <a:lnTo>
                        <a:pt x="222" y="198"/>
                      </a:lnTo>
                      <a:lnTo>
                        <a:pt x="222" y="199"/>
                      </a:lnTo>
                      <a:lnTo>
                        <a:pt x="222" y="201"/>
                      </a:lnTo>
                      <a:lnTo>
                        <a:pt x="224" y="201"/>
                      </a:lnTo>
                      <a:lnTo>
                        <a:pt x="226" y="201"/>
                      </a:lnTo>
                      <a:lnTo>
                        <a:pt x="226" y="199"/>
                      </a:lnTo>
                      <a:lnTo>
                        <a:pt x="227" y="199"/>
                      </a:lnTo>
                      <a:lnTo>
                        <a:pt x="229" y="198"/>
                      </a:lnTo>
                      <a:lnTo>
                        <a:pt x="231" y="199"/>
                      </a:lnTo>
                      <a:lnTo>
                        <a:pt x="231" y="201"/>
                      </a:lnTo>
                      <a:lnTo>
                        <a:pt x="233" y="201"/>
                      </a:lnTo>
                      <a:lnTo>
                        <a:pt x="235" y="201"/>
                      </a:lnTo>
                      <a:lnTo>
                        <a:pt x="239" y="201"/>
                      </a:lnTo>
                      <a:lnTo>
                        <a:pt x="239" y="203"/>
                      </a:lnTo>
                      <a:lnTo>
                        <a:pt x="239" y="205"/>
                      </a:lnTo>
                      <a:lnTo>
                        <a:pt x="237" y="205"/>
                      </a:lnTo>
                      <a:lnTo>
                        <a:pt x="237" y="207"/>
                      </a:lnTo>
                      <a:lnTo>
                        <a:pt x="239" y="207"/>
                      </a:lnTo>
                      <a:lnTo>
                        <a:pt x="241" y="207"/>
                      </a:lnTo>
                      <a:lnTo>
                        <a:pt x="242" y="207"/>
                      </a:lnTo>
                      <a:lnTo>
                        <a:pt x="244" y="207"/>
                      </a:lnTo>
                      <a:lnTo>
                        <a:pt x="244" y="209"/>
                      </a:lnTo>
                      <a:lnTo>
                        <a:pt x="244" y="211"/>
                      </a:lnTo>
                      <a:lnTo>
                        <a:pt x="244" y="213"/>
                      </a:lnTo>
                      <a:lnTo>
                        <a:pt x="244" y="214"/>
                      </a:lnTo>
                      <a:lnTo>
                        <a:pt x="246" y="214"/>
                      </a:lnTo>
                      <a:lnTo>
                        <a:pt x="248" y="214"/>
                      </a:lnTo>
                      <a:lnTo>
                        <a:pt x="248" y="213"/>
                      </a:lnTo>
                      <a:lnTo>
                        <a:pt x="250" y="211"/>
                      </a:lnTo>
                      <a:lnTo>
                        <a:pt x="252" y="211"/>
                      </a:lnTo>
                      <a:lnTo>
                        <a:pt x="254" y="211"/>
                      </a:lnTo>
                      <a:lnTo>
                        <a:pt x="254" y="213"/>
                      </a:lnTo>
                      <a:lnTo>
                        <a:pt x="254" y="214"/>
                      </a:lnTo>
                      <a:lnTo>
                        <a:pt x="252" y="214"/>
                      </a:lnTo>
                      <a:lnTo>
                        <a:pt x="252" y="216"/>
                      </a:lnTo>
                      <a:lnTo>
                        <a:pt x="254" y="216"/>
                      </a:lnTo>
                      <a:lnTo>
                        <a:pt x="256" y="216"/>
                      </a:lnTo>
                      <a:lnTo>
                        <a:pt x="256" y="218"/>
                      </a:lnTo>
                      <a:lnTo>
                        <a:pt x="258" y="218"/>
                      </a:lnTo>
                      <a:lnTo>
                        <a:pt x="258" y="220"/>
                      </a:lnTo>
                      <a:lnTo>
                        <a:pt x="258" y="222"/>
                      </a:lnTo>
                      <a:lnTo>
                        <a:pt x="258" y="224"/>
                      </a:lnTo>
                      <a:lnTo>
                        <a:pt x="259" y="224"/>
                      </a:lnTo>
                      <a:lnTo>
                        <a:pt x="261" y="224"/>
                      </a:lnTo>
                      <a:lnTo>
                        <a:pt x="263" y="224"/>
                      </a:lnTo>
                      <a:lnTo>
                        <a:pt x="263" y="222"/>
                      </a:lnTo>
                      <a:lnTo>
                        <a:pt x="263" y="220"/>
                      </a:lnTo>
                      <a:lnTo>
                        <a:pt x="265" y="220"/>
                      </a:lnTo>
                      <a:lnTo>
                        <a:pt x="267" y="220"/>
                      </a:lnTo>
                      <a:lnTo>
                        <a:pt x="267" y="222"/>
                      </a:lnTo>
                      <a:lnTo>
                        <a:pt x="269" y="222"/>
                      </a:lnTo>
                      <a:lnTo>
                        <a:pt x="269" y="224"/>
                      </a:lnTo>
                      <a:lnTo>
                        <a:pt x="267" y="224"/>
                      </a:lnTo>
                      <a:lnTo>
                        <a:pt x="267" y="226"/>
                      </a:lnTo>
                      <a:lnTo>
                        <a:pt x="265" y="226"/>
                      </a:lnTo>
                      <a:lnTo>
                        <a:pt x="265" y="228"/>
                      </a:lnTo>
                      <a:lnTo>
                        <a:pt x="267" y="228"/>
                      </a:lnTo>
                      <a:lnTo>
                        <a:pt x="269" y="228"/>
                      </a:lnTo>
                      <a:lnTo>
                        <a:pt x="271" y="228"/>
                      </a:lnTo>
                      <a:lnTo>
                        <a:pt x="273" y="228"/>
                      </a:lnTo>
                      <a:lnTo>
                        <a:pt x="274" y="230"/>
                      </a:lnTo>
                      <a:lnTo>
                        <a:pt x="274" y="231"/>
                      </a:lnTo>
                      <a:lnTo>
                        <a:pt x="274" y="233"/>
                      </a:lnTo>
                      <a:lnTo>
                        <a:pt x="276" y="233"/>
                      </a:lnTo>
                      <a:lnTo>
                        <a:pt x="276" y="231"/>
                      </a:lnTo>
                      <a:lnTo>
                        <a:pt x="278" y="231"/>
                      </a:lnTo>
                      <a:lnTo>
                        <a:pt x="278" y="230"/>
                      </a:lnTo>
                      <a:lnTo>
                        <a:pt x="280" y="228"/>
                      </a:lnTo>
                      <a:lnTo>
                        <a:pt x="282" y="228"/>
                      </a:lnTo>
                      <a:lnTo>
                        <a:pt x="282" y="230"/>
                      </a:lnTo>
                      <a:lnTo>
                        <a:pt x="282" y="231"/>
                      </a:lnTo>
                      <a:lnTo>
                        <a:pt x="284" y="231"/>
                      </a:lnTo>
                      <a:lnTo>
                        <a:pt x="286" y="233"/>
                      </a:lnTo>
                      <a:lnTo>
                        <a:pt x="288" y="233"/>
                      </a:lnTo>
                      <a:lnTo>
                        <a:pt x="289" y="233"/>
                      </a:lnTo>
                      <a:lnTo>
                        <a:pt x="289" y="235"/>
                      </a:lnTo>
                      <a:lnTo>
                        <a:pt x="288" y="237"/>
                      </a:lnTo>
                      <a:lnTo>
                        <a:pt x="288" y="239"/>
                      </a:lnTo>
                      <a:lnTo>
                        <a:pt x="289" y="239"/>
                      </a:lnTo>
                      <a:lnTo>
                        <a:pt x="289" y="241"/>
                      </a:lnTo>
                      <a:lnTo>
                        <a:pt x="291" y="241"/>
                      </a:lnTo>
                      <a:lnTo>
                        <a:pt x="289" y="241"/>
                      </a:lnTo>
                      <a:lnTo>
                        <a:pt x="289" y="243"/>
                      </a:lnTo>
                      <a:lnTo>
                        <a:pt x="289" y="245"/>
                      </a:lnTo>
                      <a:lnTo>
                        <a:pt x="291" y="245"/>
                      </a:lnTo>
                      <a:lnTo>
                        <a:pt x="293" y="245"/>
                      </a:lnTo>
                      <a:lnTo>
                        <a:pt x="295" y="245"/>
                      </a:lnTo>
                      <a:lnTo>
                        <a:pt x="295" y="246"/>
                      </a:lnTo>
                      <a:lnTo>
                        <a:pt x="297" y="246"/>
                      </a:lnTo>
                      <a:lnTo>
                        <a:pt x="299" y="246"/>
                      </a:lnTo>
                      <a:lnTo>
                        <a:pt x="301" y="246"/>
                      </a:lnTo>
                      <a:lnTo>
                        <a:pt x="303" y="246"/>
                      </a:lnTo>
                      <a:lnTo>
                        <a:pt x="305" y="246"/>
                      </a:lnTo>
                      <a:lnTo>
                        <a:pt x="305" y="248"/>
                      </a:lnTo>
                      <a:lnTo>
                        <a:pt x="305" y="250"/>
                      </a:lnTo>
                      <a:lnTo>
                        <a:pt x="303" y="250"/>
                      </a:lnTo>
                      <a:lnTo>
                        <a:pt x="303" y="252"/>
                      </a:lnTo>
                      <a:lnTo>
                        <a:pt x="301" y="252"/>
                      </a:lnTo>
                      <a:lnTo>
                        <a:pt x="301" y="254"/>
                      </a:lnTo>
                      <a:lnTo>
                        <a:pt x="303" y="256"/>
                      </a:lnTo>
                      <a:lnTo>
                        <a:pt x="303" y="258"/>
                      </a:lnTo>
                      <a:lnTo>
                        <a:pt x="305" y="258"/>
                      </a:lnTo>
                      <a:lnTo>
                        <a:pt x="306" y="258"/>
                      </a:lnTo>
                      <a:lnTo>
                        <a:pt x="306" y="256"/>
                      </a:lnTo>
                      <a:lnTo>
                        <a:pt x="308" y="256"/>
                      </a:lnTo>
                      <a:lnTo>
                        <a:pt x="310" y="256"/>
                      </a:lnTo>
                      <a:lnTo>
                        <a:pt x="310" y="258"/>
                      </a:lnTo>
                      <a:lnTo>
                        <a:pt x="310" y="260"/>
                      </a:lnTo>
                      <a:lnTo>
                        <a:pt x="310" y="262"/>
                      </a:lnTo>
                      <a:lnTo>
                        <a:pt x="310" y="263"/>
                      </a:lnTo>
                      <a:lnTo>
                        <a:pt x="312" y="263"/>
                      </a:lnTo>
                      <a:lnTo>
                        <a:pt x="314" y="263"/>
                      </a:lnTo>
                      <a:lnTo>
                        <a:pt x="316" y="263"/>
                      </a:lnTo>
                      <a:lnTo>
                        <a:pt x="318" y="263"/>
                      </a:lnTo>
                      <a:lnTo>
                        <a:pt x="320" y="265"/>
                      </a:lnTo>
                      <a:lnTo>
                        <a:pt x="321" y="267"/>
                      </a:lnTo>
                      <a:lnTo>
                        <a:pt x="320" y="269"/>
                      </a:lnTo>
                      <a:lnTo>
                        <a:pt x="321" y="269"/>
                      </a:lnTo>
                      <a:lnTo>
                        <a:pt x="321" y="271"/>
                      </a:lnTo>
                      <a:lnTo>
                        <a:pt x="323" y="271"/>
                      </a:lnTo>
                      <a:lnTo>
                        <a:pt x="325" y="273"/>
                      </a:lnTo>
                      <a:lnTo>
                        <a:pt x="327" y="273"/>
                      </a:lnTo>
                      <a:lnTo>
                        <a:pt x="327" y="275"/>
                      </a:lnTo>
                      <a:lnTo>
                        <a:pt x="327" y="277"/>
                      </a:lnTo>
                      <a:lnTo>
                        <a:pt x="325" y="277"/>
                      </a:lnTo>
                      <a:lnTo>
                        <a:pt x="325" y="279"/>
                      </a:lnTo>
                      <a:lnTo>
                        <a:pt x="327" y="280"/>
                      </a:lnTo>
                      <a:lnTo>
                        <a:pt x="329" y="280"/>
                      </a:lnTo>
                      <a:lnTo>
                        <a:pt x="331" y="280"/>
                      </a:lnTo>
                      <a:lnTo>
                        <a:pt x="331" y="282"/>
                      </a:lnTo>
                      <a:lnTo>
                        <a:pt x="333" y="282"/>
                      </a:lnTo>
                      <a:lnTo>
                        <a:pt x="335" y="282"/>
                      </a:lnTo>
                      <a:lnTo>
                        <a:pt x="337" y="282"/>
                      </a:lnTo>
                      <a:lnTo>
                        <a:pt x="338" y="282"/>
                      </a:lnTo>
                      <a:lnTo>
                        <a:pt x="338" y="280"/>
                      </a:lnTo>
                      <a:lnTo>
                        <a:pt x="338" y="279"/>
                      </a:lnTo>
                      <a:lnTo>
                        <a:pt x="340" y="279"/>
                      </a:lnTo>
                      <a:lnTo>
                        <a:pt x="342" y="277"/>
                      </a:lnTo>
                      <a:lnTo>
                        <a:pt x="344" y="277"/>
                      </a:lnTo>
                      <a:lnTo>
                        <a:pt x="346" y="277"/>
                      </a:lnTo>
                      <a:lnTo>
                        <a:pt x="346" y="279"/>
                      </a:lnTo>
                      <a:lnTo>
                        <a:pt x="348" y="279"/>
                      </a:lnTo>
                      <a:lnTo>
                        <a:pt x="350" y="279"/>
                      </a:lnTo>
                      <a:lnTo>
                        <a:pt x="352" y="279"/>
                      </a:lnTo>
                      <a:lnTo>
                        <a:pt x="352" y="277"/>
                      </a:lnTo>
                      <a:lnTo>
                        <a:pt x="352" y="279"/>
                      </a:lnTo>
                      <a:lnTo>
                        <a:pt x="353" y="279"/>
                      </a:lnTo>
                      <a:lnTo>
                        <a:pt x="353" y="280"/>
                      </a:lnTo>
                      <a:lnTo>
                        <a:pt x="352" y="280"/>
                      </a:lnTo>
                      <a:lnTo>
                        <a:pt x="352" y="282"/>
                      </a:lnTo>
                      <a:lnTo>
                        <a:pt x="352" y="284"/>
                      </a:lnTo>
                      <a:lnTo>
                        <a:pt x="352" y="286"/>
                      </a:lnTo>
                      <a:lnTo>
                        <a:pt x="353" y="286"/>
                      </a:lnTo>
                      <a:lnTo>
                        <a:pt x="355" y="284"/>
                      </a:lnTo>
                      <a:lnTo>
                        <a:pt x="357" y="284"/>
                      </a:lnTo>
                      <a:lnTo>
                        <a:pt x="357" y="282"/>
                      </a:lnTo>
                      <a:lnTo>
                        <a:pt x="359" y="282"/>
                      </a:lnTo>
                      <a:lnTo>
                        <a:pt x="361" y="282"/>
                      </a:lnTo>
                      <a:lnTo>
                        <a:pt x="361" y="284"/>
                      </a:lnTo>
                      <a:lnTo>
                        <a:pt x="363" y="286"/>
                      </a:lnTo>
                      <a:lnTo>
                        <a:pt x="365" y="286"/>
                      </a:lnTo>
                      <a:lnTo>
                        <a:pt x="367" y="286"/>
                      </a:lnTo>
                      <a:lnTo>
                        <a:pt x="368" y="286"/>
                      </a:lnTo>
                      <a:lnTo>
                        <a:pt x="368" y="284"/>
                      </a:lnTo>
                      <a:lnTo>
                        <a:pt x="367" y="282"/>
                      </a:lnTo>
                      <a:lnTo>
                        <a:pt x="368" y="280"/>
                      </a:lnTo>
                      <a:lnTo>
                        <a:pt x="370" y="280"/>
                      </a:lnTo>
                      <a:lnTo>
                        <a:pt x="370" y="282"/>
                      </a:lnTo>
                      <a:lnTo>
                        <a:pt x="372" y="284"/>
                      </a:lnTo>
                      <a:lnTo>
                        <a:pt x="374" y="282"/>
                      </a:lnTo>
                      <a:lnTo>
                        <a:pt x="376" y="280"/>
                      </a:lnTo>
                      <a:lnTo>
                        <a:pt x="378" y="280"/>
                      </a:lnTo>
                      <a:lnTo>
                        <a:pt x="380" y="280"/>
                      </a:lnTo>
                      <a:lnTo>
                        <a:pt x="382" y="280"/>
                      </a:lnTo>
                      <a:lnTo>
                        <a:pt x="384" y="280"/>
                      </a:lnTo>
                      <a:lnTo>
                        <a:pt x="385" y="280"/>
                      </a:lnTo>
                      <a:lnTo>
                        <a:pt x="387" y="279"/>
                      </a:lnTo>
                      <a:lnTo>
                        <a:pt x="387" y="277"/>
                      </a:lnTo>
                      <a:lnTo>
                        <a:pt x="387" y="275"/>
                      </a:lnTo>
                      <a:lnTo>
                        <a:pt x="389" y="275"/>
                      </a:lnTo>
                      <a:lnTo>
                        <a:pt x="391" y="275"/>
                      </a:lnTo>
                      <a:lnTo>
                        <a:pt x="393" y="275"/>
                      </a:lnTo>
                      <a:lnTo>
                        <a:pt x="393" y="277"/>
                      </a:lnTo>
                      <a:lnTo>
                        <a:pt x="391" y="279"/>
                      </a:lnTo>
                      <a:lnTo>
                        <a:pt x="391" y="280"/>
                      </a:lnTo>
                      <a:lnTo>
                        <a:pt x="393" y="280"/>
                      </a:lnTo>
                      <a:lnTo>
                        <a:pt x="395" y="280"/>
                      </a:lnTo>
                      <a:lnTo>
                        <a:pt x="397" y="280"/>
                      </a:lnTo>
                      <a:lnTo>
                        <a:pt x="397" y="279"/>
                      </a:lnTo>
                      <a:lnTo>
                        <a:pt x="399" y="279"/>
                      </a:lnTo>
                      <a:lnTo>
                        <a:pt x="400" y="279"/>
                      </a:lnTo>
                      <a:lnTo>
                        <a:pt x="402" y="279"/>
                      </a:lnTo>
                      <a:lnTo>
                        <a:pt x="402" y="280"/>
                      </a:lnTo>
                      <a:lnTo>
                        <a:pt x="404" y="280"/>
                      </a:lnTo>
                      <a:lnTo>
                        <a:pt x="404" y="282"/>
                      </a:lnTo>
                      <a:lnTo>
                        <a:pt x="404" y="284"/>
                      </a:lnTo>
                      <a:lnTo>
                        <a:pt x="406" y="284"/>
                      </a:lnTo>
                      <a:lnTo>
                        <a:pt x="408" y="284"/>
                      </a:lnTo>
                      <a:lnTo>
                        <a:pt x="410" y="284"/>
                      </a:lnTo>
                      <a:lnTo>
                        <a:pt x="410" y="286"/>
                      </a:lnTo>
                      <a:lnTo>
                        <a:pt x="408" y="286"/>
                      </a:lnTo>
                      <a:lnTo>
                        <a:pt x="408" y="288"/>
                      </a:lnTo>
                      <a:lnTo>
                        <a:pt x="410" y="288"/>
                      </a:lnTo>
                      <a:lnTo>
                        <a:pt x="410" y="290"/>
                      </a:lnTo>
                      <a:lnTo>
                        <a:pt x="412" y="292"/>
                      </a:lnTo>
                      <a:lnTo>
                        <a:pt x="414" y="292"/>
                      </a:lnTo>
                      <a:lnTo>
                        <a:pt x="416" y="294"/>
                      </a:lnTo>
                      <a:lnTo>
                        <a:pt x="416" y="295"/>
                      </a:lnTo>
                      <a:lnTo>
                        <a:pt x="414" y="295"/>
                      </a:lnTo>
                      <a:lnTo>
                        <a:pt x="416" y="295"/>
                      </a:lnTo>
                      <a:lnTo>
                        <a:pt x="416" y="297"/>
                      </a:lnTo>
                      <a:lnTo>
                        <a:pt x="417" y="297"/>
                      </a:lnTo>
                      <a:lnTo>
                        <a:pt x="417" y="299"/>
                      </a:lnTo>
                      <a:lnTo>
                        <a:pt x="417" y="301"/>
                      </a:lnTo>
                      <a:lnTo>
                        <a:pt x="417" y="303"/>
                      </a:lnTo>
                      <a:lnTo>
                        <a:pt x="419" y="303"/>
                      </a:lnTo>
                      <a:lnTo>
                        <a:pt x="421" y="301"/>
                      </a:lnTo>
                      <a:lnTo>
                        <a:pt x="421" y="299"/>
                      </a:lnTo>
                      <a:lnTo>
                        <a:pt x="423" y="299"/>
                      </a:lnTo>
                      <a:lnTo>
                        <a:pt x="423" y="297"/>
                      </a:lnTo>
                      <a:lnTo>
                        <a:pt x="425" y="299"/>
                      </a:lnTo>
                      <a:lnTo>
                        <a:pt x="425" y="301"/>
                      </a:lnTo>
                      <a:lnTo>
                        <a:pt x="425" y="303"/>
                      </a:lnTo>
                      <a:lnTo>
                        <a:pt x="423" y="303"/>
                      </a:lnTo>
                      <a:lnTo>
                        <a:pt x="421" y="305"/>
                      </a:lnTo>
                      <a:lnTo>
                        <a:pt x="423" y="305"/>
                      </a:lnTo>
                      <a:lnTo>
                        <a:pt x="423" y="307"/>
                      </a:lnTo>
                      <a:lnTo>
                        <a:pt x="423" y="309"/>
                      </a:lnTo>
                      <a:lnTo>
                        <a:pt x="425" y="309"/>
                      </a:lnTo>
                      <a:lnTo>
                        <a:pt x="425" y="307"/>
                      </a:lnTo>
                      <a:lnTo>
                        <a:pt x="427" y="305"/>
                      </a:lnTo>
                      <a:lnTo>
                        <a:pt x="429" y="305"/>
                      </a:lnTo>
                      <a:lnTo>
                        <a:pt x="431" y="305"/>
                      </a:lnTo>
                      <a:lnTo>
                        <a:pt x="432" y="305"/>
                      </a:lnTo>
                      <a:lnTo>
                        <a:pt x="432" y="303"/>
                      </a:lnTo>
                      <a:lnTo>
                        <a:pt x="434" y="303"/>
                      </a:lnTo>
                      <a:lnTo>
                        <a:pt x="434" y="305"/>
                      </a:lnTo>
                      <a:lnTo>
                        <a:pt x="434" y="307"/>
                      </a:lnTo>
                      <a:lnTo>
                        <a:pt x="432" y="307"/>
                      </a:lnTo>
                      <a:lnTo>
                        <a:pt x="432" y="309"/>
                      </a:lnTo>
                      <a:lnTo>
                        <a:pt x="434" y="309"/>
                      </a:lnTo>
                      <a:lnTo>
                        <a:pt x="434" y="311"/>
                      </a:lnTo>
                      <a:lnTo>
                        <a:pt x="436" y="311"/>
                      </a:lnTo>
                      <a:lnTo>
                        <a:pt x="436" y="312"/>
                      </a:lnTo>
                      <a:lnTo>
                        <a:pt x="438" y="312"/>
                      </a:lnTo>
                      <a:lnTo>
                        <a:pt x="438" y="314"/>
                      </a:lnTo>
                      <a:lnTo>
                        <a:pt x="440" y="314"/>
                      </a:lnTo>
                      <a:lnTo>
                        <a:pt x="442" y="316"/>
                      </a:lnTo>
                      <a:lnTo>
                        <a:pt x="444" y="316"/>
                      </a:lnTo>
                      <a:lnTo>
                        <a:pt x="444" y="318"/>
                      </a:lnTo>
                      <a:lnTo>
                        <a:pt x="446" y="318"/>
                      </a:lnTo>
                      <a:lnTo>
                        <a:pt x="447" y="318"/>
                      </a:lnTo>
                      <a:lnTo>
                        <a:pt x="449" y="318"/>
                      </a:lnTo>
                      <a:lnTo>
                        <a:pt x="449" y="316"/>
                      </a:lnTo>
                      <a:lnTo>
                        <a:pt x="451" y="316"/>
                      </a:lnTo>
                      <a:lnTo>
                        <a:pt x="451" y="318"/>
                      </a:lnTo>
                      <a:lnTo>
                        <a:pt x="453" y="318"/>
                      </a:lnTo>
                      <a:lnTo>
                        <a:pt x="455" y="316"/>
                      </a:lnTo>
                      <a:lnTo>
                        <a:pt x="453" y="316"/>
                      </a:lnTo>
                      <a:lnTo>
                        <a:pt x="453" y="314"/>
                      </a:lnTo>
                      <a:lnTo>
                        <a:pt x="455" y="314"/>
                      </a:lnTo>
                      <a:lnTo>
                        <a:pt x="455" y="312"/>
                      </a:lnTo>
                      <a:lnTo>
                        <a:pt x="457" y="312"/>
                      </a:lnTo>
                      <a:lnTo>
                        <a:pt x="457" y="314"/>
                      </a:lnTo>
                      <a:lnTo>
                        <a:pt x="459" y="314"/>
                      </a:lnTo>
                      <a:lnTo>
                        <a:pt x="461" y="314"/>
                      </a:lnTo>
                      <a:lnTo>
                        <a:pt x="461" y="312"/>
                      </a:lnTo>
                      <a:lnTo>
                        <a:pt x="461" y="311"/>
                      </a:lnTo>
                      <a:lnTo>
                        <a:pt x="463" y="311"/>
                      </a:lnTo>
                      <a:lnTo>
                        <a:pt x="463" y="312"/>
                      </a:lnTo>
                      <a:lnTo>
                        <a:pt x="464" y="312"/>
                      </a:lnTo>
                      <a:lnTo>
                        <a:pt x="464" y="311"/>
                      </a:lnTo>
                      <a:lnTo>
                        <a:pt x="466" y="311"/>
                      </a:lnTo>
                      <a:lnTo>
                        <a:pt x="466" y="312"/>
                      </a:lnTo>
                      <a:lnTo>
                        <a:pt x="468" y="312"/>
                      </a:lnTo>
                      <a:lnTo>
                        <a:pt x="470" y="312"/>
                      </a:lnTo>
                      <a:lnTo>
                        <a:pt x="470" y="311"/>
                      </a:lnTo>
                      <a:lnTo>
                        <a:pt x="472" y="311"/>
                      </a:lnTo>
                      <a:lnTo>
                        <a:pt x="472" y="312"/>
                      </a:lnTo>
                      <a:lnTo>
                        <a:pt x="472" y="314"/>
                      </a:lnTo>
                      <a:lnTo>
                        <a:pt x="474" y="314"/>
                      </a:lnTo>
                      <a:lnTo>
                        <a:pt x="476" y="314"/>
                      </a:lnTo>
                      <a:lnTo>
                        <a:pt x="478" y="316"/>
                      </a:lnTo>
                      <a:lnTo>
                        <a:pt x="479" y="316"/>
                      </a:lnTo>
                      <a:lnTo>
                        <a:pt x="481" y="316"/>
                      </a:lnTo>
                      <a:lnTo>
                        <a:pt x="481" y="318"/>
                      </a:lnTo>
                      <a:lnTo>
                        <a:pt x="483" y="318"/>
                      </a:lnTo>
                      <a:lnTo>
                        <a:pt x="485" y="318"/>
                      </a:lnTo>
                      <a:lnTo>
                        <a:pt x="487" y="320"/>
                      </a:lnTo>
                      <a:lnTo>
                        <a:pt x="489" y="320"/>
                      </a:lnTo>
                      <a:lnTo>
                        <a:pt x="491" y="320"/>
                      </a:lnTo>
                      <a:lnTo>
                        <a:pt x="493" y="320"/>
                      </a:lnTo>
                      <a:lnTo>
                        <a:pt x="495" y="320"/>
                      </a:lnTo>
                      <a:lnTo>
                        <a:pt x="496" y="320"/>
                      </a:lnTo>
                      <a:lnTo>
                        <a:pt x="496" y="322"/>
                      </a:lnTo>
                      <a:lnTo>
                        <a:pt x="498" y="322"/>
                      </a:lnTo>
                      <a:lnTo>
                        <a:pt x="500" y="324"/>
                      </a:lnTo>
                      <a:lnTo>
                        <a:pt x="500" y="326"/>
                      </a:lnTo>
                      <a:lnTo>
                        <a:pt x="502" y="326"/>
                      </a:lnTo>
                      <a:lnTo>
                        <a:pt x="504" y="326"/>
                      </a:lnTo>
                      <a:lnTo>
                        <a:pt x="504" y="327"/>
                      </a:lnTo>
                      <a:lnTo>
                        <a:pt x="506" y="327"/>
                      </a:lnTo>
                      <a:lnTo>
                        <a:pt x="506" y="329"/>
                      </a:lnTo>
                      <a:lnTo>
                        <a:pt x="508" y="329"/>
                      </a:lnTo>
                      <a:lnTo>
                        <a:pt x="510" y="329"/>
                      </a:lnTo>
                      <a:lnTo>
                        <a:pt x="511" y="329"/>
                      </a:lnTo>
                      <a:lnTo>
                        <a:pt x="511" y="331"/>
                      </a:lnTo>
                      <a:lnTo>
                        <a:pt x="513" y="331"/>
                      </a:lnTo>
                      <a:lnTo>
                        <a:pt x="515" y="331"/>
                      </a:lnTo>
                      <a:lnTo>
                        <a:pt x="517" y="331"/>
                      </a:lnTo>
                      <a:lnTo>
                        <a:pt x="517" y="333"/>
                      </a:lnTo>
                      <a:lnTo>
                        <a:pt x="519" y="333"/>
                      </a:lnTo>
                      <a:lnTo>
                        <a:pt x="521" y="333"/>
                      </a:lnTo>
                      <a:lnTo>
                        <a:pt x="523" y="333"/>
                      </a:lnTo>
                      <a:lnTo>
                        <a:pt x="525" y="333"/>
                      </a:lnTo>
                      <a:lnTo>
                        <a:pt x="525" y="335"/>
                      </a:lnTo>
                      <a:lnTo>
                        <a:pt x="526" y="335"/>
                      </a:lnTo>
                      <a:lnTo>
                        <a:pt x="526" y="333"/>
                      </a:lnTo>
                      <a:lnTo>
                        <a:pt x="528" y="333"/>
                      </a:lnTo>
                      <a:lnTo>
                        <a:pt x="528" y="331"/>
                      </a:lnTo>
                      <a:lnTo>
                        <a:pt x="530" y="331"/>
                      </a:lnTo>
                      <a:lnTo>
                        <a:pt x="532" y="331"/>
                      </a:lnTo>
                      <a:lnTo>
                        <a:pt x="532" y="329"/>
                      </a:lnTo>
                      <a:lnTo>
                        <a:pt x="534" y="329"/>
                      </a:lnTo>
                      <a:lnTo>
                        <a:pt x="536" y="329"/>
                      </a:lnTo>
                      <a:lnTo>
                        <a:pt x="538" y="329"/>
                      </a:lnTo>
                      <a:lnTo>
                        <a:pt x="538" y="331"/>
                      </a:lnTo>
                      <a:lnTo>
                        <a:pt x="540" y="331"/>
                      </a:lnTo>
                      <a:lnTo>
                        <a:pt x="542" y="333"/>
                      </a:lnTo>
                      <a:lnTo>
                        <a:pt x="543" y="333"/>
                      </a:lnTo>
                      <a:lnTo>
                        <a:pt x="543" y="331"/>
                      </a:lnTo>
                      <a:lnTo>
                        <a:pt x="545" y="331"/>
                      </a:lnTo>
                      <a:lnTo>
                        <a:pt x="547" y="333"/>
                      </a:lnTo>
                      <a:lnTo>
                        <a:pt x="549" y="333"/>
                      </a:lnTo>
                      <a:lnTo>
                        <a:pt x="549" y="335"/>
                      </a:lnTo>
                      <a:lnTo>
                        <a:pt x="551" y="335"/>
                      </a:lnTo>
                      <a:lnTo>
                        <a:pt x="551" y="333"/>
                      </a:lnTo>
                      <a:lnTo>
                        <a:pt x="553" y="333"/>
                      </a:lnTo>
                      <a:lnTo>
                        <a:pt x="553" y="335"/>
                      </a:lnTo>
                      <a:lnTo>
                        <a:pt x="555" y="335"/>
                      </a:lnTo>
                      <a:lnTo>
                        <a:pt x="555" y="333"/>
                      </a:lnTo>
                      <a:lnTo>
                        <a:pt x="557" y="333"/>
                      </a:lnTo>
                      <a:lnTo>
                        <a:pt x="558" y="333"/>
                      </a:lnTo>
                      <a:lnTo>
                        <a:pt x="558" y="331"/>
                      </a:lnTo>
                      <a:lnTo>
                        <a:pt x="558" y="333"/>
                      </a:lnTo>
                      <a:lnTo>
                        <a:pt x="560" y="333"/>
                      </a:lnTo>
                      <a:lnTo>
                        <a:pt x="562" y="331"/>
                      </a:lnTo>
                      <a:lnTo>
                        <a:pt x="562" y="333"/>
                      </a:lnTo>
                      <a:lnTo>
                        <a:pt x="564" y="333"/>
                      </a:lnTo>
                      <a:lnTo>
                        <a:pt x="566" y="331"/>
                      </a:lnTo>
                      <a:lnTo>
                        <a:pt x="568" y="331"/>
                      </a:lnTo>
                      <a:lnTo>
                        <a:pt x="570" y="331"/>
                      </a:lnTo>
                      <a:lnTo>
                        <a:pt x="572" y="331"/>
                      </a:lnTo>
                      <a:lnTo>
                        <a:pt x="572" y="329"/>
                      </a:lnTo>
                      <a:lnTo>
                        <a:pt x="574" y="329"/>
                      </a:lnTo>
                      <a:lnTo>
                        <a:pt x="574" y="331"/>
                      </a:lnTo>
                      <a:lnTo>
                        <a:pt x="575" y="331"/>
                      </a:lnTo>
                      <a:lnTo>
                        <a:pt x="577" y="331"/>
                      </a:lnTo>
                      <a:lnTo>
                        <a:pt x="579" y="331"/>
                      </a:lnTo>
                      <a:lnTo>
                        <a:pt x="581" y="331"/>
                      </a:lnTo>
                      <a:lnTo>
                        <a:pt x="579" y="331"/>
                      </a:lnTo>
                      <a:lnTo>
                        <a:pt x="579" y="329"/>
                      </a:lnTo>
                      <a:lnTo>
                        <a:pt x="581" y="329"/>
                      </a:lnTo>
                      <a:lnTo>
                        <a:pt x="583" y="329"/>
                      </a:lnTo>
                      <a:lnTo>
                        <a:pt x="583" y="327"/>
                      </a:lnTo>
                      <a:lnTo>
                        <a:pt x="585" y="327"/>
                      </a:lnTo>
                      <a:lnTo>
                        <a:pt x="585" y="326"/>
                      </a:lnTo>
                      <a:lnTo>
                        <a:pt x="585" y="324"/>
                      </a:lnTo>
                      <a:lnTo>
                        <a:pt x="585" y="326"/>
                      </a:lnTo>
                      <a:lnTo>
                        <a:pt x="587" y="326"/>
                      </a:lnTo>
                      <a:lnTo>
                        <a:pt x="589" y="326"/>
                      </a:lnTo>
                      <a:lnTo>
                        <a:pt x="589" y="324"/>
                      </a:lnTo>
                      <a:lnTo>
                        <a:pt x="589" y="322"/>
                      </a:lnTo>
                      <a:lnTo>
                        <a:pt x="590" y="322"/>
                      </a:lnTo>
                      <a:lnTo>
                        <a:pt x="592" y="322"/>
                      </a:lnTo>
                      <a:lnTo>
                        <a:pt x="594" y="322"/>
                      </a:lnTo>
                      <a:lnTo>
                        <a:pt x="594" y="320"/>
                      </a:lnTo>
                      <a:lnTo>
                        <a:pt x="594" y="318"/>
                      </a:lnTo>
                      <a:lnTo>
                        <a:pt x="596" y="318"/>
                      </a:lnTo>
                      <a:lnTo>
                        <a:pt x="598" y="320"/>
                      </a:lnTo>
                      <a:lnTo>
                        <a:pt x="598" y="318"/>
                      </a:lnTo>
                      <a:lnTo>
                        <a:pt x="600" y="316"/>
                      </a:lnTo>
                      <a:lnTo>
                        <a:pt x="602" y="316"/>
                      </a:lnTo>
                      <a:lnTo>
                        <a:pt x="604" y="314"/>
                      </a:lnTo>
                      <a:lnTo>
                        <a:pt x="604" y="312"/>
                      </a:lnTo>
                      <a:lnTo>
                        <a:pt x="605" y="312"/>
                      </a:lnTo>
                      <a:lnTo>
                        <a:pt x="607" y="312"/>
                      </a:lnTo>
                      <a:lnTo>
                        <a:pt x="607" y="311"/>
                      </a:lnTo>
                      <a:lnTo>
                        <a:pt x="605" y="309"/>
                      </a:lnTo>
                      <a:lnTo>
                        <a:pt x="607" y="309"/>
                      </a:lnTo>
                      <a:lnTo>
                        <a:pt x="609" y="307"/>
                      </a:lnTo>
                      <a:lnTo>
                        <a:pt x="611" y="307"/>
                      </a:lnTo>
                      <a:lnTo>
                        <a:pt x="611" y="309"/>
                      </a:lnTo>
                      <a:lnTo>
                        <a:pt x="613" y="309"/>
                      </a:lnTo>
                      <a:lnTo>
                        <a:pt x="615" y="307"/>
                      </a:lnTo>
                      <a:lnTo>
                        <a:pt x="617" y="307"/>
                      </a:lnTo>
                      <a:lnTo>
                        <a:pt x="619" y="307"/>
                      </a:lnTo>
                      <a:lnTo>
                        <a:pt x="619" y="309"/>
                      </a:lnTo>
                      <a:lnTo>
                        <a:pt x="621" y="309"/>
                      </a:lnTo>
                      <a:lnTo>
                        <a:pt x="621" y="311"/>
                      </a:lnTo>
                      <a:lnTo>
                        <a:pt x="622" y="311"/>
                      </a:lnTo>
                      <a:lnTo>
                        <a:pt x="624" y="311"/>
                      </a:lnTo>
                      <a:lnTo>
                        <a:pt x="626" y="311"/>
                      </a:lnTo>
                      <a:lnTo>
                        <a:pt x="626" y="309"/>
                      </a:lnTo>
                      <a:lnTo>
                        <a:pt x="628" y="309"/>
                      </a:lnTo>
                      <a:lnTo>
                        <a:pt x="628" y="311"/>
                      </a:lnTo>
                      <a:lnTo>
                        <a:pt x="628" y="312"/>
                      </a:lnTo>
                      <a:lnTo>
                        <a:pt x="630" y="312"/>
                      </a:lnTo>
                      <a:lnTo>
                        <a:pt x="632" y="312"/>
                      </a:lnTo>
                      <a:lnTo>
                        <a:pt x="634" y="312"/>
                      </a:lnTo>
                      <a:lnTo>
                        <a:pt x="632" y="312"/>
                      </a:lnTo>
                      <a:lnTo>
                        <a:pt x="632" y="314"/>
                      </a:lnTo>
                      <a:lnTo>
                        <a:pt x="634" y="314"/>
                      </a:lnTo>
                      <a:lnTo>
                        <a:pt x="634" y="316"/>
                      </a:lnTo>
                      <a:lnTo>
                        <a:pt x="636" y="316"/>
                      </a:lnTo>
                      <a:lnTo>
                        <a:pt x="636" y="318"/>
                      </a:lnTo>
                      <a:lnTo>
                        <a:pt x="637" y="318"/>
                      </a:lnTo>
                      <a:lnTo>
                        <a:pt x="639" y="318"/>
                      </a:lnTo>
                      <a:lnTo>
                        <a:pt x="639" y="316"/>
                      </a:lnTo>
                      <a:lnTo>
                        <a:pt x="641" y="316"/>
                      </a:lnTo>
                      <a:lnTo>
                        <a:pt x="643" y="316"/>
                      </a:lnTo>
                      <a:lnTo>
                        <a:pt x="645" y="316"/>
                      </a:lnTo>
                      <a:lnTo>
                        <a:pt x="647" y="316"/>
                      </a:lnTo>
                      <a:lnTo>
                        <a:pt x="647" y="318"/>
                      </a:lnTo>
                      <a:lnTo>
                        <a:pt x="649" y="318"/>
                      </a:lnTo>
                      <a:lnTo>
                        <a:pt x="651" y="318"/>
                      </a:lnTo>
                      <a:lnTo>
                        <a:pt x="651" y="320"/>
                      </a:lnTo>
                      <a:lnTo>
                        <a:pt x="651" y="318"/>
                      </a:lnTo>
                      <a:lnTo>
                        <a:pt x="653" y="318"/>
                      </a:lnTo>
                      <a:lnTo>
                        <a:pt x="654" y="318"/>
                      </a:lnTo>
                      <a:lnTo>
                        <a:pt x="656" y="318"/>
                      </a:lnTo>
                      <a:lnTo>
                        <a:pt x="658" y="316"/>
                      </a:lnTo>
                      <a:lnTo>
                        <a:pt x="660" y="316"/>
                      </a:lnTo>
                      <a:lnTo>
                        <a:pt x="660" y="318"/>
                      </a:lnTo>
                      <a:lnTo>
                        <a:pt x="662" y="318"/>
                      </a:lnTo>
                      <a:lnTo>
                        <a:pt x="664" y="318"/>
                      </a:lnTo>
                      <a:lnTo>
                        <a:pt x="666" y="318"/>
                      </a:lnTo>
                      <a:lnTo>
                        <a:pt x="668" y="318"/>
                      </a:lnTo>
                      <a:lnTo>
                        <a:pt x="669" y="318"/>
                      </a:lnTo>
                      <a:lnTo>
                        <a:pt x="669" y="320"/>
                      </a:lnTo>
                      <a:lnTo>
                        <a:pt x="671" y="320"/>
                      </a:lnTo>
                      <a:lnTo>
                        <a:pt x="673" y="320"/>
                      </a:lnTo>
                      <a:lnTo>
                        <a:pt x="675" y="320"/>
                      </a:lnTo>
                      <a:lnTo>
                        <a:pt x="677" y="320"/>
                      </a:lnTo>
                      <a:lnTo>
                        <a:pt x="679" y="320"/>
                      </a:lnTo>
                      <a:lnTo>
                        <a:pt x="679" y="318"/>
                      </a:lnTo>
                      <a:lnTo>
                        <a:pt x="681" y="318"/>
                      </a:lnTo>
                      <a:lnTo>
                        <a:pt x="683" y="318"/>
                      </a:lnTo>
                      <a:lnTo>
                        <a:pt x="684" y="320"/>
                      </a:lnTo>
                      <a:lnTo>
                        <a:pt x="686" y="320"/>
                      </a:lnTo>
                      <a:lnTo>
                        <a:pt x="688" y="320"/>
                      </a:lnTo>
                      <a:lnTo>
                        <a:pt x="690" y="320"/>
                      </a:lnTo>
                      <a:lnTo>
                        <a:pt x="692" y="320"/>
                      </a:lnTo>
                      <a:lnTo>
                        <a:pt x="694" y="320"/>
                      </a:lnTo>
                      <a:lnTo>
                        <a:pt x="696" y="320"/>
                      </a:lnTo>
                      <a:lnTo>
                        <a:pt x="696" y="318"/>
                      </a:lnTo>
                      <a:lnTo>
                        <a:pt x="698" y="318"/>
                      </a:lnTo>
                      <a:lnTo>
                        <a:pt x="700" y="316"/>
                      </a:lnTo>
                      <a:lnTo>
                        <a:pt x="701" y="316"/>
                      </a:lnTo>
                      <a:lnTo>
                        <a:pt x="701" y="314"/>
                      </a:lnTo>
                      <a:lnTo>
                        <a:pt x="703" y="314"/>
                      </a:lnTo>
                      <a:lnTo>
                        <a:pt x="705" y="312"/>
                      </a:lnTo>
                      <a:lnTo>
                        <a:pt x="707" y="312"/>
                      </a:lnTo>
                      <a:lnTo>
                        <a:pt x="709" y="312"/>
                      </a:lnTo>
                      <a:lnTo>
                        <a:pt x="709" y="311"/>
                      </a:lnTo>
                      <a:lnTo>
                        <a:pt x="711" y="311"/>
                      </a:lnTo>
                      <a:lnTo>
                        <a:pt x="713" y="311"/>
                      </a:lnTo>
                      <a:lnTo>
                        <a:pt x="715" y="309"/>
                      </a:lnTo>
                      <a:lnTo>
                        <a:pt x="716" y="309"/>
                      </a:lnTo>
                      <a:lnTo>
                        <a:pt x="716" y="307"/>
                      </a:lnTo>
                      <a:lnTo>
                        <a:pt x="718" y="307"/>
                      </a:lnTo>
                      <a:lnTo>
                        <a:pt x="718" y="305"/>
                      </a:lnTo>
                      <a:lnTo>
                        <a:pt x="720" y="305"/>
                      </a:lnTo>
                      <a:lnTo>
                        <a:pt x="720" y="303"/>
                      </a:lnTo>
                      <a:lnTo>
                        <a:pt x="722" y="303"/>
                      </a:lnTo>
                      <a:lnTo>
                        <a:pt x="724" y="301"/>
                      </a:lnTo>
                      <a:lnTo>
                        <a:pt x="726" y="301"/>
                      </a:lnTo>
                      <a:lnTo>
                        <a:pt x="726" y="299"/>
                      </a:lnTo>
                      <a:lnTo>
                        <a:pt x="728" y="299"/>
                      </a:lnTo>
                      <a:lnTo>
                        <a:pt x="730" y="299"/>
                      </a:lnTo>
                      <a:lnTo>
                        <a:pt x="730" y="297"/>
                      </a:lnTo>
                      <a:lnTo>
                        <a:pt x="732" y="297"/>
                      </a:lnTo>
                      <a:lnTo>
                        <a:pt x="733" y="297"/>
                      </a:lnTo>
                      <a:lnTo>
                        <a:pt x="735" y="297"/>
                      </a:lnTo>
                      <a:lnTo>
                        <a:pt x="735" y="295"/>
                      </a:lnTo>
                      <a:lnTo>
                        <a:pt x="737" y="295"/>
                      </a:lnTo>
                      <a:lnTo>
                        <a:pt x="739" y="295"/>
                      </a:lnTo>
                      <a:lnTo>
                        <a:pt x="739" y="294"/>
                      </a:lnTo>
                      <a:lnTo>
                        <a:pt x="741" y="294"/>
                      </a:lnTo>
                      <a:lnTo>
                        <a:pt x="741" y="292"/>
                      </a:lnTo>
                      <a:lnTo>
                        <a:pt x="743" y="292"/>
                      </a:lnTo>
                      <a:lnTo>
                        <a:pt x="743" y="290"/>
                      </a:lnTo>
                      <a:lnTo>
                        <a:pt x="745" y="290"/>
                      </a:lnTo>
                      <a:lnTo>
                        <a:pt x="745" y="288"/>
                      </a:lnTo>
                      <a:lnTo>
                        <a:pt x="747" y="288"/>
                      </a:lnTo>
                      <a:lnTo>
                        <a:pt x="748" y="286"/>
                      </a:lnTo>
                      <a:lnTo>
                        <a:pt x="750" y="286"/>
                      </a:lnTo>
                      <a:lnTo>
                        <a:pt x="750" y="284"/>
                      </a:lnTo>
                      <a:lnTo>
                        <a:pt x="752" y="284"/>
                      </a:lnTo>
                      <a:lnTo>
                        <a:pt x="754" y="284"/>
                      </a:lnTo>
                      <a:lnTo>
                        <a:pt x="754" y="282"/>
                      </a:lnTo>
                      <a:lnTo>
                        <a:pt x="767" y="254"/>
                      </a:lnTo>
                      <a:lnTo>
                        <a:pt x="767" y="252"/>
                      </a:lnTo>
                      <a:lnTo>
                        <a:pt x="773" y="241"/>
                      </a:lnTo>
                      <a:lnTo>
                        <a:pt x="773" y="239"/>
                      </a:lnTo>
                      <a:lnTo>
                        <a:pt x="775" y="237"/>
                      </a:lnTo>
                      <a:lnTo>
                        <a:pt x="775" y="233"/>
                      </a:lnTo>
                      <a:lnTo>
                        <a:pt x="779" y="224"/>
                      </a:lnTo>
                      <a:lnTo>
                        <a:pt x="780" y="216"/>
                      </a:lnTo>
                      <a:lnTo>
                        <a:pt x="780" y="213"/>
                      </a:lnTo>
                      <a:lnTo>
                        <a:pt x="782" y="211"/>
                      </a:lnTo>
                      <a:lnTo>
                        <a:pt x="782" y="209"/>
                      </a:lnTo>
                      <a:lnTo>
                        <a:pt x="782" y="207"/>
                      </a:lnTo>
                      <a:lnTo>
                        <a:pt x="782" y="205"/>
                      </a:lnTo>
                      <a:lnTo>
                        <a:pt x="782" y="201"/>
                      </a:lnTo>
                      <a:lnTo>
                        <a:pt x="784" y="198"/>
                      </a:lnTo>
                      <a:lnTo>
                        <a:pt x="784" y="192"/>
                      </a:lnTo>
                      <a:lnTo>
                        <a:pt x="784" y="184"/>
                      </a:lnTo>
                      <a:lnTo>
                        <a:pt x="786" y="184"/>
                      </a:lnTo>
                      <a:lnTo>
                        <a:pt x="786" y="182"/>
                      </a:lnTo>
                      <a:lnTo>
                        <a:pt x="788" y="181"/>
                      </a:lnTo>
                      <a:lnTo>
                        <a:pt x="792" y="175"/>
                      </a:lnTo>
                      <a:lnTo>
                        <a:pt x="797" y="164"/>
                      </a:lnTo>
                      <a:lnTo>
                        <a:pt x="799" y="156"/>
                      </a:lnTo>
                      <a:lnTo>
                        <a:pt x="805" y="141"/>
                      </a:lnTo>
                      <a:lnTo>
                        <a:pt x="811" y="124"/>
                      </a:lnTo>
                      <a:lnTo>
                        <a:pt x="818" y="103"/>
                      </a:lnTo>
                      <a:lnTo>
                        <a:pt x="822" y="96"/>
                      </a:lnTo>
                      <a:lnTo>
                        <a:pt x="822" y="94"/>
                      </a:lnTo>
                      <a:lnTo>
                        <a:pt x="824" y="90"/>
                      </a:lnTo>
                      <a:lnTo>
                        <a:pt x="826" y="81"/>
                      </a:lnTo>
                      <a:lnTo>
                        <a:pt x="827" y="81"/>
                      </a:lnTo>
                      <a:lnTo>
                        <a:pt x="829" y="81"/>
                      </a:lnTo>
                      <a:lnTo>
                        <a:pt x="829" y="79"/>
                      </a:lnTo>
                      <a:lnTo>
                        <a:pt x="831" y="79"/>
                      </a:lnTo>
                      <a:lnTo>
                        <a:pt x="831" y="77"/>
                      </a:lnTo>
                      <a:lnTo>
                        <a:pt x="829" y="77"/>
                      </a:lnTo>
                      <a:lnTo>
                        <a:pt x="829" y="75"/>
                      </a:lnTo>
                      <a:lnTo>
                        <a:pt x="831" y="75"/>
                      </a:lnTo>
                      <a:lnTo>
                        <a:pt x="831" y="73"/>
                      </a:lnTo>
                      <a:lnTo>
                        <a:pt x="829" y="73"/>
                      </a:lnTo>
                      <a:lnTo>
                        <a:pt x="829" y="71"/>
                      </a:lnTo>
                      <a:lnTo>
                        <a:pt x="831" y="70"/>
                      </a:lnTo>
                      <a:lnTo>
                        <a:pt x="833" y="71"/>
                      </a:lnTo>
                      <a:lnTo>
                        <a:pt x="833" y="70"/>
                      </a:lnTo>
                      <a:lnTo>
                        <a:pt x="833" y="68"/>
                      </a:lnTo>
                      <a:lnTo>
                        <a:pt x="831" y="68"/>
                      </a:lnTo>
                      <a:lnTo>
                        <a:pt x="831" y="66"/>
                      </a:lnTo>
                      <a:lnTo>
                        <a:pt x="831" y="64"/>
                      </a:lnTo>
                      <a:lnTo>
                        <a:pt x="831" y="62"/>
                      </a:lnTo>
                      <a:lnTo>
                        <a:pt x="829" y="62"/>
                      </a:lnTo>
                      <a:lnTo>
                        <a:pt x="829" y="60"/>
                      </a:lnTo>
                      <a:lnTo>
                        <a:pt x="831" y="60"/>
                      </a:lnTo>
                      <a:lnTo>
                        <a:pt x="829" y="60"/>
                      </a:lnTo>
                      <a:lnTo>
                        <a:pt x="829" y="58"/>
                      </a:lnTo>
                      <a:lnTo>
                        <a:pt x="829" y="56"/>
                      </a:lnTo>
                      <a:lnTo>
                        <a:pt x="829" y="54"/>
                      </a:lnTo>
                      <a:lnTo>
                        <a:pt x="829" y="53"/>
                      </a:lnTo>
                      <a:lnTo>
                        <a:pt x="827" y="53"/>
                      </a:lnTo>
                      <a:lnTo>
                        <a:pt x="826" y="53"/>
                      </a:lnTo>
                      <a:lnTo>
                        <a:pt x="826" y="51"/>
                      </a:lnTo>
                      <a:lnTo>
                        <a:pt x="826" y="49"/>
                      </a:lnTo>
                      <a:lnTo>
                        <a:pt x="827" y="49"/>
                      </a:lnTo>
                      <a:lnTo>
                        <a:pt x="826" y="49"/>
                      </a:lnTo>
                      <a:lnTo>
                        <a:pt x="826" y="47"/>
                      </a:lnTo>
                      <a:lnTo>
                        <a:pt x="824" y="45"/>
                      </a:lnTo>
                      <a:lnTo>
                        <a:pt x="822" y="45"/>
                      </a:lnTo>
                      <a:lnTo>
                        <a:pt x="822" y="43"/>
                      </a:lnTo>
                      <a:lnTo>
                        <a:pt x="822" y="41"/>
                      </a:lnTo>
                      <a:lnTo>
                        <a:pt x="822" y="39"/>
                      </a:lnTo>
                      <a:lnTo>
                        <a:pt x="824" y="39"/>
                      </a:lnTo>
                      <a:lnTo>
                        <a:pt x="824" y="38"/>
                      </a:lnTo>
                      <a:lnTo>
                        <a:pt x="824" y="36"/>
                      </a:lnTo>
                      <a:lnTo>
                        <a:pt x="824" y="34"/>
                      </a:lnTo>
                      <a:lnTo>
                        <a:pt x="826" y="34"/>
                      </a:lnTo>
                      <a:lnTo>
                        <a:pt x="839" y="32"/>
                      </a:lnTo>
                      <a:lnTo>
                        <a:pt x="841" y="30"/>
                      </a:lnTo>
                      <a:lnTo>
                        <a:pt x="842" y="30"/>
                      </a:lnTo>
                      <a:lnTo>
                        <a:pt x="852" y="32"/>
                      </a:lnTo>
                      <a:lnTo>
                        <a:pt x="863" y="24"/>
                      </a:lnTo>
                      <a:lnTo>
                        <a:pt x="878" y="21"/>
                      </a:lnTo>
                      <a:lnTo>
                        <a:pt x="886" y="19"/>
                      </a:lnTo>
                      <a:lnTo>
                        <a:pt x="910" y="15"/>
                      </a:lnTo>
                      <a:lnTo>
                        <a:pt x="923" y="11"/>
                      </a:lnTo>
                      <a:lnTo>
                        <a:pt x="935" y="7"/>
                      </a:lnTo>
                      <a:lnTo>
                        <a:pt x="950" y="4"/>
                      </a:lnTo>
                      <a:lnTo>
                        <a:pt x="963" y="0"/>
                      </a:lnTo>
                      <a:lnTo>
                        <a:pt x="965" y="2"/>
                      </a:lnTo>
                      <a:lnTo>
                        <a:pt x="967" y="2"/>
                      </a:lnTo>
                      <a:lnTo>
                        <a:pt x="967" y="4"/>
                      </a:lnTo>
                      <a:lnTo>
                        <a:pt x="969" y="4"/>
                      </a:lnTo>
                      <a:lnTo>
                        <a:pt x="969" y="6"/>
                      </a:lnTo>
                      <a:lnTo>
                        <a:pt x="970" y="6"/>
                      </a:lnTo>
                      <a:lnTo>
                        <a:pt x="970" y="7"/>
                      </a:lnTo>
                      <a:lnTo>
                        <a:pt x="970" y="9"/>
                      </a:lnTo>
                      <a:lnTo>
                        <a:pt x="969" y="9"/>
                      </a:lnTo>
                      <a:lnTo>
                        <a:pt x="970" y="11"/>
                      </a:lnTo>
                      <a:lnTo>
                        <a:pt x="970" y="13"/>
                      </a:lnTo>
                      <a:lnTo>
                        <a:pt x="969" y="15"/>
                      </a:lnTo>
                      <a:lnTo>
                        <a:pt x="970" y="15"/>
                      </a:lnTo>
                      <a:lnTo>
                        <a:pt x="970" y="17"/>
                      </a:lnTo>
                      <a:lnTo>
                        <a:pt x="970" y="19"/>
                      </a:lnTo>
                      <a:lnTo>
                        <a:pt x="970" y="21"/>
                      </a:lnTo>
                      <a:lnTo>
                        <a:pt x="969" y="21"/>
                      </a:lnTo>
                      <a:lnTo>
                        <a:pt x="969" y="22"/>
                      </a:lnTo>
                      <a:lnTo>
                        <a:pt x="970" y="22"/>
                      </a:lnTo>
                      <a:lnTo>
                        <a:pt x="970" y="24"/>
                      </a:lnTo>
                      <a:lnTo>
                        <a:pt x="969" y="24"/>
                      </a:lnTo>
                      <a:lnTo>
                        <a:pt x="969" y="26"/>
                      </a:lnTo>
                      <a:lnTo>
                        <a:pt x="969" y="28"/>
                      </a:lnTo>
                      <a:lnTo>
                        <a:pt x="970" y="28"/>
                      </a:lnTo>
                      <a:lnTo>
                        <a:pt x="970" y="30"/>
                      </a:lnTo>
                      <a:lnTo>
                        <a:pt x="970" y="32"/>
                      </a:lnTo>
                      <a:lnTo>
                        <a:pt x="970" y="34"/>
                      </a:lnTo>
                      <a:lnTo>
                        <a:pt x="972" y="36"/>
                      </a:lnTo>
                      <a:lnTo>
                        <a:pt x="970" y="38"/>
                      </a:lnTo>
                      <a:lnTo>
                        <a:pt x="970" y="39"/>
                      </a:lnTo>
                      <a:lnTo>
                        <a:pt x="972" y="39"/>
                      </a:lnTo>
                      <a:lnTo>
                        <a:pt x="972" y="41"/>
                      </a:lnTo>
                      <a:lnTo>
                        <a:pt x="974" y="41"/>
                      </a:lnTo>
                      <a:lnTo>
                        <a:pt x="974" y="43"/>
                      </a:lnTo>
                      <a:lnTo>
                        <a:pt x="976" y="43"/>
                      </a:lnTo>
                      <a:lnTo>
                        <a:pt x="978" y="43"/>
                      </a:lnTo>
                      <a:lnTo>
                        <a:pt x="980" y="43"/>
                      </a:lnTo>
                      <a:lnTo>
                        <a:pt x="980" y="45"/>
                      </a:lnTo>
                      <a:lnTo>
                        <a:pt x="980" y="47"/>
                      </a:lnTo>
                      <a:lnTo>
                        <a:pt x="980" y="49"/>
                      </a:lnTo>
                      <a:lnTo>
                        <a:pt x="978" y="49"/>
                      </a:lnTo>
                      <a:lnTo>
                        <a:pt x="991" y="49"/>
                      </a:lnTo>
                      <a:lnTo>
                        <a:pt x="997" y="49"/>
                      </a:lnTo>
                      <a:lnTo>
                        <a:pt x="1006" y="51"/>
                      </a:lnTo>
                      <a:lnTo>
                        <a:pt x="1016" y="51"/>
                      </a:lnTo>
                      <a:lnTo>
                        <a:pt x="1021" y="49"/>
                      </a:lnTo>
                      <a:lnTo>
                        <a:pt x="1031" y="56"/>
                      </a:lnTo>
                      <a:lnTo>
                        <a:pt x="1040" y="64"/>
                      </a:lnTo>
                      <a:lnTo>
                        <a:pt x="1042" y="62"/>
                      </a:lnTo>
                      <a:lnTo>
                        <a:pt x="1044" y="64"/>
                      </a:lnTo>
                      <a:lnTo>
                        <a:pt x="1051" y="68"/>
                      </a:lnTo>
                      <a:lnTo>
                        <a:pt x="1053" y="70"/>
                      </a:lnTo>
                      <a:lnTo>
                        <a:pt x="1057" y="62"/>
                      </a:lnTo>
                      <a:lnTo>
                        <a:pt x="1061" y="56"/>
                      </a:lnTo>
                      <a:lnTo>
                        <a:pt x="1064" y="54"/>
                      </a:lnTo>
                      <a:lnTo>
                        <a:pt x="1074" y="51"/>
                      </a:lnTo>
                      <a:lnTo>
                        <a:pt x="1081" y="49"/>
                      </a:lnTo>
                      <a:lnTo>
                        <a:pt x="1093" y="45"/>
                      </a:lnTo>
                      <a:lnTo>
                        <a:pt x="1102" y="41"/>
                      </a:lnTo>
                      <a:lnTo>
                        <a:pt x="1102" y="39"/>
                      </a:lnTo>
                      <a:lnTo>
                        <a:pt x="1111" y="39"/>
                      </a:lnTo>
                      <a:lnTo>
                        <a:pt x="1111" y="32"/>
                      </a:lnTo>
                      <a:lnTo>
                        <a:pt x="1111" y="24"/>
                      </a:lnTo>
                      <a:lnTo>
                        <a:pt x="1111" y="22"/>
                      </a:lnTo>
                      <a:lnTo>
                        <a:pt x="1125" y="22"/>
                      </a:lnTo>
                      <a:lnTo>
                        <a:pt x="1127" y="49"/>
                      </a:lnTo>
                      <a:lnTo>
                        <a:pt x="1127" y="53"/>
                      </a:lnTo>
                      <a:lnTo>
                        <a:pt x="1127" y="60"/>
                      </a:lnTo>
                      <a:lnTo>
                        <a:pt x="1128" y="70"/>
                      </a:lnTo>
                      <a:lnTo>
                        <a:pt x="1143" y="73"/>
                      </a:lnTo>
                      <a:lnTo>
                        <a:pt x="1143" y="75"/>
                      </a:lnTo>
                      <a:lnTo>
                        <a:pt x="1149" y="81"/>
                      </a:lnTo>
                      <a:lnTo>
                        <a:pt x="1153" y="86"/>
                      </a:lnTo>
                      <a:lnTo>
                        <a:pt x="1155" y="86"/>
                      </a:lnTo>
                      <a:lnTo>
                        <a:pt x="1155" y="88"/>
                      </a:lnTo>
                      <a:lnTo>
                        <a:pt x="1157" y="96"/>
                      </a:lnTo>
                      <a:lnTo>
                        <a:pt x="1164" y="88"/>
                      </a:lnTo>
                      <a:lnTo>
                        <a:pt x="1175" y="92"/>
                      </a:lnTo>
                      <a:lnTo>
                        <a:pt x="1170" y="102"/>
                      </a:lnTo>
                      <a:lnTo>
                        <a:pt x="1170" y="111"/>
                      </a:lnTo>
                      <a:lnTo>
                        <a:pt x="1175" y="113"/>
                      </a:lnTo>
                      <a:lnTo>
                        <a:pt x="1174" y="120"/>
                      </a:lnTo>
                      <a:lnTo>
                        <a:pt x="1181" y="117"/>
                      </a:lnTo>
                      <a:lnTo>
                        <a:pt x="1187" y="113"/>
                      </a:lnTo>
                      <a:lnTo>
                        <a:pt x="1192" y="113"/>
                      </a:lnTo>
                      <a:lnTo>
                        <a:pt x="1198" y="115"/>
                      </a:lnTo>
                      <a:lnTo>
                        <a:pt x="1202" y="122"/>
                      </a:lnTo>
                      <a:lnTo>
                        <a:pt x="1204" y="126"/>
                      </a:lnTo>
                      <a:lnTo>
                        <a:pt x="1215" y="124"/>
                      </a:lnTo>
                      <a:lnTo>
                        <a:pt x="1217" y="124"/>
                      </a:lnTo>
                      <a:lnTo>
                        <a:pt x="1226" y="122"/>
                      </a:lnTo>
                      <a:lnTo>
                        <a:pt x="1228" y="126"/>
                      </a:lnTo>
                      <a:lnTo>
                        <a:pt x="1239" y="120"/>
                      </a:lnTo>
                      <a:lnTo>
                        <a:pt x="1241" y="124"/>
                      </a:lnTo>
                      <a:lnTo>
                        <a:pt x="1245" y="122"/>
                      </a:lnTo>
                      <a:lnTo>
                        <a:pt x="1251" y="124"/>
                      </a:lnTo>
                      <a:lnTo>
                        <a:pt x="1254" y="126"/>
                      </a:lnTo>
                      <a:lnTo>
                        <a:pt x="1253" y="126"/>
                      </a:lnTo>
                      <a:lnTo>
                        <a:pt x="1253" y="128"/>
                      </a:lnTo>
                      <a:lnTo>
                        <a:pt x="1253" y="130"/>
                      </a:lnTo>
                      <a:lnTo>
                        <a:pt x="1254" y="130"/>
                      </a:lnTo>
                      <a:lnTo>
                        <a:pt x="1256" y="130"/>
                      </a:lnTo>
                      <a:lnTo>
                        <a:pt x="1260" y="126"/>
                      </a:lnTo>
                      <a:lnTo>
                        <a:pt x="1262" y="126"/>
                      </a:lnTo>
                      <a:lnTo>
                        <a:pt x="1262" y="124"/>
                      </a:lnTo>
                      <a:lnTo>
                        <a:pt x="1260" y="124"/>
                      </a:lnTo>
                      <a:lnTo>
                        <a:pt x="1262" y="120"/>
                      </a:lnTo>
                      <a:lnTo>
                        <a:pt x="1262" y="118"/>
                      </a:lnTo>
                      <a:lnTo>
                        <a:pt x="1264" y="117"/>
                      </a:lnTo>
                      <a:lnTo>
                        <a:pt x="1269" y="111"/>
                      </a:lnTo>
                      <a:lnTo>
                        <a:pt x="1269" y="109"/>
                      </a:lnTo>
                      <a:lnTo>
                        <a:pt x="1269" y="107"/>
                      </a:lnTo>
                      <a:lnTo>
                        <a:pt x="1269" y="103"/>
                      </a:lnTo>
                      <a:lnTo>
                        <a:pt x="1269" y="102"/>
                      </a:lnTo>
                      <a:lnTo>
                        <a:pt x="1269" y="98"/>
                      </a:lnTo>
                      <a:lnTo>
                        <a:pt x="1271" y="98"/>
                      </a:lnTo>
                      <a:lnTo>
                        <a:pt x="1277" y="94"/>
                      </a:lnTo>
                      <a:lnTo>
                        <a:pt x="1292" y="98"/>
                      </a:lnTo>
                      <a:lnTo>
                        <a:pt x="1292" y="100"/>
                      </a:lnTo>
                      <a:lnTo>
                        <a:pt x="1298" y="100"/>
                      </a:lnTo>
                      <a:lnTo>
                        <a:pt x="1305" y="98"/>
                      </a:lnTo>
                      <a:lnTo>
                        <a:pt x="1311" y="94"/>
                      </a:lnTo>
                      <a:lnTo>
                        <a:pt x="1315" y="92"/>
                      </a:lnTo>
                      <a:lnTo>
                        <a:pt x="1318" y="92"/>
                      </a:lnTo>
                      <a:lnTo>
                        <a:pt x="1320" y="94"/>
                      </a:lnTo>
                      <a:lnTo>
                        <a:pt x="1322" y="94"/>
                      </a:lnTo>
                      <a:lnTo>
                        <a:pt x="1328" y="96"/>
                      </a:lnTo>
                      <a:lnTo>
                        <a:pt x="1330" y="94"/>
                      </a:lnTo>
                      <a:lnTo>
                        <a:pt x="1343" y="98"/>
                      </a:lnTo>
                      <a:lnTo>
                        <a:pt x="1343" y="100"/>
                      </a:lnTo>
                      <a:lnTo>
                        <a:pt x="1350" y="100"/>
                      </a:lnTo>
                      <a:lnTo>
                        <a:pt x="1352" y="100"/>
                      </a:lnTo>
                      <a:lnTo>
                        <a:pt x="1360" y="102"/>
                      </a:lnTo>
                      <a:lnTo>
                        <a:pt x="1362" y="94"/>
                      </a:lnTo>
                      <a:lnTo>
                        <a:pt x="1365" y="92"/>
                      </a:lnTo>
                      <a:lnTo>
                        <a:pt x="1369" y="90"/>
                      </a:lnTo>
                      <a:lnTo>
                        <a:pt x="1371" y="94"/>
                      </a:lnTo>
                      <a:lnTo>
                        <a:pt x="1373" y="94"/>
                      </a:lnTo>
                      <a:lnTo>
                        <a:pt x="1377" y="94"/>
                      </a:lnTo>
                      <a:lnTo>
                        <a:pt x="1382" y="98"/>
                      </a:lnTo>
                      <a:lnTo>
                        <a:pt x="1394" y="96"/>
                      </a:lnTo>
                      <a:lnTo>
                        <a:pt x="1403" y="96"/>
                      </a:lnTo>
                      <a:lnTo>
                        <a:pt x="1405" y="103"/>
                      </a:lnTo>
                      <a:lnTo>
                        <a:pt x="1412" y="107"/>
                      </a:lnTo>
                      <a:lnTo>
                        <a:pt x="1422" y="111"/>
                      </a:lnTo>
                      <a:lnTo>
                        <a:pt x="1431" y="113"/>
                      </a:lnTo>
                      <a:lnTo>
                        <a:pt x="1431" y="115"/>
                      </a:lnTo>
                      <a:lnTo>
                        <a:pt x="1439" y="117"/>
                      </a:lnTo>
                      <a:lnTo>
                        <a:pt x="1437" y="120"/>
                      </a:lnTo>
                      <a:lnTo>
                        <a:pt x="1437" y="122"/>
                      </a:lnTo>
                      <a:lnTo>
                        <a:pt x="1435" y="122"/>
                      </a:lnTo>
                      <a:lnTo>
                        <a:pt x="1433" y="124"/>
                      </a:lnTo>
                      <a:lnTo>
                        <a:pt x="1427" y="134"/>
                      </a:lnTo>
                      <a:lnTo>
                        <a:pt x="1427" y="137"/>
                      </a:lnTo>
                      <a:lnTo>
                        <a:pt x="1427" y="139"/>
                      </a:lnTo>
                      <a:lnTo>
                        <a:pt x="1424" y="137"/>
                      </a:lnTo>
                      <a:lnTo>
                        <a:pt x="1416" y="135"/>
                      </a:lnTo>
                      <a:lnTo>
                        <a:pt x="1418" y="135"/>
                      </a:lnTo>
                      <a:lnTo>
                        <a:pt x="1418" y="134"/>
                      </a:lnTo>
                      <a:lnTo>
                        <a:pt x="1412" y="126"/>
                      </a:lnTo>
                      <a:lnTo>
                        <a:pt x="1407" y="128"/>
                      </a:lnTo>
                      <a:lnTo>
                        <a:pt x="1403" y="130"/>
                      </a:lnTo>
                      <a:lnTo>
                        <a:pt x="1399" y="130"/>
                      </a:lnTo>
                      <a:lnTo>
                        <a:pt x="1394" y="130"/>
                      </a:lnTo>
                      <a:lnTo>
                        <a:pt x="1397" y="145"/>
                      </a:lnTo>
                      <a:lnTo>
                        <a:pt x="1401" y="143"/>
                      </a:lnTo>
                      <a:lnTo>
                        <a:pt x="1405" y="143"/>
                      </a:lnTo>
                      <a:lnTo>
                        <a:pt x="1407" y="150"/>
                      </a:lnTo>
                      <a:lnTo>
                        <a:pt x="1407" y="160"/>
                      </a:lnTo>
                      <a:lnTo>
                        <a:pt x="1414" y="162"/>
                      </a:lnTo>
                      <a:lnTo>
                        <a:pt x="1416" y="162"/>
                      </a:lnTo>
                      <a:lnTo>
                        <a:pt x="1426" y="158"/>
                      </a:lnTo>
                      <a:lnTo>
                        <a:pt x="1427" y="158"/>
                      </a:lnTo>
                      <a:lnTo>
                        <a:pt x="1433" y="162"/>
                      </a:lnTo>
                      <a:lnTo>
                        <a:pt x="1435" y="162"/>
                      </a:lnTo>
                      <a:lnTo>
                        <a:pt x="1435" y="164"/>
                      </a:lnTo>
                      <a:lnTo>
                        <a:pt x="1437" y="166"/>
                      </a:lnTo>
                      <a:lnTo>
                        <a:pt x="1439" y="169"/>
                      </a:lnTo>
                      <a:lnTo>
                        <a:pt x="1441" y="171"/>
                      </a:lnTo>
                      <a:lnTo>
                        <a:pt x="1441" y="173"/>
                      </a:lnTo>
                      <a:lnTo>
                        <a:pt x="1444" y="177"/>
                      </a:lnTo>
                      <a:lnTo>
                        <a:pt x="1446" y="181"/>
                      </a:lnTo>
                      <a:lnTo>
                        <a:pt x="1446" y="182"/>
                      </a:lnTo>
                      <a:lnTo>
                        <a:pt x="1448" y="184"/>
                      </a:lnTo>
                      <a:lnTo>
                        <a:pt x="1448" y="190"/>
                      </a:lnTo>
                      <a:close/>
                    </a:path>
                  </a:pathLst>
                </a:custGeom>
                <a:solidFill>
                  <a:srgbClr val="CDFFCD"/>
                </a:solidFill>
                <a:ln w="9525">
                  <a:solidFill>
                    <a:schemeClr val="accent6"/>
                  </a:solidFill>
                  <a:round/>
                  <a:headEnd/>
                  <a:tailEnd/>
                </a:ln>
              </p:spPr>
              <p:txBody>
                <a:bodyPr vert="horz" wrap="square" lIns="89614" tIns="44807" rIns="89614" bIns="44807" numCol="1" anchor="t" anchorCtr="0" compatLnSpc="1">
                  <a:prstTxWarp prst="textNoShape">
                    <a:avLst/>
                  </a:prstTxWarp>
                </a:bodyPr>
                <a:lstStyle/>
                <a:p>
                  <a:pPr fontAlgn="base">
                    <a:spcBef>
                      <a:spcPct val="0"/>
                    </a:spcBef>
                    <a:spcAft>
                      <a:spcPct val="0"/>
                    </a:spcAft>
                  </a:pPr>
                  <a:endParaRPr lang="en-US" sz="1568" dirty="0">
                    <a:solidFill>
                      <a:srgbClr val="000000"/>
                    </a:solidFill>
                  </a:endParaRPr>
                </a:p>
              </p:txBody>
            </p:sp>
            <p:sp>
              <p:nvSpPr>
                <p:cNvPr id="51" name="Freeform 35"/>
                <p:cNvSpPr>
                  <a:spLocks/>
                </p:cNvSpPr>
                <p:nvPr/>
              </p:nvSpPr>
              <p:spPr bwMode="auto">
                <a:xfrm>
                  <a:off x="5873750" y="1263650"/>
                  <a:ext cx="1538288" cy="1590675"/>
                </a:xfrm>
                <a:custGeom>
                  <a:avLst/>
                  <a:gdLst>
                    <a:gd name="T0" fmla="*/ 954 w 969"/>
                    <a:gd name="T1" fmla="*/ 424 h 1002"/>
                    <a:gd name="T2" fmla="*/ 828 w 969"/>
                    <a:gd name="T3" fmla="*/ 503 h 1002"/>
                    <a:gd name="T4" fmla="*/ 703 w 969"/>
                    <a:gd name="T5" fmla="*/ 625 h 1002"/>
                    <a:gd name="T6" fmla="*/ 651 w 969"/>
                    <a:gd name="T7" fmla="*/ 768 h 1002"/>
                    <a:gd name="T8" fmla="*/ 668 w 969"/>
                    <a:gd name="T9" fmla="*/ 804 h 1002"/>
                    <a:gd name="T10" fmla="*/ 698 w 969"/>
                    <a:gd name="T11" fmla="*/ 840 h 1002"/>
                    <a:gd name="T12" fmla="*/ 732 w 969"/>
                    <a:gd name="T13" fmla="*/ 955 h 1002"/>
                    <a:gd name="T14" fmla="*/ 698 w 969"/>
                    <a:gd name="T15" fmla="*/ 959 h 1002"/>
                    <a:gd name="T16" fmla="*/ 671 w 969"/>
                    <a:gd name="T17" fmla="*/ 947 h 1002"/>
                    <a:gd name="T18" fmla="*/ 653 w 969"/>
                    <a:gd name="T19" fmla="*/ 949 h 1002"/>
                    <a:gd name="T20" fmla="*/ 628 w 969"/>
                    <a:gd name="T21" fmla="*/ 938 h 1002"/>
                    <a:gd name="T22" fmla="*/ 559 w 969"/>
                    <a:gd name="T23" fmla="*/ 949 h 1002"/>
                    <a:gd name="T24" fmla="*/ 487 w 969"/>
                    <a:gd name="T25" fmla="*/ 968 h 1002"/>
                    <a:gd name="T26" fmla="*/ 419 w 969"/>
                    <a:gd name="T27" fmla="*/ 966 h 1002"/>
                    <a:gd name="T28" fmla="*/ 382 w 969"/>
                    <a:gd name="T29" fmla="*/ 981 h 1002"/>
                    <a:gd name="T30" fmla="*/ 367 w 969"/>
                    <a:gd name="T31" fmla="*/ 998 h 1002"/>
                    <a:gd name="T32" fmla="*/ 340 w 969"/>
                    <a:gd name="T33" fmla="*/ 989 h 1002"/>
                    <a:gd name="T34" fmla="*/ 325 w 969"/>
                    <a:gd name="T35" fmla="*/ 966 h 1002"/>
                    <a:gd name="T36" fmla="*/ 312 w 969"/>
                    <a:gd name="T37" fmla="*/ 945 h 1002"/>
                    <a:gd name="T38" fmla="*/ 301 w 969"/>
                    <a:gd name="T39" fmla="*/ 930 h 1002"/>
                    <a:gd name="T40" fmla="*/ 280 w 969"/>
                    <a:gd name="T41" fmla="*/ 929 h 1002"/>
                    <a:gd name="T42" fmla="*/ 271 w 969"/>
                    <a:gd name="T43" fmla="*/ 917 h 1002"/>
                    <a:gd name="T44" fmla="*/ 256 w 969"/>
                    <a:gd name="T45" fmla="*/ 910 h 1002"/>
                    <a:gd name="T46" fmla="*/ 241 w 969"/>
                    <a:gd name="T47" fmla="*/ 898 h 1002"/>
                    <a:gd name="T48" fmla="*/ 216 w 969"/>
                    <a:gd name="T49" fmla="*/ 889 h 1002"/>
                    <a:gd name="T50" fmla="*/ 209 w 969"/>
                    <a:gd name="T51" fmla="*/ 863 h 1002"/>
                    <a:gd name="T52" fmla="*/ 177 w 969"/>
                    <a:gd name="T53" fmla="*/ 861 h 1002"/>
                    <a:gd name="T54" fmla="*/ 152 w 969"/>
                    <a:gd name="T55" fmla="*/ 868 h 1002"/>
                    <a:gd name="T56" fmla="*/ 124 w 969"/>
                    <a:gd name="T57" fmla="*/ 851 h 1002"/>
                    <a:gd name="T58" fmla="*/ 92 w 969"/>
                    <a:gd name="T59" fmla="*/ 853 h 1002"/>
                    <a:gd name="T60" fmla="*/ 85 w 969"/>
                    <a:gd name="T61" fmla="*/ 868 h 1002"/>
                    <a:gd name="T62" fmla="*/ 68 w 969"/>
                    <a:gd name="T63" fmla="*/ 859 h 1002"/>
                    <a:gd name="T64" fmla="*/ 51 w 969"/>
                    <a:gd name="T65" fmla="*/ 848 h 1002"/>
                    <a:gd name="T66" fmla="*/ 38 w 969"/>
                    <a:gd name="T67" fmla="*/ 836 h 1002"/>
                    <a:gd name="T68" fmla="*/ 8 w 969"/>
                    <a:gd name="T69" fmla="*/ 831 h 1002"/>
                    <a:gd name="T70" fmla="*/ 19 w 969"/>
                    <a:gd name="T71" fmla="*/ 797 h 1002"/>
                    <a:gd name="T72" fmla="*/ 73 w 969"/>
                    <a:gd name="T73" fmla="*/ 735 h 1002"/>
                    <a:gd name="T74" fmla="*/ 139 w 969"/>
                    <a:gd name="T75" fmla="*/ 699 h 1002"/>
                    <a:gd name="T76" fmla="*/ 71 w 969"/>
                    <a:gd name="T77" fmla="*/ 612 h 1002"/>
                    <a:gd name="T78" fmla="*/ 164 w 969"/>
                    <a:gd name="T79" fmla="*/ 546 h 1002"/>
                    <a:gd name="T80" fmla="*/ 203 w 969"/>
                    <a:gd name="T81" fmla="*/ 462 h 1002"/>
                    <a:gd name="T82" fmla="*/ 196 w 969"/>
                    <a:gd name="T83" fmla="*/ 450 h 1002"/>
                    <a:gd name="T84" fmla="*/ 158 w 969"/>
                    <a:gd name="T85" fmla="*/ 467 h 1002"/>
                    <a:gd name="T86" fmla="*/ 122 w 969"/>
                    <a:gd name="T87" fmla="*/ 465 h 1002"/>
                    <a:gd name="T88" fmla="*/ 96 w 969"/>
                    <a:gd name="T89" fmla="*/ 381 h 1002"/>
                    <a:gd name="T90" fmla="*/ 103 w 969"/>
                    <a:gd name="T91" fmla="*/ 319 h 1002"/>
                    <a:gd name="T92" fmla="*/ 83 w 969"/>
                    <a:gd name="T93" fmla="*/ 309 h 1002"/>
                    <a:gd name="T94" fmla="*/ 179 w 969"/>
                    <a:gd name="T95" fmla="*/ 292 h 1002"/>
                    <a:gd name="T96" fmla="*/ 213 w 969"/>
                    <a:gd name="T97" fmla="*/ 328 h 1002"/>
                    <a:gd name="T98" fmla="*/ 258 w 969"/>
                    <a:gd name="T99" fmla="*/ 396 h 1002"/>
                    <a:gd name="T100" fmla="*/ 406 w 969"/>
                    <a:gd name="T101" fmla="*/ 394 h 1002"/>
                    <a:gd name="T102" fmla="*/ 487 w 969"/>
                    <a:gd name="T103" fmla="*/ 296 h 1002"/>
                    <a:gd name="T104" fmla="*/ 540 w 969"/>
                    <a:gd name="T105" fmla="*/ 245 h 1002"/>
                    <a:gd name="T106" fmla="*/ 592 w 969"/>
                    <a:gd name="T107" fmla="*/ 258 h 1002"/>
                    <a:gd name="T108" fmla="*/ 681 w 969"/>
                    <a:gd name="T109" fmla="*/ 153 h 1002"/>
                    <a:gd name="T110" fmla="*/ 745 w 969"/>
                    <a:gd name="T111" fmla="*/ 123 h 1002"/>
                    <a:gd name="T112" fmla="*/ 735 w 969"/>
                    <a:gd name="T113" fmla="*/ 30 h 1002"/>
                    <a:gd name="T114" fmla="*/ 756 w 969"/>
                    <a:gd name="T115" fmla="*/ 17 h 1002"/>
                    <a:gd name="T116" fmla="*/ 803 w 969"/>
                    <a:gd name="T117" fmla="*/ 21 h 1002"/>
                    <a:gd name="T118" fmla="*/ 843 w 969"/>
                    <a:gd name="T119" fmla="*/ 17 h 1002"/>
                    <a:gd name="T120" fmla="*/ 878 w 969"/>
                    <a:gd name="T121" fmla="*/ 21 h 1002"/>
                    <a:gd name="T122" fmla="*/ 914 w 969"/>
                    <a:gd name="T123" fmla="*/ 2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9" h="1002">
                      <a:moveTo>
                        <a:pt x="929" y="2"/>
                      </a:moveTo>
                      <a:lnTo>
                        <a:pt x="931" y="6"/>
                      </a:lnTo>
                      <a:lnTo>
                        <a:pt x="937" y="57"/>
                      </a:lnTo>
                      <a:lnTo>
                        <a:pt x="948" y="76"/>
                      </a:lnTo>
                      <a:lnTo>
                        <a:pt x="955" y="89"/>
                      </a:lnTo>
                      <a:lnTo>
                        <a:pt x="955" y="91"/>
                      </a:lnTo>
                      <a:lnTo>
                        <a:pt x="963" y="134"/>
                      </a:lnTo>
                      <a:lnTo>
                        <a:pt x="961" y="168"/>
                      </a:lnTo>
                      <a:lnTo>
                        <a:pt x="959" y="200"/>
                      </a:lnTo>
                      <a:lnTo>
                        <a:pt x="961" y="234"/>
                      </a:lnTo>
                      <a:lnTo>
                        <a:pt x="963" y="266"/>
                      </a:lnTo>
                      <a:lnTo>
                        <a:pt x="967" y="305"/>
                      </a:lnTo>
                      <a:lnTo>
                        <a:pt x="969" y="324"/>
                      </a:lnTo>
                      <a:lnTo>
                        <a:pt x="967" y="339"/>
                      </a:lnTo>
                      <a:lnTo>
                        <a:pt x="967" y="356"/>
                      </a:lnTo>
                      <a:lnTo>
                        <a:pt x="965" y="375"/>
                      </a:lnTo>
                      <a:lnTo>
                        <a:pt x="965" y="386"/>
                      </a:lnTo>
                      <a:lnTo>
                        <a:pt x="963" y="394"/>
                      </a:lnTo>
                      <a:lnTo>
                        <a:pt x="963" y="396"/>
                      </a:lnTo>
                      <a:lnTo>
                        <a:pt x="963" y="398"/>
                      </a:lnTo>
                      <a:lnTo>
                        <a:pt x="961" y="399"/>
                      </a:lnTo>
                      <a:lnTo>
                        <a:pt x="959" y="403"/>
                      </a:lnTo>
                      <a:lnTo>
                        <a:pt x="957" y="407"/>
                      </a:lnTo>
                      <a:lnTo>
                        <a:pt x="957" y="409"/>
                      </a:lnTo>
                      <a:lnTo>
                        <a:pt x="957" y="411"/>
                      </a:lnTo>
                      <a:lnTo>
                        <a:pt x="955" y="413"/>
                      </a:lnTo>
                      <a:lnTo>
                        <a:pt x="954" y="416"/>
                      </a:lnTo>
                      <a:lnTo>
                        <a:pt x="954" y="418"/>
                      </a:lnTo>
                      <a:lnTo>
                        <a:pt x="954" y="422"/>
                      </a:lnTo>
                      <a:lnTo>
                        <a:pt x="954" y="424"/>
                      </a:lnTo>
                      <a:lnTo>
                        <a:pt x="954" y="426"/>
                      </a:lnTo>
                      <a:lnTo>
                        <a:pt x="954" y="431"/>
                      </a:lnTo>
                      <a:lnTo>
                        <a:pt x="955" y="435"/>
                      </a:lnTo>
                      <a:lnTo>
                        <a:pt x="957" y="435"/>
                      </a:lnTo>
                      <a:lnTo>
                        <a:pt x="959" y="452"/>
                      </a:lnTo>
                      <a:lnTo>
                        <a:pt x="961" y="464"/>
                      </a:lnTo>
                      <a:lnTo>
                        <a:pt x="961" y="469"/>
                      </a:lnTo>
                      <a:lnTo>
                        <a:pt x="959" y="479"/>
                      </a:lnTo>
                      <a:lnTo>
                        <a:pt x="954" y="484"/>
                      </a:lnTo>
                      <a:lnTo>
                        <a:pt x="952" y="492"/>
                      </a:lnTo>
                      <a:lnTo>
                        <a:pt x="950" y="497"/>
                      </a:lnTo>
                      <a:lnTo>
                        <a:pt x="948" y="503"/>
                      </a:lnTo>
                      <a:lnTo>
                        <a:pt x="946" y="511"/>
                      </a:lnTo>
                      <a:lnTo>
                        <a:pt x="944" y="518"/>
                      </a:lnTo>
                      <a:lnTo>
                        <a:pt x="942" y="526"/>
                      </a:lnTo>
                      <a:lnTo>
                        <a:pt x="952" y="558"/>
                      </a:lnTo>
                      <a:lnTo>
                        <a:pt x="937" y="565"/>
                      </a:lnTo>
                      <a:lnTo>
                        <a:pt x="927" y="569"/>
                      </a:lnTo>
                      <a:lnTo>
                        <a:pt x="925" y="571"/>
                      </a:lnTo>
                      <a:lnTo>
                        <a:pt x="914" y="563"/>
                      </a:lnTo>
                      <a:lnTo>
                        <a:pt x="907" y="558"/>
                      </a:lnTo>
                      <a:lnTo>
                        <a:pt x="899" y="552"/>
                      </a:lnTo>
                      <a:lnTo>
                        <a:pt x="897" y="552"/>
                      </a:lnTo>
                      <a:lnTo>
                        <a:pt x="888" y="544"/>
                      </a:lnTo>
                      <a:lnTo>
                        <a:pt x="858" y="524"/>
                      </a:lnTo>
                      <a:lnTo>
                        <a:pt x="854" y="520"/>
                      </a:lnTo>
                      <a:lnTo>
                        <a:pt x="843" y="512"/>
                      </a:lnTo>
                      <a:lnTo>
                        <a:pt x="829" y="505"/>
                      </a:lnTo>
                      <a:lnTo>
                        <a:pt x="829" y="503"/>
                      </a:lnTo>
                      <a:lnTo>
                        <a:pt x="828" y="503"/>
                      </a:lnTo>
                      <a:lnTo>
                        <a:pt x="824" y="499"/>
                      </a:lnTo>
                      <a:lnTo>
                        <a:pt x="822" y="499"/>
                      </a:lnTo>
                      <a:lnTo>
                        <a:pt x="811" y="490"/>
                      </a:lnTo>
                      <a:lnTo>
                        <a:pt x="799" y="494"/>
                      </a:lnTo>
                      <a:lnTo>
                        <a:pt x="784" y="497"/>
                      </a:lnTo>
                      <a:lnTo>
                        <a:pt x="771" y="516"/>
                      </a:lnTo>
                      <a:lnTo>
                        <a:pt x="750" y="535"/>
                      </a:lnTo>
                      <a:lnTo>
                        <a:pt x="743" y="543"/>
                      </a:lnTo>
                      <a:lnTo>
                        <a:pt x="737" y="546"/>
                      </a:lnTo>
                      <a:lnTo>
                        <a:pt x="735" y="548"/>
                      </a:lnTo>
                      <a:lnTo>
                        <a:pt x="735" y="550"/>
                      </a:lnTo>
                      <a:lnTo>
                        <a:pt x="735" y="552"/>
                      </a:lnTo>
                      <a:lnTo>
                        <a:pt x="735" y="554"/>
                      </a:lnTo>
                      <a:lnTo>
                        <a:pt x="735" y="556"/>
                      </a:lnTo>
                      <a:lnTo>
                        <a:pt x="734" y="558"/>
                      </a:lnTo>
                      <a:lnTo>
                        <a:pt x="734" y="560"/>
                      </a:lnTo>
                      <a:lnTo>
                        <a:pt x="734" y="561"/>
                      </a:lnTo>
                      <a:lnTo>
                        <a:pt x="734" y="563"/>
                      </a:lnTo>
                      <a:lnTo>
                        <a:pt x="734" y="565"/>
                      </a:lnTo>
                      <a:lnTo>
                        <a:pt x="732" y="567"/>
                      </a:lnTo>
                      <a:lnTo>
                        <a:pt x="732" y="569"/>
                      </a:lnTo>
                      <a:lnTo>
                        <a:pt x="730" y="571"/>
                      </a:lnTo>
                      <a:lnTo>
                        <a:pt x="728" y="576"/>
                      </a:lnTo>
                      <a:lnTo>
                        <a:pt x="726" y="578"/>
                      </a:lnTo>
                      <a:lnTo>
                        <a:pt x="726" y="580"/>
                      </a:lnTo>
                      <a:lnTo>
                        <a:pt x="722" y="590"/>
                      </a:lnTo>
                      <a:lnTo>
                        <a:pt x="718" y="597"/>
                      </a:lnTo>
                      <a:lnTo>
                        <a:pt x="717" y="601"/>
                      </a:lnTo>
                      <a:lnTo>
                        <a:pt x="709" y="616"/>
                      </a:lnTo>
                      <a:lnTo>
                        <a:pt x="703" y="625"/>
                      </a:lnTo>
                      <a:lnTo>
                        <a:pt x="702" y="631"/>
                      </a:lnTo>
                      <a:lnTo>
                        <a:pt x="698" y="639"/>
                      </a:lnTo>
                      <a:lnTo>
                        <a:pt x="696" y="642"/>
                      </a:lnTo>
                      <a:lnTo>
                        <a:pt x="694" y="644"/>
                      </a:lnTo>
                      <a:lnTo>
                        <a:pt x="679" y="659"/>
                      </a:lnTo>
                      <a:lnTo>
                        <a:pt x="677" y="661"/>
                      </a:lnTo>
                      <a:lnTo>
                        <a:pt x="675" y="663"/>
                      </a:lnTo>
                      <a:lnTo>
                        <a:pt x="673" y="671"/>
                      </a:lnTo>
                      <a:lnTo>
                        <a:pt x="670" y="674"/>
                      </a:lnTo>
                      <a:lnTo>
                        <a:pt x="668" y="680"/>
                      </a:lnTo>
                      <a:lnTo>
                        <a:pt x="662" y="686"/>
                      </a:lnTo>
                      <a:lnTo>
                        <a:pt x="660" y="688"/>
                      </a:lnTo>
                      <a:lnTo>
                        <a:pt x="658" y="695"/>
                      </a:lnTo>
                      <a:lnTo>
                        <a:pt x="656" y="697"/>
                      </a:lnTo>
                      <a:lnTo>
                        <a:pt x="655" y="703"/>
                      </a:lnTo>
                      <a:lnTo>
                        <a:pt x="653" y="714"/>
                      </a:lnTo>
                      <a:lnTo>
                        <a:pt x="653" y="721"/>
                      </a:lnTo>
                      <a:lnTo>
                        <a:pt x="651" y="725"/>
                      </a:lnTo>
                      <a:lnTo>
                        <a:pt x="651" y="727"/>
                      </a:lnTo>
                      <a:lnTo>
                        <a:pt x="651" y="733"/>
                      </a:lnTo>
                      <a:lnTo>
                        <a:pt x="651" y="738"/>
                      </a:lnTo>
                      <a:lnTo>
                        <a:pt x="651" y="744"/>
                      </a:lnTo>
                      <a:lnTo>
                        <a:pt x="651" y="750"/>
                      </a:lnTo>
                      <a:lnTo>
                        <a:pt x="651" y="755"/>
                      </a:lnTo>
                      <a:lnTo>
                        <a:pt x="651" y="757"/>
                      </a:lnTo>
                      <a:lnTo>
                        <a:pt x="651" y="759"/>
                      </a:lnTo>
                      <a:lnTo>
                        <a:pt x="651" y="761"/>
                      </a:lnTo>
                      <a:lnTo>
                        <a:pt x="651" y="765"/>
                      </a:lnTo>
                      <a:lnTo>
                        <a:pt x="651" y="767"/>
                      </a:lnTo>
                      <a:lnTo>
                        <a:pt x="651" y="768"/>
                      </a:lnTo>
                      <a:lnTo>
                        <a:pt x="651" y="772"/>
                      </a:lnTo>
                      <a:lnTo>
                        <a:pt x="651" y="774"/>
                      </a:lnTo>
                      <a:lnTo>
                        <a:pt x="651" y="776"/>
                      </a:lnTo>
                      <a:lnTo>
                        <a:pt x="651" y="778"/>
                      </a:lnTo>
                      <a:lnTo>
                        <a:pt x="651" y="780"/>
                      </a:lnTo>
                      <a:lnTo>
                        <a:pt x="651" y="782"/>
                      </a:lnTo>
                      <a:lnTo>
                        <a:pt x="651" y="784"/>
                      </a:lnTo>
                      <a:lnTo>
                        <a:pt x="651" y="785"/>
                      </a:lnTo>
                      <a:lnTo>
                        <a:pt x="653" y="791"/>
                      </a:lnTo>
                      <a:lnTo>
                        <a:pt x="653" y="793"/>
                      </a:lnTo>
                      <a:lnTo>
                        <a:pt x="653" y="795"/>
                      </a:lnTo>
                      <a:lnTo>
                        <a:pt x="653" y="797"/>
                      </a:lnTo>
                      <a:lnTo>
                        <a:pt x="653" y="799"/>
                      </a:lnTo>
                      <a:lnTo>
                        <a:pt x="653" y="802"/>
                      </a:lnTo>
                      <a:lnTo>
                        <a:pt x="653" y="804"/>
                      </a:lnTo>
                      <a:lnTo>
                        <a:pt x="653" y="806"/>
                      </a:lnTo>
                      <a:lnTo>
                        <a:pt x="655" y="806"/>
                      </a:lnTo>
                      <a:lnTo>
                        <a:pt x="655" y="808"/>
                      </a:lnTo>
                      <a:lnTo>
                        <a:pt x="655" y="810"/>
                      </a:lnTo>
                      <a:lnTo>
                        <a:pt x="656" y="810"/>
                      </a:lnTo>
                      <a:lnTo>
                        <a:pt x="656" y="812"/>
                      </a:lnTo>
                      <a:lnTo>
                        <a:pt x="658" y="812"/>
                      </a:lnTo>
                      <a:lnTo>
                        <a:pt x="660" y="810"/>
                      </a:lnTo>
                      <a:lnTo>
                        <a:pt x="660" y="808"/>
                      </a:lnTo>
                      <a:lnTo>
                        <a:pt x="662" y="808"/>
                      </a:lnTo>
                      <a:lnTo>
                        <a:pt x="662" y="806"/>
                      </a:lnTo>
                      <a:lnTo>
                        <a:pt x="664" y="806"/>
                      </a:lnTo>
                      <a:lnTo>
                        <a:pt x="664" y="804"/>
                      </a:lnTo>
                      <a:lnTo>
                        <a:pt x="666" y="804"/>
                      </a:lnTo>
                      <a:lnTo>
                        <a:pt x="668" y="804"/>
                      </a:lnTo>
                      <a:lnTo>
                        <a:pt x="670" y="804"/>
                      </a:lnTo>
                      <a:lnTo>
                        <a:pt x="671" y="802"/>
                      </a:lnTo>
                      <a:lnTo>
                        <a:pt x="671" y="800"/>
                      </a:lnTo>
                      <a:lnTo>
                        <a:pt x="673" y="800"/>
                      </a:lnTo>
                      <a:lnTo>
                        <a:pt x="675" y="800"/>
                      </a:lnTo>
                      <a:lnTo>
                        <a:pt x="675" y="799"/>
                      </a:lnTo>
                      <a:lnTo>
                        <a:pt x="675" y="797"/>
                      </a:lnTo>
                      <a:lnTo>
                        <a:pt x="675" y="795"/>
                      </a:lnTo>
                      <a:lnTo>
                        <a:pt x="677" y="795"/>
                      </a:lnTo>
                      <a:lnTo>
                        <a:pt x="677" y="800"/>
                      </a:lnTo>
                      <a:lnTo>
                        <a:pt x="677" y="806"/>
                      </a:lnTo>
                      <a:lnTo>
                        <a:pt x="679" y="814"/>
                      </a:lnTo>
                      <a:lnTo>
                        <a:pt x="681" y="814"/>
                      </a:lnTo>
                      <a:lnTo>
                        <a:pt x="681" y="816"/>
                      </a:lnTo>
                      <a:lnTo>
                        <a:pt x="683" y="817"/>
                      </a:lnTo>
                      <a:lnTo>
                        <a:pt x="685" y="819"/>
                      </a:lnTo>
                      <a:lnTo>
                        <a:pt x="687" y="821"/>
                      </a:lnTo>
                      <a:lnTo>
                        <a:pt x="688" y="823"/>
                      </a:lnTo>
                      <a:lnTo>
                        <a:pt x="690" y="825"/>
                      </a:lnTo>
                      <a:lnTo>
                        <a:pt x="692" y="825"/>
                      </a:lnTo>
                      <a:lnTo>
                        <a:pt x="692" y="827"/>
                      </a:lnTo>
                      <a:lnTo>
                        <a:pt x="694" y="827"/>
                      </a:lnTo>
                      <a:lnTo>
                        <a:pt x="694" y="829"/>
                      </a:lnTo>
                      <a:lnTo>
                        <a:pt x="696" y="829"/>
                      </a:lnTo>
                      <a:lnTo>
                        <a:pt x="698" y="829"/>
                      </a:lnTo>
                      <a:lnTo>
                        <a:pt x="698" y="831"/>
                      </a:lnTo>
                      <a:lnTo>
                        <a:pt x="698" y="834"/>
                      </a:lnTo>
                      <a:lnTo>
                        <a:pt x="698" y="836"/>
                      </a:lnTo>
                      <a:lnTo>
                        <a:pt x="698" y="838"/>
                      </a:lnTo>
                      <a:lnTo>
                        <a:pt x="698" y="840"/>
                      </a:lnTo>
                      <a:lnTo>
                        <a:pt x="698" y="842"/>
                      </a:lnTo>
                      <a:lnTo>
                        <a:pt x="698" y="846"/>
                      </a:lnTo>
                      <a:lnTo>
                        <a:pt x="696" y="848"/>
                      </a:lnTo>
                      <a:lnTo>
                        <a:pt x="696" y="849"/>
                      </a:lnTo>
                      <a:lnTo>
                        <a:pt x="694" y="851"/>
                      </a:lnTo>
                      <a:lnTo>
                        <a:pt x="694" y="853"/>
                      </a:lnTo>
                      <a:lnTo>
                        <a:pt x="696" y="859"/>
                      </a:lnTo>
                      <a:lnTo>
                        <a:pt x="700" y="866"/>
                      </a:lnTo>
                      <a:lnTo>
                        <a:pt x="709" y="876"/>
                      </a:lnTo>
                      <a:lnTo>
                        <a:pt x="713" y="880"/>
                      </a:lnTo>
                      <a:lnTo>
                        <a:pt x="720" y="883"/>
                      </a:lnTo>
                      <a:lnTo>
                        <a:pt x="722" y="887"/>
                      </a:lnTo>
                      <a:lnTo>
                        <a:pt x="722" y="889"/>
                      </a:lnTo>
                      <a:lnTo>
                        <a:pt x="739" y="910"/>
                      </a:lnTo>
                      <a:lnTo>
                        <a:pt x="743" y="913"/>
                      </a:lnTo>
                      <a:lnTo>
                        <a:pt x="758" y="919"/>
                      </a:lnTo>
                      <a:lnTo>
                        <a:pt x="764" y="921"/>
                      </a:lnTo>
                      <a:lnTo>
                        <a:pt x="775" y="927"/>
                      </a:lnTo>
                      <a:lnTo>
                        <a:pt x="773" y="929"/>
                      </a:lnTo>
                      <a:lnTo>
                        <a:pt x="769" y="932"/>
                      </a:lnTo>
                      <a:lnTo>
                        <a:pt x="767" y="934"/>
                      </a:lnTo>
                      <a:lnTo>
                        <a:pt x="766" y="936"/>
                      </a:lnTo>
                      <a:lnTo>
                        <a:pt x="764" y="940"/>
                      </a:lnTo>
                      <a:lnTo>
                        <a:pt x="756" y="947"/>
                      </a:lnTo>
                      <a:lnTo>
                        <a:pt x="754" y="951"/>
                      </a:lnTo>
                      <a:lnTo>
                        <a:pt x="752" y="953"/>
                      </a:lnTo>
                      <a:lnTo>
                        <a:pt x="747" y="962"/>
                      </a:lnTo>
                      <a:lnTo>
                        <a:pt x="739" y="961"/>
                      </a:lnTo>
                      <a:lnTo>
                        <a:pt x="737" y="959"/>
                      </a:lnTo>
                      <a:lnTo>
                        <a:pt x="732" y="955"/>
                      </a:lnTo>
                      <a:lnTo>
                        <a:pt x="730" y="953"/>
                      </a:lnTo>
                      <a:lnTo>
                        <a:pt x="730" y="951"/>
                      </a:lnTo>
                      <a:lnTo>
                        <a:pt x="728" y="951"/>
                      </a:lnTo>
                      <a:lnTo>
                        <a:pt x="726" y="951"/>
                      </a:lnTo>
                      <a:lnTo>
                        <a:pt x="726" y="953"/>
                      </a:lnTo>
                      <a:lnTo>
                        <a:pt x="724" y="953"/>
                      </a:lnTo>
                      <a:lnTo>
                        <a:pt x="724" y="955"/>
                      </a:lnTo>
                      <a:lnTo>
                        <a:pt x="722" y="955"/>
                      </a:lnTo>
                      <a:lnTo>
                        <a:pt x="722" y="953"/>
                      </a:lnTo>
                      <a:lnTo>
                        <a:pt x="720" y="953"/>
                      </a:lnTo>
                      <a:lnTo>
                        <a:pt x="718" y="953"/>
                      </a:lnTo>
                      <a:lnTo>
                        <a:pt x="717" y="955"/>
                      </a:lnTo>
                      <a:lnTo>
                        <a:pt x="717" y="957"/>
                      </a:lnTo>
                      <a:lnTo>
                        <a:pt x="715" y="957"/>
                      </a:lnTo>
                      <a:lnTo>
                        <a:pt x="713" y="957"/>
                      </a:lnTo>
                      <a:lnTo>
                        <a:pt x="713" y="955"/>
                      </a:lnTo>
                      <a:lnTo>
                        <a:pt x="711" y="955"/>
                      </a:lnTo>
                      <a:lnTo>
                        <a:pt x="711" y="957"/>
                      </a:lnTo>
                      <a:lnTo>
                        <a:pt x="709" y="957"/>
                      </a:lnTo>
                      <a:lnTo>
                        <a:pt x="709" y="959"/>
                      </a:lnTo>
                      <a:lnTo>
                        <a:pt x="709" y="961"/>
                      </a:lnTo>
                      <a:lnTo>
                        <a:pt x="709" y="959"/>
                      </a:lnTo>
                      <a:lnTo>
                        <a:pt x="707" y="959"/>
                      </a:lnTo>
                      <a:lnTo>
                        <a:pt x="707" y="957"/>
                      </a:lnTo>
                      <a:lnTo>
                        <a:pt x="705" y="957"/>
                      </a:lnTo>
                      <a:lnTo>
                        <a:pt x="705" y="959"/>
                      </a:lnTo>
                      <a:lnTo>
                        <a:pt x="703" y="959"/>
                      </a:lnTo>
                      <a:lnTo>
                        <a:pt x="702" y="959"/>
                      </a:lnTo>
                      <a:lnTo>
                        <a:pt x="700" y="959"/>
                      </a:lnTo>
                      <a:lnTo>
                        <a:pt x="698" y="959"/>
                      </a:lnTo>
                      <a:lnTo>
                        <a:pt x="698" y="961"/>
                      </a:lnTo>
                      <a:lnTo>
                        <a:pt x="696" y="961"/>
                      </a:lnTo>
                      <a:lnTo>
                        <a:pt x="694" y="961"/>
                      </a:lnTo>
                      <a:lnTo>
                        <a:pt x="692" y="959"/>
                      </a:lnTo>
                      <a:lnTo>
                        <a:pt x="692" y="961"/>
                      </a:lnTo>
                      <a:lnTo>
                        <a:pt x="690" y="961"/>
                      </a:lnTo>
                      <a:lnTo>
                        <a:pt x="690" y="962"/>
                      </a:lnTo>
                      <a:lnTo>
                        <a:pt x="688" y="962"/>
                      </a:lnTo>
                      <a:lnTo>
                        <a:pt x="688" y="961"/>
                      </a:lnTo>
                      <a:lnTo>
                        <a:pt x="688" y="959"/>
                      </a:lnTo>
                      <a:lnTo>
                        <a:pt x="688" y="957"/>
                      </a:lnTo>
                      <a:lnTo>
                        <a:pt x="688" y="955"/>
                      </a:lnTo>
                      <a:lnTo>
                        <a:pt x="687" y="955"/>
                      </a:lnTo>
                      <a:lnTo>
                        <a:pt x="687" y="953"/>
                      </a:lnTo>
                      <a:lnTo>
                        <a:pt x="685" y="953"/>
                      </a:lnTo>
                      <a:lnTo>
                        <a:pt x="685" y="951"/>
                      </a:lnTo>
                      <a:lnTo>
                        <a:pt x="685" y="949"/>
                      </a:lnTo>
                      <a:lnTo>
                        <a:pt x="685" y="947"/>
                      </a:lnTo>
                      <a:lnTo>
                        <a:pt x="685" y="945"/>
                      </a:lnTo>
                      <a:lnTo>
                        <a:pt x="685" y="944"/>
                      </a:lnTo>
                      <a:lnTo>
                        <a:pt x="683" y="944"/>
                      </a:lnTo>
                      <a:lnTo>
                        <a:pt x="681" y="944"/>
                      </a:lnTo>
                      <a:lnTo>
                        <a:pt x="681" y="945"/>
                      </a:lnTo>
                      <a:lnTo>
                        <a:pt x="681" y="944"/>
                      </a:lnTo>
                      <a:lnTo>
                        <a:pt x="679" y="944"/>
                      </a:lnTo>
                      <a:lnTo>
                        <a:pt x="679" y="945"/>
                      </a:lnTo>
                      <a:lnTo>
                        <a:pt x="677" y="945"/>
                      </a:lnTo>
                      <a:lnTo>
                        <a:pt x="675" y="945"/>
                      </a:lnTo>
                      <a:lnTo>
                        <a:pt x="673" y="945"/>
                      </a:lnTo>
                      <a:lnTo>
                        <a:pt x="671" y="947"/>
                      </a:lnTo>
                      <a:lnTo>
                        <a:pt x="671" y="945"/>
                      </a:lnTo>
                      <a:lnTo>
                        <a:pt x="670" y="945"/>
                      </a:lnTo>
                      <a:lnTo>
                        <a:pt x="670" y="947"/>
                      </a:lnTo>
                      <a:lnTo>
                        <a:pt x="670" y="949"/>
                      </a:lnTo>
                      <a:lnTo>
                        <a:pt x="670" y="951"/>
                      </a:lnTo>
                      <a:lnTo>
                        <a:pt x="668" y="953"/>
                      </a:lnTo>
                      <a:lnTo>
                        <a:pt x="670" y="953"/>
                      </a:lnTo>
                      <a:lnTo>
                        <a:pt x="668" y="953"/>
                      </a:lnTo>
                      <a:lnTo>
                        <a:pt x="668" y="955"/>
                      </a:lnTo>
                      <a:lnTo>
                        <a:pt x="666" y="955"/>
                      </a:lnTo>
                      <a:lnTo>
                        <a:pt x="664" y="955"/>
                      </a:lnTo>
                      <a:lnTo>
                        <a:pt x="664" y="957"/>
                      </a:lnTo>
                      <a:lnTo>
                        <a:pt x="662" y="957"/>
                      </a:lnTo>
                      <a:lnTo>
                        <a:pt x="660" y="957"/>
                      </a:lnTo>
                      <a:lnTo>
                        <a:pt x="658" y="957"/>
                      </a:lnTo>
                      <a:lnTo>
                        <a:pt x="658" y="959"/>
                      </a:lnTo>
                      <a:lnTo>
                        <a:pt x="658" y="957"/>
                      </a:lnTo>
                      <a:lnTo>
                        <a:pt x="658" y="955"/>
                      </a:lnTo>
                      <a:lnTo>
                        <a:pt x="660" y="955"/>
                      </a:lnTo>
                      <a:lnTo>
                        <a:pt x="658" y="953"/>
                      </a:lnTo>
                      <a:lnTo>
                        <a:pt x="656" y="953"/>
                      </a:lnTo>
                      <a:lnTo>
                        <a:pt x="655" y="953"/>
                      </a:lnTo>
                      <a:lnTo>
                        <a:pt x="656" y="953"/>
                      </a:lnTo>
                      <a:lnTo>
                        <a:pt x="656" y="951"/>
                      </a:lnTo>
                      <a:lnTo>
                        <a:pt x="655" y="951"/>
                      </a:lnTo>
                      <a:lnTo>
                        <a:pt x="655" y="953"/>
                      </a:lnTo>
                      <a:lnTo>
                        <a:pt x="653" y="951"/>
                      </a:lnTo>
                      <a:lnTo>
                        <a:pt x="655" y="951"/>
                      </a:lnTo>
                      <a:lnTo>
                        <a:pt x="655" y="949"/>
                      </a:lnTo>
                      <a:lnTo>
                        <a:pt x="653" y="949"/>
                      </a:lnTo>
                      <a:lnTo>
                        <a:pt x="651" y="949"/>
                      </a:lnTo>
                      <a:lnTo>
                        <a:pt x="651" y="947"/>
                      </a:lnTo>
                      <a:lnTo>
                        <a:pt x="651" y="945"/>
                      </a:lnTo>
                      <a:lnTo>
                        <a:pt x="649" y="945"/>
                      </a:lnTo>
                      <a:lnTo>
                        <a:pt x="649" y="947"/>
                      </a:lnTo>
                      <a:lnTo>
                        <a:pt x="647" y="947"/>
                      </a:lnTo>
                      <a:lnTo>
                        <a:pt x="647" y="945"/>
                      </a:lnTo>
                      <a:lnTo>
                        <a:pt x="647" y="947"/>
                      </a:lnTo>
                      <a:lnTo>
                        <a:pt x="649" y="947"/>
                      </a:lnTo>
                      <a:lnTo>
                        <a:pt x="649" y="949"/>
                      </a:lnTo>
                      <a:lnTo>
                        <a:pt x="647" y="949"/>
                      </a:lnTo>
                      <a:lnTo>
                        <a:pt x="645" y="949"/>
                      </a:lnTo>
                      <a:lnTo>
                        <a:pt x="645" y="947"/>
                      </a:lnTo>
                      <a:lnTo>
                        <a:pt x="643" y="947"/>
                      </a:lnTo>
                      <a:lnTo>
                        <a:pt x="643" y="945"/>
                      </a:lnTo>
                      <a:lnTo>
                        <a:pt x="643" y="944"/>
                      </a:lnTo>
                      <a:lnTo>
                        <a:pt x="641" y="944"/>
                      </a:lnTo>
                      <a:lnTo>
                        <a:pt x="641" y="942"/>
                      </a:lnTo>
                      <a:lnTo>
                        <a:pt x="639" y="942"/>
                      </a:lnTo>
                      <a:lnTo>
                        <a:pt x="639" y="944"/>
                      </a:lnTo>
                      <a:lnTo>
                        <a:pt x="638" y="944"/>
                      </a:lnTo>
                      <a:lnTo>
                        <a:pt x="638" y="942"/>
                      </a:lnTo>
                      <a:lnTo>
                        <a:pt x="638" y="940"/>
                      </a:lnTo>
                      <a:lnTo>
                        <a:pt x="636" y="942"/>
                      </a:lnTo>
                      <a:lnTo>
                        <a:pt x="634" y="942"/>
                      </a:lnTo>
                      <a:lnTo>
                        <a:pt x="634" y="940"/>
                      </a:lnTo>
                      <a:lnTo>
                        <a:pt x="632" y="940"/>
                      </a:lnTo>
                      <a:lnTo>
                        <a:pt x="632" y="938"/>
                      </a:lnTo>
                      <a:lnTo>
                        <a:pt x="630" y="938"/>
                      </a:lnTo>
                      <a:lnTo>
                        <a:pt x="628" y="938"/>
                      </a:lnTo>
                      <a:lnTo>
                        <a:pt x="617" y="938"/>
                      </a:lnTo>
                      <a:lnTo>
                        <a:pt x="608" y="944"/>
                      </a:lnTo>
                      <a:lnTo>
                        <a:pt x="600" y="949"/>
                      </a:lnTo>
                      <a:lnTo>
                        <a:pt x="598" y="949"/>
                      </a:lnTo>
                      <a:lnTo>
                        <a:pt x="596" y="949"/>
                      </a:lnTo>
                      <a:lnTo>
                        <a:pt x="594" y="949"/>
                      </a:lnTo>
                      <a:lnTo>
                        <a:pt x="592" y="949"/>
                      </a:lnTo>
                      <a:lnTo>
                        <a:pt x="591" y="951"/>
                      </a:lnTo>
                      <a:lnTo>
                        <a:pt x="591" y="949"/>
                      </a:lnTo>
                      <a:lnTo>
                        <a:pt x="589" y="949"/>
                      </a:lnTo>
                      <a:lnTo>
                        <a:pt x="587" y="949"/>
                      </a:lnTo>
                      <a:lnTo>
                        <a:pt x="587" y="947"/>
                      </a:lnTo>
                      <a:lnTo>
                        <a:pt x="585" y="947"/>
                      </a:lnTo>
                      <a:lnTo>
                        <a:pt x="583" y="947"/>
                      </a:lnTo>
                      <a:lnTo>
                        <a:pt x="581" y="947"/>
                      </a:lnTo>
                      <a:lnTo>
                        <a:pt x="581" y="945"/>
                      </a:lnTo>
                      <a:lnTo>
                        <a:pt x="579" y="945"/>
                      </a:lnTo>
                      <a:lnTo>
                        <a:pt x="577" y="945"/>
                      </a:lnTo>
                      <a:lnTo>
                        <a:pt x="576" y="945"/>
                      </a:lnTo>
                      <a:lnTo>
                        <a:pt x="574" y="945"/>
                      </a:lnTo>
                      <a:lnTo>
                        <a:pt x="574" y="947"/>
                      </a:lnTo>
                      <a:lnTo>
                        <a:pt x="572" y="947"/>
                      </a:lnTo>
                      <a:lnTo>
                        <a:pt x="570" y="947"/>
                      </a:lnTo>
                      <a:lnTo>
                        <a:pt x="568" y="949"/>
                      </a:lnTo>
                      <a:lnTo>
                        <a:pt x="566" y="949"/>
                      </a:lnTo>
                      <a:lnTo>
                        <a:pt x="564" y="949"/>
                      </a:lnTo>
                      <a:lnTo>
                        <a:pt x="562" y="949"/>
                      </a:lnTo>
                      <a:lnTo>
                        <a:pt x="562" y="951"/>
                      </a:lnTo>
                      <a:lnTo>
                        <a:pt x="562" y="949"/>
                      </a:lnTo>
                      <a:lnTo>
                        <a:pt x="559" y="949"/>
                      </a:lnTo>
                      <a:lnTo>
                        <a:pt x="557" y="947"/>
                      </a:lnTo>
                      <a:lnTo>
                        <a:pt x="557" y="940"/>
                      </a:lnTo>
                      <a:lnTo>
                        <a:pt x="557" y="938"/>
                      </a:lnTo>
                      <a:lnTo>
                        <a:pt x="557" y="934"/>
                      </a:lnTo>
                      <a:lnTo>
                        <a:pt x="549" y="934"/>
                      </a:lnTo>
                      <a:lnTo>
                        <a:pt x="542" y="932"/>
                      </a:lnTo>
                      <a:lnTo>
                        <a:pt x="542" y="934"/>
                      </a:lnTo>
                      <a:lnTo>
                        <a:pt x="542" y="938"/>
                      </a:lnTo>
                      <a:lnTo>
                        <a:pt x="542" y="945"/>
                      </a:lnTo>
                      <a:lnTo>
                        <a:pt x="536" y="944"/>
                      </a:lnTo>
                      <a:lnTo>
                        <a:pt x="532" y="942"/>
                      </a:lnTo>
                      <a:lnTo>
                        <a:pt x="530" y="944"/>
                      </a:lnTo>
                      <a:lnTo>
                        <a:pt x="525" y="947"/>
                      </a:lnTo>
                      <a:lnTo>
                        <a:pt x="521" y="947"/>
                      </a:lnTo>
                      <a:lnTo>
                        <a:pt x="521" y="951"/>
                      </a:lnTo>
                      <a:lnTo>
                        <a:pt x="519" y="951"/>
                      </a:lnTo>
                      <a:lnTo>
                        <a:pt x="521" y="957"/>
                      </a:lnTo>
                      <a:lnTo>
                        <a:pt x="519" y="962"/>
                      </a:lnTo>
                      <a:lnTo>
                        <a:pt x="513" y="962"/>
                      </a:lnTo>
                      <a:lnTo>
                        <a:pt x="512" y="962"/>
                      </a:lnTo>
                      <a:lnTo>
                        <a:pt x="512" y="964"/>
                      </a:lnTo>
                      <a:lnTo>
                        <a:pt x="510" y="964"/>
                      </a:lnTo>
                      <a:lnTo>
                        <a:pt x="508" y="966"/>
                      </a:lnTo>
                      <a:lnTo>
                        <a:pt x="508" y="961"/>
                      </a:lnTo>
                      <a:lnTo>
                        <a:pt x="498" y="959"/>
                      </a:lnTo>
                      <a:lnTo>
                        <a:pt x="497" y="962"/>
                      </a:lnTo>
                      <a:lnTo>
                        <a:pt x="495" y="964"/>
                      </a:lnTo>
                      <a:lnTo>
                        <a:pt x="491" y="968"/>
                      </a:lnTo>
                      <a:lnTo>
                        <a:pt x="489" y="968"/>
                      </a:lnTo>
                      <a:lnTo>
                        <a:pt x="487" y="968"/>
                      </a:lnTo>
                      <a:lnTo>
                        <a:pt x="487" y="970"/>
                      </a:lnTo>
                      <a:lnTo>
                        <a:pt x="487" y="972"/>
                      </a:lnTo>
                      <a:lnTo>
                        <a:pt x="487" y="974"/>
                      </a:lnTo>
                      <a:lnTo>
                        <a:pt x="485" y="976"/>
                      </a:lnTo>
                      <a:lnTo>
                        <a:pt x="480" y="970"/>
                      </a:lnTo>
                      <a:lnTo>
                        <a:pt x="478" y="968"/>
                      </a:lnTo>
                      <a:lnTo>
                        <a:pt x="476" y="966"/>
                      </a:lnTo>
                      <a:lnTo>
                        <a:pt x="470" y="962"/>
                      </a:lnTo>
                      <a:lnTo>
                        <a:pt x="468" y="962"/>
                      </a:lnTo>
                      <a:lnTo>
                        <a:pt x="466" y="961"/>
                      </a:lnTo>
                      <a:lnTo>
                        <a:pt x="463" y="964"/>
                      </a:lnTo>
                      <a:lnTo>
                        <a:pt x="461" y="966"/>
                      </a:lnTo>
                      <a:lnTo>
                        <a:pt x="461" y="968"/>
                      </a:lnTo>
                      <a:lnTo>
                        <a:pt x="459" y="968"/>
                      </a:lnTo>
                      <a:lnTo>
                        <a:pt x="457" y="968"/>
                      </a:lnTo>
                      <a:lnTo>
                        <a:pt x="455" y="970"/>
                      </a:lnTo>
                      <a:lnTo>
                        <a:pt x="453" y="970"/>
                      </a:lnTo>
                      <a:lnTo>
                        <a:pt x="451" y="970"/>
                      </a:lnTo>
                      <a:lnTo>
                        <a:pt x="450" y="970"/>
                      </a:lnTo>
                      <a:lnTo>
                        <a:pt x="450" y="968"/>
                      </a:lnTo>
                      <a:lnTo>
                        <a:pt x="448" y="968"/>
                      </a:lnTo>
                      <a:lnTo>
                        <a:pt x="444" y="962"/>
                      </a:lnTo>
                      <a:lnTo>
                        <a:pt x="442" y="962"/>
                      </a:lnTo>
                      <a:lnTo>
                        <a:pt x="436" y="961"/>
                      </a:lnTo>
                      <a:lnTo>
                        <a:pt x="427" y="959"/>
                      </a:lnTo>
                      <a:lnTo>
                        <a:pt x="425" y="962"/>
                      </a:lnTo>
                      <a:lnTo>
                        <a:pt x="425" y="964"/>
                      </a:lnTo>
                      <a:lnTo>
                        <a:pt x="423" y="966"/>
                      </a:lnTo>
                      <a:lnTo>
                        <a:pt x="421" y="966"/>
                      </a:lnTo>
                      <a:lnTo>
                        <a:pt x="419" y="966"/>
                      </a:lnTo>
                      <a:lnTo>
                        <a:pt x="419" y="964"/>
                      </a:lnTo>
                      <a:lnTo>
                        <a:pt x="418" y="964"/>
                      </a:lnTo>
                      <a:lnTo>
                        <a:pt x="418" y="966"/>
                      </a:lnTo>
                      <a:lnTo>
                        <a:pt x="416" y="966"/>
                      </a:lnTo>
                      <a:lnTo>
                        <a:pt x="414" y="966"/>
                      </a:lnTo>
                      <a:lnTo>
                        <a:pt x="412" y="966"/>
                      </a:lnTo>
                      <a:lnTo>
                        <a:pt x="410" y="966"/>
                      </a:lnTo>
                      <a:lnTo>
                        <a:pt x="410" y="964"/>
                      </a:lnTo>
                      <a:lnTo>
                        <a:pt x="408" y="964"/>
                      </a:lnTo>
                      <a:lnTo>
                        <a:pt x="406" y="968"/>
                      </a:lnTo>
                      <a:lnTo>
                        <a:pt x="406" y="970"/>
                      </a:lnTo>
                      <a:lnTo>
                        <a:pt x="406" y="972"/>
                      </a:lnTo>
                      <a:lnTo>
                        <a:pt x="404" y="974"/>
                      </a:lnTo>
                      <a:lnTo>
                        <a:pt x="403" y="974"/>
                      </a:lnTo>
                      <a:lnTo>
                        <a:pt x="403" y="979"/>
                      </a:lnTo>
                      <a:lnTo>
                        <a:pt x="401" y="979"/>
                      </a:lnTo>
                      <a:lnTo>
                        <a:pt x="401" y="981"/>
                      </a:lnTo>
                      <a:lnTo>
                        <a:pt x="401" y="983"/>
                      </a:lnTo>
                      <a:lnTo>
                        <a:pt x="401" y="985"/>
                      </a:lnTo>
                      <a:lnTo>
                        <a:pt x="399" y="985"/>
                      </a:lnTo>
                      <a:lnTo>
                        <a:pt x="397" y="985"/>
                      </a:lnTo>
                      <a:lnTo>
                        <a:pt x="397" y="987"/>
                      </a:lnTo>
                      <a:lnTo>
                        <a:pt x="395" y="989"/>
                      </a:lnTo>
                      <a:lnTo>
                        <a:pt x="393" y="987"/>
                      </a:lnTo>
                      <a:lnTo>
                        <a:pt x="391" y="987"/>
                      </a:lnTo>
                      <a:lnTo>
                        <a:pt x="387" y="983"/>
                      </a:lnTo>
                      <a:lnTo>
                        <a:pt x="386" y="983"/>
                      </a:lnTo>
                      <a:lnTo>
                        <a:pt x="386" y="981"/>
                      </a:lnTo>
                      <a:lnTo>
                        <a:pt x="384" y="981"/>
                      </a:lnTo>
                      <a:lnTo>
                        <a:pt x="382" y="981"/>
                      </a:lnTo>
                      <a:lnTo>
                        <a:pt x="382" y="979"/>
                      </a:lnTo>
                      <a:lnTo>
                        <a:pt x="380" y="979"/>
                      </a:lnTo>
                      <a:lnTo>
                        <a:pt x="378" y="979"/>
                      </a:lnTo>
                      <a:lnTo>
                        <a:pt x="378" y="981"/>
                      </a:lnTo>
                      <a:lnTo>
                        <a:pt x="376" y="981"/>
                      </a:lnTo>
                      <a:lnTo>
                        <a:pt x="376" y="983"/>
                      </a:lnTo>
                      <a:lnTo>
                        <a:pt x="376" y="981"/>
                      </a:lnTo>
                      <a:lnTo>
                        <a:pt x="376" y="983"/>
                      </a:lnTo>
                      <a:lnTo>
                        <a:pt x="374" y="983"/>
                      </a:lnTo>
                      <a:lnTo>
                        <a:pt x="374" y="985"/>
                      </a:lnTo>
                      <a:lnTo>
                        <a:pt x="372" y="985"/>
                      </a:lnTo>
                      <a:lnTo>
                        <a:pt x="372" y="987"/>
                      </a:lnTo>
                      <a:lnTo>
                        <a:pt x="372" y="989"/>
                      </a:lnTo>
                      <a:lnTo>
                        <a:pt x="372" y="991"/>
                      </a:lnTo>
                      <a:lnTo>
                        <a:pt x="372" y="993"/>
                      </a:lnTo>
                      <a:lnTo>
                        <a:pt x="371" y="993"/>
                      </a:lnTo>
                      <a:lnTo>
                        <a:pt x="372" y="993"/>
                      </a:lnTo>
                      <a:lnTo>
                        <a:pt x="371" y="993"/>
                      </a:lnTo>
                      <a:lnTo>
                        <a:pt x="372" y="993"/>
                      </a:lnTo>
                      <a:lnTo>
                        <a:pt x="372" y="994"/>
                      </a:lnTo>
                      <a:lnTo>
                        <a:pt x="374" y="994"/>
                      </a:lnTo>
                      <a:lnTo>
                        <a:pt x="372" y="996"/>
                      </a:lnTo>
                      <a:lnTo>
                        <a:pt x="374" y="996"/>
                      </a:lnTo>
                      <a:lnTo>
                        <a:pt x="372" y="996"/>
                      </a:lnTo>
                      <a:lnTo>
                        <a:pt x="372" y="998"/>
                      </a:lnTo>
                      <a:lnTo>
                        <a:pt x="371" y="998"/>
                      </a:lnTo>
                      <a:lnTo>
                        <a:pt x="369" y="998"/>
                      </a:lnTo>
                      <a:lnTo>
                        <a:pt x="369" y="1000"/>
                      </a:lnTo>
                      <a:lnTo>
                        <a:pt x="367" y="1000"/>
                      </a:lnTo>
                      <a:lnTo>
                        <a:pt x="367" y="998"/>
                      </a:lnTo>
                      <a:lnTo>
                        <a:pt x="365" y="1000"/>
                      </a:lnTo>
                      <a:lnTo>
                        <a:pt x="365" y="998"/>
                      </a:lnTo>
                      <a:lnTo>
                        <a:pt x="363" y="998"/>
                      </a:lnTo>
                      <a:lnTo>
                        <a:pt x="361" y="998"/>
                      </a:lnTo>
                      <a:lnTo>
                        <a:pt x="359" y="998"/>
                      </a:lnTo>
                      <a:lnTo>
                        <a:pt x="359" y="1000"/>
                      </a:lnTo>
                      <a:lnTo>
                        <a:pt x="359" y="1002"/>
                      </a:lnTo>
                      <a:lnTo>
                        <a:pt x="357" y="1002"/>
                      </a:lnTo>
                      <a:lnTo>
                        <a:pt x="357" y="1000"/>
                      </a:lnTo>
                      <a:lnTo>
                        <a:pt x="357" y="1002"/>
                      </a:lnTo>
                      <a:lnTo>
                        <a:pt x="355" y="1002"/>
                      </a:lnTo>
                      <a:lnTo>
                        <a:pt x="354" y="1000"/>
                      </a:lnTo>
                      <a:lnTo>
                        <a:pt x="354" y="1002"/>
                      </a:lnTo>
                      <a:lnTo>
                        <a:pt x="352" y="1002"/>
                      </a:lnTo>
                      <a:lnTo>
                        <a:pt x="350" y="1002"/>
                      </a:lnTo>
                      <a:lnTo>
                        <a:pt x="350" y="1000"/>
                      </a:lnTo>
                      <a:lnTo>
                        <a:pt x="348" y="998"/>
                      </a:lnTo>
                      <a:lnTo>
                        <a:pt x="348" y="996"/>
                      </a:lnTo>
                      <a:lnTo>
                        <a:pt x="348" y="994"/>
                      </a:lnTo>
                      <a:lnTo>
                        <a:pt x="346" y="994"/>
                      </a:lnTo>
                      <a:lnTo>
                        <a:pt x="348" y="994"/>
                      </a:lnTo>
                      <a:lnTo>
                        <a:pt x="346" y="994"/>
                      </a:lnTo>
                      <a:lnTo>
                        <a:pt x="346" y="993"/>
                      </a:lnTo>
                      <a:lnTo>
                        <a:pt x="348" y="993"/>
                      </a:lnTo>
                      <a:lnTo>
                        <a:pt x="346" y="993"/>
                      </a:lnTo>
                      <a:lnTo>
                        <a:pt x="346" y="991"/>
                      </a:lnTo>
                      <a:lnTo>
                        <a:pt x="344" y="991"/>
                      </a:lnTo>
                      <a:lnTo>
                        <a:pt x="344" y="989"/>
                      </a:lnTo>
                      <a:lnTo>
                        <a:pt x="342" y="989"/>
                      </a:lnTo>
                      <a:lnTo>
                        <a:pt x="340" y="989"/>
                      </a:lnTo>
                      <a:lnTo>
                        <a:pt x="340" y="987"/>
                      </a:lnTo>
                      <a:lnTo>
                        <a:pt x="340" y="985"/>
                      </a:lnTo>
                      <a:lnTo>
                        <a:pt x="339" y="985"/>
                      </a:lnTo>
                      <a:lnTo>
                        <a:pt x="339" y="983"/>
                      </a:lnTo>
                      <a:lnTo>
                        <a:pt x="337" y="983"/>
                      </a:lnTo>
                      <a:lnTo>
                        <a:pt x="337" y="981"/>
                      </a:lnTo>
                      <a:lnTo>
                        <a:pt x="335" y="979"/>
                      </a:lnTo>
                      <a:lnTo>
                        <a:pt x="333" y="979"/>
                      </a:lnTo>
                      <a:lnTo>
                        <a:pt x="333" y="977"/>
                      </a:lnTo>
                      <a:lnTo>
                        <a:pt x="331" y="977"/>
                      </a:lnTo>
                      <a:lnTo>
                        <a:pt x="333" y="976"/>
                      </a:lnTo>
                      <a:lnTo>
                        <a:pt x="335" y="976"/>
                      </a:lnTo>
                      <a:lnTo>
                        <a:pt x="333" y="974"/>
                      </a:lnTo>
                      <a:lnTo>
                        <a:pt x="333" y="972"/>
                      </a:lnTo>
                      <a:lnTo>
                        <a:pt x="335" y="972"/>
                      </a:lnTo>
                      <a:lnTo>
                        <a:pt x="335" y="970"/>
                      </a:lnTo>
                      <a:lnTo>
                        <a:pt x="333" y="970"/>
                      </a:lnTo>
                      <a:lnTo>
                        <a:pt x="331" y="970"/>
                      </a:lnTo>
                      <a:lnTo>
                        <a:pt x="331" y="968"/>
                      </a:lnTo>
                      <a:lnTo>
                        <a:pt x="329" y="968"/>
                      </a:lnTo>
                      <a:lnTo>
                        <a:pt x="327" y="970"/>
                      </a:lnTo>
                      <a:lnTo>
                        <a:pt x="327" y="968"/>
                      </a:lnTo>
                      <a:lnTo>
                        <a:pt x="327" y="966"/>
                      </a:lnTo>
                      <a:lnTo>
                        <a:pt x="327" y="968"/>
                      </a:lnTo>
                      <a:lnTo>
                        <a:pt x="329" y="968"/>
                      </a:lnTo>
                      <a:lnTo>
                        <a:pt x="329" y="966"/>
                      </a:lnTo>
                      <a:lnTo>
                        <a:pt x="327" y="966"/>
                      </a:lnTo>
                      <a:lnTo>
                        <a:pt x="327" y="964"/>
                      </a:lnTo>
                      <a:lnTo>
                        <a:pt x="325" y="964"/>
                      </a:lnTo>
                      <a:lnTo>
                        <a:pt x="325" y="966"/>
                      </a:lnTo>
                      <a:lnTo>
                        <a:pt x="327" y="966"/>
                      </a:lnTo>
                      <a:lnTo>
                        <a:pt x="325" y="966"/>
                      </a:lnTo>
                      <a:lnTo>
                        <a:pt x="324" y="966"/>
                      </a:lnTo>
                      <a:lnTo>
                        <a:pt x="324" y="964"/>
                      </a:lnTo>
                      <a:lnTo>
                        <a:pt x="324" y="962"/>
                      </a:lnTo>
                      <a:lnTo>
                        <a:pt x="324" y="961"/>
                      </a:lnTo>
                      <a:lnTo>
                        <a:pt x="322" y="961"/>
                      </a:lnTo>
                      <a:lnTo>
                        <a:pt x="322" y="959"/>
                      </a:lnTo>
                      <a:lnTo>
                        <a:pt x="320" y="959"/>
                      </a:lnTo>
                      <a:lnTo>
                        <a:pt x="320" y="961"/>
                      </a:lnTo>
                      <a:lnTo>
                        <a:pt x="318" y="961"/>
                      </a:lnTo>
                      <a:lnTo>
                        <a:pt x="316" y="961"/>
                      </a:lnTo>
                      <a:lnTo>
                        <a:pt x="316" y="959"/>
                      </a:lnTo>
                      <a:lnTo>
                        <a:pt x="318" y="957"/>
                      </a:lnTo>
                      <a:lnTo>
                        <a:pt x="316" y="957"/>
                      </a:lnTo>
                      <a:lnTo>
                        <a:pt x="318" y="955"/>
                      </a:lnTo>
                      <a:lnTo>
                        <a:pt x="318" y="953"/>
                      </a:lnTo>
                      <a:lnTo>
                        <a:pt x="318" y="955"/>
                      </a:lnTo>
                      <a:lnTo>
                        <a:pt x="316" y="955"/>
                      </a:lnTo>
                      <a:lnTo>
                        <a:pt x="316" y="953"/>
                      </a:lnTo>
                      <a:lnTo>
                        <a:pt x="318" y="953"/>
                      </a:lnTo>
                      <a:lnTo>
                        <a:pt x="318" y="951"/>
                      </a:lnTo>
                      <a:lnTo>
                        <a:pt x="318" y="949"/>
                      </a:lnTo>
                      <a:lnTo>
                        <a:pt x="316" y="951"/>
                      </a:lnTo>
                      <a:lnTo>
                        <a:pt x="314" y="951"/>
                      </a:lnTo>
                      <a:lnTo>
                        <a:pt x="312" y="949"/>
                      </a:lnTo>
                      <a:lnTo>
                        <a:pt x="314" y="949"/>
                      </a:lnTo>
                      <a:lnTo>
                        <a:pt x="314" y="947"/>
                      </a:lnTo>
                      <a:lnTo>
                        <a:pt x="312" y="947"/>
                      </a:lnTo>
                      <a:lnTo>
                        <a:pt x="312" y="945"/>
                      </a:lnTo>
                      <a:lnTo>
                        <a:pt x="314" y="945"/>
                      </a:lnTo>
                      <a:lnTo>
                        <a:pt x="314" y="944"/>
                      </a:lnTo>
                      <a:lnTo>
                        <a:pt x="312" y="944"/>
                      </a:lnTo>
                      <a:lnTo>
                        <a:pt x="314" y="944"/>
                      </a:lnTo>
                      <a:lnTo>
                        <a:pt x="312" y="944"/>
                      </a:lnTo>
                      <a:lnTo>
                        <a:pt x="312" y="942"/>
                      </a:lnTo>
                      <a:lnTo>
                        <a:pt x="312" y="940"/>
                      </a:lnTo>
                      <a:lnTo>
                        <a:pt x="312" y="938"/>
                      </a:lnTo>
                      <a:lnTo>
                        <a:pt x="310" y="938"/>
                      </a:lnTo>
                      <a:lnTo>
                        <a:pt x="310" y="936"/>
                      </a:lnTo>
                      <a:lnTo>
                        <a:pt x="310" y="938"/>
                      </a:lnTo>
                      <a:lnTo>
                        <a:pt x="308" y="938"/>
                      </a:lnTo>
                      <a:lnTo>
                        <a:pt x="308" y="936"/>
                      </a:lnTo>
                      <a:lnTo>
                        <a:pt x="308" y="934"/>
                      </a:lnTo>
                      <a:lnTo>
                        <a:pt x="308" y="936"/>
                      </a:lnTo>
                      <a:lnTo>
                        <a:pt x="307" y="934"/>
                      </a:lnTo>
                      <a:lnTo>
                        <a:pt x="308" y="934"/>
                      </a:lnTo>
                      <a:lnTo>
                        <a:pt x="307" y="934"/>
                      </a:lnTo>
                      <a:lnTo>
                        <a:pt x="307" y="932"/>
                      </a:lnTo>
                      <a:lnTo>
                        <a:pt x="305" y="932"/>
                      </a:lnTo>
                      <a:lnTo>
                        <a:pt x="305" y="930"/>
                      </a:lnTo>
                      <a:lnTo>
                        <a:pt x="305" y="932"/>
                      </a:lnTo>
                      <a:lnTo>
                        <a:pt x="305" y="930"/>
                      </a:lnTo>
                      <a:lnTo>
                        <a:pt x="305" y="932"/>
                      </a:lnTo>
                      <a:lnTo>
                        <a:pt x="303" y="932"/>
                      </a:lnTo>
                      <a:lnTo>
                        <a:pt x="303" y="930"/>
                      </a:lnTo>
                      <a:lnTo>
                        <a:pt x="303" y="929"/>
                      </a:lnTo>
                      <a:lnTo>
                        <a:pt x="301" y="929"/>
                      </a:lnTo>
                      <a:lnTo>
                        <a:pt x="303" y="930"/>
                      </a:lnTo>
                      <a:lnTo>
                        <a:pt x="301" y="930"/>
                      </a:lnTo>
                      <a:lnTo>
                        <a:pt x="301" y="929"/>
                      </a:lnTo>
                      <a:lnTo>
                        <a:pt x="301" y="930"/>
                      </a:lnTo>
                      <a:lnTo>
                        <a:pt x="301" y="929"/>
                      </a:lnTo>
                      <a:lnTo>
                        <a:pt x="299" y="929"/>
                      </a:lnTo>
                      <a:lnTo>
                        <a:pt x="297" y="929"/>
                      </a:lnTo>
                      <a:lnTo>
                        <a:pt x="295" y="929"/>
                      </a:lnTo>
                      <a:lnTo>
                        <a:pt x="295" y="927"/>
                      </a:lnTo>
                      <a:lnTo>
                        <a:pt x="293" y="927"/>
                      </a:lnTo>
                      <a:lnTo>
                        <a:pt x="292" y="927"/>
                      </a:lnTo>
                      <a:lnTo>
                        <a:pt x="293" y="927"/>
                      </a:lnTo>
                      <a:lnTo>
                        <a:pt x="293" y="929"/>
                      </a:lnTo>
                      <a:lnTo>
                        <a:pt x="292" y="929"/>
                      </a:lnTo>
                      <a:lnTo>
                        <a:pt x="292" y="927"/>
                      </a:lnTo>
                      <a:lnTo>
                        <a:pt x="292" y="929"/>
                      </a:lnTo>
                      <a:lnTo>
                        <a:pt x="292" y="927"/>
                      </a:lnTo>
                      <a:lnTo>
                        <a:pt x="290" y="927"/>
                      </a:lnTo>
                      <a:lnTo>
                        <a:pt x="290" y="929"/>
                      </a:lnTo>
                      <a:lnTo>
                        <a:pt x="288" y="929"/>
                      </a:lnTo>
                      <a:lnTo>
                        <a:pt x="286" y="929"/>
                      </a:lnTo>
                      <a:lnTo>
                        <a:pt x="286" y="927"/>
                      </a:lnTo>
                      <a:lnTo>
                        <a:pt x="284" y="927"/>
                      </a:lnTo>
                      <a:lnTo>
                        <a:pt x="284" y="929"/>
                      </a:lnTo>
                      <a:lnTo>
                        <a:pt x="284" y="927"/>
                      </a:lnTo>
                      <a:lnTo>
                        <a:pt x="284" y="929"/>
                      </a:lnTo>
                      <a:lnTo>
                        <a:pt x="282" y="929"/>
                      </a:lnTo>
                      <a:lnTo>
                        <a:pt x="282" y="927"/>
                      </a:lnTo>
                      <a:lnTo>
                        <a:pt x="282" y="929"/>
                      </a:lnTo>
                      <a:lnTo>
                        <a:pt x="282" y="927"/>
                      </a:lnTo>
                      <a:lnTo>
                        <a:pt x="280" y="927"/>
                      </a:lnTo>
                      <a:lnTo>
                        <a:pt x="280" y="929"/>
                      </a:lnTo>
                      <a:lnTo>
                        <a:pt x="280" y="930"/>
                      </a:lnTo>
                      <a:lnTo>
                        <a:pt x="280" y="932"/>
                      </a:lnTo>
                      <a:lnTo>
                        <a:pt x="278" y="932"/>
                      </a:lnTo>
                      <a:lnTo>
                        <a:pt x="278" y="930"/>
                      </a:lnTo>
                      <a:lnTo>
                        <a:pt x="276" y="930"/>
                      </a:lnTo>
                      <a:lnTo>
                        <a:pt x="276" y="929"/>
                      </a:lnTo>
                      <a:lnTo>
                        <a:pt x="276" y="927"/>
                      </a:lnTo>
                      <a:lnTo>
                        <a:pt x="278" y="927"/>
                      </a:lnTo>
                      <a:lnTo>
                        <a:pt x="278" y="925"/>
                      </a:lnTo>
                      <a:lnTo>
                        <a:pt x="278" y="923"/>
                      </a:lnTo>
                      <a:lnTo>
                        <a:pt x="280" y="923"/>
                      </a:lnTo>
                      <a:lnTo>
                        <a:pt x="278" y="923"/>
                      </a:lnTo>
                      <a:lnTo>
                        <a:pt x="278" y="921"/>
                      </a:lnTo>
                      <a:lnTo>
                        <a:pt x="278" y="919"/>
                      </a:lnTo>
                      <a:lnTo>
                        <a:pt x="278" y="921"/>
                      </a:lnTo>
                      <a:lnTo>
                        <a:pt x="280" y="921"/>
                      </a:lnTo>
                      <a:lnTo>
                        <a:pt x="278" y="921"/>
                      </a:lnTo>
                      <a:lnTo>
                        <a:pt x="278" y="919"/>
                      </a:lnTo>
                      <a:lnTo>
                        <a:pt x="278" y="917"/>
                      </a:lnTo>
                      <a:lnTo>
                        <a:pt x="278" y="919"/>
                      </a:lnTo>
                      <a:lnTo>
                        <a:pt x="278" y="917"/>
                      </a:lnTo>
                      <a:lnTo>
                        <a:pt x="278" y="915"/>
                      </a:lnTo>
                      <a:lnTo>
                        <a:pt x="276" y="915"/>
                      </a:lnTo>
                      <a:lnTo>
                        <a:pt x="275" y="915"/>
                      </a:lnTo>
                      <a:lnTo>
                        <a:pt x="275" y="917"/>
                      </a:lnTo>
                      <a:lnTo>
                        <a:pt x="273" y="917"/>
                      </a:lnTo>
                      <a:lnTo>
                        <a:pt x="273" y="919"/>
                      </a:lnTo>
                      <a:lnTo>
                        <a:pt x="271" y="917"/>
                      </a:lnTo>
                      <a:lnTo>
                        <a:pt x="269" y="917"/>
                      </a:lnTo>
                      <a:lnTo>
                        <a:pt x="271" y="917"/>
                      </a:lnTo>
                      <a:lnTo>
                        <a:pt x="269" y="915"/>
                      </a:lnTo>
                      <a:lnTo>
                        <a:pt x="269" y="913"/>
                      </a:lnTo>
                      <a:lnTo>
                        <a:pt x="267" y="913"/>
                      </a:lnTo>
                      <a:lnTo>
                        <a:pt x="267" y="912"/>
                      </a:lnTo>
                      <a:lnTo>
                        <a:pt x="265" y="912"/>
                      </a:lnTo>
                      <a:lnTo>
                        <a:pt x="267" y="912"/>
                      </a:lnTo>
                      <a:lnTo>
                        <a:pt x="265" y="912"/>
                      </a:lnTo>
                      <a:lnTo>
                        <a:pt x="265" y="913"/>
                      </a:lnTo>
                      <a:lnTo>
                        <a:pt x="265" y="912"/>
                      </a:lnTo>
                      <a:lnTo>
                        <a:pt x="263" y="912"/>
                      </a:lnTo>
                      <a:lnTo>
                        <a:pt x="261" y="913"/>
                      </a:lnTo>
                      <a:lnTo>
                        <a:pt x="261" y="912"/>
                      </a:lnTo>
                      <a:lnTo>
                        <a:pt x="261" y="913"/>
                      </a:lnTo>
                      <a:lnTo>
                        <a:pt x="261" y="912"/>
                      </a:lnTo>
                      <a:lnTo>
                        <a:pt x="261" y="910"/>
                      </a:lnTo>
                      <a:lnTo>
                        <a:pt x="261" y="912"/>
                      </a:lnTo>
                      <a:lnTo>
                        <a:pt x="261" y="910"/>
                      </a:lnTo>
                      <a:lnTo>
                        <a:pt x="260" y="910"/>
                      </a:lnTo>
                      <a:lnTo>
                        <a:pt x="260" y="908"/>
                      </a:lnTo>
                      <a:lnTo>
                        <a:pt x="260" y="910"/>
                      </a:lnTo>
                      <a:lnTo>
                        <a:pt x="260" y="908"/>
                      </a:lnTo>
                      <a:lnTo>
                        <a:pt x="260" y="910"/>
                      </a:lnTo>
                      <a:lnTo>
                        <a:pt x="258" y="910"/>
                      </a:lnTo>
                      <a:lnTo>
                        <a:pt x="258" y="912"/>
                      </a:lnTo>
                      <a:lnTo>
                        <a:pt x="260" y="912"/>
                      </a:lnTo>
                      <a:lnTo>
                        <a:pt x="258" y="912"/>
                      </a:lnTo>
                      <a:lnTo>
                        <a:pt x="258" y="910"/>
                      </a:lnTo>
                      <a:lnTo>
                        <a:pt x="258" y="912"/>
                      </a:lnTo>
                      <a:lnTo>
                        <a:pt x="256" y="912"/>
                      </a:lnTo>
                      <a:lnTo>
                        <a:pt x="256" y="910"/>
                      </a:lnTo>
                      <a:lnTo>
                        <a:pt x="254" y="910"/>
                      </a:lnTo>
                      <a:lnTo>
                        <a:pt x="256" y="910"/>
                      </a:lnTo>
                      <a:lnTo>
                        <a:pt x="256" y="908"/>
                      </a:lnTo>
                      <a:lnTo>
                        <a:pt x="254" y="908"/>
                      </a:lnTo>
                      <a:lnTo>
                        <a:pt x="254" y="910"/>
                      </a:lnTo>
                      <a:lnTo>
                        <a:pt x="254" y="908"/>
                      </a:lnTo>
                      <a:lnTo>
                        <a:pt x="252" y="908"/>
                      </a:lnTo>
                      <a:lnTo>
                        <a:pt x="254" y="908"/>
                      </a:lnTo>
                      <a:lnTo>
                        <a:pt x="254" y="906"/>
                      </a:lnTo>
                      <a:lnTo>
                        <a:pt x="252" y="904"/>
                      </a:lnTo>
                      <a:lnTo>
                        <a:pt x="252" y="902"/>
                      </a:lnTo>
                      <a:lnTo>
                        <a:pt x="252" y="900"/>
                      </a:lnTo>
                      <a:lnTo>
                        <a:pt x="250" y="900"/>
                      </a:lnTo>
                      <a:lnTo>
                        <a:pt x="252" y="900"/>
                      </a:lnTo>
                      <a:lnTo>
                        <a:pt x="252" y="898"/>
                      </a:lnTo>
                      <a:lnTo>
                        <a:pt x="250" y="898"/>
                      </a:lnTo>
                      <a:lnTo>
                        <a:pt x="252" y="898"/>
                      </a:lnTo>
                      <a:lnTo>
                        <a:pt x="250" y="898"/>
                      </a:lnTo>
                      <a:lnTo>
                        <a:pt x="248" y="898"/>
                      </a:lnTo>
                      <a:lnTo>
                        <a:pt x="246" y="898"/>
                      </a:lnTo>
                      <a:lnTo>
                        <a:pt x="246" y="897"/>
                      </a:lnTo>
                      <a:lnTo>
                        <a:pt x="245" y="898"/>
                      </a:lnTo>
                      <a:lnTo>
                        <a:pt x="245" y="897"/>
                      </a:lnTo>
                      <a:lnTo>
                        <a:pt x="243" y="897"/>
                      </a:lnTo>
                      <a:lnTo>
                        <a:pt x="243" y="895"/>
                      </a:lnTo>
                      <a:lnTo>
                        <a:pt x="243" y="897"/>
                      </a:lnTo>
                      <a:lnTo>
                        <a:pt x="241" y="897"/>
                      </a:lnTo>
                      <a:lnTo>
                        <a:pt x="243" y="897"/>
                      </a:lnTo>
                      <a:lnTo>
                        <a:pt x="241" y="897"/>
                      </a:lnTo>
                      <a:lnTo>
                        <a:pt x="241" y="898"/>
                      </a:lnTo>
                      <a:lnTo>
                        <a:pt x="239" y="898"/>
                      </a:lnTo>
                      <a:lnTo>
                        <a:pt x="237" y="898"/>
                      </a:lnTo>
                      <a:lnTo>
                        <a:pt x="237" y="897"/>
                      </a:lnTo>
                      <a:lnTo>
                        <a:pt x="235" y="897"/>
                      </a:lnTo>
                      <a:lnTo>
                        <a:pt x="233" y="897"/>
                      </a:lnTo>
                      <a:lnTo>
                        <a:pt x="233" y="898"/>
                      </a:lnTo>
                      <a:lnTo>
                        <a:pt x="231" y="898"/>
                      </a:lnTo>
                      <a:lnTo>
                        <a:pt x="231" y="900"/>
                      </a:lnTo>
                      <a:lnTo>
                        <a:pt x="231" y="898"/>
                      </a:lnTo>
                      <a:lnTo>
                        <a:pt x="231" y="900"/>
                      </a:lnTo>
                      <a:lnTo>
                        <a:pt x="229" y="900"/>
                      </a:lnTo>
                      <a:lnTo>
                        <a:pt x="228" y="900"/>
                      </a:lnTo>
                      <a:lnTo>
                        <a:pt x="228" y="902"/>
                      </a:lnTo>
                      <a:lnTo>
                        <a:pt x="226" y="902"/>
                      </a:lnTo>
                      <a:lnTo>
                        <a:pt x="226" y="904"/>
                      </a:lnTo>
                      <a:lnTo>
                        <a:pt x="224" y="904"/>
                      </a:lnTo>
                      <a:lnTo>
                        <a:pt x="224" y="906"/>
                      </a:lnTo>
                      <a:lnTo>
                        <a:pt x="222" y="906"/>
                      </a:lnTo>
                      <a:lnTo>
                        <a:pt x="222" y="904"/>
                      </a:lnTo>
                      <a:lnTo>
                        <a:pt x="222" y="902"/>
                      </a:lnTo>
                      <a:lnTo>
                        <a:pt x="222" y="900"/>
                      </a:lnTo>
                      <a:lnTo>
                        <a:pt x="222" y="898"/>
                      </a:lnTo>
                      <a:lnTo>
                        <a:pt x="220" y="897"/>
                      </a:lnTo>
                      <a:lnTo>
                        <a:pt x="218" y="895"/>
                      </a:lnTo>
                      <a:lnTo>
                        <a:pt x="220" y="895"/>
                      </a:lnTo>
                      <a:lnTo>
                        <a:pt x="220" y="893"/>
                      </a:lnTo>
                      <a:lnTo>
                        <a:pt x="218" y="893"/>
                      </a:lnTo>
                      <a:lnTo>
                        <a:pt x="218" y="891"/>
                      </a:lnTo>
                      <a:lnTo>
                        <a:pt x="216" y="891"/>
                      </a:lnTo>
                      <a:lnTo>
                        <a:pt x="216" y="889"/>
                      </a:lnTo>
                      <a:lnTo>
                        <a:pt x="214" y="889"/>
                      </a:lnTo>
                      <a:lnTo>
                        <a:pt x="216" y="889"/>
                      </a:lnTo>
                      <a:lnTo>
                        <a:pt x="214" y="887"/>
                      </a:lnTo>
                      <a:lnTo>
                        <a:pt x="214" y="885"/>
                      </a:lnTo>
                      <a:lnTo>
                        <a:pt x="213" y="883"/>
                      </a:lnTo>
                      <a:lnTo>
                        <a:pt x="213" y="881"/>
                      </a:lnTo>
                      <a:lnTo>
                        <a:pt x="213" y="883"/>
                      </a:lnTo>
                      <a:lnTo>
                        <a:pt x="213" y="881"/>
                      </a:lnTo>
                      <a:lnTo>
                        <a:pt x="211" y="881"/>
                      </a:lnTo>
                      <a:lnTo>
                        <a:pt x="211" y="880"/>
                      </a:lnTo>
                      <a:lnTo>
                        <a:pt x="209" y="880"/>
                      </a:lnTo>
                      <a:lnTo>
                        <a:pt x="209" y="881"/>
                      </a:lnTo>
                      <a:lnTo>
                        <a:pt x="209" y="880"/>
                      </a:lnTo>
                      <a:lnTo>
                        <a:pt x="207" y="880"/>
                      </a:lnTo>
                      <a:lnTo>
                        <a:pt x="209" y="880"/>
                      </a:lnTo>
                      <a:lnTo>
                        <a:pt x="209" y="878"/>
                      </a:lnTo>
                      <a:lnTo>
                        <a:pt x="209" y="876"/>
                      </a:lnTo>
                      <a:lnTo>
                        <a:pt x="211" y="874"/>
                      </a:lnTo>
                      <a:lnTo>
                        <a:pt x="211" y="876"/>
                      </a:lnTo>
                      <a:lnTo>
                        <a:pt x="211" y="874"/>
                      </a:lnTo>
                      <a:lnTo>
                        <a:pt x="213" y="874"/>
                      </a:lnTo>
                      <a:lnTo>
                        <a:pt x="211" y="874"/>
                      </a:lnTo>
                      <a:lnTo>
                        <a:pt x="211" y="872"/>
                      </a:lnTo>
                      <a:lnTo>
                        <a:pt x="209" y="870"/>
                      </a:lnTo>
                      <a:lnTo>
                        <a:pt x="209" y="868"/>
                      </a:lnTo>
                      <a:lnTo>
                        <a:pt x="209" y="866"/>
                      </a:lnTo>
                      <a:lnTo>
                        <a:pt x="207" y="866"/>
                      </a:lnTo>
                      <a:lnTo>
                        <a:pt x="207" y="864"/>
                      </a:lnTo>
                      <a:lnTo>
                        <a:pt x="207" y="863"/>
                      </a:lnTo>
                      <a:lnTo>
                        <a:pt x="209" y="863"/>
                      </a:lnTo>
                      <a:lnTo>
                        <a:pt x="209" y="861"/>
                      </a:lnTo>
                      <a:lnTo>
                        <a:pt x="209" y="859"/>
                      </a:lnTo>
                      <a:lnTo>
                        <a:pt x="207" y="859"/>
                      </a:lnTo>
                      <a:lnTo>
                        <a:pt x="207" y="857"/>
                      </a:lnTo>
                      <a:lnTo>
                        <a:pt x="205" y="857"/>
                      </a:lnTo>
                      <a:lnTo>
                        <a:pt x="203" y="857"/>
                      </a:lnTo>
                      <a:lnTo>
                        <a:pt x="203" y="859"/>
                      </a:lnTo>
                      <a:lnTo>
                        <a:pt x="203" y="861"/>
                      </a:lnTo>
                      <a:lnTo>
                        <a:pt x="203" y="863"/>
                      </a:lnTo>
                      <a:lnTo>
                        <a:pt x="201" y="864"/>
                      </a:lnTo>
                      <a:lnTo>
                        <a:pt x="201" y="863"/>
                      </a:lnTo>
                      <a:lnTo>
                        <a:pt x="199" y="863"/>
                      </a:lnTo>
                      <a:lnTo>
                        <a:pt x="199" y="861"/>
                      </a:lnTo>
                      <a:lnTo>
                        <a:pt x="197" y="859"/>
                      </a:lnTo>
                      <a:lnTo>
                        <a:pt x="196" y="859"/>
                      </a:lnTo>
                      <a:lnTo>
                        <a:pt x="196" y="857"/>
                      </a:lnTo>
                      <a:lnTo>
                        <a:pt x="194" y="857"/>
                      </a:lnTo>
                      <a:lnTo>
                        <a:pt x="192" y="857"/>
                      </a:lnTo>
                      <a:lnTo>
                        <a:pt x="190" y="857"/>
                      </a:lnTo>
                      <a:lnTo>
                        <a:pt x="188" y="855"/>
                      </a:lnTo>
                      <a:lnTo>
                        <a:pt x="186" y="855"/>
                      </a:lnTo>
                      <a:lnTo>
                        <a:pt x="186" y="853"/>
                      </a:lnTo>
                      <a:lnTo>
                        <a:pt x="184" y="853"/>
                      </a:lnTo>
                      <a:lnTo>
                        <a:pt x="184" y="855"/>
                      </a:lnTo>
                      <a:lnTo>
                        <a:pt x="182" y="855"/>
                      </a:lnTo>
                      <a:lnTo>
                        <a:pt x="182" y="857"/>
                      </a:lnTo>
                      <a:lnTo>
                        <a:pt x="182" y="859"/>
                      </a:lnTo>
                      <a:lnTo>
                        <a:pt x="181" y="859"/>
                      </a:lnTo>
                      <a:lnTo>
                        <a:pt x="179" y="861"/>
                      </a:lnTo>
                      <a:lnTo>
                        <a:pt x="177" y="861"/>
                      </a:lnTo>
                      <a:lnTo>
                        <a:pt x="175" y="861"/>
                      </a:lnTo>
                      <a:lnTo>
                        <a:pt x="173" y="859"/>
                      </a:lnTo>
                      <a:lnTo>
                        <a:pt x="171" y="861"/>
                      </a:lnTo>
                      <a:lnTo>
                        <a:pt x="169" y="863"/>
                      </a:lnTo>
                      <a:lnTo>
                        <a:pt x="167" y="861"/>
                      </a:lnTo>
                      <a:lnTo>
                        <a:pt x="166" y="861"/>
                      </a:lnTo>
                      <a:lnTo>
                        <a:pt x="166" y="863"/>
                      </a:lnTo>
                      <a:lnTo>
                        <a:pt x="164" y="863"/>
                      </a:lnTo>
                      <a:lnTo>
                        <a:pt x="166" y="864"/>
                      </a:lnTo>
                      <a:lnTo>
                        <a:pt x="167" y="864"/>
                      </a:lnTo>
                      <a:lnTo>
                        <a:pt x="167" y="866"/>
                      </a:lnTo>
                      <a:lnTo>
                        <a:pt x="167" y="868"/>
                      </a:lnTo>
                      <a:lnTo>
                        <a:pt x="167" y="870"/>
                      </a:lnTo>
                      <a:lnTo>
                        <a:pt x="167" y="872"/>
                      </a:lnTo>
                      <a:lnTo>
                        <a:pt x="166" y="872"/>
                      </a:lnTo>
                      <a:lnTo>
                        <a:pt x="166" y="874"/>
                      </a:lnTo>
                      <a:lnTo>
                        <a:pt x="164" y="874"/>
                      </a:lnTo>
                      <a:lnTo>
                        <a:pt x="164" y="872"/>
                      </a:lnTo>
                      <a:lnTo>
                        <a:pt x="162" y="872"/>
                      </a:lnTo>
                      <a:lnTo>
                        <a:pt x="162" y="870"/>
                      </a:lnTo>
                      <a:lnTo>
                        <a:pt x="162" y="868"/>
                      </a:lnTo>
                      <a:lnTo>
                        <a:pt x="160" y="866"/>
                      </a:lnTo>
                      <a:lnTo>
                        <a:pt x="160" y="864"/>
                      </a:lnTo>
                      <a:lnTo>
                        <a:pt x="158" y="864"/>
                      </a:lnTo>
                      <a:lnTo>
                        <a:pt x="156" y="863"/>
                      </a:lnTo>
                      <a:lnTo>
                        <a:pt x="156" y="864"/>
                      </a:lnTo>
                      <a:lnTo>
                        <a:pt x="154" y="864"/>
                      </a:lnTo>
                      <a:lnTo>
                        <a:pt x="154" y="866"/>
                      </a:lnTo>
                      <a:lnTo>
                        <a:pt x="152" y="866"/>
                      </a:lnTo>
                      <a:lnTo>
                        <a:pt x="152" y="868"/>
                      </a:lnTo>
                      <a:lnTo>
                        <a:pt x="150" y="868"/>
                      </a:lnTo>
                      <a:lnTo>
                        <a:pt x="149" y="866"/>
                      </a:lnTo>
                      <a:lnTo>
                        <a:pt x="147" y="866"/>
                      </a:lnTo>
                      <a:lnTo>
                        <a:pt x="147" y="868"/>
                      </a:lnTo>
                      <a:lnTo>
                        <a:pt x="145" y="868"/>
                      </a:lnTo>
                      <a:lnTo>
                        <a:pt x="145" y="866"/>
                      </a:lnTo>
                      <a:lnTo>
                        <a:pt x="145" y="864"/>
                      </a:lnTo>
                      <a:lnTo>
                        <a:pt x="145" y="863"/>
                      </a:lnTo>
                      <a:lnTo>
                        <a:pt x="145" y="861"/>
                      </a:lnTo>
                      <a:lnTo>
                        <a:pt x="143" y="859"/>
                      </a:lnTo>
                      <a:lnTo>
                        <a:pt x="143" y="861"/>
                      </a:lnTo>
                      <a:lnTo>
                        <a:pt x="141" y="863"/>
                      </a:lnTo>
                      <a:lnTo>
                        <a:pt x="141" y="864"/>
                      </a:lnTo>
                      <a:lnTo>
                        <a:pt x="139" y="863"/>
                      </a:lnTo>
                      <a:lnTo>
                        <a:pt x="137" y="863"/>
                      </a:lnTo>
                      <a:lnTo>
                        <a:pt x="135" y="863"/>
                      </a:lnTo>
                      <a:lnTo>
                        <a:pt x="135" y="861"/>
                      </a:lnTo>
                      <a:lnTo>
                        <a:pt x="135" y="859"/>
                      </a:lnTo>
                      <a:lnTo>
                        <a:pt x="135" y="857"/>
                      </a:lnTo>
                      <a:lnTo>
                        <a:pt x="134" y="857"/>
                      </a:lnTo>
                      <a:lnTo>
                        <a:pt x="132" y="857"/>
                      </a:lnTo>
                      <a:lnTo>
                        <a:pt x="132" y="855"/>
                      </a:lnTo>
                      <a:lnTo>
                        <a:pt x="130" y="855"/>
                      </a:lnTo>
                      <a:lnTo>
                        <a:pt x="130" y="857"/>
                      </a:lnTo>
                      <a:lnTo>
                        <a:pt x="128" y="857"/>
                      </a:lnTo>
                      <a:lnTo>
                        <a:pt x="126" y="857"/>
                      </a:lnTo>
                      <a:lnTo>
                        <a:pt x="126" y="855"/>
                      </a:lnTo>
                      <a:lnTo>
                        <a:pt x="124" y="855"/>
                      </a:lnTo>
                      <a:lnTo>
                        <a:pt x="124" y="853"/>
                      </a:lnTo>
                      <a:lnTo>
                        <a:pt x="124" y="851"/>
                      </a:lnTo>
                      <a:lnTo>
                        <a:pt x="122" y="851"/>
                      </a:lnTo>
                      <a:lnTo>
                        <a:pt x="120" y="851"/>
                      </a:lnTo>
                      <a:lnTo>
                        <a:pt x="120" y="849"/>
                      </a:lnTo>
                      <a:lnTo>
                        <a:pt x="120" y="848"/>
                      </a:lnTo>
                      <a:lnTo>
                        <a:pt x="118" y="848"/>
                      </a:lnTo>
                      <a:lnTo>
                        <a:pt x="117" y="848"/>
                      </a:lnTo>
                      <a:lnTo>
                        <a:pt x="117" y="849"/>
                      </a:lnTo>
                      <a:lnTo>
                        <a:pt x="115" y="849"/>
                      </a:lnTo>
                      <a:lnTo>
                        <a:pt x="113" y="849"/>
                      </a:lnTo>
                      <a:lnTo>
                        <a:pt x="111" y="849"/>
                      </a:lnTo>
                      <a:lnTo>
                        <a:pt x="111" y="848"/>
                      </a:lnTo>
                      <a:lnTo>
                        <a:pt x="109" y="848"/>
                      </a:lnTo>
                      <a:lnTo>
                        <a:pt x="109" y="846"/>
                      </a:lnTo>
                      <a:lnTo>
                        <a:pt x="107" y="846"/>
                      </a:lnTo>
                      <a:lnTo>
                        <a:pt x="105" y="844"/>
                      </a:lnTo>
                      <a:lnTo>
                        <a:pt x="105" y="846"/>
                      </a:lnTo>
                      <a:lnTo>
                        <a:pt x="105" y="844"/>
                      </a:lnTo>
                      <a:lnTo>
                        <a:pt x="103" y="844"/>
                      </a:lnTo>
                      <a:lnTo>
                        <a:pt x="103" y="842"/>
                      </a:lnTo>
                      <a:lnTo>
                        <a:pt x="102" y="842"/>
                      </a:lnTo>
                      <a:lnTo>
                        <a:pt x="102" y="844"/>
                      </a:lnTo>
                      <a:lnTo>
                        <a:pt x="100" y="844"/>
                      </a:lnTo>
                      <a:lnTo>
                        <a:pt x="100" y="846"/>
                      </a:lnTo>
                      <a:lnTo>
                        <a:pt x="98" y="846"/>
                      </a:lnTo>
                      <a:lnTo>
                        <a:pt x="98" y="848"/>
                      </a:lnTo>
                      <a:lnTo>
                        <a:pt x="96" y="848"/>
                      </a:lnTo>
                      <a:lnTo>
                        <a:pt x="96" y="849"/>
                      </a:lnTo>
                      <a:lnTo>
                        <a:pt x="94" y="851"/>
                      </a:lnTo>
                      <a:lnTo>
                        <a:pt x="94" y="853"/>
                      </a:lnTo>
                      <a:lnTo>
                        <a:pt x="92" y="853"/>
                      </a:lnTo>
                      <a:lnTo>
                        <a:pt x="92" y="855"/>
                      </a:lnTo>
                      <a:lnTo>
                        <a:pt x="94" y="855"/>
                      </a:lnTo>
                      <a:lnTo>
                        <a:pt x="96" y="857"/>
                      </a:lnTo>
                      <a:lnTo>
                        <a:pt x="96" y="855"/>
                      </a:lnTo>
                      <a:lnTo>
                        <a:pt x="98" y="855"/>
                      </a:lnTo>
                      <a:lnTo>
                        <a:pt x="98" y="853"/>
                      </a:lnTo>
                      <a:lnTo>
                        <a:pt x="100" y="853"/>
                      </a:lnTo>
                      <a:lnTo>
                        <a:pt x="102" y="853"/>
                      </a:lnTo>
                      <a:lnTo>
                        <a:pt x="103" y="853"/>
                      </a:lnTo>
                      <a:lnTo>
                        <a:pt x="103" y="855"/>
                      </a:lnTo>
                      <a:lnTo>
                        <a:pt x="105" y="855"/>
                      </a:lnTo>
                      <a:lnTo>
                        <a:pt x="105" y="857"/>
                      </a:lnTo>
                      <a:lnTo>
                        <a:pt x="103" y="859"/>
                      </a:lnTo>
                      <a:lnTo>
                        <a:pt x="103" y="861"/>
                      </a:lnTo>
                      <a:lnTo>
                        <a:pt x="102" y="863"/>
                      </a:lnTo>
                      <a:lnTo>
                        <a:pt x="100" y="861"/>
                      </a:lnTo>
                      <a:lnTo>
                        <a:pt x="98" y="861"/>
                      </a:lnTo>
                      <a:lnTo>
                        <a:pt x="98" y="859"/>
                      </a:lnTo>
                      <a:lnTo>
                        <a:pt x="96" y="859"/>
                      </a:lnTo>
                      <a:lnTo>
                        <a:pt x="94" y="859"/>
                      </a:lnTo>
                      <a:lnTo>
                        <a:pt x="92" y="859"/>
                      </a:lnTo>
                      <a:lnTo>
                        <a:pt x="92" y="861"/>
                      </a:lnTo>
                      <a:lnTo>
                        <a:pt x="94" y="861"/>
                      </a:lnTo>
                      <a:lnTo>
                        <a:pt x="94" y="863"/>
                      </a:lnTo>
                      <a:lnTo>
                        <a:pt x="92" y="863"/>
                      </a:lnTo>
                      <a:lnTo>
                        <a:pt x="90" y="863"/>
                      </a:lnTo>
                      <a:lnTo>
                        <a:pt x="88" y="863"/>
                      </a:lnTo>
                      <a:lnTo>
                        <a:pt x="88" y="864"/>
                      </a:lnTo>
                      <a:lnTo>
                        <a:pt x="87" y="866"/>
                      </a:lnTo>
                      <a:lnTo>
                        <a:pt x="85" y="868"/>
                      </a:lnTo>
                      <a:lnTo>
                        <a:pt x="85" y="866"/>
                      </a:lnTo>
                      <a:lnTo>
                        <a:pt x="83" y="866"/>
                      </a:lnTo>
                      <a:lnTo>
                        <a:pt x="81" y="866"/>
                      </a:lnTo>
                      <a:lnTo>
                        <a:pt x="81" y="868"/>
                      </a:lnTo>
                      <a:lnTo>
                        <a:pt x="81" y="870"/>
                      </a:lnTo>
                      <a:lnTo>
                        <a:pt x="81" y="872"/>
                      </a:lnTo>
                      <a:lnTo>
                        <a:pt x="79" y="872"/>
                      </a:lnTo>
                      <a:lnTo>
                        <a:pt x="79" y="874"/>
                      </a:lnTo>
                      <a:lnTo>
                        <a:pt x="77" y="874"/>
                      </a:lnTo>
                      <a:lnTo>
                        <a:pt x="75" y="874"/>
                      </a:lnTo>
                      <a:lnTo>
                        <a:pt x="75" y="876"/>
                      </a:lnTo>
                      <a:lnTo>
                        <a:pt x="73" y="876"/>
                      </a:lnTo>
                      <a:lnTo>
                        <a:pt x="73" y="874"/>
                      </a:lnTo>
                      <a:lnTo>
                        <a:pt x="73" y="872"/>
                      </a:lnTo>
                      <a:lnTo>
                        <a:pt x="75" y="872"/>
                      </a:lnTo>
                      <a:lnTo>
                        <a:pt x="77" y="872"/>
                      </a:lnTo>
                      <a:lnTo>
                        <a:pt x="77" y="870"/>
                      </a:lnTo>
                      <a:lnTo>
                        <a:pt x="77" y="868"/>
                      </a:lnTo>
                      <a:lnTo>
                        <a:pt x="79" y="868"/>
                      </a:lnTo>
                      <a:lnTo>
                        <a:pt x="77" y="868"/>
                      </a:lnTo>
                      <a:lnTo>
                        <a:pt x="77" y="866"/>
                      </a:lnTo>
                      <a:lnTo>
                        <a:pt x="75" y="866"/>
                      </a:lnTo>
                      <a:lnTo>
                        <a:pt x="75" y="864"/>
                      </a:lnTo>
                      <a:lnTo>
                        <a:pt x="73" y="864"/>
                      </a:lnTo>
                      <a:lnTo>
                        <a:pt x="73" y="863"/>
                      </a:lnTo>
                      <a:lnTo>
                        <a:pt x="73" y="861"/>
                      </a:lnTo>
                      <a:lnTo>
                        <a:pt x="71" y="861"/>
                      </a:lnTo>
                      <a:lnTo>
                        <a:pt x="70" y="861"/>
                      </a:lnTo>
                      <a:lnTo>
                        <a:pt x="70" y="859"/>
                      </a:lnTo>
                      <a:lnTo>
                        <a:pt x="68" y="859"/>
                      </a:lnTo>
                      <a:lnTo>
                        <a:pt x="66" y="859"/>
                      </a:lnTo>
                      <a:lnTo>
                        <a:pt x="66" y="857"/>
                      </a:lnTo>
                      <a:lnTo>
                        <a:pt x="68" y="857"/>
                      </a:lnTo>
                      <a:lnTo>
                        <a:pt x="68" y="855"/>
                      </a:lnTo>
                      <a:lnTo>
                        <a:pt x="68" y="853"/>
                      </a:lnTo>
                      <a:lnTo>
                        <a:pt x="68" y="851"/>
                      </a:lnTo>
                      <a:lnTo>
                        <a:pt x="66" y="851"/>
                      </a:lnTo>
                      <a:lnTo>
                        <a:pt x="66" y="849"/>
                      </a:lnTo>
                      <a:lnTo>
                        <a:pt x="64" y="849"/>
                      </a:lnTo>
                      <a:lnTo>
                        <a:pt x="62" y="848"/>
                      </a:lnTo>
                      <a:lnTo>
                        <a:pt x="60" y="846"/>
                      </a:lnTo>
                      <a:lnTo>
                        <a:pt x="60" y="844"/>
                      </a:lnTo>
                      <a:lnTo>
                        <a:pt x="60" y="842"/>
                      </a:lnTo>
                      <a:lnTo>
                        <a:pt x="58" y="842"/>
                      </a:lnTo>
                      <a:lnTo>
                        <a:pt x="58" y="844"/>
                      </a:lnTo>
                      <a:lnTo>
                        <a:pt x="58" y="846"/>
                      </a:lnTo>
                      <a:lnTo>
                        <a:pt x="58" y="848"/>
                      </a:lnTo>
                      <a:lnTo>
                        <a:pt x="58" y="849"/>
                      </a:lnTo>
                      <a:lnTo>
                        <a:pt x="58" y="851"/>
                      </a:lnTo>
                      <a:lnTo>
                        <a:pt x="56" y="851"/>
                      </a:lnTo>
                      <a:lnTo>
                        <a:pt x="56" y="849"/>
                      </a:lnTo>
                      <a:lnTo>
                        <a:pt x="56" y="848"/>
                      </a:lnTo>
                      <a:lnTo>
                        <a:pt x="55" y="848"/>
                      </a:lnTo>
                      <a:lnTo>
                        <a:pt x="53" y="846"/>
                      </a:lnTo>
                      <a:lnTo>
                        <a:pt x="51" y="846"/>
                      </a:lnTo>
                      <a:lnTo>
                        <a:pt x="51" y="844"/>
                      </a:lnTo>
                      <a:lnTo>
                        <a:pt x="51" y="846"/>
                      </a:lnTo>
                      <a:lnTo>
                        <a:pt x="49" y="846"/>
                      </a:lnTo>
                      <a:lnTo>
                        <a:pt x="49" y="848"/>
                      </a:lnTo>
                      <a:lnTo>
                        <a:pt x="51" y="848"/>
                      </a:lnTo>
                      <a:lnTo>
                        <a:pt x="53" y="849"/>
                      </a:lnTo>
                      <a:lnTo>
                        <a:pt x="53" y="851"/>
                      </a:lnTo>
                      <a:lnTo>
                        <a:pt x="51" y="853"/>
                      </a:lnTo>
                      <a:lnTo>
                        <a:pt x="51" y="855"/>
                      </a:lnTo>
                      <a:lnTo>
                        <a:pt x="49" y="855"/>
                      </a:lnTo>
                      <a:lnTo>
                        <a:pt x="49" y="857"/>
                      </a:lnTo>
                      <a:lnTo>
                        <a:pt x="47" y="857"/>
                      </a:lnTo>
                      <a:lnTo>
                        <a:pt x="47" y="859"/>
                      </a:lnTo>
                      <a:lnTo>
                        <a:pt x="45" y="859"/>
                      </a:lnTo>
                      <a:lnTo>
                        <a:pt x="45" y="861"/>
                      </a:lnTo>
                      <a:lnTo>
                        <a:pt x="45" y="859"/>
                      </a:lnTo>
                      <a:lnTo>
                        <a:pt x="43" y="859"/>
                      </a:lnTo>
                      <a:lnTo>
                        <a:pt x="43" y="857"/>
                      </a:lnTo>
                      <a:lnTo>
                        <a:pt x="45" y="857"/>
                      </a:lnTo>
                      <a:lnTo>
                        <a:pt x="45" y="855"/>
                      </a:lnTo>
                      <a:lnTo>
                        <a:pt x="47" y="855"/>
                      </a:lnTo>
                      <a:lnTo>
                        <a:pt x="47" y="853"/>
                      </a:lnTo>
                      <a:lnTo>
                        <a:pt x="45" y="851"/>
                      </a:lnTo>
                      <a:lnTo>
                        <a:pt x="45" y="849"/>
                      </a:lnTo>
                      <a:lnTo>
                        <a:pt x="43" y="849"/>
                      </a:lnTo>
                      <a:lnTo>
                        <a:pt x="43" y="848"/>
                      </a:lnTo>
                      <a:lnTo>
                        <a:pt x="43" y="846"/>
                      </a:lnTo>
                      <a:lnTo>
                        <a:pt x="41" y="846"/>
                      </a:lnTo>
                      <a:lnTo>
                        <a:pt x="41" y="844"/>
                      </a:lnTo>
                      <a:lnTo>
                        <a:pt x="41" y="842"/>
                      </a:lnTo>
                      <a:lnTo>
                        <a:pt x="39" y="842"/>
                      </a:lnTo>
                      <a:lnTo>
                        <a:pt x="39" y="840"/>
                      </a:lnTo>
                      <a:lnTo>
                        <a:pt x="39" y="838"/>
                      </a:lnTo>
                      <a:lnTo>
                        <a:pt x="39" y="836"/>
                      </a:lnTo>
                      <a:lnTo>
                        <a:pt x="38" y="836"/>
                      </a:lnTo>
                      <a:lnTo>
                        <a:pt x="36" y="836"/>
                      </a:lnTo>
                      <a:lnTo>
                        <a:pt x="34" y="836"/>
                      </a:lnTo>
                      <a:lnTo>
                        <a:pt x="34" y="838"/>
                      </a:lnTo>
                      <a:lnTo>
                        <a:pt x="32" y="838"/>
                      </a:lnTo>
                      <a:lnTo>
                        <a:pt x="30" y="836"/>
                      </a:lnTo>
                      <a:lnTo>
                        <a:pt x="28" y="836"/>
                      </a:lnTo>
                      <a:lnTo>
                        <a:pt x="26" y="836"/>
                      </a:lnTo>
                      <a:lnTo>
                        <a:pt x="24" y="838"/>
                      </a:lnTo>
                      <a:lnTo>
                        <a:pt x="23" y="840"/>
                      </a:lnTo>
                      <a:lnTo>
                        <a:pt x="21" y="842"/>
                      </a:lnTo>
                      <a:lnTo>
                        <a:pt x="19" y="840"/>
                      </a:lnTo>
                      <a:lnTo>
                        <a:pt x="19" y="838"/>
                      </a:lnTo>
                      <a:lnTo>
                        <a:pt x="21" y="836"/>
                      </a:lnTo>
                      <a:lnTo>
                        <a:pt x="23" y="836"/>
                      </a:lnTo>
                      <a:lnTo>
                        <a:pt x="23" y="834"/>
                      </a:lnTo>
                      <a:lnTo>
                        <a:pt x="21" y="834"/>
                      </a:lnTo>
                      <a:lnTo>
                        <a:pt x="19" y="834"/>
                      </a:lnTo>
                      <a:lnTo>
                        <a:pt x="17" y="834"/>
                      </a:lnTo>
                      <a:lnTo>
                        <a:pt x="17" y="836"/>
                      </a:lnTo>
                      <a:lnTo>
                        <a:pt x="17" y="838"/>
                      </a:lnTo>
                      <a:lnTo>
                        <a:pt x="15" y="838"/>
                      </a:lnTo>
                      <a:lnTo>
                        <a:pt x="15" y="840"/>
                      </a:lnTo>
                      <a:lnTo>
                        <a:pt x="15" y="838"/>
                      </a:lnTo>
                      <a:lnTo>
                        <a:pt x="11" y="836"/>
                      </a:lnTo>
                      <a:lnTo>
                        <a:pt x="11" y="834"/>
                      </a:lnTo>
                      <a:lnTo>
                        <a:pt x="9" y="832"/>
                      </a:lnTo>
                      <a:lnTo>
                        <a:pt x="9" y="831"/>
                      </a:lnTo>
                      <a:lnTo>
                        <a:pt x="9" y="829"/>
                      </a:lnTo>
                      <a:lnTo>
                        <a:pt x="8" y="829"/>
                      </a:lnTo>
                      <a:lnTo>
                        <a:pt x="8" y="831"/>
                      </a:lnTo>
                      <a:lnTo>
                        <a:pt x="6" y="831"/>
                      </a:lnTo>
                      <a:lnTo>
                        <a:pt x="6" y="832"/>
                      </a:lnTo>
                      <a:lnTo>
                        <a:pt x="4" y="832"/>
                      </a:lnTo>
                      <a:lnTo>
                        <a:pt x="4" y="831"/>
                      </a:lnTo>
                      <a:lnTo>
                        <a:pt x="4" y="829"/>
                      </a:lnTo>
                      <a:lnTo>
                        <a:pt x="4" y="827"/>
                      </a:lnTo>
                      <a:lnTo>
                        <a:pt x="2" y="827"/>
                      </a:lnTo>
                      <a:lnTo>
                        <a:pt x="2" y="825"/>
                      </a:lnTo>
                      <a:lnTo>
                        <a:pt x="2" y="823"/>
                      </a:lnTo>
                      <a:lnTo>
                        <a:pt x="0" y="823"/>
                      </a:lnTo>
                      <a:lnTo>
                        <a:pt x="2" y="823"/>
                      </a:lnTo>
                      <a:lnTo>
                        <a:pt x="0" y="821"/>
                      </a:lnTo>
                      <a:lnTo>
                        <a:pt x="0" y="819"/>
                      </a:lnTo>
                      <a:lnTo>
                        <a:pt x="4" y="821"/>
                      </a:lnTo>
                      <a:lnTo>
                        <a:pt x="4" y="819"/>
                      </a:lnTo>
                      <a:lnTo>
                        <a:pt x="6" y="817"/>
                      </a:lnTo>
                      <a:lnTo>
                        <a:pt x="9" y="817"/>
                      </a:lnTo>
                      <a:lnTo>
                        <a:pt x="9" y="819"/>
                      </a:lnTo>
                      <a:lnTo>
                        <a:pt x="9" y="821"/>
                      </a:lnTo>
                      <a:lnTo>
                        <a:pt x="15" y="821"/>
                      </a:lnTo>
                      <a:lnTo>
                        <a:pt x="17" y="821"/>
                      </a:lnTo>
                      <a:lnTo>
                        <a:pt x="17" y="819"/>
                      </a:lnTo>
                      <a:lnTo>
                        <a:pt x="19" y="817"/>
                      </a:lnTo>
                      <a:lnTo>
                        <a:pt x="19" y="816"/>
                      </a:lnTo>
                      <a:lnTo>
                        <a:pt x="21" y="810"/>
                      </a:lnTo>
                      <a:lnTo>
                        <a:pt x="21" y="804"/>
                      </a:lnTo>
                      <a:lnTo>
                        <a:pt x="19" y="804"/>
                      </a:lnTo>
                      <a:lnTo>
                        <a:pt x="19" y="802"/>
                      </a:lnTo>
                      <a:lnTo>
                        <a:pt x="21" y="802"/>
                      </a:lnTo>
                      <a:lnTo>
                        <a:pt x="19" y="797"/>
                      </a:lnTo>
                      <a:lnTo>
                        <a:pt x="21" y="797"/>
                      </a:lnTo>
                      <a:lnTo>
                        <a:pt x="24" y="795"/>
                      </a:lnTo>
                      <a:lnTo>
                        <a:pt x="24" y="793"/>
                      </a:lnTo>
                      <a:lnTo>
                        <a:pt x="26" y="793"/>
                      </a:lnTo>
                      <a:lnTo>
                        <a:pt x="26" y="791"/>
                      </a:lnTo>
                      <a:lnTo>
                        <a:pt x="41" y="787"/>
                      </a:lnTo>
                      <a:lnTo>
                        <a:pt x="38" y="774"/>
                      </a:lnTo>
                      <a:lnTo>
                        <a:pt x="36" y="776"/>
                      </a:lnTo>
                      <a:lnTo>
                        <a:pt x="38" y="765"/>
                      </a:lnTo>
                      <a:lnTo>
                        <a:pt x="39" y="757"/>
                      </a:lnTo>
                      <a:lnTo>
                        <a:pt x="43" y="757"/>
                      </a:lnTo>
                      <a:lnTo>
                        <a:pt x="45" y="757"/>
                      </a:lnTo>
                      <a:lnTo>
                        <a:pt x="51" y="757"/>
                      </a:lnTo>
                      <a:lnTo>
                        <a:pt x="51" y="753"/>
                      </a:lnTo>
                      <a:lnTo>
                        <a:pt x="62" y="752"/>
                      </a:lnTo>
                      <a:lnTo>
                        <a:pt x="60" y="746"/>
                      </a:lnTo>
                      <a:lnTo>
                        <a:pt x="60" y="748"/>
                      </a:lnTo>
                      <a:lnTo>
                        <a:pt x="60" y="746"/>
                      </a:lnTo>
                      <a:lnTo>
                        <a:pt x="62" y="746"/>
                      </a:lnTo>
                      <a:lnTo>
                        <a:pt x="62" y="744"/>
                      </a:lnTo>
                      <a:lnTo>
                        <a:pt x="64" y="744"/>
                      </a:lnTo>
                      <a:lnTo>
                        <a:pt x="64" y="742"/>
                      </a:lnTo>
                      <a:lnTo>
                        <a:pt x="66" y="742"/>
                      </a:lnTo>
                      <a:lnTo>
                        <a:pt x="68" y="742"/>
                      </a:lnTo>
                      <a:lnTo>
                        <a:pt x="68" y="740"/>
                      </a:lnTo>
                      <a:lnTo>
                        <a:pt x="68" y="738"/>
                      </a:lnTo>
                      <a:lnTo>
                        <a:pt x="66" y="738"/>
                      </a:lnTo>
                      <a:lnTo>
                        <a:pt x="71" y="738"/>
                      </a:lnTo>
                      <a:lnTo>
                        <a:pt x="73" y="738"/>
                      </a:lnTo>
                      <a:lnTo>
                        <a:pt x="73" y="735"/>
                      </a:lnTo>
                      <a:lnTo>
                        <a:pt x="73" y="733"/>
                      </a:lnTo>
                      <a:lnTo>
                        <a:pt x="73" y="731"/>
                      </a:lnTo>
                      <a:lnTo>
                        <a:pt x="71" y="731"/>
                      </a:lnTo>
                      <a:lnTo>
                        <a:pt x="71" y="729"/>
                      </a:lnTo>
                      <a:lnTo>
                        <a:pt x="71" y="727"/>
                      </a:lnTo>
                      <a:lnTo>
                        <a:pt x="71" y="721"/>
                      </a:lnTo>
                      <a:lnTo>
                        <a:pt x="73" y="714"/>
                      </a:lnTo>
                      <a:lnTo>
                        <a:pt x="75" y="714"/>
                      </a:lnTo>
                      <a:lnTo>
                        <a:pt x="77" y="716"/>
                      </a:lnTo>
                      <a:lnTo>
                        <a:pt x="81" y="716"/>
                      </a:lnTo>
                      <a:lnTo>
                        <a:pt x="85" y="718"/>
                      </a:lnTo>
                      <a:lnTo>
                        <a:pt x="83" y="720"/>
                      </a:lnTo>
                      <a:lnTo>
                        <a:pt x="85" y="721"/>
                      </a:lnTo>
                      <a:lnTo>
                        <a:pt x="87" y="718"/>
                      </a:lnTo>
                      <a:lnTo>
                        <a:pt x="88" y="720"/>
                      </a:lnTo>
                      <a:lnTo>
                        <a:pt x="87" y="721"/>
                      </a:lnTo>
                      <a:lnTo>
                        <a:pt x="87" y="723"/>
                      </a:lnTo>
                      <a:lnTo>
                        <a:pt x="102" y="727"/>
                      </a:lnTo>
                      <a:lnTo>
                        <a:pt x="100" y="720"/>
                      </a:lnTo>
                      <a:lnTo>
                        <a:pt x="100" y="718"/>
                      </a:lnTo>
                      <a:lnTo>
                        <a:pt x="102" y="716"/>
                      </a:lnTo>
                      <a:lnTo>
                        <a:pt x="103" y="716"/>
                      </a:lnTo>
                      <a:lnTo>
                        <a:pt x="105" y="716"/>
                      </a:lnTo>
                      <a:lnTo>
                        <a:pt x="107" y="714"/>
                      </a:lnTo>
                      <a:lnTo>
                        <a:pt x="111" y="716"/>
                      </a:lnTo>
                      <a:lnTo>
                        <a:pt x="113" y="716"/>
                      </a:lnTo>
                      <a:lnTo>
                        <a:pt x="134" y="718"/>
                      </a:lnTo>
                      <a:lnTo>
                        <a:pt x="134" y="704"/>
                      </a:lnTo>
                      <a:lnTo>
                        <a:pt x="137" y="699"/>
                      </a:lnTo>
                      <a:lnTo>
                        <a:pt x="139" y="699"/>
                      </a:lnTo>
                      <a:lnTo>
                        <a:pt x="137" y="697"/>
                      </a:lnTo>
                      <a:lnTo>
                        <a:pt x="137" y="695"/>
                      </a:lnTo>
                      <a:lnTo>
                        <a:pt x="139" y="691"/>
                      </a:lnTo>
                      <a:lnTo>
                        <a:pt x="141" y="691"/>
                      </a:lnTo>
                      <a:lnTo>
                        <a:pt x="143" y="691"/>
                      </a:lnTo>
                      <a:lnTo>
                        <a:pt x="150" y="688"/>
                      </a:lnTo>
                      <a:lnTo>
                        <a:pt x="158" y="684"/>
                      </a:lnTo>
                      <a:lnTo>
                        <a:pt x="154" y="674"/>
                      </a:lnTo>
                      <a:lnTo>
                        <a:pt x="152" y="667"/>
                      </a:lnTo>
                      <a:lnTo>
                        <a:pt x="147" y="669"/>
                      </a:lnTo>
                      <a:lnTo>
                        <a:pt x="143" y="657"/>
                      </a:lnTo>
                      <a:lnTo>
                        <a:pt x="137" y="661"/>
                      </a:lnTo>
                      <a:lnTo>
                        <a:pt x="130" y="661"/>
                      </a:lnTo>
                      <a:lnTo>
                        <a:pt x="126" y="663"/>
                      </a:lnTo>
                      <a:lnTo>
                        <a:pt x="118" y="667"/>
                      </a:lnTo>
                      <a:lnTo>
                        <a:pt x="111" y="663"/>
                      </a:lnTo>
                      <a:lnTo>
                        <a:pt x="109" y="661"/>
                      </a:lnTo>
                      <a:lnTo>
                        <a:pt x="109" y="659"/>
                      </a:lnTo>
                      <a:lnTo>
                        <a:pt x="102" y="656"/>
                      </a:lnTo>
                      <a:lnTo>
                        <a:pt x="98" y="654"/>
                      </a:lnTo>
                      <a:lnTo>
                        <a:pt x="98" y="650"/>
                      </a:lnTo>
                      <a:lnTo>
                        <a:pt x="98" y="648"/>
                      </a:lnTo>
                      <a:lnTo>
                        <a:pt x="96" y="640"/>
                      </a:lnTo>
                      <a:lnTo>
                        <a:pt x="87" y="639"/>
                      </a:lnTo>
                      <a:lnTo>
                        <a:pt x="73" y="635"/>
                      </a:lnTo>
                      <a:lnTo>
                        <a:pt x="73" y="624"/>
                      </a:lnTo>
                      <a:lnTo>
                        <a:pt x="73" y="620"/>
                      </a:lnTo>
                      <a:lnTo>
                        <a:pt x="71" y="622"/>
                      </a:lnTo>
                      <a:lnTo>
                        <a:pt x="71" y="614"/>
                      </a:lnTo>
                      <a:lnTo>
                        <a:pt x="71" y="612"/>
                      </a:lnTo>
                      <a:lnTo>
                        <a:pt x="62" y="607"/>
                      </a:lnTo>
                      <a:lnTo>
                        <a:pt x="64" y="599"/>
                      </a:lnTo>
                      <a:lnTo>
                        <a:pt x="66" y="599"/>
                      </a:lnTo>
                      <a:lnTo>
                        <a:pt x="66" y="595"/>
                      </a:lnTo>
                      <a:lnTo>
                        <a:pt x="70" y="593"/>
                      </a:lnTo>
                      <a:lnTo>
                        <a:pt x="66" y="588"/>
                      </a:lnTo>
                      <a:lnTo>
                        <a:pt x="70" y="588"/>
                      </a:lnTo>
                      <a:lnTo>
                        <a:pt x="73" y="588"/>
                      </a:lnTo>
                      <a:lnTo>
                        <a:pt x="75" y="584"/>
                      </a:lnTo>
                      <a:lnTo>
                        <a:pt x="85" y="588"/>
                      </a:lnTo>
                      <a:lnTo>
                        <a:pt x="88" y="575"/>
                      </a:lnTo>
                      <a:lnTo>
                        <a:pt x="88" y="571"/>
                      </a:lnTo>
                      <a:lnTo>
                        <a:pt x="100" y="561"/>
                      </a:lnTo>
                      <a:lnTo>
                        <a:pt x="103" y="563"/>
                      </a:lnTo>
                      <a:lnTo>
                        <a:pt x="111" y="565"/>
                      </a:lnTo>
                      <a:lnTo>
                        <a:pt x="113" y="565"/>
                      </a:lnTo>
                      <a:lnTo>
                        <a:pt x="118" y="567"/>
                      </a:lnTo>
                      <a:lnTo>
                        <a:pt x="132" y="567"/>
                      </a:lnTo>
                      <a:lnTo>
                        <a:pt x="132" y="565"/>
                      </a:lnTo>
                      <a:lnTo>
                        <a:pt x="135" y="575"/>
                      </a:lnTo>
                      <a:lnTo>
                        <a:pt x="141" y="571"/>
                      </a:lnTo>
                      <a:lnTo>
                        <a:pt x="149" y="571"/>
                      </a:lnTo>
                      <a:lnTo>
                        <a:pt x="150" y="573"/>
                      </a:lnTo>
                      <a:lnTo>
                        <a:pt x="158" y="571"/>
                      </a:lnTo>
                      <a:lnTo>
                        <a:pt x="160" y="573"/>
                      </a:lnTo>
                      <a:lnTo>
                        <a:pt x="164" y="563"/>
                      </a:lnTo>
                      <a:lnTo>
                        <a:pt x="164" y="561"/>
                      </a:lnTo>
                      <a:lnTo>
                        <a:pt x="162" y="556"/>
                      </a:lnTo>
                      <a:lnTo>
                        <a:pt x="162" y="548"/>
                      </a:lnTo>
                      <a:lnTo>
                        <a:pt x="164" y="546"/>
                      </a:lnTo>
                      <a:lnTo>
                        <a:pt x="164" y="539"/>
                      </a:lnTo>
                      <a:lnTo>
                        <a:pt x="166" y="537"/>
                      </a:lnTo>
                      <a:lnTo>
                        <a:pt x="164" y="535"/>
                      </a:lnTo>
                      <a:lnTo>
                        <a:pt x="164" y="533"/>
                      </a:lnTo>
                      <a:lnTo>
                        <a:pt x="171" y="537"/>
                      </a:lnTo>
                      <a:lnTo>
                        <a:pt x="177" y="539"/>
                      </a:lnTo>
                      <a:lnTo>
                        <a:pt x="179" y="535"/>
                      </a:lnTo>
                      <a:lnTo>
                        <a:pt x="179" y="533"/>
                      </a:lnTo>
                      <a:lnTo>
                        <a:pt x="181" y="524"/>
                      </a:lnTo>
                      <a:lnTo>
                        <a:pt x="179" y="520"/>
                      </a:lnTo>
                      <a:lnTo>
                        <a:pt x="177" y="520"/>
                      </a:lnTo>
                      <a:lnTo>
                        <a:pt x="179" y="518"/>
                      </a:lnTo>
                      <a:lnTo>
                        <a:pt x="182" y="507"/>
                      </a:lnTo>
                      <a:lnTo>
                        <a:pt x="186" y="501"/>
                      </a:lnTo>
                      <a:lnTo>
                        <a:pt x="186" y="499"/>
                      </a:lnTo>
                      <a:lnTo>
                        <a:pt x="188" y="497"/>
                      </a:lnTo>
                      <a:lnTo>
                        <a:pt x="186" y="497"/>
                      </a:lnTo>
                      <a:lnTo>
                        <a:pt x="186" y="496"/>
                      </a:lnTo>
                      <a:lnTo>
                        <a:pt x="182" y="494"/>
                      </a:lnTo>
                      <a:lnTo>
                        <a:pt x="181" y="494"/>
                      </a:lnTo>
                      <a:lnTo>
                        <a:pt x="182" y="490"/>
                      </a:lnTo>
                      <a:lnTo>
                        <a:pt x="182" y="484"/>
                      </a:lnTo>
                      <a:lnTo>
                        <a:pt x="184" y="477"/>
                      </a:lnTo>
                      <a:lnTo>
                        <a:pt x="190" y="477"/>
                      </a:lnTo>
                      <a:lnTo>
                        <a:pt x="196" y="475"/>
                      </a:lnTo>
                      <a:lnTo>
                        <a:pt x="209" y="469"/>
                      </a:lnTo>
                      <a:lnTo>
                        <a:pt x="207" y="465"/>
                      </a:lnTo>
                      <a:lnTo>
                        <a:pt x="211" y="465"/>
                      </a:lnTo>
                      <a:lnTo>
                        <a:pt x="209" y="464"/>
                      </a:lnTo>
                      <a:lnTo>
                        <a:pt x="203" y="462"/>
                      </a:lnTo>
                      <a:lnTo>
                        <a:pt x="203" y="456"/>
                      </a:lnTo>
                      <a:lnTo>
                        <a:pt x="205" y="452"/>
                      </a:lnTo>
                      <a:lnTo>
                        <a:pt x="203" y="448"/>
                      </a:lnTo>
                      <a:lnTo>
                        <a:pt x="201" y="447"/>
                      </a:lnTo>
                      <a:lnTo>
                        <a:pt x="209" y="445"/>
                      </a:lnTo>
                      <a:lnTo>
                        <a:pt x="211" y="443"/>
                      </a:lnTo>
                      <a:lnTo>
                        <a:pt x="214" y="443"/>
                      </a:lnTo>
                      <a:lnTo>
                        <a:pt x="218" y="439"/>
                      </a:lnTo>
                      <a:lnTo>
                        <a:pt x="216" y="437"/>
                      </a:lnTo>
                      <a:lnTo>
                        <a:pt x="214" y="428"/>
                      </a:lnTo>
                      <a:lnTo>
                        <a:pt x="213" y="428"/>
                      </a:lnTo>
                      <a:lnTo>
                        <a:pt x="209" y="433"/>
                      </a:lnTo>
                      <a:lnTo>
                        <a:pt x="209" y="435"/>
                      </a:lnTo>
                      <a:lnTo>
                        <a:pt x="207" y="435"/>
                      </a:lnTo>
                      <a:lnTo>
                        <a:pt x="205" y="435"/>
                      </a:lnTo>
                      <a:lnTo>
                        <a:pt x="205" y="433"/>
                      </a:lnTo>
                      <a:lnTo>
                        <a:pt x="203" y="435"/>
                      </a:lnTo>
                      <a:lnTo>
                        <a:pt x="201" y="435"/>
                      </a:lnTo>
                      <a:lnTo>
                        <a:pt x="199" y="433"/>
                      </a:lnTo>
                      <a:lnTo>
                        <a:pt x="197" y="433"/>
                      </a:lnTo>
                      <a:lnTo>
                        <a:pt x="197" y="431"/>
                      </a:lnTo>
                      <a:lnTo>
                        <a:pt x="196" y="431"/>
                      </a:lnTo>
                      <a:lnTo>
                        <a:pt x="197" y="437"/>
                      </a:lnTo>
                      <a:lnTo>
                        <a:pt x="196" y="437"/>
                      </a:lnTo>
                      <a:lnTo>
                        <a:pt x="196" y="439"/>
                      </a:lnTo>
                      <a:lnTo>
                        <a:pt x="192" y="441"/>
                      </a:lnTo>
                      <a:lnTo>
                        <a:pt x="190" y="439"/>
                      </a:lnTo>
                      <a:lnTo>
                        <a:pt x="192" y="445"/>
                      </a:lnTo>
                      <a:lnTo>
                        <a:pt x="194" y="447"/>
                      </a:lnTo>
                      <a:lnTo>
                        <a:pt x="196" y="450"/>
                      </a:lnTo>
                      <a:lnTo>
                        <a:pt x="194" y="450"/>
                      </a:lnTo>
                      <a:lnTo>
                        <a:pt x="186" y="454"/>
                      </a:lnTo>
                      <a:lnTo>
                        <a:pt x="179" y="456"/>
                      </a:lnTo>
                      <a:lnTo>
                        <a:pt x="177" y="454"/>
                      </a:lnTo>
                      <a:lnTo>
                        <a:pt x="175" y="452"/>
                      </a:lnTo>
                      <a:lnTo>
                        <a:pt x="173" y="448"/>
                      </a:lnTo>
                      <a:lnTo>
                        <a:pt x="171" y="445"/>
                      </a:lnTo>
                      <a:lnTo>
                        <a:pt x="169" y="435"/>
                      </a:lnTo>
                      <a:lnTo>
                        <a:pt x="156" y="448"/>
                      </a:lnTo>
                      <a:lnTo>
                        <a:pt x="160" y="437"/>
                      </a:lnTo>
                      <a:lnTo>
                        <a:pt x="162" y="435"/>
                      </a:lnTo>
                      <a:lnTo>
                        <a:pt x="160" y="435"/>
                      </a:lnTo>
                      <a:lnTo>
                        <a:pt x="158" y="433"/>
                      </a:lnTo>
                      <a:lnTo>
                        <a:pt x="156" y="430"/>
                      </a:lnTo>
                      <a:lnTo>
                        <a:pt x="149" y="433"/>
                      </a:lnTo>
                      <a:lnTo>
                        <a:pt x="147" y="435"/>
                      </a:lnTo>
                      <a:lnTo>
                        <a:pt x="145" y="437"/>
                      </a:lnTo>
                      <a:lnTo>
                        <a:pt x="143" y="439"/>
                      </a:lnTo>
                      <a:lnTo>
                        <a:pt x="141" y="441"/>
                      </a:lnTo>
                      <a:lnTo>
                        <a:pt x="143" y="445"/>
                      </a:lnTo>
                      <a:lnTo>
                        <a:pt x="145" y="448"/>
                      </a:lnTo>
                      <a:lnTo>
                        <a:pt x="149" y="448"/>
                      </a:lnTo>
                      <a:lnTo>
                        <a:pt x="150" y="448"/>
                      </a:lnTo>
                      <a:lnTo>
                        <a:pt x="152" y="447"/>
                      </a:lnTo>
                      <a:lnTo>
                        <a:pt x="154" y="452"/>
                      </a:lnTo>
                      <a:lnTo>
                        <a:pt x="154" y="456"/>
                      </a:lnTo>
                      <a:lnTo>
                        <a:pt x="156" y="462"/>
                      </a:lnTo>
                      <a:lnTo>
                        <a:pt x="156" y="465"/>
                      </a:lnTo>
                      <a:lnTo>
                        <a:pt x="156" y="467"/>
                      </a:lnTo>
                      <a:lnTo>
                        <a:pt x="158" y="467"/>
                      </a:lnTo>
                      <a:lnTo>
                        <a:pt x="160" y="467"/>
                      </a:lnTo>
                      <a:lnTo>
                        <a:pt x="160" y="469"/>
                      </a:lnTo>
                      <a:lnTo>
                        <a:pt x="160" y="473"/>
                      </a:lnTo>
                      <a:lnTo>
                        <a:pt x="154" y="471"/>
                      </a:lnTo>
                      <a:lnTo>
                        <a:pt x="152" y="473"/>
                      </a:lnTo>
                      <a:lnTo>
                        <a:pt x="150" y="469"/>
                      </a:lnTo>
                      <a:lnTo>
                        <a:pt x="150" y="467"/>
                      </a:lnTo>
                      <a:lnTo>
                        <a:pt x="147" y="469"/>
                      </a:lnTo>
                      <a:lnTo>
                        <a:pt x="145" y="469"/>
                      </a:lnTo>
                      <a:lnTo>
                        <a:pt x="145" y="471"/>
                      </a:lnTo>
                      <a:lnTo>
                        <a:pt x="145" y="473"/>
                      </a:lnTo>
                      <a:lnTo>
                        <a:pt x="149" y="473"/>
                      </a:lnTo>
                      <a:lnTo>
                        <a:pt x="154" y="480"/>
                      </a:lnTo>
                      <a:lnTo>
                        <a:pt x="152" y="480"/>
                      </a:lnTo>
                      <a:lnTo>
                        <a:pt x="150" y="482"/>
                      </a:lnTo>
                      <a:lnTo>
                        <a:pt x="149" y="482"/>
                      </a:lnTo>
                      <a:lnTo>
                        <a:pt x="147" y="484"/>
                      </a:lnTo>
                      <a:lnTo>
                        <a:pt x="145" y="482"/>
                      </a:lnTo>
                      <a:lnTo>
                        <a:pt x="139" y="486"/>
                      </a:lnTo>
                      <a:lnTo>
                        <a:pt x="137" y="486"/>
                      </a:lnTo>
                      <a:lnTo>
                        <a:pt x="134" y="484"/>
                      </a:lnTo>
                      <a:lnTo>
                        <a:pt x="134" y="486"/>
                      </a:lnTo>
                      <a:lnTo>
                        <a:pt x="132" y="486"/>
                      </a:lnTo>
                      <a:lnTo>
                        <a:pt x="132" y="484"/>
                      </a:lnTo>
                      <a:lnTo>
                        <a:pt x="130" y="484"/>
                      </a:lnTo>
                      <a:lnTo>
                        <a:pt x="132" y="479"/>
                      </a:lnTo>
                      <a:lnTo>
                        <a:pt x="132" y="475"/>
                      </a:lnTo>
                      <a:lnTo>
                        <a:pt x="134" y="471"/>
                      </a:lnTo>
                      <a:lnTo>
                        <a:pt x="126" y="467"/>
                      </a:lnTo>
                      <a:lnTo>
                        <a:pt x="122" y="465"/>
                      </a:lnTo>
                      <a:lnTo>
                        <a:pt x="122" y="469"/>
                      </a:lnTo>
                      <a:lnTo>
                        <a:pt x="122" y="471"/>
                      </a:lnTo>
                      <a:lnTo>
                        <a:pt x="120" y="475"/>
                      </a:lnTo>
                      <a:lnTo>
                        <a:pt x="118" y="480"/>
                      </a:lnTo>
                      <a:lnTo>
                        <a:pt x="117" y="480"/>
                      </a:lnTo>
                      <a:lnTo>
                        <a:pt x="113" y="479"/>
                      </a:lnTo>
                      <a:lnTo>
                        <a:pt x="109" y="475"/>
                      </a:lnTo>
                      <a:lnTo>
                        <a:pt x="109" y="473"/>
                      </a:lnTo>
                      <a:lnTo>
                        <a:pt x="107" y="465"/>
                      </a:lnTo>
                      <a:lnTo>
                        <a:pt x="105" y="464"/>
                      </a:lnTo>
                      <a:lnTo>
                        <a:pt x="103" y="456"/>
                      </a:lnTo>
                      <a:lnTo>
                        <a:pt x="102" y="454"/>
                      </a:lnTo>
                      <a:lnTo>
                        <a:pt x="103" y="452"/>
                      </a:lnTo>
                      <a:lnTo>
                        <a:pt x="102" y="452"/>
                      </a:lnTo>
                      <a:lnTo>
                        <a:pt x="100" y="445"/>
                      </a:lnTo>
                      <a:lnTo>
                        <a:pt x="98" y="437"/>
                      </a:lnTo>
                      <a:lnTo>
                        <a:pt x="98" y="435"/>
                      </a:lnTo>
                      <a:lnTo>
                        <a:pt x="100" y="433"/>
                      </a:lnTo>
                      <a:lnTo>
                        <a:pt x="100" y="426"/>
                      </a:lnTo>
                      <a:lnTo>
                        <a:pt x="98" y="424"/>
                      </a:lnTo>
                      <a:lnTo>
                        <a:pt x="96" y="420"/>
                      </a:lnTo>
                      <a:lnTo>
                        <a:pt x="94" y="420"/>
                      </a:lnTo>
                      <a:lnTo>
                        <a:pt x="96" y="418"/>
                      </a:lnTo>
                      <a:lnTo>
                        <a:pt x="98" y="416"/>
                      </a:lnTo>
                      <a:lnTo>
                        <a:pt x="98" y="415"/>
                      </a:lnTo>
                      <a:lnTo>
                        <a:pt x="98" y="413"/>
                      </a:lnTo>
                      <a:lnTo>
                        <a:pt x="98" y="411"/>
                      </a:lnTo>
                      <a:lnTo>
                        <a:pt x="96" y="403"/>
                      </a:lnTo>
                      <a:lnTo>
                        <a:pt x="102" y="398"/>
                      </a:lnTo>
                      <a:lnTo>
                        <a:pt x="96" y="381"/>
                      </a:lnTo>
                      <a:lnTo>
                        <a:pt x="100" y="381"/>
                      </a:lnTo>
                      <a:lnTo>
                        <a:pt x="102" y="379"/>
                      </a:lnTo>
                      <a:lnTo>
                        <a:pt x="105" y="377"/>
                      </a:lnTo>
                      <a:lnTo>
                        <a:pt x="109" y="375"/>
                      </a:lnTo>
                      <a:lnTo>
                        <a:pt x="111" y="373"/>
                      </a:lnTo>
                      <a:lnTo>
                        <a:pt x="113" y="371"/>
                      </a:lnTo>
                      <a:lnTo>
                        <a:pt x="115" y="369"/>
                      </a:lnTo>
                      <a:lnTo>
                        <a:pt x="120" y="367"/>
                      </a:lnTo>
                      <a:lnTo>
                        <a:pt x="122" y="367"/>
                      </a:lnTo>
                      <a:lnTo>
                        <a:pt x="124" y="367"/>
                      </a:lnTo>
                      <a:lnTo>
                        <a:pt x="126" y="369"/>
                      </a:lnTo>
                      <a:lnTo>
                        <a:pt x="124" y="364"/>
                      </a:lnTo>
                      <a:lnTo>
                        <a:pt x="126" y="362"/>
                      </a:lnTo>
                      <a:lnTo>
                        <a:pt x="128" y="358"/>
                      </a:lnTo>
                      <a:lnTo>
                        <a:pt x="130" y="356"/>
                      </a:lnTo>
                      <a:lnTo>
                        <a:pt x="134" y="349"/>
                      </a:lnTo>
                      <a:lnTo>
                        <a:pt x="137" y="352"/>
                      </a:lnTo>
                      <a:lnTo>
                        <a:pt x="135" y="339"/>
                      </a:lnTo>
                      <a:lnTo>
                        <a:pt x="135" y="337"/>
                      </a:lnTo>
                      <a:lnTo>
                        <a:pt x="132" y="330"/>
                      </a:lnTo>
                      <a:lnTo>
                        <a:pt x="132" y="328"/>
                      </a:lnTo>
                      <a:lnTo>
                        <a:pt x="130" y="322"/>
                      </a:lnTo>
                      <a:lnTo>
                        <a:pt x="128" y="319"/>
                      </a:lnTo>
                      <a:lnTo>
                        <a:pt x="118" y="320"/>
                      </a:lnTo>
                      <a:lnTo>
                        <a:pt x="117" y="320"/>
                      </a:lnTo>
                      <a:lnTo>
                        <a:pt x="113" y="322"/>
                      </a:lnTo>
                      <a:lnTo>
                        <a:pt x="111" y="324"/>
                      </a:lnTo>
                      <a:lnTo>
                        <a:pt x="109" y="326"/>
                      </a:lnTo>
                      <a:lnTo>
                        <a:pt x="103" y="328"/>
                      </a:lnTo>
                      <a:lnTo>
                        <a:pt x="103" y="319"/>
                      </a:lnTo>
                      <a:lnTo>
                        <a:pt x="102" y="320"/>
                      </a:lnTo>
                      <a:lnTo>
                        <a:pt x="100" y="320"/>
                      </a:lnTo>
                      <a:lnTo>
                        <a:pt x="100" y="322"/>
                      </a:lnTo>
                      <a:lnTo>
                        <a:pt x="100" y="324"/>
                      </a:lnTo>
                      <a:lnTo>
                        <a:pt x="90" y="326"/>
                      </a:lnTo>
                      <a:lnTo>
                        <a:pt x="90" y="328"/>
                      </a:lnTo>
                      <a:lnTo>
                        <a:pt x="85" y="328"/>
                      </a:lnTo>
                      <a:lnTo>
                        <a:pt x="75" y="330"/>
                      </a:lnTo>
                      <a:lnTo>
                        <a:pt x="73" y="335"/>
                      </a:lnTo>
                      <a:lnTo>
                        <a:pt x="71" y="335"/>
                      </a:lnTo>
                      <a:lnTo>
                        <a:pt x="70" y="337"/>
                      </a:lnTo>
                      <a:lnTo>
                        <a:pt x="64" y="339"/>
                      </a:lnTo>
                      <a:lnTo>
                        <a:pt x="58" y="341"/>
                      </a:lnTo>
                      <a:lnTo>
                        <a:pt x="56" y="345"/>
                      </a:lnTo>
                      <a:lnTo>
                        <a:pt x="53" y="345"/>
                      </a:lnTo>
                      <a:lnTo>
                        <a:pt x="41" y="347"/>
                      </a:lnTo>
                      <a:lnTo>
                        <a:pt x="36" y="347"/>
                      </a:lnTo>
                      <a:lnTo>
                        <a:pt x="43" y="345"/>
                      </a:lnTo>
                      <a:lnTo>
                        <a:pt x="38" y="334"/>
                      </a:lnTo>
                      <a:lnTo>
                        <a:pt x="34" y="332"/>
                      </a:lnTo>
                      <a:lnTo>
                        <a:pt x="38" y="330"/>
                      </a:lnTo>
                      <a:lnTo>
                        <a:pt x="39" y="328"/>
                      </a:lnTo>
                      <a:lnTo>
                        <a:pt x="47" y="324"/>
                      </a:lnTo>
                      <a:lnTo>
                        <a:pt x="51" y="324"/>
                      </a:lnTo>
                      <a:lnTo>
                        <a:pt x="51" y="326"/>
                      </a:lnTo>
                      <a:lnTo>
                        <a:pt x="64" y="324"/>
                      </a:lnTo>
                      <a:lnTo>
                        <a:pt x="64" y="322"/>
                      </a:lnTo>
                      <a:lnTo>
                        <a:pt x="58" y="313"/>
                      </a:lnTo>
                      <a:lnTo>
                        <a:pt x="70" y="311"/>
                      </a:lnTo>
                      <a:lnTo>
                        <a:pt x="83" y="309"/>
                      </a:lnTo>
                      <a:lnTo>
                        <a:pt x="92" y="307"/>
                      </a:lnTo>
                      <a:lnTo>
                        <a:pt x="94" y="303"/>
                      </a:lnTo>
                      <a:lnTo>
                        <a:pt x="100" y="303"/>
                      </a:lnTo>
                      <a:lnTo>
                        <a:pt x="100" y="302"/>
                      </a:lnTo>
                      <a:lnTo>
                        <a:pt x="98" y="302"/>
                      </a:lnTo>
                      <a:lnTo>
                        <a:pt x="96" y="296"/>
                      </a:lnTo>
                      <a:lnTo>
                        <a:pt x="92" y="288"/>
                      </a:lnTo>
                      <a:lnTo>
                        <a:pt x="94" y="287"/>
                      </a:lnTo>
                      <a:lnTo>
                        <a:pt x="100" y="283"/>
                      </a:lnTo>
                      <a:lnTo>
                        <a:pt x="102" y="283"/>
                      </a:lnTo>
                      <a:lnTo>
                        <a:pt x="103" y="281"/>
                      </a:lnTo>
                      <a:lnTo>
                        <a:pt x="105" y="279"/>
                      </a:lnTo>
                      <a:lnTo>
                        <a:pt x="113" y="277"/>
                      </a:lnTo>
                      <a:lnTo>
                        <a:pt x="120" y="273"/>
                      </a:lnTo>
                      <a:lnTo>
                        <a:pt x="132" y="262"/>
                      </a:lnTo>
                      <a:lnTo>
                        <a:pt x="137" y="262"/>
                      </a:lnTo>
                      <a:lnTo>
                        <a:pt x="145" y="264"/>
                      </a:lnTo>
                      <a:lnTo>
                        <a:pt x="152" y="264"/>
                      </a:lnTo>
                      <a:lnTo>
                        <a:pt x="154" y="268"/>
                      </a:lnTo>
                      <a:lnTo>
                        <a:pt x="164" y="264"/>
                      </a:lnTo>
                      <a:lnTo>
                        <a:pt x="173" y="260"/>
                      </a:lnTo>
                      <a:lnTo>
                        <a:pt x="177" y="266"/>
                      </a:lnTo>
                      <a:lnTo>
                        <a:pt x="179" y="268"/>
                      </a:lnTo>
                      <a:lnTo>
                        <a:pt x="166" y="275"/>
                      </a:lnTo>
                      <a:lnTo>
                        <a:pt x="169" y="283"/>
                      </a:lnTo>
                      <a:lnTo>
                        <a:pt x="169" y="287"/>
                      </a:lnTo>
                      <a:lnTo>
                        <a:pt x="169" y="288"/>
                      </a:lnTo>
                      <a:lnTo>
                        <a:pt x="171" y="288"/>
                      </a:lnTo>
                      <a:lnTo>
                        <a:pt x="177" y="287"/>
                      </a:lnTo>
                      <a:lnTo>
                        <a:pt x="179" y="292"/>
                      </a:lnTo>
                      <a:lnTo>
                        <a:pt x="181" y="292"/>
                      </a:lnTo>
                      <a:lnTo>
                        <a:pt x="181" y="294"/>
                      </a:lnTo>
                      <a:lnTo>
                        <a:pt x="182" y="298"/>
                      </a:lnTo>
                      <a:lnTo>
                        <a:pt x="182" y="300"/>
                      </a:lnTo>
                      <a:lnTo>
                        <a:pt x="182" y="302"/>
                      </a:lnTo>
                      <a:lnTo>
                        <a:pt x="184" y="303"/>
                      </a:lnTo>
                      <a:lnTo>
                        <a:pt x="186" y="307"/>
                      </a:lnTo>
                      <a:lnTo>
                        <a:pt x="190" y="305"/>
                      </a:lnTo>
                      <a:lnTo>
                        <a:pt x="192" y="305"/>
                      </a:lnTo>
                      <a:lnTo>
                        <a:pt x="194" y="305"/>
                      </a:lnTo>
                      <a:lnTo>
                        <a:pt x="196" y="303"/>
                      </a:lnTo>
                      <a:lnTo>
                        <a:pt x="197" y="303"/>
                      </a:lnTo>
                      <a:lnTo>
                        <a:pt x="211" y="305"/>
                      </a:lnTo>
                      <a:lnTo>
                        <a:pt x="213" y="307"/>
                      </a:lnTo>
                      <a:lnTo>
                        <a:pt x="214" y="313"/>
                      </a:lnTo>
                      <a:lnTo>
                        <a:pt x="216" y="313"/>
                      </a:lnTo>
                      <a:lnTo>
                        <a:pt x="214" y="315"/>
                      </a:lnTo>
                      <a:lnTo>
                        <a:pt x="216" y="317"/>
                      </a:lnTo>
                      <a:lnTo>
                        <a:pt x="216" y="315"/>
                      </a:lnTo>
                      <a:lnTo>
                        <a:pt x="216" y="317"/>
                      </a:lnTo>
                      <a:lnTo>
                        <a:pt x="218" y="315"/>
                      </a:lnTo>
                      <a:lnTo>
                        <a:pt x="218" y="317"/>
                      </a:lnTo>
                      <a:lnTo>
                        <a:pt x="220" y="315"/>
                      </a:lnTo>
                      <a:lnTo>
                        <a:pt x="222" y="317"/>
                      </a:lnTo>
                      <a:lnTo>
                        <a:pt x="224" y="317"/>
                      </a:lnTo>
                      <a:lnTo>
                        <a:pt x="226" y="319"/>
                      </a:lnTo>
                      <a:lnTo>
                        <a:pt x="214" y="326"/>
                      </a:lnTo>
                      <a:lnTo>
                        <a:pt x="216" y="330"/>
                      </a:lnTo>
                      <a:lnTo>
                        <a:pt x="214" y="328"/>
                      </a:lnTo>
                      <a:lnTo>
                        <a:pt x="213" y="328"/>
                      </a:lnTo>
                      <a:lnTo>
                        <a:pt x="207" y="328"/>
                      </a:lnTo>
                      <a:lnTo>
                        <a:pt x="203" y="326"/>
                      </a:lnTo>
                      <a:lnTo>
                        <a:pt x="205" y="345"/>
                      </a:lnTo>
                      <a:lnTo>
                        <a:pt x="201" y="358"/>
                      </a:lnTo>
                      <a:lnTo>
                        <a:pt x="203" y="360"/>
                      </a:lnTo>
                      <a:lnTo>
                        <a:pt x="201" y="362"/>
                      </a:lnTo>
                      <a:lnTo>
                        <a:pt x="203" y="366"/>
                      </a:lnTo>
                      <a:lnTo>
                        <a:pt x="205" y="366"/>
                      </a:lnTo>
                      <a:lnTo>
                        <a:pt x="207" y="366"/>
                      </a:lnTo>
                      <a:lnTo>
                        <a:pt x="209" y="367"/>
                      </a:lnTo>
                      <a:lnTo>
                        <a:pt x="211" y="367"/>
                      </a:lnTo>
                      <a:lnTo>
                        <a:pt x="213" y="367"/>
                      </a:lnTo>
                      <a:lnTo>
                        <a:pt x="214" y="367"/>
                      </a:lnTo>
                      <a:lnTo>
                        <a:pt x="214" y="369"/>
                      </a:lnTo>
                      <a:lnTo>
                        <a:pt x="216" y="369"/>
                      </a:lnTo>
                      <a:lnTo>
                        <a:pt x="218" y="379"/>
                      </a:lnTo>
                      <a:lnTo>
                        <a:pt x="224" y="375"/>
                      </a:lnTo>
                      <a:lnTo>
                        <a:pt x="229" y="375"/>
                      </a:lnTo>
                      <a:lnTo>
                        <a:pt x="233" y="373"/>
                      </a:lnTo>
                      <a:lnTo>
                        <a:pt x="235" y="373"/>
                      </a:lnTo>
                      <a:lnTo>
                        <a:pt x="237" y="375"/>
                      </a:lnTo>
                      <a:lnTo>
                        <a:pt x="237" y="377"/>
                      </a:lnTo>
                      <a:lnTo>
                        <a:pt x="235" y="388"/>
                      </a:lnTo>
                      <a:lnTo>
                        <a:pt x="229" y="396"/>
                      </a:lnTo>
                      <a:lnTo>
                        <a:pt x="243" y="392"/>
                      </a:lnTo>
                      <a:lnTo>
                        <a:pt x="246" y="405"/>
                      </a:lnTo>
                      <a:lnTo>
                        <a:pt x="254" y="401"/>
                      </a:lnTo>
                      <a:lnTo>
                        <a:pt x="256" y="401"/>
                      </a:lnTo>
                      <a:lnTo>
                        <a:pt x="256" y="398"/>
                      </a:lnTo>
                      <a:lnTo>
                        <a:pt x="258" y="396"/>
                      </a:lnTo>
                      <a:lnTo>
                        <a:pt x="261" y="394"/>
                      </a:lnTo>
                      <a:lnTo>
                        <a:pt x="275" y="394"/>
                      </a:lnTo>
                      <a:lnTo>
                        <a:pt x="280" y="392"/>
                      </a:lnTo>
                      <a:lnTo>
                        <a:pt x="282" y="401"/>
                      </a:lnTo>
                      <a:lnTo>
                        <a:pt x="284" y="401"/>
                      </a:lnTo>
                      <a:lnTo>
                        <a:pt x="286" y="401"/>
                      </a:lnTo>
                      <a:lnTo>
                        <a:pt x="286" y="403"/>
                      </a:lnTo>
                      <a:lnTo>
                        <a:pt x="295" y="405"/>
                      </a:lnTo>
                      <a:lnTo>
                        <a:pt x="295" y="403"/>
                      </a:lnTo>
                      <a:lnTo>
                        <a:pt x="308" y="401"/>
                      </a:lnTo>
                      <a:lnTo>
                        <a:pt x="316" y="403"/>
                      </a:lnTo>
                      <a:lnTo>
                        <a:pt x="325" y="407"/>
                      </a:lnTo>
                      <a:lnTo>
                        <a:pt x="327" y="401"/>
                      </a:lnTo>
                      <a:lnTo>
                        <a:pt x="342" y="399"/>
                      </a:lnTo>
                      <a:lnTo>
                        <a:pt x="350" y="399"/>
                      </a:lnTo>
                      <a:lnTo>
                        <a:pt x="365" y="392"/>
                      </a:lnTo>
                      <a:lnTo>
                        <a:pt x="378" y="396"/>
                      </a:lnTo>
                      <a:lnTo>
                        <a:pt x="384" y="398"/>
                      </a:lnTo>
                      <a:lnTo>
                        <a:pt x="386" y="399"/>
                      </a:lnTo>
                      <a:lnTo>
                        <a:pt x="389" y="401"/>
                      </a:lnTo>
                      <a:lnTo>
                        <a:pt x="391" y="398"/>
                      </a:lnTo>
                      <a:lnTo>
                        <a:pt x="395" y="390"/>
                      </a:lnTo>
                      <a:lnTo>
                        <a:pt x="397" y="390"/>
                      </a:lnTo>
                      <a:lnTo>
                        <a:pt x="403" y="390"/>
                      </a:lnTo>
                      <a:lnTo>
                        <a:pt x="403" y="388"/>
                      </a:lnTo>
                      <a:lnTo>
                        <a:pt x="403" y="390"/>
                      </a:lnTo>
                      <a:lnTo>
                        <a:pt x="404" y="390"/>
                      </a:lnTo>
                      <a:lnTo>
                        <a:pt x="406" y="390"/>
                      </a:lnTo>
                      <a:lnTo>
                        <a:pt x="406" y="392"/>
                      </a:lnTo>
                      <a:lnTo>
                        <a:pt x="406" y="394"/>
                      </a:lnTo>
                      <a:lnTo>
                        <a:pt x="406" y="396"/>
                      </a:lnTo>
                      <a:lnTo>
                        <a:pt x="408" y="396"/>
                      </a:lnTo>
                      <a:lnTo>
                        <a:pt x="419" y="390"/>
                      </a:lnTo>
                      <a:lnTo>
                        <a:pt x="419" y="383"/>
                      </a:lnTo>
                      <a:lnTo>
                        <a:pt x="433" y="381"/>
                      </a:lnTo>
                      <a:lnTo>
                        <a:pt x="446" y="383"/>
                      </a:lnTo>
                      <a:lnTo>
                        <a:pt x="450" y="383"/>
                      </a:lnTo>
                      <a:lnTo>
                        <a:pt x="450" y="366"/>
                      </a:lnTo>
                      <a:lnTo>
                        <a:pt x="450" y="362"/>
                      </a:lnTo>
                      <a:lnTo>
                        <a:pt x="450" y="360"/>
                      </a:lnTo>
                      <a:lnTo>
                        <a:pt x="451" y="358"/>
                      </a:lnTo>
                      <a:lnTo>
                        <a:pt x="451" y="352"/>
                      </a:lnTo>
                      <a:lnTo>
                        <a:pt x="451" y="351"/>
                      </a:lnTo>
                      <a:lnTo>
                        <a:pt x="451" y="347"/>
                      </a:lnTo>
                      <a:lnTo>
                        <a:pt x="451" y="345"/>
                      </a:lnTo>
                      <a:lnTo>
                        <a:pt x="450" y="328"/>
                      </a:lnTo>
                      <a:lnTo>
                        <a:pt x="448" y="324"/>
                      </a:lnTo>
                      <a:lnTo>
                        <a:pt x="448" y="322"/>
                      </a:lnTo>
                      <a:lnTo>
                        <a:pt x="444" y="313"/>
                      </a:lnTo>
                      <a:lnTo>
                        <a:pt x="457" y="311"/>
                      </a:lnTo>
                      <a:lnTo>
                        <a:pt x="457" y="305"/>
                      </a:lnTo>
                      <a:lnTo>
                        <a:pt x="463" y="311"/>
                      </a:lnTo>
                      <a:lnTo>
                        <a:pt x="472" y="319"/>
                      </a:lnTo>
                      <a:lnTo>
                        <a:pt x="472" y="322"/>
                      </a:lnTo>
                      <a:lnTo>
                        <a:pt x="480" y="320"/>
                      </a:lnTo>
                      <a:lnTo>
                        <a:pt x="485" y="322"/>
                      </a:lnTo>
                      <a:lnTo>
                        <a:pt x="485" y="313"/>
                      </a:lnTo>
                      <a:lnTo>
                        <a:pt x="487" y="313"/>
                      </a:lnTo>
                      <a:lnTo>
                        <a:pt x="487" y="302"/>
                      </a:lnTo>
                      <a:lnTo>
                        <a:pt x="487" y="296"/>
                      </a:lnTo>
                      <a:lnTo>
                        <a:pt x="489" y="296"/>
                      </a:lnTo>
                      <a:lnTo>
                        <a:pt x="498" y="298"/>
                      </a:lnTo>
                      <a:lnTo>
                        <a:pt x="498" y="296"/>
                      </a:lnTo>
                      <a:lnTo>
                        <a:pt x="498" y="294"/>
                      </a:lnTo>
                      <a:lnTo>
                        <a:pt x="495" y="287"/>
                      </a:lnTo>
                      <a:lnTo>
                        <a:pt x="495" y="285"/>
                      </a:lnTo>
                      <a:lnTo>
                        <a:pt x="493" y="285"/>
                      </a:lnTo>
                      <a:lnTo>
                        <a:pt x="493" y="279"/>
                      </a:lnTo>
                      <a:lnTo>
                        <a:pt x="493" y="273"/>
                      </a:lnTo>
                      <a:lnTo>
                        <a:pt x="495" y="268"/>
                      </a:lnTo>
                      <a:lnTo>
                        <a:pt x="495" y="266"/>
                      </a:lnTo>
                      <a:lnTo>
                        <a:pt x="497" y="253"/>
                      </a:lnTo>
                      <a:lnTo>
                        <a:pt x="497" y="251"/>
                      </a:lnTo>
                      <a:lnTo>
                        <a:pt x="498" y="247"/>
                      </a:lnTo>
                      <a:lnTo>
                        <a:pt x="506" y="247"/>
                      </a:lnTo>
                      <a:lnTo>
                        <a:pt x="512" y="249"/>
                      </a:lnTo>
                      <a:lnTo>
                        <a:pt x="521" y="249"/>
                      </a:lnTo>
                      <a:lnTo>
                        <a:pt x="525" y="251"/>
                      </a:lnTo>
                      <a:lnTo>
                        <a:pt x="527" y="255"/>
                      </a:lnTo>
                      <a:lnTo>
                        <a:pt x="529" y="255"/>
                      </a:lnTo>
                      <a:lnTo>
                        <a:pt x="529" y="253"/>
                      </a:lnTo>
                      <a:lnTo>
                        <a:pt x="527" y="253"/>
                      </a:lnTo>
                      <a:lnTo>
                        <a:pt x="527" y="251"/>
                      </a:lnTo>
                      <a:lnTo>
                        <a:pt x="529" y="251"/>
                      </a:lnTo>
                      <a:lnTo>
                        <a:pt x="529" y="253"/>
                      </a:lnTo>
                      <a:lnTo>
                        <a:pt x="530" y="253"/>
                      </a:lnTo>
                      <a:lnTo>
                        <a:pt x="538" y="255"/>
                      </a:lnTo>
                      <a:lnTo>
                        <a:pt x="538" y="251"/>
                      </a:lnTo>
                      <a:lnTo>
                        <a:pt x="538" y="249"/>
                      </a:lnTo>
                      <a:lnTo>
                        <a:pt x="540" y="245"/>
                      </a:lnTo>
                      <a:lnTo>
                        <a:pt x="549" y="251"/>
                      </a:lnTo>
                      <a:lnTo>
                        <a:pt x="551" y="251"/>
                      </a:lnTo>
                      <a:lnTo>
                        <a:pt x="549" y="249"/>
                      </a:lnTo>
                      <a:lnTo>
                        <a:pt x="549" y="247"/>
                      </a:lnTo>
                      <a:lnTo>
                        <a:pt x="549" y="249"/>
                      </a:lnTo>
                      <a:lnTo>
                        <a:pt x="547" y="249"/>
                      </a:lnTo>
                      <a:lnTo>
                        <a:pt x="547" y="247"/>
                      </a:lnTo>
                      <a:lnTo>
                        <a:pt x="547" y="245"/>
                      </a:lnTo>
                      <a:lnTo>
                        <a:pt x="549" y="245"/>
                      </a:lnTo>
                      <a:lnTo>
                        <a:pt x="547" y="245"/>
                      </a:lnTo>
                      <a:lnTo>
                        <a:pt x="557" y="247"/>
                      </a:lnTo>
                      <a:lnTo>
                        <a:pt x="561" y="249"/>
                      </a:lnTo>
                      <a:lnTo>
                        <a:pt x="562" y="255"/>
                      </a:lnTo>
                      <a:lnTo>
                        <a:pt x="562" y="258"/>
                      </a:lnTo>
                      <a:lnTo>
                        <a:pt x="564" y="262"/>
                      </a:lnTo>
                      <a:lnTo>
                        <a:pt x="566" y="264"/>
                      </a:lnTo>
                      <a:lnTo>
                        <a:pt x="568" y="266"/>
                      </a:lnTo>
                      <a:lnTo>
                        <a:pt x="570" y="268"/>
                      </a:lnTo>
                      <a:lnTo>
                        <a:pt x="572" y="271"/>
                      </a:lnTo>
                      <a:lnTo>
                        <a:pt x="574" y="271"/>
                      </a:lnTo>
                      <a:lnTo>
                        <a:pt x="574" y="273"/>
                      </a:lnTo>
                      <a:lnTo>
                        <a:pt x="576" y="273"/>
                      </a:lnTo>
                      <a:lnTo>
                        <a:pt x="576" y="270"/>
                      </a:lnTo>
                      <a:lnTo>
                        <a:pt x="576" y="268"/>
                      </a:lnTo>
                      <a:lnTo>
                        <a:pt x="576" y="266"/>
                      </a:lnTo>
                      <a:lnTo>
                        <a:pt x="576" y="264"/>
                      </a:lnTo>
                      <a:lnTo>
                        <a:pt x="581" y="260"/>
                      </a:lnTo>
                      <a:lnTo>
                        <a:pt x="587" y="260"/>
                      </a:lnTo>
                      <a:lnTo>
                        <a:pt x="589" y="258"/>
                      </a:lnTo>
                      <a:lnTo>
                        <a:pt x="592" y="258"/>
                      </a:lnTo>
                      <a:lnTo>
                        <a:pt x="596" y="264"/>
                      </a:lnTo>
                      <a:lnTo>
                        <a:pt x="596" y="255"/>
                      </a:lnTo>
                      <a:lnTo>
                        <a:pt x="602" y="253"/>
                      </a:lnTo>
                      <a:lnTo>
                        <a:pt x="604" y="251"/>
                      </a:lnTo>
                      <a:lnTo>
                        <a:pt x="606" y="243"/>
                      </a:lnTo>
                      <a:lnTo>
                        <a:pt x="611" y="245"/>
                      </a:lnTo>
                      <a:lnTo>
                        <a:pt x="617" y="234"/>
                      </a:lnTo>
                      <a:lnTo>
                        <a:pt x="619" y="224"/>
                      </a:lnTo>
                      <a:lnTo>
                        <a:pt x="611" y="219"/>
                      </a:lnTo>
                      <a:lnTo>
                        <a:pt x="611" y="213"/>
                      </a:lnTo>
                      <a:lnTo>
                        <a:pt x="623" y="213"/>
                      </a:lnTo>
                      <a:lnTo>
                        <a:pt x="624" y="211"/>
                      </a:lnTo>
                      <a:lnTo>
                        <a:pt x="632" y="204"/>
                      </a:lnTo>
                      <a:lnTo>
                        <a:pt x="630" y="194"/>
                      </a:lnTo>
                      <a:lnTo>
                        <a:pt x="623" y="181"/>
                      </a:lnTo>
                      <a:lnTo>
                        <a:pt x="628" y="170"/>
                      </a:lnTo>
                      <a:lnTo>
                        <a:pt x="632" y="175"/>
                      </a:lnTo>
                      <a:lnTo>
                        <a:pt x="636" y="177"/>
                      </a:lnTo>
                      <a:lnTo>
                        <a:pt x="636" y="168"/>
                      </a:lnTo>
                      <a:lnTo>
                        <a:pt x="636" y="162"/>
                      </a:lnTo>
                      <a:lnTo>
                        <a:pt x="636" y="160"/>
                      </a:lnTo>
                      <a:lnTo>
                        <a:pt x="636" y="145"/>
                      </a:lnTo>
                      <a:lnTo>
                        <a:pt x="643" y="136"/>
                      </a:lnTo>
                      <a:lnTo>
                        <a:pt x="649" y="142"/>
                      </a:lnTo>
                      <a:lnTo>
                        <a:pt x="653" y="145"/>
                      </a:lnTo>
                      <a:lnTo>
                        <a:pt x="653" y="147"/>
                      </a:lnTo>
                      <a:lnTo>
                        <a:pt x="660" y="151"/>
                      </a:lnTo>
                      <a:lnTo>
                        <a:pt x="671" y="157"/>
                      </a:lnTo>
                      <a:lnTo>
                        <a:pt x="679" y="155"/>
                      </a:lnTo>
                      <a:lnTo>
                        <a:pt x="681" y="153"/>
                      </a:lnTo>
                      <a:lnTo>
                        <a:pt x="683" y="153"/>
                      </a:lnTo>
                      <a:lnTo>
                        <a:pt x="692" y="153"/>
                      </a:lnTo>
                      <a:lnTo>
                        <a:pt x="694" y="170"/>
                      </a:lnTo>
                      <a:lnTo>
                        <a:pt x="705" y="168"/>
                      </a:lnTo>
                      <a:lnTo>
                        <a:pt x="711" y="166"/>
                      </a:lnTo>
                      <a:lnTo>
                        <a:pt x="713" y="166"/>
                      </a:lnTo>
                      <a:lnTo>
                        <a:pt x="718" y="166"/>
                      </a:lnTo>
                      <a:lnTo>
                        <a:pt x="720" y="166"/>
                      </a:lnTo>
                      <a:lnTo>
                        <a:pt x="722" y="166"/>
                      </a:lnTo>
                      <a:lnTo>
                        <a:pt x="726" y="166"/>
                      </a:lnTo>
                      <a:lnTo>
                        <a:pt x="730" y="166"/>
                      </a:lnTo>
                      <a:lnTo>
                        <a:pt x="730" y="164"/>
                      </a:lnTo>
                      <a:lnTo>
                        <a:pt x="732" y="164"/>
                      </a:lnTo>
                      <a:lnTo>
                        <a:pt x="734" y="164"/>
                      </a:lnTo>
                      <a:lnTo>
                        <a:pt x="735" y="164"/>
                      </a:lnTo>
                      <a:lnTo>
                        <a:pt x="737" y="164"/>
                      </a:lnTo>
                      <a:lnTo>
                        <a:pt x="739" y="164"/>
                      </a:lnTo>
                      <a:lnTo>
                        <a:pt x="741" y="164"/>
                      </a:lnTo>
                      <a:lnTo>
                        <a:pt x="743" y="164"/>
                      </a:lnTo>
                      <a:lnTo>
                        <a:pt x="750" y="162"/>
                      </a:lnTo>
                      <a:lnTo>
                        <a:pt x="756" y="162"/>
                      </a:lnTo>
                      <a:lnTo>
                        <a:pt x="762" y="162"/>
                      </a:lnTo>
                      <a:lnTo>
                        <a:pt x="769" y="147"/>
                      </a:lnTo>
                      <a:lnTo>
                        <a:pt x="769" y="145"/>
                      </a:lnTo>
                      <a:lnTo>
                        <a:pt x="760" y="132"/>
                      </a:lnTo>
                      <a:lnTo>
                        <a:pt x="756" y="127"/>
                      </a:lnTo>
                      <a:lnTo>
                        <a:pt x="745" y="128"/>
                      </a:lnTo>
                      <a:lnTo>
                        <a:pt x="745" y="127"/>
                      </a:lnTo>
                      <a:lnTo>
                        <a:pt x="745" y="125"/>
                      </a:lnTo>
                      <a:lnTo>
                        <a:pt x="745" y="123"/>
                      </a:lnTo>
                      <a:lnTo>
                        <a:pt x="745" y="119"/>
                      </a:lnTo>
                      <a:lnTo>
                        <a:pt x="745" y="117"/>
                      </a:lnTo>
                      <a:lnTo>
                        <a:pt x="745" y="115"/>
                      </a:lnTo>
                      <a:lnTo>
                        <a:pt x="745" y="111"/>
                      </a:lnTo>
                      <a:lnTo>
                        <a:pt x="766" y="108"/>
                      </a:lnTo>
                      <a:lnTo>
                        <a:pt x="762" y="104"/>
                      </a:lnTo>
                      <a:lnTo>
                        <a:pt x="760" y="100"/>
                      </a:lnTo>
                      <a:lnTo>
                        <a:pt x="756" y="95"/>
                      </a:lnTo>
                      <a:lnTo>
                        <a:pt x="754" y="91"/>
                      </a:lnTo>
                      <a:lnTo>
                        <a:pt x="747" y="95"/>
                      </a:lnTo>
                      <a:lnTo>
                        <a:pt x="743" y="96"/>
                      </a:lnTo>
                      <a:lnTo>
                        <a:pt x="739" y="96"/>
                      </a:lnTo>
                      <a:lnTo>
                        <a:pt x="730" y="96"/>
                      </a:lnTo>
                      <a:lnTo>
                        <a:pt x="718" y="96"/>
                      </a:lnTo>
                      <a:lnTo>
                        <a:pt x="718" y="95"/>
                      </a:lnTo>
                      <a:lnTo>
                        <a:pt x="718" y="93"/>
                      </a:lnTo>
                      <a:lnTo>
                        <a:pt x="718" y="83"/>
                      </a:lnTo>
                      <a:lnTo>
                        <a:pt x="718" y="79"/>
                      </a:lnTo>
                      <a:lnTo>
                        <a:pt x="718" y="78"/>
                      </a:lnTo>
                      <a:lnTo>
                        <a:pt x="718" y="76"/>
                      </a:lnTo>
                      <a:lnTo>
                        <a:pt x="718" y="74"/>
                      </a:lnTo>
                      <a:lnTo>
                        <a:pt x="718" y="72"/>
                      </a:lnTo>
                      <a:lnTo>
                        <a:pt x="717" y="59"/>
                      </a:lnTo>
                      <a:lnTo>
                        <a:pt x="724" y="53"/>
                      </a:lnTo>
                      <a:lnTo>
                        <a:pt x="730" y="47"/>
                      </a:lnTo>
                      <a:lnTo>
                        <a:pt x="732" y="47"/>
                      </a:lnTo>
                      <a:lnTo>
                        <a:pt x="728" y="40"/>
                      </a:lnTo>
                      <a:lnTo>
                        <a:pt x="734" y="40"/>
                      </a:lnTo>
                      <a:lnTo>
                        <a:pt x="734" y="34"/>
                      </a:lnTo>
                      <a:lnTo>
                        <a:pt x="735" y="30"/>
                      </a:lnTo>
                      <a:lnTo>
                        <a:pt x="734" y="32"/>
                      </a:lnTo>
                      <a:lnTo>
                        <a:pt x="726" y="32"/>
                      </a:lnTo>
                      <a:lnTo>
                        <a:pt x="720" y="32"/>
                      </a:lnTo>
                      <a:lnTo>
                        <a:pt x="720" y="30"/>
                      </a:lnTo>
                      <a:lnTo>
                        <a:pt x="722" y="30"/>
                      </a:lnTo>
                      <a:lnTo>
                        <a:pt x="722" y="29"/>
                      </a:lnTo>
                      <a:lnTo>
                        <a:pt x="724" y="29"/>
                      </a:lnTo>
                      <a:lnTo>
                        <a:pt x="726" y="29"/>
                      </a:lnTo>
                      <a:lnTo>
                        <a:pt x="726" y="27"/>
                      </a:lnTo>
                      <a:lnTo>
                        <a:pt x="728" y="27"/>
                      </a:lnTo>
                      <a:lnTo>
                        <a:pt x="730" y="27"/>
                      </a:lnTo>
                      <a:lnTo>
                        <a:pt x="732" y="27"/>
                      </a:lnTo>
                      <a:lnTo>
                        <a:pt x="732" y="25"/>
                      </a:lnTo>
                      <a:lnTo>
                        <a:pt x="734" y="25"/>
                      </a:lnTo>
                      <a:lnTo>
                        <a:pt x="735" y="25"/>
                      </a:lnTo>
                      <a:lnTo>
                        <a:pt x="737" y="27"/>
                      </a:lnTo>
                      <a:lnTo>
                        <a:pt x="739" y="27"/>
                      </a:lnTo>
                      <a:lnTo>
                        <a:pt x="741" y="25"/>
                      </a:lnTo>
                      <a:lnTo>
                        <a:pt x="743" y="25"/>
                      </a:lnTo>
                      <a:lnTo>
                        <a:pt x="745" y="23"/>
                      </a:lnTo>
                      <a:lnTo>
                        <a:pt x="747" y="23"/>
                      </a:lnTo>
                      <a:lnTo>
                        <a:pt x="747" y="21"/>
                      </a:lnTo>
                      <a:lnTo>
                        <a:pt x="747" y="19"/>
                      </a:lnTo>
                      <a:lnTo>
                        <a:pt x="749" y="19"/>
                      </a:lnTo>
                      <a:lnTo>
                        <a:pt x="749" y="17"/>
                      </a:lnTo>
                      <a:lnTo>
                        <a:pt x="749" y="15"/>
                      </a:lnTo>
                      <a:lnTo>
                        <a:pt x="750" y="15"/>
                      </a:lnTo>
                      <a:lnTo>
                        <a:pt x="752" y="15"/>
                      </a:lnTo>
                      <a:lnTo>
                        <a:pt x="754" y="15"/>
                      </a:lnTo>
                      <a:lnTo>
                        <a:pt x="756" y="17"/>
                      </a:lnTo>
                      <a:lnTo>
                        <a:pt x="758" y="17"/>
                      </a:lnTo>
                      <a:lnTo>
                        <a:pt x="760" y="19"/>
                      </a:lnTo>
                      <a:lnTo>
                        <a:pt x="762" y="21"/>
                      </a:lnTo>
                      <a:lnTo>
                        <a:pt x="764" y="23"/>
                      </a:lnTo>
                      <a:lnTo>
                        <a:pt x="766" y="23"/>
                      </a:lnTo>
                      <a:lnTo>
                        <a:pt x="766" y="25"/>
                      </a:lnTo>
                      <a:lnTo>
                        <a:pt x="767" y="27"/>
                      </a:lnTo>
                      <a:lnTo>
                        <a:pt x="767" y="29"/>
                      </a:lnTo>
                      <a:lnTo>
                        <a:pt x="767" y="30"/>
                      </a:lnTo>
                      <a:lnTo>
                        <a:pt x="769" y="34"/>
                      </a:lnTo>
                      <a:lnTo>
                        <a:pt x="771" y="34"/>
                      </a:lnTo>
                      <a:lnTo>
                        <a:pt x="773" y="32"/>
                      </a:lnTo>
                      <a:lnTo>
                        <a:pt x="775" y="32"/>
                      </a:lnTo>
                      <a:lnTo>
                        <a:pt x="777" y="30"/>
                      </a:lnTo>
                      <a:lnTo>
                        <a:pt x="777" y="29"/>
                      </a:lnTo>
                      <a:lnTo>
                        <a:pt x="779" y="27"/>
                      </a:lnTo>
                      <a:lnTo>
                        <a:pt x="781" y="27"/>
                      </a:lnTo>
                      <a:lnTo>
                        <a:pt x="782" y="27"/>
                      </a:lnTo>
                      <a:lnTo>
                        <a:pt x="782" y="29"/>
                      </a:lnTo>
                      <a:lnTo>
                        <a:pt x="784" y="29"/>
                      </a:lnTo>
                      <a:lnTo>
                        <a:pt x="786" y="29"/>
                      </a:lnTo>
                      <a:lnTo>
                        <a:pt x="788" y="29"/>
                      </a:lnTo>
                      <a:lnTo>
                        <a:pt x="790" y="29"/>
                      </a:lnTo>
                      <a:lnTo>
                        <a:pt x="792" y="27"/>
                      </a:lnTo>
                      <a:lnTo>
                        <a:pt x="794" y="27"/>
                      </a:lnTo>
                      <a:lnTo>
                        <a:pt x="796" y="27"/>
                      </a:lnTo>
                      <a:lnTo>
                        <a:pt x="797" y="25"/>
                      </a:lnTo>
                      <a:lnTo>
                        <a:pt x="799" y="23"/>
                      </a:lnTo>
                      <a:lnTo>
                        <a:pt x="801" y="21"/>
                      </a:lnTo>
                      <a:lnTo>
                        <a:pt x="803" y="21"/>
                      </a:lnTo>
                      <a:lnTo>
                        <a:pt x="803" y="23"/>
                      </a:lnTo>
                      <a:lnTo>
                        <a:pt x="805" y="25"/>
                      </a:lnTo>
                      <a:lnTo>
                        <a:pt x="809" y="23"/>
                      </a:lnTo>
                      <a:lnTo>
                        <a:pt x="811" y="23"/>
                      </a:lnTo>
                      <a:lnTo>
                        <a:pt x="811" y="21"/>
                      </a:lnTo>
                      <a:lnTo>
                        <a:pt x="813" y="21"/>
                      </a:lnTo>
                      <a:lnTo>
                        <a:pt x="814" y="21"/>
                      </a:lnTo>
                      <a:lnTo>
                        <a:pt x="814" y="19"/>
                      </a:lnTo>
                      <a:lnTo>
                        <a:pt x="816" y="17"/>
                      </a:lnTo>
                      <a:lnTo>
                        <a:pt x="816" y="15"/>
                      </a:lnTo>
                      <a:lnTo>
                        <a:pt x="816" y="14"/>
                      </a:lnTo>
                      <a:lnTo>
                        <a:pt x="816" y="12"/>
                      </a:lnTo>
                      <a:lnTo>
                        <a:pt x="818" y="12"/>
                      </a:lnTo>
                      <a:lnTo>
                        <a:pt x="820" y="12"/>
                      </a:lnTo>
                      <a:lnTo>
                        <a:pt x="820" y="14"/>
                      </a:lnTo>
                      <a:lnTo>
                        <a:pt x="822" y="14"/>
                      </a:lnTo>
                      <a:lnTo>
                        <a:pt x="824" y="15"/>
                      </a:lnTo>
                      <a:lnTo>
                        <a:pt x="828" y="15"/>
                      </a:lnTo>
                      <a:lnTo>
                        <a:pt x="829" y="17"/>
                      </a:lnTo>
                      <a:lnTo>
                        <a:pt x="831" y="17"/>
                      </a:lnTo>
                      <a:lnTo>
                        <a:pt x="833" y="17"/>
                      </a:lnTo>
                      <a:lnTo>
                        <a:pt x="835" y="17"/>
                      </a:lnTo>
                      <a:lnTo>
                        <a:pt x="835" y="19"/>
                      </a:lnTo>
                      <a:lnTo>
                        <a:pt x="837" y="21"/>
                      </a:lnTo>
                      <a:lnTo>
                        <a:pt x="839" y="21"/>
                      </a:lnTo>
                      <a:lnTo>
                        <a:pt x="839" y="23"/>
                      </a:lnTo>
                      <a:lnTo>
                        <a:pt x="841" y="21"/>
                      </a:lnTo>
                      <a:lnTo>
                        <a:pt x="843" y="21"/>
                      </a:lnTo>
                      <a:lnTo>
                        <a:pt x="843" y="19"/>
                      </a:lnTo>
                      <a:lnTo>
                        <a:pt x="843" y="17"/>
                      </a:lnTo>
                      <a:lnTo>
                        <a:pt x="845" y="17"/>
                      </a:lnTo>
                      <a:lnTo>
                        <a:pt x="845" y="15"/>
                      </a:lnTo>
                      <a:lnTo>
                        <a:pt x="846" y="15"/>
                      </a:lnTo>
                      <a:lnTo>
                        <a:pt x="848" y="15"/>
                      </a:lnTo>
                      <a:lnTo>
                        <a:pt x="850" y="15"/>
                      </a:lnTo>
                      <a:lnTo>
                        <a:pt x="850" y="17"/>
                      </a:lnTo>
                      <a:lnTo>
                        <a:pt x="852" y="17"/>
                      </a:lnTo>
                      <a:lnTo>
                        <a:pt x="852" y="19"/>
                      </a:lnTo>
                      <a:lnTo>
                        <a:pt x="854" y="21"/>
                      </a:lnTo>
                      <a:lnTo>
                        <a:pt x="856" y="21"/>
                      </a:lnTo>
                      <a:lnTo>
                        <a:pt x="858" y="21"/>
                      </a:lnTo>
                      <a:lnTo>
                        <a:pt x="860" y="21"/>
                      </a:lnTo>
                      <a:lnTo>
                        <a:pt x="860" y="19"/>
                      </a:lnTo>
                      <a:lnTo>
                        <a:pt x="860" y="17"/>
                      </a:lnTo>
                      <a:lnTo>
                        <a:pt x="860" y="15"/>
                      </a:lnTo>
                      <a:lnTo>
                        <a:pt x="861" y="15"/>
                      </a:lnTo>
                      <a:lnTo>
                        <a:pt x="863" y="14"/>
                      </a:lnTo>
                      <a:lnTo>
                        <a:pt x="863" y="12"/>
                      </a:lnTo>
                      <a:lnTo>
                        <a:pt x="865" y="12"/>
                      </a:lnTo>
                      <a:lnTo>
                        <a:pt x="867" y="12"/>
                      </a:lnTo>
                      <a:lnTo>
                        <a:pt x="871" y="10"/>
                      </a:lnTo>
                      <a:lnTo>
                        <a:pt x="873" y="10"/>
                      </a:lnTo>
                      <a:lnTo>
                        <a:pt x="875" y="12"/>
                      </a:lnTo>
                      <a:lnTo>
                        <a:pt x="875" y="14"/>
                      </a:lnTo>
                      <a:lnTo>
                        <a:pt x="875" y="15"/>
                      </a:lnTo>
                      <a:lnTo>
                        <a:pt x="876" y="15"/>
                      </a:lnTo>
                      <a:lnTo>
                        <a:pt x="876" y="17"/>
                      </a:lnTo>
                      <a:lnTo>
                        <a:pt x="876" y="19"/>
                      </a:lnTo>
                      <a:lnTo>
                        <a:pt x="876" y="21"/>
                      </a:lnTo>
                      <a:lnTo>
                        <a:pt x="878" y="21"/>
                      </a:lnTo>
                      <a:lnTo>
                        <a:pt x="878" y="23"/>
                      </a:lnTo>
                      <a:lnTo>
                        <a:pt x="880" y="23"/>
                      </a:lnTo>
                      <a:lnTo>
                        <a:pt x="884" y="23"/>
                      </a:lnTo>
                      <a:lnTo>
                        <a:pt x="886" y="23"/>
                      </a:lnTo>
                      <a:lnTo>
                        <a:pt x="888" y="23"/>
                      </a:lnTo>
                      <a:lnTo>
                        <a:pt x="890" y="21"/>
                      </a:lnTo>
                      <a:lnTo>
                        <a:pt x="892" y="19"/>
                      </a:lnTo>
                      <a:lnTo>
                        <a:pt x="892" y="17"/>
                      </a:lnTo>
                      <a:lnTo>
                        <a:pt x="892" y="15"/>
                      </a:lnTo>
                      <a:lnTo>
                        <a:pt x="892" y="14"/>
                      </a:lnTo>
                      <a:lnTo>
                        <a:pt x="892" y="12"/>
                      </a:lnTo>
                      <a:lnTo>
                        <a:pt x="892" y="10"/>
                      </a:lnTo>
                      <a:lnTo>
                        <a:pt x="892" y="8"/>
                      </a:lnTo>
                      <a:lnTo>
                        <a:pt x="893" y="8"/>
                      </a:lnTo>
                      <a:lnTo>
                        <a:pt x="895" y="8"/>
                      </a:lnTo>
                      <a:lnTo>
                        <a:pt x="895" y="6"/>
                      </a:lnTo>
                      <a:lnTo>
                        <a:pt x="897" y="4"/>
                      </a:lnTo>
                      <a:lnTo>
                        <a:pt x="899" y="2"/>
                      </a:lnTo>
                      <a:lnTo>
                        <a:pt x="901" y="2"/>
                      </a:lnTo>
                      <a:lnTo>
                        <a:pt x="903" y="0"/>
                      </a:lnTo>
                      <a:lnTo>
                        <a:pt x="905" y="0"/>
                      </a:lnTo>
                      <a:lnTo>
                        <a:pt x="905" y="2"/>
                      </a:lnTo>
                      <a:lnTo>
                        <a:pt x="907" y="2"/>
                      </a:lnTo>
                      <a:lnTo>
                        <a:pt x="907" y="4"/>
                      </a:lnTo>
                      <a:lnTo>
                        <a:pt x="908" y="4"/>
                      </a:lnTo>
                      <a:lnTo>
                        <a:pt x="910" y="6"/>
                      </a:lnTo>
                      <a:lnTo>
                        <a:pt x="912" y="6"/>
                      </a:lnTo>
                      <a:lnTo>
                        <a:pt x="914" y="6"/>
                      </a:lnTo>
                      <a:lnTo>
                        <a:pt x="914" y="4"/>
                      </a:lnTo>
                      <a:lnTo>
                        <a:pt x="914" y="2"/>
                      </a:lnTo>
                      <a:lnTo>
                        <a:pt x="916" y="2"/>
                      </a:lnTo>
                      <a:lnTo>
                        <a:pt x="918" y="2"/>
                      </a:lnTo>
                      <a:lnTo>
                        <a:pt x="920" y="2"/>
                      </a:lnTo>
                      <a:lnTo>
                        <a:pt x="922" y="2"/>
                      </a:lnTo>
                      <a:lnTo>
                        <a:pt x="925" y="2"/>
                      </a:lnTo>
                      <a:lnTo>
                        <a:pt x="929" y="2"/>
                      </a:lnTo>
                      <a:close/>
                    </a:path>
                  </a:pathLst>
                </a:custGeom>
                <a:solidFill>
                  <a:srgbClr val="CDFFCD"/>
                </a:solidFill>
                <a:ln w="9525">
                  <a:solidFill>
                    <a:schemeClr val="accent6"/>
                  </a:solidFill>
                  <a:round/>
                  <a:headEnd/>
                  <a:tailEnd/>
                </a:ln>
              </p:spPr>
              <p:txBody>
                <a:bodyPr vert="horz" wrap="square" lIns="89614" tIns="44807" rIns="89614" bIns="44807" numCol="1" anchor="t" anchorCtr="0" compatLnSpc="1">
                  <a:prstTxWarp prst="textNoShape">
                    <a:avLst/>
                  </a:prstTxWarp>
                </a:bodyPr>
                <a:lstStyle/>
                <a:p>
                  <a:pPr fontAlgn="base">
                    <a:spcBef>
                      <a:spcPct val="0"/>
                    </a:spcBef>
                    <a:spcAft>
                      <a:spcPct val="0"/>
                    </a:spcAft>
                  </a:pPr>
                  <a:endParaRPr lang="en-US" sz="1568" dirty="0">
                    <a:solidFill>
                      <a:srgbClr val="000000"/>
                    </a:solidFill>
                  </a:endParaRPr>
                </a:p>
              </p:txBody>
            </p:sp>
            <p:sp>
              <p:nvSpPr>
                <p:cNvPr id="52" name="Freeform 36"/>
                <p:cNvSpPr>
                  <a:spLocks/>
                </p:cNvSpPr>
                <p:nvPr/>
              </p:nvSpPr>
              <p:spPr bwMode="auto">
                <a:xfrm>
                  <a:off x="5432425" y="1770063"/>
                  <a:ext cx="787399" cy="817563"/>
                </a:xfrm>
                <a:custGeom>
                  <a:avLst/>
                  <a:gdLst>
                    <a:gd name="T0" fmla="*/ 274 w 496"/>
                    <a:gd name="T1" fmla="*/ 515 h 515"/>
                    <a:gd name="T2" fmla="*/ 263 w 496"/>
                    <a:gd name="T3" fmla="*/ 498 h 515"/>
                    <a:gd name="T4" fmla="*/ 259 w 496"/>
                    <a:gd name="T5" fmla="*/ 502 h 515"/>
                    <a:gd name="T6" fmla="*/ 246 w 496"/>
                    <a:gd name="T7" fmla="*/ 500 h 515"/>
                    <a:gd name="T8" fmla="*/ 233 w 496"/>
                    <a:gd name="T9" fmla="*/ 487 h 515"/>
                    <a:gd name="T10" fmla="*/ 220 w 496"/>
                    <a:gd name="T11" fmla="*/ 476 h 515"/>
                    <a:gd name="T12" fmla="*/ 214 w 496"/>
                    <a:gd name="T13" fmla="*/ 463 h 515"/>
                    <a:gd name="T14" fmla="*/ 210 w 496"/>
                    <a:gd name="T15" fmla="*/ 446 h 515"/>
                    <a:gd name="T16" fmla="*/ 197 w 496"/>
                    <a:gd name="T17" fmla="*/ 453 h 515"/>
                    <a:gd name="T18" fmla="*/ 182 w 496"/>
                    <a:gd name="T19" fmla="*/ 465 h 515"/>
                    <a:gd name="T20" fmla="*/ 163 w 496"/>
                    <a:gd name="T21" fmla="*/ 465 h 515"/>
                    <a:gd name="T22" fmla="*/ 156 w 496"/>
                    <a:gd name="T23" fmla="*/ 480 h 515"/>
                    <a:gd name="T24" fmla="*/ 141 w 496"/>
                    <a:gd name="T25" fmla="*/ 468 h 515"/>
                    <a:gd name="T26" fmla="*/ 124 w 496"/>
                    <a:gd name="T27" fmla="*/ 470 h 515"/>
                    <a:gd name="T28" fmla="*/ 116 w 496"/>
                    <a:gd name="T29" fmla="*/ 461 h 515"/>
                    <a:gd name="T30" fmla="*/ 107 w 496"/>
                    <a:gd name="T31" fmla="*/ 446 h 515"/>
                    <a:gd name="T32" fmla="*/ 62 w 496"/>
                    <a:gd name="T33" fmla="*/ 431 h 515"/>
                    <a:gd name="T34" fmla="*/ 35 w 496"/>
                    <a:gd name="T35" fmla="*/ 429 h 515"/>
                    <a:gd name="T36" fmla="*/ 28 w 496"/>
                    <a:gd name="T37" fmla="*/ 431 h 515"/>
                    <a:gd name="T38" fmla="*/ 5 w 496"/>
                    <a:gd name="T39" fmla="*/ 408 h 515"/>
                    <a:gd name="T40" fmla="*/ 17 w 496"/>
                    <a:gd name="T41" fmla="*/ 382 h 515"/>
                    <a:gd name="T42" fmla="*/ 39 w 496"/>
                    <a:gd name="T43" fmla="*/ 337 h 515"/>
                    <a:gd name="T44" fmla="*/ 43 w 496"/>
                    <a:gd name="T45" fmla="*/ 293 h 515"/>
                    <a:gd name="T46" fmla="*/ 71 w 496"/>
                    <a:gd name="T47" fmla="*/ 257 h 515"/>
                    <a:gd name="T48" fmla="*/ 96 w 496"/>
                    <a:gd name="T49" fmla="*/ 209 h 515"/>
                    <a:gd name="T50" fmla="*/ 126 w 496"/>
                    <a:gd name="T51" fmla="*/ 205 h 515"/>
                    <a:gd name="T52" fmla="*/ 173 w 496"/>
                    <a:gd name="T53" fmla="*/ 212 h 515"/>
                    <a:gd name="T54" fmla="*/ 186 w 496"/>
                    <a:gd name="T55" fmla="*/ 205 h 515"/>
                    <a:gd name="T56" fmla="*/ 205 w 496"/>
                    <a:gd name="T57" fmla="*/ 195 h 515"/>
                    <a:gd name="T58" fmla="*/ 208 w 496"/>
                    <a:gd name="T59" fmla="*/ 178 h 515"/>
                    <a:gd name="T60" fmla="*/ 205 w 496"/>
                    <a:gd name="T61" fmla="*/ 152 h 515"/>
                    <a:gd name="T62" fmla="*/ 218 w 496"/>
                    <a:gd name="T63" fmla="*/ 124 h 515"/>
                    <a:gd name="T64" fmla="*/ 225 w 496"/>
                    <a:gd name="T65" fmla="*/ 101 h 515"/>
                    <a:gd name="T66" fmla="*/ 229 w 496"/>
                    <a:gd name="T67" fmla="*/ 80 h 515"/>
                    <a:gd name="T68" fmla="*/ 287 w 496"/>
                    <a:gd name="T69" fmla="*/ 64 h 515"/>
                    <a:gd name="T70" fmla="*/ 327 w 496"/>
                    <a:gd name="T71" fmla="*/ 56 h 515"/>
                    <a:gd name="T72" fmla="*/ 389 w 496"/>
                    <a:gd name="T73" fmla="*/ 35 h 515"/>
                    <a:gd name="T74" fmla="*/ 389 w 496"/>
                    <a:gd name="T75" fmla="*/ 5 h 515"/>
                    <a:gd name="T76" fmla="*/ 406 w 496"/>
                    <a:gd name="T77" fmla="*/ 39 h 515"/>
                    <a:gd name="T78" fmla="*/ 378 w 496"/>
                    <a:gd name="T79" fmla="*/ 62 h 515"/>
                    <a:gd name="T80" fmla="*/ 378 w 496"/>
                    <a:gd name="T81" fmla="*/ 114 h 515"/>
                    <a:gd name="T82" fmla="*/ 395 w 496"/>
                    <a:gd name="T83" fmla="*/ 161 h 515"/>
                    <a:gd name="T84" fmla="*/ 412 w 496"/>
                    <a:gd name="T85" fmla="*/ 167 h 515"/>
                    <a:gd name="T86" fmla="*/ 423 w 496"/>
                    <a:gd name="T87" fmla="*/ 150 h 515"/>
                    <a:gd name="T88" fmla="*/ 432 w 496"/>
                    <a:gd name="T89" fmla="*/ 137 h 515"/>
                    <a:gd name="T90" fmla="*/ 436 w 496"/>
                    <a:gd name="T91" fmla="*/ 114 h 515"/>
                    <a:gd name="T92" fmla="*/ 474 w 496"/>
                    <a:gd name="T93" fmla="*/ 131 h 515"/>
                    <a:gd name="T94" fmla="*/ 481 w 496"/>
                    <a:gd name="T95" fmla="*/ 116 h 515"/>
                    <a:gd name="T96" fmla="*/ 479 w 496"/>
                    <a:gd name="T97" fmla="*/ 128 h 515"/>
                    <a:gd name="T98" fmla="*/ 460 w 496"/>
                    <a:gd name="T99" fmla="*/ 171 h 515"/>
                    <a:gd name="T100" fmla="*/ 457 w 496"/>
                    <a:gd name="T101" fmla="*/ 214 h 515"/>
                    <a:gd name="T102" fmla="*/ 438 w 496"/>
                    <a:gd name="T103" fmla="*/ 254 h 515"/>
                    <a:gd name="T104" fmla="*/ 366 w 496"/>
                    <a:gd name="T105" fmla="*/ 252 h 515"/>
                    <a:gd name="T106" fmla="*/ 349 w 496"/>
                    <a:gd name="T107" fmla="*/ 295 h 515"/>
                    <a:gd name="T108" fmla="*/ 389 w 496"/>
                    <a:gd name="T109" fmla="*/ 344 h 515"/>
                    <a:gd name="T110" fmla="*/ 417 w 496"/>
                    <a:gd name="T111" fmla="*/ 372 h 515"/>
                    <a:gd name="T112" fmla="*/ 378 w 496"/>
                    <a:gd name="T113" fmla="*/ 399 h 515"/>
                    <a:gd name="T114" fmla="*/ 351 w 496"/>
                    <a:gd name="T115" fmla="*/ 395 h 515"/>
                    <a:gd name="T116" fmla="*/ 346 w 496"/>
                    <a:gd name="T117" fmla="*/ 423 h 515"/>
                    <a:gd name="T118" fmla="*/ 321 w 496"/>
                    <a:gd name="T119" fmla="*/ 438 h 515"/>
                    <a:gd name="T120" fmla="*/ 297 w 496"/>
                    <a:gd name="T121" fmla="*/ 483 h 515"/>
                    <a:gd name="T122" fmla="*/ 282 w 496"/>
                    <a:gd name="T123" fmla="*/ 50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6" h="515">
                      <a:moveTo>
                        <a:pt x="278" y="504"/>
                      </a:moveTo>
                      <a:lnTo>
                        <a:pt x="276" y="504"/>
                      </a:lnTo>
                      <a:lnTo>
                        <a:pt x="276" y="502"/>
                      </a:lnTo>
                      <a:lnTo>
                        <a:pt x="276" y="504"/>
                      </a:lnTo>
                      <a:lnTo>
                        <a:pt x="274" y="504"/>
                      </a:lnTo>
                      <a:lnTo>
                        <a:pt x="274" y="506"/>
                      </a:lnTo>
                      <a:lnTo>
                        <a:pt x="274" y="508"/>
                      </a:lnTo>
                      <a:lnTo>
                        <a:pt x="274" y="510"/>
                      </a:lnTo>
                      <a:lnTo>
                        <a:pt x="274" y="512"/>
                      </a:lnTo>
                      <a:lnTo>
                        <a:pt x="276" y="512"/>
                      </a:lnTo>
                      <a:lnTo>
                        <a:pt x="276" y="513"/>
                      </a:lnTo>
                      <a:lnTo>
                        <a:pt x="276" y="515"/>
                      </a:lnTo>
                      <a:lnTo>
                        <a:pt x="274" y="515"/>
                      </a:lnTo>
                      <a:lnTo>
                        <a:pt x="272" y="515"/>
                      </a:lnTo>
                      <a:lnTo>
                        <a:pt x="272" y="513"/>
                      </a:lnTo>
                      <a:lnTo>
                        <a:pt x="270" y="512"/>
                      </a:lnTo>
                      <a:lnTo>
                        <a:pt x="269" y="512"/>
                      </a:lnTo>
                      <a:lnTo>
                        <a:pt x="267" y="512"/>
                      </a:lnTo>
                      <a:lnTo>
                        <a:pt x="267" y="510"/>
                      </a:lnTo>
                      <a:lnTo>
                        <a:pt x="265" y="508"/>
                      </a:lnTo>
                      <a:lnTo>
                        <a:pt x="265" y="506"/>
                      </a:lnTo>
                      <a:lnTo>
                        <a:pt x="263" y="506"/>
                      </a:lnTo>
                      <a:lnTo>
                        <a:pt x="263" y="504"/>
                      </a:lnTo>
                      <a:lnTo>
                        <a:pt x="263" y="502"/>
                      </a:lnTo>
                      <a:lnTo>
                        <a:pt x="263" y="500"/>
                      </a:lnTo>
                      <a:lnTo>
                        <a:pt x="263" y="498"/>
                      </a:lnTo>
                      <a:lnTo>
                        <a:pt x="261" y="498"/>
                      </a:lnTo>
                      <a:lnTo>
                        <a:pt x="261" y="497"/>
                      </a:lnTo>
                      <a:lnTo>
                        <a:pt x="261" y="495"/>
                      </a:lnTo>
                      <a:lnTo>
                        <a:pt x="259" y="493"/>
                      </a:lnTo>
                      <a:lnTo>
                        <a:pt x="257" y="493"/>
                      </a:lnTo>
                      <a:lnTo>
                        <a:pt x="255" y="493"/>
                      </a:lnTo>
                      <a:lnTo>
                        <a:pt x="255" y="495"/>
                      </a:lnTo>
                      <a:lnTo>
                        <a:pt x="255" y="497"/>
                      </a:lnTo>
                      <a:lnTo>
                        <a:pt x="257" y="497"/>
                      </a:lnTo>
                      <a:lnTo>
                        <a:pt x="257" y="498"/>
                      </a:lnTo>
                      <a:lnTo>
                        <a:pt x="259" y="498"/>
                      </a:lnTo>
                      <a:lnTo>
                        <a:pt x="259" y="500"/>
                      </a:lnTo>
                      <a:lnTo>
                        <a:pt x="259" y="502"/>
                      </a:lnTo>
                      <a:lnTo>
                        <a:pt x="259" y="504"/>
                      </a:lnTo>
                      <a:lnTo>
                        <a:pt x="259" y="506"/>
                      </a:lnTo>
                      <a:lnTo>
                        <a:pt x="257" y="506"/>
                      </a:lnTo>
                      <a:lnTo>
                        <a:pt x="257" y="504"/>
                      </a:lnTo>
                      <a:lnTo>
                        <a:pt x="255" y="504"/>
                      </a:lnTo>
                      <a:lnTo>
                        <a:pt x="254" y="504"/>
                      </a:lnTo>
                      <a:lnTo>
                        <a:pt x="252" y="506"/>
                      </a:lnTo>
                      <a:lnTo>
                        <a:pt x="250" y="504"/>
                      </a:lnTo>
                      <a:lnTo>
                        <a:pt x="248" y="506"/>
                      </a:lnTo>
                      <a:lnTo>
                        <a:pt x="246" y="506"/>
                      </a:lnTo>
                      <a:lnTo>
                        <a:pt x="246" y="504"/>
                      </a:lnTo>
                      <a:lnTo>
                        <a:pt x="246" y="502"/>
                      </a:lnTo>
                      <a:lnTo>
                        <a:pt x="246" y="500"/>
                      </a:lnTo>
                      <a:lnTo>
                        <a:pt x="246" y="498"/>
                      </a:lnTo>
                      <a:lnTo>
                        <a:pt x="246" y="497"/>
                      </a:lnTo>
                      <a:lnTo>
                        <a:pt x="246" y="495"/>
                      </a:lnTo>
                      <a:lnTo>
                        <a:pt x="246" y="493"/>
                      </a:lnTo>
                      <a:lnTo>
                        <a:pt x="244" y="493"/>
                      </a:lnTo>
                      <a:lnTo>
                        <a:pt x="242" y="491"/>
                      </a:lnTo>
                      <a:lnTo>
                        <a:pt x="240" y="491"/>
                      </a:lnTo>
                      <a:lnTo>
                        <a:pt x="238" y="491"/>
                      </a:lnTo>
                      <a:lnTo>
                        <a:pt x="237" y="491"/>
                      </a:lnTo>
                      <a:lnTo>
                        <a:pt x="237" y="489"/>
                      </a:lnTo>
                      <a:lnTo>
                        <a:pt x="235" y="489"/>
                      </a:lnTo>
                      <a:lnTo>
                        <a:pt x="235" y="487"/>
                      </a:lnTo>
                      <a:lnTo>
                        <a:pt x="233" y="487"/>
                      </a:lnTo>
                      <a:lnTo>
                        <a:pt x="233" y="485"/>
                      </a:lnTo>
                      <a:lnTo>
                        <a:pt x="231" y="485"/>
                      </a:lnTo>
                      <a:lnTo>
                        <a:pt x="229" y="483"/>
                      </a:lnTo>
                      <a:lnTo>
                        <a:pt x="229" y="481"/>
                      </a:lnTo>
                      <a:lnTo>
                        <a:pt x="227" y="481"/>
                      </a:lnTo>
                      <a:lnTo>
                        <a:pt x="229" y="481"/>
                      </a:lnTo>
                      <a:lnTo>
                        <a:pt x="227" y="480"/>
                      </a:lnTo>
                      <a:lnTo>
                        <a:pt x="225" y="480"/>
                      </a:lnTo>
                      <a:lnTo>
                        <a:pt x="225" y="478"/>
                      </a:lnTo>
                      <a:lnTo>
                        <a:pt x="223" y="478"/>
                      </a:lnTo>
                      <a:lnTo>
                        <a:pt x="222" y="478"/>
                      </a:lnTo>
                      <a:lnTo>
                        <a:pt x="220" y="478"/>
                      </a:lnTo>
                      <a:lnTo>
                        <a:pt x="220" y="476"/>
                      </a:lnTo>
                      <a:lnTo>
                        <a:pt x="222" y="476"/>
                      </a:lnTo>
                      <a:lnTo>
                        <a:pt x="223" y="476"/>
                      </a:lnTo>
                      <a:lnTo>
                        <a:pt x="223" y="474"/>
                      </a:lnTo>
                      <a:lnTo>
                        <a:pt x="222" y="474"/>
                      </a:lnTo>
                      <a:lnTo>
                        <a:pt x="222" y="472"/>
                      </a:lnTo>
                      <a:lnTo>
                        <a:pt x="220" y="472"/>
                      </a:lnTo>
                      <a:lnTo>
                        <a:pt x="218" y="472"/>
                      </a:lnTo>
                      <a:lnTo>
                        <a:pt x="218" y="470"/>
                      </a:lnTo>
                      <a:lnTo>
                        <a:pt x="218" y="468"/>
                      </a:lnTo>
                      <a:lnTo>
                        <a:pt x="216" y="466"/>
                      </a:lnTo>
                      <a:lnTo>
                        <a:pt x="216" y="465"/>
                      </a:lnTo>
                      <a:lnTo>
                        <a:pt x="216" y="463"/>
                      </a:lnTo>
                      <a:lnTo>
                        <a:pt x="214" y="463"/>
                      </a:lnTo>
                      <a:lnTo>
                        <a:pt x="214" y="461"/>
                      </a:lnTo>
                      <a:lnTo>
                        <a:pt x="214" y="459"/>
                      </a:lnTo>
                      <a:lnTo>
                        <a:pt x="214" y="457"/>
                      </a:lnTo>
                      <a:lnTo>
                        <a:pt x="214" y="455"/>
                      </a:lnTo>
                      <a:lnTo>
                        <a:pt x="216" y="455"/>
                      </a:lnTo>
                      <a:lnTo>
                        <a:pt x="216" y="453"/>
                      </a:lnTo>
                      <a:lnTo>
                        <a:pt x="216" y="451"/>
                      </a:lnTo>
                      <a:lnTo>
                        <a:pt x="216" y="449"/>
                      </a:lnTo>
                      <a:lnTo>
                        <a:pt x="214" y="449"/>
                      </a:lnTo>
                      <a:lnTo>
                        <a:pt x="214" y="448"/>
                      </a:lnTo>
                      <a:lnTo>
                        <a:pt x="212" y="448"/>
                      </a:lnTo>
                      <a:lnTo>
                        <a:pt x="212" y="446"/>
                      </a:lnTo>
                      <a:lnTo>
                        <a:pt x="210" y="446"/>
                      </a:lnTo>
                      <a:lnTo>
                        <a:pt x="210" y="444"/>
                      </a:lnTo>
                      <a:lnTo>
                        <a:pt x="208" y="442"/>
                      </a:lnTo>
                      <a:lnTo>
                        <a:pt x="207" y="442"/>
                      </a:lnTo>
                      <a:lnTo>
                        <a:pt x="207" y="444"/>
                      </a:lnTo>
                      <a:lnTo>
                        <a:pt x="205" y="444"/>
                      </a:lnTo>
                      <a:lnTo>
                        <a:pt x="203" y="444"/>
                      </a:lnTo>
                      <a:lnTo>
                        <a:pt x="201" y="444"/>
                      </a:lnTo>
                      <a:lnTo>
                        <a:pt x="201" y="446"/>
                      </a:lnTo>
                      <a:lnTo>
                        <a:pt x="199" y="446"/>
                      </a:lnTo>
                      <a:lnTo>
                        <a:pt x="199" y="448"/>
                      </a:lnTo>
                      <a:lnTo>
                        <a:pt x="199" y="449"/>
                      </a:lnTo>
                      <a:lnTo>
                        <a:pt x="197" y="451"/>
                      </a:lnTo>
                      <a:lnTo>
                        <a:pt x="197" y="453"/>
                      </a:lnTo>
                      <a:lnTo>
                        <a:pt x="195" y="453"/>
                      </a:lnTo>
                      <a:lnTo>
                        <a:pt x="193" y="453"/>
                      </a:lnTo>
                      <a:lnTo>
                        <a:pt x="191" y="453"/>
                      </a:lnTo>
                      <a:lnTo>
                        <a:pt x="190" y="453"/>
                      </a:lnTo>
                      <a:lnTo>
                        <a:pt x="188" y="455"/>
                      </a:lnTo>
                      <a:lnTo>
                        <a:pt x="190" y="455"/>
                      </a:lnTo>
                      <a:lnTo>
                        <a:pt x="190" y="457"/>
                      </a:lnTo>
                      <a:lnTo>
                        <a:pt x="188" y="459"/>
                      </a:lnTo>
                      <a:lnTo>
                        <a:pt x="186" y="461"/>
                      </a:lnTo>
                      <a:lnTo>
                        <a:pt x="186" y="463"/>
                      </a:lnTo>
                      <a:lnTo>
                        <a:pt x="186" y="465"/>
                      </a:lnTo>
                      <a:lnTo>
                        <a:pt x="184" y="465"/>
                      </a:lnTo>
                      <a:lnTo>
                        <a:pt x="182" y="465"/>
                      </a:lnTo>
                      <a:lnTo>
                        <a:pt x="180" y="465"/>
                      </a:lnTo>
                      <a:lnTo>
                        <a:pt x="178" y="465"/>
                      </a:lnTo>
                      <a:lnTo>
                        <a:pt x="176" y="465"/>
                      </a:lnTo>
                      <a:lnTo>
                        <a:pt x="175" y="465"/>
                      </a:lnTo>
                      <a:lnTo>
                        <a:pt x="173" y="466"/>
                      </a:lnTo>
                      <a:lnTo>
                        <a:pt x="171" y="466"/>
                      </a:lnTo>
                      <a:lnTo>
                        <a:pt x="171" y="465"/>
                      </a:lnTo>
                      <a:lnTo>
                        <a:pt x="169" y="465"/>
                      </a:lnTo>
                      <a:lnTo>
                        <a:pt x="169" y="466"/>
                      </a:lnTo>
                      <a:lnTo>
                        <a:pt x="167" y="466"/>
                      </a:lnTo>
                      <a:lnTo>
                        <a:pt x="165" y="466"/>
                      </a:lnTo>
                      <a:lnTo>
                        <a:pt x="165" y="465"/>
                      </a:lnTo>
                      <a:lnTo>
                        <a:pt x="163" y="465"/>
                      </a:lnTo>
                      <a:lnTo>
                        <a:pt x="161" y="465"/>
                      </a:lnTo>
                      <a:lnTo>
                        <a:pt x="161" y="466"/>
                      </a:lnTo>
                      <a:lnTo>
                        <a:pt x="159" y="466"/>
                      </a:lnTo>
                      <a:lnTo>
                        <a:pt x="158" y="466"/>
                      </a:lnTo>
                      <a:lnTo>
                        <a:pt x="158" y="468"/>
                      </a:lnTo>
                      <a:lnTo>
                        <a:pt x="156" y="470"/>
                      </a:lnTo>
                      <a:lnTo>
                        <a:pt x="156" y="472"/>
                      </a:lnTo>
                      <a:lnTo>
                        <a:pt x="156" y="474"/>
                      </a:lnTo>
                      <a:lnTo>
                        <a:pt x="156" y="476"/>
                      </a:lnTo>
                      <a:lnTo>
                        <a:pt x="158" y="476"/>
                      </a:lnTo>
                      <a:lnTo>
                        <a:pt x="158" y="478"/>
                      </a:lnTo>
                      <a:lnTo>
                        <a:pt x="158" y="480"/>
                      </a:lnTo>
                      <a:lnTo>
                        <a:pt x="156" y="480"/>
                      </a:lnTo>
                      <a:lnTo>
                        <a:pt x="154" y="480"/>
                      </a:lnTo>
                      <a:lnTo>
                        <a:pt x="154" y="478"/>
                      </a:lnTo>
                      <a:lnTo>
                        <a:pt x="152" y="478"/>
                      </a:lnTo>
                      <a:lnTo>
                        <a:pt x="152" y="476"/>
                      </a:lnTo>
                      <a:lnTo>
                        <a:pt x="152" y="474"/>
                      </a:lnTo>
                      <a:lnTo>
                        <a:pt x="150" y="474"/>
                      </a:lnTo>
                      <a:lnTo>
                        <a:pt x="150" y="472"/>
                      </a:lnTo>
                      <a:lnTo>
                        <a:pt x="150" y="470"/>
                      </a:lnTo>
                      <a:lnTo>
                        <a:pt x="148" y="470"/>
                      </a:lnTo>
                      <a:lnTo>
                        <a:pt x="146" y="468"/>
                      </a:lnTo>
                      <a:lnTo>
                        <a:pt x="144" y="468"/>
                      </a:lnTo>
                      <a:lnTo>
                        <a:pt x="143" y="468"/>
                      </a:lnTo>
                      <a:lnTo>
                        <a:pt x="141" y="468"/>
                      </a:lnTo>
                      <a:lnTo>
                        <a:pt x="141" y="470"/>
                      </a:lnTo>
                      <a:lnTo>
                        <a:pt x="139" y="470"/>
                      </a:lnTo>
                      <a:lnTo>
                        <a:pt x="137" y="470"/>
                      </a:lnTo>
                      <a:lnTo>
                        <a:pt x="137" y="468"/>
                      </a:lnTo>
                      <a:lnTo>
                        <a:pt x="135" y="468"/>
                      </a:lnTo>
                      <a:lnTo>
                        <a:pt x="135" y="470"/>
                      </a:lnTo>
                      <a:lnTo>
                        <a:pt x="133" y="470"/>
                      </a:lnTo>
                      <a:lnTo>
                        <a:pt x="133" y="472"/>
                      </a:lnTo>
                      <a:lnTo>
                        <a:pt x="131" y="472"/>
                      </a:lnTo>
                      <a:lnTo>
                        <a:pt x="129" y="472"/>
                      </a:lnTo>
                      <a:lnTo>
                        <a:pt x="128" y="472"/>
                      </a:lnTo>
                      <a:lnTo>
                        <a:pt x="126" y="470"/>
                      </a:lnTo>
                      <a:lnTo>
                        <a:pt x="124" y="470"/>
                      </a:lnTo>
                      <a:lnTo>
                        <a:pt x="124" y="472"/>
                      </a:lnTo>
                      <a:lnTo>
                        <a:pt x="122" y="472"/>
                      </a:lnTo>
                      <a:lnTo>
                        <a:pt x="122" y="470"/>
                      </a:lnTo>
                      <a:lnTo>
                        <a:pt x="120" y="470"/>
                      </a:lnTo>
                      <a:lnTo>
                        <a:pt x="120" y="468"/>
                      </a:lnTo>
                      <a:lnTo>
                        <a:pt x="122" y="468"/>
                      </a:lnTo>
                      <a:lnTo>
                        <a:pt x="122" y="466"/>
                      </a:lnTo>
                      <a:lnTo>
                        <a:pt x="122" y="465"/>
                      </a:lnTo>
                      <a:lnTo>
                        <a:pt x="122" y="463"/>
                      </a:lnTo>
                      <a:lnTo>
                        <a:pt x="122" y="461"/>
                      </a:lnTo>
                      <a:lnTo>
                        <a:pt x="120" y="461"/>
                      </a:lnTo>
                      <a:lnTo>
                        <a:pt x="118" y="461"/>
                      </a:lnTo>
                      <a:lnTo>
                        <a:pt x="116" y="461"/>
                      </a:lnTo>
                      <a:lnTo>
                        <a:pt x="116" y="463"/>
                      </a:lnTo>
                      <a:lnTo>
                        <a:pt x="114" y="463"/>
                      </a:lnTo>
                      <a:lnTo>
                        <a:pt x="112" y="463"/>
                      </a:lnTo>
                      <a:lnTo>
                        <a:pt x="111" y="463"/>
                      </a:lnTo>
                      <a:lnTo>
                        <a:pt x="111" y="461"/>
                      </a:lnTo>
                      <a:lnTo>
                        <a:pt x="109" y="461"/>
                      </a:lnTo>
                      <a:lnTo>
                        <a:pt x="109" y="459"/>
                      </a:lnTo>
                      <a:lnTo>
                        <a:pt x="111" y="459"/>
                      </a:lnTo>
                      <a:lnTo>
                        <a:pt x="114" y="457"/>
                      </a:lnTo>
                      <a:lnTo>
                        <a:pt x="114" y="455"/>
                      </a:lnTo>
                      <a:lnTo>
                        <a:pt x="114" y="449"/>
                      </a:lnTo>
                      <a:lnTo>
                        <a:pt x="107" y="455"/>
                      </a:lnTo>
                      <a:lnTo>
                        <a:pt x="107" y="446"/>
                      </a:lnTo>
                      <a:lnTo>
                        <a:pt x="105" y="446"/>
                      </a:lnTo>
                      <a:lnTo>
                        <a:pt x="105" y="444"/>
                      </a:lnTo>
                      <a:lnTo>
                        <a:pt x="105" y="436"/>
                      </a:lnTo>
                      <a:lnTo>
                        <a:pt x="90" y="436"/>
                      </a:lnTo>
                      <a:lnTo>
                        <a:pt x="86" y="434"/>
                      </a:lnTo>
                      <a:lnTo>
                        <a:pt x="79" y="433"/>
                      </a:lnTo>
                      <a:lnTo>
                        <a:pt x="77" y="431"/>
                      </a:lnTo>
                      <a:lnTo>
                        <a:pt x="71" y="433"/>
                      </a:lnTo>
                      <a:lnTo>
                        <a:pt x="69" y="436"/>
                      </a:lnTo>
                      <a:lnTo>
                        <a:pt x="67" y="436"/>
                      </a:lnTo>
                      <a:lnTo>
                        <a:pt x="65" y="433"/>
                      </a:lnTo>
                      <a:lnTo>
                        <a:pt x="64" y="433"/>
                      </a:lnTo>
                      <a:lnTo>
                        <a:pt x="62" y="431"/>
                      </a:lnTo>
                      <a:lnTo>
                        <a:pt x="58" y="427"/>
                      </a:lnTo>
                      <a:lnTo>
                        <a:pt x="56" y="425"/>
                      </a:lnTo>
                      <a:lnTo>
                        <a:pt x="58" y="423"/>
                      </a:lnTo>
                      <a:lnTo>
                        <a:pt x="56" y="419"/>
                      </a:lnTo>
                      <a:lnTo>
                        <a:pt x="54" y="417"/>
                      </a:lnTo>
                      <a:lnTo>
                        <a:pt x="54" y="416"/>
                      </a:lnTo>
                      <a:lnTo>
                        <a:pt x="47" y="414"/>
                      </a:lnTo>
                      <a:lnTo>
                        <a:pt x="47" y="416"/>
                      </a:lnTo>
                      <a:lnTo>
                        <a:pt x="45" y="419"/>
                      </a:lnTo>
                      <a:lnTo>
                        <a:pt x="49" y="427"/>
                      </a:lnTo>
                      <a:lnTo>
                        <a:pt x="39" y="429"/>
                      </a:lnTo>
                      <a:lnTo>
                        <a:pt x="37" y="429"/>
                      </a:lnTo>
                      <a:lnTo>
                        <a:pt x="35" y="429"/>
                      </a:lnTo>
                      <a:lnTo>
                        <a:pt x="33" y="429"/>
                      </a:lnTo>
                      <a:lnTo>
                        <a:pt x="32" y="429"/>
                      </a:lnTo>
                      <a:lnTo>
                        <a:pt x="32" y="431"/>
                      </a:lnTo>
                      <a:lnTo>
                        <a:pt x="32" y="429"/>
                      </a:lnTo>
                      <a:lnTo>
                        <a:pt x="32" y="431"/>
                      </a:lnTo>
                      <a:lnTo>
                        <a:pt x="30" y="431"/>
                      </a:lnTo>
                      <a:lnTo>
                        <a:pt x="30" y="433"/>
                      </a:lnTo>
                      <a:lnTo>
                        <a:pt x="30" y="431"/>
                      </a:lnTo>
                      <a:lnTo>
                        <a:pt x="30" y="433"/>
                      </a:lnTo>
                      <a:lnTo>
                        <a:pt x="28" y="433"/>
                      </a:lnTo>
                      <a:lnTo>
                        <a:pt x="28" y="431"/>
                      </a:lnTo>
                      <a:lnTo>
                        <a:pt x="28" y="433"/>
                      </a:lnTo>
                      <a:lnTo>
                        <a:pt x="28" y="431"/>
                      </a:lnTo>
                      <a:lnTo>
                        <a:pt x="28" y="433"/>
                      </a:lnTo>
                      <a:lnTo>
                        <a:pt x="26" y="433"/>
                      </a:lnTo>
                      <a:lnTo>
                        <a:pt x="26" y="431"/>
                      </a:lnTo>
                      <a:lnTo>
                        <a:pt x="26" y="433"/>
                      </a:lnTo>
                      <a:lnTo>
                        <a:pt x="24" y="433"/>
                      </a:lnTo>
                      <a:lnTo>
                        <a:pt x="22" y="433"/>
                      </a:lnTo>
                      <a:lnTo>
                        <a:pt x="20" y="429"/>
                      </a:lnTo>
                      <a:lnTo>
                        <a:pt x="20" y="423"/>
                      </a:lnTo>
                      <a:lnTo>
                        <a:pt x="20" y="421"/>
                      </a:lnTo>
                      <a:lnTo>
                        <a:pt x="18" y="414"/>
                      </a:lnTo>
                      <a:lnTo>
                        <a:pt x="7" y="416"/>
                      </a:lnTo>
                      <a:lnTo>
                        <a:pt x="7" y="412"/>
                      </a:lnTo>
                      <a:lnTo>
                        <a:pt x="5" y="408"/>
                      </a:lnTo>
                      <a:lnTo>
                        <a:pt x="3" y="408"/>
                      </a:lnTo>
                      <a:lnTo>
                        <a:pt x="1" y="401"/>
                      </a:lnTo>
                      <a:lnTo>
                        <a:pt x="0" y="401"/>
                      </a:lnTo>
                      <a:lnTo>
                        <a:pt x="5" y="401"/>
                      </a:lnTo>
                      <a:lnTo>
                        <a:pt x="9" y="401"/>
                      </a:lnTo>
                      <a:lnTo>
                        <a:pt x="7" y="401"/>
                      </a:lnTo>
                      <a:lnTo>
                        <a:pt x="11" y="399"/>
                      </a:lnTo>
                      <a:lnTo>
                        <a:pt x="13" y="399"/>
                      </a:lnTo>
                      <a:lnTo>
                        <a:pt x="15" y="399"/>
                      </a:lnTo>
                      <a:lnTo>
                        <a:pt x="18" y="395"/>
                      </a:lnTo>
                      <a:lnTo>
                        <a:pt x="18" y="391"/>
                      </a:lnTo>
                      <a:lnTo>
                        <a:pt x="18" y="382"/>
                      </a:lnTo>
                      <a:lnTo>
                        <a:pt x="17" y="382"/>
                      </a:lnTo>
                      <a:lnTo>
                        <a:pt x="17" y="380"/>
                      </a:lnTo>
                      <a:lnTo>
                        <a:pt x="18" y="380"/>
                      </a:lnTo>
                      <a:lnTo>
                        <a:pt x="18" y="378"/>
                      </a:lnTo>
                      <a:lnTo>
                        <a:pt x="15" y="372"/>
                      </a:lnTo>
                      <a:lnTo>
                        <a:pt x="9" y="359"/>
                      </a:lnTo>
                      <a:lnTo>
                        <a:pt x="13" y="355"/>
                      </a:lnTo>
                      <a:lnTo>
                        <a:pt x="18" y="348"/>
                      </a:lnTo>
                      <a:lnTo>
                        <a:pt x="20" y="348"/>
                      </a:lnTo>
                      <a:lnTo>
                        <a:pt x="26" y="344"/>
                      </a:lnTo>
                      <a:lnTo>
                        <a:pt x="30" y="340"/>
                      </a:lnTo>
                      <a:lnTo>
                        <a:pt x="32" y="340"/>
                      </a:lnTo>
                      <a:lnTo>
                        <a:pt x="37" y="338"/>
                      </a:lnTo>
                      <a:lnTo>
                        <a:pt x="39" y="337"/>
                      </a:lnTo>
                      <a:lnTo>
                        <a:pt x="41" y="335"/>
                      </a:lnTo>
                      <a:lnTo>
                        <a:pt x="45" y="331"/>
                      </a:lnTo>
                      <a:lnTo>
                        <a:pt x="43" y="329"/>
                      </a:lnTo>
                      <a:lnTo>
                        <a:pt x="43" y="325"/>
                      </a:lnTo>
                      <a:lnTo>
                        <a:pt x="41" y="323"/>
                      </a:lnTo>
                      <a:lnTo>
                        <a:pt x="41" y="320"/>
                      </a:lnTo>
                      <a:lnTo>
                        <a:pt x="39" y="318"/>
                      </a:lnTo>
                      <a:lnTo>
                        <a:pt x="39" y="316"/>
                      </a:lnTo>
                      <a:lnTo>
                        <a:pt x="37" y="308"/>
                      </a:lnTo>
                      <a:lnTo>
                        <a:pt x="35" y="293"/>
                      </a:lnTo>
                      <a:lnTo>
                        <a:pt x="37" y="293"/>
                      </a:lnTo>
                      <a:lnTo>
                        <a:pt x="39" y="293"/>
                      </a:lnTo>
                      <a:lnTo>
                        <a:pt x="43" y="293"/>
                      </a:lnTo>
                      <a:lnTo>
                        <a:pt x="45" y="293"/>
                      </a:lnTo>
                      <a:lnTo>
                        <a:pt x="47" y="295"/>
                      </a:lnTo>
                      <a:lnTo>
                        <a:pt x="52" y="295"/>
                      </a:lnTo>
                      <a:lnTo>
                        <a:pt x="52" y="293"/>
                      </a:lnTo>
                      <a:lnTo>
                        <a:pt x="52" y="284"/>
                      </a:lnTo>
                      <a:lnTo>
                        <a:pt x="67" y="286"/>
                      </a:lnTo>
                      <a:lnTo>
                        <a:pt x="67" y="280"/>
                      </a:lnTo>
                      <a:lnTo>
                        <a:pt x="67" y="276"/>
                      </a:lnTo>
                      <a:lnTo>
                        <a:pt x="69" y="276"/>
                      </a:lnTo>
                      <a:lnTo>
                        <a:pt x="69" y="273"/>
                      </a:lnTo>
                      <a:lnTo>
                        <a:pt x="71" y="267"/>
                      </a:lnTo>
                      <a:lnTo>
                        <a:pt x="71" y="259"/>
                      </a:lnTo>
                      <a:lnTo>
                        <a:pt x="71" y="257"/>
                      </a:lnTo>
                      <a:lnTo>
                        <a:pt x="73" y="256"/>
                      </a:lnTo>
                      <a:lnTo>
                        <a:pt x="75" y="256"/>
                      </a:lnTo>
                      <a:lnTo>
                        <a:pt x="77" y="252"/>
                      </a:lnTo>
                      <a:lnTo>
                        <a:pt x="77" y="246"/>
                      </a:lnTo>
                      <a:lnTo>
                        <a:pt x="77" y="229"/>
                      </a:lnTo>
                      <a:lnTo>
                        <a:pt x="79" y="229"/>
                      </a:lnTo>
                      <a:lnTo>
                        <a:pt x="77" y="220"/>
                      </a:lnTo>
                      <a:lnTo>
                        <a:pt x="80" y="220"/>
                      </a:lnTo>
                      <a:lnTo>
                        <a:pt x="79" y="214"/>
                      </a:lnTo>
                      <a:lnTo>
                        <a:pt x="84" y="212"/>
                      </a:lnTo>
                      <a:lnTo>
                        <a:pt x="88" y="212"/>
                      </a:lnTo>
                      <a:lnTo>
                        <a:pt x="92" y="212"/>
                      </a:lnTo>
                      <a:lnTo>
                        <a:pt x="96" y="209"/>
                      </a:lnTo>
                      <a:lnTo>
                        <a:pt x="99" y="210"/>
                      </a:lnTo>
                      <a:lnTo>
                        <a:pt x="99" y="209"/>
                      </a:lnTo>
                      <a:lnTo>
                        <a:pt x="103" y="207"/>
                      </a:lnTo>
                      <a:lnTo>
                        <a:pt x="107" y="205"/>
                      </a:lnTo>
                      <a:lnTo>
                        <a:pt x="112" y="201"/>
                      </a:lnTo>
                      <a:lnTo>
                        <a:pt x="112" y="199"/>
                      </a:lnTo>
                      <a:lnTo>
                        <a:pt x="114" y="197"/>
                      </a:lnTo>
                      <a:lnTo>
                        <a:pt x="124" y="193"/>
                      </a:lnTo>
                      <a:lnTo>
                        <a:pt x="126" y="199"/>
                      </a:lnTo>
                      <a:lnTo>
                        <a:pt x="124" y="197"/>
                      </a:lnTo>
                      <a:lnTo>
                        <a:pt x="124" y="199"/>
                      </a:lnTo>
                      <a:lnTo>
                        <a:pt x="126" y="201"/>
                      </a:lnTo>
                      <a:lnTo>
                        <a:pt x="126" y="205"/>
                      </a:lnTo>
                      <a:lnTo>
                        <a:pt x="126" y="207"/>
                      </a:lnTo>
                      <a:lnTo>
                        <a:pt x="128" y="207"/>
                      </a:lnTo>
                      <a:lnTo>
                        <a:pt x="129" y="207"/>
                      </a:lnTo>
                      <a:lnTo>
                        <a:pt x="131" y="210"/>
                      </a:lnTo>
                      <a:lnTo>
                        <a:pt x="135" y="216"/>
                      </a:lnTo>
                      <a:lnTo>
                        <a:pt x="141" y="214"/>
                      </a:lnTo>
                      <a:lnTo>
                        <a:pt x="146" y="210"/>
                      </a:lnTo>
                      <a:lnTo>
                        <a:pt x="148" y="210"/>
                      </a:lnTo>
                      <a:lnTo>
                        <a:pt x="150" y="209"/>
                      </a:lnTo>
                      <a:lnTo>
                        <a:pt x="150" y="212"/>
                      </a:lnTo>
                      <a:lnTo>
                        <a:pt x="150" y="222"/>
                      </a:lnTo>
                      <a:lnTo>
                        <a:pt x="161" y="216"/>
                      </a:lnTo>
                      <a:lnTo>
                        <a:pt x="173" y="212"/>
                      </a:lnTo>
                      <a:lnTo>
                        <a:pt x="176" y="209"/>
                      </a:lnTo>
                      <a:lnTo>
                        <a:pt x="178" y="209"/>
                      </a:lnTo>
                      <a:lnTo>
                        <a:pt x="176" y="207"/>
                      </a:lnTo>
                      <a:lnTo>
                        <a:pt x="178" y="203"/>
                      </a:lnTo>
                      <a:lnTo>
                        <a:pt x="178" y="201"/>
                      </a:lnTo>
                      <a:lnTo>
                        <a:pt x="180" y="199"/>
                      </a:lnTo>
                      <a:lnTo>
                        <a:pt x="182" y="199"/>
                      </a:lnTo>
                      <a:lnTo>
                        <a:pt x="182" y="201"/>
                      </a:lnTo>
                      <a:lnTo>
                        <a:pt x="184" y="201"/>
                      </a:lnTo>
                      <a:lnTo>
                        <a:pt x="186" y="201"/>
                      </a:lnTo>
                      <a:lnTo>
                        <a:pt x="188" y="201"/>
                      </a:lnTo>
                      <a:lnTo>
                        <a:pt x="188" y="203"/>
                      </a:lnTo>
                      <a:lnTo>
                        <a:pt x="186" y="205"/>
                      </a:lnTo>
                      <a:lnTo>
                        <a:pt x="186" y="207"/>
                      </a:lnTo>
                      <a:lnTo>
                        <a:pt x="186" y="209"/>
                      </a:lnTo>
                      <a:lnTo>
                        <a:pt x="186" y="210"/>
                      </a:lnTo>
                      <a:lnTo>
                        <a:pt x="186" y="212"/>
                      </a:lnTo>
                      <a:lnTo>
                        <a:pt x="188" y="212"/>
                      </a:lnTo>
                      <a:lnTo>
                        <a:pt x="190" y="212"/>
                      </a:lnTo>
                      <a:lnTo>
                        <a:pt x="190" y="207"/>
                      </a:lnTo>
                      <a:lnTo>
                        <a:pt x="197" y="205"/>
                      </a:lnTo>
                      <a:lnTo>
                        <a:pt x="201" y="205"/>
                      </a:lnTo>
                      <a:lnTo>
                        <a:pt x="197" y="201"/>
                      </a:lnTo>
                      <a:lnTo>
                        <a:pt x="201" y="201"/>
                      </a:lnTo>
                      <a:lnTo>
                        <a:pt x="205" y="199"/>
                      </a:lnTo>
                      <a:lnTo>
                        <a:pt x="205" y="195"/>
                      </a:lnTo>
                      <a:lnTo>
                        <a:pt x="207" y="193"/>
                      </a:lnTo>
                      <a:lnTo>
                        <a:pt x="207" y="192"/>
                      </a:lnTo>
                      <a:lnTo>
                        <a:pt x="205" y="190"/>
                      </a:lnTo>
                      <a:lnTo>
                        <a:pt x="205" y="192"/>
                      </a:lnTo>
                      <a:lnTo>
                        <a:pt x="205" y="190"/>
                      </a:lnTo>
                      <a:lnTo>
                        <a:pt x="203" y="186"/>
                      </a:lnTo>
                      <a:lnTo>
                        <a:pt x="203" y="184"/>
                      </a:lnTo>
                      <a:lnTo>
                        <a:pt x="203" y="182"/>
                      </a:lnTo>
                      <a:lnTo>
                        <a:pt x="205" y="182"/>
                      </a:lnTo>
                      <a:lnTo>
                        <a:pt x="207" y="182"/>
                      </a:lnTo>
                      <a:lnTo>
                        <a:pt x="208" y="182"/>
                      </a:lnTo>
                      <a:lnTo>
                        <a:pt x="210" y="180"/>
                      </a:lnTo>
                      <a:lnTo>
                        <a:pt x="208" y="178"/>
                      </a:lnTo>
                      <a:lnTo>
                        <a:pt x="208" y="177"/>
                      </a:lnTo>
                      <a:lnTo>
                        <a:pt x="207" y="173"/>
                      </a:lnTo>
                      <a:lnTo>
                        <a:pt x="205" y="169"/>
                      </a:lnTo>
                      <a:lnTo>
                        <a:pt x="203" y="165"/>
                      </a:lnTo>
                      <a:lnTo>
                        <a:pt x="205" y="165"/>
                      </a:lnTo>
                      <a:lnTo>
                        <a:pt x="205" y="163"/>
                      </a:lnTo>
                      <a:lnTo>
                        <a:pt x="205" y="160"/>
                      </a:lnTo>
                      <a:lnTo>
                        <a:pt x="205" y="158"/>
                      </a:lnTo>
                      <a:lnTo>
                        <a:pt x="203" y="158"/>
                      </a:lnTo>
                      <a:lnTo>
                        <a:pt x="203" y="156"/>
                      </a:lnTo>
                      <a:lnTo>
                        <a:pt x="203" y="154"/>
                      </a:lnTo>
                      <a:lnTo>
                        <a:pt x="203" y="152"/>
                      </a:lnTo>
                      <a:lnTo>
                        <a:pt x="205" y="152"/>
                      </a:lnTo>
                      <a:lnTo>
                        <a:pt x="205" y="150"/>
                      </a:lnTo>
                      <a:lnTo>
                        <a:pt x="207" y="150"/>
                      </a:lnTo>
                      <a:lnTo>
                        <a:pt x="207" y="148"/>
                      </a:lnTo>
                      <a:lnTo>
                        <a:pt x="210" y="146"/>
                      </a:lnTo>
                      <a:lnTo>
                        <a:pt x="210" y="143"/>
                      </a:lnTo>
                      <a:lnTo>
                        <a:pt x="208" y="139"/>
                      </a:lnTo>
                      <a:lnTo>
                        <a:pt x="208" y="137"/>
                      </a:lnTo>
                      <a:lnTo>
                        <a:pt x="205" y="135"/>
                      </a:lnTo>
                      <a:lnTo>
                        <a:pt x="207" y="131"/>
                      </a:lnTo>
                      <a:lnTo>
                        <a:pt x="208" y="129"/>
                      </a:lnTo>
                      <a:lnTo>
                        <a:pt x="210" y="122"/>
                      </a:lnTo>
                      <a:lnTo>
                        <a:pt x="214" y="124"/>
                      </a:lnTo>
                      <a:lnTo>
                        <a:pt x="218" y="124"/>
                      </a:lnTo>
                      <a:lnTo>
                        <a:pt x="223" y="126"/>
                      </a:lnTo>
                      <a:lnTo>
                        <a:pt x="227" y="126"/>
                      </a:lnTo>
                      <a:lnTo>
                        <a:pt x="229" y="126"/>
                      </a:lnTo>
                      <a:lnTo>
                        <a:pt x="229" y="124"/>
                      </a:lnTo>
                      <a:lnTo>
                        <a:pt x="229" y="120"/>
                      </a:lnTo>
                      <a:lnTo>
                        <a:pt x="223" y="118"/>
                      </a:lnTo>
                      <a:lnTo>
                        <a:pt x="222" y="118"/>
                      </a:lnTo>
                      <a:lnTo>
                        <a:pt x="214" y="114"/>
                      </a:lnTo>
                      <a:lnTo>
                        <a:pt x="218" y="107"/>
                      </a:lnTo>
                      <a:lnTo>
                        <a:pt x="218" y="105"/>
                      </a:lnTo>
                      <a:lnTo>
                        <a:pt x="218" y="103"/>
                      </a:lnTo>
                      <a:lnTo>
                        <a:pt x="220" y="103"/>
                      </a:lnTo>
                      <a:lnTo>
                        <a:pt x="225" y="101"/>
                      </a:lnTo>
                      <a:lnTo>
                        <a:pt x="223" y="99"/>
                      </a:lnTo>
                      <a:lnTo>
                        <a:pt x="218" y="94"/>
                      </a:lnTo>
                      <a:lnTo>
                        <a:pt x="216" y="90"/>
                      </a:lnTo>
                      <a:lnTo>
                        <a:pt x="214" y="88"/>
                      </a:lnTo>
                      <a:lnTo>
                        <a:pt x="208" y="92"/>
                      </a:lnTo>
                      <a:lnTo>
                        <a:pt x="205" y="88"/>
                      </a:lnTo>
                      <a:lnTo>
                        <a:pt x="201" y="82"/>
                      </a:lnTo>
                      <a:lnTo>
                        <a:pt x="208" y="71"/>
                      </a:lnTo>
                      <a:lnTo>
                        <a:pt x="210" y="71"/>
                      </a:lnTo>
                      <a:lnTo>
                        <a:pt x="216" y="69"/>
                      </a:lnTo>
                      <a:lnTo>
                        <a:pt x="218" y="73"/>
                      </a:lnTo>
                      <a:lnTo>
                        <a:pt x="227" y="82"/>
                      </a:lnTo>
                      <a:lnTo>
                        <a:pt x="229" y="80"/>
                      </a:lnTo>
                      <a:lnTo>
                        <a:pt x="233" y="80"/>
                      </a:lnTo>
                      <a:lnTo>
                        <a:pt x="237" y="77"/>
                      </a:lnTo>
                      <a:lnTo>
                        <a:pt x="244" y="71"/>
                      </a:lnTo>
                      <a:lnTo>
                        <a:pt x="244" y="75"/>
                      </a:lnTo>
                      <a:lnTo>
                        <a:pt x="248" y="75"/>
                      </a:lnTo>
                      <a:lnTo>
                        <a:pt x="261" y="71"/>
                      </a:lnTo>
                      <a:lnTo>
                        <a:pt x="261" y="62"/>
                      </a:lnTo>
                      <a:lnTo>
                        <a:pt x="267" y="60"/>
                      </a:lnTo>
                      <a:lnTo>
                        <a:pt x="272" y="65"/>
                      </a:lnTo>
                      <a:lnTo>
                        <a:pt x="274" y="67"/>
                      </a:lnTo>
                      <a:lnTo>
                        <a:pt x="284" y="65"/>
                      </a:lnTo>
                      <a:lnTo>
                        <a:pt x="287" y="65"/>
                      </a:lnTo>
                      <a:lnTo>
                        <a:pt x="287" y="64"/>
                      </a:lnTo>
                      <a:lnTo>
                        <a:pt x="289" y="64"/>
                      </a:lnTo>
                      <a:lnTo>
                        <a:pt x="289" y="65"/>
                      </a:lnTo>
                      <a:lnTo>
                        <a:pt x="291" y="64"/>
                      </a:lnTo>
                      <a:lnTo>
                        <a:pt x="291" y="56"/>
                      </a:lnTo>
                      <a:lnTo>
                        <a:pt x="297" y="54"/>
                      </a:lnTo>
                      <a:lnTo>
                        <a:pt x="299" y="54"/>
                      </a:lnTo>
                      <a:lnTo>
                        <a:pt x="301" y="54"/>
                      </a:lnTo>
                      <a:lnTo>
                        <a:pt x="312" y="50"/>
                      </a:lnTo>
                      <a:lnTo>
                        <a:pt x="312" y="54"/>
                      </a:lnTo>
                      <a:lnTo>
                        <a:pt x="314" y="58"/>
                      </a:lnTo>
                      <a:lnTo>
                        <a:pt x="314" y="60"/>
                      </a:lnTo>
                      <a:lnTo>
                        <a:pt x="327" y="60"/>
                      </a:lnTo>
                      <a:lnTo>
                        <a:pt x="327" y="56"/>
                      </a:lnTo>
                      <a:lnTo>
                        <a:pt x="334" y="56"/>
                      </a:lnTo>
                      <a:lnTo>
                        <a:pt x="344" y="56"/>
                      </a:lnTo>
                      <a:lnTo>
                        <a:pt x="344" y="43"/>
                      </a:lnTo>
                      <a:lnTo>
                        <a:pt x="348" y="41"/>
                      </a:lnTo>
                      <a:lnTo>
                        <a:pt x="359" y="39"/>
                      </a:lnTo>
                      <a:lnTo>
                        <a:pt x="368" y="39"/>
                      </a:lnTo>
                      <a:lnTo>
                        <a:pt x="370" y="39"/>
                      </a:lnTo>
                      <a:lnTo>
                        <a:pt x="378" y="47"/>
                      </a:lnTo>
                      <a:lnTo>
                        <a:pt x="383" y="35"/>
                      </a:lnTo>
                      <a:lnTo>
                        <a:pt x="385" y="39"/>
                      </a:lnTo>
                      <a:lnTo>
                        <a:pt x="387" y="37"/>
                      </a:lnTo>
                      <a:lnTo>
                        <a:pt x="387" y="35"/>
                      </a:lnTo>
                      <a:lnTo>
                        <a:pt x="389" y="35"/>
                      </a:lnTo>
                      <a:lnTo>
                        <a:pt x="389" y="33"/>
                      </a:lnTo>
                      <a:lnTo>
                        <a:pt x="389" y="32"/>
                      </a:lnTo>
                      <a:lnTo>
                        <a:pt x="389" y="30"/>
                      </a:lnTo>
                      <a:lnTo>
                        <a:pt x="389" y="28"/>
                      </a:lnTo>
                      <a:lnTo>
                        <a:pt x="383" y="28"/>
                      </a:lnTo>
                      <a:lnTo>
                        <a:pt x="380" y="20"/>
                      </a:lnTo>
                      <a:lnTo>
                        <a:pt x="378" y="20"/>
                      </a:lnTo>
                      <a:lnTo>
                        <a:pt x="380" y="20"/>
                      </a:lnTo>
                      <a:lnTo>
                        <a:pt x="372" y="11"/>
                      </a:lnTo>
                      <a:lnTo>
                        <a:pt x="378" y="9"/>
                      </a:lnTo>
                      <a:lnTo>
                        <a:pt x="381" y="9"/>
                      </a:lnTo>
                      <a:lnTo>
                        <a:pt x="387" y="7"/>
                      </a:lnTo>
                      <a:lnTo>
                        <a:pt x="389" y="5"/>
                      </a:lnTo>
                      <a:lnTo>
                        <a:pt x="391" y="3"/>
                      </a:lnTo>
                      <a:lnTo>
                        <a:pt x="395" y="1"/>
                      </a:lnTo>
                      <a:lnTo>
                        <a:pt x="396" y="1"/>
                      </a:lnTo>
                      <a:lnTo>
                        <a:pt x="406" y="0"/>
                      </a:lnTo>
                      <a:lnTo>
                        <a:pt x="408" y="3"/>
                      </a:lnTo>
                      <a:lnTo>
                        <a:pt x="410" y="9"/>
                      </a:lnTo>
                      <a:lnTo>
                        <a:pt x="410" y="11"/>
                      </a:lnTo>
                      <a:lnTo>
                        <a:pt x="413" y="18"/>
                      </a:lnTo>
                      <a:lnTo>
                        <a:pt x="413" y="20"/>
                      </a:lnTo>
                      <a:lnTo>
                        <a:pt x="415" y="33"/>
                      </a:lnTo>
                      <a:lnTo>
                        <a:pt x="412" y="30"/>
                      </a:lnTo>
                      <a:lnTo>
                        <a:pt x="408" y="37"/>
                      </a:lnTo>
                      <a:lnTo>
                        <a:pt x="406" y="39"/>
                      </a:lnTo>
                      <a:lnTo>
                        <a:pt x="404" y="43"/>
                      </a:lnTo>
                      <a:lnTo>
                        <a:pt x="402" y="45"/>
                      </a:lnTo>
                      <a:lnTo>
                        <a:pt x="404" y="50"/>
                      </a:lnTo>
                      <a:lnTo>
                        <a:pt x="402" y="48"/>
                      </a:lnTo>
                      <a:lnTo>
                        <a:pt x="400" y="48"/>
                      </a:lnTo>
                      <a:lnTo>
                        <a:pt x="398" y="48"/>
                      </a:lnTo>
                      <a:lnTo>
                        <a:pt x="393" y="50"/>
                      </a:lnTo>
                      <a:lnTo>
                        <a:pt x="391" y="52"/>
                      </a:lnTo>
                      <a:lnTo>
                        <a:pt x="389" y="54"/>
                      </a:lnTo>
                      <a:lnTo>
                        <a:pt x="387" y="56"/>
                      </a:lnTo>
                      <a:lnTo>
                        <a:pt x="383" y="58"/>
                      </a:lnTo>
                      <a:lnTo>
                        <a:pt x="380" y="60"/>
                      </a:lnTo>
                      <a:lnTo>
                        <a:pt x="378" y="62"/>
                      </a:lnTo>
                      <a:lnTo>
                        <a:pt x="374" y="62"/>
                      </a:lnTo>
                      <a:lnTo>
                        <a:pt x="380" y="79"/>
                      </a:lnTo>
                      <a:lnTo>
                        <a:pt x="374" y="84"/>
                      </a:lnTo>
                      <a:lnTo>
                        <a:pt x="376" y="92"/>
                      </a:lnTo>
                      <a:lnTo>
                        <a:pt x="376" y="94"/>
                      </a:lnTo>
                      <a:lnTo>
                        <a:pt x="376" y="96"/>
                      </a:lnTo>
                      <a:lnTo>
                        <a:pt x="376" y="97"/>
                      </a:lnTo>
                      <a:lnTo>
                        <a:pt x="374" y="99"/>
                      </a:lnTo>
                      <a:lnTo>
                        <a:pt x="372" y="101"/>
                      </a:lnTo>
                      <a:lnTo>
                        <a:pt x="374" y="101"/>
                      </a:lnTo>
                      <a:lnTo>
                        <a:pt x="376" y="105"/>
                      </a:lnTo>
                      <a:lnTo>
                        <a:pt x="378" y="107"/>
                      </a:lnTo>
                      <a:lnTo>
                        <a:pt x="378" y="114"/>
                      </a:lnTo>
                      <a:lnTo>
                        <a:pt x="376" y="116"/>
                      </a:lnTo>
                      <a:lnTo>
                        <a:pt x="376" y="118"/>
                      </a:lnTo>
                      <a:lnTo>
                        <a:pt x="378" y="126"/>
                      </a:lnTo>
                      <a:lnTo>
                        <a:pt x="380" y="133"/>
                      </a:lnTo>
                      <a:lnTo>
                        <a:pt x="381" y="133"/>
                      </a:lnTo>
                      <a:lnTo>
                        <a:pt x="380" y="135"/>
                      </a:lnTo>
                      <a:lnTo>
                        <a:pt x="381" y="137"/>
                      </a:lnTo>
                      <a:lnTo>
                        <a:pt x="383" y="145"/>
                      </a:lnTo>
                      <a:lnTo>
                        <a:pt x="385" y="146"/>
                      </a:lnTo>
                      <a:lnTo>
                        <a:pt x="387" y="154"/>
                      </a:lnTo>
                      <a:lnTo>
                        <a:pt x="387" y="156"/>
                      </a:lnTo>
                      <a:lnTo>
                        <a:pt x="391" y="160"/>
                      </a:lnTo>
                      <a:lnTo>
                        <a:pt x="395" y="161"/>
                      </a:lnTo>
                      <a:lnTo>
                        <a:pt x="396" y="161"/>
                      </a:lnTo>
                      <a:lnTo>
                        <a:pt x="398" y="156"/>
                      </a:lnTo>
                      <a:lnTo>
                        <a:pt x="400" y="152"/>
                      </a:lnTo>
                      <a:lnTo>
                        <a:pt x="400" y="150"/>
                      </a:lnTo>
                      <a:lnTo>
                        <a:pt x="400" y="146"/>
                      </a:lnTo>
                      <a:lnTo>
                        <a:pt x="404" y="148"/>
                      </a:lnTo>
                      <a:lnTo>
                        <a:pt x="412" y="152"/>
                      </a:lnTo>
                      <a:lnTo>
                        <a:pt x="410" y="156"/>
                      </a:lnTo>
                      <a:lnTo>
                        <a:pt x="410" y="160"/>
                      </a:lnTo>
                      <a:lnTo>
                        <a:pt x="408" y="165"/>
                      </a:lnTo>
                      <a:lnTo>
                        <a:pt x="410" y="165"/>
                      </a:lnTo>
                      <a:lnTo>
                        <a:pt x="410" y="167"/>
                      </a:lnTo>
                      <a:lnTo>
                        <a:pt x="412" y="167"/>
                      </a:lnTo>
                      <a:lnTo>
                        <a:pt x="412" y="165"/>
                      </a:lnTo>
                      <a:lnTo>
                        <a:pt x="415" y="167"/>
                      </a:lnTo>
                      <a:lnTo>
                        <a:pt x="417" y="167"/>
                      </a:lnTo>
                      <a:lnTo>
                        <a:pt x="423" y="163"/>
                      </a:lnTo>
                      <a:lnTo>
                        <a:pt x="425" y="165"/>
                      </a:lnTo>
                      <a:lnTo>
                        <a:pt x="427" y="163"/>
                      </a:lnTo>
                      <a:lnTo>
                        <a:pt x="428" y="163"/>
                      </a:lnTo>
                      <a:lnTo>
                        <a:pt x="430" y="161"/>
                      </a:lnTo>
                      <a:lnTo>
                        <a:pt x="432" y="161"/>
                      </a:lnTo>
                      <a:lnTo>
                        <a:pt x="427" y="154"/>
                      </a:lnTo>
                      <a:lnTo>
                        <a:pt x="423" y="154"/>
                      </a:lnTo>
                      <a:lnTo>
                        <a:pt x="423" y="152"/>
                      </a:lnTo>
                      <a:lnTo>
                        <a:pt x="423" y="150"/>
                      </a:lnTo>
                      <a:lnTo>
                        <a:pt x="425" y="150"/>
                      </a:lnTo>
                      <a:lnTo>
                        <a:pt x="428" y="148"/>
                      </a:lnTo>
                      <a:lnTo>
                        <a:pt x="428" y="150"/>
                      </a:lnTo>
                      <a:lnTo>
                        <a:pt x="430" y="154"/>
                      </a:lnTo>
                      <a:lnTo>
                        <a:pt x="432" y="152"/>
                      </a:lnTo>
                      <a:lnTo>
                        <a:pt x="438" y="154"/>
                      </a:lnTo>
                      <a:lnTo>
                        <a:pt x="438" y="150"/>
                      </a:lnTo>
                      <a:lnTo>
                        <a:pt x="438" y="148"/>
                      </a:lnTo>
                      <a:lnTo>
                        <a:pt x="436" y="148"/>
                      </a:lnTo>
                      <a:lnTo>
                        <a:pt x="434" y="148"/>
                      </a:lnTo>
                      <a:lnTo>
                        <a:pt x="434" y="146"/>
                      </a:lnTo>
                      <a:lnTo>
                        <a:pt x="434" y="143"/>
                      </a:lnTo>
                      <a:lnTo>
                        <a:pt x="432" y="137"/>
                      </a:lnTo>
                      <a:lnTo>
                        <a:pt x="432" y="133"/>
                      </a:lnTo>
                      <a:lnTo>
                        <a:pt x="430" y="128"/>
                      </a:lnTo>
                      <a:lnTo>
                        <a:pt x="428" y="129"/>
                      </a:lnTo>
                      <a:lnTo>
                        <a:pt x="427" y="129"/>
                      </a:lnTo>
                      <a:lnTo>
                        <a:pt x="423" y="129"/>
                      </a:lnTo>
                      <a:lnTo>
                        <a:pt x="421" y="126"/>
                      </a:lnTo>
                      <a:lnTo>
                        <a:pt x="419" y="122"/>
                      </a:lnTo>
                      <a:lnTo>
                        <a:pt x="421" y="120"/>
                      </a:lnTo>
                      <a:lnTo>
                        <a:pt x="423" y="118"/>
                      </a:lnTo>
                      <a:lnTo>
                        <a:pt x="425" y="116"/>
                      </a:lnTo>
                      <a:lnTo>
                        <a:pt x="427" y="114"/>
                      </a:lnTo>
                      <a:lnTo>
                        <a:pt x="434" y="111"/>
                      </a:lnTo>
                      <a:lnTo>
                        <a:pt x="436" y="114"/>
                      </a:lnTo>
                      <a:lnTo>
                        <a:pt x="438" y="116"/>
                      </a:lnTo>
                      <a:lnTo>
                        <a:pt x="440" y="116"/>
                      </a:lnTo>
                      <a:lnTo>
                        <a:pt x="438" y="118"/>
                      </a:lnTo>
                      <a:lnTo>
                        <a:pt x="434" y="129"/>
                      </a:lnTo>
                      <a:lnTo>
                        <a:pt x="447" y="116"/>
                      </a:lnTo>
                      <a:lnTo>
                        <a:pt x="449" y="126"/>
                      </a:lnTo>
                      <a:lnTo>
                        <a:pt x="451" y="129"/>
                      </a:lnTo>
                      <a:lnTo>
                        <a:pt x="453" y="133"/>
                      </a:lnTo>
                      <a:lnTo>
                        <a:pt x="455" y="135"/>
                      </a:lnTo>
                      <a:lnTo>
                        <a:pt x="457" y="137"/>
                      </a:lnTo>
                      <a:lnTo>
                        <a:pt x="464" y="135"/>
                      </a:lnTo>
                      <a:lnTo>
                        <a:pt x="472" y="131"/>
                      </a:lnTo>
                      <a:lnTo>
                        <a:pt x="474" y="131"/>
                      </a:lnTo>
                      <a:lnTo>
                        <a:pt x="472" y="128"/>
                      </a:lnTo>
                      <a:lnTo>
                        <a:pt x="470" y="126"/>
                      </a:lnTo>
                      <a:lnTo>
                        <a:pt x="468" y="120"/>
                      </a:lnTo>
                      <a:lnTo>
                        <a:pt x="470" y="122"/>
                      </a:lnTo>
                      <a:lnTo>
                        <a:pt x="474" y="120"/>
                      </a:lnTo>
                      <a:lnTo>
                        <a:pt x="474" y="118"/>
                      </a:lnTo>
                      <a:lnTo>
                        <a:pt x="475" y="118"/>
                      </a:lnTo>
                      <a:lnTo>
                        <a:pt x="474" y="112"/>
                      </a:lnTo>
                      <a:lnTo>
                        <a:pt x="475" y="112"/>
                      </a:lnTo>
                      <a:lnTo>
                        <a:pt x="475" y="114"/>
                      </a:lnTo>
                      <a:lnTo>
                        <a:pt x="477" y="114"/>
                      </a:lnTo>
                      <a:lnTo>
                        <a:pt x="479" y="116"/>
                      </a:lnTo>
                      <a:lnTo>
                        <a:pt x="481" y="116"/>
                      </a:lnTo>
                      <a:lnTo>
                        <a:pt x="483" y="114"/>
                      </a:lnTo>
                      <a:lnTo>
                        <a:pt x="483" y="116"/>
                      </a:lnTo>
                      <a:lnTo>
                        <a:pt x="485" y="116"/>
                      </a:lnTo>
                      <a:lnTo>
                        <a:pt x="487" y="116"/>
                      </a:lnTo>
                      <a:lnTo>
                        <a:pt x="487" y="114"/>
                      </a:lnTo>
                      <a:lnTo>
                        <a:pt x="491" y="109"/>
                      </a:lnTo>
                      <a:lnTo>
                        <a:pt x="492" y="109"/>
                      </a:lnTo>
                      <a:lnTo>
                        <a:pt x="494" y="118"/>
                      </a:lnTo>
                      <a:lnTo>
                        <a:pt x="496" y="120"/>
                      </a:lnTo>
                      <a:lnTo>
                        <a:pt x="492" y="124"/>
                      </a:lnTo>
                      <a:lnTo>
                        <a:pt x="489" y="124"/>
                      </a:lnTo>
                      <a:lnTo>
                        <a:pt x="487" y="126"/>
                      </a:lnTo>
                      <a:lnTo>
                        <a:pt x="479" y="128"/>
                      </a:lnTo>
                      <a:lnTo>
                        <a:pt x="481" y="129"/>
                      </a:lnTo>
                      <a:lnTo>
                        <a:pt x="483" y="133"/>
                      </a:lnTo>
                      <a:lnTo>
                        <a:pt x="481" y="137"/>
                      </a:lnTo>
                      <a:lnTo>
                        <a:pt x="481" y="143"/>
                      </a:lnTo>
                      <a:lnTo>
                        <a:pt x="487" y="145"/>
                      </a:lnTo>
                      <a:lnTo>
                        <a:pt x="489" y="146"/>
                      </a:lnTo>
                      <a:lnTo>
                        <a:pt x="485" y="146"/>
                      </a:lnTo>
                      <a:lnTo>
                        <a:pt x="487" y="150"/>
                      </a:lnTo>
                      <a:lnTo>
                        <a:pt x="474" y="156"/>
                      </a:lnTo>
                      <a:lnTo>
                        <a:pt x="468" y="158"/>
                      </a:lnTo>
                      <a:lnTo>
                        <a:pt x="462" y="158"/>
                      </a:lnTo>
                      <a:lnTo>
                        <a:pt x="460" y="165"/>
                      </a:lnTo>
                      <a:lnTo>
                        <a:pt x="460" y="171"/>
                      </a:lnTo>
                      <a:lnTo>
                        <a:pt x="459" y="175"/>
                      </a:lnTo>
                      <a:lnTo>
                        <a:pt x="460" y="175"/>
                      </a:lnTo>
                      <a:lnTo>
                        <a:pt x="464" y="177"/>
                      </a:lnTo>
                      <a:lnTo>
                        <a:pt x="464" y="178"/>
                      </a:lnTo>
                      <a:lnTo>
                        <a:pt x="466" y="178"/>
                      </a:lnTo>
                      <a:lnTo>
                        <a:pt x="464" y="180"/>
                      </a:lnTo>
                      <a:lnTo>
                        <a:pt x="464" y="182"/>
                      </a:lnTo>
                      <a:lnTo>
                        <a:pt x="460" y="188"/>
                      </a:lnTo>
                      <a:lnTo>
                        <a:pt x="457" y="199"/>
                      </a:lnTo>
                      <a:lnTo>
                        <a:pt x="455" y="201"/>
                      </a:lnTo>
                      <a:lnTo>
                        <a:pt x="457" y="201"/>
                      </a:lnTo>
                      <a:lnTo>
                        <a:pt x="459" y="205"/>
                      </a:lnTo>
                      <a:lnTo>
                        <a:pt x="457" y="214"/>
                      </a:lnTo>
                      <a:lnTo>
                        <a:pt x="457" y="216"/>
                      </a:lnTo>
                      <a:lnTo>
                        <a:pt x="455" y="220"/>
                      </a:lnTo>
                      <a:lnTo>
                        <a:pt x="449" y="218"/>
                      </a:lnTo>
                      <a:lnTo>
                        <a:pt x="442" y="214"/>
                      </a:lnTo>
                      <a:lnTo>
                        <a:pt x="442" y="216"/>
                      </a:lnTo>
                      <a:lnTo>
                        <a:pt x="444" y="218"/>
                      </a:lnTo>
                      <a:lnTo>
                        <a:pt x="442" y="220"/>
                      </a:lnTo>
                      <a:lnTo>
                        <a:pt x="442" y="227"/>
                      </a:lnTo>
                      <a:lnTo>
                        <a:pt x="440" y="229"/>
                      </a:lnTo>
                      <a:lnTo>
                        <a:pt x="440" y="237"/>
                      </a:lnTo>
                      <a:lnTo>
                        <a:pt x="442" y="242"/>
                      </a:lnTo>
                      <a:lnTo>
                        <a:pt x="442" y="244"/>
                      </a:lnTo>
                      <a:lnTo>
                        <a:pt x="438" y="254"/>
                      </a:lnTo>
                      <a:lnTo>
                        <a:pt x="436" y="252"/>
                      </a:lnTo>
                      <a:lnTo>
                        <a:pt x="428" y="254"/>
                      </a:lnTo>
                      <a:lnTo>
                        <a:pt x="427" y="252"/>
                      </a:lnTo>
                      <a:lnTo>
                        <a:pt x="419" y="252"/>
                      </a:lnTo>
                      <a:lnTo>
                        <a:pt x="413" y="256"/>
                      </a:lnTo>
                      <a:lnTo>
                        <a:pt x="410" y="246"/>
                      </a:lnTo>
                      <a:lnTo>
                        <a:pt x="410" y="248"/>
                      </a:lnTo>
                      <a:lnTo>
                        <a:pt x="396" y="248"/>
                      </a:lnTo>
                      <a:lnTo>
                        <a:pt x="391" y="246"/>
                      </a:lnTo>
                      <a:lnTo>
                        <a:pt x="389" y="246"/>
                      </a:lnTo>
                      <a:lnTo>
                        <a:pt x="381" y="244"/>
                      </a:lnTo>
                      <a:lnTo>
                        <a:pt x="378" y="242"/>
                      </a:lnTo>
                      <a:lnTo>
                        <a:pt x="366" y="252"/>
                      </a:lnTo>
                      <a:lnTo>
                        <a:pt x="366" y="256"/>
                      </a:lnTo>
                      <a:lnTo>
                        <a:pt x="363" y="269"/>
                      </a:lnTo>
                      <a:lnTo>
                        <a:pt x="353" y="265"/>
                      </a:lnTo>
                      <a:lnTo>
                        <a:pt x="351" y="269"/>
                      </a:lnTo>
                      <a:lnTo>
                        <a:pt x="348" y="269"/>
                      </a:lnTo>
                      <a:lnTo>
                        <a:pt x="344" y="269"/>
                      </a:lnTo>
                      <a:lnTo>
                        <a:pt x="348" y="274"/>
                      </a:lnTo>
                      <a:lnTo>
                        <a:pt x="344" y="276"/>
                      </a:lnTo>
                      <a:lnTo>
                        <a:pt x="344" y="280"/>
                      </a:lnTo>
                      <a:lnTo>
                        <a:pt x="342" y="280"/>
                      </a:lnTo>
                      <a:lnTo>
                        <a:pt x="340" y="288"/>
                      </a:lnTo>
                      <a:lnTo>
                        <a:pt x="349" y="293"/>
                      </a:lnTo>
                      <a:lnTo>
                        <a:pt x="349" y="295"/>
                      </a:lnTo>
                      <a:lnTo>
                        <a:pt x="349" y="303"/>
                      </a:lnTo>
                      <a:lnTo>
                        <a:pt x="351" y="301"/>
                      </a:lnTo>
                      <a:lnTo>
                        <a:pt x="351" y="305"/>
                      </a:lnTo>
                      <a:lnTo>
                        <a:pt x="351" y="316"/>
                      </a:lnTo>
                      <a:lnTo>
                        <a:pt x="365" y="320"/>
                      </a:lnTo>
                      <a:lnTo>
                        <a:pt x="374" y="321"/>
                      </a:lnTo>
                      <a:lnTo>
                        <a:pt x="376" y="329"/>
                      </a:lnTo>
                      <a:lnTo>
                        <a:pt x="376" y="331"/>
                      </a:lnTo>
                      <a:lnTo>
                        <a:pt x="376" y="335"/>
                      </a:lnTo>
                      <a:lnTo>
                        <a:pt x="380" y="337"/>
                      </a:lnTo>
                      <a:lnTo>
                        <a:pt x="387" y="340"/>
                      </a:lnTo>
                      <a:lnTo>
                        <a:pt x="387" y="342"/>
                      </a:lnTo>
                      <a:lnTo>
                        <a:pt x="389" y="344"/>
                      </a:lnTo>
                      <a:lnTo>
                        <a:pt x="396" y="348"/>
                      </a:lnTo>
                      <a:lnTo>
                        <a:pt x="404" y="344"/>
                      </a:lnTo>
                      <a:lnTo>
                        <a:pt x="408" y="342"/>
                      </a:lnTo>
                      <a:lnTo>
                        <a:pt x="415" y="342"/>
                      </a:lnTo>
                      <a:lnTo>
                        <a:pt x="421" y="338"/>
                      </a:lnTo>
                      <a:lnTo>
                        <a:pt x="425" y="350"/>
                      </a:lnTo>
                      <a:lnTo>
                        <a:pt x="430" y="348"/>
                      </a:lnTo>
                      <a:lnTo>
                        <a:pt x="432" y="355"/>
                      </a:lnTo>
                      <a:lnTo>
                        <a:pt x="436" y="365"/>
                      </a:lnTo>
                      <a:lnTo>
                        <a:pt x="428" y="369"/>
                      </a:lnTo>
                      <a:lnTo>
                        <a:pt x="421" y="372"/>
                      </a:lnTo>
                      <a:lnTo>
                        <a:pt x="419" y="372"/>
                      </a:lnTo>
                      <a:lnTo>
                        <a:pt x="417" y="372"/>
                      </a:lnTo>
                      <a:lnTo>
                        <a:pt x="415" y="376"/>
                      </a:lnTo>
                      <a:lnTo>
                        <a:pt x="415" y="378"/>
                      </a:lnTo>
                      <a:lnTo>
                        <a:pt x="417" y="380"/>
                      </a:lnTo>
                      <a:lnTo>
                        <a:pt x="415" y="380"/>
                      </a:lnTo>
                      <a:lnTo>
                        <a:pt x="412" y="385"/>
                      </a:lnTo>
                      <a:lnTo>
                        <a:pt x="412" y="399"/>
                      </a:lnTo>
                      <a:lnTo>
                        <a:pt x="391" y="397"/>
                      </a:lnTo>
                      <a:lnTo>
                        <a:pt x="389" y="397"/>
                      </a:lnTo>
                      <a:lnTo>
                        <a:pt x="385" y="395"/>
                      </a:lnTo>
                      <a:lnTo>
                        <a:pt x="383" y="397"/>
                      </a:lnTo>
                      <a:lnTo>
                        <a:pt x="381" y="397"/>
                      </a:lnTo>
                      <a:lnTo>
                        <a:pt x="380" y="397"/>
                      </a:lnTo>
                      <a:lnTo>
                        <a:pt x="378" y="399"/>
                      </a:lnTo>
                      <a:lnTo>
                        <a:pt x="378" y="401"/>
                      </a:lnTo>
                      <a:lnTo>
                        <a:pt x="380" y="408"/>
                      </a:lnTo>
                      <a:lnTo>
                        <a:pt x="365" y="404"/>
                      </a:lnTo>
                      <a:lnTo>
                        <a:pt x="365" y="402"/>
                      </a:lnTo>
                      <a:lnTo>
                        <a:pt x="366" y="401"/>
                      </a:lnTo>
                      <a:lnTo>
                        <a:pt x="365" y="399"/>
                      </a:lnTo>
                      <a:lnTo>
                        <a:pt x="363" y="402"/>
                      </a:lnTo>
                      <a:lnTo>
                        <a:pt x="361" y="401"/>
                      </a:lnTo>
                      <a:lnTo>
                        <a:pt x="363" y="399"/>
                      </a:lnTo>
                      <a:lnTo>
                        <a:pt x="359" y="397"/>
                      </a:lnTo>
                      <a:lnTo>
                        <a:pt x="355" y="397"/>
                      </a:lnTo>
                      <a:lnTo>
                        <a:pt x="353" y="395"/>
                      </a:lnTo>
                      <a:lnTo>
                        <a:pt x="351" y="395"/>
                      </a:lnTo>
                      <a:lnTo>
                        <a:pt x="349" y="402"/>
                      </a:lnTo>
                      <a:lnTo>
                        <a:pt x="349" y="408"/>
                      </a:lnTo>
                      <a:lnTo>
                        <a:pt x="349" y="410"/>
                      </a:lnTo>
                      <a:lnTo>
                        <a:pt x="349" y="412"/>
                      </a:lnTo>
                      <a:lnTo>
                        <a:pt x="351" y="412"/>
                      </a:lnTo>
                      <a:lnTo>
                        <a:pt x="351" y="414"/>
                      </a:lnTo>
                      <a:lnTo>
                        <a:pt x="351" y="416"/>
                      </a:lnTo>
                      <a:lnTo>
                        <a:pt x="351" y="419"/>
                      </a:lnTo>
                      <a:lnTo>
                        <a:pt x="349" y="419"/>
                      </a:lnTo>
                      <a:lnTo>
                        <a:pt x="344" y="419"/>
                      </a:lnTo>
                      <a:lnTo>
                        <a:pt x="346" y="419"/>
                      </a:lnTo>
                      <a:lnTo>
                        <a:pt x="346" y="421"/>
                      </a:lnTo>
                      <a:lnTo>
                        <a:pt x="346" y="423"/>
                      </a:lnTo>
                      <a:lnTo>
                        <a:pt x="344" y="423"/>
                      </a:lnTo>
                      <a:lnTo>
                        <a:pt x="342" y="423"/>
                      </a:lnTo>
                      <a:lnTo>
                        <a:pt x="342" y="425"/>
                      </a:lnTo>
                      <a:lnTo>
                        <a:pt x="340" y="425"/>
                      </a:lnTo>
                      <a:lnTo>
                        <a:pt x="340" y="427"/>
                      </a:lnTo>
                      <a:lnTo>
                        <a:pt x="338" y="427"/>
                      </a:lnTo>
                      <a:lnTo>
                        <a:pt x="338" y="429"/>
                      </a:lnTo>
                      <a:lnTo>
                        <a:pt x="338" y="427"/>
                      </a:lnTo>
                      <a:lnTo>
                        <a:pt x="340" y="433"/>
                      </a:lnTo>
                      <a:lnTo>
                        <a:pt x="329" y="434"/>
                      </a:lnTo>
                      <a:lnTo>
                        <a:pt x="329" y="438"/>
                      </a:lnTo>
                      <a:lnTo>
                        <a:pt x="323" y="438"/>
                      </a:lnTo>
                      <a:lnTo>
                        <a:pt x="321" y="438"/>
                      </a:lnTo>
                      <a:lnTo>
                        <a:pt x="317" y="438"/>
                      </a:lnTo>
                      <a:lnTo>
                        <a:pt x="316" y="446"/>
                      </a:lnTo>
                      <a:lnTo>
                        <a:pt x="314" y="457"/>
                      </a:lnTo>
                      <a:lnTo>
                        <a:pt x="316" y="455"/>
                      </a:lnTo>
                      <a:lnTo>
                        <a:pt x="319" y="468"/>
                      </a:lnTo>
                      <a:lnTo>
                        <a:pt x="304" y="472"/>
                      </a:lnTo>
                      <a:lnTo>
                        <a:pt x="304" y="474"/>
                      </a:lnTo>
                      <a:lnTo>
                        <a:pt x="302" y="474"/>
                      </a:lnTo>
                      <a:lnTo>
                        <a:pt x="302" y="476"/>
                      </a:lnTo>
                      <a:lnTo>
                        <a:pt x="299" y="478"/>
                      </a:lnTo>
                      <a:lnTo>
                        <a:pt x="297" y="478"/>
                      </a:lnTo>
                      <a:lnTo>
                        <a:pt x="299" y="483"/>
                      </a:lnTo>
                      <a:lnTo>
                        <a:pt x="297" y="483"/>
                      </a:lnTo>
                      <a:lnTo>
                        <a:pt x="297" y="485"/>
                      </a:lnTo>
                      <a:lnTo>
                        <a:pt x="299" y="485"/>
                      </a:lnTo>
                      <a:lnTo>
                        <a:pt x="299" y="491"/>
                      </a:lnTo>
                      <a:lnTo>
                        <a:pt x="297" y="497"/>
                      </a:lnTo>
                      <a:lnTo>
                        <a:pt x="297" y="498"/>
                      </a:lnTo>
                      <a:lnTo>
                        <a:pt x="295" y="500"/>
                      </a:lnTo>
                      <a:lnTo>
                        <a:pt x="295" y="502"/>
                      </a:lnTo>
                      <a:lnTo>
                        <a:pt x="293" y="502"/>
                      </a:lnTo>
                      <a:lnTo>
                        <a:pt x="287" y="502"/>
                      </a:lnTo>
                      <a:lnTo>
                        <a:pt x="287" y="500"/>
                      </a:lnTo>
                      <a:lnTo>
                        <a:pt x="287" y="498"/>
                      </a:lnTo>
                      <a:lnTo>
                        <a:pt x="284" y="498"/>
                      </a:lnTo>
                      <a:lnTo>
                        <a:pt x="282" y="500"/>
                      </a:lnTo>
                      <a:lnTo>
                        <a:pt x="282" y="502"/>
                      </a:lnTo>
                      <a:lnTo>
                        <a:pt x="278" y="500"/>
                      </a:lnTo>
                      <a:lnTo>
                        <a:pt x="278" y="502"/>
                      </a:lnTo>
                      <a:lnTo>
                        <a:pt x="280" y="504"/>
                      </a:lnTo>
                      <a:lnTo>
                        <a:pt x="278" y="504"/>
                      </a:lnTo>
                      <a:close/>
                    </a:path>
                  </a:pathLst>
                </a:custGeom>
                <a:solidFill>
                  <a:srgbClr val="CDFFCD"/>
                </a:solidFill>
                <a:ln w="9525">
                  <a:solidFill>
                    <a:schemeClr val="accent6"/>
                  </a:solidFill>
                  <a:round/>
                  <a:headEnd/>
                  <a:tailEnd/>
                </a:ln>
              </p:spPr>
              <p:txBody>
                <a:bodyPr vert="horz" wrap="square" lIns="89614" tIns="44807" rIns="89614" bIns="44807" numCol="1" anchor="t" anchorCtr="0" compatLnSpc="1">
                  <a:prstTxWarp prst="textNoShape">
                    <a:avLst/>
                  </a:prstTxWarp>
                </a:bodyPr>
                <a:lstStyle/>
                <a:p>
                  <a:pPr fontAlgn="base">
                    <a:spcBef>
                      <a:spcPct val="0"/>
                    </a:spcBef>
                    <a:spcAft>
                      <a:spcPct val="0"/>
                    </a:spcAft>
                  </a:pPr>
                  <a:endParaRPr lang="en-US" sz="1568" dirty="0">
                    <a:solidFill>
                      <a:srgbClr val="000000"/>
                    </a:solidFill>
                  </a:endParaRPr>
                </a:p>
              </p:txBody>
            </p:sp>
            <p:sp>
              <p:nvSpPr>
                <p:cNvPr id="53" name="Freeform 37"/>
                <p:cNvSpPr>
                  <a:spLocks/>
                </p:cNvSpPr>
                <p:nvPr/>
              </p:nvSpPr>
              <p:spPr bwMode="auto">
                <a:xfrm>
                  <a:off x="5130800" y="446088"/>
                  <a:ext cx="2217738" cy="1463675"/>
                </a:xfrm>
                <a:custGeom>
                  <a:avLst/>
                  <a:gdLst>
                    <a:gd name="T0" fmla="*/ 1354 w 1397"/>
                    <a:gd name="T1" fmla="*/ 538 h 922"/>
                    <a:gd name="T2" fmla="*/ 1313 w 1397"/>
                    <a:gd name="T3" fmla="*/ 532 h 922"/>
                    <a:gd name="T4" fmla="*/ 1267 w 1397"/>
                    <a:gd name="T5" fmla="*/ 538 h 922"/>
                    <a:gd name="T6" fmla="*/ 1217 w 1397"/>
                    <a:gd name="T7" fmla="*/ 532 h 922"/>
                    <a:gd name="T8" fmla="*/ 1186 w 1397"/>
                    <a:gd name="T9" fmla="*/ 587 h 922"/>
                    <a:gd name="T10" fmla="*/ 1211 w 1397"/>
                    <a:gd name="T11" fmla="*/ 679 h 922"/>
                    <a:gd name="T12" fmla="*/ 1096 w 1397"/>
                    <a:gd name="T13" fmla="*/ 685 h 922"/>
                    <a:gd name="T14" fmla="*/ 1030 w 1397"/>
                    <a:gd name="T15" fmla="*/ 770 h 922"/>
                    <a:gd name="T16" fmla="*/ 963 w 1397"/>
                    <a:gd name="T17" fmla="*/ 783 h 922"/>
                    <a:gd name="T18" fmla="*/ 918 w 1397"/>
                    <a:gd name="T19" fmla="*/ 898 h 922"/>
                    <a:gd name="T20" fmla="*/ 750 w 1397"/>
                    <a:gd name="T21" fmla="*/ 916 h 922"/>
                    <a:gd name="T22" fmla="*/ 675 w 1397"/>
                    <a:gd name="T23" fmla="*/ 843 h 922"/>
                    <a:gd name="T24" fmla="*/ 639 w 1397"/>
                    <a:gd name="T25" fmla="*/ 803 h 922"/>
                    <a:gd name="T26" fmla="*/ 519 w 1397"/>
                    <a:gd name="T27" fmla="*/ 841 h 922"/>
                    <a:gd name="T28" fmla="*/ 579 w 1397"/>
                    <a:gd name="T29" fmla="*/ 862 h 922"/>
                    <a:gd name="T30" fmla="*/ 472 w 1397"/>
                    <a:gd name="T31" fmla="*/ 869 h 922"/>
                    <a:gd name="T32" fmla="*/ 455 w 1397"/>
                    <a:gd name="T33" fmla="*/ 811 h 922"/>
                    <a:gd name="T34" fmla="*/ 302 w 1397"/>
                    <a:gd name="T35" fmla="*/ 807 h 922"/>
                    <a:gd name="T36" fmla="*/ 203 w 1397"/>
                    <a:gd name="T37" fmla="*/ 802 h 922"/>
                    <a:gd name="T38" fmla="*/ 54 w 1397"/>
                    <a:gd name="T39" fmla="*/ 749 h 922"/>
                    <a:gd name="T40" fmla="*/ 3 w 1397"/>
                    <a:gd name="T41" fmla="*/ 715 h 922"/>
                    <a:gd name="T42" fmla="*/ 18 w 1397"/>
                    <a:gd name="T43" fmla="*/ 675 h 922"/>
                    <a:gd name="T44" fmla="*/ 37 w 1397"/>
                    <a:gd name="T45" fmla="*/ 647 h 922"/>
                    <a:gd name="T46" fmla="*/ 62 w 1397"/>
                    <a:gd name="T47" fmla="*/ 628 h 922"/>
                    <a:gd name="T48" fmla="*/ 77 w 1397"/>
                    <a:gd name="T49" fmla="*/ 610 h 922"/>
                    <a:gd name="T50" fmla="*/ 103 w 1397"/>
                    <a:gd name="T51" fmla="*/ 600 h 922"/>
                    <a:gd name="T52" fmla="*/ 114 w 1397"/>
                    <a:gd name="T53" fmla="*/ 581 h 922"/>
                    <a:gd name="T54" fmla="*/ 118 w 1397"/>
                    <a:gd name="T55" fmla="*/ 547 h 922"/>
                    <a:gd name="T56" fmla="*/ 133 w 1397"/>
                    <a:gd name="T57" fmla="*/ 498 h 922"/>
                    <a:gd name="T58" fmla="*/ 139 w 1397"/>
                    <a:gd name="T59" fmla="*/ 461 h 922"/>
                    <a:gd name="T60" fmla="*/ 150 w 1397"/>
                    <a:gd name="T61" fmla="*/ 421 h 922"/>
                    <a:gd name="T62" fmla="*/ 171 w 1397"/>
                    <a:gd name="T63" fmla="*/ 419 h 922"/>
                    <a:gd name="T64" fmla="*/ 186 w 1397"/>
                    <a:gd name="T65" fmla="*/ 402 h 922"/>
                    <a:gd name="T66" fmla="*/ 197 w 1397"/>
                    <a:gd name="T67" fmla="*/ 389 h 922"/>
                    <a:gd name="T68" fmla="*/ 222 w 1397"/>
                    <a:gd name="T69" fmla="*/ 374 h 922"/>
                    <a:gd name="T70" fmla="*/ 240 w 1397"/>
                    <a:gd name="T71" fmla="*/ 361 h 922"/>
                    <a:gd name="T72" fmla="*/ 261 w 1397"/>
                    <a:gd name="T73" fmla="*/ 352 h 922"/>
                    <a:gd name="T74" fmla="*/ 293 w 1397"/>
                    <a:gd name="T75" fmla="*/ 329 h 922"/>
                    <a:gd name="T76" fmla="*/ 321 w 1397"/>
                    <a:gd name="T77" fmla="*/ 299 h 922"/>
                    <a:gd name="T78" fmla="*/ 349 w 1397"/>
                    <a:gd name="T79" fmla="*/ 284 h 922"/>
                    <a:gd name="T80" fmla="*/ 374 w 1397"/>
                    <a:gd name="T81" fmla="*/ 267 h 922"/>
                    <a:gd name="T82" fmla="*/ 393 w 1397"/>
                    <a:gd name="T83" fmla="*/ 231 h 922"/>
                    <a:gd name="T84" fmla="*/ 415 w 1397"/>
                    <a:gd name="T85" fmla="*/ 197 h 922"/>
                    <a:gd name="T86" fmla="*/ 445 w 1397"/>
                    <a:gd name="T87" fmla="*/ 165 h 922"/>
                    <a:gd name="T88" fmla="*/ 477 w 1397"/>
                    <a:gd name="T89" fmla="*/ 135 h 922"/>
                    <a:gd name="T90" fmla="*/ 526 w 1397"/>
                    <a:gd name="T91" fmla="*/ 124 h 922"/>
                    <a:gd name="T92" fmla="*/ 573 w 1397"/>
                    <a:gd name="T93" fmla="*/ 118 h 922"/>
                    <a:gd name="T94" fmla="*/ 617 w 1397"/>
                    <a:gd name="T95" fmla="*/ 96 h 922"/>
                    <a:gd name="T96" fmla="*/ 652 w 1397"/>
                    <a:gd name="T97" fmla="*/ 73 h 922"/>
                    <a:gd name="T98" fmla="*/ 665 w 1397"/>
                    <a:gd name="T99" fmla="*/ 28 h 922"/>
                    <a:gd name="T100" fmla="*/ 716 w 1397"/>
                    <a:gd name="T101" fmla="*/ 16 h 922"/>
                    <a:gd name="T102" fmla="*/ 760 w 1397"/>
                    <a:gd name="T103" fmla="*/ 18 h 922"/>
                    <a:gd name="T104" fmla="*/ 805 w 1397"/>
                    <a:gd name="T105" fmla="*/ 7 h 922"/>
                    <a:gd name="T106" fmla="*/ 852 w 1397"/>
                    <a:gd name="T107" fmla="*/ 5 h 922"/>
                    <a:gd name="T108" fmla="*/ 906 w 1397"/>
                    <a:gd name="T109" fmla="*/ 24 h 922"/>
                    <a:gd name="T110" fmla="*/ 951 w 1397"/>
                    <a:gd name="T111" fmla="*/ 52 h 922"/>
                    <a:gd name="T112" fmla="*/ 998 w 1397"/>
                    <a:gd name="T113" fmla="*/ 62 h 922"/>
                    <a:gd name="T114" fmla="*/ 1047 w 1397"/>
                    <a:gd name="T115" fmla="*/ 54 h 922"/>
                    <a:gd name="T116" fmla="*/ 1098 w 1397"/>
                    <a:gd name="T117" fmla="*/ 52 h 922"/>
                    <a:gd name="T118" fmla="*/ 1153 w 1397"/>
                    <a:gd name="T119" fmla="*/ 48 h 922"/>
                    <a:gd name="T120" fmla="*/ 1196 w 1397"/>
                    <a:gd name="T121" fmla="*/ 62 h 922"/>
                    <a:gd name="T122" fmla="*/ 1243 w 1397"/>
                    <a:gd name="T123" fmla="*/ 71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97" h="922">
                      <a:moveTo>
                        <a:pt x="1397" y="517"/>
                      </a:moveTo>
                      <a:lnTo>
                        <a:pt x="1393" y="517"/>
                      </a:lnTo>
                      <a:lnTo>
                        <a:pt x="1390" y="517"/>
                      </a:lnTo>
                      <a:lnTo>
                        <a:pt x="1388" y="517"/>
                      </a:lnTo>
                      <a:lnTo>
                        <a:pt x="1386" y="517"/>
                      </a:lnTo>
                      <a:lnTo>
                        <a:pt x="1384" y="517"/>
                      </a:lnTo>
                      <a:lnTo>
                        <a:pt x="1382" y="517"/>
                      </a:lnTo>
                      <a:lnTo>
                        <a:pt x="1382" y="519"/>
                      </a:lnTo>
                      <a:lnTo>
                        <a:pt x="1382" y="521"/>
                      </a:lnTo>
                      <a:lnTo>
                        <a:pt x="1380" y="521"/>
                      </a:lnTo>
                      <a:lnTo>
                        <a:pt x="1378" y="521"/>
                      </a:lnTo>
                      <a:lnTo>
                        <a:pt x="1376" y="519"/>
                      </a:lnTo>
                      <a:lnTo>
                        <a:pt x="1375" y="519"/>
                      </a:lnTo>
                      <a:lnTo>
                        <a:pt x="1375" y="517"/>
                      </a:lnTo>
                      <a:lnTo>
                        <a:pt x="1373" y="517"/>
                      </a:lnTo>
                      <a:lnTo>
                        <a:pt x="1373" y="515"/>
                      </a:lnTo>
                      <a:lnTo>
                        <a:pt x="1371" y="515"/>
                      </a:lnTo>
                      <a:lnTo>
                        <a:pt x="1369" y="517"/>
                      </a:lnTo>
                      <a:lnTo>
                        <a:pt x="1367" y="517"/>
                      </a:lnTo>
                      <a:lnTo>
                        <a:pt x="1365" y="519"/>
                      </a:lnTo>
                      <a:lnTo>
                        <a:pt x="1363" y="521"/>
                      </a:lnTo>
                      <a:lnTo>
                        <a:pt x="1363" y="523"/>
                      </a:lnTo>
                      <a:lnTo>
                        <a:pt x="1361" y="523"/>
                      </a:lnTo>
                      <a:lnTo>
                        <a:pt x="1360" y="523"/>
                      </a:lnTo>
                      <a:lnTo>
                        <a:pt x="1360" y="525"/>
                      </a:lnTo>
                      <a:lnTo>
                        <a:pt x="1360" y="527"/>
                      </a:lnTo>
                      <a:lnTo>
                        <a:pt x="1360" y="529"/>
                      </a:lnTo>
                      <a:lnTo>
                        <a:pt x="1360" y="530"/>
                      </a:lnTo>
                      <a:lnTo>
                        <a:pt x="1360" y="532"/>
                      </a:lnTo>
                      <a:lnTo>
                        <a:pt x="1360" y="534"/>
                      </a:lnTo>
                      <a:lnTo>
                        <a:pt x="1358" y="536"/>
                      </a:lnTo>
                      <a:lnTo>
                        <a:pt x="1356" y="538"/>
                      </a:lnTo>
                      <a:lnTo>
                        <a:pt x="1354" y="538"/>
                      </a:lnTo>
                      <a:lnTo>
                        <a:pt x="1352" y="538"/>
                      </a:lnTo>
                      <a:lnTo>
                        <a:pt x="1348" y="538"/>
                      </a:lnTo>
                      <a:lnTo>
                        <a:pt x="1346" y="538"/>
                      </a:lnTo>
                      <a:lnTo>
                        <a:pt x="1346" y="536"/>
                      </a:lnTo>
                      <a:lnTo>
                        <a:pt x="1344" y="536"/>
                      </a:lnTo>
                      <a:lnTo>
                        <a:pt x="1344" y="534"/>
                      </a:lnTo>
                      <a:lnTo>
                        <a:pt x="1344" y="532"/>
                      </a:lnTo>
                      <a:lnTo>
                        <a:pt x="1344" y="530"/>
                      </a:lnTo>
                      <a:lnTo>
                        <a:pt x="1343" y="530"/>
                      </a:lnTo>
                      <a:lnTo>
                        <a:pt x="1343" y="529"/>
                      </a:lnTo>
                      <a:lnTo>
                        <a:pt x="1343" y="527"/>
                      </a:lnTo>
                      <a:lnTo>
                        <a:pt x="1341" y="525"/>
                      </a:lnTo>
                      <a:lnTo>
                        <a:pt x="1339" y="525"/>
                      </a:lnTo>
                      <a:lnTo>
                        <a:pt x="1335" y="527"/>
                      </a:lnTo>
                      <a:lnTo>
                        <a:pt x="1333" y="527"/>
                      </a:lnTo>
                      <a:lnTo>
                        <a:pt x="1331" y="527"/>
                      </a:lnTo>
                      <a:lnTo>
                        <a:pt x="1331" y="529"/>
                      </a:lnTo>
                      <a:lnTo>
                        <a:pt x="1329" y="530"/>
                      </a:lnTo>
                      <a:lnTo>
                        <a:pt x="1328" y="530"/>
                      </a:lnTo>
                      <a:lnTo>
                        <a:pt x="1328" y="532"/>
                      </a:lnTo>
                      <a:lnTo>
                        <a:pt x="1328" y="534"/>
                      </a:lnTo>
                      <a:lnTo>
                        <a:pt x="1328" y="536"/>
                      </a:lnTo>
                      <a:lnTo>
                        <a:pt x="1326" y="536"/>
                      </a:lnTo>
                      <a:lnTo>
                        <a:pt x="1324" y="536"/>
                      </a:lnTo>
                      <a:lnTo>
                        <a:pt x="1322" y="536"/>
                      </a:lnTo>
                      <a:lnTo>
                        <a:pt x="1320" y="534"/>
                      </a:lnTo>
                      <a:lnTo>
                        <a:pt x="1320" y="532"/>
                      </a:lnTo>
                      <a:lnTo>
                        <a:pt x="1318" y="532"/>
                      </a:lnTo>
                      <a:lnTo>
                        <a:pt x="1318" y="530"/>
                      </a:lnTo>
                      <a:lnTo>
                        <a:pt x="1316" y="530"/>
                      </a:lnTo>
                      <a:lnTo>
                        <a:pt x="1314" y="530"/>
                      </a:lnTo>
                      <a:lnTo>
                        <a:pt x="1313" y="530"/>
                      </a:lnTo>
                      <a:lnTo>
                        <a:pt x="1313" y="532"/>
                      </a:lnTo>
                      <a:lnTo>
                        <a:pt x="1311" y="532"/>
                      </a:lnTo>
                      <a:lnTo>
                        <a:pt x="1311" y="534"/>
                      </a:lnTo>
                      <a:lnTo>
                        <a:pt x="1311" y="536"/>
                      </a:lnTo>
                      <a:lnTo>
                        <a:pt x="1309" y="536"/>
                      </a:lnTo>
                      <a:lnTo>
                        <a:pt x="1307" y="538"/>
                      </a:lnTo>
                      <a:lnTo>
                        <a:pt x="1307" y="536"/>
                      </a:lnTo>
                      <a:lnTo>
                        <a:pt x="1305" y="536"/>
                      </a:lnTo>
                      <a:lnTo>
                        <a:pt x="1303" y="534"/>
                      </a:lnTo>
                      <a:lnTo>
                        <a:pt x="1303" y="532"/>
                      </a:lnTo>
                      <a:lnTo>
                        <a:pt x="1301" y="532"/>
                      </a:lnTo>
                      <a:lnTo>
                        <a:pt x="1299" y="532"/>
                      </a:lnTo>
                      <a:lnTo>
                        <a:pt x="1297" y="532"/>
                      </a:lnTo>
                      <a:lnTo>
                        <a:pt x="1296" y="530"/>
                      </a:lnTo>
                      <a:lnTo>
                        <a:pt x="1292" y="530"/>
                      </a:lnTo>
                      <a:lnTo>
                        <a:pt x="1290" y="529"/>
                      </a:lnTo>
                      <a:lnTo>
                        <a:pt x="1288" y="529"/>
                      </a:lnTo>
                      <a:lnTo>
                        <a:pt x="1288" y="527"/>
                      </a:lnTo>
                      <a:lnTo>
                        <a:pt x="1286" y="527"/>
                      </a:lnTo>
                      <a:lnTo>
                        <a:pt x="1284" y="527"/>
                      </a:lnTo>
                      <a:lnTo>
                        <a:pt x="1284" y="529"/>
                      </a:lnTo>
                      <a:lnTo>
                        <a:pt x="1284" y="530"/>
                      </a:lnTo>
                      <a:lnTo>
                        <a:pt x="1284" y="532"/>
                      </a:lnTo>
                      <a:lnTo>
                        <a:pt x="1282" y="534"/>
                      </a:lnTo>
                      <a:lnTo>
                        <a:pt x="1282" y="536"/>
                      </a:lnTo>
                      <a:lnTo>
                        <a:pt x="1281" y="536"/>
                      </a:lnTo>
                      <a:lnTo>
                        <a:pt x="1279" y="536"/>
                      </a:lnTo>
                      <a:lnTo>
                        <a:pt x="1279" y="538"/>
                      </a:lnTo>
                      <a:lnTo>
                        <a:pt x="1277" y="538"/>
                      </a:lnTo>
                      <a:lnTo>
                        <a:pt x="1273" y="540"/>
                      </a:lnTo>
                      <a:lnTo>
                        <a:pt x="1271" y="538"/>
                      </a:lnTo>
                      <a:lnTo>
                        <a:pt x="1271" y="536"/>
                      </a:lnTo>
                      <a:lnTo>
                        <a:pt x="1269" y="536"/>
                      </a:lnTo>
                      <a:lnTo>
                        <a:pt x="1267" y="538"/>
                      </a:lnTo>
                      <a:lnTo>
                        <a:pt x="1265" y="540"/>
                      </a:lnTo>
                      <a:lnTo>
                        <a:pt x="1264" y="542"/>
                      </a:lnTo>
                      <a:lnTo>
                        <a:pt x="1262" y="542"/>
                      </a:lnTo>
                      <a:lnTo>
                        <a:pt x="1260" y="542"/>
                      </a:lnTo>
                      <a:lnTo>
                        <a:pt x="1258" y="544"/>
                      </a:lnTo>
                      <a:lnTo>
                        <a:pt x="1256" y="544"/>
                      </a:lnTo>
                      <a:lnTo>
                        <a:pt x="1254" y="544"/>
                      </a:lnTo>
                      <a:lnTo>
                        <a:pt x="1252" y="544"/>
                      </a:lnTo>
                      <a:lnTo>
                        <a:pt x="1250" y="544"/>
                      </a:lnTo>
                      <a:lnTo>
                        <a:pt x="1250" y="542"/>
                      </a:lnTo>
                      <a:lnTo>
                        <a:pt x="1249" y="542"/>
                      </a:lnTo>
                      <a:lnTo>
                        <a:pt x="1247" y="542"/>
                      </a:lnTo>
                      <a:lnTo>
                        <a:pt x="1245" y="544"/>
                      </a:lnTo>
                      <a:lnTo>
                        <a:pt x="1245" y="545"/>
                      </a:lnTo>
                      <a:lnTo>
                        <a:pt x="1243" y="547"/>
                      </a:lnTo>
                      <a:lnTo>
                        <a:pt x="1241" y="547"/>
                      </a:lnTo>
                      <a:lnTo>
                        <a:pt x="1239" y="549"/>
                      </a:lnTo>
                      <a:lnTo>
                        <a:pt x="1237" y="549"/>
                      </a:lnTo>
                      <a:lnTo>
                        <a:pt x="1235" y="545"/>
                      </a:lnTo>
                      <a:lnTo>
                        <a:pt x="1235" y="544"/>
                      </a:lnTo>
                      <a:lnTo>
                        <a:pt x="1235" y="542"/>
                      </a:lnTo>
                      <a:lnTo>
                        <a:pt x="1234" y="540"/>
                      </a:lnTo>
                      <a:lnTo>
                        <a:pt x="1234" y="538"/>
                      </a:lnTo>
                      <a:lnTo>
                        <a:pt x="1232" y="538"/>
                      </a:lnTo>
                      <a:lnTo>
                        <a:pt x="1230" y="536"/>
                      </a:lnTo>
                      <a:lnTo>
                        <a:pt x="1228" y="534"/>
                      </a:lnTo>
                      <a:lnTo>
                        <a:pt x="1226" y="532"/>
                      </a:lnTo>
                      <a:lnTo>
                        <a:pt x="1224" y="532"/>
                      </a:lnTo>
                      <a:lnTo>
                        <a:pt x="1222" y="530"/>
                      </a:lnTo>
                      <a:lnTo>
                        <a:pt x="1220" y="530"/>
                      </a:lnTo>
                      <a:lnTo>
                        <a:pt x="1218" y="530"/>
                      </a:lnTo>
                      <a:lnTo>
                        <a:pt x="1217" y="530"/>
                      </a:lnTo>
                      <a:lnTo>
                        <a:pt x="1217" y="532"/>
                      </a:lnTo>
                      <a:lnTo>
                        <a:pt x="1217" y="534"/>
                      </a:lnTo>
                      <a:lnTo>
                        <a:pt x="1215" y="534"/>
                      </a:lnTo>
                      <a:lnTo>
                        <a:pt x="1215" y="536"/>
                      </a:lnTo>
                      <a:lnTo>
                        <a:pt x="1215" y="538"/>
                      </a:lnTo>
                      <a:lnTo>
                        <a:pt x="1213" y="538"/>
                      </a:lnTo>
                      <a:lnTo>
                        <a:pt x="1211" y="540"/>
                      </a:lnTo>
                      <a:lnTo>
                        <a:pt x="1209" y="540"/>
                      </a:lnTo>
                      <a:lnTo>
                        <a:pt x="1207" y="542"/>
                      </a:lnTo>
                      <a:lnTo>
                        <a:pt x="1205" y="542"/>
                      </a:lnTo>
                      <a:lnTo>
                        <a:pt x="1203" y="540"/>
                      </a:lnTo>
                      <a:lnTo>
                        <a:pt x="1202" y="540"/>
                      </a:lnTo>
                      <a:lnTo>
                        <a:pt x="1200" y="540"/>
                      </a:lnTo>
                      <a:lnTo>
                        <a:pt x="1200" y="542"/>
                      </a:lnTo>
                      <a:lnTo>
                        <a:pt x="1198" y="542"/>
                      </a:lnTo>
                      <a:lnTo>
                        <a:pt x="1196" y="542"/>
                      </a:lnTo>
                      <a:lnTo>
                        <a:pt x="1194" y="542"/>
                      </a:lnTo>
                      <a:lnTo>
                        <a:pt x="1194" y="544"/>
                      </a:lnTo>
                      <a:lnTo>
                        <a:pt x="1192" y="544"/>
                      </a:lnTo>
                      <a:lnTo>
                        <a:pt x="1190" y="544"/>
                      </a:lnTo>
                      <a:lnTo>
                        <a:pt x="1190" y="545"/>
                      </a:lnTo>
                      <a:lnTo>
                        <a:pt x="1188" y="545"/>
                      </a:lnTo>
                      <a:lnTo>
                        <a:pt x="1188" y="547"/>
                      </a:lnTo>
                      <a:lnTo>
                        <a:pt x="1194" y="547"/>
                      </a:lnTo>
                      <a:lnTo>
                        <a:pt x="1202" y="547"/>
                      </a:lnTo>
                      <a:lnTo>
                        <a:pt x="1203" y="545"/>
                      </a:lnTo>
                      <a:lnTo>
                        <a:pt x="1202" y="549"/>
                      </a:lnTo>
                      <a:lnTo>
                        <a:pt x="1202" y="555"/>
                      </a:lnTo>
                      <a:lnTo>
                        <a:pt x="1196" y="555"/>
                      </a:lnTo>
                      <a:lnTo>
                        <a:pt x="1200" y="562"/>
                      </a:lnTo>
                      <a:lnTo>
                        <a:pt x="1198" y="562"/>
                      </a:lnTo>
                      <a:lnTo>
                        <a:pt x="1192" y="568"/>
                      </a:lnTo>
                      <a:lnTo>
                        <a:pt x="1185" y="574"/>
                      </a:lnTo>
                      <a:lnTo>
                        <a:pt x="1186" y="587"/>
                      </a:lnTo>
                      <a:lnTo>
                        <a:pt x="1186" y="589"/>
                      </a:lnTo>
                      <a:lnTo>
                        <a:pt x="1186" y="591"/>
                      </a:lnTo>
                      <a:lnTo>
                        <a:pt x="1186" y="593"/>
                      </a:lnTo>
                      <a:lnTo>
                        <a:pt x="1186" y="594"/>
                      </a:lnTo>
                      <a:lnTo>
                        <a:pt x="1186" y="598"/>
                      </a:lnTo>
                      <a:lnTo>
                        <a:pt x="1186" y="608"/>
                      </a:lnTo>
                      <a:lnTo>
                        <a:pt x="1186" y="610"/>
                      </a:lnTo>
                      <a:lnTo>
                        <a:pt x="1186" y="611"/>
                      </a:lnTo>
                      <a:lnTo>
                        <a:pt x="1198" y="611"/>
                      </a:lnTo>
                      <a:lnTo>
                        <a:pt x="1207" y="611"/>
                      </a:lnTo>
                      <a:lnTo>
                        <a:pt x="1211" y="611"/>
                      </a:lnTo>
                      <a:lnTo>
                        <a:pt x="1215" y="610"/>
                      </a:lnTo>
                      <a:lnTo>
                        <a:pt x="1222" y="606"/>
                      </a:lnTo>
                      <a:lnTo>
                        <a:pt x="1224" y="610"/>
                      </a:lnTo>
                      <a:lnTo>
                        <a:pt x="1228" y="615"/>
                      </a:lnTo>
                      <a:lnTo>
                        <a:pt x="1230" y="619"/>
                      </a:lnTo>
                      <a:lnTo>
                        <a:pt x="1234" y="623"/>
                      </a:lnTo>
                      <a:lnTo>
                        <a:pt x="1213" y="626"/>
                      </a:lnTo>
                      <a:lnTo>
                        <a:pt x="1213" y="630"/>
                      </a:lnTo>
                      <a:lnTo>
                        <a:pt x="1213" y="632"/>
                      </a:lnTo>
                      <a:lnTo>
                        <a:pt x="1213" y="634"/>
                      </a:lnTo>
                      <a:lnTo>
                        <a:pt x="1213" y="638"/>
                      </a:lnTo>
                      <a:lnTo>
                        <a:pt x="1213" y="640"/>
                      </a:lnTo>
                      <a:lnTo>
                        <a:pt x="1213" y="642"/>
                      </a:lnTo>
                      <a:lnTo>
                        <a:pt x="1213" y="643"/>
                      </a:lnTo>
                      <a:lnTo>
                        <a:pt x="1224" y="642"/>
                      </a:lnTo>
                      <a:lnTo>
                        <a:pt x="1228" y="647"/>
                      </a:lnTo>
                      <a:lnTo>
                        <a:pt x="1237" y="660"/>
                      </a:lnTo>
                      <a:lnTo>
                        <a:pt x="1237" y="662"/>
                      </a:lnTo>
                      <a:lnTo>
                        <a:pt x="1230" y="677"/>
                      </a:lnTo>
                      <a:lnTo>
                        <a:pt x="1224" y="677"/>
                      </a:lnTo>
                      <a:lnTo>
                        <a:pt x="1218" y="677"/>
                      </a:lnTo>
                      <a:lnTo>
                        <a:pt x="1211" y="679"/>
                      </a:lnTo>
                      <a:lnTo>
                        <a:pt x="1209" y="679"/>
                      </a:lnTo>
                      <a:lnTo>
                        <a:pt x="1207" y="679"/>
                      </a:lnTo>
                      <a:lnTo>
                        <a:pt x="1205" y="679"/>
                      </a:lnTo>
                      <a:lnTo>
                        <a:pt x="1203" y="679"/>
                      </a:lnTo>
                      <a:lnTo>
                        <a:pt x="1202" y="679"/>
                      </a:lnTo>
                      <a:lnTo>
                        <a:pt x="1200" y="679"/>
                      </a:lnTo>
                      <a:lnTo>
                        <a:pt x="1198" y="679"/>
                      </a:lnTo>
                      <a:lnTo>
                        <a:pt x="1198" y="681"/>
                      </a:lnTo>
                      <a:lnTo>
                        <a:pt x="1194" y="681"/>
                      </a:lnTo>
                      <a:lnTo>
                        <a:pt x="1190" y="681"/>
                      </a:lnTo>
                      <a:lnTo>
                        <a:pt x="1188" y="681"/>
                      </a:lnTo>
                      <a:lnTo>
                        <a:pt x="1186" y="681"/>
                      </a:lnTo>
                      <a:lnTo>
                        <a:pt x="1181" y="681"/>
                      </a:lnTo>
                      <a:lnTo>
                        <a:pt x="1179" y="681"/>
                      </a:lnTo>
                      <a:lnTo>
                        <a:pt x="1173" y="683"/>
                      </a:lnTo>
                      <a:lnTo>
                        <a:pt x="1162" y="685"/>
                      </a:lnTo>
                      <a:lnTo>
                        <a:pt x="1160" y="668"/>
                      </a:lnTo>
                      <a:lnTo>
                        <a:pt x="1151" y="668"/>
                      </a:lnTo>
                      <a:lnTo>
                        <a:pt x="1149" y="668"/>
                      </a:lnTo>
                      <a:lnTo>
                        <a:pt x="1147" y="670"/>
                      </a:lnTo>
                      <a:lnTo>
                        <a:pt x="1139" y="672"/>
                      </a:lnTo>
                      <a:lnTo>
                        <a:pt x="1128" y="666"/>
                      </a:lnTo>
                      <a:lnTo>
                        <a:pt x="1121" y="662"/>
                      </a:lnTo>
                      <a:lnTo>
                        <a:pt x="1121" y="660"/>
                      </a:lnTo>
                      <a:lnTo>
                        <a:pt x="1117" y="657"/>
                      </a:lnTo>
                      <a:lnTo>
                        <a:pt x="1111" y="651"/>
                      </a:lnTo>
                      <a:lnTo>
                        <a:pt x="1104" y="660"/>
                      </a:lnTo>
                      <a:lnTo>
                        <a:pt x="1104" y="675"/>
                      </a:lnTo>
                      <a:lnTo>
                        <a:pt x="1104" y="677"/>
                      </a:lnTo>
                      <a:lnTo>
                        <a:pt x="1104" y="683"/>
                      </a:lnTo>
                      <a:lnTo>
                        <a:pt x="1104" y="692"/>
                      </a:lnTo>
                      <a:lnTo>
                        <a:pt x="1100" y="690"/>
                      </a:lnTo>
                      <a:lnTo>
                        <a:pt x="1096" y="685"/>
                      </a:lnTo>
                      <a:lnTo>
                        <a:pt x="1091" y="696"/>
                      </a:lnTo>
                      <a:lnTo>
                        <a:pt x="1098" y="709"/>
                      </a:lnTo>
                      <a:lnTo>
                        <a:pt x="1100" y="719"/>
                      </a:lnTo>
                      <a:lnTo>
                        <a:pt x="1092" y="726"/>
                      </a:lnTo>
                      <a:lnTo>
                        <a:pt x="1091" y="728"/>
                      </a:lnTo>
                      <a:lnTo>
                        <a:pt x="1079" y="728"/>
                      </a:lnTo>
                      <a:lnTo>
                        <a:pt x="1079" y="734"/>
                      </a:lnTo>
                      <a:lnTo>
                        <a:pt x="1087" y="739"/>
                      </a:lnTo>
                      <a:lnTo>
                        <a:pt x="1085" y="749"/>
                      </a:lnTo>
                      <a:lnTo>
                        <a:pt x="1079" y="760"/>
                      </a:lnTo>
                      <a:lnTo>
                        <a:pt x="1074" y="758"/>
                      </a:lnTo>
                      <a:lnTo>
                        <a:pt x="1072" y="766"/>
                      </a:lnTo>
                      <a:lnTo>
                        <a:pt x="1070" y="768"/>
                      </a:lnTo>
                      <a:lnTo>
                        <a:pt x="1064" y="770"/>
                      </a:lnTo>
                      <a:lnTo>
                        <a:pt x="1064" y="779"/>
                      </a:lnTo>
                      <a:lnTo>
                        <a:pt x="1060" y="773"/>
                      </a:lnTo>
                      <a:lnTo>
                        <a:pt x="1057" y="773"/>
                      </a:lnTo>
                      <a:lnTo>
                        <a:pt x="1055" y="775"/>
                      </a:lnTo>
                      <a:lnTo>
                        <a:pt x="1049" y="775"/>
                      </a:lnTo>
                      <a:lnTo>
                        <a:pt x="1044" y="779"/>
                      </a:lnTo>
                      <a:lnTo>
                        <a:pt x="1044" y="781"/>
                      </a:lnTo>
                      <a:lnTo>
                        <a:pt x="1044" y="783"/>
                      </a:lnTo>
                      <a:lnTo>
                        <a:pt x="1044" y="785"/>
                      </a:lnTo>
                      <a:lnTo>
                        <a:pt x="1044" y="788"/>
                      </a:lnTo>
                      <a:lnTo>
                        <a:pt x="1042" y="788"/>
                      </a:lnTo>
                      <a:lnTo>
                        <a:pt x="1042" y="786"/>
                      </a:lnTo>
                      <a:lnTo>
                        <a:pt x="1040" y="786"/>
                      </a:lnTo>
                      <a:lnTo>
                        <a:pt x="1038" y="783"/>
                      </a:lnTo>
                      <a:lnTo>
                        <a:pt x="1036" y="781"/>
                      </a:lnTo>
                      <a:lnTo>
                        <a:pt x="1034" y="779"/>
                      </a:lnTo>
                      <a:lnTo>
                        <a:pt x="1032" y="777"/>
                      </a:lnTo>
                      <a:lnTo>
                        <a:pt x="1030" y="773"/>
                      </a:lnTo>
                      <a:lnTo>
                        <a:pt x="1030" y="770"/>
                      </a:lnTo>
                      <a:lnTo>
                        <a:pt x="1029" y="764"/>
                      </a:lnTo>
                      <a:lnTo>
                        <a:pt x="1025" y="762"/>
                      </a:lnTo>
                      <a:lnTo>
                        <a:pt x="1015" y="760"/>
                      </a:lnTo>
                      <a:lnTo>
                        <a:pt x="1017" y="760"/>
                      </a:lnTo>
                      <a:lnTo>
                        <a:pt x="1015" y="760"/>
                      </a:lnTo>
                      <a:lnTo>
                        <a:pt x="1015" y="762"/>
                      </a:lnTo>
                      <a:lnTo>
                        <a:pt x="1015" y="764"/>
                      </a:lnTo>
                      <a:lnTo>
                        <a:pt x="1017" y="764"/>
                      </a:lnTo>
                      <a:lnTo>
                        <a:pt x="1017" y="762"/>
                      </a:lnTo>
                      <a:lnTo>
                        <a:pt x="1017" y="764"/>
                      </a:lnTo>
                      <a:lnTo>
                        <a:pt x="1019" y="766"/>
                      </a:lnTo>
                      <a:lnTo>
                        <a:pt x="1017" y="766"/>
                      </a:lnTo>
                      <a:lnTo>
                        <a:pt x="1008" y="760"/>
                      </a:lnTo>
                      <a:lnTo>
                        <a:pt x="1006" y="764"/>
                      </a:lnTo>
                      <a:lnTo>
                        <a:pt x="1006" y="766"/>
                      </a:lnTo>
                      <a:lnTo>
                        <a:pt x="1006" y="770"/>
                      </a:lnTo>
                      <a:lnTo>
                        <a:pt x="998" y="768"/>
                      </a:lnTo>
                      <a:lnTo>
                        <a:pt x="997" y="768"/>
                      </a:lnTo>
                      <a:lnTo>
                        <a:pt x="997" y="766"/>
                      </a:lnTo>
                      <a:lnTo>
                        <a:pt x="995" y="766"/>
                      </a:lnTo>
                      <a:lnTo>
                        <a:pt x="995" y="768"/>
                      </a:lnTo>
                      <a:lnTo>
                        <a:pt x="997" y="768"/>
                      </a:lnTo>
                      <a:lnTo>
                        <a:pt x="997" y="770"/>
                      </a:lnTo>
                      <a:lnTo>
                        <a:pt x="995" y="770"/>
                      </a:lnTo>
                      <a:lnTo>
                        <a:pt x="993" y="766"/>
                      </a:lnTo>
                      <a:lnTo>
                        <a:pt x="989" y="764"/>
                      </a:lnTo>
                      <a:lnTo>
                        <a:pt x="980" y="764"/>
                      </a:lnTo>
                      <a:lnTo>
                        <a:pt x="974" y="762"/>
                      </a:lnTo>
                      <a:lnTo>
                        <a:pt x="966" y="762"/>
                      </a:lnTo>
                      <a:lnTo>
                        <a:pt x="965" y="766"/>
                      </a:lnTo>
                      <a:lnTo>
                        <a:pt x="965" y="768"/>
                      </a:lnTo>
                      <a:lnTo>
                        <a:pt x="963" y="781"/>
                      </a:lnTo>
                      <a:lnTo>
                        <a:pt x="963" y="783"/>
                      </a:lnTo>
                      <a:lnTo>
                        <a:pt x="961" y="788"/>
                      </a:lnTo>
                      <a:lnTo>
                        <a:pt x="961" y="794"/>
                      </a:lnTo>
                      <a:lnTo>
                        <a:pt x="961" y="800"/>
                      </a:lnTo>
                      <a:lnTo>
                        <a:pt x="963" y="800"/>
                      </a:lnTo>
                      <a:lnTo>
                        <a:pt x="963" y="802"/>
                      </a:lnTo>
                      <a:lnTo>
                        <a:pt x="966" y="809"/>
                      </a:lnTo>
                      <a:lnTo>
                        <a:pt x="966" y="811"/>
                      </a:lnTo>
                      <a:lnTo>
                        <a:pt x="966" y="813"/>
                      </a:lnTo>
                      <a:lnTo>
                        <a:pt x="957" y="811"/>
                      </a:lnTo>
                      <a:lnTo>
                        <a:pt x="955" y="811"/>
                      </a:lnTo>
                      <a:lnTo>
                        <a:pt x="955" y="817"/>
                      </a:lnTo>
                      <a:lnTo>
                        <a:pt x="955" y="828"/>
                      </a:lnTo>
                      <a:lnTo>
                        <a:pt x="953" y="828"/>
                      </a:lnTo>
                      <a:lnTo>
                        <a:pt x="953" y="837"/>
                      </a:lnTo>
                      <a:lnTo>
                        <a:pt x="948" y="835"/>
                      </a:lnTo>
                      <a:lnTo>
                        <a:pt x="940" y="837"/>
                      </a:lnTo>
                      <a:lnTo>
                        <a:pt x="940" y="834"/>
                      </a:lnTo>
                      <a:lnTo>
                        <a:pt x="931" y="826"/>
                      </a:lnTo>
                      <a:lnTo>
                        <a:pt x="925" y="820"/>
                      </a:lnTo>
                      <a:lnTo>
                        <a:pt x="925" y="826"/>
                      </a:lnTo>
                      <a:lnTo>
                        <a:pt x="912" y="828"/>
                      </a:lnTo>
                      <a:lnTo>
                        <a:pt x="916" y="837"/>
                      </a:lnTo>
                      <a:lnTo>
                        <a:pt x="916" y="839"/>
                      </a:lnTo>
                      <a:lnTo>
                        <a:pt x="918" y="843"/>
                      </a:lnTo>
                      <a:lnTo>
                        <a:pt x="919" y="860"/>
                      </a:lnTo>
                      <a:lnTo>
                        <a:pt x="919" y="862"/>
                      </a:lnTo>
                      <a:lnTo>
                        <a:pt x="919" y="866"/>
                      </a:lnTo>
                      <a:lnTo>
                        <a:pt x="919" y="867"/>
                      </a:lnTo>
                      <a:lnTo>
                        <a:pt x="919" y="873"/>
                      </a:lnTo>
                      <a:lnTo>
                        <a:pt x="918" y="875"/>
                      </a:lnTo>
                      <a:lnTo>
                        <a:pt x="918" y="877"/>
                      </a:lnTo>
                      <a:lnTo>
                        <a:pt x="918" y="881"/>
                      </a:lnTo>
                      <a:lnTo>
                        <a:pt x="918" y="898"/>
                      </a:lnTo>
                      <a:lnTo>
                        <a:pt x="914" y="898"/>
                      </a:lnTo>
                      <a:lnTo>
                        <a:pt x="901" y="896"/>
                      </a:lnTo>
                      <a:lnTo>
                        <a:pt x="887" y="898"/>
                      </a:lnTo>
                      <a:lnTo>
                        <a:pt x="887" y="905"/>
                      </a:lnTo>
                      <a:lnTo>
                        <a:pt x="876" y="911"/>
                      </a:lnTo>
                      <a:lnTo>
                        <a:pt x="874" y="911"/>
                      </a:lnTo>
                      <a:lnTo>
                        <a:pt x="874" y="909"/>
                      </a:lnTo>
                      <a:lnTo>
                        <a:pt x="874" y="907"/>
                      </a:lnTo>
                      <a:lnTo>
                        <a:pt x="874" y="905"/>
                      </a:lnTo>
                      <a:lnTo>
                        <a:pt x="872" y="905"/>
                      </a:lnTo>
                      <a:lnTo>
                        <a:pt x="871" y="905"/>
                      </a:lnTo>
                      <a:lnTo>
                        <a:pt x="871" y="903"/>
                      </a:lnTo>
                      <a:lnTo>
                        <a:pt x="871" y="905"/>
                      </a:lnTo>
                      <a:lnTo>
                        <a:pt x="865" y="905"/>
                      </a:lnTo>
                      <a:lnTo>
                        <a:pt x="863" y="905"/>
                      </a:lnTo>
                      <a:lnTo>
                        <a:pt x="859" y="913"/>
                      </a:lnTo>
                      <a:lnTo>
                        <a:pt x="857" y="916"/>
                      </a:lnTo>
                      <a:lnTo>
                        <a:pt x="854" y="914"/>
                      </a:lnTo>
                      <a:lnTo>
                        <a:pt x="852" y="913"/>
                      </a:lnTo>
                      <a:lnTo>
                        <a:pt x="846" y="911"/>
                      </a:lnTo>
                      <a:lnTo>
                        <a:pt x="833" y="907"/>
                      </a:lnTo>
                      <a:lnTo>
                        <a:pt x="818" y="914"/>
                      </a:lnTo>
                      <a:lnTo>
                        <a:pt x="810" y="914"/>
                      </a:lnTo>
                      <a:lnTo>
                        <a:pt x="795" y="916"/>
                      </a:lnTo>
                      <a:lnTo>
                        <a:pt x="793" y="922"/>
                      </a:lnTo>
                      <a:lnTo>
                        <a:pt x="784" y="918"/>
                      </a:lnTo>
                      <a:lnTo>
                        <a:pt x="776" y="916"/>
                      </a:lnTo>
                      <a:lnTo>
                        <a:pt x="763" y="918"/>
                      </a:lnTo>
                      <a:lnTo>
                        <a:pt x="763" y="920"/>
                      </a:lnTo>
                      <a:lnTo>
                        <a:pt x="754" y="918"/>
                      </a:lnTo>
                      <a:lnTo>
                        <a:pt x="754" y="916"/>
                      </a:lnTo>
                      <a:lnTo>
                        <a:pt x="752" y="916"/>
                      </a:lnTo>
                      <a:lnTo>
                        <a:pt x="750" y="916"/>
                      </a:lnTo>
                      <a:lnTo>
                        <a:pt x="748" y="907"/>
                      </a:lnTo>
                      <a:lnTo>
                        <a:pt x="743" y="909"/>
                      </a:lnTo>
                      <a:lnTo>
                        <a:pt x="729" y="909"/>
                      </a:lnTo>
                      <a:lnTo>
                        <a:pt x="726" y="911"/>
                      </a:lnTo>
                      <a:lnTo>
                        <a:pt x="724" y="913"/>
                      </a:lnTo>
                      <a:lnTo>
                        <a:pt x="724" y="916"/>
                      </a:lnTo>
                      <a:lnTo>
                        <a:pt x="722" y="916"/>
                      </a:lnTo>
                      <a:lnTo>
                        <a:pt x="714" y="920"/>
                      </a:lnTo>
                      <a:lnTo>
                        <a:pt x="711" y="907"/>
                      </a:lnTo>
                      <a:lnTo>
                        <a:pt x="697" y="911"/>
                      </a:lnTo>
                      <a:lnTo>
                        <a:pt x="703" y="903"/>
                      </a:lnTo>
                      <a:lnTo>
                        <a:pt x="705" y="892"/>
                      </a:lnTo>
                      <a:lnTo>
                        <a:pt x="705" y="890"/>
                      </a:lnTo>
                      <a:lnTo>
                        <a:pt x="703" y="888"/>
                      </a:lnTo>
                      <a:lnTo>
                        <a:pt x="701" y="888"/>
                      </a:lnTo>
                      <a:lnTo>
                        <a:pt x="697" y="890"/>
                      </a:lnTo>
                      <a:lnTo>
                        <a:pt x="692" y="890"/>
                      </a:lnTo>
                      <a:lnTo>
                        <a:pt x="686" y="894"/>
                      </a:lnTo>
                      <a:lnTo>
                        <a:pt x="684" y="884"/>
                      </a:lnTo>
                      <a:lnTo>
                        <a:pt x="682" y="884"/>
                      </a:lnTo>
                      <a:lnTo>
                        <a:pt x="682" y="882"/>
                      </a:lnTo>
                      <a:lnTo>
                        <a:pt x="681" y="882"/>
                      </a:lnTo>
                      <a:lnTo>
                        <a:pt x="679" y="882"/>
                      </a:lnTo>
                      <a:lnTo>
                        <a:pt x="677" y="882"/>
                      </a:lnTo>
                      <a:lnTo>
                        <a:pt x="675" y="881"/>
                      </a:lnTo>
                      <a:lnTo>
                        <a:pt x="673" y="881"/>
                      </a:lnTo>
                      <a:lnTo>
                        <a:pt x="671" y="881"/>
                      </a:lnTo>
                      <a:lnTo>
                        <a:pt x="669" y="877"/>
                      </a:lnTo>
                      <a:lnTo>
                        <a:pt x="671" y="875"/>
                      </a:lnTo>
                      <a:lnTo>
                        <a:pt x="669" y="873"/>
                      </a:lnTo>
                      <a:lnTo>
                        <a:pt x="673" y="860"/>
                      </a:lnTo>
                      <a:lnTo>
                        <a:pt x="671" y="841"/>
                      </a:lnTo>
                      <a:lnTo>
                        <a:pt x="675" y="843"/>
                      </a:lnTo>
                      <a:lnTo>
                        <a:pt x="681" y="843"/>
                      </a:lnTo>
                      <a:lnTo>
                        <a:pt x="682" y="843"/>
                      </a:lnTo>
                      <a:lnTo>
                        <a:pt x="684" y="845"/>
                      </a:lnTo>
                      <a:lnTo>
                        <a:pt x="682" y="841"/>
                      </a:lnTo>
                      <a:lnTo>
                        <a:pt x="694" y="834"/>
                      </a:lnTo>
                      <a:lnTo>
                        <a:pt x="692" y="832"/>
                      </a:lnTo>
                      <a:lnTo>
                        <a:pt x="690" y="832"/>
                      </a:lnTo>
                      <a:lnTo>
                        <a:pt x="688" y="830"/>
                      </a:lnTo>
                      <a:lnTo>
                        <a:pt x="686" y="832"/>
                      </a:lnTo>
                      <a:lnTo>
                        <a:pt x="686" y="830"/>
                      </a:lnTo>
                      <a:lnTo>
                        <a:pt x="684" y="832"/>
                      </a:lnTo>
                      <a:lnTo>
                        <a:pt x="684" y="830"/>
                      </a:lnTo>
                      <a:lnTo>
                        <a:pt x="684" y="832"/>
                      </a:lnTo>
                      <a:lnTo>
                        <a:pt x="682" y="830"/>
                      </a:lnTo>
                      <a:lnTo>
                        <a:pt x="684" y="828"/>
                      </a:lnTo>
                      <a:lnTo>
                        <a:pt x="682" y="828"/>
                      </a:lnTo>
                      <a:lnTo>
                        <a:pt x="681" y="822"/>
                      </a:lnTo>
                      <a:lnTo>
                        <a:pt x="679" y="820"/>
                      </a:lnTo>
                      <a:lnTo>
                        <a:pt x="665" y="818"/>
                      </a:lnTo>
                      <a:lnTo>
                        <a:pt x="664" y="818"/>
                      </a:lnTo>
                      <a:lnTo>
                        <a:pt x="662" y="820"/>
                      </a:lnTo>
                      <a:lnTo>
                        <a:pt x="660" y="820"/>
                      </a:lnTo>
                      <a:lnTo>
                        <a:pt x="658" y="820"/>
                      </a:lnTo>
                      <a:lnTo>
                        <a:pt x="654" y="822"/>
                      </a:lnTo>
                      <a:lnTo>
                        <a:pt x="652" y="818"/>
                      </a:lnTo>
                      <a:lnTo>
                        <a:pt x="650" y="817"/>
                      </a:lnTo>
                      <a:lnTo>
                        <a:pt x="650" y="815"/>
                      </a:lnTo>
                      <a:lnTo>
                        <a:pt x="650" y="813"/>
                      </a:lnTo>
                      <a:lnTo>
                        <a:pt x="649" y="809"/>
                      </a:lnTo>
                      <a:lnTo>
                        <a:pt x="649" y="807"/>
                      </a:lnTo>
                      <a:lnTo>
                        <a:pt x="647" y="807"/>
                      </a:lnTo>
                      <a:lnTo>
                        <a:pt x="645" y="802"/>
                      </a:lnTo>
                      <a:lnTo>
                        <a:pt x="639" y="803"/>
                      </a:lnTo>
                      <a:lnTo>
                        <a:pt x="637" y="803"/>
                      </a:lnTo>
                      <a:lnTo>
                        <a:pt x="637" y="802"/>
                      </a:lnTo>
                      <a:lnTo>
                        <a:pt x="637" y="798"/>
                      </a:lnTo>
                      <a:lnTo>
                        <a:pt x="634" y="790"/>
                      </a:lnTo>
                      <a:lnTo>
                        <a:pt x="647" y="783"/>
                      </a:lnTo>
                      <a:lnTo>
                        <a:pt x="645" y="781"/>
                      </a:lnTo>
                      <a:lnTo>
                        <a:pt x="641" y="775"/>
                      </a:lnTo>
                      <a:lnTo>
                        <a:pt x="632" y="779"/>
                      </a:lnTo>
                      <a:lnTo>
                        <a:pt x="622" y="783"/>
                      </a:lnTo>
                      <a:lnTo>
                        <a:pt x="620" y="779"/>
                      </a:lnTo>
                      <a:lnTo>
                        <a:pt x="613" y="779"/>
                      </a:lnTo>
                      <a:lnTo>
                        <a:pt x="605" y="777"/>
                      </a:lnTo>
                      <a:lnTo>
                        <a:pt x="600" y="777"/>
                      </a:lnTo>
                      <a:lnTo>
                        <a:pt x="588" y="788"/>
                      </a:lnTo>
                      <a:lnTo>
                        <a:pt x="581" y="792"/>
                      </a:lnTo>
                      <a:lnTo>
                        <a:pt x="573" y="794"/>
                      </a:lnTo>
                      <a:lnTo>
                        <a:pt x="571" y="796"/>
                      </a:lnTo>
                      <a:lnTo>
                        <a:pt x="570" y="798"/>
                      </a:lnTo>
                      <a:lnTo>
                        <a:pt x="568" y="798"/>
                      </a:lnTo>
                      <a:lnTo>
                        <a:pt x="562" y="802"/>
                      </a:lnTo>
                      <a:lnTo>
                        <a:pt x="560" y="803"/>
                      </a:lnTo>
                      <a:lnTo>
                        <a:pt x="564" y="811"/>
                      </a:lnTo>
                      <a:lnTo>
                        <a:pt x="566" y="817"/>
                      </a:lnTo>
                      <a:lnTo>
                        <a:pt x="568" y="817"/>
                      </a:lnTo>
                      <a:lnTo>
                        <a:pt x="568" y="818"/>
                      </a:lnTo>
                      <a:lnTo>
                        <a:pt x="562" y="818"/>
                      </a:lnTo>
                      <a:lnTo>
                        <a:pt x="560" y="822"/>
                      </a:lnTo>
                      <a:lnTo>
                        <a:pt x="551" y="824"/>
                      </a:lnTo>
                      <a:lnTo>
                        <a:pt x="538" y="826"/>
                      </a:lnTo>
                      <a:lnTo>
                        <a:pt x="526" y="828"/>
                      </a:lnTo>
                      <a:lnTo>
                        <a:pt x="532" y="837"/>
                      </a:lnTo>
                      <a:lnTo>
                        <a:pt x="532" y="839"/>
                      </a:lnTo>
                      <a:lnTo>
                        <a:pt x="519" y="841"/>
                      </a:lnTo>
                      <a:lnTo>
                        <a:pt x="519" y="839"/>
                      </a:lnTo>
                      <a:lnTo>
                        <a:pt x="515" y="839"/>
                      </a:lnTo>
                      <a:lnTo>
                        <a:pt x="507" y="843"/>
                      </a:lnTo>
                      <a:lnTo>
                        <a:pt x="506" y="845"/>
                      </a:lnTo>
                      <a:lnTo>
                        <a:pt x="502" y="847"/>
                      </a:lnTo>
                      <a:lnTo>
                        <a:pt x="506" y="849"/>
                      </a:lnTo>
                      <a:lnTo>
                        <a:pt x="511" y="860"/>
                      </a:lnTo>
                      <a:lnTo>
                        <a:pt x="504" y="862"/>
                      </a:lnTo>
                      <a:lnTo>
                        <a:pt x="509" y="862"/>
                      </a:lnTo>
                      <a:lnTo>
                        <a:pt x="521" y="860"/>
                      </a:lnTo>
                      <a:lnTo>
                        <a:pt x="524" y="860"/>
                      </a:lnTo>
                      <a:lnTo>
                        <a:pt x="526" y="856"/>
                      </a:lnTo>
                      <a:lnTo>
                        <a:pt x="532" y="854"/>
                      </a:lnTo>
                      <a:lnTo>
                        <a:pt x="538" y="852"/>
                      </a:lnTo>
                      <a:lnTo>
                        <a:pt x="539" y="850"/>
                      </a:lnTo>
                      <a:lnTo>
                        <a:pt x="541" y="850"/>
                      </a:lnTo>
                      <a:lnTo>
                        <a:pt x="543" y="845"/>
                      </a:lnTo>
                      <a:lnTo>
                        <a:pt x="553" y="843"/>
                      </a:lnTo>
                      <a:lnTo>
                        <a:pt x="558" y="843"/>
                      </a:lnTo>
                      <a:lnTo>
                        <a:pt x="558" y="841"/>
                      </a:lnTo>
                      <a:lnTo>
                        <a:pt x="568" y="839"/>
                      </a:lnTo>
                      <a:lnTo>
                        <a:pt x="568" y="837"/>
                      </a:lnTo>
                      <a:lnTo>
                        <a:pt x="568" y="835"/>
                      </a:lnTo>
                      <a:lnTo>
                        <a:pt x="570" y="835"/>
                      </a:lnTo>
                      <a:lnTo>
                        <a:pt x="571" y="834"/>
                      </a:lnTo>
                      <a:lnTo>
                        <a:pt x="571" y="843"/>
                      </a:lnTo>
                      <a:lnTo>
                        <a:pt x="568" y="843"/>
                      </a:lnTo>
                      <a:lnTo>
                        <a:pt x="562" y="845"/>
                      </a:lnTo>
                      <a:lnTo>
                        <a:pt x="570" y="854"/>
                      </a:lnTo>
                      <a:lnTo>
                        <a:pt x="568" y="854"/>
                      </a:lnTo>
                      <a:lnTo>
                        <a:pt x="570" y="854"/>
                      </a:lnTo>
                      <a:lnTo>
                        <a:pt x="573" y="862"/>
                      </a:lnTo>
                      <a:lnTo>
                        <a:pt x="579" y="862"/>
                      </a:lnTo>
                      <a:lnTo>
                        <a:pt x="579" y="864"/>
                      </a:lnTo>
                      <a:lnTo>
                        <a:pt x="579" y="866"/>
                      </a:lnTo>
                      <a:lnTo>
                        <a:pt x="579" y="867"/>
                      </a:lnTo>
                      <a:lnTo>
                        <a:pt x="579" y="869"/>
                      </a:lnTo>
                      <a:lnTo>
                        <a:pt x="577" y="869"/>
                      </a:lnTo>
                      <a:lnTo>
                        <a:pt x="577" y="871"/>
                      </a:lnTo>
                      <a:lnTo>
                        <a:pt x="575" y="873"/>
                      </a:lnTo>
                      <a:lnTo>
                        <a:pt x="573" y="869"/>
                      </a:lnTo>
                      <a:lnTo>
                        <a:pt x="568" y="881"/>
                      </a:lnTo>
                      <a:lnTo>
                        <a:pt x="560" y="873"/>
                      </a:lnTo>
                      <a:lnTo>
                        <a:pt x="558" y="873"/>
                      </a:lnTo>
                      <a:lnTo>
                        <a:pt x="549" y="873"/>
                      </a:lnTo>
                      <a:lnTo>
                        <a:pt x="538" y="875"/>
                      </a:lnTo>
                      <a:lnTo>
                        <a:pt x="534" y="877"/>
                      </a:lnTo>
                      <a:lnTo>
                        <a:pt x="534" y="890"/>
                      </a:lnTo>
                      <a:lnTo>
                        <a:pt x="524" y="890"/>
                      </a:lnTo>
                      <a:lnTo>
                        <a:pt x="517" y="890"/>
                      </a:lnTo>
                      <a:lnTo>
                        <a:pt x="517" y="894"/>
                      </a:lnTo>
                      <a:lnTo>
                        <a:pt x="504" y="894"/>
                      </a:lnTo>
                      <a:lnTo>
                        <a:pt x="504" y="892"/>
                      </a:lnTo>
                      <a:lnTo>
                        <a:pt x="502" y="888"/>
                      </a:lnTo>
                      <a:lnTo>
                        <a:pt x="502" y="884"/>
                      </a:lnTo>
                      <a:lnTo>
                        <a:pt x="491" y="888"/>
                      </a:lnTo>
                      <a:lnTo>
                        <a:pt x="489" y="888"/>
                      </a:lnTo>
                      <a:lnTo>
                        <a:pt x="487" y="888"/>
                      </a:lnTo>
                      <a:lnTo>
                        <a:pt x="481" y="890"/>
                      </a:lnTo>
                      <a:lnTo>
                        <a:pt x="481" y="884"/>
                      </a:lnTo>
                      <a:lnTo>
                        <a:pt x="479" y="882"/>
                      </a:lnTo>
                      <a:lnTo>
                        <a:pt x="479" y="881"/>
                      </a:lnTo>
                      <a:lnTo>
                        <a:pt x="477" y="877"/>
                      </a:lnTo>
                      <a:lnTo>
                        <a:pt x="474" y="873"/>
                      </a:lnTo>
                      <a:lnTo>
                        <a:pt x="474" y="871"/>
                      </a:lnTo>
                      <a:lnTo>
                        <a:pt x="472" y="869"/>
                      </a:lnTo>
                      <a:lnTo>
                        <a:pt x="470" y="866"/>
                      </a:lnTo>
                      <a:lnTo>
                        <a:pt x="468" y="864"/>
                      </a:lnTo>
                      <a:lnTo>
                        <a:pt x="468" y="862"/>
                      </a:lnTo>
                      <a:lnTo>
                        <a:pt x="466" y="862"/>
                      </a:lnTo>
                      <a:lnTo>
                        <a:pt x="460" y="858"/>
                      </a:lnTo>
                      <a:lnTo>
                        <a:pt x="459" y="858"/>
                      </a:lnTo>
                      <a:lnTo>
                        <a:pt x="449" y="862"/>
                      </a:lnTo>
                      <a:lnTo>
                        <a:pt x="447" y="862"/>
                      </a:lnTo>
                      <a:lnTo>
                        <a:pt x="440" y="860"/>
                      </a:lnTo>
                      <a:lnTo>
                        <a:pt x="440" y="850"/>
                      </a:lnTo>
                      <a:lnTo>
                        <a:pt x="438" y="843"/>
                      </a:lnTo>
                      <a:lnTo>
                        <a:pt x="434" y="843"/>
                      </a:lnTo>
                      <a:lnTo>
                        <a:pt x="430" y="845"/>
                      </a:lnTo>
                      <a:lnTo>
                        <a:pt x="427" y="830"/>
                      </a:lnTo>
                      <a:lnTo>
                        <a:pt x="432" y="830"/>
                      </a:lnTo>
                      <a:lnTo>
                        <a:pt x="436" y="830"/>
                      </a:lnTo>
                      <a:lnTo>
                        <a:pt x="440" y="828"/>
                      </a:lnTo>
                      <a:lnTo>
                        <a:pt x="445" y="826"/>
                      </a:lnTo>
                      <a:lnTo>
                        <a:pt x="451" y="834"/>
                      </a:lnTo>
                      <a:lnTo>
                        <a:pt x="451" y="835"/>
                      </a:lnTo>
                      <a:lnTo>
                        <a:pt x="449" y="835"/>
                      </a:lnTo>
                      <a:lnTo>
                        <a:pt x="457" y="837"/>
                      </a:lnTo>
                      <a:lnTo>
                        <a:pt x="460" y="839"/>
                      </a:lnTo>
                      <a:lnTo>
                        <a:pt x="460" y="837"/>
                      </a:lnTo>
                      <a:lnTo>
                        <a:pt x="460" y="834"/>
                      </a:lnTo>
                      <a:lnTo>
                        <a:pt x="466" y="824"/>
                      </a:lnTo>
                      <a:lnTo>
                        <a:pt x="468" y="822"/>
                      </a:lnTo>
                      <a:lnTo>
                        <a:pt x="470" y="822"/>
                      </a:lnTo>
                      <a:lnTo>
                        <a:pt x="470" y="820"/>
                      </a:lnTo>
                      <a:lnTo>
                        <a:pt x="472" y="817"/>
                      </a:lnTo>
                      <a:lnTo>
                        <a:pt x="464" y="815"/>
                      </a:lnTo>
                      <a:lnTo>
                        <a:pt x="464" y="813"/>
                      </a:lnTo>
                      <a:lnTo>
                        <a:pt x="455" y="811"/>
                      </a:lnTo>
                      <a:lnTo>
                        <a:pt x="445" y="807"/>
                      </a:lnTo>
                      <a:lnTo>
                        <a:pt x="438" y="803"/>
                      </a:lnTo>
                      <a:lnTo>
                        <a:pt x="436" y="796"/>
                      </a:lnTo>
                      <a:lnTo>
                        <a:pt x="427" y="796"/>
                      </a:lnTo>
                      <a:lnTo>
                        <a:pt x="415" y="798"/>
                      </a:lnTo>
                      <a:lnTo>
                        <a:pt x="410" y="794"/>
                      </a:lnTo>
                      <a:lnTo>
                        <a:pt x="406" y="794"/>
                      </a:lnTo>
                      <a:lnTo>
                        <a:pt x="404" y="794"/>
                      </a:lnTo>
                      <a:lnTo>
                        <a:pt x="402" y="790"/>
                      </a:lnTo>
                      <a:lnTo>
                        <a:pt x="398" y="792"/>
                      </a:lnTo>
                      <a:lnTo>
                        <a:pt x="395" y="794"/>
                      </a:lnTo>
                      <a:lnTo>
                        <a:pt x="393" y="802"/>
                      </a:lnTo>
                      <a:lnTo>
                        <a:pt x="385" y="800"/>
                      </a:lnTo>
                      <a:lnTo>
                        <a:pt x="383" y="800"/>
                      </a:lnTo>
                      <a:lnTo>
                        <a:pt x="376" y="800"/>
                      </a:lnTo>
                      <a:lnTo>
                        <a:pt x="376" y="798"/>
                      </a:lnTo>
                      <a:lnTo>
                        <a:pt x="363" y="794"/>
                      </a:lnTo>
                      <a:lnTo>
                        <a:pt x="361" y="796"/>
                      </a:lnTo>
                      <a:lnTo>
                        <a:pt x="355" y="794"/>
                      </a:lnTo>
                      <a:lnTo>
                        <a:pt x="353" y="794"/>
                      </a:lnTo>
                      <a:lnTo>
                        <a:pt x="351" y="792"/>
                      </a:lnTo>
                      <a:lnTo>
                        <a:pt x="348" y="792"/>
                      </a:lnTo>
                      <a:lnTo>
                        <a:pt x="344" y="794"/>
                      </a:lnTo>
                      <a:lnTo>
                        <a:pt x="338" y="798"/>
                      </a:lnTo>
                      <a:lnTo>
                        <a:pt x="331" y="800"/>
                      </a:lnTo>
                      <a:lnTo>
                        <a:pt x="325" y="800"/>
                      </a:lnTo>
                      <a:lnTo>
                        <a:pt x="325" y="798"/>
                      </a:lnTo>
                      <a:lnTo>
                        <a:pt x="310" y="794"/>
                      </a:lnTo>
                      <a:lnTo>
                        <a:pt x="304" y="798"/>
                      </a:lnTo>
                      <a:lnTo>
                        <a:pt x="302" y="798"/>
                      </a:lnTo>
                      <a:lnTo>
                        <a:pt x="302" y="802"/>
                      </a:lnTo>
                      <a:lnTo>
                        <a:pt x="302" y="803"/>
                      </a:lnTo>
                      <a:lnTo>
                        <a:pt x="302" y="807"/>
                      </a:lnTo>
                      <a:lnTo>
                        <a:pt x="302" y="809"/>
                      </a:lnTo>
                      <a:lnTo>
                        <a:pt x="302" y="811"/>
                      </a:lnTo>
                      <a:lnTo>
                        <a:pt x="297" y="817"/>
                      </a:lnTo>
                      <a:lnTo>
                        <a:pt x="295" y="818"/>
                      </a:lnTo>
                      <a:lnTo>
                        <a:pt x="295" y="820"/>
                      </a:lnTo>
                      <a:lnTo>
                        <a:pt x="293" y="824"/>
                      </a:lnTo>
                      <a:lnTo>
                        <a:pt x="295" y="824"/>
                      </a:lnTo>
                      <a:lnTo>
                        <a:pt x="295" y="826"/>
                      </a:lnTo>
                      <a:lnTo>
                        <a:pt x="293" y="826"/>
                      </a:lnTo>
                      <a:lnTo>
                        <a:pt x="289" y="830"/>
                      </a:lnTo>
                      <a:lnTo>
                        <a:pt x="287" y="830"/>
                      </a:lnTo>
                      <a:lnTo>
                        <a:pt x="286" y="830"/>
                      </a:lnTo>
                      <a:lnTo>
                        <a:pt x="286" y="828"/>
                      </a:lnTo>
                      <a:lnTo>
                        <a:pt x="286" y="826"/>
                      </a:lnTo>
                      <a:lnTo>
                        <a:pt x="287" y="826"/>
                      </a:lnTo>
                      <a:lnTo>
                        <a:pt x="284" y="824"/>
                      </a:lnTo>
                      <a:lnTo>
                        <a:pt x="278" y="822"/>
                      </a:lnTo>
                      <a:lnTo>
                        <a:pt x="274" y="824"/>
                      </a:lnTo>
                      <a:lnTo>
                        <a:pt x="272" y="820"/>
                      </a:lnTo>
                      <a:lnTo>
                        <a:pt x="261" y="826"/>
                      </a:lnTo>
                      <a:lnTo>
                        <a:pt x="259" y="822"/>
                      </a:lnTo>
                      <a:lnTo>
                        <a:pt x="250" y="824"/>
                      </a:lnTo>
                      <a:lnTo>
                        <a:pt x="248" y="824"/>
                      </a:lnTo>
                      <a:lnTo>
                        <a:pt x="237" y="826"/>
                      </a:lnTo>
                      <a:lnTo>
                        <a:pt x="235" y="822"/>
                      </a:lnTo>
                      <a:lnTo>
                        <a:pt x="231" y="815"/>
                      </a:lnTo>
                      <a:lnTo>
                        <a:pt x="225" y="813"/>
                      </a:lnTo>
                      <a:lnTo>
                        <a:pt x="220" y="813"/>
                      </a:lnTo>
                      <a:lnTo>
                        <a:pt x="214" y="817"/>
                      </a:lnTo>
                      <a:lnTo>
                        <a:pt x="207" y="820"/>
                      </a:lnTo>
                      <a:lnTo>
                        <a:pt x="208" y="813"/>
                      </a:lnTo>
                      <a:lnTo>
                        <a:pt x="203" y="811"/>
                      </a:lnTo>
                      <a:lnTo>
                        <a:pt x="203" y="802"/>
                      </a:lnTo>
                      <a:lnTo>
                        <a:pt x="208" y="792"/>
                      </a:lnTo>
                      <a:lnTo>
                        <a:pt x="197" y="788"/>
                      </a:lnTo>
                      <a:lnTo>
                        <a:pt x="190" y="796"/>
                      </a:lnTo>
                      <a:lnTo>
                        <a:pt x="188" y="788"/>
                      </a:lnTo>
                      <a:lnTo>
                        <a:pt x="188" y="786"/>
                      </a:lnTo>
                      <a:lnTo>
                        <a:pt x="186" y="786"/>
                      </a:lnTo>
                      <a:lnTo>
                        <a:pt x="182" y="781"/>
                      </a:lnTo>
                      <a:lnTo>
                        <a:pt x="176" y="775"/>
                      </a:lnTo>
                      <a:lnTo>
                        <a:pt x="176" y="773"/>
                      </a:lnTo>
                      <a:lnTo>
                        <a:pt x="161" y="770"/>
                      </a:lnTo>
                      <a:lnTo>
                        <a:pt x="160" y="760"/>
                      </a:lnTo>
                      <a:lnTo>
                        <a:pt x="160" y="753"/>
                      </a:lnTo>
                      <a:lnTo>
                        <a:pt x="160" y="749"/>
                      </a:lnTo>
                      <a:lnTo>
                        <a:pt x="158" y="722"/>
                      </a:lnTo>
                      <a:lnTo>
                        <a:pt x="144" y="722"/>
                      </a:lnTo>
                      <a:lnTo>
                        <a:pt x="144" y="724"/>
                      </a:lnTo>
                      <a:lnTo>
                        <a:pt x="144" y="732"/>
                      </a:lnTo>
                      <a:lnTo>
                        <a:pt x="144" y="739"/>
                      </a:lnTo>
                      <a:lnTo>
                        <a:pt x="135" y="739"/>
                      </a:lnTo>
                      <a:lnTo>
                        <a:pt x="135" y="741"/>
                      </a:lnTo>
                      <a:lnTo>
                        <a:pt x="126" y="745"/>
                      </a:lnTo>
                      <a:lnTo>
                        <a:pt x="114" y="749"/>
                      </a:lnTo>
                      <a:lnTo>
                        <a:pt x="107" y="751"/>
                      </a:lnTo>
                      <a:lnTo>
                        <a:pt x="97" y="754"/>
                      </a:lnTo>
                      <a:lnTo>
                        <a:pt x="94" y="756"/>
                      </a:lnTo>
                      <a:lnTo>
                        <a:pt x="90" y="762"/>
                      </a:lnTo>
                      <a:lnTo>
                        <a:pt x="86" y="770"/>
                      </a:lnTo>
                      <a:lnTo>
                        <a:pt x="84" y="768"/>
                      </a:lnTo>
                      <a:lnTo>
                        <a:pt x="77" y="764"/>
                      </a:lnTo>
                      <a:lnTo>
                        <a:pt x="75" y="762"/>
                      </a:lnTo>
                      <a:lnTo>
                        <a:pt x="73" y="764"/>
                      </a:lnTo>
                      <a:lnTo>
                        <a:pt x="64" y="756"/>
                      </a:lnTo>
                      <a:lnTo>
                        <a:pt x="54" y="749"/>
                      </a:lnTo>
                      <a:lnTo>
                        <a:pt x="49" y="751"/>
                      </a:lnTo>
                      <a:lnTo>
                        <a:pt x="39" y="751"/>
                      </a:lnTo>
                      <a:lnTo>
                        <a:pt x="30" y="749"/>
                      </a:lnTo>
                      <a:lnTo>
                        <a:pt x="24" y="749"/>
                      </a:lnTo>
                      <a:lnTo>
                        <a:pt x="11" y="749"/>
                      </a:lnTo>
                      <a:lnTo>
                        <a:pt x="13" y="749"/>
                      </a:lnTo>
                      <a:lnTo>
                        <a:pt x="13" y="747"/>
                      </a:lnTo>
                      <a:lnTo>
                        <a:pt x="13" y="745"/>
                      </a:lnTo>
                      <a:lnTo>
                        <a:pt x="13" y="743"/>
                      </a:lnTo>
                      <a:lnTo>
                        <a:pt x="11" y="743"/>
                      </a:lnTo>
                      <a:lnTo>
                        <a:pt x="9" y="743"/>
                      </a:lnTo>
                      <a:lnTo>
                        <a:pt x="7" y="743"/>
                      </a:lnTo>
                      <a:lnTo>
                        <a:pt x="7" y="741"/>
                      </a:lnTo>
                      <a:lnTo>
                        <a:pt x="5" y="741"/>
                      </a:lnTo>
                      <a:lnTo>
                        <a:pt x="5" y="739"/>
                      </a:lnTo>
                      <a:lnTo>
                        <a:pt x="3" y="739"/>
                      </a:lnTo>
                      <a:lnTo>
                        <a:pt x="3" y="738"/>
                      </a:lnTo>
                      <a:lnTo>
                        <a:pt x="5" y="736"/>
                      </a:lnTo>
                      <a:lnTo>
                        <a:pt x="3" y="734"/>
                      </a:lnTo>
                      <a:lnTo>
                        <a:pt x="3" y="732"/>
                      </a:lnTo>
                      <a:lnTo>
                        <a:pt x="3" y="730"/>
                      </a:lnTo>
                      <a:lnTo>
                        <a:pt x="3" y="728"/>
                      </a:lnTo>
                      <a:lnTo>
                        <a:pt x="2" y="728"/>
                      </a:lnTo>
                      <a:lnTo>
                        <a:pt x="2" y="726"/>
                      </a:lnTo>
                      <a:lnTo>
                        <a:pt x="2" y="724"/>
                      </a:lnTo>
                      <a:lnTo>
                        <a:pt x="3" y="724"/>
                      </a:lnTo>
                      <a:lnTo>
                        <a:pt x="3" y="722"/>
                      </a:lnTo>
                      <a:lnTo>
                        <a:pt x="2" y="722"/>
                      </a:lnTo>
                      <a:lnTo>
                        <a:pt x="2" y="721"/>
                      </a:lnTo>
                      <a:lnTo>
                        <a:pt x="3" y="721"/>
                      </a:lnTo>
                      <a:lnTo>
                        <a:pt x="3" y="719"/>
                      </a:lnTo>
                      <a:lnTo>
                        <a:pt x="3" y="717"/>
                      </a:lnTo>
                      <a:lnTo>
                        <a:pt x="3" y="715"/>
                      </a:lnTo>
                      <a:lnTo>
                        <a:pt x="2" y="715"/>
                      </a:lnTo>
                      <a:lnTo>
                        <a:pt x="3" y="713"/>
                      </a:lnTo>
                      <a:lnTo>
                        <a:pt x="3" y="711"/>
                      </a:lnTo>
                      <a:lnTo>
                        <a:pt x="2" y="709"/>
                      </a:lnTo>
                      <a:lnTo>
                        <a:pt x="3" y="709"/>
                      </a:lnTo>
                      <a:lnTo>
                        <a:pt x="3" y="707"/>
                      </a:lnTo>
                      <a:lnTo>
                        <a:pt x="3" y="706"/>
                      </a:lnTo>
                      <a:lnTo>
                        <a:pt x="2" y="706"/>
                      </a:lnTo>
                      <a:lnTo>
                        <a:pt x="2" y="704"/>
                      </a:lnTo>
                      <a:lnTo>
                        <a:pt x="0" y="704"/>
                      </a:lnTo>
                      <a:lnTo>
                        <a:pt x="0" y="702"/>
                      </a:lnTo>
                      <a:lnTo>
                        <a:pt x="2" y="702"/>
                      </a:lnTo>
                      <a:lnTo>
                        <a:pt x="2" y="700"/>
                      </a:lnTo>
                      <a:lnTo>
                        <a:pt x="3" y="698"/>
                      </a:lnTo>
                      <a:lnTo>
                        <a:pt x="3" y="696"/>
                      </a:lnTo>
                      <a:lnTo>
                        <a:pt x="3" y="694"/>
                      </a:lnTo>
                      <a:lnTo>
                        <a:pt x="5" y="694"/>
                      </a:lnTo>
                      <a:lnTo>
                        <a:pt x="7" y="694"/>
                      </a:lnTo>
                      <a:lnTo>
                        <a:pt x="7" y="692"/>
                      </a:lnTo>
                      <a:lnTo>
                        <a:pt x="9" y="692"/>
                      </a:lnTo>
                      <a:lnTo>
                        <a:pt x="11" y="692"/>
                      </a:lnTo>
                      <a:lnTo>
                        <a:pt x="11" y="690"/>
                      </a:lnTo>
                      <a:lnTo>
                        <a:pt x="13" y="689"/>
                      </a:lnTo>
                      <a:lnTo>
                        <a:pt x="15" y="687"/>
                      </a:lnTo>
                      <a:lnTo>
                        <a:pt x="15" y="685"/>
                      </a:lnTo>
                      <a:lnTo>
                        <a:pt x="17" y="685"/>
                      </a:lnTo>
                      <a:lnTo>
                        <a:pt x="17" y="683"/>
                      </a:lnTo>
                      <a:lnTo>
                        <a:pt x="17" y="681"/>
                      </a:lnTo>
                      <a:lnTo>
                        <a:pt x="18" y="681"/>
                      </a:lnTo>
                      <a:lnTo>
                        <a:pt x="18" y="679"/>
                      </a:lnTo>
                      <a:lnTo>
                        <a:pt x="17" y="679"/>
                      </a:lnTo>
                      <a:lnTo>
                        <a:pt x="18" y="677"/>
                      </a:lnTo>
                      <a:lnTo>
                        <a:pt x="18" y="675"/>
                      </a:lnTo>
                      <a:lnTo>
                        <a:pt x="20" y="675"/>
                      </a:lnTo>
                      <a:lnTo>
                        <a:pt x="20" y="674"/>
                      </a:lnTo>
                      <a:lnTo>
                        <a:pt x="18" y="674"/>
                      </a:lnTo>
                      <a:lnTo>
                        <a:pt x="20" y="674"/>
                      </a:lnTo>
                      <a:lnTo>
                        <a:pt x="20" y="672"/>
                      </a:lnTo>
                      <a:lnTo>
                        <a:pt x="20" y="670"/>
                      </a:lnTo>
                      <a:lnTo>
                        <a:pt x="22" y="670"/>
                      </a:lnTo>
                      <a:lnTo>
                        <a:pt x="22" y="668"/>
                      </a:lnTo>
                      <a:lnTo>
                        <a:pt x="22" y="666"/>
                      </a:lnTo>
                      <a:lnTo>
                        <a:pt x="22" y="664"/>
                      </a:lnTo>
                      <a:lnTo>
                        <a:pt x="24" y="664"/>
                      </a:lnTo>
                      <a:lnTo>
                        <a:pt x="22" y="664"/>
                      </a:lnTo>
                      <a:lnTo>
                        <a:pt x="24" y="662"/>
                      </a:lnTo>
                      <a:lnTo>
                        <a:pt x="24" y="664"/>
                      </a:lnTo>
                      <a:lnTo>
                        <a:pt x="24" y="662"/>
                      </a:lnTo>
                      <a:lnTo>
                        <a:pt x="26" y="662"/>
                      </a:lnTo>
                      <a:lnTo>
                        <a:pt x="26" y="660"/>
                      </a:lnTo>
                      <a:lnTo>
                        <a:pt x="24" y="660"/>
                      </a:lnTo>
                      <a:lnTo>
                        <a:pt x="26" y="660"/>
                      </a:lnTo>
                      <a:lnTo>
                        <a:pt x="26" y="658"/>
                      </a:lnTo>
                      <a:lnTo>
                        <a:pt x="26" y="657"/>
                      </a:lnTo>
                      <a:lnTo>
                        <a:pt x="28" y="657"/>
                      </a:lnTo>
                      <a:lnTo>
                        <a:pt x="30" y="657"/>
                      </a:lnTo>
                      <a:lnTo>
                        <a:pt x="30" y="655"/>
                      </a:lnTo>
                      <a:lnTo>
                        <a:pt x="32" y="655"/>
                      </a:lnTo>
                      <a:lnTo>
                        <a:pt x="32" y="653"/>
                      </a:lnTo>
                      <a:lnTo>
                        <a:pt x="33" y="651"/>
                      </a:lnTo>
                      <a:lnTo>
                        <a:pt x="35" y="651"/>
                      </a:lnTo>
                      <a:lnTo>
                        <a:pt x="35" y="649"/>
                      </a:lnTo>
                      <a:lnTo>
                        <a:pt x="35" y="647"/>
                      </a:lnTo>
                      <a:lnTo>
                        <a:pt x="37" y="647"/>
                      </a:lnTo>
                      <a:lnTo>
                        <a:pt x="37" y="649"/>
                      </a:lnTo>
                      <a:lnTo>
                        <a:pt x="37" y="647"/>
                      </a:lnTo>
                      <a:lnTo>
                        <a:pt x="39" y="647"/>
                      </a:lnTo>
                      <a:lnTo>
                        <a:pt x="39" y="645"/>
                      </a:lnTo>
                      <a:lnTo>
                        <a:pt x="39" y="643"/>
                      </a:lnTo>
                      <a:lnTo>
                        <a:pt x="41" y="643"/>
                      </a:lnTo>
                      <a:lnTo>
                        <a:pt x="41" y="642"/>
                      </a:lnTo>
                      <a:lnTo>
                        <a:pt x="43" y="642"/>
                      </a:lnTo>
                      <a:lnTo>
                        <a:pt x="45" y="642"/>
                      </a:lnTo>
                      <a:lnTo>
                        <a:pt x="45" y="640"/>
                      </a:lnTo>
                      <a:lnTo>
                        <a:pt x="43" y="640"/>
                      </a:lnTo>
                      <a:lnTo>
                        <a:pt x="43" y="642"/>
                      </a:lnTo>
                      <a:lnTo>
                        <a:pt x="43" y="640"/>
                      </a:lnTo>
                      <a:lnTo>
                        <a:pt x="45" y="640"/>
                      </a:lnTo>
                      <a:lnTo>
                        <a:pt x="45" y="638"/>
                      </a:lnTo>
                      <a:lnTo>
                        <a:pt x="45" y="636"/>
                      </a:lnTo>
                      <a:lnTo>
                        <a:pt x="47" y="636"/>
                      </a:lnTo>
                      <a:lnTo>
                        <a:pt x="49" y="636"/>
                      </a:lnTo>
                      <a:lnTo>
                        <a:pt x="50" y="636"/>
                      </a:lnTo>
                      <a:lnTo>
                        <a:pt x="52" y="636"/>
                      </a:lnTo>
                      <a:lnTo>
                        <a:pt x="52" y="634"/>
                      </a:lnTo>
                      <a:lnTo>
                        <a:pt x="52" y="632"/>
                      </a:lnTo>
                      <a:lnTo>
                        <a:pt x="52" y="634"/>
                      </a:lnTo>
                      <a:lnTo>
                        <a:pt x="52" y="632"/>
                      </a:lnTo>
                      <a:lnTo>
                        <a:pt x="54" y="632"/>
                      </a:lnTo>
                      <a:lnTo>
                        <a:pt x="56" y="632"/>
                      </a:lnTo>
                      <a:lnTo>
                        <a:pt x="56" y="630"/>
                      </a:lnTo>
                      <a:lnTo>
                        <a:pt x="58" y="630"/>
                      </a:lnTo>
                      <a:lnTo>
                        <a:pt x="58" y="628"/>
                      </a:lnTo>
                      <a:lnTo>
                        <a:pt x="58" y="630"/>
                      </a:lnTo>
                      <a:lnTo>
                        <a:pt x="58" y="628"/>
                      </a:lnTo>
                      <a:lnTo>
                        <a:pt x="60" y="628"/>
                      </a:lnTo>
                      <a:lnTo>
                        <a:pt x="62" y="628"/>
                      </a:lnTo>
                      <a:lnTo>
                        <a:pt x="62" y="630"/>
                      </a:lnTo>
                      <a:lnTo>
                        <a:pt x="62" y="628"/>
                      </a:lnTo>
                      <a:lnTo>
                        <a:pt x="64" y="628"/>
                      </a:lnTo>
                      <a:lnTo>
                        <a:pt x="62" y="628"/>
                      </a:lnTo>
                      <a:lnTo>
                        <a:pt x="64" y="628"/>
                      </a:lnTo>
                      <a:lnTo>
                        <a:pt x="65" y="628"/>
                      </a:lnTo>
                      <a:lnTo>
                        <a:pt x="65" y="626"/>
                      </a:lnTo>
                      <a:lnTo>
                        <a:pt x="65" y="625"/>
                      </a:lnTo>
                      <a:lnTo>
                        <a:pt x="65" y="626"/>
                      </a:lnTo>
                      <a:lnTo>
                        <a:pt x="65" y="625"/>
                      </a:lnTo>
                      <a:lnTo>
                        <a:pt x="65" y="623"/>
                      </a:lnTo>
                      <a:lnTo>
                        <a:pt x="64" y="623"/>
                      </a:lnTo>
                      <a:lnTo>
                        <a:pt x="65" y="623"/>
                      </a:lnTo>
                      <a:lnTo>
                        <a:pt x="65" y="621"/>
                      </a:lnTo>
                      <a:lnTo>
                        <a:pt x="67" y="619"/>
                      </a:lnTo>
                      <a:lnTo>
                        <a:pt x="67" y="617"/>
                      </a:lnTo>
                      <a:lnTo>
                        <a:pt x="67" y="619"/>
                      </a:lnTo>
                      <a:lnTo>
                        <a:pt x="67" y="617"/>
                      </a:lnTo>
                      <a:lnTo>
                        <a:pt x="69" y="617"/>
                      </a:lnTo>
                      <a:lnTo>
                        <a:pt x="69" y="615"/>
                      </a:lnTo>
                      <a:lnTo>
                        <a:pt x="71" y="615"/>
                      </a:lnTo>
                      <a:lnTo>
                        <a:pt x="73" y="615"/>
                      </a:lnTo>
                      <a:lnTo>
                        <a:pt x="73" y="617"/>
                      </a:lnTo>
                      <a:lnTo>
                        <a:pt x="73" y="615"/>
                      </a:lnTo>
                      <a:lnTo>
                        <a:pt x="75" y="615"/>
                      </a:lnTo>
                      <a:lnTo>
                        <a:pt x="73" y="615"/>
                      </a:lnTo>
                      <a:lnTo>
                        <a:pt x="75" y="615"/>
                      </a:lnTo>
                      <a:lnTo>
                        <a:pt x="75" y="613"/>
                      </a:lnTo>
                      <a:lnTo>
                        <a:pt x="73" y="613"/>
                      </a:lnTo>
                      <a:lnTo>
                        <a:pt x="75" y="613"/>
                      </a:lnTo>
                      <a:lnTo>
                        <a:pt x="75" y="611"/>
                      </a:lnTo>
                      <a:lnTo>
                        <a:pt x="77" y="611"/>
                      </a:lnTo>
                      <a:lnTo>
                        <a:pt x="75" y="611"/>
                      </a:lnTo>
                      <a:lnTo>
                        <a:pt x="77" y="611"/>
                      </a:lnTo>
                      <a:lnTo>
                        <a:pt x="77" y="610"/>
                      </a:lnTo>
                      <a:lnTo>
                        <a:pt x="77" y="611"/>
                      </a:lnTo>
                      <a:lnTo>
                        <a:pt x="79" y="611"/>
                      </a:lnTo>
                      <a:lnTo>
                        <a:pt x="79" y="610"/>
                      </a:lnTo>
                      <a:lnTo>
                        <a:pt x="81" y="610"/>
                      </a:lnTo>
                      <a:lnTo>
                        <a:pt x="81" y="608"/>
                      </a:lnTo>
                      <a:lnTo>
                        <a:pt x="82" y="608"/>
                      </a:lnTo>
                      <a:lnTo>
                        <a:pt x="81" y="608"/>
                      </a:lnTo>
                      <a:lnTo>
                        <a:pt x="82" y="608"/>
                      </a:lnTo>
                      <a:lnTo>
                        <a:pt x="82" y="606"/>
                      </a:lnTo>
                      <a:lnTo>
                        <a:pt x="84" y="606"/>
                      </a:lnTo>
                      <a:lnTo>
                        <a:pt x="84" y="608"/>
                      </a:lnTo>
                      <a:lnTo>
                        <a:pt x="84" y="606"/>
                      </a:lnTo>
                      <a:lnTo>
                        <a:pt x="84" y="608"/>
                      </a:lnTo>
                      <a:lnTo>
                        <a:pt x="86" y="608"/>
                      </a:lnTo>
                      <a:lnTo>
                        <a:pt x="86" y="610"/>
                      </a:lnTo>
                      <a:lnTo>
                        <a:pt x="88" y="610"/>
                      </a:lnTo>
                      <a:lnTo>
                        <a:pt x="88" y="608"/>
                      </a:lnTo>
                      <a:lnTo>
                        <a:pt x="90" y="608"/>
                      </a:lnTo>
                      <a:lnTo>
                        <a:pt x="90" y="606"/>
                      </a:lnTo>
                      <a:lnTo>
                        <a:pt x="90" y="608"/>
                      </a:lnTo>
                      <a:lnTo>
                        <a:pt x="92" y="608"/>
                      </a:lnTo>
                      <a:lnTo>
                        <a:pt x="92" y="606"/>
                      </a:lnTo>
                      <a:lnTo>
                        <a:pt x="94" y="606"/>
                      </a:lnTo>
                      <a:lnTo>
                        <a:pt x="96" y="606"/>
                      </a:lnTo>
                      <a:lnTo>
                        <a:pt x="96" y="608"/>
                      </a:lnTo>
                      <a:lnTo>
                        <a:pt x="96" y="606"/>
                      </a:lnTo>
                      <a:lnTo>
                        <a:pt x="97" y="606"/>
                      </a:lnTo>
                      <a:lnTo>
                        <a:pt x="99" y="606"/>
                      </a:lnTo>
                      <a:lnTo>
                        <a:pt x="99" y="604"/>
                      </a:lnTo>
                      <a:lnTo>
                        <a:pt x="99" y="602"/>
                      </a:lnTo>
                      <a:lnTo>
                        <a:pt x="101" y="602"/>
                      </a:lnTo>
                      <a:lnTo>
                        <a:pt x="103" y="602"/>
                      </a:lnTo>
                      <a:lnTo>
                        <a:pt x="103" y="600"/>
                      </a:lnTo>
                      <a:lnTo>
                        <a:pt x="105" y="600"/>
                      </a:lnTo>
                      <a:lnTo>
                        <a:pt x="103" y="600"/>
                      </a:lnTo>
                      <a:lnTo>
                        <a:pt x="105" y="600"/>
                      </a:lnTo>
                      <a:lnTo>
                        <a:pt x="105" y="598"/>
                      </a:lnTo>
                      <a:lnTo>
                        <a:pt x="105" y="600"/>
                      </a:lnTo>
                      <a:lnTo>
                        <a:pt x="105" y="598"/>
                      </a:lnTo>
                      <a:lnTo>
                        <a:pt x="107" y="598"/>
                      </a:lnTo>
                      <a:lnTo>
                        <a:pt x="107" y="596"/>
                      </a:lnTo>
                      <a:lnTo>
                        <a:pt x="107" y="598"/>
                      </a:lnTo>
                      <a:lnTo>
                        <a:pt x="109" y="598"/>
                      </a:lnTo>
                      <a:lnTo>
                        <a:pt x="107" y="596"/>
                      </a:lnTo>
                      <a:lnTo>
                        <a:pt x="109" y="596"/>
                      </a:lnTo>
                      <a:lnTo>
                        <a:pt x="109" y="598"/>
                      </a:lnTo>
                      <a:lnTo>
                        <a:pt x="109" y="596"/>
                      </a:lnTo>
                      <a:lnTo>
                        <a:pt x="109" y="598"/>
                      </a:lnTo>
                      <a:lnTo>
                        <a:pt x="111" y="598"/>
                      </a:lnTo>
                      <a:lnTo>
                        <a:pt x="111" y="596"/>
                      </a:lnTo>
                      <a:lnTo>
                        <a:pt x="112" y="596"/>
                      </a:lnTo>
                      <a:lnTo>
                        <a:pt x="112" y="594"/>
                      </a:lnTo>
                      <a:lnTo>
                        <a:pt x="114" y="593"/>
                      </a:lnTo>
                      <a:lnTo>
                        <a:pt x="114" y="591"/>
                      </a:lnTo>
                      <a:lnTo>
                        <a:pt x="116" y="591"/>
                      </a:lnTo>
                      <a:lnTo>
                        <a:pt x="116" y="589"/>
                      </a:lnTo>
                      <a:lnTo>
                        <a:pt x="114" y="589"/>
                      </a:lnTo>
                      <a:lnTo>
                        <a:pt x="114" y="587"/>
                      </a:lnTo>
                      <a:lnTo>
                        <a:pt x="116" y="587"/>
                      </a:lnTo>
                      <a:lnTo>
                        <a:pt x="114" y="587"/>
                      </a:lnTo>
                      <a:lnTo>
                        <a:pt x="116" y="585"/>
                      </a:lnTo>
                      <a:lnTo>
                        <a:pt x="114" y="585"/>
                      </a:lnTo>
                      <a:lnTo>
                        <a:pt x="114" y="587"/>
                      </a:lnTo>
                      <a:lnTo>
                        <a:pt x="114" y="585"/>
                      </a:lnTo>
                      <a:lnTo>
                        <a:pt x="114" y="583"/>
                      </a:lnTo>
                      <a:lnTo>
                        <a:pt x="114" y="581"/>
                      </a:lnTo>
                      <a:lnTo>
                        <a:pt x="116" y="581"/>
                      </a:lnTo>
                      <a:lnTo>
                        <a:pt x="118" y="581"/>
                      </a:lnTo>
                      <a:lnTo>
                        <a:pt x="118" y="579"/>
                      </a:lnTo>
                      <a:lnTo>
                        <a:pt x="118" y="578"/>
                      </a:lnTo>
                      <a:lnTo>
                        <a:pt x="120" y="578"/>
                      </a:lnTo>
                      <a:lnTo>
                        <a:pt x="120" y="576"/>
                      </a:lnTo>
                      <a:lnTo>
                        <a:pt x="120" y="574"/>
                      </a:lnTo>
                      <a:lnTo>
                        <a:pt x="120" y="576"/>
                      </a:lnTo>
                      <a:lnTo>
                        <a:pt x="118" y="574"/>
                      </a:lnTo>
                      <a:lnTo>
                        <a:pt x="118" y="576"/>
                      </a:lnTo>
                      <a:lnTo>
                        <a:pt x="118" y="574"/>
                      </a:lnTo>
                      <a:lnTo>
                        <a:pt x="116" y="574"/>
                      </a:lnTo>
                      <a:lnTo>
                        <a:pt x="116" y="572"/>
                      </a:lnTo>
                      <a:lnTo>
                        <a:pt x="116" y="570"/>
                      </a:lnTo>
                      <a:lnTo>
                        <a:pt x="118" y="570"/>
                      </a:lnTo>
                      <a:lnTo>
                        <a:pt x="118" y="568"/>
                      </a:lnTo>
                      <a:lnTo>
                        <a:pt x="120" y="568"/>
                      </a:lnTo>
                      <a:lnTo>
                        <a:pt x="120" y="566"/>
                      </a:lnTo>
                      <a:lnTo>
                        <a:pt x="118" y="564"/>
                      </a:lnTo>
                      <a:lnTo>
                        <a:pt x="118" y="562"/>
                      </a:lnTo>
                      <a:lnTo>
                        <a:pt x="116" y="562"/>
                      </a:lnTo>
                      <a:lnTo>
                        <a:pt x="116" y="561"/>
                      </a:lnTo>
                      <a:lnTo>
                        <a:pt x="114" y="561"/>
                      </a:lnTo>
                      <a:lnTo>
                        <a:pt x="114" y="559"/>
                      </a:lnTo>
                      <a:lnTo>
                        <a:pt x="116" y="559"/>
                      </a:lnTo>
                      <a:lnTo>
                        <a:pt x="116" y="557"/>
                      </a:lnTo>
                      <a:lnTo>
                        <a:pt x="116" y="555"/>
                      </a:lnTo>
                      <a:lnTo>
                        <a:pt x="116" y="553"/>
                      </a:lnTo>
                      <a:lnTo>
                        <a:pt x="114" y="551"/>
                      </a:lnTo>
                      <a:lnTo>
                        <a:pt x="114" y="549"/>
                      </a:lnTo>
                      <a:lnTo>
                        <a:pt x="116" y="549"/>
                      </a:lnTo>
                      <a:lnTo>
                        <a:pt x="118" y="549"/>
                      </a:lnTo>
                      <a:lnTo>
                        <a:pt x="118" y="547"/>
                      </a:lnTo>
                      <a:lnTo>
                        <a:pt x="120" y="547"/>
                      </a:lnTo>
                      <a:lnTo>
                        <a:pt x="120" y="545"/>
                      </a:lnTo>
                      <a:lnTo>
                        <a:pt x="122" y="545"/>
                      </a:lnTo>
                      <a:lnTo>
                        <a:pt x="122" y="544"/>
                      </a:lnTo>
                      <a:lnTo>
                        <a:pt x="122" y="542"/>
                      </a:lnTo>
                      <a:lnTo>
                        <a:pt x="122" y="540"/>
                      </a:lnTo>
                      <a:lnTo>
                        <a:pt x="122" y="538"/>
                      </a:lnTo>
                      <a:lnTo>
                        <a:pt x="122" y="536"/>
                      </a:lnTo>
                      <a:lnTo>
                        <a:pt x="122" y="534"/>
                      </a:lnTo>
                      <a:lnTo>
                        <a:pt x="124" y="534"/>
                      </a:lnTo>
                      <a:lnTo>
                        <a:pt x="124" y="532"/>
                      </a:lnTo>
                      <a:lnTo>
                        <a:pt x="126" y="532"/>
                      </a:lnTo>
                      <a:lnTo>
                        <a:pt x="126" y="530"/>
                      </a:lnTo>
                      <a:lnTo>
                        <a:pt x="128" y="529"/>
                      </a:lnTo>
                      <a:lnTo>
                        <a:pt x="128" y="527"/>
                      </a:lnTo>
                      <a:lnTo>
                        <a:pt x="128" y="525"/>
                      </a:lnTo>
                      <a:lnTo>
                        <a:pt x="128" y="523"/>
                      </a:lnTo>
                      <a:lnTo>
                        <a:pt x="128" y="521"/>
                      </a:lnTo>
                      <a:lnTo>
                        <a:pt x="128" y="519"/>
                      </a:lnTo>
                      <a:lnTo>
                        <a:pt x="128" y="517"/>
                      </a:lnTo>
                      <a:lnTo>
                        <a:pt x="128" y="515"/>
                      </a:lnTo>
                      <a:lnTo>
                        <a:pt x="128" y="513"/>
                      </a:lnTo>
                      <a:lnTo>
                        <a:pt x="129" y="512"/>
                      </a:lnTo>
                      <a:lnTo>
                        <a:pt x="131" y="512"/>
                      </a:lnTo>
                      <a:lnTo>
                        <a:pt x="131" y="510"/>
                      </a:lnTo>
                      <a:lnTo>
                        <a:pt x="133" y="510"/>
                      </a:lnTo>
                      <a:lnTo>
                        <a:pt x="133" y="508"/>
                      </a:lnTo>
                      <a:lnTo>
                        <a:pt x="133" y="506"/>
                      </a:lnTo>
                      <a:lnTo>
                        <a:pt x="133" y="504"/>
                      </a:lnTo>
                      <a:lnTo>
                        <a:pt x="133" y="502"/>
                      </a:lnTo>
                      <a:lnTo>
                        <a:pt x="131" y="500"/>
                      </a:lnTo>
                      <a:lnTo>
                        <a:pt x="131" y="498"/>
                      </a:lnTo>
                      <a:lnTo>
                        <a:pt x="133" y="498"/>
                      </a:lnTo>
                      <a:lnTo>
                        <a:pt x="133" y="497"/>
                      </a:lnTo>
                      <a:lnTo>
                        <a:pt x="135" y="497"/>
                      </a:lnTo>
                      <a:lnTo>
                        <a:pt x="135" y="495"/>
                      </a:lnTo>
                      <a:lnTo>
                        <a:pt x="135" y="493"/>
                      </a:lnTo>
                      <a:lnTo>
                        <a:pt x="135" y="491"/>
                      </a:lnTo>
                      <a:lnTo>
                        <a:pt x="135" y="489"/>
                      </a:lnTo>
                      <a:lnTo>
                        <a:pt x="137" y="489"/>
                      </a:lnTo>
                      <a:lnTo>
                        <a:pt x="137" y="487"/>
                      </a:lnTo>
                      <a:lnTo>
                        <a:pt x="139" y="487"/>
                      </a:lnTo>
                      <a:lnTo>
                        <a:pt x="139" y="485"/>
                      </a:lnTo>
                      <a:lnTo>
                        <a:pt x="139" y="483"/>
                      </a:lnTo>
                      <a:lnTo>
                        <a:pt x="137" y="483"/>
                      </a:lnTo>
                      <a:lnTo>
                        <a:pt x="137" y="481"/>
                      </a:lnTo>
                      <a:lnTo>
                        <a:pt x="135" y="481"/>
                      </a:lnTo>
                      <a:lnTo>
                        <a:pt x="133" y="481"/>
                      </a:lnTo>
                      <a:lnTo>
                        <a:pt x="133" y="480"/>
                      </a:lnTo>
                      <a:lnTo>
                        <a:pt x="133" y="478"/>
                      </a:lnTo>
                      <a:lnTo>
                        <a:pt x="135" y="478"/>
                      </a:lnTo>
                      <a:lnTo>
                        <a:pt x="137" y="478"/>
                      </a:lnTo>
                      <a:lnTo>
                        <a:pt x="137" y="476"/>
                      </a:lnTo>
                      <a:lnTo>
                        <a:pt x="139" y="476"/>
                      </a:lnTo>
                      <a:lnTo>
                        <a:pt x="139" y="474"/>
                      </a:lnTo>
                      <a:lnTo>
                        <a:pt x="139" y="472"/>
                      </a:lnTo>
                      <a:lnTo>
                        <a:pt x="137" y="472"/>
                      </a:lnTo>
                      <a:lnTo>
                        <a:pt x="137" y="470"/>
                      </a:lnTo>
                      <a:lnTo>
                        <a:pt x="137" y="468"/>
                      </a:lnTo>
                      <a:lnTo>
                        <a:pt x="139" y="468"/>
                      </a:lnTo>
                      <a:lnTo>
                        <a:pt x="139" y="466"/>
                      </a:lnTo>
                      <a:lnTo>
                        <a:pt x="139" y="465"/>
                      </a:lnTo>
                      <a:lnTo>
                        <a:pt x="137" y="465"/>
                      </a:lnTo>
                      <a:lnTo>
                        <a:pt x="137" y="463"/>
                      </a:lnTo>
                      <a:lnTo>
                        <a:pt x="139" y="463"/>
                      </a:lnTo>
                      <a:lnTo>
                        <a:pt x="139" y="461"/>
                      </a:lnTo>
                      <a:lnTo>
                        <a:pt x="141" y="461"/>
                      </a:lnTo>
                      <a:lnTo>
                        <a:pt x="141" y="459"/>
                      </a:lnTo>
                      <a:lnTo>
                        <a:pt x="141" y="457"/>
                      </a:lnTo>
                      <a:lnTo>
                        <a:pt x="141" y="455"/>
                      </a:lnTo>
                      <a:lnTo>
                        <a:pt x="141" y="453"/>
                      </a:lnTo>
                      <a:lnTo>
                        <a:pt x="141" y="451"/>
                      </a:lnTo>
                      <a:lnTo>
                        <a:pt x="141" y="449"/>
                      </a:lnTo>
                      <a:lnTo>
                        <a:pt x="141" y="448"/>
                      </a:lnTo>
                      <a:lnTo>
                        <a:pt x="143" y="448"/>
                      </a:lnTo>
                      <a:lnTo>
                        <a:pt x="143" y="446"/>
                      </a:lnTo>
                      <a:lnTo>
                        <a:pt x="141" y="446"/>
                      </a:lnTo>
                      <a:lnTo>
                        <a:pt x="143" y="446"/>
                      </a:lnTo>
                      <a:lnTo>
                        <a:pt x="143" y="444"/>
                      </a:lnTo>
                      <a:lnTo>
                        <a:pt x="143" y="442"/>
                      </a:lnTo>
                      <a:lnTo>
                        <a:pt x="144" y="442"/>
                      </a:lnTo>
                      <a:lnTo>
                        <a:pt x="144" y="440"/>
                      </a:lnTo>
                      <a:lnTo>
                        <a:pt x="143" y="440"/>
                      </a:lnTo>
                      <a:lnTo>
                        <a:pt x="143" y="438"/>
                      </a:lnTo>
                      <a:lnTo>
                        <a:pt x="144" y="438"/>
                      </a:lnTo>
                      <a:lnTo>
                        <a:pt x="144" y="436"/>
                      </a:lnTo>
                      <a:lnTo>
                        <a:pt x="146" y="436"/>
                      </a:lnTo>
                      <a:lnTo>
                        <a:pt x="148" y="434"/>
                      </a:lnTo>
                      <a:lnTo>
                        <a:pt x="150" y="434"/>
                      </a:lnTo>
                      <a:lnTo>
                        <a:pt x="150" y="433"/>
                      </a:lnTo>
                      <a:lnTo>
                        <a:pt x="150" y="431"/>
                      </a:lnTo>
                      <a:lnTo>
                        <a:pt x="150" y="429"/>
                      </a:lnTo>
                      <a:lnTo>
                        <a:pt x="150" y="427"/>
                      </a:lnTo>
                      <a:lnTo>
                        <a:pt x="150" y="425"/>
                      </a:lnTo>
                      <a:lnTo>
                        <a:pt x="148" y="425"/>
                      </a:lnTo>
                      <a:lnTo>
                        <a:pt x="150" y="423"/>
                      </a:lnTo>
                      <a:lnTo>
                        <a:pt x="150" y="425"/>
                      </a:lnTo>
                      <a:lnTo>
                        <a:pt x="150" y="423"/>
                      </a:lnTo>
                      <a:lnTo>
                        <a:pt x="150" y="421"/>
                      </a:lnTo>
                      <a:lnTo>
                        <a:pt x="152" y="421"/>
                      </a:lnTo>
                      <a:lnTo>
                        <a:pt x="152" y="419"/>
                      </a:lnTo>
                      <a:lnTo>
                        <a:pt x="154" y="419"/>
                      </a:lnTo>
                      <a:lnTo>
                        <a:pt x="154" y="421"/>
                      </a:lnTo>
                      <a:lnTo>
                        <a:pt x="156" y="421"/>
                      </a:lnTo>
                      <a:lnTo>
                        <a:pt x="158" y="421"/>
                      </a:lnTo>
                      <a:lnTo>
                        <a:pt x="156" y="423"/>
                      </a:lnTo>
                      <a:lnTo>
                        <a:pt x="158" y="423"/>
                      </a:lnTo>
                      <a:lnTo>
                        <a:pt x="156" y="423"/>
                      </a:lnTo>
                      <a:lnTo>
                        <a:pt x="156" y="425"/>
                      </a:lnTo>
                      <a:lnTo>
                        <a:pt x="158" y="427"/>
                      </a:lnTo>
                      <a:lnTo>
                        <a:pt x="158" y="425"/>
                      </a:lnTo>
                      <a:lnTo>
                        <a:pt x="160" y="425"/>
                      </a:lnTo>
                      <a:lnTo>
                        <a:pt x="160" y="427"/>
                      </a:lnTo>
                      <a:lnTo>
                        <a:pt x="160" y="429"/>
                      </a:lnTo>
                      <a:lnTo>
                        <a:pt x="158" y="429"/>
                      </a:lnTo>
                      <a:lnTo>
                        <a:pt x="158" y="431"/>
                      </a:lnTo>
                      <a:lnTo>
                        <a:pt x="160" y="431"/>
                      </a:lnTo>
                      <a:lnTo>
                        <a:pt x="160" y="433"/>
                      </a:lnTo>
                      <a:lnTo>
                        <a:pt x="161" y="433"/>
                      </a:lnTo>
                      <a:lnTo>
                        <a:pt x="163" y="433"/>
                      </a:lnTo>
                      <a:lnTo>
                        <a:pt x="163" y="431"/>
                      </a:lnTo>
                      <a:lnTo>
                        <a:pt x="165" y="431"/>
                      </a:lnTo>
                      <a:lnTo>
                        <a:pt x="167" y="429"/>
                      </a:lnTo>
                      <a:lnTo>
                        <a:pt x="169" y="429"/>
                      </a:lnTo>
                      <a:lnTo>
                        <a:pt x="169" y="427"/>
                      </a:lnTo>
                      <a:lnTo>
                        <a:pt x="171" y="427"/>
                      </a:lnTo>
                      <a:lnTo>
                        <a:pt x="171" y="425"/>
                      </a:lnTo>
                      <a:lnTo>
                        <a:pt x="169" y="425"/>
                      </a:lnTo>
                      <a:lnTo>
                        <a:pt x="171" y="425"/>
                      </a:lnTo>
                      <a:lnTo>
                        <a:pt x="171" y="423"/>
                      </a:lnTo>
                      <a:lnTo>
                        <a:pt x="171" y="421"/>
                      </a:lnTo>
                      <a:lnTo>
                        <a:pt x="171" y="419"/>
                      </a:lnTo>
                      <a:lnTo>
                        <a:pt x="169" y="419"/>
                      </a:lnTo>
                      <a:lnTo>
                        <a:pt x="169" y="417"/>
                      </a:lnTo>
                      <a:lnTo>
                        <a:pt x="167" y="417"/>
                      </a:lnTo>
                      <a:lnTo>
                        <a:pt x="167" y="416"/>
                      </a:lnTo>
                      <a:lnTo>
                        <a:pt x="167" y="417"/>
                      </a:lnTo>
                      <a:lnTo>
                        <a:pt x="167" y="416"/>
                      </a:lnTo>
                      <a:lnTo>
                        <a:pt x="165" y="416"/>
                      </a:lnTo>
                      <a:lnTo>
                        <a:pt x="165" y="414"/>
                      </a:lnTo>
                      <a:lnTo>
                        <a:pt x="165" y="412"/>
                      </a:lnTo>
                      <a:lnTo>
                        <a:pt x="167" y="412"/>
                      </a:lnTo>
                      <a:lnTo>
                        <a:pt x="169" y="412"/>
                      </a:lnTo>
                      <a:lnTo>
                        <a:pt x="169" y="414"/>
                      </a:lnTo>
                      <a:lnTo>
                        <a:pt x="171" y="414"/>
                      </a:lnTo>
                      <a:lnTo>
                        <a:pt x="171" y="412"/>
                      </a:lnTo>
                      <a:lnTo>
                        <a:pt x="173" y="412"/>
                      </a:lnTo>
                      <a:lnTo>
                        <a:pt x="171" y="412"/>
                      </a:lnTo>
                      <a:lnTo>
                        <a:pt x="171" y="410"/>
                      </a:lnTo>
                      <a:lnTo>
                        <a:pt x="173" y="410"/>
                      </a:lnTo>
                      <a:lnTo>
                        <a:pt x="175" y="410"/>
                      </a:lnTo>
                      <a:lnTo>
                        <a:pt x="176" y="410"/>
                      </a:lnTo>
                      <a:lnTo>
                        <a:pt x="176" y="408"/>
                      </a:lnTo>
                      <a:lnTo>
                        <a:pt x="178" y="408"/>
                      </a:lnTo>
                      <a:lnTo>
                        <a:pt x="178" y="406"/>
                      </a:lnTo>
                      <a:lnTo>
                        <a:pt x="178" y="404"/>
                      </a:lnTo>
                      <a:lnTo>
                        <a:pt x="178" y="402"/>
                      </a:lnTo>
                      <a:lnTo>
                        <a:pt x="178" y="401"/>
                      </a:lnTo>
                      <a:lnTo>
                        <a:pt x="180" y="401"/>
                      </a:lnTo>
                      <a:lnTo>
                        <a:pt x="180" y="399"/>
                      </a:lnTo>
                      <a:lnTo>
                        <a:pt x="180" y="401"/>
                      </a:lnTo>
                      <a:lnTo>
                        <a:pt x="182" y="401"/>
                      </a:lnTo>
                      <a:lnTo>
                        <a:pt x="184" y="401"/>
                      </a:lnTo>
                      <a:lnTo>
                        <a:pt x="184" y="402"/>
                      </a:lnTo>
                      <a:lnTo>
                        <a:pt x="186" y="402"/>
                      </a:lnTo>
                      <a:lnTo>
                        <a:pt x="188" y="402"/>
                      </a:lnTo>
                      <a:lnTo>
                        <a:pt x="190" y="402"/>
                      </a:lnTo>
                      <a:lnTo>
                        <a:pt x="190" y="401"/>
                      </a:lnTo>
                      <a:lnTo>
                        <a:pt x="188" y="401"/>
                      </a:lnTo>
                      <a:lnTo>
                        <a:pt x="190" y="401"/>
                      </a:lnTo>
                      <a:lnTo>
                        <a:pt x="190" y="399"/>
                      </a:lnTo>
                      <a:lnTo>
                        <a:pt x="188" y="399"/>
                      </a:lnTo>
                      <a:lnTo>
                        <a:pt x="188" y="397"/>
                      </a:lnTo>
                      <a:lnTo>
                        <a:pt x="188" y="395"/>
                      </a:lnTo>
                      <a:lnTo>
                        <a:pt x="188" y="397"/>
                      </a:lnTo>
                      <a:lnTo>
                        <a:pt x="186" y="397"/>
                      </a:lnTo>
                      <a:lnTo>
                        <a:pt x="186" y="395"/>
                      </a:lnTo>
                      <a:lnTo>
                        <a:pt x="184" y="395"/>
                      </a:lnTo>
                      <a:lnTo>
                        <a:pt x="184" y="393"/>
                      </a:lnTo>
                      <a:lnTo>
                        <a:pt x="184" y="391"/>
                      </a:lnTo>
                      <a:lnTo>
                        <a:pt x="186" y="391"/>
                      </a:lnTo>
                      <a:lnTo>
                        <a:pt x="186" y="389"/>
                      </a:lnTo>
                      <a:lnTo>
                        <a:pt x="184" y="389"/>
                      </a:lnTo>
                      <a:lnTo>
                        <a:pt x="184" y="387"/>
                      </a:lnTo>
                      <a:lnTo>
                        <a:pt x="186" y="387"/>
                      </a:lnTo>
                      <a:lnTo>
                        <a:pt x="186" y="389"/>
                      </a:lnTo>
                      <a:lnTo>
                        <a:pt x="188" y="389"/>
                      </a:lnTo>
                      <a:lnTo>
                        <a:pt x="188" y="387"/>
                      </a:lnTo>
                      <a:lnTo>
                        <a:pt x="188" y="389"/>
                      </a:lnTo>
                      <a:lnTo>
                        <a:pt x="190" y="389"/>
                      </a:lnTo>
                      <a:lnTo>
                        <a:pt x="190" y="391"/>
                      </a:lnTo>
                      <a:lnTo>
                        <a:pt x="191" y="391"/>
                      </a:lnTo>
                      <a:lnTo>
                        <a:pt x="193" y="391"/>
                      </a:lnTo>
                      <a:lnTo>
                        <a:pt x="193" y="389"/>
                      </a:lnTo>
                      <a:lnTo>
                        <a:pt x="193" y="387"/>
                      </a:lnTo>
                      <a:lnTo>
                        <a:pt x="195" y="387"/>
                      </a:lnTo>
                      <a:lnTo>
                        <a:pt x="195" y="389"/>
                      </a:lnTo>
                      <a:lnTo>
                        <a:pt x="197" y="389"/>
                      </a:lnTo>
                      <a:lnTo>
                        <a:pt x="199" y="391"/>
                      </a:lnTo>
                      <a:lnTo>
                        <a:pt x="201" y="391"/>
                      </a:lnTo>
                      <a:lnTo>
                        <a:pt x="201" y="389"/>
                      </a:lnTo>
                      <a:lnTo>
                        <a:pt x="203" y="389"/>
                      </a:lnTo>
                      <a:lnTo>
                        <a:pt x="205" y="389"/>
                      </a:lnTo>
                      <a:lnTo>
                        <a:pt x="205" y="387"/>
                      </a:lnTo>
                      <a:lnTo>
                        <a:pt x="203" y="387"/>
                      </a:lnTo>
                      <a:lnTo>
                        <a:pt x="201" y="385"/>
                      </a:lnTo>
                      <a:lnTo>
                        <a:pt x="199" y="385"/>
                      </a:lnTo>
                      <a:lnTo>
                        <a:pt x="199" y="384"/>
                      </a:lnTo>
                      <a:lnTo>
                        <a:pt x="199" y="382"/>
                      </a:lnTo>
                      <a:lnTo>
                        <a:pt x="199" y="380"/>
                      </a:lnTo>
                      <a:lnTo>
                        <a:pt x="201" y="380"/>
                      </a:lnTo>
                      <a:lnTo>
                        <a:pt x="203" y="380"/>
                      </a:lnTo>
                      <a:lnTo>
                        <a:pt x="203" y="378"/>
                      </a:lnTo>
                      <a:lnTo>
                        <a:pt x="205" y="378"/>
                      </a:lnTo>
                      <a:lnTo>
                        <a:pt x="207" y="378"/>
                      </a:lnTo>
                      <a:lnTo>
                        <a:pt x="208" y="378"/>
                      </a:lnTo>
                      <a:lnTo>
                        <a:pt x="208" y="380"/>
                      </a:lnTo>
                      <a:lnTo>
                        <a:pt x="207" y="380"/>
                      </a:lnTo>
                      <a:lnTo>
                        <a:pt x="208" y="380"/>
                      </a:lnTo>
                      <a:lnTo>
                        <a:pt x="210" y="380"/>
                      </a:lnTo>
                      <a:lnTo>
                        <a:pt x="210" y="378"/>
                      </a:lnTo>
                      <a:lnTo>
                        <a:pt x="210" y="376"/>
                      </a:lnTo>
                      <a:lnTo>
                        <a:pt x="212" y="376"/>
                      </a:lnTo>
                      <a:lnTo>
                        <a:pt x="214" y="376"/>
                      </a:lnTo>
                      <a:lnTo>
                        <a:pt x="216" y="376"/>
                      </a:lnTo>
                      <a:lnTo>
                        <a:pt x="216" y="374"/>
                      </a:lnTo>
                      <a:lnTo>
                        <a:pt x="218" y="374"/>
                      </a:lnTo>
                      <a:lnTo>
                        <a:pt x="218" y="376"/>
                      </a:lnTo>
                      <a:lnTo>
                        <a:pt x="220" y="376"/>
                      </a:lnTo>
                      <a:lnTo>
                        <a:pt x="220" y="374"/>
                      </a:lnTo>
                      <a:lnTo>
                        <a:pt x="222" y="374"/>
                      </a:lnTo>
                      <a:lnTo>
                        <a:pt x="223" y="374"/>
                      </a:lnTo>
                      <a:lnTo>
                        <a:pt x="223" y="372"/>
                      </a:lnTo>
                      <a:lnTo>
                        <a:pt x="223" y="370"/>
                      </a:lnTo>
                      <a:lnTo>
                        <a:pt x="225" y="370"/>
                      </a:lnTo>
                      <a:lnTo>
                        <a:pt x="227" y="370"/>
                      </a:lnTo>
                      <a:lnTo>
                        <a:pt x="229" y="370"/>
                      </a:lnTo>
                      <a:lnTo>
                        <a:pt x="229" y="369"/>
                      </a:lnTo>
                      <a:lnTo>
                        <a:pt x="231" y="369"/>
                      </a:lnTo>
                      <a:lnTo>
                        <a:pt x="231" y="367"/>
                      </a:lnTo>
                      <a:lnTo>
                        <a:pt x="229" y="367"/>
                      </a:lnTo>
                      <a:lnTo>
                        <a:pt x="231" y="367"/>
                      </a:lnTo>
                      <a:lnTo>
                        <a:pt x="231" y="365"/>
                      </a:lnTo>
                      <a:lnTo>
                        <a:pt x="231" y="363"/>
                      </a:lnTo>
                      <a:lnTo>
                        <a:pt x="229" y="363"/>
                      </a:lnTo>
                      <a:lnTo>
                        <a:pt x="231" y="363"/>
                      </a:lnTo>
                      <a:lnTo>
                        <a:pt x="231" y="361"/>
                      </a:lnTo>
                      <a:lnTo>
                        <a:pt x="231" y="359"/>
                      </a:lnTo>
                      <a:lnTo>
                        <a:pt x="233" y="359"/>
                      </a:lnTo>
                      <a:lnTo>
                        <a:pt x="233" y="357"/>
                      </a:lnTo>
                      <a:lnTo>
                        <a:pt x="233" y="355"/>
                      </a:lnTo>
                      <a:lnTo>
                        <a:pt x="235" y="355"/>
                      </a:lnTo>
                      <a:lnTo>
                        <a:pt x="235" y="353"/>
                      </a:lnTo>
                      <a:lnTo>
                        <a:pt x="237" y="353"/>
                      </a:lnTo>
                      <a:lnTo>
                        <a:pt x="239" y="353"/>
                      </a:lnTo>
                      <a:lnTo>
                        <a:pt x="240" y="353"/>
                      </a:lnTo>
                      <a:lnTo>
                        <a:pt x="242" y="353"/>
                      </a:lnTo>
                      <a:lnTo>
                        <a:pt x="240" y="353"/>
                      </a:lnTo>
                      <a:lnTo>
                        <a:pt x="240" y="355"/>
                      </a:lnTo>
                      <a:lnTo>
                        <a:pt x="240" y="357"/>
                      </a:lnTo>
                      <a:lnTo>
                        <a:pt x="240" y="359"/>
                      </a:lnTo>
                      <a:lnTo>
                        <a:pt x="239" y="359"/>
                      </a:lnTo>
                      <a:lnTo>
                        <a:pt x="239" y="361"/>
                      </a:lnTo>
                      <a:lnTo>
                        <a:pt x="240" y="361"/>
                      </a:lnTo>
                      <a:lnTo>
                        <a:pt x="242" y="361"/>
                      </a:lnTo>
                      <a:lnTo>
                        <a:pt x="244" y="361"/>
                      </a:lnTo>
                      <a:lnTo>
                        <a:pt x="246" y="361"/>
                      </a:lnTo>
                      <a:lnTo>
                        <a:pt x="246" y="359"/>
                      </a:lnTo>
                      <a:lnTo>
                        <a:pt x="248" y="359"/>
                      </a:lnTo>
                      <a:lnTo>
                        <a:pt x="246" y="359"/>
                      </a:lnTo>
                      <a:lnTo>
                        <a:pt x="246" y="357"/>
                      </a:lnTo>
                      <a:lnTo>
                        <a:pt x="246" y="355"/>
                      </a:lnTo>
                      <a:lnTo>
                        <a:pt x="246" y="353"/>
                      </a:lnTo>
                      <a:lnTo>
                        <a:pt x="248" y="353"/>
                      </a:lnTo>
                      <a:lnTo>
                        <a:pt x="248" y="352"/>
                      </a:lnTo>
                      <a:lnTo>
                        <a:pt x="250" y="352"/>
                      </a:lnTo>
                      <a:lnTo>
                        <a:pt x="252" y="352"/>
                      </a:lnTo>
                      <a:lnTo>
                        <a:pt x="252" y="350"/>
                      </a:lnTo>
                      <a:lnTo>
                        <a:pt x="254" y="350"/>
                      </a:lnTo>
                      <a:lnTo>
                        <a:pt x="255" y="352"/>
                      </a:lnTo>
                      <a:lnTo>
                        <a:pt x="255" y="353"/>
                      </a:lnTo>
                      <a:lnTo>
                        <a:pt x="254" y="355"/>
                      </a:lnTo>
                      <a:lnTo>
                        <a:pt x="254" y="357"/>
                      </a:lnTo>
                      <a:lnTo>
                        <a:pt x="252" y="357"/>
                      </a:lnTo>
                      <a:lnTo>
                        <a:pt x="254" y="357"/>
                      </a:lnTo>
                      <a:lnTo>
                        <a:pt x="254" y="359"/>
                      </a:lnTo>
                      <a:lnTo>
                        <a:pt x="255" y="361"/>
                      </a:lnTo>
                      <a:lnTo>
                        <a:pt x="257" y="361"/>
                      </a:lnTo>
                      <a:lnTo>
                        <a:pt x="259" y="361"/>
                      </a:lnTo>
                      <a:lnTo>
                        <a:pt x="259" y="359"/>
                      </a:lnTo>
                      <a:lnTo>
                        <a:pt x="261" y="359"/>
                      </a:lnTo>
                      <a:lnTo>
                        <a:pt x="259" y="359"/>
                      </a:lnTo>
                      <a:lnTo>
                        <a:pt x="261" y="359"/>
                      </a:lnTo>
                      <a:lnTo>
                        <a:pt x="261" y="357"/>
                      </a:lnTo>
                      <a:lnTo>
                        <a:pt x="261" y="355"/>
                      </a:lnTo>
                      <a:lnTo>
                        <a:pt x="261" y="353"/>
                      </a:lnTo>
                      <a:lnTo>
                        <a:pt x="261" y="352"/>
                      </a:lnTo>
                      <a:lnTo>
                        <a:pt x="263" y="352"/>
                      </a:lnTo>
                      <a:lnTo>
                        <a:pt x="263" y="350"/>
                      </a:lnTo>
                      <a:lnTo>
                        <a:pt x="265" y="350"/>
                      </a:lnTo>
                      <a:lnTo>
                        <a:pt x="267" y="350"/>
                      </a:lnTo>
                      <a:lnTo>
                        <a:pt x="269" y="350"/>
                      </a:lnTo>
                      <a:lnTo>
                        <a:pt x="270" y="350"/>
                      </a:lnTo>
                      <a:lnTo>
                        <a:pt x="272" y="350"/>
                      </a:lnTo>
                      <a:lnTo>
                        <a:pt x="274" y="350"/>
                      </a:lnTo>
                      <a:lnTo>
                        <a:pt x="276" y="350"/>
                      </a:lnTo>
                      <a:lnTo>
                        <a:pt x="278" y="350"/>
                      </a:lnTo>
                      <a:lnTo>
                        <a:pt x="280" y="350"/>
                      </a:lnTo>
                      <a:lnTo>
                        <a:pt x="282" y="350"/>
                      </a:lnTo>
                      <a:lnTo>
                        <a:pt x="284" y="350"/>
                      </a:lnTo>
                      <a:lnTo>
                        <a:pt x="286" y="350"/>
                      </a:lnTo>
                      <a:lnTo>
                        <a:pt x="286" y="348"/>
                      </a:lnTo>
                      <a:lnTo>
                        <a:pt x="287" y="348"/>
                      </a:lnTo>
                      <a:lnTo>
                        <a:pt x="287" y="346"/>
                      </a:lnTo>
                      <a:lnTo>
                        <a:pt x="287" y="344"/>
                      </a:lnTo>
                      <a:lnTo>
                        <a:pt x="289" y="344"/>
                      </a:lnTo>
                      <a:lnTo>
                        <a:pt x="289" y="342"/>
                      </a:lnTo>
                      <a:lnTo>
                        <a:pt x="291" y="342"/>
                      </a:lnTo>
                      <a:lnTo>
                        <a:pt x="291" y="340"/>
                      </a:lnTo>
                      <a:lnTo>
                        <a:pt x="293" y="340"/>
                      </a:lnTo>
                      <a:lnTo>
                        <a:pt x="295" y="340"/>
                      </a:lnTo>
                      <a:lnTo>
                        <a:pt x="295" y="338"/>
                      </a:lnTo>
                      <a:lnTo>
                        <a:pt x="295" y="337"/>
                      </a:lnTo>
                      <a:lnTo>
                        <a:pt x="295" y="335"/>
                      </a:lnTo>
                      <a:lnTo>
                        <a:pt x="295" y="333"/>
                      </a:lnTo>
                      <a:lnTo>
                        <a:pt x="297" y="333"/>
                      </a:lnTo>
                      <a:lnTo>
                        <a:pt x="295" y="333"/>
                      </a:lnTo>
                      <a:lnTo>
                        <a:pt x="295" y="331"/>
                      </a:lnTo>
                      <a:lnTo>
                        <a:pt x="293" y="331"/>
                      </a:lnTo>
                      <a:lnTo>
                        <a:pt x="293" y="329"/>
                      </a:lnTo>
                      <a:lnTo>
                        <a:pt x="295" y="327"/>
                      </a:lnTo>
                      <a:lnTo>
                        <a:pt x="295" y="325"/>
                      </a:lnTo>
                      <a:lnTo>
                        <a:pt x="297" y="325"/>
                      </a:lnTo>
                      <a:lnTo>
                        <a:pt x="297" y="323"/>
                      </a:lnTo>
                      <a:lnTo>
                        <a:pt x="297" y="321"/>
                      </a:lnTo>
                      <a:lnTo>
                        <a:pt x="297" y="320"/>
                      </a:lnTo>
                      <a:lnTo>
                        <a:pt x="297" y="318"/>
                      </a:lnTo>
                      <a:lnTo>
                        <a:pt x="297" y="316"/>
                      </a:lnTo>
                      <a:lnTo>
                        <a:pt x="297" y="314"/>
                      </a:lnTo>
                      <a:lnTo>
                        <a:pt x="299" y="314"/>
                      </a:lnTo>
                      <a:lnTo>
                        <a:pt x="301" y="314"/>
                      </a:lnTo>
                      <a:lnTo>
                        <a:pt x="302" y="314"/>
                      </a:lnTo>
                      <a:lnTo>
                        <a:pt x="302" y="312"/>
                      </a:lnTo>
                      <a:lnTo>
                        <a:pt x="304" y="312"/>
                      </a:lnTo>
                      <a:lnTo>
                        <a:pt x="304" y="310"/>
                      </a:lnTo>
                      <a:lnTo>
                        <a:pt x="302" y="308"/>
                      </a:lnTo>
                      <a:lnTo>
                        <a:pt x="302" y="306"/>
                      </a:lnTo>
                      <a:lnTo>
                        <a:pt x="302" y="305"/>
                      </a:lnTo>
                      <a:lnTo>
                        <a:pt x="302" y="303"/>
                      </a:lnTo>
                      <a:lnTo>
                        <a:pt x="304" y="303"/>
                      </a:lnTo>
                      <a:lnTo>
                        <a:pt x="306" y="303"/>
                      </a:lnTo>
                      <a:lnTo>
                        <a:pt x="308" y="303"/>
                      </a:lnTo>
                      <a:lnTo>
                        <a:pt x="310" y="303"/>
                      </a:lnTo>
                      <a:lnTo>
                        <a:pt x="310" y="305"/>
                      </a:lnTo>
                      <a:lnTo>
                        <a:pt x="312" y="305"/>
                      </a:lnTo>
                      <a:lnTo>
                        <a:pt x="314" y="305"/>
                      </a:lnTo>
                      <a:lnTo>
                        <a:pt x="316" y="305"/>
                      </a:lnTo>
                      <a:lnTo>
                        <a:pt x="318" y="305"/>
                      </a:lnTo>
                      <a:lnTo>
                        <a:pt x="319" y="305"/>
                      </a:lnTo>
                      <a:lnTo>
                        <a:pt x="319" y="303"/>
                      </a:lnTo>
                      <a:lnTo>
                        <a:pt x="319" y="301"/>
                      </a:lnTo>
                      <a:lnTo>
                        <a:pt x="321" y="301"/>
                      </a:lnTo>
                      <a:lnTo>
                        <a:pt x="321" y="299"/>
                      </a:lnTo>
                      <a:lnTo>
                        <a:pt x="323" y="297"/>
                      </a:lnTo>
                      <a:lnTo>
                        <a:pt x="325" y="297"/>
                      </a:lnTo>
                      <a:lnTo>
                        <a:pt x="327" y="297"/>
                      </a:lnTo>
                      <a:lnTo>
                        <a:pt x="329" y="297"/>
                      </a:lnTo>
                      <a:lnTo>
                        <a:pt x="329" y="299"/>
                      </a:lnTo>
                      <a:lnTo>
                        <a:pt x="331" y="299"/>
                      </a:lnTo>
                      <a:lnTo>
                        <a:pt x="331" y="301"/>
                      </a:lnTo>
                      <a:lnTo>
                        <a:pt x="331" y="303"/>
                      </a:lnTo>
                      <a:lnTo>
                        <a:pt x="333" y="303"/>
                      </a:lnTo>
                      <a:lnTo>
                        <a:pt x="333" y="305"/>
                      </a:lnTo>
                      <a:lnTo>
                        <a:pt x="333" y="306"/>
                      </a:lnTo>
                      <a:lnTo>
                        <a:pt x="334" y="306"/>
                      </a:lnTo>
                      <a:lnTo>
                        <a:pt x="336" y="306"/>
                      </a:lnTo>
                      <a:lnTo>
                        <a:pt x="338" y="306"/>
                      </a:lnTo>
                      <a:lnTo>
                        <a:pt x="340" y="306"/>
                      </a:lnTo>
                      <a:lnTo>
                        <a:pt x="342" y="305"/>
                      </a:lnTo>
                      <a:lnTo>
                        <a:pt x="342" y="303"/>
                      </a:lnTo>
                      <a:lnTo>
                        <a:pt x="342" y="301"/>
                      </a:lnTo>
                      <a:lnTo>
                        <a:pt x="342" y="299"/>
                      </a:lnTo>
                      <a:lnTo>
                        <a:pt x="344" y="299"/>
                      </a:lnTo>
                      <a:lnTo>
                        <a:pt x="344" y="297"/>
                      </a:lnTo>
                      <a:lnTo>
                        <a:pt x="344" y="295"/>
                      </a:lnTo>
                      <a:lnTo>
                        <a:pt x="346" y="295"/>
                      </a:lnTo>
                      <a:lnTo>
                        <a:pt x="346" y="293"/>
                      </a:lnTo>
                      <a:lnTo>
                        <a:pt x="348" y="293"/>
                      </a:lnTo>
                      <a:lnTo>
                        <a:pt x="346" y="293"/>
                      </a:lnTo>
                      <a:lnTo>
                        <a:pt x="348" y="293"/>
                      </a:lnTo>
                      <a:lnTo>
                        <a:pt x="348" y="291"/>
                      </a:lnTo>
                      <a:lnTo>
                        <a:pt x="349" y="291"/>
                      </a:lnTo>
                      <a:lnTo>
                        <a:pt x="351" y="289"/>
                      </a:lnTo>
                      <a:lnTo>
                        <a:pt x="351" y="288"/>
                      </a:lnTo>
                      <a:lnTo>
                        <a:pt x="349" y="286"/>
                      </a:lnTo>
                      <a:lnTo>
                        <a:pt x="349" y="284"/>
                      </a:lnTo>
                      <a:lnTo>
                        <a:pt x="348" y="284"/>
                      </a:lnTo>
                      <a:lnTo>
                        <a:pt x="348" y="282"/>
                      </a:lnTo>
                      <a:lnTo>
                        <a:pt x="346" y="282"/>
                      </a:lnTo>
                      <a:lnTo>
                        <a:pt x="346" y="280"/>
                      </a:lnTo>
                      <a:lnTo>
                        <a:pt x="348" y="278"/>
                      </a:lnTo>
                      <a:lnTo>
                        <a:pt x="349" y="278"/>
                      </a:lnTo>
                      <a:lnTo>
                        <a:pt x="349" y="280"/>
                      </a:lnTo>
                      <a:lnTo>
                        <a:pt x="349" y="282"/>
                      </a:lnTo>
                      <a:lnTo>
                        <a:pt x="351" y="282"/>
                      </a:lnTo>
                      <a:lnTo>
                        <a:pt x="353" y="282"/>
                      </a:lnTo>
                      <a:lnTo>
                        <a:pt x="353" y="280"/>
                      </a:lnTo>
                      <a:lnTo>
                        <a:pt x="355" y="280"/>
                      </a:lnTo>
                      <a:lnTo>
                        <a:pt x="357" y="280"/>
                      </a:lnTo>
                      <a:lnTo>
                        <a:pt x="357" y="278"/>
                      </a:lnTo>
                      <a:lnTo>
                        <a:pt x="359" y="278"/>
                      </a:lnTo>
                      <a:lnTo>
                        <a:pt x="359" y="276"/>
                      </a:lnTo>
                      <a:lnTo>
                        <a:pt x="359" y="274"/>
                      </a:lnTo>
                      <a:lnTo>
                        <a:pt x="357" y="274"/>
                      </a:lnTo>
                      <a:lnTo>
                        <a:pt x="357" y="273"/>
                      </a:lnTo>
                      <a:lnTo>
                        <a:pt x="359" y="273"/>
                      </a:lnTo>
                      <a:lnTo>
                        <a:pt x="359" y="271"/>
                      </a:lnTo>
                      <a:lnTo>
                        <a:pt x="359" y="273"/>
                      </a:lnTo>
                      <a:lnTo>
                        <a:pt x="361" y="273"/>
                      </a:lnTo>
                      <a:lnTo>
                        <a:pt x="363" y="273"/>
                      </a:lnTo>
                      <a:lnTo>
                        <a:pt x="365" y="273"/>
                      </a:lnTo>
                      <a:lnTo>
                        <a:pt x="366" y="273"/>
                      </a:lnTo>
                      <a:lnTo>
                        <a:pt x="366" y="271"/>
                      </a:lnTo>
                      <a:lnTo>
                        <a:pt x="368" y="271"/>
                      </a:lnTo>
                      <a:lnTo>
                        <a:pt x="370" y="271"/>
                      </a:lnTo>
                      <a:lnTo>
                        <a:pt x="370" y="269"/>
                      </a:lnTo>
                      <a:lnTo>
                        <a:pt x="372" y="269"/>
                      </a:lnTo>
                      <a:lnTo>
                        <a:pt x="374" y="269"/>
                      </a:lnTo>
                      <a:lnTo>
                        <a:pt x="374" y="267"/>
                      </a:lnTo>
                      <a:lnTo>
                        <a:pt x="376" y="267"/>
                      </a:lnTo>
                      <a:lnTo>
                        <a:pt x="378" y="267"/>
                      </a:lnTo>
                      <a:lnTo>
                        <a:pt x="378" y="265"/>
                      </a:lnTo>
                      <a:lnTo>
                        <a:pt x="380" y="265"/>
                      </a:lnTo>
                      <a:lnTo>
                        <a:pt x="380" y="263"/>
                      </a:lnTo>
                      <a:lnTo>
                        <a:pt x="381" y="263"/>
                      </a:lnTo>
                      <a:lnTo>
                        <a:pt x="383" y="263"/>
                      </a:lnTo>
                      <a:lnTo>
                        <a:pt x="383" y="261"/>
                      </a:lnTo>
                      <a:lnTo>
                        <a:pt x="385" y="261"/>
                      </a:lnTo>
                      <a:lnTo>
                        <a:pt x="387" y="259"/>
                      </a:lnTo>
                      <a:lnTo>
                        <a:pt x="387" y="257"/>
                      </a:lnTo>
                      <a:lnTo>
                        <a:pt x="389" y="257"/>
                      </a:lnTo>
                      <a:lnTo>
                        <a:pt x="389" y="256"/>
                      </a:lnTo>
                      <a:lnTo>
                        <a:pt x="391" y="256"/>
                      </a:lnTo>
                      <a:lnTo>
                        <a:pt x="391" y="254"/>
                      </a:lnTo>
                      <a:lnTo>
                        <a:pt x="391" y="252"/>
                      </a:lnTo>
                      <a:lnTo>
                        <a:pt x="391" y="250"/>
                      </a:lnTo>
                      <a:lnTo>
                        <a:pt x="391" y="248"/>
                      </a:lnTo>
                      <a:lnTo>
                        <a:pt x="389" y="248"/>
                      </a:lnTo>
                      <a:lnTo>
                        <a:pt x="389" y="246"/>
                      </a:lnTo>
                      <a:lnTo>
                        <a:pt x="389" y="244"/>
                      </a:lnTo>
                      <a:lnTo>
                        <a:pt x="391" y="242"/>
                      </a:lnTo>
                      <a:lnTo>
                        <a:pt x="391" y="241"/>
                      </a:lnTo>
                      <a:lnTo>
                        <a:pt x="391" y="239"/>
                      </a:lnTo>
                      <a:lnTo>
                        <a:pt x="391" y="237"/>
                      </a:lnTo>
                      <a:lnTo>
                        <a:pt x="391" y="235"/>
                      </a:lnTo>
                      <a:lnTo>
                        <a:pt x="389" y="235"/>
                      </a:lnTo>
                      <a:lnTo>
                        <a:pt x="389" y="233"/>
                      </a:lnTo>
                      <a:lnTo>
                        <a:pt x="389" y="231"/>
                      </a:lnTo>
                      <a:lnTo>
                        <a:pt x="391" y="231"/>
                      </a:lnTo>
                      <a:lnTo>
                        <a:pt x="391" y="229"/>
                      </a:lnTo>
                      <a:lnTo>
                        <a:pt x="391" y="231"/>
                      </a:lnTo>
                      <a:lnTo>
                        <a:pt x="393" y="231"/>
                      </a:lnTo>
                      <a:lnTo>
                        <a:pt x="395" y="231"/>
                      </a:lnTo>
                      <a:lnTo>
                        <a:pt x="397" y="231"/>
                      </a:lnTo>
                      <a:lnTo>
                        <a:pt x="397" y="229"/>
                      </a:lnTo>
                      <a:lnTo>
                        <a:pt x="398" y="229"/>
                      </a:lnTo>
                      <a:lnTo>
                        <a:pt x="400" y="229"/>
                      </a:lnTo>
                      <a:lnTo>
                        <a:pt x="400" y="227"/>
                      </a:lnTo>
                      <a:lnTo>
                        <a:pt x="402" y="227"/>
                      </a:lnTo>
                      <a:lnTo>
                        <a:pt x="402" y="225"/>
                      </a:lnTo>
                      <a:lnTo>
                        <a:pt x="404" y="225"/>
                      </a:lnTo>
                      <a:lnTo>
                        <a:pt x="406" y="225"/>
                      </a:lnTo>
                      <a:lnTo>
                        <a:pt x="406" y="224"/>
                      </a:lnTo>
                      <a:lnTo>
                        <a:pt x="408" y="224"/>
                      </a:lnTo>
                      <a:lnTo>
                        <a:pt x="410" y="224"/>
                      </a:lnTo>
                      <a:lnTo>
                        <a:pt x="410" y="222"/>
                      </a:lnTo>
                      <a:lnTo>
                        <a:pt x="412" y="222"/>
                      </a:lnTo>
                      <a:lnTo>
                        <a:pt x="412" y="220"/>
                      </a:lnTo>
                      <a:lnTo>
                        <a:pt x="413" y="220"/>
                      </a:lnTo>
                      <a:lnTo>
                        <a:pt x="413" y="218"/>
                      </a:lnTo>
                      <a:lnTo>
                        <a:pt x="415" y="218"/>
                      </a:lnTo>
                      <a:lnTo>
                        <a:pt x="415" y="216"/>
                      </a:lnTo>
                      <a:lnTo>
                        <a:pt x="417" y="216"/>
                      </a:lnTo>
                      <a:lnTo>
                        <a:pt x="417" y="214"/>
                      </a:lnTo>
                      <a:lnTo>
                        <a:pt x="417" y="212"/>
                      </a:lnTo>
                      <a:lnTo>
                        <a:pt x="419" y="212"/>
                      </a:lnTo>
                      <a:lnTo>
                        <a:pt x="419" y="210"/>
                      </a:lnTo>
                      <a:lnTo>
                        <a:pt x="419" y="209"/>
                      </a:lnTo>
                      <a:lnTo>
                        <a:pt x="417" y="209"/>
                      </a:lnTo>
                      <a:lnTo>
                        <a:pt x="417" y="207"/>
                      </a:lnTo>
                      <a:lnTo>
                        <a:pt x="417" y="205"/>
                      </a:lnTo>
                      <a:lnTo>
                        <a:pt x="417" y="203"/>
                      </a:lnTo>
                      <a:lnTo>
                        <a:pt x="417" y="201"/>
                      </a:lnTo>
                      <a:lnTo>
                        <a:pt x="415" y="199"/>
                      </a:lnTo>
                      <a:lnTo>
                        <a:pt x="415" y="197"/>
                      </a:lnTo>
                      <a:lnTo>
                        <a:pt x="415" y="195"/>
                      </a:lnTo>
                      <a:lnTo>
                        <a:pt x="417" y="195"/>
                      </a:lnTo>
                      <a:lnTo>
                        <a:pt x="419" y="195"/>
                      </a:lnTo>
                      <a:lnTo>
                        <a:pt x="421" y="195"/>
                      </a:lnTo>
                      <a:lnTo>
                        <a:pt x="423" y="195"/>
                      </a:lnTo>
                      <a:lnTo>
                        <a:pt x="423" y="193"/>
                      </a:lnTo>
                      <a:lnTo>
                        <a:pt x="425" y="193"/>
                      </a:lnTo>
                      <a:lnTo>
                        <a:pt x="427" y="192"/>
                      </a:lnTo>
                      <a:lnTo>
                        <a:pt x="428" y="192"/>
                      </a:lnTo>
                      <a:lnTo>
                        <a:pt x="430" y="192"/>
                      </a:lnTo>
                      <a:lnTo>
                        <a:pt x="430" y="190"/>
                      </a:lnTo>
                      <a:lnTo>
                        <a:pt x="432" y="190"/>
                      </a:lnTo>
                      <a:lnTo>
                        <a:pt x="432" y="188"/>
                      </a:lnTo>
                      <a:lnTo>
                        <a:pt x="434" y="188"/>
                      </a:lnTo>
                      <a:lnTo>
                        <a:pt x="434" y="186"/>
                      </a:lnTo>
                      <a:lnTo>
                        <a:pt x="436" y="184"/>
                      </a:lnTo>
                      <a:lnTo>
                        <a:pt x="436" y="182"/>
                      </a:lnTo>
                      <a:lnTo>
                        <a:pt x="438" y="182"/>
                      </a:lnTo>
                      <a:lnTo>
                        <a:pt x="440" y="182"/>
                      </a:lnTo>
                      <a:lnTo>
                        <a:pt x="440" y="180"/>
                      </a:lnTo>
                      <a:lnTo>
                        <a:pt x="442" y="180"/>
                      </a:lnTo>
                      <a:lnTo>
                        <a:pt x="444" y="180"/>
                      </a:lnTo>
                      <a:lnTo>
                        <a:pt x="444" y="178"/>
                      </a:lnTo>
                      <a:lnTo>
                        <a:pt x="445" y="178"/>
                      </a:lnTo>
                      <a:lnTo>
                        <a:pt x="445" y="177"/>
                      </a:lnTo>
                      <a:lnTo>
                        <a:pt x="445" y="175"/>
                      </a:lnTo>
                      <a:lnTo>
                        <a:pt x="447" y="175"/>
                      </a:lnTo>
                      <a:lnTo>
                        <a:pt x="447" y="173"/>
                      </a:lnTo>
                      <a:lnTo>
                        <a:pt x="447" y="171"/>
                      </a:lnTo>
                      <a:lnTo>
                        <a:pt x="447" y="169"/>
                      </a:lnTo>
                      <a:lnTo>
                        <a:pt x="447" y="167"/>
                      </a:lnTo>
                      <a:lnTo>
                        <a:pt x="445" y="167"/>
                      </a:lnTo>
                      <a:lnTo>
                        <a:pt x="445" y="165"/>
                      </a:lnTo>
                      <a:lnTo>
                        <a:pt x="447" y="163"/>
                      </a:lnTo>
                      <a:lnTo>
                        <a:pt x="447" y="161"/>
                      </a:lnTo>
                      <a:lnTo>
                        <a:pt x="449" y="161"/>
                      </a:lnTo>
                      <a:lnTo>
                        <a:pt x="449" y="160"/>
                      </a:lnTo>
                      <a:lnTo>
                        <a:pt x="451" y="160"/>
                      </a:lnTo>
                      <a:lnTo>
                        <a:pt x="451" y="158"/>
                      </a:lnTo>
                      <a:lnTo>
                        <a:pt x="451" y="156"/>
                      </a:lnTo>
                      <a:lnTo>
                        <a:pt x="453" y="156"/>
                      </a:lnTo>
                      <a:lnTo>
                        <a:pt x="453" y="154"/>
                      </a:lnTo>
                      <a:lnTo>
                        <a:pt x="455" y="154"/>
                      </a:lnTo>
                      <a:lnTo>
                        <a:pt x="457" y="154"/>
                      </a:lnTo>
                      <a:lnTo>
                        <a:pt x="457" y="152"/>
                      </a:lnTo>
                      <a:lnTo>
                        <a:pt x="459" y="150"/>
                      </a:lnTo>
                      <a:lnTo>
                        <a:pt x="459" y="148"/>
                      </a:lnTo>
                      <a:lnTo>
                        <a:pt x="460" y="148"/>
                      </a:lnTo>
                      <a:lnTo>
                        <a:pt x="460" y="150"/>
                      </a:lnTo>
                      <a:lnTo>
                        <a:pt x="462" y="150"/>
                      </a:lnTo>
                      <a:lnTo>
                        <a:pt x="462" y="148"/>
                      </a:lnTo>
                      <a:lnTo>
                        <a:pt x="464" y="148"/>
                      </a:lnTo>
                      <a:lnTo>
                        <a:pt x="466" y="148"/>
                      </a:lnTo>
                      <a:lnTo>
                        <a:pt x="466" y="146"/>
                      </a:lnTo>
                      <a:lnTo>
                        <a:pt x="468" y="146"/>
                      </a:lnTo>
                      <a:lnTo>
                        <a:pt x="470" y="146"/>
                      </a:lnTo>
                      <a:lnTo>
                        <a:pt x="470" y="145"/>
                      </a:lnTo>
                      <a:lnTo>
                        <a:pt x="472" y="145"/>
                      </a:lnTo>
                      <a:lnTo>
                        <a:pt x="472" y="143"/>
                      </a:lnTo>
                      <a:lnTo>
                        <a:pt x="474" y="143"/>
                      </a:lnTo>
                      <a:lnTo>
                        <a:pt x="474" y="141"/>
                      </a:lnTo>
                      <a:lnTo>
                        <a:pt x="476" y="141"/>
                      </a:lnTo>
                      <a:lnTo>
                        <a:pt x="476" y="139"/>
                      </a:lnTo>
                      <a:lnTo>
                        <a:pt x="476" y="137"/>
                      </a:lnTo>
                      <a:lnTo>
                        <a:pt x="476" y="135"/>
                      </a:lnTo>
                      <a:lnTo>
                        <a:pt x="477" y="135"/>
                      </a:lnTo>
                      <a:lnTo>
                        <a:pt x="479" y="135"/>
                      </a:lnTo>
                      <a:lnTo>
                        <a:pt x="481" y="135"/>
                      </a:lnTo>
                      <a:lnTo>
                        <a:pt x="481" y="133"/>
                      </a:lnTo>
                      <a:lnTo>
                        <a:pt x="483" y="133"/>
                      </a:lnTo>
                      <a:lnTo>
                        <a:pt x="485" y="133"/>
                      </a:lnTo>
                      <a:lnTo>
                        <a:pt x="487" y="133"/>
                      </a:lnTo>
                      <a:lnTo>
                        <a:pt x="487" y="131"/>
                      </a:lnTo>
                      <a:lnTo>
                        <a:pt x="489" y="131"/>
                      </a:lnTo>
                      <a:lnTo>
                        <a:pt x="491" y="129"/>
                      </a:lnTo>
                      <a:lnTo>
                        <a:pt x="491" y="128"/>
                      </a:lnTo>
                      <a:lnTo>
                        <a:pt x="492" y="128"/>
                      </a:lnTo>
                      <a:lnTo>
                        <a:pt x="492" y="126"/>
                      </a:lnTo>
                      <a:lnTo>
                        <a:pt x="492" y="124"/>
                      </a:lnTo>
                      <a:lnTo>
                        <a:pt x="494" y="124"/>
                      </a:lnTo>
                      <a:lnTo>
                        <a:pt x="496" y="124"/>
                      </a:lnTo>
                      <a:lnTo>
                        <a:pt x="498" y="124"/>
                      </a:lnTo>
                      <a:lnTo>
                        <a:pt x="500" y="124"/>
                      </a:lnTo>
                      <a:lnTo>
                        <a:pt x="502" y="124"/>
                      </a:lnTo>
                      <a:lnTo>
                        <a:pt x="504" y="124"/>
                      </a:lnTo>
                      <a:lnTo>
                        <a:pt x="506" y="124"/>
                      </a:lnTo>
                      <a:lnTo>
                        <a:pt x="507" y="124"/>
                      </a:lnTo>
                      <a:lnTo>
                        <a:pt x="509" y="124"/>
                      </a:lnTo>
                      <a:lnTo>
                        <a:pt x="511" y="124"/>
                      </a:lnTo>
                      <a:lnTo>
                        <a:pt x="513" y="124"/>
                      </a:lnTo>
                      <a:lnTo>
                        <a:pt x="515" y="124"/>
                      </a:lnTo>
                      <a:lnTo>
                        <a:pt x="517" y="124"/>
                      </a:lnTo>
                      <a:lnTo>
                        <a:pt x="519" y="124"/>
                      </a:lnTo>
                      <a:lnTo>
                        <a:pt x="519" y="122"/>
                      </a:lnTo>
                      <a:lnTo>
                        <a:pt x="519" y="124"/>
                      </a:lnTo>
                      <a:lnTo>
                        <a:pt x="521" y="124"/>
                      </a:lnTo>
                      <a:lnTo>
                        <a:pt x="523" y="124"/>
                      </a:lnTo>
                      <a:lnTo>
                        <a:pt x="524" y="124"/>
                      </a:lnTo>
                      <a:lnTo>
                        <a:pt x="526" y="124"/>
                      </a:lnTo>
                      <a:lnTo>
                        <a:pt x="528" y="124"/>
                      </a:lnTo>
                      <a:lnTo>
                        <a:pt x="530" y="124"/>
                      </a:lnTo>
                      <a:lnTo>
                        <a:pt x="532" y="124"/>
                      </a:lnTo>
                      <a:lnTo>
                        <a:pt x="532" y="126"/>
                      </a:lnTo>
                      <a:lnTo>
                        <a:pt x="534" y="126"/>
                      </a:lnTo>
                      <a:lnTo>
                        <a:pt x="534" y="128"/>
                      </a:lnTo>
                      <a:lnTo>
                        <a:pt x="536" y="128"/>
                      </a:lnTo>
                      <a:lnTo>
                        <a:pt x="538" y="128"/>
                      </a:lnTo>
                      <a:lnTo>
                        <a:pt x="539" y="128"/>
                      </a:lnTo>
                      <a:lnTo>
                        <a:pt x="541" y="128"/>
                      </a:lnTo>
                      <a:lnTo>
                        <a:pt x="541" y="126"/>
                      </a:lnTo>
                      <a:lnTo>
                        <a:pt x="543" y="126"/>
                      </a:lnTo>
                      <a:lnTo>
                        <a:pt x="545" y="126"/>
                      </a:lnTo>
                      <a:lnTo>
                        <a:pt x="545" y="124"/>
                      </a:lnTo>
                      <a:lnTo>
                        <a:pt x="547" y="124"/>
                      </a:lnTo>
                      <a:lnTo>
                        <a:pt x="547" y="122"/>
                      </a:lnTo>
                      <a:lnTo>
                        <a:pt x="549" y="122"/>
                      </a:lnTo>
                      <a:lnTo>
                        <a:pt x="549" y="120"/>
                      </a:lnTo>
                      <a:lnTo>
                        <a:pt x="551" y="120"/>
                      </a:lnTo>
                      <a:lnTo>
                        <a:pt x="553" y="120"/>
                      </a:lnTo>
                      <a:lnTo>
                        <a:pt x="555" y="120"/>
                      </a:lnTo>
                      <a:lnTo>
                        <a:pt x="556" y="120"/>
                      </a:lnTo>
                      <a:lnTo>
                        <a:pt x="558" y="120"/>
                      </a:lnTo>
                      <a:lnTo>
                        <a:pt x="560" y="120"/>
                      </a:lnTo>
                      <a:lnTo>
                        <a:pt x="562" y="120"/>
                      </a:lnTo>
                      <a:lnTo>
                        <a:pt x="562" y="122"/>
                      </a:lnTo>
                      <a:lnTo>
                        <a:pt x="564" y="122"/>
                      </a:lnTo>
                      <a:lnTo>
                        <a:pt x="564" y="120"/>
                      </a:lnTo>
                      <a:lnTo>
                        <a:pt x="566" y="120"/>
                      </a:lnTo>
                      <a:lnTo>
                        <a:pt x="568" y="120"/>
                      </a:lnTo>
                      <a:lnTo>
                        <a:pt x="570" y="120"/>
                      </a:lnTo>
                      <a:lnTo>
                        <a:pt x="571" y="118"/>
                      </a:lnTo>
                      <a:lnTo>
                        <a:pt x="573" y="118"/>
                      </a:lnTo>
                      <a:lnTo>
                        <a:pt x="573" y="116"/>
                      </a:lnTo>
                      <a:lnTo>
                        <a:pt x="575" y="116"/>
                      </a:lnTo>
                      <a:lnTo>
                        <a:pt x="575" y="114"/>
                      </a:lnTo>
                      <a:lnTo>
                        <a:pt x="577" y="114"/>
                      </a:lnTo>
                      <a:lnTo>
                        <a:pt x="577" y="112"/>
                      </a:lnTo>
                      <a:lnTo>
                        <a:pt x="579" y="112"/>
                      </a:lnTo>
                      <a:lnTo>
                        <a:pt x="581" y="112"/>
                      </a:lnTo>
                      <a:lnTo>
                        <a:pt x="583" y="112"/>
                      </a:lnTo>
                      <a:lnTo>
                        <a:pt x="585" y="111"/>
                      </a:lnTo>
                      <a:lnTo>
                        <a:pt x="585" y="109"/>
                      </a:lnTo>
                      <a:lnTo>
                        <a:pt x="586" y="109"/>
                      </a:lnTo>
                      <a:lnTo>
                        <a:pt x="588" y="107"/>
                      </a:lnTo>
                      <a:lnTo>
                        <a:pt x="590" y="107"/>
                      </a:lnTo>
                      <a:lnTo>
                        <a:pt x="592" y="107"/>
                      </a:lnTo>
                      <a:lnTo>
                        <a:pt x="592" y="105"/>
                      </a:lnTo>
                      <a:lnTo>
                        <a:pt x="594" y="105"/>
                      </a:lnTo>
                      <a:lnTo>
                        <a:pt x="596" y="105"/>
                      </a:lnTo>
                      <a:lnTo>
                        <a:pt x="598" y="105"/>
                      </a:lnTo>
                      <a:lnTo>
                        <a:pt x="600" y="105"/>
                      </a:lnTo>
                      <a:lnTo>
                        <a:pt x="602" y="103"/>
                      </a:lnTo>
                      <a:lnTo>
                        <a:pt x="603" y="103"/>
                      </a:lnTo>
                      <a:lnTo>
                        <a:pt x="605" y="103"/>
                      </a:lnTo>
                      <a:lnTo>
                        <a:pt x="607" y="103"/>
                      </a:lnTo>
                      <a:lnTo>
                        <a:pt x="609" y="103"/>
                      </a:lnTo>
                      <a:lnTo>
                        <a:pt x="611" y="101"/>
                      </a:lnTo>
                      <a:lnTo>
                        <a:pt x="613" y="101"/>
                      </a:lnTo>
                      <a:lnTo>
                        <a:pt x="615" y="101"/>
                      </a:lnTo>
                      <a:lnTo>
                        <a:pt x="617" y="101"/>
                      </a:lnTo>
                      <a:lnTo>
                        <a:pt x="618" y="101"/>
                      </a:lnTo>
                      <a:lnTo>
                        <a:pt x="618" y="99"/>
                      </a:lnTo>
                      <a:lnTo>
                        <a:pt x="618" y="97"/>
                      </a:lnTo>
                      <a:lnTo>
                        <a:pt x="618" y="96"/>
                      </a:lnTo>
                      <a:lnTo>
                        <a:pt x="617" y="96"/>
                      </a:lnTo>
                      <a:lnTo>
                        <a:pt x="617" y="94"/>
                      </a:lnTo>
                      <a:lnTo>
                        <a:pt x="618" y="94"/>
                      </a:lnTo>
                      <a:lnTo>
                        <a:pt x="620" y="92"/>
                      </a:lnTo>
                      <a:lnTo>
                        <a:pt x="622" y="92"/>
                      </a:lnTo>
                      <a:lnTo>
                        <a:pt x="624" y="90"/>
                      </a:lnTo>
                      <a:lnTo>
                        <a:pt x="626" y="90"/>
                      </a:lnTo>
                      <a:lnTo>
                        <a:pt x="628" y="90"/>
                      </a:lnTo>
                      <a:lnTo>
                        <a:pt x="630" y="90"/>
                      </a:lnTo>
                      <a:lnTo>
                        <a:pt x="632" y="90"/>
                      </a:lnTo>
                      <a:lnTo>
                        <a:pt x="634" y="90"/>
                      </a:lnTo>
                      <a:lnTo>
                        <a:pt x="635" y="90"/>
                      </a:lnTo>
                      <a:lnTo>
                        <a:pt x="635" y="92"/>
                      </a:lnTo>
                      <a:lnTo>
                        <a:pt x="637" y="92"/>
                      </a:lnTo>
                      <a:lnTo>
                        <a:pt x="637" y="94"/>
                      </a:lnTo>
                      <a:lnTo>
                        <a:pt x="639" y="94"/>
                      </a:lnTo>
                      <a:lnTo>
                        <a:pt x="641" y="94"/>
                      </a:lnTo>
                      <a:lnTo>
                        <a:pt x="641" y="92"/>
                      </a:lnTo>
                      <a:lnTo>
                        <a:pt x="641" y="90"/>
                      </a:lnTo>
                      <a:lnTo>
                        <a:pt x="643" y="90"/>
                      </a:lnTo>
                      <a:lnTo>
                        <a:pt x="643" y="88"/>
                      </a:lnTo>
                      <a:lnTo>
                        <a:pt x="645" y="88"/>
                      </a:lnTo>
                      <a:lnTo>
                        <a:pt x="645" y="86"/>
                      </a:lnTo>
                      <a:lnTo>
                        <a:pt x="647" y="86"/>
                      </a:lnTo>
                      <a:lnTo>
                        <a:pt x="647" y="84"/>
                      </a:lnTo>
                      <a:lnTo>
                        <a:pt x="647" y="82"/>
                      </a:lnTo>
                      <a:lnTo>
                        <a:pt x="649" y="82"/>
                      </a:lnTo>
                      <a:lnTo>
                        <a:pt x="649" y="80"/>
                      </a:lnTo>
                      <a:lnTo>
                        <a:pt x="649" y="79"/>
                      </a:lnTo>
                      <a:lnTo>
                        <a:pt x="649" y="77"/>
                      </a:lnTo>
                      <a:lnTo>
                        <a:pt x="650" y="77"/>
                      </a:lnTo>
                      <a:lnTo>
                        <a:pt x="650" y="75"/>
                      </a:lnTo>
                      <a:lnTo>
                        <a:pt x="650" y="73"/>
                      </a:lnTo>
                      <a:lnTo>
                        <a:pt x="652" y="73"/>
                      </a:lnTo>
                      <a:lnTo>
                        <a:pt x="652" y="71"/>
                      </a:lnTo>
                      <a:lnTo>
                        <a:pt x="654" y="71"/>
                      </a:lnTo>
                      <a:lnTo>
                        <a:pt x="654" y="69"/>
                      </a:lnTo>
                      <a:lnTo>
                        <a:pt x="654" y="67"/>
                      </a:lnTo>
                      <a:lnTo>
                        <a:pt x="654" y="65"/>
                      </a:lnTo>
                      <a:lnTo>
                        <a:pt x="652" y="65"/>
                      </a:lnTo>
                      <a:lnTo>
                        <a:pt x="652" y="64"/>
                      </a:lnTo>
                      <a:lnTo>
                        <a:pt x="652" y="62"/>
                      </a:lnTo>
                      <a:lnTo>
                        <a:pt x="652" y="60"/>
                      </a:lnTo>
                      <a:lnTo>
                        <a:pt x="652" y="58"/>
                      </a:lnTo>
                      <a:lnTo>
                        <a:pt x="652" y="56"/>
                      </a:lnTo>
                      <a:lnTo>
                        <a:pt x="652" y="54"/>
                      </a:lnTo>
                      <a:lnTo>
                        <a:pt x="652" y="52"/>
                      </a:lnTo>
                      <a:lnTo>
                        <a:pt x="652" y="50"/>
                      </a:lnTo>
                      <a:lnTo>
                        <a:pt x="654" y="50"/>
                      </a:lnTo>
                      <a:lnTo>
                        <a:pt x="654" y="48"/>
                      </a:lnTo>
                      <a:lnTo>
                        <a:pt x="656" y="48"/>
                      </a:lnTo>
                      <a:lnTo>
                        <a:pt x="656" y="47"/>
                      </a:lnTo>
                      <a:lnTo>
                        <a:pt x="656" y="45"/>
                      </a:lnTo>
                      <a:lnTo>
                        <a:pt x="658" y="45"/>
                      </a:lnTo>
                      <a:lnTo>
                        <a:pt x="660" y="43"/>
                      </a:lnTo>
                      <a:lnTo>
                        <a:pt x="662" y="43"/>
                      </a:lnTo>
                      <a:lnTo>
                        <a:pt x="662" y="41"/>
                      </a:lnTo>
                      <a:lnTo>
                        <a:pt x="662" y="39"/>
                      </a:lnTo>
                      <a:lnTo>
                        <a:pt x="662" y="37"/>
                      </a:lnTo>
                      <a:lnTo>
                        <a:pt x="664" y="37"/>
                      </a:lnTo>
                      <a:lnTo>
                        <a:pt x="665" y="37"/>
                      </a:lnTo>
                      <a:lnTo>
                        <a:pt x="665" y="35"/>
                      </a:lnTo>
                      <a:lnTo>
                        <a:pt x="664" y="33"/>
                      </a:lnTo>
                      <a:lnTo>
                        <a:pt x="664" y="32"/>
                      </a:lnTo>
                      <a:lnTo>
                        <a:pt x="664" y="30"/>
                      </a:lnTo>
                      <a:lnTo>
                        <a:pt x="665" y="30"/>
                      </a:lnTo>
                      <a:lnTo>
                        <a:pt x="665" y="28"/>
                      </a:lnTo>
                      <a:lnTo>
                        <a:pt x="667" y="28"/>
                      </a:lnTo>
                      <a:lnTo>
                        <a:pt x="667" y="30"/>
                      </a:lnTo>
                      <a:lnTo>
                        <a:pt x="669" y="28"/>
                      </a:lnTo>
                      <a:lnTo>
                        <a:pt x="669" y="26"/>
                      </a:lnTo>
                      <a:lnTo>
                        <a:pt x="671" y="26"/>
                      </a:lnTo>
                      <a:lnTo>
                        <a:pt x="673" y="26"/>
                      </a:lnTo>
                      <a:lnTo>
                        <a:pt x="675" y="26"/>
                      </a:lnTo>
                      <a:lnTo>
                        <a:pt x="677" y="26"/>
                      </a:lnTo>
                      <a:lnTo>
                        <a:pt x="679" y="26"/>
                      </a:lnTo>
                      <a:lnTo>
                        <a:pt x="681" y="26"/>
                      </a:lnTo>
                      <a:lnTo>
                        <a:pt x="682" y="26"/>
                      </a:lnTo>
                      <a:lnTo>
                        <a:pt x="684" y="26"/>
                      </a:lnTo>
                      <a:lnTo>
                        <a:pt x="686" y="26"/>
                      </a:lnTo>
                      <a:lnTo>
                        <a:pt x="688" y="24"/>
                      </a:lnTo>
                      <a:lnTo>
                        <a:pt x="690" y="24"/>
                      </a:lnTo>
                      <a:lnTo>
                        <a:pt x="692" y="24"/>
                      </a:lnTo>
                      <a:lnTo>
                        <a:pt x="694" y="24"/>
                      </a:lnTo>
                      <a:lnTo>
                        <a:pt x="696" y="24"/>
                      </a:lnTo>
                      <a:lnTo>
                        <a:pt x="697" y="26"/>
                      </a:lnTo>
                      <a:lnTo>
                        <a:pt x="699" y="26"/>
                      </a:lnTo>
                      <a:lnTo>
                        <a:pt x="701" y="24"/>
                      </a:lnTo>
                      <a:lnTo>
                        <a:pt x="703" y="24"/>
                      </a:lnTo>
                      <a:lnTo>
                        <a:pt x="703" y="22"/>
                      </a:lnTo>
                      <a:lnTo>
                        <a:pt x="705" y="22"/>
                      </a:lnTo>
                      <a:lnTo>
                        <a:pt x="705" y="20"/>
                      </a:lnTo>
                      <a:lnTo>
                        <a:pt x="707" y="20"/>
                      </a:lnTo>
                      <a:lnTo>
                        <a:pt x="707" y="18"/>
                      </a:lnTo>
                      <a:lnTo>
                        <a:pt x="709" y="18"/>
                      </a:lnTo>
                      <a:lnTo>
                        <a:pt x="709" y="16"/>
                      </a:lnTo>
                      <a:lnTo>
                        <a:pt x="711" y="16"/>
                      </a:lnTo>
                      <a:lnTo>
                        <a:pt x="713" y="16"/>
                      </a:lnTo>
                      <a:lnTo>
                        <a:pt x="714" y="16"/>
                      </a:lnTo>
                      <a:lnTo>
                        <a:pt x="716" y="16"/>
                      </a:lnTo>
                      <a:lnTo>
                        <a:pt x="716" y="15"/>
                      </a:lnTo>
                      <a:lnTo>
                        <a:pt x="718" y="15"/>
                      </a:lnTo>
                      <a:lnTo>
                        <a:pt x="720" y="15"/>
                      </a:lnTo>
                      <a:lnTo>
                        <a:pt x="722" y="16"/>
                      </a:lnTo>
                      <a:lnTo>
                        <a:pt x="724" y="16"/>
                      </a:lnTo>
                      <a:lnTo>
                        <a:pt x="726" y="18"/>
                      </a:lnTo>
                      <a:lnTo>
                        <a:pt x="728" y="18"/>
                      </a:lnTo>
                      <a:lnTo>
                        <a:pt x="729" y="18"/>
                      </a:lnTo>
                      <a:lnTo>
                        <a:pt x="731" y="18"/>
                      </a:lnTo>
                      <a:lnTo>
                        <a:pt x="733" y="18"/>
                      </a:lnTo>
                      <a:lnTo>
                        <a:pt x="733" y="16"/>
                      </a:lnTo>
                      <a:lnTo>
                        <a:pt x="735" y="16"/>
                      </a:lnTo>
                      <a:lnTo>
                        <a:pt x="735" y="18"/>
                      </a:lnTo>
                      <a:lnTo>
                        <a:pt x="737" y="16"/>
                      </a:lnTo>
                      <a:lnTo>
                        <a:pt x="739" y="16"/>
                      </a:lnTo>
                      <a:lnTo>
                        <a:pt x="739" y="18"/>
                      </a:lnTo>
                      <a:lnTo>
                        <a:pt x="741" y="18"/>
                      </a:lnTo>
                      <a:lnTo>
                        <a:pt x="743" y="16"/>
                      </a:lnTo>
                      <a:lnTo>
                        <a:pt x="743" y="18"/>
                      </a:lnTo>
                      <a:lnTo>
                        <a:pt x="744" y="18"/>
                      </a:lnTo>
                      <a:lnTo>
                        <a:pt x="744" y="20"/>
                      </a:lnTo>
                      <a:lnTo>
                        <a:pt x="744" y="22"/>
                      </a:lnTo>
                      <a:lnTo>
                        <a:pt x="746" y="22"/>
                      </a:lnTo>
                      <a:lnTo>
                        <a:pt x="748" y="22"/>
                      </a:lnTo>
                      <a:lnTo>
                        <a:pt x="748" y="20"/>
                      </a:lnTo>
                      <a:lnTo>
                        <a:pt x="750" y="18"/>
                      </a:lnTo>
                      <a:lnTo>
                        <a:pt x="750" y="20"/>
                      </a:lnTo>
                      <a:lnTo>
                        <a:pt x="752" y="20"/>
                      </a:lnTo>
                      <a:lnTo>
                        <a:pt x="754" y="20"/>
                      </a:lnTo>
                      <a:lnTo>
                        <a:pt x="756" y="20"/>
                      </a:lnTo>
                      <a:lnTo>
                        <a:pt x="758" y="20"/>
                      </a:lnTo>
                      <a:lnTo>
                        <a:pt x="758" y="18"/>
                      </a:lnTo>
                      <a:lnTo>
                        <a:pt x="760" y="18"/>
                      </a:lnTo>
                      <a:lnTo>
                        <a:pt x="761" y="18"/>
                      </a:lnTo>
                      <a:lnTo>
                        <a:pt x="761" y="16"/>
                      </a:lnTo>
                      <a:lnTo>
                        <a:pt x="763" y="16"/>
                      </a:lnTo>
                      <a:lnTo>
                        <a:pt x="765" y="16"/>
                      </a:lnTo>
                      <a:lnTo>
                        <a:pt x="765" y="15"/>
                      </a:lnTo>
                      <a:lnTo>
                        <a:pt x="767" y="15"/>
                      </a:lnTo>
                      <a:lnTo>
                        <a:pt x="769" y="15"/>
                      </a:lnTo>
                      <a:lnTo>
                        <a:pt x="769" y="13"/>
                      </a:lnTo>
                      <a:lnTo>
                        <a:pt x="771" y="13"/>
                      </a:lnTo>
                      <a:lnTo>
                        <a:pt x="773" y="13"/>
                      </a:lnTo>
                      <a:lnTo>
                        <a:pt x="776" y="13"/>
                      </a:lnTo>
                      <a:lnTo>
                        <a:pt x="778" y="13"/>
                      </a:lnTo>
                      <a:lnTo>
                        <a:pt x="778" y="11"/>
                      </a:lnTo>
                      <a:lnTo>
                        <a:pt x="780" y="11"/>
                      </a:lnTo>
                      <a:lnTo>
                        <a:pt x="782" y="11"/>
                      </a:lnTo>
                      <a:lnTo>
                        <a:pt x="784" y="11"/>
                      </a:lnTo>
                      <a:lnTo>
                        <a:pt x="784" y="13"/>
                      </a:lnTo>
                      <a:lnTo>
                        <a:pt x="786" y="13"/>
                      </a:lnTo>
                      <a:lnTo>
                        <a:pt x="788" y="13"/>
                      </a:lnTo>
                      <a:lnTo>
                        <a:pt x="790" y="13"/>
                      </a:lnTo>
                      <a:lnTo>
                        <a:pt x="790" y="15"/>
                      </a:lnTo>
                      <a:lnTo>
                        <a:pt x="792" y="15"/>
                      </a:lnTo>
                      <a:lnTo>
                        <a:pt x="793" y="15"/>
                      </a:lnTo>
                      <a:lnTo>
                        <a:pt x="795" y="15"/>
                      </a:lnTo>
                      <a:lnTo>
                        <a:pt x="797" y="15"/>
                      </a:lnTo>
                      <a:lnTo>
                        <a:pt x="797" y="13"/>
                      </a:lnTo>
                      <a:lnTo>
                        <a:pt x="797" y="11"/>
                      </a:lnTo>
                      <a:lnTo>
                        <a:pt x="797" y="9"/>
                      </a:lnTo>
                      <a:lnTo>
                        <a:pt x="799" y="9"/>
                      </a:lnTo>
                      <a:lnTo>
                        <a:pt x="799" y="7"/>
                      </a:lnTo>
                      <a:lnTo>
                        <a:pt x="801" y="7"/>
                      </a:lnTo>
                      <a:lnTo>
                        <a:pt x="803" y="7"/>
                      </a:lnTo>
                      <a:lnTo>
                        <a:pt x="805" y="7"/>
                      </a:lnTo>
                      <a:lnTo>
                        <a:pt x="807" y="7"/>
                      </a:lnTo>
                      <a:lnTo>
                        <a:pt x="808" y="5"/>
                      </a:lnTo>
                      <a:lnTo>
                        <a:pt x="810" y="5"/>
                      </a:lnTo>
                      <a:lnTo>
                        <a:pt x="812" y="5"/>
                      </a:lnTo>
                      <a:lnTo>
                        <a:pt x="812" y="7"/>
                      </a:lnTo>
                      <a:lnTo>
                        <a:pt x="814" y="7"/>
                      </a:lnTo>
                      <a:lnTo>
                        <a:pt x="814" y="9"/>
                      </a:lnTo>
                      <a:lnTo>
                        <a:pt x="816" y="9"/>
                      </a:lnTo>
                      <a:lnTo>
                        <a:pt x="818" y="9"/>
                      </a:lnTo>
                      <a:lnTo>
                        <a:pt x="818" y="7"/>
                      </a:lnTo>
                      <a:lnTo>
                        <a:pt x="820" y="7"/>
                      </a:lnTo>
                      <a:lnTo>
                        <a:pt x="820" y="5"/>
                      </a:lnTo>
                      <a:lnTo>
                        <a:pt x="820" y="3"/>
                      </a:lnTo>
                      <a:lnTo>
                        <a:pt x="822" y="3"/>
                      </a:lnTo>
                      <a:lnTo>
                        <a:pt x="823" y="3"/>
                      </a:lnTo>
                      <a:lnTo>
                        <a:pt x="823" y="1"/>
                      </a:lnTo>
                      <a:lnTo>
                        <a:pt x="825" y="1"/>
                      </a:lnTo>
                      <a:lnTo>
                        <a:pt x="827" y="1"/>
                      </a:lnTo>
                      <a:lnTo>
                        <a:pt x="827" y="0"/>
                      </a:lnTo>
                      <a:lnTo>
                        <a:pt x="829" y="0"/>
                      </a:lnTo>
                      <a:lnTo>
                        <a:pt x="831" y="1"/>
                      </a:lnTo>
                      <a:lnTo>
                        <a:pt x="831" y="3"/>
                      </a:lnTo>
                      <a:lnTo>
                        <a:pt x="833" y="3"/>
                      </a:lnTo>
                      <a:lnTo>
                        <a:pt x="835" y="3"/>
                      </a:lnTo>
                      <a:lnTo>
                        <a:pt x="837" y="3"/>
                      </a:lnTo>
                      <a:lnTo>
                        <a:pt x="839" y="3"/>
                      </a:lnTo>
                      <a:lnTo>
                        <a:pt x="840" y="3"/>
                      </a:lnTo>
                      <a:lnTo>
                        <a:pt x="842" y="5"/>
                      </a:lnTo>
                      <a:lnTo>
                        <a:pt x="844" y="5"/>
                      </a:lnTo>
                      <a:lnTo>
                        <a:pt x="846" y="5"/>
                      </a:lnTo>
                      <a:lnTo>
                        <a:pt x="848" y="5"/>
                      </a:lnTo>
                      <a:lnTo>
                        <a:pt x="850" y="5"/>
                      </a:lnTo>
                      <a:lnTo>
                        <a:pt x="852" y="5"/>
                      </a:lnTo>
                      <a:lnTo>
                        <a:pt x="854" y="5"/>
                      </a:lnTo>
                      <a:lnTo>
                        <a:pt x="855" y="5"/>
                      </a:lnTo>
                      <a:lnTo>
                        <a:pt x="857" y="5"/>
                      </a:lnTo>
                      <a:lnTo>
                        <a:pt x="859" y="5"/>
                      </a:lnTo>
                      <a:lnTo>
                        <a:pt x="861" y="7"/>
                      </a:lnTo>
                      <a:lnTo>
                        <a:pt x="863" y="7"/>
                      </a:lnTo>
                      <a:lnTo>
                        <a:pt x="865" y="9"/>
                      </a:lnTo>
                      <a:lnTo>
                        <a:pt x="865" y="11"/>
                      </a:lnTo>
                      <a:lnTo>
                        <a:pt x="867" y="11"/>
                      </a:lnTo>
                      <a:lnTo>
                        <a:pt x="869" y="13"/>
                      </a:lnTo>
                      <a:lnTo>
                        <a:pt x="871" y="13"/>
                      </a:lnTo>
                      <a:lnTo>
                        <a:pt x="872" y="13"/>
                      </a:lnTo>
                      <a:lnTo>
                        <a:pt x="872" y="15"/>
                      </a:lnTo>
                      <a:lnTo>
                        <a:pt x="874" y="15"/>
                      </a:lnTo>
                      <a:lnTo>
                        <a:pt x="876" y="15"/>
                      </a:lnTo>
                      <a:lnTo>
                        <a:pt x="880" y="15"/>
                      </a:lnTo>
                      <a:lnTo>
                        <a:pt x="882" y="15"/>
                      </a:lnTo>
                      <a:lnTo>
                        <a:pt x="884" y="16"/>
                      </a:lnTo>
                      <a:lnTo>
                        <a:pt x="884" y="18"/>
                      </a:lnTo>
                      <a:lnTo>
                        <a:pt x="886" y="18"/>
                      </a:lnTo>
                      <a:lnTo>
                        <a:pt x="887" y="18"/>
                      </a:lnTo>
                      <a:lnTo>
                        <a:pt x="887" y="20"/>
                      </a:lnTo>
                      <a:lnTo>
                        <a:pt x="889" y="20"/>
                      </a:lnTo>
                      <a:lnTo>
                        <a:pt x="889" y="18"/>
                      </a:lnTo>
                      <a:lnTo>
                        <a:pt x="891" y="18"/>
                      </a:lnTo>
                      <a:lnTo>
                        <a:pt x="893" y="18"/>
                      </a:lnTo>
                      <a:lnTo>
                        <a:pt x="895" y="18"/>
                      </a:lnTo>
                      <a:lnTo>
                        <a:pt x="897" y="18"/>
                      </a:lnTo>
                      <a:lnTo>
                        <a:pt x="899" y="18"/>
                      </a:lnTo>
                      <a:lnTo>
                        <a:pt x="901" y="20"/>
                      </a:lnTo>
                      <a:lnTo>
                        <a:pt x="902" y="22"/>
                      </a:lnTo>
                      <a:lnTo>
                        <a:pt x="904" y="24"/>
                      </a:lnTo>
                      <a:lnTo>
                        <a:pt x="906" y="24"/>
                      </a:lnTo>
                      <a:lnTo>
                        <a:pt x="906" y="26"/>
                      </a:lnTo>
                      <a:lnTo>
                        <a:pt x="908" y="26"/>
                      </a:lnTo>
                      <a:lnTo>
                        <a:pt x="908" y="28"/>
                      </a:lnTo>
                      <a:lnTo>
                        <a:pt x="910" y="28"/>
                      </a:lnTo>
                      <a:lnTo>
                        <a:pt x="912" y="28"/>
                      </a:lnTo>
                      <a:lnTo>
                        <a:pt x="914" y="28"/>
                      </a:lnTo>
                      <a:lnTo>
                        <a:pt x="916" y="30"/>
                      </a:lnTo>
                      <a:lnTo>
                        <a:pt x="916" y="28"/>
                      </a:lnTo>
                      <a:lnTo>
                        <a:pt x="918" y="28"/>
                      </a:lnTo>
                      <a:lnTo>
                        <a:pt x="919" y="28"/>
                      </a:lnTo>
                      <a:lnTo>
                        <a:pt x="921" y="28"/>
                      </a:lnTo>
                      <a:lnTo>
                        <a:pt x="921" y="30"/>
                      </a:lnTo>
                      <a:lnTo>
                        <a:pt x="921" y="32"/>
                      </a:lnTo>
                      <a:lnTo>
                        <a:pt x="921" y="33"/>
                      </a:lnTo>
                      <a:lnTo>
                        <a:pt x="921" y="35"/>
                      </a:lnTo>
                      <a:lnTo>
                        <a:pt x="923" y="35"/>
                      </a:lnTo>
                      <a:lnTo>
                        <a:pt x="925" y="37"/>
                      </a:lnTo>
                      <a:lnTo>
                        <a:pt x="927" y="35"/>
                      </a:lnTo>
                      <a:lnTo>
                        <a:pt x="929" y="35"/>
                      </a:lnTo>
                      <a:lnTo>
                        <a:pt x="931" y="35"/>
                      </a:lnTo>
                      <a:lnTo>
                        <a:pt x="931" y="37"/>
                      </a:lnTo>
                      <a:lnTo>
                        <a:pt x="933" y="37"/>
                      </a:lnTo>
                      <a:lnTo>
                        <a:pt x="933" y="39"/>
                      </a:lnTo>
                      <a:lnTo>
                        <a:pt x="934" y="39"/>
                      </a:lnTo>
                      <a:lnTo>
                        <a:pt x="936" y="41"/>
                      </a:lnTo>
                      <a:lnTo>
                        <a:pt x="938" y="43"/>
                      </a:lnTo>
                      <a:lnTo>
                        <a:pt x="940" y="43"/>
                      </a:lnTo>
                      <a:lnTo>
                        <a:pt x="942" y="45"/>
                      </a:lnTo>
                      <a:lnTo>
                        <a:pt x="944" y="47"/>
                      </a:lnTo>
                      <a:lnTo>
                        <a:pt x="946" y="48"/>
                      </a:lnTo>
                      <a:lnTo>
                        <a:pt x="948" y="50"/>
                      </a:lnTo>
                      <a:lnTo>
                        <a:pt x="950" y="52"/>
                      </a:lnTo>
                      <a:lnTo>
                        <a:pt x="951" y="52"/>
                      </a:lnTo>
                      <a:lnTo>
                        <a:pt x="951" y="50"/>
                      </a:lnTo>
                      <a:lnTo>
                        <a:pt x="953" y="50"/>
                      </a:lnTo>
                      <a:lnTo>
                        <a:pt x="953" y="48"/>
                      </a:lnTo>
                      <a:lnTo>
                        <a:pt x="955" y="48"/>
                      </a:lnTo>
                      <a:lnTo>
                        <a:pt x="957" y="48"/>
                      </a:lnTo>
                      <a:lnTo>
                        <a:pt x="959" y="48"/>
                      </a:lnTo>
                      <a:lnTo>
                        <a:pt x="961" y="48"/>
                      </a:lnTo>
                      <a:lnTo>
                        <a:pt x="963" y="48"/>
                      </a:lnTo>
                      <a:lnTo>
                        <a:pt x="965" y="47"/>
                      </a:lnTo>
                      <a:lnTo>
                        <a:pt x="966" y="47"/>
                      </a:lnTo>
                      <a:lnTo>
                        <a:pt x="968" y="47"/>
                      </a:lnTo>
                      <a:lnTo>
                        <a:pt x="970" y="47"/>
                      </a:lnTo>
                      <a:lnTo>
                        <a:pt x="972" y="47"/>
                      </a:lnTo>
                      <a:lnTo>
                        <a:pt x="974" y="47"/>
                      </a:lnTo>
                      <a:lnTo>
                        <a:pt x="976" y="47"/>
                      </a:lnTo>
                      <a:lnTo>
                        <a:pt x="976" y="48"/>
                      </a:lnTo>
                      <a:lnTo>
                        <a:pt x="978" y="48"/>
                      </a:lnTo>
                      <a:lnTo>
                        <a:pt x="978" y="50"/>
                      </a:lnTo>
                      <a:lnTo>
                        <a:pt x="980" y="52"/>
                      </a:lnTo>
                      <a:lnTo>
                        <a:pt x="981" y="52"/>
                      </a:lnTo>
                      <a:lnTo>
                        <a:pt x="981" y="54"/>
                      </a:lnTo>
                      <a:lnTo>
                        <a:pt x="983" y="54"/>
                      </a:lnTo>
                      <a:lnTo>
                        <a:pt x="983" y="56"/>
                      </a:lnTo>
                      <a:lnTo>
                        <a:pt x="985" y="58"/>
                      </a:lnTo>
                      <a:lnTo>
                        <a:pt x="985" y="60"/>
                      </a:lnTo>
                      <a:lnTo>
                        <a:pt x="987" y="62"/>
                      </a:lnTo>
                      <a:lnTo>
                        <a:pt x="987" y="64"/>
                      </a:lnTo>
                      <a:lnTo>
                        <a:pt x="989" y="64"/>
                      </a:lnTo>
                      <a:lnTo>
                        <a:pt x="991" y="64"/>
                      </a:lnTo>
                      <a:lnTo>
                        <a:pt x="993" y="64"/>
                      </a:lnTo>
                      <a:lnTo>
                        <a:pt x="995" y="64"/>
                      </a:lnTo>
                      <a:lnTo>
                        <a:pt x="997" y="62"/>
                      </a:lnTo>
                      <a:lnTo>
                        <a:pt x="998" y="62"/>
                      </a:lnTo>
                      <a:lnTo>
                        <a:pt x="1000" y="62"/>
                      </a:lnTo>
                      <a:lnTo>
                        <a:pt x="1002" y="62"/>
                      </a:lnTo>
                      <a:lnTo>
                        <a:pt x="1004" y="62"/>
                      </a:lnTo>
                      <a:lnTo>
                        <a:pt x="1006" y="62"/>
                      </a:lnTo>
                      <a:lnTo>
                        <a:pt x="1008" y="62"/>
                      </a:lnTo>
                      <a:lnTo>
                        <a:pt x="1010" y="62"/>
                      </a:lnTo>
                      <a:lnTo>
                        <a:pt x="1012" y="62"/>
                      </a:lnTo>
                      <a:lnTo>
                        <a:pt x="1013" y="62"/>
                      </a:lnTo>
                      <a:lnTo>
                        <a:pt x="1013" y="64"/>
                      </a:lnTo>
                      <a:lnTo>
                        <a:pt x="1013" y="62"/>
                      </a:lnTo>
                      <a:lnTo>
                        <a:pt x="1015" y="62"/>
                      </a:lnTo>
                      <a:lnTo>
                        <a:pt x="1017" y="62"/>
                      </a:lnTo>
                      <a:lnTo>
                        <a:pt x="1019" y="62"/>
                      </a:lnTo>
                      <a:lnTo>
                        <a:pt x="1019" y="60"/>
                      </a:lnTo>
                      <a:lnTo>
                        <a:pt x="1021" y="60"/>
                      </a:lnTo>
                      <a:lnTo>
                        <a:pt x="1023" y="60"/>
                      </a:lnTo>
                      <a:lnTo>
                        <a:pt x="1025" y="60"/>
                      </a:lnTo>
                      <a:lnTo>
                        <a:pt x="1027" y="60"/>
                      </a:lnTo>
                      <a:lnTo>
                        <a:pt x="1029" y="58"/>
                      </a:lnTo>
                      <a:lnTo>
                        <a:pt x="1030" y="58"/>
                      </a:lnTo>
                      <a:lnTo>
                        <a:pt x="1032" y="58"/>
                      </a:lnTo>
                      <a:lnTo>
                        <a:pt x="1032" y="56"/>
                      </a:lnTo>
                      <a:lnTo>
                        <a:pt x="1034" y="56"/>
                      </a:lnTo>
                      <a:lnTo>
                        <a:pt x="1036" y="56"/>
                      </a:lnTo>
                      <a:lnTo>
                        <a:pt x="1036" y="54"/>
                      </a:lnTo>
                      <a:lnTo>
                        <a:pt x="1038" y="54"/>
                      </a:lnTo>
                      <a:lnTo>
                        <a:pt x="1040" y="54"/>
                      </a:lnTo>
                      <a:lnTo>
                        <a:pt x="1040" y="52"/>
                      </a:lnTo>
                      <a:lnTo>
                        <a:pt x="1042" y="52"/>
                      </a:lnTo>
                      <a:lnTo>
                        <a:pt x="1044" y="52"/>
                      </a:lnTo>
                      <a:lnTo>
                        <a:pt x="1044" y="54"/>
                      </a:lnTo>
                      <a:lnTo>
                        <a:pt x="1045" y="54"/>
                      </a:lnTo>
                      <a:lnTo>
                        <a:pt x="1047" y="54"/>
                      </a:lnTo>
                      <a:lnTo>
                        <a:pt x="1049" y="54"/>
                      </a:lnTo>
                      <a:lnTo>
                        <a:pt x="1051" y="56"/>
                      </a:lnTo>
                      <a:lnTo>
                        <a:pt x="1053" y="56"/>
                      </a:lnTo>
                      <a:lnTo>
                        <a:pt x="1055" y="56"/>
                      </a:lnTo>
                      <a:lnTo>
                        <a:pt x="1057" y="58"/>
                      </a:lnTo>
                      <a:lnTo>
                        <a:pt x="1059" y="58"/>
                      </a:lnTo>
                      <a:lnTo>
                        <a:pt x="1059" y="56"/>
                      </a:lnTo>
                      <a:lnTo>
                        <a:pt x="1060" y="56"/>
                      </a:lnTo>
                      <a:lnTo>
                        <a:pt x="1060" y="54"/>
                      </a:lnTo>
                      <a:lnTo>
                        <a:pt x="1062" y="54"/>
                      </a:lnTo>
                      <a:lnTo>
                        <a:pt x="1064" y="54"/>
                      </a:lnTo>
                      <a:lnTo>
                        <a:pt x="1066" y="54"/>
                      </a:lnTo>
                      <a:lnTo>
                        <a:pt x="1068" y="54"/>
                      </a:lnTo>
                      <a:lnTo>
                        <a:pt x="1070" y="54"/>
                      </a:lnTo>
                      <a:lnTo>
                        <a:pt x="1072" y="54"/>
                      </a:lnTo>
                      <a:lnTo>
                        <a:pt x="1072" y="56"/>
                      </a:lnTo>
                      <a:lnTo>
                        <a:pt x="1074" y="56"/>
                      </a:lnTo>
                      <a:lnTo>
                        <a:pt x="1076" y="58"/>
                      </a:lnTo>
                      <a:lnTo>
                        <a:pt x="1077" y="58"/>
                      </a:lnTo>
                      <a:lnTo>
                        <a:pt x="1079" y="58"/>
                      </a:lnTo>
                      <a:lnTo>
                        <a:pt x="1079" y="56"/>
                      </a:lnTo>
                      <a:lnTo>
                        <a:pt x="1081" y="56"/>
                      </a:lnTo>
                      <a:lnTo>
                        <a:pt x="1081" y="54"/>
                      </a:lnTo>
                      <a:lnTo>
                        <a:pt x="1083" y="54"/>
                      </a:lnTo>
                      <a:lnTo>
                        <a:pt x="1083" y="52"/>
                      </a:lnTo>
                      <a:lnTo>
                        <a:pt x="1085" y="52"/>
                      </a:lnTo>
                      <a:lnTo>
                        <a:pt x="1087" y="52"/>
                      </a:lnTo>
                      <a:lnTo>
                        <a:pt x="1089" y="52"/>
                      </a:lnTo>
                      <a:lnTo>
                        <a:pt x="1091" y="52"/>
                      </a:lnTo>
                      <a:lnTo>
                        <a:pt x="1092" y="52"/>
                      </a:lnTo>
                      <a:lnTo>
                        <a:pt x="1094" y="52"/>
                      </a:lnTo>
                      <a:lnTo>
                        <a:pt x="1096" y="52"/>
                      </a:lnTo>
                      <a:lnTo>
                        <a:pt x="1098" y="52"/>
                      </a:lnTo>
                      <a:lnTo>
                        <a:pt x="1100" y="52"/>
                      </a:lnTo>
                      <a:lnTo>
                        <a:pt x="1102" y="52"/>
                      </a:lnTo>
                      <a:lnTo>
                        <a:pt x="1104" y="50"/>
                      </a:lnTo>
                      <a:lnTo>
                        <a:pt x="1106" y="50"/>
                      </a:lnTo>
                      <a:lnTo>
                        <a:pt x="1107" y="50"/>
                      </a:lnTo>
                      <a:lnTo>
                        <a:pt x="1109" y="50"/>
                      </a:lnTo>
                      <a:lnTo>
                        <a:pt x="1111" y="50"/>
                      </a:lnTo>
                      <a:lnTo>
                        <a:pt x="1113" y="50"/>
                      </a:lnTo>
                      <a:lnTo>
                        <a:pt x="1115" y="50"/>
                      </a:lnTo>
                      <a:lnTo>
                        <a:pt x="1115" y="48"/>
                      </a:lnTo>
                      <a:lnTo>
                        <a:pt x="1117" y="48"/>
                      </a:lnTo>
                      <a:lnTo>
                        <a:pt x="1119" y="48"/>
                      </a:lnTo>
                      <a:lnTo>
                        <a:pt x="1121" y="48"/>
                      </a:lnTo>
                      <a:lnTo>
                        <a:pt x="1123" y="48"/>
                      </a:lnTo>
                      <a:lnTo>
                        <a:pt x="1124" y="47"/>
                      </a:lnTo>
                      <a:lnTo>
                        <a:pt x="1126" y="47"/>
                      </a:lnTo>
                      <a:lnTo>
                        <a:pt x="1128" y="47"/>
                      </a:lnTo>
                      <a:lnTo>
                        <a:pt x="1130" y="47"/>
                      </a:lnTo>
                      <a:lnTo>
                        <a:pt x="1132" y="47"/>
                      </a:lnTo>
                      <a:lnTo>
                        <a:pt x="1134" y="47"/>
                      </a:lnTo>
                      <a:lnTo>
                        <a:pt x="1136" y="47"/>
                      </a:lnTo>
                      <a:lnTo>
                        <a:pt x="1136" y="48"/>
                      </a:lnTo>
                      <a:lnTo>
                        <a:pt x="1138" y="48"/>
                      </a:lnTo>
                      <a:lnTo>
                        <a:pt x="1139" y="48"/>
                      </a:lnTo>
                      <a:lnTo>
                        <a:pt x="1141" y="48"/>
                      </a:lnTo>
                      <a:lnTo>
                        <a:pt x="1141" y="50"/>
                      </a:lnTo>
                      <a:lnTo>
                        <a:pt x="1143" y="50"/>
                      </a:lnTo>
                      <a:lnTo>
                        <a:pt x="1143" y="48"/>
                      </a:lnTo>
                      <a:lnTo>
                        <a:pt x="1145" y="48"/>
                      </a:lnTo>
                      <a:lnTo>
                        <a:pt x="1147" y="47"/>
                      </a:lnTo>
                      <a:lnTo>
                        <a:pt x="1149" y="48"/>
                      </a:lnTo>
                      <a:lnTo>
                        <a:pt x="1151" y="48"/>
                      </a:lnTo>
                      <a:lnTo>
                        <a:pt x="1153" y="48"/>
                      </a:lnTo>
                      <a:lnTo>
                        <a:pt x="1155" y="48"/>
                      </a:lnTo>
                      <a:lnTo>
                        <a:pt x="1156" y="50"/>
                      </a:lnTo>
                      <a:lnTo>
                        <a:pt x="1156" y="52"/>
                      </a:lnTo>
                      <a:lnTo>
                        <a:pt x="1158" y="52"/>
                      </a:lnTo>
                      <a:lnTo>
                        <a:pt x="1160" y="52"/>
                      </a:lnTo>
                      <a:lnTo>
                        <a:pt x="1162" y="52"/>
                      </a:lnTo>
                      <a:lnTo>
                        <a:pt x="1164" y="52"/>
                      </a:lnTo>
                      <a:lnTo>
                        <a:pt x="1164" y="54"/>
                      </a:lnTo>
                      <a:lnTo>
                        <a:pt x="1166" y="54"/>
                      </a:lnTo>
                      <a:lnTo>
                        <a:pt x="1166" y="56"/>
                      </a:lnTo>
                      <a:lnTo>
                        <a:pt x="1168" y="56"/>
                      </a:lnTo>
                      <a:lnTo>
                        <a:pt x="1170" y="56"/>
                      </a:lnTo>
                      <a:lnTo>
                        <a:pt x="1170" y="54"/>
                      </a:lnTo>
                      <a:lnTo>
                        <a:pt x="1171" y="54"/>
                      </a:lnTo>
                      <a:lnTo>
                        <a:pt x="1171" y="52"/>
                      </a:lnTo>
                      <a:lnTo>
                        <a:pt x="1173" y="52"/>
                      </a:lnTo>
                      <a:lnTo>
                        <a:pt x="1173" y="54"/>
                      </a:lnTo>
                      <a:lnTo>
                        <a:pt x="1175" y="54"/>
                      </a:lnTo>
                      <a:lnTo>
                        <a:pt x="1177" y="54"/>
                      </a:lnTo>
                      <a:lnTo>
                        <a:pt x="1177" y="56"/>
                      </a:lnTo>
                      <a:lnTo>
                        <a:pt x="1179" y="56"/>
                      </a:lnTo>
                      <a:lnTo>
                        <a:pt x="1181" y="56"/>
                      </a:lnTo>
                      <a:lnTo>
                        <a:pt x="1181" y="58"/>
                      </a:lnTo>
                      <a:lnTo>
                        <a:pt x="1183" y="58"/>
                      </a:lnTo>
                      <a:lnTo>
                        <a:pt x="1185" y="58"/>
                      </a:lnTo>
                      <a:lnTo>
                        <a:pt x="1185" y="60"/>
                      </a:lnTo>
                      <a:lnTo>
                        <a:pt x="1186" y="60"/>
                      </a:lnTo>
                      <a:lnTo>
                        <a:pt x="1188" y="60"/>
                      </a:lnTo>
                      <a:lnTo>
                        <a:pt x="1190" y="60"/>
                      </a:lnTo>
                      <a:lnTo>
                        <a:pt x="1190" y="62"/>
                      </a:lnTo>
                      <a:lnTo>
                        <a:pt x="1192" y="62"/>
                      </a:lnTo>
                      <a:lnTo>
                        <a:pt x="1194" y="62"/>
                      </a:lnTo>
                      <a:lnTo>
                        <a:pt x="1196" y="62"/>
                      </a:lnTo>
                      <a:lnTo>
                        <a:pt x="1198" y="62"/>
                      </a:lnTo>
                      <a:lnTo>
                        <a:pt x="1200" y="60"/>
                      </a:lnTo>
                      <a:lnTo>
                        <a:pt x="1202" y="60"/>
                      </a:lnTo>
                      <a:lnTo>
                        <a:pt x="1203" y="60"/>
                      </a:lnTo>
                      <a:lnTo>
                        <a:pt x="1203" y="58"/>
                      </a:lnTo>
                      <a:lnTo>
                        <a:pt x="1205" y="58"/>
                      </a:lnTo>
                      <a:lnTo>
                        <a:pt x="1207" y="58"/>
                      </a:lnTo>
                      <a:lnTo>
                        <a:pt x="1209" y="58"/>
                      </a:lnTo>
                      <a:lnTo>
                        <a:pt x="1211" y="56"/>
                      </a:lnTo>
                      <a:lnTo>
                        <a:pt x="1213" y="56"/>
                      </a:lnTo>
                      <a:lnTo>
                        <a:pt x="1215" y="56"/>
                      </a:lnTo>
                      <a:lnTo>
                        <a:pt x="1217" y="58"/>
                      </a:lnTo>
                      <a:lnTo>
                        <a:pt x="1218" y="58"/>
                      </a:lnTo>
                      <a:lnTo>
                        <a:pt x="1218" y="60"/>
                      </a:lnTo>
                      <a:lnTo>
                        <a:pt x="1220" y="60"/>
                      </a:lnTo>
                      <a:lnTo>
                        <a:pt x="1220" y="62"/>
                      </a:lnTo>
                      <a:lnTo>
                        <a:pt x="1222" y="64"/>
                      </a:lnTo>
                      <a:lnTo>
                        <a:pt x="1222" y="65"/>
                      </a:lnTo>
                      <a:lnTo>
                        <a:pt x="1224" y="65"/>
                      </a:lnTo>
                      <a:lnTo>
                        <a:pt x="1224" y="67"/>
                      </a:lnTo>
                      <a:lnTo>
                        <a:pt x="1226" y="67"/>
                      </a:lnTo>
                      <a:lnTo>
                        <a:pt x="1228" y="67"/>
                      </a:lnTo>
                      <a:lnTo>
                        <a:pt x="1230" y="67"/>
                      </a:lnTo>
                      <a:lnTo>
                        <a:pt x="1232" y="67"/>
                      </a:lnTo>
                      <a:lnTo>
                        <a:pt x="1234" y="65"/>
                      </a:lnTo>
                      <a:lnTo>
                        <a:pt x="1235" y="65"/>
                      </a:lnTo>
                      <a:lnTo>
                        <a:pt x="1237" y="65"/>
                      </a:lnTo>
                      <a:lnTo>
                        <a:pt x="1239" y="65"/>
                      </a:lnTo>
                      <a:lnTo>
                        <a:pt x="1239" y="67"/>
                      </a:lnTo>
                      <a:lnTo>
                        <a:pt x="1241" y="67"/>
                      </a:lnTo>
                      <a:lnTo>
                        <a:pt x="1241" y="69"/>
                      </a:lnTo>
                      <a:lnTo>
                        <a:pt x="1243" y="69"/>
                      </a:lnTo>
                      <a:lnTo>
                        <a:pt x="1243" y="71"/>
                      </a:lnTo>
                      <a:lnTo>
                        <a:pt x="1243" y="73"/>
                      </a:lnTo>
                      <a:lnTo>
                        <a:pt x="1243" y="75"/>
                      </a:lnTo>
                      <a:lnTo>
                        <a:pt x="1245" y="75"/>
                      </a:lnTo>
                      <a:lnTo>
                        <a:pt x="1245" y="77"/>
                      </a:lnTo>
                      <a:lnTo>
                        <a:pt x="1245" y="79"/>
                      </a:lnTo>
                      <a:lnTo>
                        <a:pt x="1247" y="79"/>
                      </a:lnTo>
                      <a:lnTo>
                        <a:pt x="1249" y="79"/>
                      </a:lnTo>
                      <a:lnTo>
                        <a:pt x="1249" y="80"/>
                      </a:lnTo>
                      <a:lnTo>
                        <a:pt x="1250" y="82"/>
                      </a:lnTo>
                      <a:lnTo>
                        <a:pt x="1250" y="84"/>
                      </a:lnTo>
                      <a:lnTo>
                        <a:pt x="1260" y="112"/>
                      </a:lnTo>
                      <a:lnTo>
                        <a:pt x="1260" y="116"/>
                      </a:lnTo>
                      <a:lnTo>
                        <a:pt x="1294" y="222"/>
                      </a:lnTo>
                      <a:lnTo>
                        <a:pt x="1311" y="280"/>
                      </a:lnTo>
                      <a:lnTo>
                        <a:pt x="1316" y="297"/>
                      </a:lnTo>
                      <a:lnTo>
                        <a:pt x="1316" y="305"/>
                      </a:lnTo>
                      <a:lnTo>
                        <a:pt x="1314" y="305"/>
                      </a:lnTo>
                      <a:lnTo>
                        <a:pt x="1314" y="306"/>
                      </a:lnTo>
                      <a:lnTo>
                        <a:pt x="1314" y="318"/>
                      </a:lnTo>
                      <a:lnTo>
                        <a:pt x="1313" y="357"/>
                      </a:lnTo>
                      <a:lnTo>
                        <a:pt x="1314" y="376"/>
                      </a:lnTo>
                      <a:lnTo>
                        <a:pt x="1343" y="406"/>
                      </a:lnTo>
                      <a:lnTo>
                        <a:pt x="1348" y="417"/>
                      </a:lnTo>
                      <a:lnTo>
                        <a:pt x="1350" y="444"/>
                      </a:lnTo>
                      <a:lnTo>
                        <a:pt x="1369" y="489"/>
                      </a:lnTo>
                      <a:lnTo>
                        <a:pt x="1397" y="508"/>
                      </a:lnTo>
                      <a:lnTo>
                        <a:pt x="1397" y="510"/>
                      </a:lnTo>
                      <a:lnTo>
                        <a:pt x="1397" y="512"/>
                      </a:lnTo>
                      <a:lnTo>
                        <a:pt x="1397" y="517"/>
                      </a:lnTo>
                      <a:close/>
                    </a:path>
                  </a:pathLst>
                </a:custGeom>
                <a:solidFill>
                  <a:srgbClr val="CDFFCD"/>
                </a:solidFill>
                <a:ln w="9525">
                  <a:solidFill>
                    <a:schemeClr val="accent6"/>
                  </a:solidFill>
                  <a:round/>
                  <a:headEnd/>
                  <a:tailEnd/>
                </a:ln>
              </p:spPr>
              <p:txBody>
                <a:bodyPr vert="horz" wrap="square" lIns="89614" tIns="44807" rIns="89614" bIns="44807" numCol="1" anchor="t" anchorCtr="0" compatLnSpc="1">
                  <a:prstTxWarp prst="textNoShape">
                    <a:avLst/>
                  </a:prstTxWarp>
                </a:bodyPr>
                <a:lstStyle/>
                <a:p>
                  <a:pPr fontAlgn="base">
                    <a:spcBef>
                      <a:spcPct val="0"/>
                    </a:spcBef>
                    <a:spcAft>
                      <a:spcPct val="0"/>
                    </a:spcAft>
                  </a:pPr>
                  <a:endParaRPr lang="en-US" sz="1568" dirty="0">
                    <a:solidFill>
                      <a:srgbClr val="000000"/>
                    </a:solidFill>
                  </a:endParaRPr>
                </a:p>
              </p:txBody>
            </p:sp>
            <p:sp>
              <p:nvSpPr>
                <p:cNvPr id="54" name="Freeform 38"/>
                <p:cNvSpPr>
                  <a:spLocks/>
                </p:cNvSpPr>
                <p:nvPr/>
              </p:nvSpPr>
              <p:spPr bwMode="auto">
                <a:xfrm>
                  <a:off x="1093788" y="1614488"/>
                  <a:ext cx="3687763" cy="3795713"/>
                </a:xfrm>
                <a:custGeom>
                  <a:avLst/>
                  <a:gdLst>
                    <a:gd name="T0" fmla="*/ 1913 w 2323"/>
                    <a:gd name="T1" fmla="*/ 600 h 2391"/>
                    <a:gd name="T2" fmla="*/ 2039 w 2323"/>
                    <a:gd name="T3" fmla="*/ 858 h 2391"/>
                    <a:gd name="T4" fmla="*/ 2087 w 2323"/>
                    <a:gd name="T5" fmla="*/ 905 h 2391"/>
                    <a:gd name="T6" fmla="*/ 2101 w 2323"/>
                    <a:gd name="T7" fmla="*/ 830 h 2391"/>
                    <a:gd name="T8" fmla="*/ 2144 w 2323"/>
                    <a:gd name="T9" fmla="*/ 898 h 2391"/>
                    <a:gd name="T10" fmla="*/ 2016 w 2323"/>
                    <a:gd name="T11" fmla="*/ 1406 h 2391"/>
                    <a:gd name="T12" fmla="*/ 2072 w 2323"/>
                    <a:gd name="T13" fmla="*/ 1474 h 2391"/>
                    <a:gd name="T14" fmla="*/ 2134 w 2323"/>
                    <a:gd name="T15" fmla="*/ 1532 h 2391"/>
                    <a:gd name="T16" fmla="*/ 2193 w 2323"/>
                    <a:gd name="T17" fmla="*/ 1598 h 2391"/>
                    <a:gd name="T18" fmla="*/ 2245 w 2323"/>
                    <a:gd name="T19" fmla="*/ 1660 h 2391"/>
                    <a:gd name="T20" fmla="*/ 2304 w 2323"/>
                    <a:gd name="T21" fmla="*/ 1728 h 2391"/>
                    <a:gd name="T22" fmla="*/ 2227 w 2323"/>
                    <a:gd name="T23" fmla="*/ 1877 h 2391"/>
                    <a:gd name="T24" fmla="*/ 2039 w 2323"/>
                    <a:gd name="T25" fmla="*/ 2018 h 2391"/>
                    <a:gd name="T26" fmla="*/ 1841 w 2323"/>
                    <a:gd name="T27" fmla="*/ 2001 h 2391"/>
                    <a:gd name="T28" fmla="*/ 1568 w 2323"/>
                    <a:gd name="T29" fmla="*/ 2035 h 2391"/>
                    <a:gd name="T30" fmla="*/ 1358 w 2323"/>
                    <a:gd name="T31" fmla="*/ 2176 h 2391"/>
                    <a:gd name="T32" fmla="*/ 1057 w 2323"/>
                    <a:gd name="T33" fmla="*/ 2385 h 2391"/>
                    <a:gd name="T34" fmla="*/ 872 w 2323"/>
                    <a:gd name="T35" fmla="*/ 2221 h 2391"/>
                    <a:gd name="T36" fmla="*/ 775 w 2323"/>
                    <a:gd name="T37" fmla="*/ 2182 h 2391"/>
                    <a:gd name="T38" fmla="*/ 677 w 2323"/>
                    <a:gd name="T39" fmla="*/ 2074 h 2391"/>
                    <a:gd name="T40" fmla="*/ 673 w 2323"/>
                    <a:gd name="T41" fmla="*/ 1984 h 2391"/>
                    <a:gd name="T42" fmla="*/ 588 w 2323"/>
                    <a:gd name="T43" fmla="*/ 1677 h 2391"/>
                    <a:gd name="T44" fmla="*/ 376 w 2323"/>
                    <a:gd name="T45" fmla="*/ 1807 h 2391"/>
                    <a:gd name="T46" fmla="*/ 301 w 2323"/>
                    <a:gd name="T47" fmla="*/ 1788 h 2391"/>
                    <a:gd name="T48" fmla="*/ 261 w 2323"/>
                    <a:gd name="T49" fmla="*/ 1713 h 2391"/>
                    <a:gd name="T50" fmla="*/ 223 w 2323"/>
                    <a:gd name="T51" fmla="*/ 1632 h 2391"/>
                    <a:gd name="T52" fmla="*/ 188 w 2323"/>
                    <a:gd name="T53" fmla="*/ 1549 h 2391"/>
                    <a:gd name="T54" fmla="*/ 161 w 2323"/>
                    <a:gd name="T55" fmla="*/ 1462 h 2391"/>
                    <a:gd name="T56" fmla="*/ 139 w 2323"/>
                    <a:gd name="T57" fmla="*/ 1368 h 2391"/>
                    <a:gd name="T58" fmla="*/ 99 w 2323"/>
                    <a:gd name="T59" fmla="*/ 1280 h 2391"/>
                    <a:gd name="T60" fmla="*/ 56 w 2323"/>
                    <a:gd name="T61" fmla="*/ 1189 h 2391"/>
                    <a:gd name="T62" fmla="*/ 13 w 2323"/>
                    <a:gd name="T63" fmla="*/ 1118 h 2391"/>
                    <a:gd name="T64" fmla="*/ 54 w 2323"/>
                    <a:gd name="T65" fmla="*/ 1060 h 2391"/>
                    <a:gd name="T66" fmla="*/ 77 w 2323"/>
                    <a:gd name="T67" fmla="*/ 1003 h 2391"/>
                    <a:gd name="T68" fmla="*/ 111 w 2323"/>
                    <a:gd name="T69" fmla="*/ 962 h 2391"/>
                    <a:gd name="T70" fmla="*/ 175 w 2323"/>
                    <a:gd name="T71" fmla="*/ 950 h 2391"/>
                    <a:gd name="T72" fmla="*/ 229 w 2323"/>
                    <a:gd name="T73" fmla="*/ 994 h 2391"/>
                    <a:gd name="T74" fmla="*/ 233 w 2323"/>
                    <a:gd name="T75" fmla="*/ 1073 h 2391"/>
                    <a:gd name="T76" fmla="*/ 267 w 2323"/>
                    <a:gd name="T77" fmla="*/ 1125 h 2391"/>
                    <a:gd name="T78" fmla="*/ 333 w 2323"/>
                    <a:gd name="T79" fmla="*/ 1139 h 2391"/>
                    <a:gd name="T80" fmla="*/ 413 w 2323"/>
                    <a:gd name="T81" fmla="*/ 1176 h 2391"/>
                    <a:gd name="T82" fmla="*/ 504 w 2323"/>
                    <a:gd name="T83" fmla="*/ 1186 h 2391"/>
                    <a:gd name="T84" fmla="*/ 594 w 2323"/>
                    <a:gd name="T85" fmla="*/ 1169 h 2391"/>
                    <a:gd name="T86" fmla="*/ 669 w 2323"/>
                    <a:gd name="T87" fmla="*/ 1203 h 2391"/>
                    <a:gd name="T88" fmla="*/ 711 w 2323"/>
                    <a:gd name="T89" fmla="*/ 1161 h 2391"/>
                    <a:gd name="T90" fmla="*/ 776 w 2323"/>
                    <a:gd name="T91" fmla="*/ 1109 h 2391"/>
                    <a:gd name="T92" fmla="*/ 846 w 2323"/>
                    <a:gd name="T93" fmla="*/ 1067 h 2391"/>
                    <a:gd name="T94" fmla="*/ 904 w 2323"/>
                    <a:gd name="T95" fmla="*/ 350 h 2391"/>
                    <a:gd name="T96" fmla="*/ 959 w 2323"/>
                    <a:gd name="T97" fmla="*/ 39 h 2391"/>
                    <a:gd name="T98" fmla="*/ 1013 w 2323"/>
                    <a:gd name="T99" fmla="*/ 109 h 2391"/>
                    <a:gd name="T100" fmla="*/ 1044 w 2323"/>
                    <a:gd name="T101" fmla="*/ 160 h 2391"/>
                    <a:gd name="T102" fmla="*/ 1074 w 2323"/>
                    <a:gd name="T103" fmla="*/ 218 h 2391"/>
                    <a:gd name="T104" fmla="*/ 1100 w 2323"/>
                    <a:gd name="T105" fmla="*/ 288 h 2391"/>
                    <a:gd name="T106" fmla="*/ 1117 w 2323"/>
                    <a:gd name="T107" fmla="*/ 355 h 2391"/>
                    <a:gd name="T108" fmla="*/ 1098 w 2323"/>
                    <a:gd name="T109" fmla="*/ 435 h 2391"/>
                    <a:gd name="T110" fmla="*/ 1066 w 2323"/>
                    <a:gd name="T111" fmla="*/ 529 h 2391"/>
                    <a:gd name="T112" fmla="*/ 1081 w 2323"/>
                    <a:gd name="T113" fmla="*/ 608 h 2391"/>
                    <a:gd name="T114" fmla="*/ 1173 w 2323"/>
                    <a:gd name="T115" fmla="*/ 593 h 2391"/>
                    <a:gd name="T116" fmla="*/ 1273 w 2323"/>
                    <a:gd name="T117" fmla="*/ 585 h 2391"/>
                    <a:gd name="T118" fmla="*/ 1363 w 2323"/>
                    <a:gd name="T119" fmla="*/ 568 h 2391"/>
                    <a:gd name="T120" fmla="*/ 1437 w 2323"/>
                    <a:gd name="T121" fmla="*/ 515 h 2391"/>
                    <a:gd name="T122" fmla="*/ 1487 w 2323"/>
                    <a:gd name="T123" fmla="*/ 446 h 2391"/>
                    <a:gd name="T124" fmla="*/ 1559 w 2323"/>
                    <a:gd name="T125" fmla="*/ 412 h 2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3" h="2391">
                      <a:moveTo>
                        <a:pt x="1578" y="384"/>
                      </a:moveTo>
                      <a:lnTo>
                        <a:pt x="1595" y="384"/>
                      </a:lnTo>
                      <a:lnTo>
                        <a:pt x="1595" y="389"/>
                      </a:lnTo>
                      <a:lnTo>
                        <a:pt x="1597" y="391"/>
                      </a:lnTo>
                      <a:lnTo>
                        <a:pt x="1597" y="397"/>
                      </a:lnTo>
                      <a:lnTo>
                        <a:pt x="1597" y="401"/>
                      </a:lnTo>
                      <a:lnTo>
                        <a:pt x="1597" y="416"/>
                      </a:lnTo>
                      <a:lnTo>
                        <a:pt x="1597" y="421"/>
                      </a:lnTo>
                      <a:lnTo>
                        <a:pt x="1597" y="435"/>
                      </a:lnTo>
                      <a:lnTo>
                        <a:pt x="1597" y="451"/>
                      </a:lnTo>
                      <a:lnTo>
                        <a:pt x="1597" y="453"/>
                      </a:lnTo>
                      <a:lnTo>
                        <a:pt x="1597" y="467"/>
                      </a:lnTo>
                      <a:lnTo>
                        <a:pt x="1606" y="470"/>
                      </a:lnTo>
                      <a:lnTo>
                        <a:pt x="1621" y="478"/>
                      </a:lnTo>
                      <a:lnTo>
                        <a:pt x="1625" y="472"/>
                      </a:lnTo>
                      <a:lnTo>
                        <a:pt x="1630" y="461"/>
                      </a:lnTo>
                      <a:lnTo>
                        <a:pt x="1632" y="457"/>
                      </a:lnTo>
                      <a:lnTo>
                        <a:pt x="1642" y="423"/>
                      </a:lnTo>
                      <a:lnTo>
                        <a:pt x="1645" y="410"/>
                      </a:lnTo>
                      <a:lnTo>
                        <a:pt x="1647" y="391"/>
                      </a:lnTo>
                      <a:lnTo>
                        <a:pt x="1666" y="393"/>
                      </a:lnTo>
                      <a:lnTo>
                        <a:pt x="1668" y="374"/>
                      </a:lnTo>
                      <a:lnTo>
                        <a:pt x="1689" y="378"/>
                      </a:lnTo>
                      <a:lnTo>
                        <a:pt x="1694" y="361"/>
                      </a:lnTo>
                      <a:lnTo>
                        <a:pt x="1694" y="350"/>
                      </a:lnTo>
                      <a:lnTo>
                        <a:pt x="1694" y="344"/>
                      </a:lnTo>
                      <a:lnTo>
                        <a:pt x="1753" y="348"/>
                      </a:lnTo>
                      <a:lnTo>
                        <a:pt x="1770" y="352"/>
                      </a:lnTo>
                      <a:lnTo>
                        <a:pt x="1768" y="357"/>
                      </a:lnTo>
                      <a:lnTo>
                        <a:pt x="1762" y="374"/>
                      </a:lnTo>
                      <a:lnTo>
                        <a:pt x="1749" y="369"/>
                      </a:lnTo>
                      <a:lnTo>
                        <a:pt x="1730" y="365"/>
                      </a:lnTo>
                      <a:lnTo>
                        <a:pt x="1726" y="382"/>
                      </a:lnTo>
                      <a:lnTo>
                        <a:pt x="1736" y="382"/>
                      </a:lnTo>
                      <a:lnTo>
                        <a:pt x="1751" y="389"/>
                      </a:lnTo>
                      <a:lnTo>
                        <a:pt x="1739" y="408"/>
                      </a:lnTo>
                      <a:lnTo>
                        <a:pt x="1728" y="427"/>
                      </a:lnTo>
                      <a:lnTo>
                        <a:pt x="1743" y="446"/>
                      </a:lnTo>
                      <a:lnTo>
                        <a:pt x="1739" y="487"/>
                      </a:lnTo>
                      <a:lnTo>
                        <a:pt x="1790" y="500"/>
                      </a:lnTo>
                      <a:lnTo>
                        <a:pt x="1796" y="506"/>
                      </a:lnTo>
                      <a:lnTo>
                        <a:pt x="1798" y="508"/>
                      </a:lnTo>
                      <a:lnTo>
                        <a:pt x="1820" y="525"/>
                      </a:lnTo>
                      <a:lnTo>
                        <a:pt x="1811" y="538"/>
                      </a:lnTo>
                      <a:lnTo>
                        <a:pt x="1798" y="557"/>
                      </a:lnTo>
                      <a:lnTo>
                        <a:pt x="1796" y="561"/>
                      </a:lnTo>
                      <a:lnTo>
                        <a:pt x="1805" y="564"/>
                      </a:lnTo>
                      <a:lnTo>
                        <a:pt x="1817" y="570"/>
                      </a:lnTo>
                      <a:lnTo>
                        <a:pt x="1828" y="576"/>
                      </a:lnTo>
                      <a:lnTo>
                        <a:pt x="1837" y="579"/>
                      </a:lnTo>
                      <a:lnTo>
                        <a:pt x="1847" y="583"/>
                      </a:lnTo>
                      <a:lnTo>
                        <a:pt x="1856" y="587"/>
                      </a:lnTo>
                      <a:lnTo>
                        <a:pt x="1865" y="589"/>
                      </a:lnTo>
                      <a:lnTo>
                        <a:pt x="1869" y="591"/>
                      </a:lnTo>
                      <a:lnTo>
                        <a:pt x="1877" y="596"/>
                      </a:lnTo>
                      <a:lnTo>
                        <a:pt x="1881" y="598"/>
                      </a:lnTo>
                      <a:lnTo>
                        <a:pt x="1890" y="604"/>
                      </a:lnTo>
                      <a:lnTo>
                        <a:pt x="1894" y="595"/>
                      </a:lnTo>
                      <a:lnTo>
                        <a:pt x="1901" y="595"/>
                      </a:lnTo>
                      <a:lnTo>
                        <a:pt x="1905" y="595"/>
                      </a:lnTo>
                      <a:lnTo>
                        <a:pt x="1911" y="598"/>
                      </a:lnTo>
                      <a:lnTo>
                        <a:pt x="1911" y="600"/>
                      </a:lnTo>
                      <a:lnTo>
                        <a:pt x="1913" y="600"/>
                      </a:lnTo>
                      <a:lnTo>
                        <a:pt x="1914" y="602"/>
                      </a:lnTo>
                      <a:lnTo>
                        <a:pt x="1914" y="604"/>
                      </a:lnTo>
                      <a:lnTo>
                        <a:pt x="1916" y="606"/>
                      </a:lnTo>
                      <a:lnTo>
                        <a:pt x="1918" y="606"/>
                      </a:lnTo>
                      <a:lnTo>
                        <a:pt x="1920" y="604"/>
                      </a:lnTo>
                      <a:lnTo>
                        <a:pt x="1924" y="613"/>
                      </a:lnTo>
                      <a:lnTo>
                        <a:pt x="1926" y="615"/>
                      </a:lnTo>
                      <a:lnTo>
                        <a:pt x="1928" y="619"/>
                      </a:lnTo>
                      <a:lnTo>
                        <a:pt x="1933" y="634"/>
                      </a:lnTo>
                      <a:lnTo>
                        <a:pt x="1937" y="649"/>
                      </a:lnTo>
                      <a:lnTo>
                        <a:pt x="1937" y="651"/>
                      </a:lnTo>
                      <a:lnTo>
                        <a:pt x="1928" y="655"/>
                      </a:lnTo>
                      <a:lnTo>
                        <a:pt x="1920" y="659"/>
                      </a:lnTo>
                      <a:lnTo>
                        <a:pt x="1920" y="662"/>
                      </a:lnTo>
                      <a:lnTo>
                        <a:pt x="1920" y="664"/>
                      </a:lnTo>
                      <a:lnTo>
                        <a:pt x="1918" y="670"/>
                      </a:lnTo>
                      <a:lnTo>
                        <a:pt x="1914" y="674"/>
                      </a:lnTo>
                      <a:lnTo>
                        <a:pt x="1914" y="677"/>
                      </a:lnTo>
                      <a:lnTo>
                        <a:pt x="1911" y="683"/>
                      </a:lnTo>
                      <a:lnTo>
                        <a:pt x="1911" y="685"/>
                      </a:lnTo>
                      <a:lnTo>
                        <a:pt x="1909" y="687"/>
                      </a:lnTo>
                      <a:lnTo>
                        <a:pt x="1905" y="696"/>
                      </a:lnTo>
                      <a:lnTo>
                        <a:pt x="1903" y="700"/>
                      </a:lnTo>
                      <a:lnTo>
                        <a:pt x="1901" y="702"/>
                      </a:lnTo>
                      <a:lnTo>
                        <a:pt x="1901" y="708"/>
                      </a:lnTo>
                      <a:lnTo>
                        <a:pt x="1913" y="715"/>
                      </a:lnTo>
                      <a:lnTo>
                        <a:pt x="1914" y="717"/>
                      </a:lnTo>
                      <a:lnTo>
                        <a:pt x="1914" y="715"/>
                      </a:lnTo>
                      <a:lnTo>
                        <a:pt x="1918" y="719"/>
                      </a:lnTo>
                      <a:lnTo>
                        <a:pt x="1920" y="721"/>
                      </a:lnTo>
                      <a:lnTo>
                        <a:pt x="1931" y="728"/>
                      </a:lnTo>
                      <a:lnTo>
                        <a:pt x="1943" y="736"/>
                      </a:lnTo>
                      <a:lnTo>
                        <a:pt x="1944" y="738"/>
                      </a:lnTo>
                      <a:lnTo>
                        <a:pt x="1948" y="738"/>
                      </a:lnTo>
                      <a:lnTo>
                        <a:pt x="1941" y="758"/>
                      </a:lnTo>
                      <a:lnTo>
                        <a:pt x="1941" y="768"/>
                      </a:lnTo>
                      <a:lnTo>
                        <a:pt x="1941" y="777"/>
                      </a:lnTo>
                      <a:lnTo>
                        <a:pt x="1941" y="781"/>
                      </a:lnTo>
                      <a:lnTo>
                        <a:pt x="1941" y="783"/>
                      </a:lnTo>
                      <a:lnTo>
                        <a:pt x="1941" y="788"/>
                      </a:lnTo>
                      <a:lnTo>
                        <a:pt x="1939" y="796"/>
                      </a:lnTo>
                      <a:lnTo>
                        <a:pt x="1939" y="809"/>
                      </a:lnTo>
                      <a:lnTo>
                        <a:pt x="1956" y="813"/>
                      </a:lnTo>
                      <a:lnTo>
                        <a:pt x="1958" y="815"/>
                      </a:lnTo>
                      <a:lnTo>
                        <a:pt x="1954" y="822"/>
                      </a:lnTo>
                      <a:lnTo>
                        <a:pt x="1954" y="824"/>
                      </a:lnTo>
                      <a:lnTo>
                        <a:pt x="1954" y="826"/>
                      </a:lnTo>
                      <a:lnTo>
                        <a:pt x="1952" y="828"/>
                      </a:lnTo>
                      <a:lnTo>
                        <a:pt x="1952" y="830"/>
                      </a:lnTo>
                      <a:lnTo>
                        <a:pt x="1952" y="836"/>
                      </a:lnTo>
                      <a:lnTo>
                        <a:pt x="1950" y="837"/>
                      </a:lnTo>
                      <a:lnTo>
                        <a:pt x="1952" y="839"/>
                      </a:lnTo>
                      <a:lnTo>
                        <a:pt x="1956" y="849"/>
                      </a:lnTo>
                      <a:lnTo>
                        <a:pt x="1973" y="843"/>
                      </a:lnTo>
                      <a:lnTo>
                        <a:pt x="1982" y="841"/>
                      </a:lnTo>
                      <a:lnTo>
                        <a:pt x="2022" y="834"/>
                      </a:lnTo>
                      <a:lnTo>
                        <a:pt x="2025" y="832"/>
                      </a:lnTo>
                      <a:lnTo>
                        <a:pt x="2029" y="832"/>
                      </a:lnTo>
                      <a:lnTo>
                        <a:pt x="2031" y="832"/>
                      </a:lnTo>
                      <a:lnTo>
                        <a:pt x="2040" y="837"/>
                      </a:lnTo>
                      <a:lnTo>
                        <a:pt x="2033" y="852"/>
                      </a:lnTo>
                      <a:lnTo>
                        <a:pt x="2031" y="854"/>
                      </a:lnTo>
                      <a:lnTo>
                        <a:pt x="2039" y="858"/>
                      </a:lnTo>
                      <a:lnTo>
                        <a:pt x="2042" y="860"/>
                      </a:lnTo>
                      <a:lnTo>
                        <a:pt x="2040" y="868"/>
                      </a:lnTo>
                      <a:lnTo>
                        <a:pt x="2037" y="877"/>
                      </a:lnTo>
                      <a:lnTo>
                        <a:pt x="2031" y="877"/>
                      </a:lnTo>
                      <a:lnTo>
                        <a:pt x="2022" y="894"/>
                      </a:lnTo>
                      <a:lnTo>
                        <a:pt x="2020" y="896"/>
                      </a:lnTo>
                      <a:lnTo>
                        <a:pt x="2020" y="898"/>
                      </a:lnTo>
                      <a:lnTo>
                        <a:pt x="2027" y="907"/>
                      </a:lnTo>
                      <a:lnTo>
                        <a:pt x="2031" y="901"/>
                      </a:lnTo>
                      <a:lnTo>
                        <a:pt x="2042" y="913"/>
                      </a:lnTo>
                      <a:lnTo>
                        <a:pt x="2046" y="918"/>
                      </a:lnTo>
                      <a:lnTo>
                        <a:pt x="2046" y="922"/>
                      </a:lnTo>
                      <a:lnTo>
                        <a:pt x="2046" y="924"/>
                      </a:lnTo>
                      <a:lnTo>
                        <a:pt x="2044" y="926"/>
                      </a:lnTo>
                      <a:lnTo>
                        <a:pt x="2044" y="928"/>
                      </a:lnTo>
                      <a:lnTo>
                        <a:pt x="2040" y="933"/>
                      </a:lnTo>
                      <a:lnTo>
                        <a:pt x="2044" y="933"/>
                      </a:lnTo>
                      <a:lnTo>
                        <a:pt x="2046" y="933"/>
                      </a:lnTo>
                      <a:lnTo>
                        <a:pt x="2048" y="935"/>
                      </a:lnTo>
                      <a:lnTo>
                        <a:pt x="2054" y="941"/>
                      </a:lnTo>
                      <a:lnTo>
                        <a:pt x="2061" y="948"/>
                      </a:lnTo>
                      <a:lnTo>
                        <a:pt x="2063" y="950"/>
                      </a:lnTo>
                      <a:lnTo>
                        <a:pt x="2065" y="948"/>
                      </a:lnTo>
                      <a:lnTo>
                        <a:pt x="2067" y="947"/>
                      </a:lnTo>
                      <a:lnTo>
                        <a:pt x="2069" y="947"/>
                      </a:lnTo>
                      <a:lnTo>
                        <a:pt x="2069" y="945"/>
                      </a:lnTo>
                      <a:lnTo>
                        <a:pt x="2071" y="945"/>
                      </a:lnTo>
                      <a:lnTo>
                        <a:pt x="2071" y="943"/>
                      </a:lnTo>
                      <a:lnTo>
                        <a:pt x="2071" y="941"/>
                      </a:lnTo>
                      <a:lnTo>
                        <a:pt x="2071" y="939"/>
                      </a:lnTo>
                      <a:lnTo>
                        <a:pt x="2071" y="937"/>
                      </a:lnTo>
                      <a:lnTo>
                        <a:pt x="2069" y="937"/>
                      </a:lnTo>
                      <a:lnTo>
                        <a:pt x="2069" y="935"/>
                      </a:lnTo>
                      <a:lnTo>
                        <a:pt x="2071" y="935"/>
                      </a:lnTo>
                      <a:lnTo>
                        <a:pt x="2071" y="933"/>
                      </a:lnTo>
                      <a:lnTo>
                        <a:pt x="2072" y="933"/>
                      </a:lnTo>
                      <a:lnTo>
                        <a:pt x="2074" y="933"/>
                      </a:lnTo>
                      <a:lnTo>
                        <a:pt x="2076" y="932"/>
                      </a:lnTo>
                      <a:lnTo>
                        <a:pt x="2078" y="932"/>
                      </a:lnTo>
                      <a:lnTo>
                        <a:pt x="2080" y="932"/>
                      </a:lnTo>
                      <a:lnTo>
                        <a:pt x="2082" y="932"/>
                      </a:lnTo>
                      <a:lnTo>
                        <a:pt x="2084" y="932"/>
                      </a:lnTo>
                      <a:lnTo>
                        <a:pt x="2084" y="930"/>
                      </a:lnTo>
                      <a:lnTo>
                        <a:pt x="2084" y="928"/>
                      </a:lnTo>
                      <a:lnTo>
                        <a:pt x="2082" y="928"/>
                      </a:lnTo>
                      <a:lnTo>
                        <a:pt x="2082" y="926"/>
                      </a:lnTo>
                      <a:lnTo>
                        <a:pt x="2084" y="926"/>
                      </a:lnTo>
                      <a:lnTo>
                        <a:pt x="2086" y="924"/>
                      </a:lnTo>
                      <a:lnTo>
                        <a:pt x="2087" y="924"/>
                      </a:lnTo>
                      <a:lnTo>
                        <a:pt x="2087" y="922"/>
                      </a:lnTo>
                      <a:lnTo>
                        <a:pt x="2087" y="920"/>
                      </a:lnTo>
                      <a:lnTo>
                        <a:pt x="2086" y="920"/>
                      </a:lnTo>
                      <a:lnTo>
                        <a:pt x="2086" y="918"/>
                      </a:lnTo>
                      <a:lnTo>
                        <a:pt x="2086" y="916"/>
                      </a:lnTo>
                      <a:lnTo>
                        <a:pt x="2086" y="915"/>
                      </a:lnTo>
                      <a:lnTo>
                        <a:pt x="2087" y="915"/>
                      </a:lnTo>
                      <a:lnTo>
                        <a:pt x="2087" y="913"/>
                      </a:lnTo>
                      <a:lnTo>
                        <a:pt x="2086" y="913"/>
                      </a:lnTo>
                      <a:lnTo>
                        <a:pt x="2086" y="911"/>
                      </a:lnTo>
                      <a:lnTo>
                        <a:pt x="2086" y="909"/>
                      </a:lnTo>
                      <a:lnTo>
                        <a:pt x="2086" y="907"/>
                      </a:lnTo>
                      <a:lnTo>
                        <a:pt x="2087" y="907"/>
                      </a:lnTo>
                      <a:lnTo>
                        <a:pt x="2087" y="905"/>
                      </a:lnTo>
                      <a:lnTo>
                        <a:pt x="2087" y="903"/>
                      </a:lnTo>
                      <a:lnTo>
                        <a:pt x="2086" y="903"/>
                      </a:lnTo>
                      <a:lnTo>
                        <a:pt x="2086" y="901"/>
                      </a:lnTo>
                      <a:lnTo>
                        <a:pt x="2086" y="900"/>
                      </a:lnTo>
                      <a:lnTo>
                        <a:pt x="2084" y="900"/>
                      </a:lnTo>
                      <a:lnTo>
                        <a:pt x="2086" y="900"/>
                      </a:lnTo>
                      <a:lnTo>
                        <a:pt x="2084" y="900"/>
                      </a:lnTo>
                      <a:lnTo>
                        <a:pt x="2084" y="898"/>
                      </a:lnTo>
                      <a:lnTo>
                        <a:pt x="2082" y="898"/>
                      </a:lnTo>
                      <a:lnTo>
                        <a:pt x="2082" y="896"/>
                      </a:lnTo>
                      <a:lnTo>
                        <a:pt x="2082" y="894"/>
                      </a:lnTo>
                      <a:lnTo>
                        <a:pt x="2084" y="894"/>
                      </a:lnTo>
                      <a:lnTo>
                        <a:pt x="2084" y="896"/>
                      </a:lnTo>
                      <a:lnTo>
                        <a:pt x="2086" y="896"/>
                      </a:lnTo>
                      <a:lnTo>
                        <a:pt x="2087" y="896"/>
                      </a:lnTo>
                      <a:lnTo>
                        <a:pt x="2087" y="894"/>
                      </a:lnTo>
                      <a:lnTo>
                        <a:pt x="2087" y="892"/>
                      </a:lnTo>
                      <a:lnTo>
                        <a:pt x="2089" y="892"/>
                      </a:lnTo>
                      <a:lnTo>
                        <a:pt x="2091" y="890"/>
                      </a:lnTo>
                      <a:lnTo>
                        <a:pt x="2093" y="890"/>
                      </a:lnTo>
                      <a:lnTo>
                        <a:pt x="2093" y="888"/>
                      </a:lnTo>
                      <a:lnTo>
                        <a:pt x="2093" y="886"/>
                      </a:lnTo>
                      <a:lnTo>
                        <a:pt x="2093" y="884"/>
                      </a:lnTo>
                      <a:lnTo>
                        <a:pt x="2095" y="884"/>
                      </a:lnTo>
                      <a:lnTo>
                        <a:pt x="2095" y="883"/>
                      </a:lnTo>
                      <a:lnTo>
                        <a:pt x="2095" y="881"/>
                      </a:lnTo>
                      <a:lnTo>
                        <a:pt x="2097" y="881"/>
                      </a:lnTo>
                      <a:lnTo>
                        <a:pt x="2099" y="881"/>
                      </a:lnTo>
                      <a:lnTo>
                        <a:pt x="2101" y="881"/>
                      </a:lnTo>
                      <a:lnTo>
                        <a:pt x="2101" y="879"/>
                      </a:lnTo>
                      <a:lnTo>
                        <a:pt x="2101" y="881"/>
                      </a:lnTo>
                      <a:lnTo>
                        <a:pt x="2102" y="881"/>
                      </a:lnTo>
                      <a:lnTo>
                        <a:pt x="2102" y="879"/>
                      </a:lnTo>
                      <a:lnTo>
                        <a:pt x="2102" y="881"/>
                      </a:lnTo>
                      <a:lnTo>
                        <a:pt x="2104" y="879"/>
                      </a:lnTo>
                      <a:lnTo>
                        <a:pt x="2104" y="877"/>
                      </a:lnTo>
                      <a:lnTo>
                        <a:pt x="2102" y="877"/>
                      </a:lnTo>
                      <a:lnTo>
                        <a:pt x="2102" y="875"/>
                      </a:lnTo>
                      <a:lnTo>
                        <a:pt x="2104" y="875"/>
                      </a:lnTo>
                      <a:lnTo>
                        <a:pt x="2104" y="873"/>
                      </a:lnTo>
                      <a:lnTo>
                        <a:pt x="2106" y="873"/>
                      </a:lnTo>
                      <a:lnTo>
                        <a:pt x="2097" y="866"/>
                      </a:lnTo>
                      <a:lnTo>
                        <a:pt x="2095" y="864"/>
                      </a:lnTo>
                      <a:lnTo>
                        <a:pt x="2097" y="862"/>
                      </a:lnTo>
                      <a:lnTo>
                        <a:pt x="2099" y="860"/>
                      </a:lnTo>
                      <a:lnTo>
                        <a:pt x="2099" y="858"/>
                      </a:lnTo>
                      <a:lnTo>
                        <a:pt x="2099" y="856"/>
                      </a:lnTo>
                      <a:lnTo>
                        <a:pt x="2099" y="854"/>
                      </a:lnTo>
                      <a:lnTo>
                        <a:pt x="2101" y="849"/>
                      </a:lnTo>
                      <a:lnTo>
                        <a:pt x="2104" y="847"/>
                      </a:lnTo>
                      <a:lnTo>
                        <a:pt x="2104" y="843"/>
                      </a:lnTo>
                      <a:lnTo>
                        <a:pt x="2104" y="841"/>
                      </a:lnTo>
                      <a:lnTo>
                        <a:pt x="2102" y="841"/>
                      </a:lnTo>
                      <a:lnTo>
                        <a:pt x="2102" y="839"/>
                      </a:lnTo>
                      <a:lnTo>
                        <a:pt x="2101" y="837"/>
                      </a:lnTo>
                      <a:lnTo>
                        <a:pt x="2101" y="836"/>
                      </a:lnTo>
                      <a:lnTo>
                        <a:pt x="2099" y="836"/>
                      </a:lnTo>
                      <a:lnTo>
                        <a:pt x="2099" y="834"/>
                      </a:lnTo>
                      <a:lnTo>
                        <a:pt x="2099" y="832"/>
                      </a:lnTo>
                      <a:lnTo>
                        <a:pt x="2101" y="832"/>
                      </a:lnTo>
                      <a:lnTo>
                        <a:pt x="2101" y="830"/>
                      </a:lnTo>
                      <a:lnTo>
                        <a:pt x="2101" y="832"/>
                      </a:lnTo>
                      <a:lnTo>
                        <a:pt x="2101" y="830"/>
                      </a:lnTo>
                      <a:lnTo>
                        <a:pt x="2101" y="832"/>
                      </a:lnTo>
                      <a:lnTo>
                        <a:pt x="2102" y="830"/>
                      </a:lnTo>
                      <a:lnTo>
                        <a:pt x="2101" y="828"/>
                      </a:lnTo>
                      <a:lnTo>
                        <a:pt x="2101" y="826"/>
                      </a:lnTo>
                      <a:lnTo>
                        <a:pt x="2102" y="826"/>
                      </a:lnTo>
                      <a:lnTo>
                        <a:pt x="2102" y="824"/>
                      </a:lnTo>
                      <a:lnTo>
                        <a:pt x="2104" y="824"/>
                      </a:lnTo>
                      <a:lnTo>
                        <a:pt x="2104" y="822"/>
                      </a:lnTo>
                      <a:lnTo>
                        <a:pt x="2104" y="820"/>
                      </a:lnTo>
                      <a:lnTo>
                        <a:pt x="2106" y="820"/>
                      </a:lnTo>
                      <a:lnTo>
                        <a:pt x="2114" y="819"/>
                      </a:lnTo>
                      <a:lnTo>
                        <a:pt x="2116" y="819"/>
                      </a:lnTo>
                      <a:lnTo>
                        <a:pt x="2119" y="819"/>
                      </a:lnTo>
                      <a:lnTo>
                        <a:pt x="2121" y="817"/>
                      </a:lnTo>
                      <a:lnTo>
                        <a:pt x="2121" y="813"/>
                      </a:lnTo>
                      <a:lnTo>
                        <a:pt x="2119" y="811"/>
                      </a:lnTo>
                      <a:lnTo>
                        <a:pt x="2123" y="809"/>
                      </a:lnTo>
                      <a:lnTo>
                        <a:pt x="2125" y="809"/>
                      </a:lnTo>
                      <a:lnTo>
                        <a:pt x="2127" y="809"/>
                      </a:lnTo>
                      <a:lnTo>
                        <a:pt x="2127" y="811"/>
                      </a:lnTo>
                      <a:lnTo>
                        <a:pt x="2127" y="813"/>
                      </a:lnTo>
                      <a:lnTo>
                        <a:pt x="2127" y="815"/>
                      </a:lnTo>
                      <a:lnTo>
                        <a:pt x="2127" y="817"/>
                      </a:lnTo>
                      <a:lnTo>
                        <a:pt x="2127" y="819"/>
                      </a:lnTo>
                      <a:lnTo>
                        <a:pt x="2127" y="820"/>
                      </a:lnTo>
                      <a:lnTo>
                        <a:pt x="2129" y="820"/>
                      </a:lnTo>
                      <a:lnTo>
                        <a:pt x="2131" y="824"/>
                      </a:lnTo>
                      <a:lnTo>
                        <a:pt x="2131" y="826"/>
                      </a:lnTo>
                      <a:lnTo>
                        <a:pt x="2131" y="828"/>
                      </a:lnTo>
                      <a:lnTo>
                        <a:pt x="2131" y="830"/>
                      </a:lnTo>
                      <a:lnTo>
                        <a:pt x="2129" y="830"/>
                      </a:lnTo>
                      <a:lnTo>
                        <a:pt x="2131" y="830"/>
                      </a:lnTo>
                      <a:lnTo>
                        <a:pt x="2131" y="832"/>
                      </a:lnTo>
                      <a:lnTo>
                        <a:pt x="2129" y="832"/>
                      </a:lnTo>
                      <a:lnTo>
                        <a:pt x="2129" y="834"/>
                      </a:lnTo>
                      <a:lnTo>
                        <a:pt x="2131" y="834"/>
                      </a:lnTo>
                      <a:lnTo>
                        <a:pt x="2131" y="836"/>
                      </a:lnTo>
                      <a:lnTo>
                        <a:pt x="2131" y="837"/>
                      </a:lnTo>
                      <a:lnTo>
                        <a:pt x="2140" y="836"/>
                      </a:lnTo>
                      <a:lnTo>
                        <a:pt x="2146" y="836"/>
                      </a:lnTo>
                      <a:lnTo>
                        <a:pt x="2148" y="836"/>
                      </a:lnTo>
                      <a:lnTo>
                        <a:pt x="2150" y="836"/>
                      </a:lnTo>
                      <a:lnTo>
                        <a:pt x="2151" y="836"/>
                      </a:lnTo>
                      <a:lnTo>
                        <a:pt x="2153" y="836"/>
                      </a:lnTo>
                      <a:lnTo>
                        <a:pt x="2155" y="834"/>
                      </a:lnTo>
                      <a:lnTo>
                        <a:pt x="2163" y="834"/>
                      </a:lnTo>
                      <a:lnTo>
                        <a:pt x="2168" y="834"/>
                      </a:lnTo>
                      <a:lnTo>
                        <a:pt x="2168" y="832"/>
                      </a:lnTo>
                      <a:lnTo>
                        <a:pt x="2172" y="832"/>
                      </a:lnTo>
                      <a:lnTo>
                        <a:pt x="2176" y="832"/>
                      </a:lnTo>
                      <a:lnTo>
                        <a:pt x="2178" y="832"/>
                      </a:lnTo>
                      <a:lnTo>
                        <a:pt x="2181" y="832"/>
                      </a:lnTo>
                      <a:lnTo>
                        <a:pt x="2183" y="832"/>
                      </a:lnTo>
                      <a:lnTo>
                        <a:pt x="2191" y="836"/>
                      </a:lnTo>
                      <a:lnTo>
                        <a:pt x="2193" y="836"/>
                      </a:lnTo>
                      <a:lnTo>
                        <a:pt x="2195" y="837"/>
                      </a:lnTo>
                      <a:lnTo>
                        <a:pt x="2174" y="862"/>
                      </a:lnTo>
                      <a:lnTo>
                        <a:pt x="2168" y="868"/>
                      </a:lnTo>
                      <a:lnTo>
                        <a:pt x="2161" y="875"/>
                      </a:lnTo>
                      <a:lnTo>
                        <a:pt x="2153" y="886"/>
                      </a:lnTo>
                      <a:lnTo>
                        <a:pt x="2150" y="890"/>
                      </a:lnTo>
                      <a:lnTo>
                        <a:pt x="2146" y="894"/>
                      </a:lnTo>
                      <a:lnTo>
                        <a:pt x="2144" y="898"/>
                      </a:lnTo>
                      <a:lnTo>
                        <a:pt x="2148" y="898"/>
                      </a:lnTo>
                      <a:lnTo>
                        <a:pt x="2146" y="898"/>
                      </a:lnTo>
                      <a:lnTo>
                        <a:pt x="2146" y="900"/>
                      </a:lnTo>
                      <a:lnTo>
                        <a:pt x="2146" y="901"/>
                      </a:lnTo>
                      <a:lnTo>
                        <a:pt x="2146" y="900"/>
                      </a:lnTo>
                      <a:lnTo>
                        <a:pt x="2146" y="901"/>
                      </a:lnTo>
                      <a:lnTo>
                        <a:pt x="2144" y="901"/>
                      </a:lnTo>
                      <a:lnTo>
                        <a:pt x="2142" y="901"/>
                      </a:lnTo>
                      <a:lnTo>
                        <a:pt x="2140" y="903"/>
                      </a:lnTo>
                      <a:lnTo>
                        <a:pt x="2138" y="903"/>
                      </a:lnTo>
                      <a:lnTo>
                        <a:pt x="2140" y="903"/>
                      </a:lnTo>
                      <a:lnTo>
                        <a:pt x="2140" y="905"/>
                      </a:lnTo>
                      <a:lnTo>
                        <a:pt x="2140" y="907"/>
                      </a:lnTo>
                      <a:lnTo>
                        <a:pt x="2148" y="918"/>
                      </a:lnTo>
                      <a:lnTo>
                        <a:pt x="2163" y="943"/>
                      </a:lnTo>
                      <a:lnTo>
                        <a:pt x="2168" y="956"/>
                      </a:lnTo>
                      <a:lnTo>
                        <a:pt x="2170" y="956"/>
                      </a:lnTo>
                      <a:lnTo>
                        <a:pt x="2170" y="954"/>
                      </a:lnTo>
                      <a:lnTo>
                        <a:pt x="2172" y="954"/>
                      </a:lnTo>
                      <a:lnTo>
                        <a:pt x="2174" y="950"/>
                      </a:lnTo>
                      <a:lnTo>
                        <a:pt x="2174" y="948"/>
                      </a:lnTo>
                      <a:lnTo>
                        <a:pt x="2174" y="947"/>
                      </a:lnTo>
                      <a:lnTo>
                        <a:pt x="2176" y="947"/>
                      </a:lnTo>
                      <a:lnTo>
                        <a:pt x="2178" y="947"/>
                      </a:lnTo>
                      <a:lnTo>
                        <a:pt x="2180" y="947"/>
                      </a:lnTo>
                      <a:lnTo>
                        <a:pt x="2181" y="947"/>
                      </a:lnTo>
                      <a:lnTo>
                        <a:pt x="2183" y="947"/>
                      </a:lnTo>
                      <a:lnTo>
                        <a:pt x="2185" y="945"/>
                      </a:lnTo>
                      <a:lnTo>
                        <a:pt x="2187" y="947"/>
                      </a:lnTo>
                      <a:lnTo>
                        <a:pt x="2189" y="945"/>
                      </a:lnTo>
                      <a:lnTo>
                        <a:pt x="2183" y="965"/>
                      </a:lnTo>
                      <a:lnTo>
                        <a:pt x="2181" y="973"/>
                      </a:lnTo>
                      <a:lnTo>
                        <a:pt x="2174" y="996"/>
                      </a:lnTo>
                      <a:lnTo>
                        <a:pt x="2163" y="996"/>
                      </a:lnTo>
                      <a:lnTo>
                        <a:pt x="2159" y="1003"/>
                      </a:lnTo>
                      <a:lnTo>
                        <a:pt x="2150" y="1001"/>
                      </a:lnTo>
                      <a:lnTo>
                        <a:pt x="2155" y="1012"/>
                      </a:lnTo>
                      <a:lnTo>
                        <a:pt x="2166" y="1018"/>
                      </a:lnTo>
                      <a:lnTo>
                        <a:pt x="2159" y="1044"/>
                      </a:lnTo>
                      <a:lnTo>
                        <a:pt x="2157" y="1048"/>
                      </a:lnTo>
                      <a:lnTo>
                        <a:pt x="2153" y="1058"/>
                      </a:lnTo>
                      <a:lnTo>
                        <a:pt x="2151" y="1058"/>
                      </a:lnTo>
                      <a:lnTo>
                        <a:pt x="2150" y="1061"/>
                      </a:lnTo>
                      <a:lnTo>
                        <a:pt x="2144" y="1069"/>
                      </a:lnTo>
                      <a:lnTo>
                        <a:pt x="2148" y="1073"/>
                      </a:lnTo>
                      <a:lnTo>
                        <a:pt x="2138" y="1105"/>
                      </a:lnTo>
                      <a:lnTo>
                        <a:pt x="2157" y="1112"/>
                      </a:lnTo>
                      <a:lnTo>
                        <a:pt x="2146" y="1135"/>
                      </a:lnTo>
                      <a:lnTo>
                        <a:pt x="2136" y="1156"/>
                      </a:lnTo>
                      <a:lnTo>
                        <a:pt x="2134" y="1159"/>
                      </a:lnTo>
                      <a:lnTo>
                        <a:pt x="2133" y="1165"/>
                      </a:lnTo>
                      <a:lnTo>
                        <a:pt x="2129" y="1171"/>
                      </a:lnTo>
                      <a:lnTo>
                        <a:pt x="2119" y="1189"/>
                      </a:lnTo>
                      <a:lnTo>
                        <a:pt x="2104" y="1221"/>
                      </a:lnTo>
                      <a:lnTo>
                        <a:pt x="2097" y="1237"/>
                      </a:lnTo>
                      <a:lnTo>
                        <a:pt x="2095" y="1240"/>
                      </a:lnTo>
                      <a:lnTo>
                        <a:pt x="2082" y="1269"/>
                      </a:lnTo>
                      <a:lnTo>
                        <a:pt x="2078" y="1276"/>
                      </a:lnTo>
                      <a:lnTo>
                        <a:pt x="2063" y="1306"/>
                      </a:lnTo>
                      <a:lnTo>
                        <a:pt x="2050" y="1336"/>
                      </a:lnTo>
                      <a:lnTo>
                        <a:pt x="2033" y="1370"/>
                      </a:lnTo>
                      <a:lnTo>
                        <a:pt x="2018" y="1402"/>
                      </a:lnTo>
                      <a:lnTo>
                        <a:pt x="2016" y="1406"/>
                      </a:lnTo>
                      <a:lnTo>
                        <a:pt x="2016" y="1408"/>
                      </a:lnTo>
                      <a:lnTo>
                        <a:pt x="2018" y="1408"/>
                      </a:lnTo>
                      <a:lnTo>
                        <a:pt x="2018" y="1410"/>
                      </a:lnTo>
                      <a:lnTo>
                        <a:pt x="2016" y="1413"/>
                      </a:lnTo>
                      <a:lnTo>
                        <a:pt x="2016" y="1415"/>
                      </a:lnTo>
                      <a:lnTo>
                        <a:pt x="2016" y="1417"/>
                      </a:lnTo>
                      <a:lnTo>
                        <a:pt x="2016" y="1419"/>
                      </a:lnTo>
                      <a:lnTo>
                        <a:pt x="2016" y="1421"/>
                      </a:lnTo>
                      <a:lnTo>
                        <a:pt x="2016" y="1423"/>
                      </a:lnTo>
                      <a:lnTo>
                        <a:pt x="2018" y="1423"/>
                      </a:lnTo>
                      <a:lnTo>
                        <a:pt x="2018" y="1425"/>
                      </a:lnTo>
                      <a:lnTo>
                        <a:pt x="2020" y="1425"/>
                      </a:lnTo>
                      <a:lnTo>
                        <a:pt x="2022" y="1425"/>
                      </a:lnTo>
                      <a:lnTo>
                        <a:pt x="2022" y="1427"/>
                      </a:lnTo>
                      <a:lnTo>
                        <a:pt x="2023" y="1427"/>
                      </a:lnTo>
                      <a:lnTo>
                        <a:pt x="2023" y="1429"/>
                      </a:lnTo>
                      <a:lnTo>
                        <a:pt x="2023" y="1430"/>
                      </a:lnTo>
                      <a:lnTo>
                        <a:pt x="2023" y="1432"/>
                      </a:lnTo>
                      <a:lnTo>
                        <a:pt x="2025" y="1432"/>
                      </a:lnTo>
                      <a:lnTo>
                        <a:pt x="2025" y="1434"/>
                      </a:lnTo>
                      <a:lnTo>
                        <a:pt x="2025" y="1436"/>
                      </a:lnTo>
                      <a:lnTo>
                        <a:pt x="2027" y="1438"/>
                      </a:lnTo>
                      <a:lnTo>
                        <a:pt x="2027" y="1440"/>
                      </a:lnTo>
                      <a:lnTo>
                        <a:pt x="2029" y="1440"/>
                      </a:lnTo>
                      <a:lnTo>
                        <a:pt x="2029" y="1442"/>
                      </a:lnTo>
                      <a:lnTo>
                        <a:pt x="2031" y="1442"/>
                      </a:lnTo>
                      <a:lnTo>
                        <a:pt x="2031" y="1444"/>
                      </a:lnTo>
                      <a:lnTo>
                        <a:pt x="2031" y="1445"/>
                      </a:lnTo>
                      <a:lnTo>
                        <a:pt x="2033" y="1447"/>
                      </a:lnTo>
                      <a:lnTo>
                        <a:pt x="2035" y="1449"/>
                      </a:lnTo>
                      <a:lnTo>
                        <a:pt x="2037" y="1449"/>
                      </a:lnTo>
                      <a:lnTo>
                        <a:pt x="2037" y="1451"/>
                      </a:lnTo>
                      <a:lnTo>
                        <a:pt x="2039" y="1451"/>
                      </a:lnTo>
                      <a:lnTo>
                        <a:pt x="2039" y="1453"/>
                      </a:lnTo>
                      <a:lnTo>
                        <a:pt x="2040" y="1453"/>
                      </a:lnTo>
                      <a:lnTo>
                        <a:pt x="2042" y="1453"/>
                      </a:lnTo>
                      <a:lnTo>
                        <a:pt x="2044" y="1453"/>
                      </a:lnTo>
                      <a:lnTo>
                        <a:pt x="2046" y="1453"/>
                      </a:lnTo>
                      <a:lnTo>
                        <a:pt x="2048" y="1453"/>
                      </a:lnTo>
                      <a:lnTo>
                        <a:pt x="2050" y="1453"/>
                      </a:lnTo>
                      <a:lnTo>
                        <a:pt x="2052" y="1453"/>
                      </a:lnTo>
                      <a:lnTo>
                        <a:pt x="2054" y="1453"/>
                      </a:lnTo>
                      <a:lnTo>
                        <a:pt x="2054" y="1455"/>
                      </a:lnTo>
                      <a:lnTo>
                        <a:pt x="2055" y="1455"/>
                      </a:lnTo>
                      <a:lnTo>
                        <a:pt x="2055" y="1457"/>
                      </a:lnTo>
                      <a:lnTo>
                        <a:pt x="2055" y="1459"/>
                      </a:lnTo>
                      <a:lnTo>
                        <a:pt x="2055" y="1461"/>
                      </a:lnTo>
                      <a:lnTo>
                        <a:pt x="2057" y="1461"/>
                      </a:lnTo>
                      <a:lnTo>
                        <a:pt x="2057" y="1462"/>
                      </a:lnTo>
                      <a:lnTo>
                        <a:pt x="2059" y="1462"/>
                      </a:lnTo>
                      <a:lnTo>
                        <a:pt x="2061" y="1462"/>
                      </a:lnTo>
                      <a:lnTo>
                        <a:pt x="2063" y="1462"/>
                      </a:lnTo>
                      <a:lnTo>
                        <a:pt x="2065" y="1462"/>
                      </a:lnTo>
                      <a:lnTo>
                        <a:pt x="2067" y="1462"/>
                      </a:lnTo>
                      <a:lnTo>
                        <a:pt x="2067" y="1464"/>
                      </a:lnTo>
                      <a:lnTo>
                        <a:pt x="2069" y="1464"/>
                      </a:lnTo>
                      <a:lnTo>
                        <a:pt x="2069" y="1466"/>
                      </a:lnTo>
                      <a:lnTo>
                        <a:pt x="2069" y="1468"/>
                      </a:lnTo>
                      <a:lnTo>
                        <a:pt x="2069" y="1470"/>
                      </a:lnTo>
                      <a:lnTo>
                        <a:pt x="2071" y="1470"/>
                      </a:lnTo>
                      <a:lnTo>
                        <a:pt x="2071" y="1472"/>
                      </a:lnTo>
                      <a:lnTo>
                        <a:pt x="2072" y="1472"/>
                      </a:lnTo>
                      <a:lnTo>
                        <a:pt x="2072" y="1474"/>
                      </a:lnTo>
                      <a:lnTo>
                        <a:pt x="2074" y="1476"/>
                      </a:lnTo>
                      <a:lnTo>
                        <a:pt x="2076" y="1477"/>
                      </a:lnTo>
                      <a:lnTo>
                        <a:pt x="2078" y="1479"/>
                      </a:lnTo>
                      <a:lnTo>
                        <a:pt x="2080" y="1479"/>
                      </a:lnTo>
                      <a:lnTo>
                        <a:pt x="2080" y="1481"/>
                      </a:lnTo>
                      <a:lnTo>
                        <a:pt x="2082" y="1481"/>
                      </a:lnTo>
                      <a:lnTo>
                        <a:pt x="2084" y="1481"/>
                      </a:lnTo>
                      <a:lnTo>
                        <a:pt x="2086" y="1481"/>
                      </a:lnTo>
                      <a:lnTo>
                        <a:pt x="2087" y="1481"/>
                      </a:lnTo>
                      <a:lnTo>
                        <a:pt x="2089" y="1481"/>
                      </a:lnTo>
                      <a:lnTo>
                        <a:pt x="2091" y="1481"/>
                      </a:lnTo>
                      <a:lnTo>
                        <a:pt x="2093" y="1481"/>
                      </a:lnTo>
                      <a:lnTo>
                        <a:pt x="2093" y="1479"/>
                      </a:lnTo>
                      <a:lnTo>
                        <a:pt x="2093" y="1477"/>
                      </a:lnTo>
                      <a:lnTo>
                        <a:pt x="2095" y="1477"/>
                      </a:lnTo>
                      <a:lnTo>
                        <a:pt x="2097" y="1479"/>
                      </a:lnTo>
                      <a:lnTo>
                        <a:pt x="2097" y="1481"/>
                      </a:lnTo>
                      <a:lnTo>
                        <a:pt x="2097" y="1483"/>
                      </a:lnTo>
                      <a:lnTo>
                        <a:pt x="2097" y="1485"/>
                      </a:lnTo>
                      <a:lnTo>
                        <a:pt x="2097" y="1487"/>
                      </a:lnTo>
                      <a:lnTo>
                        <a:pt x="2097" y="1489"/>
                      </a:lnTo>
                      <a:lnTo>
                        <a:pt x="2097" y="1491"/>
                      </a:lnTo>
                      <a:lnTo>
                        <a:pt x="2097" y="1493"/>
                      </a:lnTo>
                      <a:lnTo>
                        <a:pt x="2097" y="1494"/>
                      </a:lnTo>
                      <a:lnTo>
                        <a:pt x="2097" y="1496"/>
                      </a:lnTo>
                      <a:lnTo>
                        <a:pt x="2099" y="1496"/>
                      </a:lnTo>
                      <a:lnTo>
                        <a:pt x="2099" y="1498"/>
                      </a:lnTo>
                      <a:lnTo>
                        <a:pt x="2099" y="1500"/>
                      </a:lnTo>
                      <a:lnTo>
                        <a:pt x="2101" y="1502"/>
                      </a:lnTo>
                      <a:lnTo>
                        <a:pt x="2102" y="1502"/>
                      </a:lnTo>
                      <a:lnTo>
                        <a:pt x="2104" y="1502"/>
                      </a:lnTo>
                      <a:lnTo>
                        <a:pt x="2104" y="1504"/>
                      </a:lnTo>
                      <a:lnTo>
                        <a:pt x="2104" y="1502"/>
                      </a:lnTo>
                      <a:lnTo>
                        <a:pt x="2106" y="1504"/>
                      </a:lnTo>
                      <a:lnTo>
                        <a:pt x="2108" y="1504"/>
                      </a:lnTo>
                      <a:lnTo>
                        <a:pt x="2110" y="1506"/>
                      </a:lnTo>
                      <a:lnTo>
                        <a:pt x="2112" y="1506"/>
                      </a:lnTo>
                      <a:lnTo>
                        <a:pt x="2114" y="1506"/>
                      </a:lnTo>
                      <a:lnTo>
                        <a:pt x="2116" y="1506"/>
                      </a:lnTo>
                      <a:lnTo>
                        <a:pt x="2118" y="1506"/>
                      </a:lnTo>
                      <a:lnTo>
                        <a:pt x="2119" y="1506"/>
                      </a:lnTo>
                      <a:lnTo>
                        <a:pt x="2121" y="1506"/>
                      </a:lnTo>
                      <a:lnTo>
                        <a:pt x="2123" y="1506"/>
                      </a:lnTo>
                      <a:lnTo>
                        <a:pt x="2125" y="1506"/>
                      </a:lnTo>
                      <a:lnTo>
                        <a:pt x="2127" y="1506"/>
                      </a:lnTo>
                      <a:lnTo>
                        <a:pt x="2127" y="1508"/>
                      </a:lnTo>
                      <a:lnTo>
                        <a:pt x="2129" y="1508"/>
                      </a:lnTo>
                      <a:lnTo>
                        <a:pt x="2131" y="1508"/>
                      </a:lnTo>
                      <a:lnTo>
                        <a:pt x="2131" y="1509"/>
                      </a:lnTo>
                      <a:lnTo>
                        <a:pt x="2133" y="1511"/>
                      </a:lnTo>
                      <a:lnTo>
                        <a:pt x="2133" y="1513"/>
                      </a:lnTo>
                      <a:lnTo>
                        <a:pt x="2133" y="1515"/>
                      </a:lnTo>
                      <a:lnTo>
                        <a:pt x="2133" y="1517"/>
                      </a:lnTo>
                      <a:lnTo>
                        <a:pt x="2131" y="1517"/>
                      </a:lnTo>
                      <a:lnTo>
                        <a:pt x="2131" y="1519"/>
                      </a:lnTo>
                      <a:lnTo>
                        <a:pt x="2131" y="1521"/>
                      </a:lnTo>
                      <a:lnTo>
                        <a:pt x="2131" y="1523"/>
                      </a:lnTo>
                      <a:lnTo>
                        <a:pt x="2131" y="1525"/>
                      </a:lnTo>
                      <a:lnTo>
                        <a:pt x="2133" y="1525"/>
                      </a:lnTo>
                      <a:lnTo>
                        <a:pt x="2133" y="1526"/>
                      </a:lnTo>
                      <a:lnTo>
                        <a:pt x="2134" y="1528"/>
                      </a:lnTo>
                      <a:lnTo>
                        <a:pt x="2134" y="1530"/>
                      </a:lnTo>
                      <a:lnTo>
                        <a:pt x="2134" y="1532"/>
                      </a:lnTo>
                      <a:lnTo>
                        <a:pt x="2136" y="1532"/>
                      </a:lnTo>
                      <a:lnTo>
                        <a:pt x="2138" y="1532"/>
                      </a:lnTo>
                      <a:lnTo>
                        <a:pt x="2138" y="1534"/>
                      </a:lnTo>
                      <a:lnTo>
                        <a:pt x="2140" y="1536"/>
                      </a:lnTo>
                      <a:lnTo>
                        <a:pt x="2142" y="1536"/>
                      </a:lnTo>
                      <a:lnTo>
                        <a:pt x="2142" y="1538"/>
                      </a:lnTo>
                      <a:lnTo>
                        <a:pt x="2140" y="1540"/>
                      </a:lnTo>
                      <a:lnTo>
                        <a:pt x="2140" y="1542"/>
                      </a:lnTo>
                      <a:lnTo>
                        <a:pt x="2140" y="1543"/>
                      </a:lnTo>
                      <a:lnTo>
                        <a:pt x="2142" y="1543"/>
                      </a:lnTo>
                      <a:lnTo>
                        <a:pt x="2142" y="1545"/>
                      </a:lnTo>
                      <a:lnTo>
                        <a:pt x="2144" y="1545"/>
                      </a:lnTo>
                      <a:lnTo>
                        <a:pt x="2146" y="1545"/>
                      </a:lnTo>
                      <a:lnTo>
                        <a:pt x="2148" y="1545"/>
                      </a:lnTo>
                      <a:lnTo>
                        <a:pt x="2148" y="1547"/>
                      </a:lnTo>
                      <a:lnTo>
                        <a:pt x="2150" y="1547"/>
                      </a:lnTo>
                      <a:lnTo>
                        <a:pt x="2150" y="1549"/>
                      </a:lnTo>
                      <a:lnTo>
                        <a:pt x="2151" y="1551"/>
                      </a:lnTo>
                      <a:lnTo>
                        <a:pt x="2151" y="1553"/>
                      </a:lnTo>
                      <a:lnTo>
                        <a:pt x="2151" y="1555"/>
                      </a:lnTo>
                      <a:lnTo>
                        <a:pt x="2151" y="1557"/>
                      </a:lnTo>
                      <a:lnTo>
                        <a:pt x="2151" y="1558"/>
                      </a:lnTo>
                      <a:lnTo>
                        <a:pt x="2151" y="1560"/>
                      </a:lnTo>
                      <a:lnTo>
                        <a:pt x="2153" y="1560"/>
                      </a:lnTo>
                      <a:lnTo>
                        <a:pt x="2155" y="1562"/>
                      </a:lnTo>
                      <a:lnTo>
                        <a:pt x="2155" y="1564"/>
                      </a:lnTo>
                      <a:lnTo>
                        <a:pt x="2155" y="1566"/>
                      </a:lnTo>
                      <a:lnTo>
                        <a:pt x="2157" y="1568"/>
                      </a:lnTo>
                      <a:lnTo>
                        <a:pt x="2157" y="1570"/>
                      </a:lnTo>
                      <a:lnTo>
                        <a:pt x="2159" y="1570"/>
                      </a:lnTo>
                      <a:lnTo>
                        <a:pt x="2161" y="1570"/>
                      </a:lnTo>
                      <a:lnTo>
                        <a:pt x="2161" y="1568"/>
                      </a:lnTo>
                      <a:lnTo>
                        <a:pt x="2163" y="1568"/>
                      </a:lnTo>
                      <a:lnTo>
                        <a:pt x="2165" y="1568"/>
                      </a:lnTo>
                      <a:lnTo>
                        <a:pt x="2165" y="1570"/>
                      </a:lnTo>
                      <a:lnTo>
                        <a:pt x="2165" y="1572"/>
                      </a:lnTo>
                      <a:lnTo>
                        <a:pt x="2166" y="1574"/>
                      </a:lnTo>
                      <a:lnTo>
                        <a:pt x="2168" y="1574"/>
                      </a:lnTo>
                      <a:lnTo>
                        <a:pt x="2168" y="1575"/>
                      </a:lnTo>
                      <a:lnTo>
                        <a:pt x="2170" y="1575"/>
                      </a:lnTo>
                      <a:lnTo>
                        <a:pt x="2170" y="1577"/>
                      </a:lnTo>
                      <a:lnTo>
                        <a:pt x="2170" y="1579"/>
                      </a:lnTo>
                      <a:lnTo>
                        <a:pt x="2168" y="1581"/>
                      </a:lnTo>
                      <a:lnTo>
                        <a:pt x="2168" y="1583"/>
                      </a:lnTo>
                      <a:lnTo>
                        <a:pt x="2170" y="1583"/>
                      </a:lnTo>
                      <a:lnTo>
                        <a:pt x="2170" y="1585"/>
                      </a:lnTo>
                      <a:lnTo>
                        <a:pt x="2172" y="1585"/>
                      </a:lnTo>
                      <a:lnTo>
                        <a:pt x="2172" y="1587"/>
                      </a:lnTo>
                      <a:lnTo>
                        <a:pt x="2174" y="1589"/>
                      </a:lnTo>
                      <a:lnTo>
                        <a:pt x="2176" y="1589"/>
                      </a:lnTo>
                      <a:lnTo>
                        <a:pt x="2178" y="1590"/>
                      </a:lnTo>
                      <a:lnTo>
                        <a:pt x="2178" y="1592"/>
                      </a:lnTo>
                      <a:lnTo>
                        <a:pt x="2178" y="1594"/>
                      </a:lnTo>
                      <a:lnTo>
                        <a:pt x="2180" y="1594"/>
                      </a:lnTo>
                      <a:lnTo>
                        <a:pt x="2181" y="1594"/>
                      </a:lnTo>
                      <a:lnTo>
                        <a:pt x="2183" y="1594"/>
                      </a:lnTo>
                      <a:lnTo>
                        <a:pt x="2185" y="1594"/>
                      </a:lnTo>
                      <a:lnTo>
                        <a:pt x="2187" y="1592"/>
                      </a:lnTo>
                      <a:lnTo>
                        <a:pt x="2189" y="1592"/>
                      </a:lnTo>
                      <a:lnTo>
                        <a:pt x="2191" y="1592"/>
                      </a:lnTo>
                      <a:lnTo>
                        <a:pt x="2191" y="1594"/>
                      </a:lnTo>
                      <a:lnTo>
                        <a:pt x="2193" y="1596"/>
                      </a:lnTo>
                      <a:lnTo>
                        <a:pt x="2193" y="1598"/>
                      </a:lnTo>
                      <a:lnTo>
                        <a:pt x="2193" y="1600"/>
                      </a:lnTo>
                      <a:lnTo>
                        <a:pt x="2195" y="1600"/>
                      </a:lnTo>
                      <a:lnTo>
                        <a:pt x="2195" y="1602"/>
                      </a:lnTo>
                      <a:lnTo>
                        <a:pt x="2195" y="1604"/>
                      </a:lnTo>
                      <a:lnTo>
                        <a:pt x="2195" y="1606"/>
                      </a:lnTo>
                      <a:lnTo>
                        <a:pt x="2193" y="1607"/>
                      </a:lnTo>
                      <a:lnTo>
                        <a:pt x="2193" y="1609"/>
                      </a:lnTo>
                      <a:lnTo>
                        <a:pt x="2191" y="1609"/>
                      </a:lnTo>
                      <a:lnTo>
                        <a:pt x="2191" y="1611"/>
                      </a:lnTo>
                      <a:lnTo>
                        <a:pt x="2193" y="1613"/>
                      </a:lnTo>
                      <a:lnTo>
                        <a:pt x="2193" y="1615"/>
                      </a:lnTo>
                      <a:lnTo>
                        <a:pt x="2191" y="1615"/>
                      </a:lnTo>
                      <a:lnTo>
                        <a:pt x="2193" y="1615"/>
                      </a:lnTo>
                      <a:lnTo>
                        <a:pt x="2195" y="1615"/>
                      </a:lnTo>
                      <a:lnTo>
                        <a:pt x="2195" y="1613"/>
                      </a:lnTo>
                      <a:lnTo>
                        <a:pt x="2197" y="1613"/>
                      </a:lnTo>
                      <a:lnTo>
                        <a:pt x="2198" y="1613"/>
                      </a:lnTo>
                      <a:lnTo>
                        <a:pt x="2200" y="1615"/>
                      </a:lnTo>
                      <a:lnTo>
                        <a:pt x="2202" y="1617"/>
                      </a:lnTo>
                      <a:lnTo>
                        <a:pt x="2204" y="1617"/>
                      </a:lnTo>
                      <a:lnTo>
                        <a:pt x="2206" y="1617"/>
                      </a:lnTo>
                      <a:lnTo>
                        <a:pt x="2206" y="1619"/>
                      </a:lnTo>
                      <a:lnTo>
                        <a:pt x="2208" y="1619"/>
                      </a:lnTo>
                      <a:lnTo>
                        <a:pt x="2208" y="1621"/>
                      </a:lnTo>
                      <a:lnTo>
                        <a:pt x="2208" y="1622"/>
                      </a:lnTo>
                      <a:lnTo>
                        <a:pt x="2208" y="1624"/>
                      </a:lnTo>
                      <a:lnTo>
                        <a:pt x="2210" y="1624"/>
                      </a:lnTo>
                      <a:lnTo>
                        <a:pt x="2210" y="1626"/>
                      </a:lnTo>
                      <a:lnTo>
                        <a:pt x="2212" y="1628"/>
                      </a:lnTo>
                      <a:lnTo>
                        <a:pt x="2212" y="1630"/>
                      </a:lnTo>
                      <a:lnTo>
                        <a:pt x="2213" y="1632"/>
                      </a:lnTo>
                      <a:lnTo>
                        <a:pt x="2215" y="1632"/>
                      </a:lnTo>
                      <a:lnTo>
                        <a:pt x="2215" y="1634"/>
                      </a:lnTo>
                      <a:lnTo>
                        <a:pt x="2217" y="1634"/>
                      </a:lnTo>
                      <a:lnTo>
                        <a:pt x="2219" y="1634"/>
                      </a:lnTo>
                      <a:lnTo>
                        <a:pt x="2219" y="1636"/>
                      </a:lnTo>
                      <a:lnTo>
                        <a:pt x="2221" y="1636"/>
                      </a:lnTo>
                      <a:lnTo>
                        <a:pt x="2221" y="1638"/>
                      </a:lnTo>
                      <a:lnTo>
                        <a:pt x="2223" y="1639"/>
                      </a:lnTo>
                      <a:lnTo>
                        <a:pt x="2223" y="1641"/>
                      </a:lnTo>
                      <a:lnTo>
                        <a:pt x="2221" y="1641"/>
                      </a:lnTo>
                      <a:lnTo>
                        <a:pt x="2221" y="1643"/>
                      </a:lnTo>
                      <a:lnTo>
                        <a:pt x="2221" y="1645"/>
                      </a:lnTo>
                      <a:lnTo>
                        <a:pt x="2223" y="1645"/>
                      </a:lnTo>
                      <a:lnTo>
                        <a:pt x="2225" y="1647"/>
                      </a:lnTo>
                      <a:lnTo>
                        <a:pt x="2225" y="1649"/>
                      </a:lnTo>
                      <a:lnTo>
                        <a:pt x="2227" y="1649"/>
                      </a:lnTo>
                      <a:lnTo>
                        <a:pt x="2227" y="1651"/>
                      </a:lnTo>
                      <a:lnTo>
                        <a:pt x="2229" y="1651"/>
                      </a:lnTo>
                      <a:lnTo>
                        <a:pt x="2230" y="1653"/>
                      </a:lnTo>
                      <a:lnTo>
                        <a:pt x="2230" y="1654"/>
                      </a:lnTo>
                      <a:lnTo>
                        <a:pt x="2230" y="1656"/>
                      </a:lnTo>
                      <a:lnTo>
                        <a:pt x="2232" y="1656"/>
                      </a:lnTo>
                      <a:lnTo>
                        <a:pt x="2234" y="1656"/>
                      </a:lnTo>
                      <a:lnTo>
                        <a:pt x="2234" y="1658"/>
                      </a:lnTo>
                      <a:lnTo>
                        <a:pt x="2236" y="1658"/>
                      </a:lnTo>
                      <a:lnTo>
                        <a:pt x="2238" y="1658"/>
                      </a:lnTo>
                      <a:lnTo>
                        <a:pt x="2240" y="1656"/>
                      </a:lnTo>
                      <a:lnTo>
                        <a:pt x="2242" y="1656"/>
                      </a:lnTo>
                      <a:lnTo>
                        <a:pt x="2244" y="1656"/>
                      </a:lnTo>
                      <a:lnTo>
                        <a:pt x="2244" y="1658"/>
                      </a:lnTo>
                      <a:lnTo>
                        <a:pt x="2244" y="1660"/>
                      </a:lnTo>
                      <a:lnTo>
                        <a:pt x="2245" y="1660"/>
                      </a:lnTo>
                      <a:lnTo>
                        <a:pt x="2247" y="1662"/>
                      </a:lnTo>
                      <a:lnTo>
                        <a:pt x="2249" y="1664"/>
                      </a:lnTo>
                      <a:lnTo>
                        <a:pt x="2249" y="1666"/>
                      </a:lnTo>
                      <a:lnTo>
                        <a:pt x="2251" y="1666"/>
                      </a:lnTo>
                      <a:lnTo>
                        <a:pt x="2251" y="1668"/>
                      </a:lnTo>
                      <a:lnTo>
                        <a:pt x="2253" y="1668"/>
                      </a:lnTo>
                      <a:lnTo>
                        <a:pt x="2253" y="1670"/>
                      </a:lnTo>
                      <a:lnTo>
                        <a:pt x="2255" y="1670"/>
                      </a:lnTo>
                      <a:lnTo>
                        <a:pt x="2255" y="1671"/>
                      </a:lnTo>
                      <a:lnTo>
                        <a:pt x="2255" y="1673"/>
                      </a:lnTo>
                      <a:lnTo>
                        <a:pt x="2257" y="1675"/>
                      </a:lnTo>
                      <a:lnTo>
                        <a:pt x="2259" y="1677"/>
                      </a:lnTo>
                      <a:lnTo>
                        <a:pt x="2260" y="1679"/>
                      </a:lnTo>
                      <a:lnTo>
                        <a:pt x="2262" y="1679"/>
                      </a:lnTo>
                      <a:lnTo>
                        <a:pt x="2264" y="1679"/>
                      </a:lnTo>
                      <a:lnTo>
                        <a:pt x="2264" y="1677"/>
                      </a:lnTo>
                      <a:lnTo>
                        <a:pt x="2266" y="1677"/>
                      </a:lnTo>
                      <a:lnTo>
                        <a:pt x="2266" y="1675"/>
                      </a:lnTo>
                      <a:lnTo>
                        <a:pt x="2266" y="1673"/>
                      </a:lnTo>
                      <a:lnTo>
                        <a:pt x="2268" y="1673"/>
                      </a:lnTo>
                      <a:lnTo>
                        <a:pt x="2270" y="1673"/>
                      </a:lnTo>
                      <a:lnTo>
                        <a:pt x="2270" y="1675"/>
                      </a:lnTo>
                      <a:lnTo>
                        <a:pt x="2272" y="1675"/>
                      </a:lnTo>
                      <a:lnTo>
                        <a:pt x="2274" y="1675"/>
                      </a:lnTo>
                      <a:lnTo>
                        <a:pt x="2274" y="1673"/>
                      </a:lnTo>
                      <a:lnTo>
                        <a:pt x="2276" y="1673"/>
                      </a:lnTo>
                      <a:lnTo>
                        <a:pt x="2277" y="1673"/>
                      </a:lnTo>
                      <a:lnTo>
                        <a:pt x="2279" y="1673"/>
                      </a:lnTo>
                      <a:lnTo>
                        <a:pt x="2281" y="1675"/>
                      </a:lnTo>
                      <a:lnTo>
                        <a:pt x="2281" y="1677"/>
                      </a:lnTo>
                      <a:lnTo>
                        <a:pt x="2283" y="1677"/>
                      </a:lnTo>
                      <a:lnTo>
                        <a:pt x="2285" y="1677"/>
                      </a:lnTo>
                      <a:lnTo>
                        <a:pt x="2287" y="1677"/>
                      </a:lnTo>
                      <a:lnTo>
                        <a:pt x="2289" y="1679"/>
                      </a:lnTo>
                      <a:lnTo>
                        <a:pt x="2289" y="1681"/>
                      </a:lnTo>
                      <a:lnTo>
                        <a:pt x="2291" y="1683"/>
                      </a:lnTo>
                      <a:lnTo>
                        <a:pt x="2292" y="1683"/>
                      </a:lnTo>
                      <a:lnTo>
                        <a:pt x="2294" y="1685"/>
                      </a:lnTo>
                      <a:lnTo>
                        <a:pt x="2294" y="1686"/>
                      </a:lnTo>
                      <a:lnTo>
                        <a:pt x="2296" y="1686"/>
                      </a:lnTo>
                      <a:lnTo>
                        <a:pt x="2298" y="1688"/>
                      </a:lnTo>
                      <a:lnTo>
                        <a:pt x="2298" y="1690"/>
                      </a:lnTo>
                      <a:lnTo>
                        <a:pt x="2300" y="1690"/>
                      </a:lnTo>
                      <a:lnTo>
                        <a:pt x="2300" y="1692"/>
                      </a:lnTo>
                      <a:lnTo>
                        <a:pt x="2302" y="1692"/>
                      </a:lnTo>
                      <a:lnTo>
                        <a:pt x="2300" y="1694"/>
                      </a:lnTo>
                      <a:lnTo>
                        <a:pt x="2298" y="1696"/>
                      </a:lnTo>
                      <a:lnTo>
                        <a:pt x="2300" y="1700"/>
                      </a:lnTo>
                      <a:lnTo>
                        <a:pt x="2300" y="1703"/>
                      </a:lnTo>
                      <a:lnTo>
                        <a:pt x="2302" y="1705"/>
                      </a:lnTo>
                      <a:lnTo>
                        <a:pt x="2304" y="1707"/>
                      </a:lnTo>
                      <a:lnTo>
                        <a:pt x="2300" y="1709"/>
                      </a:lnTo>
                      <a:lnTo>
                        <a:pt x="2300" y="1711"/>
                      </a:lnTo>
                      <a:lnTo>
                        <a:pt x="2300" y="1713"/>
                      </a:lnTo>
                      <a:lnTo>
                        <a:pt x="2302" y="1715"/>
                      </a:lnTo>
                      <a:lnTo>
                        <a:pt x="2302" y="1717"/>
                      </a:lnTo>
                      <a:lnTo>
                        <a:pt x="2302" y="1718"/>
                      </a:lnTo>
                      <a:lnTo>
                        <a:pt x="2300" y="1720"/>
                      </a:lnTo>
                      <a:lnTo>
                        <a:pt x="2300" y="1722"/>
                      </a:lnTo>
                      <a:lnTo>
                        <a:pt x="2304" y="1722"/>
                      </a:lnTo>
                      <a:lnTo>
                        <a:pt x="2304" y="1724"/>
                      </a:lnTo>
                      <a:lnTo>
                        <a:pt x="2304" y="1726"/>
                      </a:lnTo>
                      <a:lnTo>
                        <a:pt x="2304" y="1728"/>
                      </a:lnTo>
                      <a:lnTo>
                        <a:pt x="2306" y="1734"/>
                      </a:lnTo>
                      <a:lnTo>
                        <a:pt x="2306" y="1735"/>
                      </a:lnTo>
                      <a:lnTo>
                        <a:pt x="2306" y="1739"/>
                      </a:lnTo>
                      <a:lnTo>
                        <a:pt x="2306" y="1741"/>
                      </a:lnTo>
                      <a:lnTo>
                        <a:pt x="2311" y="1741"/>
                      </a:lnTo>
                      <a:lnTo>
                        <a:pt x="2317" y="1745"/>
                      </a:lnTo>
                      <a:lnTo>
                        <a:pt x="2323" y="1743"/>
                      </a:lnTo>
                      <a:lnTo>
                        <a:pt x="2315" y="1754"/>
                      </a:lnTo>
                      <a:lnTo>
                        <a:pt x="2306" y="1760"/>
                      </a:lnTo>
                      <a:lnTo>
                        <a:pt x="2302" y="1766"/>
                      </a:lnTo>
                      <a:lnTo>
                        <a:pt x="2309" y="1771"/>
                      </a:lnTo>
                      <a:lnTo>
                        <a:pt x="2311" y="1775"/>
                      </a:lnTo>
                      <a:lnTo>
                        <a:pt x="2313" y="1775"/>
                      </a:lnTo>
                      <a:lnTo>
                        <a:pt x="2315" y="1775"/>
                      </a:lnTo>
                      <a:lnTo>
                        <a:pt x="2315" y="1777"/>
                      </a:lnTo>
                      <a:lnTo>
                        <a:pt x="2313" y="1779"/>
                      </a:lnTo>
                      <a:lnTo>
                        <a:pt x="2313" y="1781"/>
                      </a:lnTo>
                      <a:lnTo>
                        <a:pt x="2313" y="1782"/>
                      </a:lnTo>
                      <a:lnTo>
                        <a:pt x="2311" y="1784"/>
                      </a:lnTo>
                      <a:lnTo>
                        <a:pt x="2311" y="1788"/>
                      </a:lnTo>
                      <a:lnTo>
                        <a:pt x="2311" y="1790"/>
                      </a:lnTo>
                      <a:lnTo>
                        <a:pt x="2313" y="1792"/>
                      </a:lnTo>
                      <a:lnTo>
                        <a:pt x="2308" y="1796"/>
                      </a:lnTo>
                      <a:lnTo>
                        <a:pt x="2306" y="1798"/>
                      </a:lnTo>
                      <a:lnTo>
                        <a:pt x="2304" y="1799"/>
                      </a:lnTo>
                      <a:lnTo>
                        <a:pt x="2304" y="1801"/>
                      </a:lnTo>
                      <a:lnTo>
                        <a:pt x="2306" y="1807"/>
                      </a:lnTo>
                      <a:lnTo>
                        <a:pt x="2311" y="1807"/>
                      </a:lnTo>
                      <a:lnTo>
                        <a:pt x="2308" y="1816"/>
                      </a:lnTo>
                      <a:lnTo>
                        <a:pt x="2304" y="1818"/>
                      </a:lnTo>
                      <a:lnTo>
                        <a:pt x="2300" y="1822"/>
                      </a:lnTo>
                      <a:lnTo>
                        <a:pt x="2298" y="1820"/>
                      </a:lnTo>
                      <a:lnTo>
                        <a:pt x="2294" y="1824"/>
                      </a:lnTo>
                      <a:lnTo>
                        <a:pt x="2298" y="1828"/>
                      </a:lnTo>
                      <a:lnTo>
                        <a:pt x="2296" y="1833"/>
                      </a:lnTo>
                      <a:lnTo>
                        <a:pt x="2296" y="1835"/>
                      </a:lnTo>
                      <a:lnTo>
                        <a:pt x="2291" y="1843"/>
                      </a:lnTo>
                      <a:lnTo>
                        <a:pt x="2289" y="1845"/>
                      </a:lnTo>
                      <a:lnTo>
                        <a:pt x="2283" y="1845"/>
                      </a:lnTo>
                      <a:lnTo>
                        <a:pt x="2283" y="1846"/>
                      </a:lnTo>
                      <a:lnTo>
                        <a:pt x="2281" y="1850"/>
                      </a:lnTo>
                      <a:lnTo>
                        <a:pt x="2279" y="1863"/>
                      </a:lnTo>
                      <a:lnTo>
                        <a:pt x="2279" y="1865"/>
                      </a:lnTo>
                      <a:lnTo>
                        <a:pt x="2281" y="1869"/>
                      </a:lnTo>
                      <a:lnTo>
                        <a:pt x="2277" y="1873"/>
                      </a:lnTo>
                      <a:lnTo>
                        <a:pt x="2274" y="1875"/>
                      </a:lnTo>
                      <a:lnTo>
                        <a:pt x="2257" y="1869"/>
                      </a:lnTo>
                      <a:lnTo>
                        <a:pt x="2255" y="1871"/>
                      </a:lnTo>
                      <a:lnTo>
                        <a:pt x="2253" y="1871"/>
                      </a:lnTo>
                      <a:lnTo>
                        <a:pt x="2251" y="1871"/>
                      </a:lnTo>
                      <a:lnTo>
                        <a:pt x="2251" y="1869"/>
                      </a:lnTo>
                      <a:lnTo>
                        <a:pt x="2240" y="1863"/>
                      </a:lnTo>
                      <a:lnTo>
                        <a:pt x="2240" y="1862"/>
                      </a:lnTo>
                      <a:lnTo>
                        <a:pt x="2238" y="1862"/>
                      </a:lnTo>
                      <a:lnTo>
                        <a:pt x="2236" y="1862"/>
                      </a:lnTo>
                      <a:lnTo>
                        <a:pt x="2234" y="1865"/>
                      </a:lnTo>
                      <a:lnTo>
                        <a:pt x="2236" y="1865"/>
                      </a:lnTo>
                      <a:lnTo>
                        <a:pt x="2236" y="1867"/>
                      </a:lnTo>
                      <a:lnTo>
                        <a:pt x="2234" y="1869"/>
                      </a:lnTo>
                      <a:lnTo>
                        <a:pt x="2232" y="1869"/>
                      </a:lnTo>
                      <a:lnTo>
                        <a:pt x="2229" y="1871"/>
                      </a:lnTo>
                      <a:lnTo>
                        <a:pt x="2227" y="1875"/>
                      </a:lnTo>
                      <a:lnTo>
                        <a:pt x="2227" y="1877"/>
                      </a:lnTo>
                      <a:lnTo>
                        <a:pt x="2225" y="1875"/>
                      </a:lnTo>
                      <a:lnTo>
                        <a:pt x="2223" y="1873"/>
                      </a:lnTo>
                      <a:lnTo>
                        <a:pt x="2221" y="1877"/>
                      </a:lnTo>
                      <a:lnTo>
                        <a:pt x="2215" y="1877"/>
                      </a:lnTo>
                      <a:lnTo>
                        <a:pt x="2212" y="1878"/>
                      </a:lnTo>
                      <a:lnTo>
                        <a:pt x="2208" y="1882"/>
                      </a:lnTo>
                      <a:lnTo>
                        <a:pt x="2204" y="1882"/>
                      </a:lnTo>
                      <a:lnTo>
                        <a:pt x="2200" y="1880"/>
                      </a:lnTo>
                      <a:lnTo>
                        <a:pt x="2197" y="1886"/>
                      </a:lnTo>
                      <a:lnTo>
                        <a:pt x="2193" y="1884"/>
                      </a:lnTo>
                      <a:lnTo>
                        <a:pt x="2187" y="1884"/>
                      </a:lnTo>
                      <a:lnTo>
                        <a:pt x="2183" y="1884"/>
                      </a:lnTo>
                      <a:lnTo>
                        <a:pt x="2180" y="1886"/>
                      </a:lnTo>
                      <a:lnTo>
                        <a:pt x="2178" y="1886"/>
                      </a:lnTo>
                      <a:lnTo>
                        <a:pt x="2172" y="1890"/>
                      </a:lnTo>
                      <a:lnTo>
                        <a:pt x="2170" y="1894"/>
                      </a:lnTo>
                      <a:lnTo>
                        <a:pt x="2168" y="1894"/>
                      </a:lnTo>
                      <a:lnTo>
                        <a:pt x="2168" y="1895"/>
                      </a:lnTo>
                      <a:lnTo>
                        <a:pt x="2168" y="1899"/>
                      </a:lnTo>
                      <a:lnTo>
                        <a:pt x="2165" y="1901"/>
                      </a:lnTo>
                      <a:lnTo>
                        <a:pt x="2163" y="1899"/>
                      </a:lnTo>
                      <a:lnTo>
                        <a:pt x="2157" y="1899"/>
                      </a:lnTo>
                      <a:lnTo>
                        <a:pt x="2153" y="1899"/>
                      </a:lnTo>
                      <a:lnTo>
                        <a:pt x="2144" y="1903"/>
                      </a:lnTo>
                      <a:lnTo>
                        <a:pt x="2146" y="1905"/>
                      </a:lnTo>
                      <a:lnTo>
                        <a:pt x="2148" y="1910"/>
                      </a:lnTo>
                      <a:lnTo>
                        <a:pt x="2148" y="1914"/>
                      </a:lnTo>
                      <a:lnTo>
                        <a:pt x="2148" y="1916"/>
                      </a:lnTo>
                      <a:lnTo>
                        <a:pt x="2146" y="1916"/>
                      </a:lnTo>
                      <a:lnTo>
                        <a:pt x="2144" y="1914"/>
                      </a:lnTo>
                      <a:lnTo>
                        <a:pt x="2138" y="1910"/>
                      </a:lnTo>
                      <a:lnTo>
                        <a:pt x="2136" y="1912"/>
                      </a:lnTo>
                      <a:lnTo>
                        <a:pt x="2129" y="1920"/>
                      </a:lnTo>
                      <a:lnTo>
                        <a:pt x="2129" y="1922"/>
                      </a:lnTo>
                      <a:lnTo>
                        <a:pt x="2125" y="1922"/>
                      </a:lnTo>
                      <a:lnTo>
                        <a:pt x="2119" y="1924"/>
                      </a:lnTo>
                      <a:lnTo>
                        <a:pt x="2118" y="1924"/>
                      </a:lnTo>
                      <a:lnTo>
                        <a:pt x="2112" y="1924"/>
                      </a:lnTo>
                      <a:lnTo>
                        <a:pt x="2108" y="1927"/>
                      </a:lnTo>
                      <a:lnTo>
                        <a:pt x="2108" y="1926"/>
                      </a:lnTo>
                      <a:lnTo>
                        <a:pt x="2106" y="1924"/>
                      </a:lnTo>
                      <a:lnTo>
                        <a:pt x="2099" y="1920"/>
                      </a:lnTo>
                      <a:lnTo>
                        <a:pt x="2097" y="1920"/>
                      </a:lnTo>
                      <a:lnTo>
                        <a:pt x="2093" y="1920"/>
                      </a:lnTo>
                      <a:lnTo>
                        <a:pt x="2080" y="1924"/>
                      </a:lnTo>
                      <a:lnTo>
                        <a:pt x="2072" y="1929"/>
                      </a:lnTo>
                      <a:lnTo>
                        <a:pt x="2072" y="1933"/>
                      </a:lnTo>
                      <a:lnTo>
                        <a:pt x="2071" y="1948"/>
                      </a:lnTo>
                      <a:lnTo>
                        <a:pt x="2065" y="1950"/>
                      </a:lnTo>
                      <a:lnTo>
                        <a:pt x="2059" y="1954"/>
                      </a:lnTo>
                      <a:lnTo>
                        <a:pt x="2063" y="1958"/>
                      </a:lnTo>
                      <a:lnTo>
                        <a:pt x="2061" y="1965"/>
                      </a:lnTo>
                      <a:lnTo>
                        <a:pt x="2061" y="1967"/>
                      </a:lnTo>
                      <a:lnTo>
                        <a:pt x="2055" y="1975"/>
                      </a:lnTo>
                      <a:lnTo>
                        <a:pt x="2061" y="1986"/>
                      </a:lnTo>
                      <a:lnTo>
                        <a:pt x="2059" y="1997"/>
                      </a:lnTo>
                      <a:lnTo>
                        <a:pt x="2059" y="2007"/>
                      </a:lnTo>
                      <a:lnTo>
                        <a:pt x="2057" y="2014"/>
                      </a:lnTo>
                      <a:lnTo>
                        <a:pt x="2057" y="2016"/>
                      </a:lnTo>
                      <a:lnTo>
                        <a:pt x="2055" y="2016"/>
                      </a:lnTo>
                      <a:lnTo>
                        <a:pt x="2046" y="2016"/>
                      </a:lnTo>
                      <a:lnTo>
                        <a:pt x="2040" y="2018"/>
                      </a:lnTo>
                      <a:lnTo>
                        <a:pt x="2039" y="2018"/>
                      </a:lnTo>
                      <a:lnTo>
                        <a:pt x="2033" y="2010"/>
                      </a:lnTo>
                      <a:lnTo>
                        <a:pt x="2035" y="2016"/>
                      </a:lnTo>
                      <a:lnTo>
                        <a:pt x="2035" y="2018"/>
                      </a:lnTo>
                      <a:lnTo>
                        <a:pt x="2016" y="2018"/>
                      </a:lnTo>
                      <a:lnTo>
                        <a:pt x="2014" y="2018"/>
                      </a:lnTo>
                      <a:lnTo>
                        <a:pt x="2010" y="2022"/>
                      </a:lnTo>
                      <a:lnTo>
                        <a:pt x="2008" y="2027"/>
                      </a:lnTo>
                      <a:lnTo>
                        <a:pt x="2007" y="2029"/>
                      </a:lnTo>
                      <a:lnTo>
                        <a:pt x="2005" y="2031"/>
                      </a:lnTo>
                      <a:lnTo>
                        <a:pt x="2003" y="2033"/>
                      </a:lnTo>
                      <a:lnTo>
                        <a:pt x="1999" y="2035"/>
                      </a:lnTo>
                      <a:lnTo>
                        <a:pt x="1997" y="2033"/>
                      </a:lnTo>
                      <a:lnTo>
                        <a:pt x="1995" y="2031"/>
                      </a:lnTo>
                      <a:lnTo>
                        <a:pt x="1995" y="2035"/>
                      </a:lnTo>
                      <a:lnTo>
                        <a:pt x="1993" y="2033"/>
                      </a:lnTo>
                      <a:lnTo>
                        <a:pt x="1992" y="2033"/>
                      </a:lnTo>
                      <a:lnTo>
                        <a:pt x="1990" y="2033"/>
                      </a:lnTo>
                      <a:lnTo>
                        <a:pt x="1988" y="2029"/>
                      </a:lnTo>
                      <a:lnTo>
                        <a:pt x="1984" y="2029"/>
                      </a:lnTo>
                      <a:lnTo>
                        <a:pt x="1980" y="2027"/>
                      </a:lnTo>
                      <a:lnTo>
                        <a:pt x="1969" y="2027"/>
                      </a:lnTo>
                      <a:lnTo>
                        <a:pt x="1965" y="2035"/>
                      </a:lnTo>
                      <a:lnTo>
                        <a:pt x="1965" y="2040"/>
                      </a:lnTo>
                      <a:lnTo>
                        <a:pt x="1960" y="2042"/>
                      </a:lnTo>
                      <a:lnTo>
                        <a:pt x="1956" y="2042"/>
                      </a:lnTo>
                      <a:lnTo>
                        <a:pt x="1954" y="2042"/>
                      </a:lnTo>
                      <a:lnTo>
                        <a:pt x="1952" y="2042"/>
                      </a:lnTo>
                      <a:lnTo>
                        <a:pt x="1950" y="2044"/>
                      </a:lnTo>
                      <a:lnTo>
                        <a:pt x="1944" y="2046"/>
                      </a:lnTo>
                      <a:lnTo>
                        <a:pt x="1941" y="2037"/>
                      </a:lnTo>
                      <a:lnTo>
                        <a:pt x="1937" y="2035"/>
                      </a:lnTo>
                      <a:lnTo>
                        <a:pt x="1933" y="2023"/>
                      </a:lnTo>
                      <a:lnTo>
                        <a:pt x="1935" y="2022"/>
                      </a:lnTo>
                      <a:lnTo>
                        <a:pt x="1939" y="2016"/>
                      </a:lnTo>
                      <a:lnTo>
                        <a:pt x="1926" y="2016"/>
                      </a:lnTo>
                      <a:lnTo>
                        <a:pt x="1918" y="2016"/>
                      </a:lnTo>
                      <a:lnTo>
                        <a:pt x="1918" y="2020"/>
                      </a:lnTo>
                      <a:lnTo>
                        <a:pt x="1914" y="2029"/>
                      </a:lnTo>
                      <a:lnTo>
                        <a:pt x="1914" y="2033"/>
                      </a:lnTo>
                      <a:lnTo>
                        <a:pt x="1914" y="2037"/>
                      </a:lnTo>
                      <a:lnTo>
                        <a:pt x="1913" y="2037"/>
                      </a:lnTo>
                      <a:lnTo>
                        <a:pt x="1905" y="2042"/>
                      </a:lnTo>
                      <a:lnTo>
                        <a:pt x="1905" y="2044"/>
                      </a:lnTo>
                      <a:lnTo>
                        <a:pt x="1905" y="2048"/>
                      </a:lnTo>
                      <a:lnTo>
                        <a:pt x="1905" y="2050"/>
                      </a:lnTo>
                      <a:lnTo>
                        <a:pt x="1905" y="2052"/>
                      </a:lnTo>
                      <a:lnTo>
                        <a:pt x="1901" y="2054"/>
                      </a:lnTo>
                      <a:lnTo>
                        <a:pt x="1899" y="2055"/>
                      </a:lnTo>
                      <a:lnTo>
                        <a:pt x="1896" y="2055"/>
                      </a:lnTo>
                      <a:lnTo>
                        <a:pt x="1886" y="2039"/>
                      </a:lnTo>
                      <a:lnTo>
                        <a:pt x="1882" y="2039"/>
                      </a:lnTo>
                      <a:lnTo>
                        <a:pt x="1886" y="2035"/>
                      </a:lnTo>
                      <a:lnTo>
                        <a:pt x="1879" y="2033"/>
                      </a:lnTo>
                      <a:lnTo>
                        <a:pt x="1888" y="2023"/>
                      </a:lnTo>
                      <a:lnTo>
                        <a:pt x="1886" y="2020"/>
                      </a:lnTo>
                      <a:lnTo>
                        <a:pt x="1881" y="2018"/>
                      </a:lnTo>
                      <a:lnTo>
                        <a:pt x="1875" y="2016"/>
                      </a:lnTo>
                      <a:lnTo>
                        <a:pt x="1869" y="2014"/>
                      </a:lnTo>
                      <a:lnTo>
                        <a:pt x="1865" y="2012"/>
                      </a:lnTo>
                      <a:lnTo>
                        <a:pt x="1860" y="2001"/>
                      </a:lnTo>
                      <a:lnTo>
                        <a:pt x="1854" y="1999"/>
                      </a:lnTo>
                      <a:lnTo>
                        <a:pt x="1847" y="1999"/>
                      </a:lnTo>
                      <a:lnTo>
                        <a:pt x="1841" y="2001"/>
                      </a:lnTo>
                      <a:lnTo>
                        <a:pt x="1835" y="2003"/>
                      </a:lnTo>
                      <a:lnTo>
                        <a:pt x="1830" y="1999"/>
                      </a:lnTo>
                      <a:lnTo>
                        <a:pt x="1824" y="2003"/>
                      </a:lnTo>
                      <a:lnTo>
                        <a:pt x="1820" y="2008"/>
                      </a:lnTo>
                      <a:lnTo>
                        <a:pt x="1818" y="2010"/>
                      </a:lnTo>
                      <a:lnTo>
                        <a:pt x="1809" y="2012"/>
                      </a:lnTo>
                      <a:lnTo>
                        <a:pt x="1805" y="2016"/>
                      </a:lnTo>
                      <a:lnTo>
                        <a:pt x="1798" y="2016"/>
                      </a:lnTo>
                      <a:lnTo>
                        <a:pt x="1786" y="2012"/>
                      </a:lnTo>
                      <a:lnTo>
                        <a:pt x="1779" y="2008"/>
                      </a:lnTo>
                      <a:lnTo>
                        <a:pt x="1777" y="2007"/>
                      </a:lnTo>
                      <a:lnTo>
                        <a:pt x="1775" y="2014"/>
                      </a:lnTo>
                      <a:lnTo>
                        <a:pt x="1773" y="2014"/>
                      </a:lnTo>
                      <a:lnTo>
                        <a:pt x="1775" y="2018"/>
                      </a:lnTo>
                      <a:lnTo>
                        <a:pt x="1771" y="2018"/>
                      </a:lnTo>
                      <a:lnTo>
                        <a:pt x="1770" y="2020"/>
                      </a:lnTo>
                      <a:lnTo>
                        <a:pt x="1760" y="2018"/>
                      </a:lnTo>
                      <a:lnTo>
                        <a:pt x="1749" y="2023"/>
                      </a:lnTo>
                      <a:lnTo>
                        <a:pt x="1739" y="2037"/>
                      </a:lnTo>
                      <a:lnTo>
                        <a:pt x="1739" y="2039"/>
                      </a:lnTo>
                      <a:lnTo>
                        <a:pt x="1738" y="2050"/>
                      </a:lnTo>
                      <a:lnTo>
                        <a:pt x="1730" y="2059"/>
                      </a:lnTo>
                      <a:lnTo>
                        <a:pt x="1728" y="2061"/>
                      </a:lnTo>
                      <a:lnTo>
                        <a:pt x="1730" y="2067"/>
                      </a:lnTo>
                      <a:lnTo>
                        <a:pt x="1726" y="2071"/>
                      </a:lnTo>
                      <a:lnTo>
                        <a:pt x="1721" y="2076"/>
                      </a:lnTo>
                      <a:lnTo>
                        <a:pt x="1715" y="2080"/>
                      </a:lnTo>
                      <a:lnTo>
                        <a:pt x="1709" y="2086"/>
                      </a:lnTo>
                      <a:lnTo>
                        <a:pt x="1707" y="2087"/>
                      </a:lnTo>
                      <a:lnTo>
                        <a:pt x="1707" y="2089"/>
                      </a:lnTo>
                      <a:lnTo>
                        <a:pt x="1702" y="2093"/>
                      </a:lnTo>
                      <a:lnTo>
                        <a:pt x="1698" y="2093"/>
                      </a:lnTo>
                      <a:lnTo>
                        <a:pt x="1696" y="2099"/>
                      </a:lnTo>
                      <a:lnTo>
                        <a:pt x="1694" y="2097"/>
                      </a:lnTo>
                      <a:lnTo>
                        <a:pt x="1689" y="2091"/>
                      </a:lnTo>
                      <a:lnTo>
                        <a:pt x="1687" y="2091"/>
                      </a:lnTo>
                      <a:lnTo>
                        <a:pt x="1685" y="2086"/>
                      </a:lnTo>
                      <a:lnTo>
                        <a:pt x="1685" y="2078"/>
                      </a:lnTo>
                      <a:lnTo>
                        <a:pt x="1687" y="2072"/>
                      </a:lnTo>
                      <a:lnTo>
                        <a:pt x="1689" y="2072"/>
                      </a:lnTo>
                      <a:lnTo>
                        <a:pt x="1681" y="2069"/>
                      </a:lnTo>
                      <a:lnTo>
                        <a:pt x="1674" y="2065"/>
                      </a:lnTo>
                      <a:lnTo>
                        <a:pt x="1666" y="2063"/>
                      </a:lnTo>
                      <a:lnTo>
                        <a:pt x="1660" y="2063"/>
                      </a:lnTo>
                      <a:lnTo>
                        <a:pt x="1645" y="2067"/>
                      </a:lnTo>
                      <a:lnTo>
                        <a:pt x="1640" y="2063"/>
                      </a:lnTo>
                      <a:lnTo>
                        <a:pt x="1636" y="2050"/>
                      </a:lnTo>
                      <a:lnTo>
                        <a:pt x="1627" y="2055"/>
                      </a:lnTo>
                      <a:lnTo>
                        <a:pt x="1615" y="2061"/>
                      </a:lnTo>
                      <a:lnTo>
                        <a:pt x="1610" y="2054"/>
                      </a:lnTo>
                      <a:lnTo>
                        <a:pt x="1604" y="2044"/>
                      </a:lnTo>
                      <a:lnTo>
                        <a:pt x="1589" y="2050"/>
                      </a:lnTo>
                      <a:lnTo>
                        <a:pt x="1581" y="2052"/>
                      </a:lnTo>
                      <a:lnTo>
                        <a:pt x="1581" y="2050"/>
                      </a:lnTo>
                      <a:lnTo>
                        <a:pt x="1581" y="2048"/>
                      </a:lnTo>
                      <a:lnTo>
                        <a:pt x="1580" y="2048"/>
                      </a:lnTo>
                      <a:lnTo>
                        <a:pt x="1580" y="2050"/>
                      </a:lnTo>
                      <a:lnTo>
                        <a:pt x="1578" y="2050"/>
                      </a:lnTo>
                      <a:lnTo>
                        <a:pt x="1578" y="2052"/>
                      </a:lnTo>
                      <a:lnTo>
                        <a:pt x="1576" y="2052"/>
                      </a:lnTo>
                      <a:lnTo>
                        <a:pt x="1574" y="2052"/>
                      </a:lnTo>
                      <a:lnTo>
                        <a:pt x="1565" y="2046"/>
                      </a:lnTo>
                      <a:lnTo>
                        <a:pt x="1568" y="2035"/>
                      </a:lnTo>
                      <a:lnTo>
                        <a:pt x="1572" y="2027"/>
                      </a:lnTo>
                      <a:lnTo>
                        <a:pt x="1574" y="2022"/>
                      </a:lnTo>
                      <a:lnTo>
                        <a:pt x="1561" y="2018"/>
                      </a:lnTo>
                      <a:lnTo>
                        <a:pt x="1561" y="2014"/>
                      </a:lnTo>
                      <a:lnTo>
                        <a:pt x="1561" y="2010"/>
                      </a:lnTo>
                      <a:lnTo>
                        <a:pt x="1561" y="2008"/>
                      </a:lnTo>
                      <a:lnTo>
                        <a:pt x="1555" y="2007"/>
                      </a:lnTo>
                      <a:lnTo>
                        <a:pt x="1549" y="2007"/>
                      </a:lnTo>
                      <a:lnTo>
                        <a:pt x="1544" y="2005"/>
                      </a:lnTo>
                      <a:lnTo>
                        <a:pt x="1542" y="2005"/>
                      </a:lnTo>
                      <a:lnTo>
                        <a:pt x="1527" y="1995"/>
                      </a:lnTo>
                      <a:lnTo>
                        <a:pt x="1506" y="1986"/>
                      </a:lnTo>
                      <a:lnTo>
                        <a:pt x="1504" y="1984"/>
                      </a:lnTo>
                      <a:lnTo>
                        <a:pt x="1495" y="1980"/>
                      </a:lnTo>
                      <a:lnTo>
                        <a:pt x="1486" y="1982"/>
                      </a:lnTo>
                      <a:lnTo>
                        <a:pt x="1482" y="2003"/>
                      </a:lnTo>
                      <a:lnTo>
                        <a:pt x="1480" y="2005"/>
                      </a:lnTo>
                      <a:lnTo>
                        <a:pt x="1476" y="2016"/>
                      </a:lnTo>
                      <a:lnTo>
                        <a:pt x="1472" y="2023"/>
                      </a:lnTo>
                      <a:lnTo>
                        <a:pt x="1469" y="2033"/>
                      </a:lnTo>
                      <a:lnTo>
                        <a:pt x="1469" y="2042"/>
                      </a:lnTo>
                      <a:lnTo>
                        <a:pt x="1457" y="2048"/>
                      </a:lnTo>
                      <a:lnTo>
                        <a:pt x="1461" y="2050"/>
                      </a:lnTo>
                      <a:lnTo>
                        <a:pt x="1461" y="2052"/>
                      </a:lnTo>
                      <a:lnTo>
                        <a:pt x="1459" y="2072"/>
                      </a:lnTo>
                      <a:lnTo>
                        <a:pt x="1450" y="2071"/>
                      </a:lnTo>
                      <a:lnTo>
                        <a:pt x="1446" y="2063"/>
                      </a:lnTo>
                      <a:lnTo>
                        <a:pt x="1437" y="2061"/>
                      </a:lnTo>
                      <a:lnTo>
                        <a:pt x="1437" y="2063"/>
                      </a:lnTo>
                      <a:lnTo>
                        <a:pt x="1437" y="2065"/>
                      </a:lnTo>
                      <a:lnTo>
                        <a:pt x="1437" y="2067"/>
                      </a:lnTo>
                      <a:lnTo>
                        <a:pt x="1439" y="2067"/>
                      </a:lnTo>
                      <a:lnTo>
                        <a:pt x="1439" y="2069"/>
                      </a:lnTo>
                      <a:lnTo>
                        <a:pt x="1439" y="2071"/>
                      </a:lnTo>
                      <a:lnTo>
                        <a:pt x="1440" y="2071"/>
                      </a:lnTo>
                      <a:lnTo>
                        <a:pt x="1440" y="2072"/>
                      </a:lnTo>
                      <a:lnTo>
                        <a:pt x="1442" y="2072"/>
                      </a:lnTo>
                      <a:lnTo>
                        <a:pt x="1442" y="2074"/>
                      </a:lnTo>
                      <a:lnTo>
                        <a:pt x="1442" y="2082"/>
                      </a:lnTo>
                      <a:lnTo>
                        <a:pt x="1435" y="2086"/>
                      </a:lnTo>
                      <a:lnTo>
                        <a:pt x="1439" y="2097"/>
                      </a:lnTo>
                      <a:lnTo>
                        <a:pt x="1440" y="2104"/>
                      </a:lnTo>
                      <a:lnTo>
                        <a:pt x="1435" y="2110"/>
                      </a:lnTo>
                      <a:lnTo>
                        <a:pt x="1440" y="2118"/>
                      </a:lnTo>
                      <a:lnTo>
                        <a:pt x="1450" y="2123"/>
                      </a:lnTo>
                      <a:lnTo>
                        <a:pt x="1446" y="2127"/>
                      </a:lnTo>
                      <a:lnTo>
                        <a:pt x="1439" y="2150"/>
                      </a:lnTo>
                      <a:lnTo>
                        <a:pt x="1433" y="2129"/>
                      </a:lnTo>
                      <a:lnTo>
                        <a:pt x="1420" y="2138"/>
                      </a:lnTo>
                      <a:lnTo>
                        <a:pt x="1416" y="2157"/>
                      </a:lnTo>
                      <a:lnTo>
                        <a:pt x="1416" y="2167"/>
                      </a:lnTo>
                      <a:lnTo>
                        <a:pt x="1414" y="2167"/>
                      </a:lnTo>
                      <a:lnTo>
                        <a:pt x="1408" y="2170"/>
                      </a:lnTo>
                      <a:lnTo>
                        <a:pt x="1399" y="2172"/>
                      </a:lnTo>
                      <a:lnTo>
                        <a:pt x="1397" y="2183"/>
                      </a:lnTo>
                      <a:lnTo>
                        <a:pt x="1391" y="2182"/>
                      </a:lnTo>
                      <a:lnTo>
                        <a:pt x="1391" y="2185"/>
                      </a:lnTo>
                      <a:lnTo>
                        <a:pt x="1391" y="2187"/>
                      </a:lnTo>
                      <a:lnTo>
                        <a:pt x="1384" y="2187"/>
                      </a:lnTo>
                      <a:lnTo>
                        <a:pt x="1378" y="2187"/>
                      </a:lnTo>
                      <a:lnTo>
                        <a:pt x="1363" y="2182"/>
                      </a:lnTo>
                      <a:lnTo>
                        <a:pt x="1360" y="2180"/>
                      </a:lnTo>
                      <a:lnTo>
                        <a:pt x="1358" y="2176"/>
                      </a:lnTo>
                      <a:lnTo>
                        <a:pt x="1358" y="2172"/>
                      </a:lnTo>
                      <a:lnTo>
                        <a:pt x="1354" y="2172"/>
                      </a:lnTo>
                      <a:lnTo>
                        <a:pt x="1352" y="2172"/>
                      </a:lnTo>
                      <a:lnTo>
                        <a:pt x="1348" y="2167"/>
                      </a:lnTo>
                      <a:lnTo>
                        <a:pt x="1344" y="2170"/>
                      </a:lnTo>
                      <a:lnTo>
                        <a:pt x="1343" y="2172"/>
                      </a:lnTo>
                      <a:lnTo>
                        <a:pt x="1341" y="2174"/>
                      </a:lnTo>
                      <a:lnTo>
                        <a:pt x="1337" y="2180"/>
                      </a:lnTo>
                      <a:lnTo>
                        <a:pt x="1333" y="2178"/>
                      </a:lnTo>
                      <a:lnTo>
                        <a:pt x="1331" y="2174"/>
                      </a:lnTo>
                      <a:lnTo>
                        <a:pt x="1326" y="2168"/>
                      </a:lnTo>
                      <a:lnTo>
                        <a:pt x="1320" y="2168"/>
                      </a:lnTo>
                      <a:lnTo>
                        <a:pt x="1316" y="2168"/>
                      </a:lnTo>
                      <a:lnTo>
                        <a:pt x="1312" y="2170"/>
                      </a:lnTo>
                      <a:lnTo>
                        <a:pt x="1309" y="2172"/>
                      </a:lnTo>
                      <a:lnTo>
                        <a:pt x="1301" y="2174"/>
                      </a:lnTo>
                      <a:lnTo>
                        <a:pt x="1297" y="2174"/>
                      </a:lnTo>
                      <a:lnTo>
                        <a:pt x="1299" y="2180"/>
                      </a:lnTo>
                      <a:lnTo>
                        <a:pt x="1301" y="2193"/>
                      </a:lnTo>
                      <a:lnTo>
                        <a:pt x="1303" y="2200"/>
                      </a:lnTo>
                      <a:lnTo>
                        <a:pt x="1301" y="2204"/>
                      </a:lnTo>
                      <a:lnTo>
                        <a:pt x="1294" y="2206"/>
                      </a:lnTo>
                      <a:lnTo>
                        <a:pt x="1288" y="2206"/>
                      </a:lnTo>
                      <a:lnTo>
                        <a:pt x="1282" y="2204"/>
                      </a:lnTo>
                      <a:lnTo>
                        <a:pt x="1282" y="2206"/>
                      </a:lnTo>
                      <a:lnTo>
                        <a:pt x="1273" y="2212"/>
                      </a:lnTo>
                      <a:lnTo>
                        <a:pt x="1271" y="2217"/>
                      </a:lnTo>
                      <a:lnTo>
                        <a:pt x="1265" y="2215"/>
                      </a:lnTo>
                      <a:lnTo>
                        <a:pt x="1250" y="2223"/>
                      </a:lnTo>
                      <a:lnTo>
                        <a:pt x="1237" y="2219"/>
                      </a:lnTo>
                      <a:lnTo>
                        <a:pt x="1237" y="2227"/>
                      </a:lnTo>
                      <a:lnTo>
                        <a:pt x="1232" y="2238"/>
                      </a:lnTo>
                      <a:lnTo>
                        <a:pt x="1230" y="2240"/>
                      </a:lnTo>
                      <a:lnTo>
                        <a:pt x="1220" y="2244"/>
                      </a:lnTo>
                      <a:lnTo>
                        <a:pt x="1211" y="2255"/>
                      </a:lnTo>
                      <a:lnTo>
                        <a:pt x="1209" y="2257"/>
                      </a:lnTo>
                      <a:lnTo>
                        <a:pt x="1207" y="2257"/>
                      </a:lnTo>
                      <a:lnTo>
                        <a:pt x="1207" y="2259"/>
                      </a:lnTo>
                      <a:lnTo>
                        <a:pt x="1196" y="2283"/>
                      </a:lnTo>
                      <a:lnTo>
                        <a:pt x="1202" y="2295"/>
                      </a:lnTo>
                      <a:lnTo>
                        <a:pt x="1190" y="2300"/>
                      </a:lnTo>
                      <a:lnTo>
                        <a:pt x="1185" y="2302"/>
                      </a:lnTo>
                      <a:lnTo>
                        <a:pt x="1175" y="2302"/>
                      </a:lnTo>
                      <a:lnTo>
                        <a:pt x="1170" y="2300"/>
                      </a:lnTo>
                      <a:lnTo>
                        <a:pt x="1151" y="2298"/>
                      </a:lnTo>
                      <a:lnTo>
                        <a:pt x="1121" y="2306"/>
                      </a:lnTo>
                      <a:lnTo>
                        <a:pt x="1115" y="2315"/>
                      </a:lnTo>
                      <a:lnTo>
                        <a:pt x="1107" y="2319"/>
                      </a:lnTo>
                      <a:lnTo>
                        <a:pt x="1107" y="2327"/>
                      </a:lnTo>
                      <a:lnTo>
                        <a:pt x="1111" y="2332"/>
                      </a:lnTo>
                      <a:lnTo>
                        <a:pt x="1117" y="2342"/>
                      </a:lnTo>
                      <a:lnTo>
                        <a:pt x="1117" y="2353"/>
                      </a:lnTo>
                      <a:lnTo>
                        <a:pt x="1115" y="2359"/>
                      </a:lnTo>
                      <a:lnTo>
                        <a:pt x="1113" y="2364"/>
                      </a:lnTo>
                      <a:lnTo>
                        <a:pt x="1109" y="2376"/>
                      </a:lnTo>
                      <a:lnTo>
                        <a:pt x="1094" y="2381"/>
                      </a:lnTo>
                      <a:lnTo>
                        <a:pt x="1092" y="2391"/>
                      </a:lnTo>
                      <a:lnTo>
                        <a:pt x="1089" y="2391"/>
                      </a:lnTo>
                      <a:lnTo>
                        <a:pt x="1074" y="2387"/>
                      </a:lnTo>
                      <a:lnTo>
                        <a:pt x="1072" y="2387"/>
                      </a:lnTo>
                      <a:lnTo>
                        <a:pt x="1064" y="2391"/>
                      </a:lnTo>
                      <a:lnTo>
                        <a:pt x="1057" y="2391"/>
                      </a:lnTo>
                      <a:lnTo>
                        <a:pt x="1057" y="2385"/>
                      </a:lnTo>
                      <a:lnTo>
                        <a:pt x="1049" y="2372"/>
                      </a:lnTo>
                      <a:lnTo>
                        <a:pt x="1047" y="2372"/>
                      </a:lnTo>
                      <a:lnTo>
                        <a:pt x="1032" y="2391"/>
                      </a:lnTo>
                      <a:lnTo>
                        <a:pt x="1017" y="2389"/>
                      </a:lnTo>
                      <a:lnTo>
                        <a:pt x="1002" y="2377"/>
                      </a:lnTo>
                      <a:lnTo>
                        <a:pt x="998" y="2381"/>
                      </a:lnTo>
                      <a:lnTo>
                        <a:pt x="998" y="2374"/>
                      </a:lnTo>
                      <a:lnTo>
                        <a:pt x="996" y="2366"/>
                      </a:lnTo>
                      <a:lnTo>
                        <a:pt x="993" y="2364"/>
                      </a:lnTo>
                      <a:lnTo>
                        <a:pt x="989" y="2360"/>
                      </a:lnTo>
                      <a:lnTo>
                        <a:pt x="981" y="2349"/>
                      </a:lnTo>
                      <a:lnTo>
                        <a:pt x="970" y="2347"/>
                      </a:lnTo>
                      <a:lnTo>
                        <a:pt x="961" y="2342"/>
                      </a:lnTo>
                      <a:lnTo>
                        <a:pt x="953" y="2332"/>
                      </a:lnTo>
                      <a:lnTo>
                        <a:pt x="953" y="2311"/>
                      </a:lnTo>
                      <a:lnTo>
                        <a:pt x="951" y="2306"/>
                      </a:lnTo>
                      <a:lnTo>
                        <a:pt x="942" y="2300"/>
                      </a:lnTo>
                      <a:lnTo>
                        <a:pt x="940" y="2289"/>
                      </a:lnTo>
                      <a:lnTo>
                        <a:pt x="934" y="2278"/>
                      </a:lnTo>
                      <a:lnTo>
                        <a:pt x="936" y="2274"/>
                      </a:lnTo>
                      <a:lnTo>
                        <a:pt x="931" y="2257"/>
                      </a:lnTo>
                      <a:lnTo>
                        <a:pt x="929" y="2249"/>
                      </a:lnTo>
                      <a:lnTo>
                        <a:pt x="929" y="2244"/>
                      </a:lnTo>
                      <a:lnTo>
                        <a:pt x="925" y="2225"/>
                      </a:lnTo>
                      <a:lnTo>
                        <a:pt x="927" y="2225"/>
                      </a:lnTo>
                      <a:lnTo>
                        <a:pt x="938" y="2231"/>
                      </a:lnTo>
                      <a:lnTo>
                        <a:pt x="938" y="2232"/>
                      </a:lnTo>
                      <a:lnTo>
                        <a:pt x="944" y="2225"/>
                      </a:lnTo>
                      <a:lnTo>
                        <a:pt x="948" y="2221"/>
                      </a:lnTo>
                      <a:lnTo>
                        <a:pt x="949" y="2219"/>
                      </a:lnTo>
                      <a:lnTo>
                        <a:pt x="948" y="2210"/>
                      </a:lnTo>
                      <a:lnTo>
                        <a:pt x="961" y="2197"/>
                      </a:lnTo>
                      <a:lnTo>
                        <a:pt x="970" y="2199"/>
                      </a:lnTo>
                      <a:lnTo>
                        <a:pt x="968" y="2189"/>
                      </a:lnTo>
                      <a:lnTo>
                        <a:pt x="968" y="2187"/>
                      </a:lnTo>
                      <a:lnTo>
                        <a:pt x="968" y="2182"/>
                      </a:lnTo>
                      <a:lnTo>
                        <a:pt x="966" y="2174"/>
                      </a:lnTo>
                      <a:lnTo>
                        <a:pt x="966" y="2172"/>
                      </a:lnTo>
                      <a:lnTo>
                        <a:pt x="948" y="2174"/>
                      </a:lnTo>
                      <a:lnTo>
                        <a:pt x="951" y="2161"/>
                      </a:lnTo>
                      <a:lnTo>
                        <a:pt x="948" y="2161"/>
                      </a:lnTo>
                      <a:lnTo>
                        <a:pt x="944" y="2161"/>
                      </a:lnTo>
                      <a:lnTo>
                        <a:pt x="940" y="2163"/>
                      </a:lnTo>
                      <a:lnTo>
                        <a:pt x="938" y="2165"/>
                      </a:lnTo>
                      <a:lnTo>
                        <a:pt x="936" y="2167"/>
                      </a:lnTo>
                      <a:lnTo>
                        <a:pt x="934" y="2168"/>
                      </a:lnTo>
                      <a:lnTo>
                        <a:pt x="933" y="2172"/>
                      </a:lnTo>
                      <a:lnTo>
                        <a:pt x="933" y="2174"/>
                      </a:lnTo>
                      <a:lnTo>
                        <a:pt x="933" y="2176"/>
                      </a:lnTo>
                      <a:lnTo>
                        <a:pt x="931" y="2178"/>
                      </a:lnTo>
                      <a:lnTo>
                        <a:pt x="931" y="2180"/>
                      </a:lnTo>
                      <a:lnTo>
                        <a:pt x="927" y="2180"/>
                      </a:lnTo>
                      <a:lnTo>
                        <a:pt x="919" y="2182"/>
                      </a:lnTo>
                      <a:lnTo>
                        <a:pt x="916" y="2191"/>
                      </a:lnTo>
                      <a:lnTo>
                        <a:pt x="916" y="2195"/>
                      </a:lnTo>
                      <a:lnTo>
                        <a:pt x="908" y="2200"/>
                      </a:lnTo>
                      <a:lnTo>
                        <a:pt x="906" y="2204"/>
                      </a:lnTo>
                      <a:lnTo>
                        <a:pt x="902" y="2206"/>
                      </a:lnTo>
                      <a:lnTo>
                        <a:pt x="897" y="2210"/>
                      </a:lnTo>
                      <a:lnTo>
                        <a:pt x="897" y="2212"/>
                      </a:lnTo>
                      <a:lnTo>
                        <a:pt x="889" y="2219"/>
                      </a:lnTo>
                      <a:lnTo>
                        <a:pt x="874" y="2219"/>
                      </a:lnTo>
                      <a:lnTo>
                        <a:pt x="872" y="2221"/>
                      </a:lnTo>
                      <a:lnTo>
                        <a:pt x="867" y="2215"/>
                      </a:lnTo>
                      <a:lnTo>
                        <a:pt x="859" y="2214"/>
                      </a:lnTo>
                      <a:lnTo>
                        <a:pt x="855" y="2223"/>
                      </a:lnTo>
                      <a:lnTo>
                        <a:pt x="844" y="2229"/>
                      </a:lnTo>
                      <a:lnTo>
                        <a:pt x="838" y="2221"/>
                      </a:lnTo>
                      <a:lnTo>
                        <a:pt x="837" y="2225"/>
                      </a:lnTo>
                      <a:lnTo>
                        <a:pt x="837" y="2229"/>
                      </a:lnTo>
                      <a:lnTo>
                        <a:pt x="831" y="2232"/>
                      </a:lnTo>
                      <a:lnTo>
                        <a:pt x="837" y="2238"/>
                      </a:lnTo>
                      <a:lnTo>
                        <a:pt x="835" y="2238"/>
                      </a:lnTo>
                      <a:lnTo>
                        <a:pt x="829" y="2242"/>
                      </a:lnTo>
                      <a:lnTo>
                        <a:pt x="823" y="2246"/>
                      </a:lnTo>
                      <a:lnTo>
                        <a:pt x="820" y="2242"/>
                      </a:lnTo>
                      <a:lnTo>
                        <a:pt x="818" y="2238"/>
                      </a:lnTo>
                      <a:lnTo>
                        <a:pt x="816" y="2238"/>
                      </a:lnTo>
                      <a:lnTo>
                        <a:pt x="808" y="2247"/>
                      </a:lnTo>
                      <a:lnTo>
                        <a:pt x="808" y="2253"/>
                      </a:lnTo>
                      <a:lnTo>
                        <a:pt x="810" y="2257"/>
                      </a:lnTo>
                      <a:lnTo>
                        <a:pt x="807" y="2263"/>
                      </a:lnTo>
                      <a:lnTo>
                        <a:pt x="807" y="2264"/>
                      </a:lnTo>
                      <a:lnTo>
                        <a:pt x="805" y="2270"/>
                      </a:lnTo>
                      <a:lnTo>
                        <a:pt x="805" y="2274"/>
                      </a:lnTo>
                      <a:lnTo>
                        <a:pt x="807" y="2276"/>
                      </a:lnTo>
                      <a:lnTo>
                        <a:pt x="805" y="2287"/>
                      </a:lnTo>
                      <a:lnTo>
                        <a:pt x="805" y="2295"/>
                      </a:lnTo>
                      <a:lnTo>
                        <a:pt x="801" y="2298"/>
                      </a:lnTo>
                      <a:lnTo>
                        <a:pt x="799" y="2300"/>
                      </a:lnTo>
                      <a:lnTo>
                        <a:pt x="784" y="2308"/>
                      </a:lnTo>
                      <a:lnTo>
                        <a:pt x="780" y="2298"/>
                      </a:lnTo>
                      <a:lnTo>
                        <a:pt x="776" y="2289"/>
                      </a:lnTo>
                      <a:lnTo>
                        <a:pt x="775" y="2276"/>
                      </a:lnTo>
                      <a:lnTo>
                        <a:pt x="776" y="2255"/>
                      </a:lnTo>
                      <a:lnTo>
                        <a:pt x="782" y="2251"/>
                      </a:lnTo>
                      <a:lnTo>
                        <a:pt x="780" y="2251"/>
                      </a:lnTo>
                      <a:lnTo>
                        <a:pt x="780" y="2249"/>
                      </a:lnTo>
                      <a:lnTo>
                        <a:pt x="780" y="2247"/>
                      </a:lnTo>
                      <a:lnTo>
                        <a:pt x="778" y="2247"/>
                      </a:lnTo>
                      <a:lnTo>
                        <a:pt x="776" y="2247"/>
                      </a:lnTo>
                      <a:lnTo>
                        <a:pt x="775" y="2246"/>
                      </a:lnTo>
                      <a:lnTo>
                        <a:pt x="775" y="2244"/>
                      </a:lnTo>
                      <a:lnTo>
                        <a:pt x="775" y="2242"/>
                      </a:lnTo>
                      <a:lnTo>
                        <a:pt x="773" y="2242"/>
                      </a:lnTo>
                      <a:lnTo>
                        <a:pt x="773" y="2240"/>
                      </a:lnTo>
                      <a:lnTo>
                        <a:pt x="773" y="2238"/>
                      </a:lnTo>
                      <a:lnTo>
                        <a:pt x="771" y="2238"/>
                      </a:lnTo>
                      <a:lnTo>
                        <a:pt x="771" y="2236"/>
                      </a:lnTo>
                      <a:lnTo>
                        <a:pt x="771" y="2234"/>
                      </a:lnTo>
                      <a:lnTo>
                        <a:pt x="771" y="2232"/>
                      </a:lnTo>
                      <a:lnTo>
                        <a:pt x="769" y="2232"/>
                      </a:lnTo>
                      <a:lnTo>
                        <a:pt x="769" y="2231"/>
                      </a:lnTo>
                      <a:lnTo>
                        <a:pt x="767" y="2229"/>
                      </a:lnTo>
                      <a:lnTo>
                        <a:pt x="767" y="2227"/>
                      </a:lnTo>
                      <a:lnTo>
                        <a:pt x="765" y="2225"/>
                      </a:lnTo>
                      <a:lnTo>
                        <a:pt x="765" y="2223"/>
                      </a:lnTo>
                      <a:lnTo>
                        <a:pt x="763" y="2223"/>
                      </a:lnTo>
                      <a:lnTo>
                        <a:pt x="763" y="2221"/>
                      </a:lnTo>
                      <a:lnTo>
                        <a:pt x="761" y="2221"/>
                      </a:lnTo>
                      <a:lnTo>
                        <a:pt x="761" y="2219"/>
                      </a:lnTo>
                      <a:lnTo>
                        <a:pt x="761" y="2217"/>
                      </a:lnTo>
                      <a:lnTo>
                        <a:pt x="761" y="2215"/>
                      </a:lnTo>
                      <a:lnTo>
                        <a:pt x="759" y="2215"/>
                      </a:lnTo>
                      <a:lnTo>
                        <a:pt x="754" y="2193"/>
                      </a:lnTo>
                      <a:lnTo>
                        <a:pt x="775" y="2182"/>
                      </a:lnTo>
                      <a:lnTo>
                        <a:pt x="775" y="2180"/>
                      </a:lnTo>
                      <a:lnTo>
                        <a:pt x="776" y="2178"/>
                      </a:lnTo>
                      <a:lnTo>
                        <a:pt x="775" y="2178"/>
                      </a:lnTo>
                      <a:lnTo>
                        <a:pt x="775" y="2176"/>
                      </a:lnTo>
                      <a:lnTo>
                        <a:pt x="775" y="2174"/>
                      </a:lnTo>
                      <a:lnTo>
                        <a:pt x="775" y="2172"/>
                      </a:lnTo>
                      <a:lnTo>
                        <a:pt x="776" y="2172"/>
                      </a:lnTo>
                      <a:lnTo>
                        <a:pt x="776" y="2170"/>
                      </a:lnTo>
                      <a:lnTo>
                        <a:pt x="776" y="2168"/>
                      </a:lnTo>
                      <a:lnTo>
                        <a:pt x="778" y="2167"/>
                      </a:lnTo>
                      <a:lnTo>
                        <a:pt x="776" y="2165"/>
                      </a:lnTo>
                      <a:lnTo>
                        <a:pt x="776" y="2163"/>
                      </a:lnTo>
                      <a:lnTo>
                        <a:pt x="778" y="2159"/>
                      </a:lnTo>
                      <a:lnTo>
                        <a:pt x="775" y="2153"/>
                      </a:lnTo>
                      <a:lnTo>
                        <a:pt x="773" y="2155"/>
                      </a:lnTo>
                      <a:lnTo>
                        <a:pt x="773" y="2153"/>
                      </a:lnTo>
                      <a:lnTo>
                        <a:pt x="771" y="2150"/>
                      </a:lnTo>
                      <a:lnTo>
                        <a:pt x="775" y="2146"/>
                      </a:lnTo>
                      <a:lnTo>
                        <a:pt x="775" y="2144"/>
                      </a:lnTo>
                      <a:lnTo>
                        <a:pt x="780" y="2142"/>
                      </a:lnTo>
                      <a:lnTo>
                        <a:pt x="782" y="2140"/>
                      </a:lnTo>
                      <a:lnTo>
                        <a:pt x="780" y="2131"/>
                      </a:lnTo>
                      <a:lnTo>
                        <a:pt x="775" y="2142"/>
                      </a:lnTo>
                      <a:lnTo>
                        <a:pt x="775" y="2140"/>
                      </a:lnTo>
                      <a:lnTo>
                        <a:pt x="773" y="2138"/>
                      </a:lnTo>
                      <a:lnTo>
                        <a:pt x="775" y="2133"/>
                      </a:lnTo>
                      <a:lnTo>
                        <a:pt x="775" y="2131"/>
                      </a:lnTo>
                      <a:lnTo>
                        <a:pt x="775" y="2129"/>
                      </a:lnTo>
                      <a:lnTo>
                        <a:pt x="775" y="2127"/>
                      </a:lnTo>
                      <a:lnTo>
                        <a:pt x="773" y="2127"/>
                      </a:lnTo>
                      <a:lnTo>
                        <a:pt x="771" y="2127"/>
                      </a:lnTo>
                      <a:lnTo>
                        <a:pt x="769" y="2127"/>
                      </a:lnTo>
                      <a:lnTo>
                        <a:pt x="763" y="2119"/>
                      </a:lnTo>
                      <a:lnTo>
                        <a:pt x="758" y="2114"/>
                      </a:lnTo>
                      <a:lnTo>
                        <a:pt x="750" y="2110"/>
                      </a:lnTo>
                      <a:lnTo>
                        <a:pt x="746" y="2116"/>
                      </a:lnTo>
                      <a:lnTo>
                        <a:pt x="743" y="2118"/>
                      </a:lnTo>
                      <a:lnTo>
                        <a:pt x="741" y="2114"/>
                      </a:lnTo>
                      <a:lnTo>
                        <a:pt x="733" y="2108"/>
                      </a:lnTo>
                      <a:lnTo>
                        <a:pt x="733" y="2101"/>
                      </a:lnTo>
                      <a:lnTo>
                        <a:pt x="724" y="2095"/>
                      </a:lnTo>
                      <a:lnTo>
                        <a:pt x="720" y="2099"/>
                      </a:lnTo>
                      <a:lnTo>
                        <a:pt x="718" y="2095"/>
                      </a:lnTo>
                      <a:lnTo>
                        <a:pt x="722" y="2082"/>
                      </a:lnTo>
                      <a:lnTo>
                        <a:pt x="724" y="2063"/>
                      </a:lnTo>
                      <a:lnTo>
                        <a:pt x="714" y="2076"/>
                      </a:lnTo>
                      <a:lnTo>
                        <a:pt x="712" y="2078"/>
                      </a:lnTo>
                      <a:lnTo>
                        <a:pt x="703" y="2089"/>
                      </a:lnTo>
                      <a:lnTo>
                        <a:pt x="701" y="2076"/>
                      </a:lnTo>
                      <a:lnTo>
                        <a:pt x="696" y="2076"/>
                      </a:lnTo>
                      <a:lnTo>
                        <a:pt x="694" y="2078"/>
                      </a:lnTo>
                      <a:lnTo>
                        <a:pt x="692" y="2076"/>
                      </a:lnTo>
                      <a:lnTo>
                        <a:pt x="690" y="2074"/>
                      </a:lnTo>
                      <a:lnTo>
                        <a:pt x="688" y="2074"/>
                      </a:lnTo>
                      <a:lnTo>
                        <a:pt x="688" y="2076"/>
                      </a:lnTo>
                      <a:lnTo>
                        <a:pt x="686" y="2078"/>
                      </a:lnTo>
                      <a:lnTo>
                        <a:pt x="684" y="2078"/>
                      </a:lnTo>
                      <a:lnTo>
                        <a:pt x="684" y="2076"/>
                      </a:lnTo>
                      <a:lnTo>
                        <a:pt x="682" y="2076"/>
                      </a:lnTo>
                      <a:lnTo>
                        <a:pt x="680" y="2076"/>
                      </a:lnTo>
                      <a:lnTo>
                        <a:pt x="679" y="2076"/>
                      </a:lnTo>
                      <a:lnTo>
                        <a:pt x="679" y="2074"/>
                      </a:lnTo>
                      <a:lnTo>
                        <a:pt x="677" y="2074"/>
                      </a:lnTo>
                      <a:lnTo>
                        <a:pt x="675" y="2074"/>
                      </a:lnTo>
                      <a:lnTo>
                        <a:pt x="675" y="2072"/>
                      </a:lnTo>
                      <a:lnTo>
                        <a:pt x="673" y="2072"/>
                      </a:lnTo>
                      <a:lnTo>
                        <a:pt x="671" y="2072"/>
                      </a:lnTo>
                      <a:lnTo>
                        <a:pt x="671" y="2071"/>
                      </a:lnTo>
                      <a:lnTo>
                        <a:pt x="669" y="2071"/>
                      </a:lnTo>
                      <a:lnTo>
                        <a:pt x="667" y="2071"/>
                      </a:lnTo>
                      <a:lnTo>
                        <a:pt x="665" y="2069"/>
                      </a:lnTo>
                      <a:lnTo>
                        <a:pt x="664" y="2069"/>
                      </a:lnTo>
                      <a:lnTo>
                        <a:pt x="662" y="2069"/>
                      </a:lnTo>
                      <a:lnTo>
                        <a:pt x="660" y="2069"/>
                      </a:lnTo>
                      <a:lnTo>
                        <a:pt x="660" y="2067"/>
                      </a:lnTo>
                      <a:lnTo>
                        <a:pt x="658" y="2067"/>
                      </a:lnTo>
                      <a:lnTo>
                        <a:pt x="656" y="2067"/>
                      </a:lnTo>
                      <a:lnTo>
                        <a:pt x="656" y="2065"/>
                      </a:lnTo>
                      <a:lnTo>
                        <a:pt x="658" y="2065"/>
                      </a:lnTo>
                      <a:lnTo>
                        <a:pt x="658" y="2063"/>
                      </a:lnTo>
                      <a:lnTo>
                        <a:pt x="658" y="2061"/>
                      </a:lnTo>
                      <a:lnTo>
                        <a:pt x="658" y="2059"/>
                      </a:lnTo>
                      <a:lnTo>
                        <a:pt x="658" y="2057"/>
                      </a:lnTo>
                      <a:lnTo>
                        <a:pt x="656" y="2057"/>
                      </a:lnTo>
                      <a:lnTo>
                        <a:pt x="658" y="2057"/>
                      </a:lnTo>
                      <a:lnTo>
                        <a:pt x="658" y="2055"/>
                      </a:lnTo>
                      <a:lnTo>
                        <a:pt x="658" y="2054"/>
                      </a:lnTo>
                      <a:lnTo>
                        <a:pt x="660" y="2054"/>
                      </a:lnTo>
                      <a:lnTo>
                        <a:pt x="662" y="2054"/>
                      </a:lnTo>
                      <a:lnTo>
                        <a:pt x="662" y="2052"/>
                      </a:lnTo>
                      <a:lnTo>
                        <a:pt x="664" y="2052"/>
                      </a:lnTo>
                      <a:lnTo>
                        <a:pt x="664" y="2050"/>
                      </a:lnTo>
                      <a:lnTo>
                        <a:pt x="665" y="2050"/>
                      </a:lnTo>
                      <a:lnTo>
                        <a:pt x="665" y="2048"/>
                      </a:lnTo>
                      <a:lnTo>
                        <a:pt x="667" y="2048"/>
                      </a:lnTo>
                      <a:lnTo>
                        <a:pt x="667" y="2046"/>
                      </a:lnTo>
                      <a:lnTo>
                        <a:pt x="669" y="2046"/>
                      </a:lnTo>
                      <a:lnTo>
                        <a:pt x="669" y="2044"/>
                      </a:lnTo>
                      <a:lnTo>
                        <a:pt x="669" y="2042"/>
                      </a:lnTo>
                      <a:lnTo>
                        <a:pt x="671" y="2042"/>
                      </a:lnTo>
                      <a:lnTo>
                        <a:pt x="671" y="2040"/>
                      </a:lnTo>
                      <a:lnTo>
                        <a:pt x="669" y="2040"/>
                      </a:lnTo>
                      <a:lnTo>
                        <a:pt x="669" y="2039"/>
                      </a:lnTo>
                      <a:lnTo>
                        <a:pt x="667" y="2039"/>
                      </a:lnTo>
                      <a:lnTo>
                        <a:pt x="667" y="2040"/>
                      </a:lnTo>
                      <a:lnTo>
                        <a:pt x="667" y="2039"/>
                      </a:lnTo>
                      <a:lnTo>
                        <a:pt x="665" y="2039"/>
                      </a:lnTo>
                      <a:lnTo>
                        <a:pt x="665" y="2037"/>
                      </a:lnTo>
                      <a:lnTo>
                        <a:pt x="667" y="2037"/>
                      </a:lnTo>
                      <a:lnTo>
                        <a:pt x="667" y="2035"/>
                      </a:lnTo>
                      <a:lnTo>
                        <a:pt x="667" y="2033"/>
                      </a:lnTo>
                      <a:lnTo>
                        <a:pt x="669" y="2033"/>
                      </a:lnTo>
                      <a:lnTo>
                        <a:pt x="671" y="2033"/>
                      </a:lnTo>
                      <a:lnTo>
                        <a:pt x="673" y="2033"/>
                      </a:lnTo>
                      <a:lnTo>
                        <a:pt x="673" y="2029"/>
                      </a:lnTo>
                      <a:lnTo>
                        <a:pt x="671" y="2025"/>
                      </a:lnTo>
                      <a:lnTo>
                        <a:pt x="671" y="2023"/>
                      </a:lnTo>
                      <a:lnTo>
                        <a:pt x="669" y="2020"/>
                      </a:lnTo>
                      <a:lnTo>
                        <a:pt x="665" y="2016"/>
                      </a:lnTo>
                      <a:lnTo>
                        <a:pt x="664" y="2010"/>
                      </a:lnTo>
                      <a:lnTo>
                        <a:pt x="664" y="2005"/>
                      </a:lnTo>
                      <a:lnTo>
                        <a:pt x="669" y="2005"/>
                      </a:lnTo>
                      <a:lnTo>
                        <a:pt x="669" y="1997"/>
                      </a:lnTo>
                      <a:lnTo>
                        <a:pt x="667" y="1991"/>
                      </a:lnTo>
                      <a:lnTo>
                        <a:pt x="671" y="1986"/>
                      </a:lnTo>
                      <a:lnTo>
                        <a:pt x="673" y="1984"/>
                      </a:lnTo>
                      <a:lnTo>
                        <a:pt x="671" y="1976"/>
                      </a:lnTo>
                      <a:lnTo>
                        <a:pt x="669" y="1976"/>
                      </a:lnTo>
                      <a:lnTo>
                        <a:pt x="667" y="1976"/>
                      </a:lnTo>
                      <a:lnTo>
                        <a:pt x="665" y="1976"/>
                      </a:lnTo>
                      <a:lnTo>
                        <a:pt x="664" y="1976"/>
                      </a:lnTo>
                      <a:lnTo>
                        <a:pt x="667" y="1971"/>
                      </a:lnTo>
                      <a:lnTo>
                        <a:pt x="671" y="1963"/>
                      </a:lnTo>
                      <a:lnTo>
                        <a:pt x="669" y="1961"/>
                      </a:lnTo>
                      <a:lnTo>
                        <a:pt x="667" y="1959"/>
                      </a:lnTo>
                      <a:lnTo>
                        <a:pt x="665" y="1959"/>
                      </a:lnTo>
                      <a:lnTo>
                        <a:pt x="660" y="1959"/>
                      </a:lnTo>
                      <a:lnTo>
                        <a:pt x="656" y="1956"/>
                      </a:lnTo>
                      <a:lnTo>
                        <a:pt x="654" y="1958"/>
                      </a:lnTo>
                      <a:lnTo>
                        <a:pt x="652" y="1959"/>
                      </a:lnTo>
                      <a:lnTo>
                        <a:pt x="650" y="1958"/>
                      </a:lnTo>
                      <a:lnTo>
                        <a:pt x="652" y="1958"/>
                      </a:lnTo>
                      <a:lnTo>
                        <a:pt x="654" y="1956"/>
                      </a:lnTo>
                      <a:lnTo>
                        <a:pt x="654" y="1954"/>
                      </a:lnTo>
                      <a:lnTo>
                        <a:pt x="656" y="1948"/>
                      </a:lnTo>
                      <a:lnTo>
                        <a:pt x="658" y="1946"/>
                      </a:lnTo>
                      <a:lnTo>
                        <a:pt x="658" y="1944"/>
                      </a:lnTo>
                      <a:lnTo>
                        <a:pt x="660" y="1944"/>
                      </a:lnTo>
                      <a:lnTo>
                        <a:pt x="660" y="1941"/>
                      </a:lnTo>
                      <a:lnTo>
                        <a:pt x="660" y="1935"/>
                      </a:lnTo>
                      <a:lnTo>
                        <a:pt x="660" y="1933"/>
                      </a:lnTo>
                      <a:lnTo>
                        <a:pt x="660" y="1931"/>
                      </a:lnTo>
                      <a:lnTo>
                        <a:pt x="658" y="1929"/>
                      </a:lnTo>
                      <a:lnTo>
                        <a:pt x="658" y="1926"/>
                      </a:lnTo>
                      <a:lnTo>
                        <a:pt x="658" y="1922"/>
                      </a:lnTo>
                      <a:lnTo>
                        <a:pt x="654" y="1916"/>
                      </a:lnTo>
                      <a:lnTo>
                        <a:pt x="652" y="1916"/>
                      </a:lnTo>
                      <a:lnTo>
                        <a:pt x="645" y="1910"/>
                      </a:lnTo>
                      <a:lnTo>
                        <a:pt x="645" y="1909"/>
                      </a:lnTo>
                      <a:lnTo>
                        <a:pt x="652" y="1895"/>
                      </a:lnTo>
                      <a:lnTo>
                        <a:pt x="641" y="1890"/>
                      </a:lnTo>
                      <a:lnTo>
                        <a:pt x="635" y="1875"/>
                      </a:lnTo>
                      <a:lnTo>
                        <a:pt x="637" y="1863"/>
                      </a:lnTo>
                      <a:lnTo>
                        <a:pt x="635" y="1839"/>
                      </a:lnTo>
                      <a:lnTo>
                        <a:pt x="633" y="1835"/>
                      </a:lnTo>
                      <a:lnTo>
                        <a:pt x="628" y="1822"/>
                      </a:lnTo>
                      <a:lnTo>
                        <a:pt x="624" y="1816"/>
                      </a:lnTo>
                      <a:lnTo>
                        <a:pt x="628" y="1798"/>
                      </a:lnTo>
                      <a:lnTo>
                        <a:pt x="645" y="1788"/>
                      </a:lnTo>
                      <a:lnTo>
                        <a:pt x="630" y="1781"/>
                      </a:lnTo>
                      <a:lnTo>
                        <a:pt x="620" y="1773"/>
                      </a:lnTo>
                      <a:lnTo>
                        <a:pt x="618" y="1771"/>
                      </a:lnTo>
                      <a:lnTo>
                        <a:pt x="639" y="1766"/>
                      </a:lnTo>
                      <a:lnTo>
                        <a:pt x="639" y="1762"/>
                      </a:lnTo>
                      <a:lnTo>
                        <a:pt x="639" y="1747"/>
                      </a:lnTo>
                      <a:lnTo>
                        <a:pt x="637" y="1739"/>
                      </a:lnTo>
                      <a:lnTo>
                        <a:pt x="637" y="1735"/>
                      </a:lnTo>
                      <a:lnTo>
                        <a:pt x="637" y="1728"/>
                      </a:lnTo>
                      <a:lnTo>
                        <a:pt x="630" y="1726"/>
                      </a:lnTo>
                      <a:lnTo>
                        <a:pt x="624" y="1724"/>
                      </a:lnTo>
                      <a:lnTo>
                        <a:pt x="615" y="1720"/>
                      </a:lnTo>
                      <a:lnTo>
                        <a:pt x="605" y="1713"/>
                      </a:lnTo>
                      <a:lnTo>
                        <a:pt x="600" y="1707"/>
                      </a:lnTo>
                      <a:lnTo>
                        <a:pt x="598" y="1705"/>
                      </a:lnTo>
                      <a:lnTo>
                        <a:pt x="598" y="1698"/>
                      </a:lnTo>
                      <a:lnTo>
                        <a:pt x="598" y="1694"/>
                      </a:lnTo>
                      <a:lnTo>
                        <a:pt x="594" y="1686"/>
                      </a:lnTo>
                      <a:lnTo>
                        <a:pt x="590" y="1681"/>
                      </a:lnTo>
                      <a:lnTo>
                        <a:pt x="588" y="1677"/>
                      </a:lnTo>
                      <a:lnTo>
                        <a:pt x="571" y="1673"/>
                      </a:lnTo>
                      <a:lnTo>
                        <a:pt x="562" y="1673"/>
                      </a:lnTo>
                      <a:lnTo>
                        <a:pt x="558" y="1668"/>
                      </a:lnTo>
                      <a:lnTo>
                        <a:pt x="556" y="1662"/>
                      </a:lnTo>
                      <a:lnTo>
                        <a:pt x="554" y="1660"/>
                      </a:lnTo>
                      <a:lnTo>
                        <a:pt x="551" y="1653"/>
                      </a:lnTo>
                      <a:lnTo>
                        <a:pt x="547" y="1647"/>
                      </a:lnTo>
                      <a:lnTo>
                        <a:pt x="545" y="1645"/>
                      </a:lnTo>
                      <a:lnTo>
                        <a:pt x="539" y="1636"/>
                      </a:lnTo>
                      <a:lnTo>
                        <a:pt x="522" y="1639"/>
                      </a:lnTo>
                      <a:lnTo>
                        <a:pt x="521" y="1649"/>
                      </a:lnTo>
                      <a:lnTo>
                        <a:pt x="521" y="1651"/>
                      </a:lnTo>
                      <a:lnTo>
                        <a:pt x="519" y="1660"/>
                      </a:lnTo>
                      <a:lnTo>
                        <a:pt x="517" y="1662"/>
                      </a:lnTo>
                      <a:lnTo>
                        <a:pt x="521" y="1668"/>
                      </a:lnTo>
                      <a:lnTo>
                        <a:pt x="524" y="1677"/>
                      </a:lnTo>
                      <a:lnTo>
                        <a:pt x="528" y="1688"/>
                      </a:lnTo>
                      <a:lnTo>
                        <a:pt x="522" y="1681"/>
                      </a:lnTo>
                      <a:lnTo>
                        <a:pt x="522" y="1679"/>
                      </a:lnTo>
                      <a:lnTo>
                        <a:pt x="507" y="1660"/>
                      </a:lnTo>
                      <a:lnTo>
                        <a:pt x="504" y="1656"/>
                      </a:lnTo>
                      <a:lnTo>
                        <a:pt x="491" y="1643"/>
                      </a:lnTo>
                      <a:lnTo>
                        <a:pt x="492" y="1645"/>
                      </a:lnTo>
                      <a:lnTo>
                        <a:pt x="498" y="1658"/>
                      </a:lnTo>
                      <a:lnTo>
                        <a:pt x="500" y="1664"/>
                      </a:lnTo>
                      <a:lnTo>
                        <a:pt x="498" y="1668"/>
                      </a:lnTo>
                      <a:lnTo>
                        <a:pt x="496" y="1670"/>
                      </a:lnTo>
                      <a:lnTo>
                        <a:pt x="489" y="1683"/>
                      </a:lnTo>
                      <a:lnTo>
                        <a:pt x="489" y="1703"/>
                      </a:lnTo>
                      <a:lnTo>
                        <a:pt x="485" y="1711"/>
                      </a:lnTo>
                      <a:lnTo>
                        <a:pt x="474" y="1728"/>
                      </a:lnTo>
                      <a:lnTo>
                        <a:pt x="464" y="1745"/>
                      </a:lnTo>
                      <a:lnTo>
                        <a:pt x="462" y="1750"/>
                      </a:lnTo>
                      <a:lnTo>
                        <a:pt x="459" y="1754"/>
                      </a:lnTo>
                      <a:lnTo>
                        <a:pt x="453" y="1750"/>
                      </a:lnTo>
                      <a:lnTo>
                        <a:pt x="449" y="1749"/>
                      </a:lnTo>
                      <a:lnTo>
                        <a:pt x="447" y="1749"/>
                      </a:lnTo>
                      <a:lnTo>
                        <a:pt x="443" y="1750"/>
                      </a:lnTo>
                      <a:lnTo>
                        <a:pt x="447" y="1754"/>
                      </a:lnTo>
                      <a:lnTo>
                        <a:pt x="443" y="1756"/>
                      </a:lnTo>
                      <a:lnTo>
                        <a:pt x="438" y="1760"/>
                      </a:lnTo>
                      <a:lnTo>
                        <a:pt x="430" y="1754"/>
                      </a:lnTo>
                      <a:lnTo>
                        <a:pt x="425" y="1749"/>
                      </a:lnTo>
                      <a:lnTo>
                        <a:pt x="419" y="1743"/>
                      </a:lnTo>
                      <a:lnTo>
                        <a:pt x="417" y="1741"/>
                      </a:lnTo>
                      <a:lnTo>
                        <a:pt x="415" y="1741"/>
                      </a:lnTo>
                      <a:lnTo>
                        <a:pt x="410" y="1739"/>
                      </a:lnTo>
                      <a:lnTo>
                        <a:pt x="396" y="1743"/>
                      </a:lnTo>
                      <a:lnTo>
                        <a:pt x="393" y="1750"/>
                      </a:lnTo>
                      <a:lnTo>
                        <a:pt x="393" y="1754"/>
                      </a:lnTo>
                      <a:lnTo>
                        <a:pt x="393" y="1777"/>
                      </a:lnTo>
                      <a:lnTo>
                        <a:pt x="393" y="1781"/>
                      </a:lnTo>
                      <a:lnTo>
                        <a:pt x="389" y="1779"/>
                      </a:lnTo>
                      <a:lnTo>
                        <a:pt x="387" y="1779"/>
                      </a:lnTo>
                      <a:lnTo>
                        <a:pt x="378" y="1781"/>
                      </a:lnTo>
                      <a:lnTo>
                        <a:pt x="372" y="1782"/>
                      </a:lnTo>
                      <a:lnTo>
                        <a:pt x="368" y="1782"/>
                      </a:lnTo>
                      <a:lnTo>
                        <a:pt x="364" y="1782"/>
                      </a:lnTo>
                      <a:lnTo>
                        <a:pt x="363" y="1790"/>
                      </a:lnTo>
                      <a:lnTo>
                        <a:pt x="364" y="1790"/>
                      </a:lnTo>
                      <a:lnTo>
                        <a:pt x="370" y="1801"/>
                      </a:lnTo>
                      <a:lnTo>
                        <a:pt x="372" y="1803"/>
                      </a:lnTo>
                      <a:lnTo>
                        <a:pt x="376" y="1807"/>
                      </a:lnTo>
                      <a:lnTo>
                        <a:pt x="376" y="1809"/>
                      </a:lnTo>
                      <a:lnTo>
                        <a:pt x="374" y="1809"/>
                      </a:lnTo>
                      <a:lnTo>
                        <a:pt x="366" y="1814"/>
                      </a:lnTo>
                      <a:lnTo>
                        <a:pt x="366" y="1816"/>
                      </a:lnTo>
                      <a:lnTo>
                        <a:pt x="363" y="1816"/>
                      </a:lnTo>
                      <a:lnTo>
                        <a:pt x="359" y="1820"/>
                      </a:lnTo>
                      <a:lnTo>
                        <a:pt x="351" y="1826"/>
                      </a:lnTo>
                      <a:lnTo>
                        <a:pt x="346" y="1833"/>
                      </a:lnTo>
                      <a:lnTo>
                        <a:pt x="351" y="1858"/>
                      </a:lnTo>
                      <a:lnTo>
                        <a:pt x="340" y="1852"/>
                      </a:lnTo>
                      <a:lnTo>
                        <a:pt x="336" y="1852"/>
                      </a:lnTo>
                      <a:lnTo>
                        <a:pt x="333" y="1850"/>
                      </a:lnTo>
                      <a:lnTo>
                        <a:pt x="331" y="1848"/>
                      </a:lnTo>
                      <a:lnTo>
                        <a:pt x="331" y="1846"/>
                      </a:lnTo>
                      <a:lnTo>
                        <a:pt x="329" y="1846"/>
                      </a:lnTo>
                      <a:lnTo>
                        <a:pt x="329" y="1845"/>
                      </a:lnTo>
                      <a:lnTo>
                        <a:pt x="329" y="1843"/>
                      </a:lnTo>
                      <a:lnTo>
                        <a:pt x="327" y="1843"/>
                      </a:lnTo>
                      <a:lnTo>
                        <a:pt x="327" y="1841"/>
                      </a:lnTo>
                      <a:lnTo>
                        <a:pt x="327" y="1839"/>
                      </a:lnTo>
                      <a:lnTo>
                        <a:pt x="327" y="1837"/>
                      </a:lnTo>
                      <a:lnTo>
                        <a:pt x="325" y="1837"/>
                      </a:lnTo>
                      <a:lnTo>
                        <a:pt x="325" y="1835"/>
                      </a:lnTo>
                      <a:lnTo>
                        <a:pt x="325" y="1833"/>
                      </a:lnTo>
                      <a:lnTo>
                        <a:pt x="323" y="1833"/>
                      </a:lnTo>
                      <a:lnTo>
                        <a:pt x="323" y="1831"/>
                      </a:lnTo>
                      <a:lnTo>
                        <a:pt x="323" y="1830"/>
                      </a:lnTo>
                      <a:lnTo>
                        <a:pt x="321" y="1830"/>
                      </a:lnTo>
                      <a:lnTo>
                        <a:pt x="321" y="1828"/>
                      </a:lnTo>
                      <a:lnTo>
                        <a:pt x="321" y="1826"/>
                      </a:lnTo>
                      <a:lnTo>
                        <a:pt x="319" y="1826"/>
                      </a:lnTo>
                      <a:lnTo>
                        <a:pt x="319" y="1824"/>
                      </a:lnTo>
                      <a:lnTo>
                        <a:pt x="319" y="1822"/>
                      </a:lnTo>
                      <a:lnTo>
                        <a:pt x="319" y="1820"/>
                      </a:lnTo>
                      <a:lnTo>
                        <a:pt x="317" y="1820"/>
                      </a:lnTo>
                      <a:lnTo>
                        <a:pt x="317" y="1818"/>
                      </a:lnTo>
                      <a:lnTo>
                        <a:pt x="317" y="1816"/>
                      </a:lnTo>
                      <a:lnTo>
                        <a:pt x="316" y="1816"/>
                      </a:lnTo>
                      <a:lnTo>
                        <a:pt x="316" y="1814"/>
                      </a:lnTo>
                      <a:lnTo>
                        <a:pt x="316" y="1813"/>
                      </a:lnTo>
                      <a:lnTo>
                        <a:pt x="314" y="1813"/>
                      </a:lnTo>
                      <a:lnTo>
                        <a:pt x="314" y="1811"/>
                      </a:lnTo>
                      <a:lnTo>
                        <a:pt x="316" y="1811"/>
                      </a:lnTo>
                      <a:lnTo>
                        <a:pt x="314" y="1811"/>
                      </a:lnTo>
                      <a:lnTo>
                        <a:pt x="314" y="1809"/>
                      </a:lnTo>
                      <a:lnTo>
                        <a:pt x="314" y="1807"/>
                      </a:lnTo>
                      <a:lnTo>
                        <a:pt x="314" y="1805"/>
                      </a:lnTo>
                      <a:lnTo>
                        <a:pt x="312" y="1805"/>
                      </a:lnTo>
                      <a:lnTo>
                        <a:pt x="312" y="1803"/>
                      </a:lnTo>
                      <a:lnTo>
                        <a:pt x="310" y="1803"/>
                      </a:lnTo>
                      <a:lnTo>
                        <a:pt x="310" y="1801"/>
                      </a:lnTo>
                      <a:lnTo>
                        <a:pt x="310" y="1799"/>
                      </a:lnTo>
                      <a:lnTo>
                        <a:pt x="308" y="1799"/>
                      </a:lnTo>
                      <a:lnTo>
                        <a:pt x="308" y="1798"/>
                      </a:lnTo>
                      <a:lnTo>
                        <a:pt x="306" y="1798"/>
                      </a:lnTo>
                      <a:lnTo>
                        <a:pt x="308" y="1798"/>
                      </a:lnTo>
                      <a:lnTo>
                        <a:pt x="308" y="1796"/>
                      </a:lnTo>
                      <a:lnTo>
                        <a:pt x="306" y="1796"/>
                      </a:lnTo>
                      <a:lnTo>
                        <a:pt x="306" y="1794"/>
                      </a:lnTo>
                      <a:lnTo>
                        <a:pt x="304" y="1794"/>
                      </a:lnTo>
                      <a:lnTo>
                        <a:pt x="304" y="1792"/>
                      </a:lnTo>
                      <a:lnTo>
                        <a:pt x="302" y="1790"/>
                      </a:lnTo>
                      <a:lnTo>
                        <a:pt x="301" y="1788"/>
                      </a:lnTo>
                      <a:lnTo>
                        <a:pt x="301" y="1786"/>
                      </a:lnTo>
                      <a:lnTo>
                        <a:pt x="299" y="1786"/>
                      </a:lnTo>
                      <a:lnTo>
                        <a:pt x="299" y="1784"/>
                      </a:lnTo>
                      <a:lnTo>
                        <a:pt x="297" y="1784"/>
                      </a:lnTo>
                      <a:lnTo>
                        <a:pt x="297" y="1782"/>
                      </a:lnTo>
                      <a:lnTo>
                        <a:pt x="295" y="1781"/>
                      </a:lnTo>
                      <a:lnTo>
                        <a:pt x="293" y="1781"/>
                      </a:lnTo>
                      <a:lnTo>
                        <a:pt x="293" y="1779"/>
                      </a:lnTo>
                      <a:lnTo>
                        <a:pt x="293" y="1777"/>
                      </a:lnTo>
                      <a:lnTo>
                        <a:pt x="291" y="1777"/>
                      </a:lnTo>
                      <a:lnTo>
                        <a:pt x="291" y="1775"/>
                      </a:lnTo>
                      <a:lnTo>
                        <a:pt x="291" y="1773"/>
                      </a:lnTo>
                      <a:lnTo>
                        <a:pt x="291" y="1771"/>
                      </a:lnTo>
                      <a:lnTo>
                        <a:pt x="289" y="1771"/>
                      </a:lnTo>
                      <a:lnTo>
                        <a:pt x="289" y="1769"/>
                      </a:lnTo>
                      <a:lnTo>
                        <a:pt x="287" y="1769"/>
                      </a:lnTo>
                      <a:lnTo>
                        <a:pt x="287" y="1767"/>
                      </a:lnTo>
                      <a:lnTo>
                        <a:pt x="287" y="1766"/>
                      </a:lnTo>
                      <a:lnTo>
                        <a:pt x="287" y="1764"/>
                      </a:lnTo>
                      <a:lnTo>
                        <a:pt x="285" y="1764"/>
                      </a:lnTo>
                      <a:lnTo>
                        <a:pt x="287" y="1764"/>
                      </a:lnTo>
                      <a:lnTo>
                        <a:pt x="285" y="1764"/>
                      </a:lnTo>
                      <a:lnTo>
                        <a:pt x="285" y="1762"/>
                      </a:lnTo>
                      <a:lnTo>
                        <a:pt x="285" y="1760"/>
                      </a:lnTo>
                      <a:lnTo>
                        <a:pt x="285" y="1758"/>
                      </a:lnTo>
                      <a:lnTo>
                        <a:pt x="284" y="1758"/>
                      </a:lnTo>
                      <a:lnTo>
                        <a:pt x="284" y="1756"/>
                      </a:lnTo>
                      <a:lnTo>
                        <a:pt x="284" y="1754"/>
                      </a:lnTo>
                      <a:lnTo>
                        <a:pt x="284" y="1752"/>
                      </a:lnTo>
                      <a:lnTo>
                        <a:pt x="282" y="1752"/>
                      </a:lnTo>
                      <a:lnTo>
                        <a:pt x="282" y="1750"/>
                      </a:lnTo>
                      <a:lnTo>
                        <a:pt x="280" y="1750"/>
                      </a:lnTo>
                      <a:lnTo>
                        <a:pt x="280" y="1749"/>
                      </a:lnTo>
                      <a:lnTo>
                        <a:pt x="280" y="1747"/>
                      </a:lnTo>
                      <a:lnTo>
                        <a:pt x="280" y="1745"/>
                      </a:lnTo>
                      <a:lnTo>
                        <a:pt x="278" y="1743"/>
                      </a:lnTo>
                      <a:lnTo>
                        <a:pt x="276" y="1741"/>
                      </a:lnTo>
                      <a:lnTo>
                        <a:pt x="276" y="1739"/>
                      </a:lnTo>
                      <a:lnTo>
                        <a:pt x="276" y="1737"/>
                      </a:lnTo>
                      <a:lnTo>
                        <a:pt x="274" y="1737"/>
                      </a:lnTo>
                      <a:lnTo>
                        <a:pt x="276" y="1737"/>
                      </a:lnTo>
                      <a:lnTo>
                        <a:pt x="274" y="1737"/>
                      </a:lnTo>
                      <a:lnTo>
                        <a:pt x="276" y="1737"/>
                      </a:lnTo>
                      <a:lnTo>
                        <a:pt x="274" y="1737"/>
                      </a:lnTo>
                      <a:lnTo>
                        <a:pt x="276" y="1735"/>
                      </a:lnTo>
                      <a:lnTo>
                        <a:pt x="274" y="1735"/>
                      </a:lnTo>
                      <a:lnTo>
                        <a:pt x="274" y="1734"/>
                      </a:lnTo>
                      <a:lnTo>
                        <a:pt x="274" y="1732"/>
                      </a:lnTo>
                      <a:lnTo>
                        <a:pt x="274" y="1730"/>
                      </a:lnTo>
                      <a:lnTo>
                        <a:pt x="274" y="1728"/>
                      </a:lnTo>
                      <a:lnTo>
                        <a:pt x="272" y="1728"/>
                      </a:lnTo>
                      <a:lnTo>
                        <a:pt x="272" y="1726"/>
                      </a:lnTo>
                      <a:lnTo>
                        <a:pt x="272" y="1724"/>
                      </a:lnTo>
                      <a:lnTo>
                        <a:pt x="270" y="1724"/>
                      </a:lnTo>
                      <a:lnTo>
                        <a:pt x="270" y="1722"/>
                      </a:lnTo>
                      <a:lnTo>
                        <a:pt x="269" y="1722"/>
                      </a:lnTo>
                      <a:lnTo>
                        <a:pt x="269" y="1720"/>
                      </a:lnTo>
                      <a:lnTo>
                        <a:pt x="267" y="1718"/>
                      </a:lnTo>
                      <a:lnTo>
                        <a:pt x="265" y="1717"/>
                      </a:lnTo>
                      <a:lnTo>
                        <a:pt x="265" y="1715"/>
                      </a:lnTo>
                      <a:lnTo>
                        <a:pt x="263" y="1715"/>
                      </a:lnTo>
                      <a:lnTo>
                        <a:pt x="263" y="1713"/>
                      </a:lnTo>
                      <a:lnTo>
                        <a:pt x="261" y="1713"/>
                      </a:lnTo>
                      <a:lnTo>
                        <a:pt x="261" y="1711"/>
                      </a:lnTo>
                      <a:lnTo>
                        <a:pt x="259" y="1711"/>
                      </a:lnTo>
                      <a:lnTo>
                        <a:pt x="259" y="1709"/>
                      </a:lnTo>
                      <a:lnTo>
                        <a:pt x="259" y="1707"/>
                      </a:lnTo>
                      <a:lnTo>
                        <a:pt x="259" y="1705"/>
                      </a:lnTo>
                      <a:lnTo>
                        <a:pt x="257" y="1705"/>
                      </a:lnTo>
                      <a:lnTo>
                        <a:pt x="257" y="1703"/>
                      </a:lnTo>
                      <a:lnTo>
                        <a:pt x="257" y="1702"/>
                      </a:lnTo>
                      <a:lnTo>
                        <a:pt x="257" y="1700"/>
                      </a:lnTo>
                      <a:lnTo>
                        <a:pt x="255" y="1700"/>
                      </a:lnTo>
                      <a:lnTo>
                        <a:pt x="255" y="1698"/>
                      </a:lnTo>
                      <a:lnTo>
                        <a:pt x="254" y="1698"/>
                      </a:lnTo>
                      <a:lnTo>
                        <a:pt x="254" y="1696"/>
                      </a:lnTo>
                      <a:lnTo>
                        <a:pt x="252" y="1696"/>
                      </a:lnTo>
                      <a:lnTo>
                        <a:pt x="252" y="1694"/>
                      </a:lnTo>
                      <a:lnTo>
                        <a:pt x="250" y="1692"/>
                      </a:lnTo>
                      <a:lnTo>
                        <a:pt x="250" y="1690"/>
                      </a:lnTo>
                      <a:lnTo>
                        <a:pt x="252" y="1688"/>
                      </a:lnTo>
                      <a:lnTo>
                        <a:pt x="252" y="1686"/>
                      </a:lnTo>
                      <a:lnTo>
                        <a:pt x="252" y="1685"/>
                      </a:lnTo>
                      <a:lnTo>
                        <a:pt x="250" y="1683"/>
                      </a:lnTo>
                      <a:lnTo>
                        <a:pt x="248" y="1681"/>
                      </a:lnTo>
                      <a:lnTo>
                        <a:pt x="246" y="1677"/>
                      </a:lnTo>
                      <a:lnTo>
                        <a:pt x="244" y="1675"/>
                      </a:lnTo>
                      <a:lnTo>
                        <a:pt x="244" y="1673"/>
                      </a:lnTo>
                      <a:lnTo>
                        <a:pt x="244" y="1671"/>
                      </a:lnTo>
                      <a:lnTo>
                        <a:pt x="242" y="1671"/>
                      </a:lnTo>
                      <a:lnTo>
                        <a:pt x="242" y="1670"/>
                      </a:lnTo>
                      <a:lnTo>
                        <a:pt x="242" y="1668"/>
                      </a:lnTo>
                      <a:lnTo>
                        <a:pt x="242" y="1666"/>
                      </a:lnTo>
                      <a:lnTo>
                        <a:pt x="240" y="1666"/>
                      </a:lnTo>
                      <a:lnTo>
                        <a:pt x="240" y="1664"/>
                      </a:lnTo>
                      <a:lnTo>
                        <a:pt x="238" y="1664"/>
                      </a:lnTo>
                      <a:lnTo>
                        <a:pt x="238" y="1662"/>
                      </a:lnTo>
                      <a:lnTo>
                        <a:pt x="238" y="1660"/>
                      </a:lnTo>
                      <a:lnTo>
                        <a:pt x="237" y="1660"/>
                      </a:lnTo>
                      <a:lnTo>
                        <a:pt x="237" y="1658"/>
                      </a:lnTo>
                      <a:lnTo>
                        <a:pt x="235" y="1658"/>
                      </a:lnTo>
                      <a:lnTo>
                        <a:pt x="235" y="1656"/>
                      </a:lnTo>
                      <a:lnTo>
                        <a:pt x="233" y="1656"/>
                      </a:lnTo>
                      <a:lnTo>
                        <a:pt x="233" y="1654"/>
                      </a:lnTo>
                      <a:lnTo>
                        <a:pt x="233" y="1653"/>
                      </a:lnTo>
                      <a:lnTo>
                        <a:pt x="231" y="1653"/>
                      </a:lnTo>
                      <a:lnTo>
                        <a:pt x="233" y="1653"/>
                      </a:lnTo>
                      <a:lnTo>
                        <a:pt x="231" y="1651"/>
                      </a:lnTo>
                      <a:lnTo>
                        <a:pt x="231" y="1649"/>
                      </a:lnTo>
                      <a:lnTo>
                        <a:pt x="229" y="1649"/>
                      </a:lnTo>
                      <a:lnTo>
                        <a:pt x="231" y="1649"/>
                      </a:lnTo>
                      <a:lnTo>
                        <a:pt x="231" y="1647"/>
                      </a:lnTo>
                      <a:lnTo>
                        <a:pt x="229" y="1647"/>
                      </a:lnTo>
                      <a:lnTo>
                        <a:pt x="229" y="1645"/>
                      </a:lnTo>
                      <a:lnTo>
                        <a:pt x="227" y="1645"/>
                      </a:lnTo>
                      <a:lnTo>
                        <a:pt x="227" y="1643"/>
                      </a:lnTo>
                      <a:lnTo>
                        <a:pt x="229" y="1643"/>
                      </a:lnTo>
                      <a:lnTo>
                        <a:pt x="229" y="1641"/>
                      </a:lnTo>
                      <a:lnTo>
                        <a:pt x="227" y="1641"/>
                      </a:lnTo>
                      <a:lnTo>
                        <a:pt x="227" y="1639"/>
                      </a:lnTo>
                      <a:lnTo>
                        <a:pt x="225" y="1639"/>
                      </a:lnTo>
                      <a:lnTo>
                        <a:pt x="225" y="1638"/>
                      </a:lnTo>
                      <a:lnTo>
                        <a:pt x="225" y="1636"/>
                      </a:lnTo>
                      <a:lnTo>
                        <a:pt x="223" y="1636"/>
                      </a:lnTo>
                      <a:lnTo>
                        <a:pt x="223" y="1634"/>
                      </a:lnTo>
                      <a:lnTo>
                        <a:pt x="223" y="1632"/>
                      </a:lnTo>
                      <a:lnTo>
                        <a:pt x="222" y="1630"/>
                      </a:lnTo>
                      <a:lnTo>
                        <a:pt x="222" y="1628"/>
                      </a:lnTo>
                      <a:lnTo>
                        <a:pt x="220" y="1628"/>
                      </a:lnTo>
                      <a:lnTo>
                        <a:pt x="220" y="1626"/>
                      </a:lnTo>
                      <a:lnTo>
                        <a:pt x="218" y="1624"/>
                      </a:lnTo>
                      <a:lnTo>
                        <a:pt x="218" y="1622"/>
                      </a:lnTo>
                      <a:lnTo>
                        <a:pt x="218" y="1621"/>
                      </a:lnTo>
                      <a:lnTo>
                        <a:pt x="218" y="1619"/>
                      </a:lnTo>
                      <a:lnTo>
                        <a:pt x="216" y="1619"/>
                      </a:lnTo>
                      <a:lnTo>
                        <a:pt x="216" y="1617"/>
                      </a:lnTo>
                      <a:lnTo>
                        <a:pt x="214" y="1617"/>
                      </a:lnTo>
                      <a:lnTo>
                        <a:pt x="212" y="1615"/>
                      </a:lnTo>
                      <a:lnTo>
                        <a:pt x="212" y="1613"/>
                      </a:lnTo>
                      <a:lnTo>
                        <a:pt x="212" y="1611"/>
                      </a:lnTo>
                      <a:lnTo>
                        <a:pt x="210" y="1611"/>
                      </a:lnTo>
                      <a:lnTo>
                        <a:pt x="210" y="1609"/>
                      </a:lnTo>
                      <a:lnTo>
                        <a:pt x="208" y="1607"/>
                      </a:lnTo>
                      <a:lnTo>
                        <a:pt x="208" y="1606"/>
                      </a:lnTo>
                      <a:lnTo>
                        <a:pt x="208" y="1604"/>
                      </a:lnTo>
                      <a:lnTo>
                        <a:pt x="208" y="1602"/>
                      </a:lnTo>
                      <a:lnTo>
                        <a:pt x="208" y="1600"/>
                      </a:lnTo>
                      <a:lnTo>
                        <a:pt x="206" y="1600"/>
                      </a:lnTo>
                      <a:lnTo>
                        <a:pt x="208" y="1600"/>
                      </a:lnTo>
                      <a:lnTo>
                        <a:pt x="208" y="1598"/>
                      </a:lnTo>
                      <a:lnTo>
                        <a:pt x="208" y="1596"/>
                      </a:lnTo>
                      <a:lnTo>
                        <a:pt x="206" y="1596"/>
                      </a:lnTo>
                      <a:lnTo>
                        <a:pt x="208" y="1594"/>
                      </a:lnTo>
                      <a:lnTo>
                        <a:pt x="206" y="1594"/>
                      </a:lnTo>
                      <a:lnTo>
                        <a:pt x="206" y="1592"/>
                      </a:lnTo>
                      <a:lnTo>
                        <a:pt x="206" y="1590"/>
                      </a:lnTo>
                      <a:lnTo>
                        <a:pt x="206" y="1589"/>
                      </a:lnTo>
                      <a:lnTo>
                        <a:pt x="205" y="1589"/>
                      </a:lnTo>
                      <a:lnTo>
                        <a:pt x="205" y="1587"/>
                      </a:lnTo>
                      <a:lnTo>
                        <a:pt x="205" y="1585"/>
                      </a:lnTo>
                      <a:lnTo>
                        <a:pt x="205" y="1583"/>
                      </a:lnTo>
                      <a:lnTo>
                        <a:pt x="203" y="1581"/>
                      </a:lnTo>
                      <a:lnTo>
                        <a:pt x="203" y="1579"/>
                      </a:lnTo>
                      <a:lnTo>
                        <a:pt x="201" y="1579"/>
                      </a:lnTo>
                      <a:lnTo>
                        <a:pt x="201" y="1577"/>
                      </a:lnTo>
                      <a:lnTo>
                        <a:pt x="201" y="1575"/>
                      </a:lnTo>
                      <a:lnTo>
                        <a:pt x="199" y="1575"/>
                      </a:lnTo>
                      <a:lnTo>
                        <a:pt x="199" y="1574"/>
                      </a:lnTo>
                      <a:lnTo>
                        <a:pt x="199" y="1572"/>
                      </a:lnTo>
                      <a:lnTo>
                        <a:pt x="197" y="1572"/>
                      </a:lnTo>
                      <a:lnTo>
                        <a:pt x="197" y="1570"/>
                      </a:lnTo>
                      <a:lnTo>
                        <a:pt x="199" y="1570"/>
                      </a:lnTo>
                      <a:lnTo>
                        <a:pt x="199" y="1568"/>
                      </a:lnTo>
                      <a:lnTo>
                        <a:pt x="197" y="1566"/>
                      </a:lnTo>
                      <a:lnTo>
                        <a:pt x="197" y="1564"/>
                      </a:lnTo>
                      <a:lnTo>
                        <a:pt x="195" y="1564"/>
                      </a:lnTo>
                      <a:lnTo>
                        <a:pt x="195" y="1562"/>
                      </a:lnTo>
                      <a:lnTo>
                        <a:pt x="195" y="1560"/>
                      </a:lnTo>
                      <a:lnTo>
                        <a:pt x="195" y="1557"/>
                      </a:lnTo>
                      <a:lnTo>
                        <a:pt x="195" y="1555"/>
                      </a:lnTo>
                      <a:lnTo>
                        <a:pt x="193" y="1555"/>
                      </a:lnTo>
                      <a:lnTo>
                        <a:pt x="193" y="1553"/>
                      </a:lnTo>
                      <a:lnTo>
                        <a:pt x="191" y="1553"/>
                      </a:lnTo>
                      <a:lnTo>
                        <a:pt x="191" y="1551"/>
                      </a:lnTo>
                      <a:lnTo>
                        <a:pt x="190" y="1551"/>
                      </a:lnTo>
                      <a:lnTo>
                        <a:pt x="190" y="1549"/>
                      </a:lnTo>
                      <a:lnTo>
                        <a:pt x="190" y="1547"/>
                      </a:lnTo>
                      <a:lnTo>
                        <a:pt x="190" y="1549"/>
                      </a:lnTo>
                      <a:lnTo>
                        <a:pt x="188" y="1549"/>
                      </a:lnTo>
                      <a:lnTo>
                        <a:pt x="188" y="1547"/>
                      </a:lnTo>
                      <a:lnTo>
                        <a:pt x="190" y="1547"/>
                      </a:lnTo>
                      <a:lnTo>
                        <a:pt x="190" y="1545"/>
                      </a:lnTo>
                      <a:lnTo>
                        <a:pt x="188" y="1545"/>
                      </a:lnTo>
                      <a:lnTo>
                        <a:pt x="188" y="1543"/>
                      </a:lnTo>
                      <a:lnTo>
                        <a:pt x="188" y="1542"/>
                      </a:lnTo>
                      <a:lnTo>
                        <a:pt x="188" y="1540"/>
                      </a:lnTo>
                      <a:lnTo>
                        <a:pt x="188" y="1538"/>
                      </a:lnTo>
                      <a:lnTo>
                        <a:pt x="186" y="1538"/>
                      </a:lnTo>
                      <a:lnTo>
                        <a:pt x="186" y="1536"/>
                      </a:lnTo>
                      <a:lnTo>
                        <a:pt x="186" y="1534"/>
                      </a:lnTo>
                      <a:lnTo>
                        <a:pt x="186" y="1532"/>
                      </a:lnTo>
                      <a:lnTo>
                        <a:pt x="186" y="1530"/>
                      </a:lnTo>
                      <a:lnTo>
                        <a:pt x="184" y="1528"/>
                      </a:lnTo>
                      <a:lnTo>
                        <a:pt x="184" y="1526"/>
                      </a:lnTo>
                      <a:lnTo>
                        <a:pt x="186" y="1526"/>
                      </a:lnTo>
                      <a:lnTo>
                        <a:pt x="184" y="1526"/>
                      </a:lnTo>
                      <a:lnTo>
                        <a:pt x="184" y="1525"/>
                      </a:lnTo>
                      <a:lnTo>
                        <a:pt x="184" y="1523"/>
                      </a:lnTo>
                      <a:lnTo>
                        <a:pt x="184" y="1521"/>
                      </a:lnTo>
                      <a:lnTo>
                        <a:pt x="182" y="1519"/>
                      </a:lnTo>
                      <a:lnTo>
                        <a:pt x="182" y="1517"/>
                      </a:lnTo>
                      <a:lnTo>
                        <a:pt x="180" y="1517"/>
                      </a:lnTo>
                      <a:lnTo>
                        <a:pt x="182" y="1517"/>
                      </a:lnTo>
                      <a:lnTo>
                        <a:pt x="182" y="1515"/>
                      </a:lnTo>
                      <a:lnTo>
                        <a:pt x="180" y="1515"/>
                      </a:lnTo>
                      <a:lnTo>
                        <a:pt x="180" y="1513"/>
                      </a:lnTo>
                      <a:lnTo>
                        <a:pt x="180" y="1511"/>
                      </a:lnTo>
                      <a:lnTo>
                        <a:pt x="180" y="1509"/>
                      </a:lnTo>
                      <a:lnTo>
                        <a:pt x="180" y="1508"/>
                      </a:lnTo>
                      <a:lnTo>
                        <a:pt x="178" y="1506"/>
                      </a:lnTo>
                      <a:lnTo>
                        <a:pt x="180" y="1506"/>
                      </a:lnTo>
                      <a:lnTo>
                        <a:pt x="180" y="1504"/>
                      </a:lnTo>
                      <a:lnTo>
                        <a:pt x="180" y="1502"/>
                      </a:lnTo>
                      <a:lnTo>
                        <a:pt x="178" y="1502"/>
                      </a:lnTo>
                      <a:lnTo>
                        <a:pt x="178" y="1500"/>
                      </a:lnTo>
                      <a:lnTo>
                        <a:pt x="176" y="1500"/>
                      </a:lnTo>
                      <a:lnTo>
                        <a:pt x="176" y="1498"/>
                      </a:lnTo>
                      <a:lnTo>
                        <a:pt x="176" y="1496"/>
                      </a:lnTo>
                      <a:lnTo>
                        <a:pt x="175" y="1496"/>
                      </a:lnTo>
                      <a:lnTo>
                        <a:pt x="175" y="1494"/>
                      </a:lnTo>
                      <a:lnTo>
                        <a:pt x="175" y="1493"/>
                      </a:lnTo>
                      <a:lnTo>
                        <a:pt x="173" y="1493"/>
                      </a:lnTo>
                      <a:lnTo>
                        <a:pt x="173" y="1491"/>
                      </a:lnTo>
                      <a:lnTo>
                        <a:pt x="171" y="1491"/>
                      </a:lnTo>
                      <a:lnTo>
                        <a:pt x="171" y="1489"/>
                      </a:lnTo>
                      <a:lnTo>
                        <a:pt x="169" y="1489"/>
                      </a:lnTo>
                      <a:lnTo>
                        <a:pt x="169" y="1487"/>
                      </a:lnTo>
                      <a:lnTo>
                        <a:pt x="169" y="1485"/>
                      </a:lnTo>
                      <a:lnTo>
                        <a:pt x="169" y="1483"/>
                      </a:lnTo>
                      <a:lnTo>
                        <a:pt x="167" y="1483"/>
                      </a:lnTo>
                      <a:lnTo>
                        <a:pt x="167" y="1481"/>
                      </a:lnTo>
                      <a:lnTo>
                        <a:pt x="167" y="1479"/>
                      </a:lnTo>
                      <a:lnTo>
                        <a:pt x="167" y="1477"/>
                      </a:lnTo>
                      <a:lnTo>
                        <a:pt x="165" y="1476"/>
                      </a:lnTo>
                      <a:lnTo>
                        <a:pt x="165" y="1474"/>
                      </a:lnTo>
                      <a:lnTo>
                        <a:pt x="165" y="1472"/>
                      </a:lnTo>
                      <a:lnTo>
                        <a:pt x="165" y="1470"/>
                      </a:lnTo>
                      <a:lnTo>
                        <a:pt x="165" y="1468"/>
                      </a:lnTo>
                      <a:lnTo>
                        <a:pt x="163" y="1466"/>
                      </a:lnTo>
                      <a:lnTo>
                        <a:pt x="163" y="1464"/>
                      </a:lnTo>
                      <a:lnTo>
                        <a:pt x="161" y="1464"/>
                      </a:lnTo>
                      <a:lnTo>
                        <a:pt x="161" y="1462"/>
                      </a:lnTo>
                      <a:lnTo>
                        <a:pt x="161" y="1461"/>
                      </a:lnTo>
                      <a:lnTo>
                        <a:pt x="159" y="1459"/>
                      </a:lnTo>
                      <a:lnTo>
                        <a:pt x="159" y="1457"/>
                      </a:lnTo>
                      <a:lnTo>
                        <a:pt x="159" y="1455"/>
                      </a:lnTo>
                      <a:lnTo>
                        <a:pt x="158" y="1455"/>
                      </a:lnTo>
                      <a:lnTo>
                        <a:pt x="158" y="1453"/>
                      </a:lnTo>
                      <a:lnTo>
                        <a:pt x="159" y="1453"/>
                      </a:lnTo>
                      <a:lnTo>
                        <a:pt x="159" y="1451"/>
                      </a:lnTo>
                      <a:lnTo>
                        <a:pt x="159" y="1449"/>
                      </a:lnTo>
                      <a:lnTo>
                        <a:pt x="158" y="1449"/>
                      </a:lnTo>
                      <a:lnTo>
                        <a:pt x="158" y="1447"/>
                      </a:lnTo>
                      <a:lnTo>
                        <a:pt x="158" y="1445"/>
                      </a:lnTo>
                      <a:lnTo>
                        <a:pt x="158" y="1444"/>
                      </a:lnTo>
                      <a:lnTo>
                        <a:pt x="158" y="1442"/>
                      </a:lnTo>
                      <a:lnTo>
                        <a:pt x="156" y="1442"/>
                      </a:lnTo>
                      <a:lnTo>
                        <a:pt x="156" y="1440"/>
                      </a:lnTo>
                      <a:lnTo>
                        <a:pt x="156" y="1438"/>
                      </a:lnTo>
                      <a:lnTo>
                        <a:pt x="154" y="1438"/>
                      </a:lnTo>
                      <a:lnTo>
                        <a:pt x="154" y="1436"/>
                      </a:lnTo>
                      <a:lnTo>
                        <a:pt x="154" y="1434"/>
                      </a:lnTo>
                      <a:lnTo>
                        <a:pt x="154" y="1432"/>
                      </a:lnTo>
                      <a:lnTo>
                        <a:pt x="154" y="1430"/>
                      </a:lnTo>
                      <a:lnTo>
                        <a:pt x="154" y="1429"/>
                      </a:lnTo>
                      <a:lnTo>
                        <a:pt x="154" y="1427"/>
                      </a:lnTo>
                      <a:lnTo>
                        <a:pt x="154" y="1425"/>
                      </a:lnTo>
                      <a:lnTo>
                        <a:pt x="154" y="1423"/>
                      </a:lnTo>
                      <a:lnTo>
                        <a:pt x="152" y="1423"/>
                      </a:lnTo>
                      <a:lnTo>
                        <a:pt x="152" y="1421"/>
                      </a:lnTo>
                      <a:lnTo>
                        <a:pt x="152" y="1419"/>
                      </a:lnTo>
                      <a:lnTo>
                        <a:pt x="154" y="1419"/>
                      </a:lnTo>
                      <a:lnTo>
                        <a:pt x="154" y="1417"/>
                      </a:lnTo>
                      <a:lnTo>
                        <a:pt x="152" y="1415"/>
                      </a:lnTo>
                      <a:lnTo>
                        <a:pt x="152" y="1413"/>
                      </a:lnTo>
                      <a:lnTo>
                        <a:pt x="150" y="1412"/>
                      </a:lnTo>
                      <a:lnTo>
                        <a:pt x="150" y="1410"/>
                      </a:lnTo>
                      <a:lnTo>
                        <a:pt x="150" y="1408"/>
                      </a:lnTo>
                      <a:lnTo>
                        <a:pt x="148" y="1406"/>
                      </a:lnTo>
                      <a:lnTo>
                        <a:pt x="148" y="1404"/>
                      </a:lnTo>
                      <a:lnTo>
                        <a:pt x="148" y="1402"/>
                      </a:lnTo>
                      <a:lnTo>
                        <a:pt x="148" y="1400"/>
                      </a:lnTo>
                      <a:lnTo>
                        <a:pt x="148" y="1398"/>
                      </a:lnTo>
                      <a:lnTo>
                        <a:pt x="146" y="1398"/>
                      </a:lnTo>
                      <a:lnTo>
                        <a:pt x="148" y="1397"/>
                      </a:lnTo>
                      <a:lnTo>
                        <a:pt x="148" y="1395"/>
                      </a:lnTo>
                      <a:lnTo>
                        <a:pt x="146" y="1393"/>
                      </a:lnTo>
                      <a:lnTo>
                        <a:pt x="144" y="1391"/>
                      </a:lnTo>
                      <a:lnTo>
                        <a:pt x="144" y="1389"/>
                      </a:lnTo>
                      <a:lnTo>
                        <a:pt x="143" y="1389"/>
                      </a:lnTo>
                      <a:lnTo>
                        <a:pt x="143" y="1387"/>
                      </a:lnTo>
                      <a:lnTo>
                        <a:pt x="141" y="1385"/>
                      </a:lnTo>
                      <a:lnTo>
                        <a:pt x="141" y="1383"/>
                      </a:lnTo>
                      <a:lnTo>
                        <a:pt x="139" y="1383"/>
                      </a:lnTo>
                      <a:lnTo>
                        <a:pt x="139" y="1381"/>
                      </a:lnTo>
                      <a:lnTo>
                        <a:pt x="139" y="1380"/>
                      </a:lnTo>
                      <a:lnTo>
                        <a:pt x="141" y="1380"/>
                      </a:lnTo>
                      <a:lnTo>
                        <a:pt x="141" y="1378"/>
                      </a:lnTo>
                      <a:lnTo>
                        <a:pt x="141" y="1376"/>
                      </a:lnTo>
                      <a:lnTo>
                        <a:pt x="139" y="1376"/>
                      </a:lnTo>
                      <a:lnTo>
                        <a:pt x="141" y="1376"/>
                      </a:lnTo>
                      <a:lnTo>
                        <a:pt x="139" y="1374"/>
                      </a:lnTo>
                      <a:lnTo>
                        <a:pt x="139" y="1372"/>
                      </a:lnTo>
                      <a:lnTo>
                        <a:pt x="139" y="1370"/>
                      </a:lnTo>
                      <a:lnTo>
                        <a:pt x="139" y="1368"/>
                      </a:lnTo>
                      <a:lnTo>
                        <a:pt x="139" y="1366"/>
                      </a:lnTo>
                      <a:lnTo>
                        <a:pt x="137" y="1366"/>
                      </a:lnTo>
                      <a:lnTo>
                        <a:pt x="137" y="1365"/>
                      </a:lnTo>
                      <a:lnTo>
                        <a:pt x="137" y="1363"/>
                      </a:lnTo>
                      <a:lnTo>
                        <a:pt x="135" y="1363"/>
                      </a:lnTo>
                      <a:lnTo>
                        <a:pt x="135" y="1361"/>
                      </a:lnTo>
                      <a:lnTo>
                        <a:pt x="135" y="1359"/>
                      </a:lnTo>
                      <a:lnTo>
                        <a:pt x="135" y="1357"/>
                      </a:lnTo>
                      <a:lnTo>
                        <a:pt x="133" y="1357"/>
                      </a:lnTo>
                      <a:lnTo>
                        <a:pt x="133" y="1355"/>
                      </a:lnTo>
                      <a:lnTo>
                        <a:pt x="133" y="1353"/>
                      </a:lnTo>
                      <a:lnTo>
                        <a:pt x="133" y="1351"/>
                      </a:lnTo>
                      <a:lnTo>
                        <a:pt x="133" y="1349"/>
                      </a:lnTo>
                      <a:lnTo>
                        <a:pt x="131" y="1348"/>
                      </a:lnTo>
                      <a:lnTo>
                        <a:pt x="131" y="1346"/>
                      </a:lnTo>
                      <a:lnTo>
                        <a:pt x="131" y="1344"/>
                      </a:lnTo>
                      <a:lnTo>
                        <a:pt x="131" y="1342"/>
                      </a:lnTo>
                      <a:lnTo>
                        <a:pt x="131" y="1340"/>
                      </a:lnTo>
                      <a:lnTo>
                        <a:pt x="129" y="1340"/>
                      </a:lnTo>
                      <a:lnTo>
                        <a:pt x="129" y="1338"/>
                      </a:lnTo>
                      <a:lnTo>
                        <a:pt x="127" y="1338"/>
                      </a:lnTo>
                      <a:lnTo>
                        <a:pt x="127" y="1336"/>
                      </a:lnTo>
                      <a:lnTo>
                        <a:pt x="127" y="1334"/>
                      </a:lnTo>
                      <a:lnTo>
                        <a:pt x="126" y="1334"/>
                      </a:lnTo>
                      <a:lnTo>
                        <a:pt x="126" y="1333"/>
                      </a:lnTo>
                      <a:lnTo>
                        <a:pt x="124" y="1331"/>
                      </a:lnTo>
                      <a:lnTo>
                        <a:pt x="124" y="1329"/>
                      </a:lnTo>
                      <a:lnTo>
                        <a:pt x="124" y="1327"/>
                      </a:lnTo>
                      <a:lnTo>
                        <a:pt x="124" y="1323"/>
                      </a:lnTo>
                      <a:lnTo>
                        <a:pt x="124" y="1321"/>
                      </a:lnTo>
                      <a:lnTo>
                        <a:pt x="122" y="1321"/>
                      </a:lnTo>
                      <a:lnTo>
                        <a:pt x="122" y="1319"/>
                      </a:lnTo>
                      <a:lnTo>
                        <a:pt x="120" y="1319"/>
                      </a:lnTo>
                      <a:lnTo>
                        <a:pt x="120" y="1317"/>
                      </a:lnTo>
                      <a:lnTo>
                        <a:pt x="118" y="1316"/>
                      </a:lnTo>
                      <a:lnTo>
                        <a:pt x="116" y="1314"/>
                      </a:lnTo>
                      <a:lnTo>
                        <a:pt x="116" y="1312"/>
                      </a:lnTo>
                      <a:lnTo>
                        <a:pt x="116" y="1310"/>
                      </a:lnTo>
                      <a:lnTo>
                        <a:pt x="114" y="1310"/>
                      </a:lnTo>
                      <a:lnTo>
                        <a:pt x="112" y="1308"/>
                      </a:lnTo>
                      <a:lnTo>
                        <a:pt x="112" y="1306"/>
                      </a:lnTo>
                      <a:lnTo>
                        <a:pt x="111" y="1304"/>
                      </a:lnTo>
                      <a:lnTo>
                        <a:pt x="109" y="1302"/>
                      </a:lnTo>
                      <a:lnTo>
                        <a:pt x="109" y="1301"/>
                      </a:lnTo>
                      <a:lnTo>
                        <a:pt x="107" y="1301"/>
                      </a:lnTo>
                      <a:lnTo>
                        <a:pt x="107" y="1299"/>
                      </a:lnTo>
                      <a:lnTo>
                        <a:pt x="109" y="1299"/>
                      </a:lnTo>
                      <a:lnTo>
                        <a:pt x="107" y="1299"/>
                      </a:lnTo>
                      <a:lnTo>
                        <a:pt x="109" y="1297"/>
                      </a:lnTo>
                      <a:lnTo>
                        <a:pt x="109" y="1295"/>
                      </a:lnTo>
                      <a:lnTo>
                        <a:pt x="107" y="1295"/>
                      </a:lnTo>
                      <a:lnTo>
                        <a:pt x="107" y="1293"/>
                      </a:lnTo>
                      <a:lnTo>
                        <a:pt x="105" y="1293"/>
                      </a:lnTo>
                      <a:lnTo>
                        <a:pt x="105" y="1291"/>
                      </a:lnTo>
                      <a:lnTo>
                        <a:pt x="105" y="1289"/>
                      </a:lnTo>
                      <a:lnTo>
                        <a:pt x="105" y="1287"/>
                      </a:lnTo>
                      <a:lnTo>
                        <a:pt x="105" y="1285"/>
                      </a:lnTo>
                      <a:lnTo>
                        <a:pt x="103" y="1285"/>
                      </a:lnTo>
                      <a:lnTo>
                        <a:pt x="101" y="1285"/>
                      </a:lnTo>
                      <a:lnTo>
                        <a:pt x="101" y="1284"/>
                      </a:lnTo>
                      <a:lnTo>
                        <a:pt x="101" y="1282"/>
                      </a:lnTo>
                      <a:lnTo>
                        <a:pt x="99" y="1282"/>
                      </a:lnTo>
                      <a:lnTo>
                        <a:pt x="99" y="1280"/>
                      </a:lnTo>
                      <a:lnTo>
                        <a:pt x="99" y="1278"/>
                      </a:lnTo>
                      <a:lnTo>
                        <a:pt x="97" y="1276"/>
                      </a:lnTo>
                      <a:lnTo>
                        <a:pt x="97" y="1274"/>
                      </a:lnTo>
                      <a:lnTo>
                        <a:pt x="99" y="1274"/>
                      </a:lnTo>
                      <a:lnTo>
                        <a:pt x="99" y="1272"/>
                      </a:lnTo>
                      <a:lnTo>
                        <a:pt x="99" y="1270"/>
                      </a:lnTo>
                      <a:lnTo>
                        <a:pt x="99" y="1269"/>
                      </a:lnTo>
                      <a:lnTo>
                        <a:pt x="97" y="1267"/>
                      </a:lnTo>
                      <a:lnTo>
                        <a:pt x="97" y="1265"/>
                      </a:lnTo>
                      <a:lnTo>
                        <a:pt x="96" y="1265"/>
                      </a:lnTo>
                      <a:lnTo>
                        <a:pt x="96" y="1263"/>
                      </a:lnTo>
                      <a:lnTo>
                        <a:pt x="96" y="1261"/>
                      </a:lnTo>
                      <a:lnTo>
                        <a:pt x="97" y="1261"/>
                      </a:lnTo>
                      <a:lnTo>
                        <a:pt x="96" y="1259"/>
                      </a:lnTo>
                      <a:lnTo>
                        <a:pt x="96" y="1257"/>
                      </a:lnTo>
                      <a:lnTo>
                        <a:pt x="96" y="1255"/>
                      </a:lnTo>
                      <a:lnTo>
                        <a:pt x="94" y="1255"/>
                      </a:lnTo>
                      <a:lnTo>
                        <a:pt x="94" y="1253"/>
                      </a:lnTo>
                      <a:lnTo>
                        <a:pt x="94" y="1252"/>
                      </a:lnTo>
                      <a:lnTo>
                        <a:pt x="94" y="1250"/>
                      </a:lnTo>
                      <a:lnTo>
                        <a:pt x="92" y="1250"/>
                      </a:lnTo>
                      <a:lnTo>
                        <a:pt x="92" y="1248"/>
                      </a:lnTo>
                      <a:lnTo>
                        <a:pt x="92" y="1246"/>
                      </a:lnTo>
                      <a:lnTo>
                        <a:pt x="92" y="1244"/>
                      </a:lnTo>
                      <a:lnTo>
                        <a:pt x="92" y="1242"/>
                      </a:lnTo>
                      <a:lnTo>
                        <a:pt x="92" y="1240"/>
                      </a:lnTo>
                      <a:lnTo>
                        <a:pt x="90" y="1240"/>
                      </a:lnTo>
                      <a:lnTo>
                        <a:pt x="90" y="1238"/>
                      </a:lnTo>
                      <a:lnTo>
                        <a:pt x="88" y="1238"/>
                      </a:lnTo>
                      <a:lnTo>
                        <a:pt x="88" y="1237"/>
                      </a:lnTo>
                      <a:lnTo>
                        <a:pt x="86" y="1237"/>
                      </a:lnTo>
                      <a:lnTo>
                        <a:pt x="86" y="1235"/>
                      </a:lnTo>
                      <a:lnTo>
                        <a:pt x="84" y="1233"/>
                      </a:lnTo>
                      <a:lnTo>
                        <a:pt x="82" y="1231"/>
                      </a:lnTo>
                      <a:lnTo>
                        <a:pt x="79" y="1229"/>
                      </a:lnTo>
                      <a:lnTo>
                        <a:pt x="77" y="1229"/>
                      </a:lnTo>
                      <a:lnTo>
                        <a:pt x="77" y="1227"/>
                      </a:lnTo>
                      <a:lnTo>
                        <a:pt x="75" y="1227"/>
                      </a:lnTo>
                      <a:lnTo>
                        <a:pt x="73" y="1225"/>
                      </a:lnTo>
                      <a:lnTo>
                        <a:pt x="73" y="1223"/>
                      </a:lnTo>
                      <a:lnTo>
                        <a:pt x="71" y="1223"/>
                      </a:lnTo>
                      <a:lnTo>
                        <a:pt x="71" y="1221"/>
                      </a:lnTo>
                      <a:lnTo>
                        <a:pt x="71" y="1220"/>
                      </a:lnTo>
                      <a:lnTo>
                        <a:pt x="69" y="1220"/>
                      </a:lnTo>
                      <a:lnTo>
                        <a:pt x="69" y="1218"/>
                      </a:lnTo>
                      <a:lnTo>
                        <a:pt x="69" y="1216"/>
                      </a:lnTo>
                      <a:lnTo>
                        <a:pt x="67" y="1216"/>
                      </a:lnTo>
                      <a:lnTo>
                        <a:pt x="67" y="1214"/>
                      </a:lnTo>
                      <a:lnTo>
                        <a:pt x="67" y="1212"/>
                      </a:lnTo>
                      <a:lnTo>
                        <a:pt x="67" y="1210"/>
                      </a:lnTo>
                      <a:lnTo>
                        <a:pt x="67" y="1208"/>
                      </a:lnTo>
                      <a:lnTo>
                        <a:pt x="65" y="1208"/>
                      </a:lnTo>
                      <a:lnTo>
                        <a:pt x="65" y="1206"/>
                      </a:lnTo>
                      <a:lnTo>
                        <a:pt x="65" y="1205"/>
                      </a:lnTo>
                      <a:lnTo>
                        <a:pt x="64" y="1205"/>
                      </a:lnTo>
                      <a:lnTo>
                        <a:pt x="64" y="1203"/>
                      </a:lnTo>
                      <a:lnTo>
                        <a:pt x="62" y="1201"/>
                      </a:lnTo>
                      <a:lnTo>
                        <a:pt x="62" y="1199"/>
                      </a:lnTo>
                      <a:lnTo>
                        <a:pt x="62" y="1197"/>
                      </a:lnTo>
                      <a:lnTo>
                        <a:pt x="60" y="1195"/>
                      </a:lnTo>
                      <a:lnTo>
                        <a:pt x="60" y="1193"/>
                      </a:lnTo>
                      <a:lnTo>
                        <a:pt x="58" y="1191"/>
                      </a:lnTo>
                      <a:lnTo>
                        <a:pt x="56" y="1189"/>
                      </a:lnTo>
                      <a:lnTo>
                        <a:pt x="54" y="1188"/>
                      </a:lnTo>
                      <a:lnTo>
                        <a:pt x="52" y="1188"/>
                      </a:lnTo>
                      <a:lnTo>
                        <a:pt x="52" y="1186"/>
                      </a:lnTo>
                      <a:lnTo>
                        <a:pt x="50" y="1184"/>
                      </a:lnTo>
                      <a:lnTo>
                        <a:pt x="48" y="1184"/>
                      </a:lnTo>
                      <a:lnTo>
                        <a:pt x="47" y="1182"/>
                      </a:lnTo>
                      <a:lnTo>
                        <a:pt x="45" y="1182"/>
                      </a:lnTo>
                      <a:lnTo>
                        <a:pt x="43" y="1180"/>
                      </a:lnTo>
                      <a:lnTo>
                        <a:pt x="41" y="1178"/>
                      </a:lnTo>
                      <a:lnTo>
                        <a:pt x="39" y="1178"/>
                      </a:lnTo>
                      <a:lnTo>
                        <a:pt x="37" y="1178"/>
                      </a:lnTo>
                      <a:lnTo>
                        <a:pt x="37" y="1176"/>
                      </a:lnTo>
                      <a:lnTo>
                        <a:pt x="37" y="1174"/>
                      </a:lnTo>
                      <a:lnTo>
                        <a:pt x="37" y="1173"/>
                      </a:lnTo>
                      <a:lnTo>
                        <a:pt x="37" y="1171"/>
                      </a:lnTo>
                      <a:lnTo>
                        <a:pt x="35" y="1171"/>
                      </a:lnTo>
                      <a:lnTo>
                        <a:pt x="35" y="1169"/>
                      </a:lnTo>
                      <a:lnTo>
                        <a:pt x="35" y="1167"/>
                      </a:lnTo>
                      <a:lnTo>
                        <a:pt x="33" y="1165"/>
                      </a:lnTo>
                      <a:lnTo>
                        <a:pt x="33" y="1163"/>
                      </a:lnTo>
                      <a:lnTo>
                        <a:pt x="32" y="1163"/>
                      </a:lnTo>
                      <a:lnTo>
                        <a:pt x="32" y="1161"/>
                      </a:lnTo>
                      <a:lnTo>
                        <a:pt x="32" y="1159"/>
                      </a:lnTo>
                      <a:lnTo>
                        <a:pt x="33" y="1159"/>
                      </a:lnTo>
                      <a:lnTo>
                        <a:pt x="33" y="1157"/>
                      </a:lnTo>
                      <a:lnTo>
                        <a:pt x="32" y="1157"/>
                      </a:lnTo>
                      <a:lnTo>
                        <a:pt x="32" y="1156"/>
                      </a:lnTo>
                      <a:lnTo>
                        <a:pt x="32" y="1154"/>
                      </a:lnTo>
                      <a:lnTo>
                        <a:pt x="30" y="1154"/>
                      </a:lnTo>
                      <a:lnTo>
                        <a:pt x="30" y="1152"/>
                      </a:lnTo>
                      <a:lnTo>
                        <a:pt x="30" y="1150"/>
                      </a:lnTo>
                      <a:lnTo>
                        <a:pt x="30" y="1148"/>
                      </a:lnTo>
                      <a:lnTo>
                        <a:pt x="30" y="1146"/>
                      </a:lnTo>
                      <a:lnTo>
                        <a:pt x="28" y="1146"/>
                      </a:lnTo>
                      <a:lnTo>
                        <a:pt x="26" y="1146"/>
                      </a:lnTo>
                      <a:lnTo>
                        <a:pt x="26" y="1144"/>
                      </a:lnTo>
                      <a:lnTo>
                        <a:pt x="28" y="1144"/>
                      </a:lnTo>
                      <a:lnTo>
                        <a:pt x="28" y="1142"/>
                      </a:lnTo>
                      <a:lnTo>
                        <a:pt x="28" y="1141"/>
                      </a:lnTo>
                      <a:lnTo>
                        <a:pt x="30" y="1141"/>
                      </a:lnTo>
                      <a:lnTo>
                        <a:pt x="30" y="1139"/>
                      </a:lnTo>
                      <a:lnTo>
                        <a:pt x="30" y="1137"/>
                      </a:lnTo>
                      <a:lnTo>
                        <a:pt x="28" y="1135"/>
                      </a:lnTo>
                      <a:lnTo>
                        <a:pt x="30" y="1135"/>
                      </a:lnTo>
                      <a:lnTo>
                        <a:pt x="28" y="1135"/>
                      </a:lnTo>
                      <a:lnTo>
                        <a:pt x="28" y="1133"/>
                      </a:lnTo>
                      <a:lnTo>
                        <a:pt x="26" y="1133"/>
                      </a:lnTo>
                      <a:lnTo>
                        <a:pt x="26" y="1131"/>
                      </a:lnTo>
                      <a:lnTo>
                        <a:pt x="24" y="1131"/>
                      </a:lnTo>
                      <a:lnTo>
                        <a:pt x="24" y="1129"/>
                      </a:lnTo>
                      <a:lnTo>
                        <a:pt x="22" y="1129"/>
                      </a:lnTo>
                      <a:lnTo>
                        <a:pt x="20" y="1129"/>
                      </a:lnTo>
                      <a:lnTo>
                        <a:pt x="20" y="1127"/>
                      </a:lnTo>
                      <a:lnTo>
                        <a:pt x="18" y="1127"/>
                      </a:lnTo>
                      <a:lnTo>
                        <a:pt x="18" y="1125"/>
                      </a:lnTo>
                      <a:lnTo>
                        <a:pt x="17" y="1124"/>
                      </a:lnTo>
                      <a:lnTo>
                        <a:pt x="15" y="1124"/>
                      </a:lnTo>
                      <a:lnTo>
                        <a:pt x="15" y="1122"/>
                      </a:lnTo>
                      <a:lnTo>
                        <a:pt x="15" y="1120"/>
                      </a:lnTo>
                      <a:lnTo>
                        <a:pt x="13" y="1120"/>
                      </a:lnTo>
                      <a:lnTo>
                        <a:pt x="13" y="1118"/>
                      </a:lnTo>
                      <a:lnTo>
                        <a:pt x="15" y="1118"/>
                      </a:lnTo>
                      <a:lnTo>
                        <a:pt x="13" y="1118"/>
                      </a:lnTo>
                      <a:lnTo>
                        <a:pt x="13" y="1116"/>
                      </a:lnTo>
                      <a:lnTo>
                        <a:pt x="11" y="1116"/>
                      </a:lnTo>
                      <a:lnTo>
                        <a:pt x="9" y="1116"/>
                      </a:lnTo>
                      <a:lnTo>
                        <a:pt x="9" y="1114"/>
                      </a:lnTo>
                      <a:lnTo>
                        <a:pt x="7" y="1114"/>
                      </a:lnTo>
                      <a:lnTo>
                        <a:pt x="7" y="1112"/>
                      </a:lnTo>
                      <a:lnTo>
                        <a:pt x="5" y="1112"/>
                      </a:lnTo>
                      <a:lnTo>
                        <a:pt x="3" y="1110"/>
                      </a:lnTo>
                      <a:lnTo>
                        <a:pt x="1" y="1109"/>
                      </a:lnTo>
                      <a:lnTo>
                        <a:pt x="0" y="1109"/>
                      </a:lnTo>
                      <a:lnTo>
                        <a:pt x="0" y="1107"/>
                      </a:lnTo>
                      <a:lnTo>
                        <a:pt x="0" y="1105"/>
                      </a:lnTo>
                      <a:lnTo>
                        <a:pt x="0" y="1103"/>
                      </a:lnTo>
                      <a:lnTo>
                        <a:pt x="0" y="1101"/>
                      </a:lnTo>
                      <a:lnTo>
                        <a:pt x="0" y="1099"/>
                      </a:lnTo>
                      <a:lnTo>
                        <a:pt x="0" y="1097"/>
                      </a:lnTo>
                      <a:lnTo>
                        <a:pt x="0" y="1095"/>
                      </a:lnTo>
                      <a:lnTo>
                        <a:pt x="1" y="1093"/>
                      </a:lnTo>
                      <a:lnTo>
                        <a:pt x="1" y="1092"/>
                      </a:lnTo>
                      <a:lnTo>
                        <a:pt x="3" y="1092"/>
                      </a:lnTo>
                      <a:lnTo>
                        <a:pt x="1" y="1092"/>
                      </a:lnTo>
                      <a:lnTo>
                        <a:pt x="3" y="1092"/>
                      </a:lnTo>
                      <a:lnTo>
                        <a:pt x="3" y="1090"/>
                      </a:lnTo>
                      <a:lnTo>
                        <a:pt x="5" y="1090"/>
                      </a:lnTo>
                      <a:lnTo>
                        <a:pt x="5" y="1088"/>
                      </a:lnTo>
                      <a:lnTo>
                        <a:pt x="7" y="1088"/>
                      </a:lnTo>
                      <a:lnTo>
                        <a:pt x="9" y="1086"/>
                      </a:lnTo>
                      <a:lnTo>
                        <a:pt x="11" y="1086"/>
                      </a:lnTo>
                      <a:lnTo>
                        <a:pt x="13" y="1086"/>
                      </a:lnTo>
                      <a:lnTo>
                        <a:pt x="15" y="1086"/>
                      </a:lnTo>
                      <a:lnTo>
                        <a:pt x="17" y="1084"/>
                      </a:lnTo>
                      <a:lnTo>
                        <a:pt x="18" y="1084"/>
                      </a:lnTo>
                      <a:lnTo>
                        <a:pt x="20" y="1084"/>
                      </a:lnTo>
                      <a:lnTo>
                        <a:pt x="22" y="1084"/>
                      </a:lnTo>
                      <a:lnTo>
                        <a:pt x="22" y="1082"/>
                      </a:lnTo>
                      <a:lnTo>
                        <a:pt x="24" y="1082"/>
                      </a:lnTo>
                      <a:lnTo>
                        <a:pt x="26" y="1082"/>
                      </a:lnTo>
                      <a:lnTo>
                        <a:pt x="26" y="1080"/>
                      </a:lnTo>
                      <a:lnTo>
                        <a:pt x="28" y="1080"/>
                      </a:lnTo>
                      <a:lnTo>
                        <a:pt x="30" y="1080"/>
                      </a:lnTo>
                      <a:lnTo>
                        <a:pt x="32" y="1080"/>
                      </a:lnTo>
                      <a:lnTo>
                        <a:pt x="32" y="1078"/>
                      </a:lnTo>
                      <a:lnTo>
                        <a:pt x="33" y="1078"/>
                      </a:lnTo>
                      <a:lnTo>
                        <a:pt x="35" y="1078"/>
                      </a:lnTo>
                      <a:lnTo>
                        <a:pt x="37" y="1078"/>
                      </a:lnTo>
                      <a:lnTo>
                        <a:pt x="37" y="1076"/>
                      </a:lnTo>
                      <a:lnTo>
                        <a:pt x="39" y="1076"/>
                      </a:lnTo>
                      <a:lnTo>
                        <a:pt x="39" y="1075"/>
                      </a:lnTo>
                      <a:lnTo>
                        <a:pt x="41" y="1075"/>
                      </a:lnTo>
                      <a:lnTo>
                        <a:pt x="41" y="1073"/>
                      </a:lnTo>
                      <a:lnTo>
                        <a:pt x="41" y="1071"/>
                      </a:lnTo>
                      <a:lnTo>
                        <a:pt x="41" y="1069"/>
                      </a:lnTo>
                      <a:lnTo>
                        <a:pt x="43" y="1069"/>
                      </a:lnTo>
                      <a:lnTo>
                        <a:pt x="43" y="1067"/>
                      </a:lnTo>
                      <a:lnTo>
                        <a:pt x="45" y="1067"/>
                      </a:lnTo>
                      <a:lnTo>
                        <a:pt x="47" y="1065"/>
                      </a:lnTo>
                      <a:lnTo>
                        <a:pt x="48" y="1065"/>
                      </a:lnTo>
                      <a:lnTo>
                        <a:pt x="48" y="1063"/>
                      </a:lnTo>
                      <a:lnTo>
                        <a:pt x="50" y="1063"/>
                      </a:lnTo>
                      <a:lnTo>
                        <a:pt x="52" y="1063"/>
                      </a:lnTo>
                      <a:lnTo>
                        <a:pt x="52" y="1061"/>
                      </a:lnTo>
                      <a:lnTo>
                        <a:pt x="54" y="1061"/>
                      </a:lnTo>
                      <a:lnTo>
                        <a:pt x="54" y="1060"/>
                      </a:lnTo>
                      <a:lnTo>
                        <a:pt x="56" y="1060"/>
                      </a:lnTo>
                      <a:lnTo>
                        <a:pt x="58" y="1060"/>
                      </a:lnTo>
                      <a:lnTo>
                        <a:pt x="60" y="1060"/>
                      </a:lnTo>
                      <a:lnTo>
                        <a:pt x="60" y="1061"/>
                      </a:lnTo>
                      <a:lnTo>
                        <a:pt x="62" y="1061"/>
                      </a:lnTo>
                      <a:lnTo>
                        <a:pt x="62" y="1063"/>
                      </a:lnTo>
                      <a:lnTo>
                        <a:pt x="62" y="1065"/>
                      </a:lnTo>
                      <a:lnTo>
                        <a:pt x="62" y="1067"/>
                      </a:lnTo>
                      <a:lnTo>
                        <a:pt x="64" y="1067"/>
                      </a:lnTo>
                      <a:lnTo>
                        <a:pt x="64" y="1069"/>
                      </a:lnTo>
                      <a:lnTo>
                        <a:pt x="65" y="1069"/>
                      </a:lnTo>
                      <a:lnTo>
                        <a:pt x="67" y="1069"/>
                      </a:lnTo>
                      <a:lnTo>
                        <a:pt x="69" y="1069"/>
                      </a:lnTo>
                      <a:lnTo>
                        <a:pt x="69" y="1067"/>
                      </a:lnTo>
                      <a:lnTo>
                        <a:pt x="71" y="1067"/>
                      </a:lnTo>
                      <a:lnTo>
                        <a:pt x="71" y="1065"/>
                      </a:lnTo>
                      <a:lnTo>
                        <a:pt x="73" y="1063"/>
                      </a:lnTo>
                      <a:lnTo>
                        <a:pt x="73" y="1061"/>
                      </a:lnTo>
                      <a:lnTo>
                        <a:pt x="73" y="1060"/>
                      </a:lnTo>
                      <a:lnTo>
                        <a:pt x="75" y="1060"/>
                      </a:lnTo>
                      <a:lnTo>
                        <a:pt x="75" y="1058"/>
                      </a:lnTo>
                      <a:lnTo>
                        <a:pt x="77" y="1056"/>
                      </a:lnTo>
                      <a:lnTo>
                        <a:pt x="79" y="1056"/>
                      </a:lnTo>
                      <a:lnTo>
                        <a:pt x="80" y="1056"/>
                      </a:lnTo>
                      <a:lnTo>
                        <a:pt x="80" y="1054"/>
                      </a:lnTo>
                      <a:lnTo>
                        <a:pt x="80" y="1052"/>
                      </a:lnTo>
                      <a:lnTo>
                        <a:pt x="82" y="1052"/>
                      </a:lnTo>
                      <a:lnTo>
                        <a:pt x="82" y="1050"/>
                      </a:lnTo>
                      <a:lnTo>
                        <a:pt x="80" y="1048"/>
                      </a:lnTo>
                      <a:lnTo>
                        <a:pt x="80" y="1046"/>
                      </a:lnTo>
                      <a:lnTo>
                        <a:pt x="80" y="1044"/>
                      </a:lnTo>
                      <a:lnTo>
                        <a:pt x="79" y="1043"/>
                      </a:lnTo>
                      <a:lnTo>
                        <a:pt x="79" y="1041"/>
                      </a:lnTo>
                      <a:lnTo>
                        <a:pt x="80" y="1039"/>
                      </a:lnTo>
                      <a:lnTo>
                        <a:pt x="80" y="1037"/>
                      </a:lnTo>
                      <a:lnTo>
                        <a:pt x="82" y="1037"/>
                      </a:lnTo>
                      <a:lnTo>
                        <a:pt x="84" y="1035"/>
                      </a:lnTo>
                      <a:lnTo>
                        <a:pt x="84" y="1033"/>
                      </a:lnTo>
                      <a:lnTo>
                        <a:pt x="86" y="1033"/>
                      </a:lnTo>
                      <a:lnTo>
                        <a:pt x="86" y="1031"/>
                      </a:lnTo>
                      <a:lnTo>
                        <a:pt x="88" y="1031"/>
                      </a:lnTo>
                      <a:lnTo>
                        <a:pt x="88" y="1029"/>
                      </a:lnTo>
                      <a:lnTo>
                        <a:pt x="90" y="1029"/>
                      </a:lnTo>
                      <a:lnTo>
                        <a:pt x="90" y="1028"/>
                      </a:lnTo>
                      <a:lnTo>
                        <a:pt x="88" y="1028"/>
                      </a:lnTo>
                      <a:lnTo>
                        <a:pt x="88" y="1026"/>
                      </a:lnTo>
                      <a:lnTo>
                        <a:pt x="86" y="1026"/>
                      </a:lnTo>
                      <a:lnTo>
                        <a:pt x="86" y="1024"/>
                      </a:lnTo>
                      <a:lnTo>
                        <a:pt x="84" y="1024"/>
                      </a:lnTo>
                      <a:lnTo>
                        <a:pt x="84" y="1022"/>
                      </a:lnTo>
                      <a:lnTo>
                        <a:pt x="84" y="1020"/>
                      </a:lnTo>
                      <a:lnTo>
                        <a:pt x="82" y="1018"/>
                      </a:lnTo>
                      <a:lnTo>
                        <a:pt x="82" y="1016"/>
                      </a:lnTo>
                      <a:lnTo>
                        <a:pt x="80" y="1016"/>
                      </a:lnTo>
                      <a:lnTo>
                        <a:pt x="80" y="1014"/>
                      </a:lnTo>
                      <a:lnTo>
                        <a:pt x="79" y="1014"/>
                      </a:lnTo>
                      <a:lnTo>
                        <a:pt x="77" y="1012"/>
                      </a:lnTo>
                      <a:lnTo>
                        <a:pt x="77" y="1011"/>
                      </a:lnTo>
                      <a:lnTo>
                        <a:pt x="75" y="1009"/>
                      </a:lnTo>
                      <a:lnTo>
                        <a:pt x="75" y="1007"/>
                      </a:lnTo>
                      <a:lnTo>
                        <a:pt x="75" y="1005"/>
                      </a:lnTo>
                      <a:lnTo>
                        <a:pt x="77" y="1005"/>
                      </a:lnTo>
                      <a:lnTo>
                        <a:pt x="77" y="1003"/>
                      </a:lnTo>
                      <a:lnTo>
                        <a:pt x="77" y="1001"/>
                      </a:lnTo>
                      <a:lnTo>
                        <a:pt x="77" y="999"/>
                      </a:lnTo>
                      <a:lnTo>
                        <a:pt x="79" y="999"/>
                      </a:lnTo>
                      <a:lnTo>
                        <a:pt x="80" y="999"/>
                      </a:lnTo>
                      <a:lnTo>
                        <a:pt x="82" y="999"/>
                      </a:lnTo>
                      <a:lnTo>
                        <a:pt x="84" y="999"/>
                      </a:lnTo>
                      <a:lnTo>
                        <a:pt x="84" y="1001"/>
                      </a:lnTo>
                      <a:lnTo>
                        <a:pt x="86" y="1001"/>
                      </a:lnTo>
                      <a:lnTo>
                        <a:pt x="88" y="1003"/>
                      </a:lnTo>
                      <a:lnTo>
                        <a:pt x="90" y="1003"/>
                      </a:lnTo>
                      <a:lnTo>
                        <a:pt x="92" y="1003"/>
                      </a:lnTo>
                      <a:lnTo>
                        <a:pt x="94" y="1003"/>
                      </a:lnTo>
                      <a:lnTo>
                        <a:pt x="94" y="1001"/>
                      </a:lnTo>
                      <a:lnTo>
                        <a:pt x="94" y="999"/>
                      </a:lnTo>
                      <a:lnTo>
                        <a:pt x="96" y="997"/>
                      </a:lnTo>
                      <a:lnTo>
                        <a:pt x="96" y="996"/>
                      </a:lnTo>
                      <a:lnTo>
                        <a:pt x="94" y="996"/>
                      </a:lnTo>
                      <a:lnTo>
                        <a:pt x="94" y="994"/>
                      </a:lnTo>
                      <a:lnTo>
                        <a:pt x="92" y="994"/>
                      </a:lnTo>
                      <a:lnTo>
                        <a:pt x="92" y="992"/>
                      </a:lnTo>
                      <a:lnTo>
                        <a:pt x="90" y="992"/>
                      </a:lnTo>
                      <a:lnTo>
                        <a:pt x="90" y="990"/>
                      </a:lnTo>
                      <a:lnTo>
                        <a:pt x="88" y="990"/>
                      </a:lnTo>
                      <a:lnTo>
                        <a:pt x="88" y="988"/>
                      </a:lnTo>
                      <a:lnTo>
                        <a:pt x="90" y="986"/>
                      </a:lnTo>
                      <a:lnTo>
                        <a:pt x="92" y="986"/>
                      </a:lnTo>
                      <a:lnTo>
                        <a:pt x="94" y="986"/>
                      </a:lnTo>
                      <a:lnTo>
                        <a:pt x="96" y="986"/>
                      </a:lnTo>
                      <a:lnTo>
                        <a:pt x="97" y="986"/>
                      </a:lnTo>
                      <a:lnTo>
                        <a:pt x="99" y="986"/>
                      </a:lnTo>
                      <a:lnTo>
                        <a:pt x="101" y="986"/>
                      </a:lnTo>
                      <a:lnTo>
                        <a:pt x="101" y="984"/>
                      </a:lnTo>
                      <a:lnTo>
                        <a:pt x="103" y="984"/>
                      </a:lnTo>
                      <a:lnTo>
                        <a:pt x="103" y="982"/>
                      </a:lnTo>
                      <a:lnTo>
                        <a:pt x="101" y="982"/>
                      </a:lnTo>
                      <a:lnTo>
                        <a:pt x="101" y="980"/>
                      </a:lnTo>
                      <a:lnTo>
                        <a:pt x="99" y="980"/>
                      </a:lnTo>
                      <a:lnTo>
                        <a:pt x="99" y="979"/>
                      </a:lnTo>
                      <a:lnTo>
                        <a:pt x="97" y="979"/>
                      </a:lnTo>
                      <a:lnTo>
                        <a:pt x="96" y="979"/>
                      </a:lnTo>
                      <a:lnTo>
                        <a:pt x="96" y="977"/>
                      </a:lnTo>
                      <a:lnTo>
                        <a:pt x="96" y="975"/>
                      </a:lnTo>
                      <a:lnTo>
                        <a:pt x="94" y="975"/>
                      </a:lnTo>
                      <a:lnTo>
                        <a:pt x="96" y="973"/>
                      </a:lnTo>
                      <a:lnTo>
                        <a:pt x="96" y="971"/>
                      </a:lnTo>
                      <a:lnTo>
                        <a:pt x="97" y="971"/>
                      </a:lnTo>
                      <a:lnTo>
                        <a:pt x="99" y="971"/>
                      </a:lnTo>
                      <a:lnTo>
                        <a:pt x="101" y="973"/>
                      </a:lnTo>
                      <a:lnTo>
                        <a:pt x="103" y="973"/>
                      </a:lnTo>
                      <a:lnTo>
                        <a:pt x="105" y="975"/>
                      </a:lnTo>
                      <a:lnTo>
                        <a:pt x="105" y="977"/>
                      </a:lnTo>
                      <a:lnTo>
                        <a:pt x="107" y="977"/>
                      </a:lnTo>
                      <a:lnTo>
                        <a:pt x="107" y="975"/>
                      </a:lnTo>
                      <a:lnTo>
                        <a:pt x="109" y="975"/>
                      </a:lnTo>
                      <a:lnTo>
                        <a:pt x="111" y="975"/>
                      </a:lnTo>
                      <a:lnTo>
                        <a:pt x="111" y="973"/>
                      </a:lnTo>
                      <a:lnTo>
                        <a:pt x="109" y="971"/>
                      </a:lnTo>
                      <a:lnTo>
                        <a:pt x="109" y="969"/>
                      </a:lnTo>
                      <a:lnTo>
                        <a:pt x="109" y="967"/>
                      </a:lnTo>
                      <a:lnTo>
                        <a:pt x="109" y="965"/>
                      </a:lnTo>
                      <a:lnTo>
                        <a:pt x="111" y="965"/>
                      </a:lnTo>
                      <a:lnTo>
                        <a:pt x="111" y="964"/>
                      </a:lnTo>
                      <a:lnTo>
                        <a:pt x="111" y="962"/>
                      </a:lnTo>
                      <a:lnTo>
                        <a:pt x="111" y="960"/>
                      </a:lnTo>
                      <a:lnTo>
                        <a:pt x="111" y="958"/>
                      </a:lnTo>
                      <a:lnTo>
                        <a:pt x="111" y="956"/>
                      </a:lnTo>
                      <a:lnTo>
                        <a:pt x="109" y="956"/>
                      </a:lnTo>
                      <a:lnTo>
                        <a:pt x="109" y="954"/>
                      </a:lnTo>
                      <a:lnTo>
                        <a:pt x="109" y="952"/>
                      </a:lnTo>
                      <a:lnTo>
                        <a:pt x="109" y="950"/>
                      </a:lnTo>
                      <a:lnTo>
                        <a:pt x="109" y="948"/>
                      </a:lnTo>
                      <a:lnTo>
                        <a:pt x="111" y="948"/>
                      </a:lnTo>
                      <a:lnTo>
                        <a:pt x="111" y="947"/>
                      </a:lnTo>
                      <a:lnTo>
                        <a:pt x="112" y="947"/>
                      </a:lnTo>
                      <a:lnTo>
                        <a:pt x="112" y="945"/>
                      </a:lnTo>
                      <a:lnTo>
                        <a:pt x="114" y="945"/>
                      </a:lnTo>
                      <a:lnTo>
                        <a:pt x="114" y="943"/>
                      </a:lnTo>
                      <a:lnTo>
                        <a:pt x="116" y="943"/>
                      </a:lnTo>
                      <a:lnTo>
                        <a:pt x="116" y="945"/>
                      </a:lnTo>
                      <a:lnTo>
                        <a:pt x="118" y="943"/>
                      </a:lnTo>
                      <a:lnTo>
                        <a:pt x="120" y="943"/>
                      </a:lnTo>
                      <a:lnTo>
                        <a:pt x="122" y="945"/>
                      </a:lnTo>
                      <a:lnTo>
                        <a:pt x="124" y="945"/>
                      </a:lnTo>
                      <a:lnTo>
                        <a:pt x="126" y="945"/>
                      </a:lnTo>
                      <a:lnTo>
                        <a:pt x="127" y="945"/>
                      </a:lnTo>
                      <a:lnTo>
                        <a:pt x="129" y="945"/>
                      </a:lnTo>
                      <a:lnTo>
                        <a:pt x="129" y="943"/>
                      </a:lnTo>
                      <a:lnTo>
                        <a:pt x="131" y="943"/>
                      </a:lnTo>
                      <a:lnTo>
                        <a:pt x="131" y="941"/>
                      </a:lnTo>
                      <a:lnTo>
                        <a:pt x="133" y="941"/>
                      </a:lnTo>
                      <a:lnTo>
                        <a:pt x="135" y="941"/>
                      </a:lnTo>
                      <a:lnTo>
                        <a:pt x="135" y="943"/>
                      </a:lnTo>
                      <a:lnTo>
                        <a:pt x="137" y="943"/>
                      </a:lnTo>
                      <a:lnTo>
                        <a:pt x="137" y="945"/>
                      </a:lnTo>
                      <a:lnTo>
                        <a:pt x="139" y="945"/>
                      </a:lnTo>
                      <a:lnTo>
                        <a:pt x="141" y="945"/>
                      </a:lnTo>
                      <a:lnTo>
                        <a:pt x="141" y="943"/>
                      </a:lnTo>
                      <a:lnTo>
                        <a:pt x="143" y="943"/>
                      </a:lnTo>
                      <a:lnTo>
                        <a:pt x="143" y="941"/>
                      </a:lnTo>
                      <a:lnTo>
                        <a:pt x="143" y="939"/>
                      </a:lnTo>
                      <a:lnTo>
                        <a:pt x="144" y="939"/>
                      </a:lnTo>
                      <a:lnTo>
                        <a:pt x="146" y="937"/>
                      </a:lnTo>
                      <a:lnTo>
                        <a:pt x="148" y="937"/>
                      </a:lnTo>
                      <a:lnTo>
                        <a:pt x="150" y="937"/>
                      </a:lnTo>
                      <a:lnTo>
                        <a:pt x="152" y="937"/>
                      </a:lnTo>
                      <a:lnTo>
                        <a:pt x="154" y="937"/>
                      </a:lnTo>
                      <a:lnTo>
                        <a:pt x="154" y="935"/>
                      </a:lnTo>
                      <a:lnTo>
                        <a:pt x="156" y="935"/>
                      </a:lnTo>
                      <a:lnTo>
                        <a:pt x="158" y="933"/>
                      </a:lnTo>
                      <a:lnTo>
                        <a:pt x="159" y="933"/>
                      </a:lnTo>
                      <a:lnTo>
                        <a:pt x="161" y="933"/>
                      </a:lnTo>
                      <a:lnTo>
                        <a:pt x="161" y="935"/>
                      </a:lnTo>
                      <a:lnTo>
                        <a:pt x="163" y="935"/>
                      </a:lnTo>
                      <a:lnTo>
                        <a:pt x="165" y="937"/>
                      </a:lnTo>
                      <a:lnTo>
                        <a:pt x="167" y="937"/>
                      </a:lnTo>
                      <a:lnTo>
                        <a:pt x="167" y="939"/>
                      </a:lnTo>
                      <a:lnTo>
                        <a:pt x="169" y="939"/>
                      </a:lnTo>
                      <a:lnTo>
                        <a:pt x="169" y="941"/>
                      </a:lnTo>
                      <a:lnTo>
                        <a:pt x="169" y="943"/>
                      </a:lnTo>
                      <a:lnTo>
                        <a:pt x="171" y="943"/>
                      </a:lnTo>
                      <a:lnTo>
                        <a:pt x="171" y="945"/>
                      </a:lnTo>
                      <a:lnTo>
                        <a:pt x="171" y="947"/>
                      </a:lnTo>
                      <a:lnTo>
                        <a:pt x="173" y="947"/>
                      </a:lnTo>
                      <a:lnTo>
                        <a:pt x="173" y="948"/>
                      </a:lnTo>
                      <a:lnTo>
                        <a:pt x="173" y="950"/>
                      </a:lnTo>
                      <a:lnTo>
                        <a:pt x="175" y="950"/>
                      </a:lnTo>
                      <a:lnTo>
                        <a:pt x="176" y="950"/>
                      </a:lnTo>
                      <a:lnTo>
                        <a:pt x="178" y="952"/>
                      </a:lnTo>
                      <a:lnTo>
                        <a:pt x="180" y="952"/>
                      </a:lnTo>
                      <a:lnTo>
                        <a:pt x="182" y="952"/>
                      </a:lnTo>
                      <a:lnTo>
                        <a:pt x="184" y="952"/>
                      </a:lnTo>
                      <a:lnTo>
                        <a:pt x="186" y="952"/>
                      </a:lnTo>
                      <a:lnTo>
                        <a:pt x="186" y="954"/>
                      </a:lnTo>
                      <a:lnTo>
                        <a:pt x="188" y="954"/>
                      </a:lnTo>
                      <a:lnTo>
                        <a:pt x="188" y="956"/>
                      </a:lnTo>
                      <a:lnTo>
                        <a:pt x="188" y="958"/>
                      </a:lnTo>
                      <a:lnTo>
                        <a:pt x="188" y="960"/>
                      </a:lnTo>
                      <a:lnTo>
                        <a:pt x="190" y="960"/>
                      </a:lnTo>
                      <a:lnTo>
                        <a:pt x="190" y="962"/>
                      </a:lnTo>
                      <a:lnTo>
                        <a:pt x="190" y="964"/>
                      </a:lnTo>
                      <a:lnTo>
                        <a:pt x="188" y="964"/>
                      </a:lnTo>
                      <a:lnTo>
                        <a:pt x="188" y="965"/>
                      </a:lnTo>
                      <a:lnTo>
                        <a:pt x="188" y="967"/>
                      </a:lnTo>
                      <a:lnTo>
                        <a:pt x="188" y="969"/>
                      </a:lnTo>
                      <a:lnTo>
                        <a:pt x="188" y="971"/>
                      </a:lnTo>
                      <a:lnTo>
                        <a:pt x="188" y="973"/>
                      </a:lnTo>
                      <a:lnTo>
                        <a:pt x="186" y="973"/>
                      </a:lnTo>
                      <a:lnTo>
                        <a:pt x="186" y="975"/>
                      </a:lnTo>
                      <a:lnTo>
                        <a:pt x="186" y="977"/>
                      </a:lnTo>
                      <a:lnTo>
                        <a:pt x="186" y="979"/>
                      </a:lnTo>
                      <a:lnTo>
                        <a:pt x="186" y="980"/>
                      </a:lnTo>
                      <a:lnTo>
                        <a:pt x="186" y="982"/>
                      </a:lnTo>
                      <a:lnTo>
                        <a:pt x="186" y="984"/>
                      </a:lnTo>
                      <a:lnTo>
                        <a:pt x="186" y="986"/>
                      </a:lnTo>
                      <a:lnTo>
                        <a:pt x="188" y="986"/>
                      </a:lnTo>
                      <a:lnTo>
                        <a:pt x="188" y="988"/>
                      </a:lnTo>
                      <a:lnTo>
                        <a:pt x="188" y="990"/>
                      </a:lnTo>
                      <a:lnTo>
                        <a:pt x="190" y="990"/>
                      </a:lnTo>
                      <a:lnTo>
                        <a:pt x="190" y="992"/>
                      </a:lnTo>
                      <a:lnTo>
                        <a:pt x="191" y="992"/>
                      </a:lnTo>
                      <a:lnTo>
                        <a:pt x="191" y="994"/>
                      </a:lnTo>
                      <a:lnTo>
                        <a:pt x="193" y="994"/>
                      </a:lnTo>
                      <a:lnTo>
                        <a:pt x="193" y="996"/>
                      </a:lnTo>
                      <a:lnTo>
                        <a:pt x="195" y="996"/>
                      </a:lnTo>
                      <a:lnTo>
                        <a:pt x="197" y="996"/>
                      </a:lnTo>
                      <a:lnTo>
                        <a:pt x="199" y="996"/>
                      </a:lnTo>
                      <a:lnTo>
                        <a:pt x="201" y="996"/>
                      </a:lnTo>
                      <a:lnTo>
                        <a:pt x="201" y="994"/>
                      </a:lnTo>
                      <a:lnTo>
                        <a:pt x="203" y="994"/>
                      </a:lnTo>
                      <a:lnTo>
                        <a:pt x="203" y="992"/>
                      </a:lnTo>
                      <a:lnTo>
                        <a:pt x="205" y="992"/>
                      </a:lnTo>
                      <a:lnTo>
                        <a:pt x="206" y="994"/>
                      </a:lnTo>
                      <a:lnTo>
                        <a:pt x="208" y="994"/>
                      </a:lnTo>
                      <a:lnTo>
                        <a:pt x="210" y="994"/>
                      </a:lnTo>
                      <a:lnTo>
                        <a:pt x="212" y="994"/>
                      </a:lnTo>
                      <a:lnTo>
                        <a:pt x="212" y="992"/>
                      </a:lnTo>
                      <a:lnTo>
                        <a:pt x="214" y="992"/>
                      </a:lnTo>
                      <a:lnTo>
                        <a:pt x="214" y="990"/>
                      </a:lnTo>
                      <a:lnTo>
                        <a:pt x="216" y="990"/>
                      </a:lnTo>
                      <a:lnTo>
                        <a:pt x="216" y="988"/>
                      </a:lnTo>
                      <a:lnTo>
                        <a:pt x="218" y="988"/>
                      </a:lnTo>
                      <a:lnTo>
                        <a:pt x="220" y="988"/>
                      </a:lnTo>
                      <a:lnTo>
                        <a:pt x="222" y="988"/>
                      </a:lnTo>
                      <a:lnTo>
                        <a:pt x="223" y="988"/>
                      </a:lnTo>
                      <a:lnTo>
                        <a:pt x="225" y="990"/>
                      </a:lnTo>
                      <a:lnTo>
                        <a:pt x="225" y="992"/>
                      </a:lnTo>
                      <a:lnTo>
                        <a:pt x="227" y="992"/>
                      </a:lnTo>
                      <a:lnTo>
                        <a:pt x="227" y="994"/>
                      </a:lnTo>
                      <a:lnTo>
                        <a:pt x="229" y="994"/>
                      </a:lnTo>
                      <a:lnTo>
                        <a:pt x="229" y="996"/>
                      </a:lnTo>
                      <a:lnTo>
                        <a:pt x="229" y="997"/>
                      </a:lnTo>
                      <a:lnTo>
                        <a:pt x="229" y="999"/>
                      </a:lnTo>
                      <a:lnTo>
                        <a:pt x="231" y="999"/>
                      </a:lnTo>
                      <a:lnTo>
                        <a:pt x="231" y="1001"/>
                      </a:lnTo>
                      <a:lnTo>
                        <a:pt x="231" y="1003"/>
                      </a:lnTo>
                      <a:lnTo>
                        <a:pt x="233" y="1003"/>
                      </a:lnTo>
                      <a:lnTo>
                        <a:pt x="233" y="1005"/>
                      </a:lnTo>
                      <a:lnTo>
                        <a:pt x="235" y="1005"/>
                      </a:lnTo>
                      <a:lnTo>
                        <a:pt x="235" y="1007"/>
                      </a:lnTo>
                      <a:lnTo>
                        <a:pt x="235" y="1009"/>
                      </a:lnTo>
                      <a:lnTo>
                        <a:pt x="237" y="1009"/>
                      </a:lnTo>
                      <a:lnTo>
                        <a:pt x="237" y="1011"/>
                      </a:lnTo>
                      <a:lnTo>
                        <a:pt x="237" y="1012"/>
                      </a:lnTo>
                      <a:lnTo>
                        <a:pt x="235" y="1014"/>
                      </a:lnTo>
                      <a:lnTo>
                        <a:pt x="235" y="1016"/>
                      </a:lnTo>
                      <a:lnTo>
                        <a:pt x="235" y="1018"/>
                      </a:lnTo>
                      <a:lnTo>
                        <a:pt x="237" y="1018"/>
                      </a:lnTo>
                      <a:lnTo>
                        <a:pt x="237" y="1020"/>
                      </a:lnTo>
                      <a:lnTo>
                        <a:pt x="238" y="1020"/>
                      </a:lnTo>
                      <a:lnTo>
                        <a:pt x="238" y="1022"/>
                      </a:lnTo>
                      <a:lnTo>
                        <a:pt x="240" y="1022"/>
                      </a:lnTo>
                      <a:lnTo>
                        <a:pt x="240" y="1024"/>
                      </a:lnTo>
                      <a:lnTo>
                        <a:pt x="242" y="1026"/>
                      </a:lnTo>
                      <a:lnTo>
                        <a:pt x="242" y="1028"/>
                      </a:lnTo>
                      <a:lnTo>
                        <a:pt x="242" y="1029"/>
                      </a:lnTo>
                      <a:lnTo>
                        <a:pt x="244" y="1029"/>
                      </a:lnTo>
                      <a:lnTo>
                        <a:pt x="244" y="1031"/>
                      </a:lnTo>
                      <a:lnTo>
                        <a:pt x="244" y="1033"/>
                      </a:lnTo>
                      <a:lnTo>
                        <a:pt x="244" y="1035"/>
                      </a:lnTo>
                      <a:lnTo>
                        <a:pt x="244" y="1037"/>
                      </a:lnTo>
                      <a:lnTo>
                        <a:pt x="244" y="1039"/>
                      </a:lnTo>
                      <a:lnTo>
                        <a:pt x="242" y="1041"/>
                      </a:lnTo>
                      <a:lnTo>
                        <a:pt x="242" y="1043"/>
                      </a:lnTo>
                      <a:lnTo>
                        <a:pt x="240" y="1044"/>
                      </a:lnTo>
                      <a:lnTo>
                        <a:pt x="240" y="1046"/>
                      </a:lnTo>
                      <a:lnTo>
                        <a:pt x="240" y="1048"/>
                      </a:lnTo>
                      <a:lnTo>
                        <a:pt x="238" y="1048"/>
                      </a:lnTo>
                      <a:lnTo>
                        <a:pt x="238" y="1050"/>
                      </a:lnTo>
                      <a:lnTo>
                        <a:pt x="237" y="1050"/>
                      </a:lnTo>
                      <a:lnTo>
                        <a:pt x="235" y="1050"/>
                      </a:lnTo>
                      <a:lnTo>
                        <a:pt x="233" y="1050"/>
                      </a:lnTo>
                      <a:lnTo>
                        <a:pt x="231" y="1050"/>
                      </a:lnTo>
                      <a:lnTo>
                        <a:pt x="229" y="1050"/>
                      </a:lnTo>
                      <a:lnTo>
                        <a:pt x="227" y="1050"/>
                      </a:lnTo>
                      <a:lnTo>
                        <a:pt x="227" y="1052"/>
                      </a:lnTo>
                      <a:lnTo>
                        <a:pt x="227" y="1054"/>
                      </a:lnTo>
                      <a:lnTo>
                        <a:pt x="225" y="1054"/>
                      </a:lnTo>
                      <a:lnTo>
                        <a:pt x="225" y="1056"/>
                      </a:lnTo>
                      <a:lnTo>
                        <a:pt x="225" y="1058"/>
                      </a:lnTo>
                      <a:lnTo>
                        <a:pt x="223" y="1060"/>
                      </a:lnTo>
                      <a:lnTo>
                        <a:pt x="223" y="1061"/>
                      </a:lnTo>
                      <a:lnTo>
                        <a:pt x="223" y="1063"/>
                      </a:lnTo>
                      <a:lnTo>
                        <a:pt x="225" y="1063"/>
                      </a:lnTo>
                      <a:lnTo>
                        <a:pt x="225" y="1065"/>
                      </a:lnTo>
                      <a:lnTo>
                        <a:pt x="225" y="1067"/>
                      </a:lnTo>
                      <a:lnTo>
                        <a:pt x="227" y="1067"/>
                      </a:lnTo>
                      <a:lnTo>
                        <a:pt x="227" y="1069"/>
                      </a:lnTo>
                      <a:lnTo>
                        <a:pt x="229" y="1069"/>
                      </a:lnTo>
                      <a:lnTo>
                        <a:pt x="231" y="1069"/>
                      </a:lnTo>
                      <a:lnTo>
                        <a:pt x="231" y="1071"/>
                      </a:lnTo>
                      <a:lnTo>
                        <a:pt x="233" y="1071"/>
                      </a:lnTo>
                      <a:lnTo>
                        <a:pt x="233" y="1073"/>
                      </a:lnTo>
                      <a:lnTo>
                        <a:pt x="233" y="1075"/>
                      </a:lnTo>
                      <a:lnTo>
                        <a:pt x="235" y="1076"/>
                      </a:lnTo>
                      <a:lnTo>
                        <a:pt x="235" y="1078"/>
                      </a:lnTo>
                      <a:lnTo>
                        <a:pt x="235" y="1080"/>
                      </a:lnTo>
                      <a:lnTo>
                        <a:pt x="235" y="1078"/>
                      </a:lnTo>
                      <a:lnTo>
                        <a:pt x="235" y="1080"/>
                      </a:lnTo>
                      <a:lnTo>
                        <a:pt x="235" y="1082"/>
                      </a:lnTo>
                      <a:lnTo>
                        <a:pt x="235" y="1084"/>
                      </a:lnTo>
                      <a:lnTo>
                        <a:pt x="235" y="1086"/>
                      </a:lnTo>
                      <a:lnTo>
                        <a:pt x="235" y="1088"/>
                      </a:lnTo>
                      <a:lnTo>
                        <a:pt x="237" y="1088"/>
                      </a:lnTo>
                      <a:lnTo>
                        <a:pt x="237" y="1090"/>
                      </a:lnTo>
                      <a:lnTo>
                        <a:pt x="238" y="1090"/>
                      </a:lnTo>
                      <a:lnTo>
                        <a:pt x="238" y="1088"/>
                      </a:lnTo>
                      <a:lnTo>
                        <a:pt x="240" y="1088"/>
                      </a:lnTo>
                      <a:lnTo>
                        <a:pt x="242" y="1088"/>
                      </a:lnTo>
                      <a:lnTo>
                        <a:pt x="244" y="1086"/>
                      </a:lnTo>
                      <a:lnTo>
                        <a:pt x="246" y="1088"/>
                      </a:lnTo>
                      <a:lnTo>
                        <a:pt x="248" y="1088"/>
                      </a:lnTo>
                      <a:lnTo>
                        <a:pt x="248" y="1090"/>
                      </a:lnTo>
                      <a:lnTo>
                        <a:pt x="250" y="1090"/>
                      </a:lnTo>
                      <a:lnTo>
                        <a:pt x="250" y="1092"/>
                      </a:lnTo>
                      <a:lnTo>
                        <a:pt x="250" y="1093"/>
                      </a:lnTo>
                      <a:lnTo>
                        <a:pt x="248" y="1093"/>
                      </a:lnTo>
                      <a:lnTo>
                        <a:pt x="248" y="1095"/>
                      </a:lnTo>
                      <a:lnTo>
                        <a:pt x="248" y="1097"/>
                      </a:lnTo>
                      <a:lnTo>
                        <a:pt x="248" y="1099"/>
                      </a:lnTo>
                      <a:lnTo>
                        <a:pt x="248" y="1101"/>
                      </a:lnTo>
                      <a:lnTo>
                        <a:pt x="250" y="1101"/>
                      </a:lnTo>
                      <a:lnTo>
                        <a:pt x="250" y="1103"/>
                      </a:lnTo>
                      <a:lnTo>
                        <a:pt x="248" y="1105"/>
                      </a:lnTo>
                      <a:lnTo>
                        <a:pt x="248" y="1107"/>
                      </a:lnTo>
                      <a:lnTo>
                        <a:pt x="248" y="1109"/>
                      </a:lnTo>
                      <a:lnTo>
                        <a:pt x="248" y="1110"/>
                      </a:lnTo>
                      <a:lnTo>
                        <a:pt x="248" y="1112"/>
                      </a:lnTo>
                      <a:lnTo>
                        <a:pt x="248" y="1114"/>
                      </a:lnTo>
                      <a:lnTo>
                        <a:pt x="246" y="1114"/>
                      </a:lnTo>
                      <a:lnTo>
                        <a:pt x="246" y="1116"/>
                      </a:lnTo>
                      <a:lnTo>
                        <a:pt x="244" y="1118"/>
                      </a:lnTo>
                      <a:lnTo>
                        <a:pt x="244" y="1120"/>
                      </a:lnTo>
                      <a:lnTo>
                        <a:pt x="244" y="1122"/>
                      </a:lnTo>
                      <a:lnTo>
                        <a:pt x="244" y="1124"/>
                      </a:lnTo>
                      <a:lnTo>
                        <a:pt x="246" y="1124"/>
                      </a:lnTo>
                      <a:lnTo>
                        <a:pt x="246" y="1125"/>
                      </a:lnTo>
                      <a:lnTo>
                        <a:pt x="244" y="1127"/>
                      </a:lnTo>
                      <a:lnTo>
                        <a:pt x="244" y="1129"/>
                      </a:lnTo>
                      <a:lnTo>
                        <a:pt x="244" y="1131"/>
                      </a:lnTo>
                      <a:lnTo>
                        <a:pt x="244" y="1133"/>
                      </a:lnTo>
                      <a:lnTo>
                        <a:pt x="246" y="1133"/>
                      </a:lnTo>
                      <a:lnTo>
                        <a:pt x="248" y="1133"/>
                      </a:lnTo>
                      <a:lnTo>
                        <a:pt x="250" y="1133"/>
                      </a:lnTo>
                      <a:lnTo>
                        <a:pt x="250" y="1131"/>
                      </a:lnTo>
                      <a:lnTo>
                        <a:pt x="252" y="1131"/>
                      </a:lnTo>
                      <a:lnTo>
                        <a:pt x="254" y="1129"/>
                      </a:lnTo>
                      <a:lnTo>
                        <a:pt x="255" y="1129"/>
                      </a:lnTo>
                      <a:lnTo>
                        <a:pt x="255" y="1127"/>
                      </a:lnTo>
                      <a:lnTo>
                        <a:pt x="257" y="1127"/>
                      </a:lnTo>
                      <a:lnTo>
                        <a:pt x="259" y="1127"/>
                      </a:lnTo>
                      <a:lnTo>
                        <a:pt x="261" y="1127"/>
                      </a:lnTo>
                      <a:lnTo>
                        <a:pt x="261" y="1125"/>
                      </a:lnTo>
                      <a:lnTo>
                        <a:pt x="263" y="1125"/>
                      </a:lnTo>
                      <a:lnTo>
                        <a:pt x="265" y="1125"/>
                      </a:lnTo>
                      <a:lnTo>
                        <a:pt x="267" y="1125"/>
                      </a:lnTo>
                      <a:lnTo>
                        <a:pt x="269" y="1125"/>
                      </a:lnTo>
                      <a:lnTo>
                        <a:pt x="270" y="1125"/>
                      </a:lnTo>
                      <a:lnTo>
                        <a:pt x="272" y="1125"/>
                      </a:lnTo>
                      <a:lnTo>
                        <a:pt x="272" y="1127"/>
                      </a:lnTo>
                      <a:lnTo>
                        <a:pt x="274" y="1127"/>
                      </a:lnTo>
                      <a:lnTo>
                        <a:pt x="276" y="1127"/>
                      </a:lnTo>
                      <a:lnTo>
                        <a:pt x="278" y="1127"/>
                      </a:lnTo>
                      <a:lnTo>
                        <a:pt x="280" y="1125"/>
                      </a:lnTo>
                      <a:lnTo>
                        <a:pt x="280" y="1124"/>
                      </a:lnTo>
                      <a:lnTo>
                        <a:pt x="282" y="1124"/>
                      </a:lnTo>
                      <a:lnTo>
                        <a:pt x="284" y="1124"/>
                      </a:lnTo>
                      <a:lnTo>
                        <a:pt x="284" y="1122"/>
                      </a:lnTo>
                      <a:lnTo>
                        <a:pt x="285" y="1124"/>
                      </a:lnTo>
                      <a:lnTo>
                        <a:pt x="287" y="1124"/>
                      </a:lnTo>
                      <a:lnTo>
                        <a:pt x="289" y="1124"/>
                      </a:lnTo>
                      <a:lnTo>
                        <a:pt x="291" y="1124"/>
                      </a:lnTo>
                      <a:lnTo>
                        <a:pt x="291" y="1125"/>
                      </a:lnTo>
                      <a:lnTo>
                        <a:pt x="293" y="1125"/>
                      </a:lnTo>
                      <a:lnTo>
                        <a:pt x="293" y="1127"/>
                      </a:lnTo>
                      <a:lnTo>
                        <a:pt x="293" y="1129"/>
                      </a:lnTo>
                      <a:lnTo>
                        <a:pt x="295" y="1129"/>
                      </a:lnTo>
                      <a:lnTo>
                        <a:pt x="295" y="1131"/>
                      </a:lnTo>
                      <a:lnTo>
                        <a:pt x="295" y="1133"/>
                      </a:lnTo>
                      <a:lnTo>
                        <a:pt x="295" y="1135"/>
                      </a:lnTo>
                      <a:lnTo>
                        <a:pt x="295" y="1137"/>
                      </a:lnTo>
                      <a:lnTo>
                        <a:pt x="295" y="1139"/>
                      </a:lnTo>
                      <a:lnTo>
                        <a:pt x="295" y="1141"/>
                      </a:lnTo>
                      <a:lnTo>
                        <a:pt x="295" y="1142"/>
                      </a:lnTo>
                      <a:lnTo>
                        <a:pt x="295" y="1144"/>
                      </a:lnTo>
                      <a:lnTo>
                        <a:pt x="297" y="1144"/>
                      </a:lnTo>
                      <a:lnTo>
                        <a:pt x="297" y="1146"/>
                      </a:lnTo>
                      <a:lnTo>
                        <a:pt x="299" y="1146"/>
                      </a:lnTo>
                      <a:lnTo>
                        <a:pt x="297" y="1144"/>
                      </a:lnTo>
                      <a:lnTo>
                        <a:pt x="299" y="1144"/>
                      </a:lnTo>
                      <a:lnTo>
                        <a:pt x="299" y="1146"/>
                      </a:lnTo>
                      <a:lnTo>
                        <a:pt x="301" y="1146"/>
                      </a:lnTo>
                      <a:lnTo>
                        <a:pt x="302" y="1146"/>
                      </a:lnTo>
                      <a:lnTo>
                        <a:pt x="302" y="1148"/>
                      </a:lnTo>
                      <a:lnTo>
                        <a:pt x="304" y="1148"/>
                      </a:lnTo>
                      <a:lnTo>
                        <a:pt x="306" y="1148"/>
                      </a:lnTo>
                      <a:lnTo>
                        <a:pt x="308" y="1148"/>
                      </a:lnTo>
                      <a:lnTo>
                        <a:pt x="310" y="1148"/>
                      </a:lnTo>
                      <a:lnTo>
                        <a:pt x="310" y="1146"/>
                      </a:lnTo>
                      <a:lnTo>
                        <a:pt x="312" y="1146"/>
                      </a:lnTo>
                      <a:lnTo>
                        <a:pt x="314" y="1146"/>
                      </a:lnTo>
                      <a:lnTo>
                        <a:pt x="314" y="1144"/>
                      </a:lnTo>
                      <a:lnTo>
                        <a:pt x="314" y="1142"/>
                      </a:lnTo>
                      <a:lnTo>
                        <a:pt x="316" y="1142"/>
                      </a:lnTo>
                      <a:lnTo>
                        <a:pt x="316" y="1141"/>
                      </a:lnTo>
                      <a:lnTo>
                        <a:pt x="317" y="1141"/>
                      </a:lnTo>
                      <a:lnTo>
                        <a:pt x="319" y="1141"/>
                      </a:lnTo>
                      <a:lnTo>
                        <a:pt x="321" y="1141"/>
                      </a:lnTo>
                      <a:lnTo>
                        <a:pt x="321" y="1142"/>
                      </a:lnTo>
                      <a:lnTo>
                        <a:pt x="323" y="1142"/>
                      </a:lnTo>
                      <a:lnTo>
                        <a:pt x="323" y="1144"/>
                      </a:lnTo>
                      <a:lnTo>
                        <a:pt x="325" y="1144"/>
                      </a:lnTo>
                      <a:lnTo>
                        <a:pt x="327" y="1144"/>
                      </a:lnTo>
                      <a:lnTo>
                        <a:pt x="327" y="1142"/>
                      </a:lnTo>
                      <a:lnTo>
                        <a:pt x="327" y="1141"/>
                      </a:lnTo>
                      <a:lnTo>
                        <a:pt x="329" y="1141"/>
                      </a:lnTo>
                      <a:lnTo>
                        <a:pt x="329" y="1139"/>
                      </a:lnTo>
                      <a:lnTo>
                        <a:pt x="331" y="1139"/>
                      </a:lnTo>
                      <a:lnTo>
                        <a:pt x="333" y="1139"/>
                      </a:lnTo>
                      <a:lnTo>
                        <a:pt x="333" y="1141"/>
                      </a:lnTo>
                      <a:lnTo>
                        <a:pt x="334" y="1141"/>
                      </a:lnTo>
                      <a:lnTo>
                        <a:pt x="334" y="1142"/>
                      </a:lnTo>
                      <a:lnTo>
                        <a:pt x="336" y="1142"/>
                      </a:lnTo>
                      <a:lnTo>
                        <a:pt x="338" y="1144"/>
                      </a:lnTo>
                      <a:lnTo>
                        <a:pt x="340" y="1142"/>
                      </a:lnTo>
                      <a:lnTo>
                        <a:pt x="342" y="1142"/>
                      </a:lnTo>
                      <a:lnTo>
                        <a:pt x="344" y="1142"/>
                      </a:lnTo>
                      <a:lnTo>
                        <a:pt x="346" y="1142"/>
                      </a:lnTo>
                      <a:lnTo>
                        <a:pt x="348" y="1142"/>
                      </a:lnTo>
                      <a:lnTo>
                        <a:pt x="349" y="1142"/>
                      </a:lnTo>
                      <a:lnTo>
                        <a:pt x="349" y="1144"/>
                      </a:lnTo>
                      <a:lnTo>
                        <a:pt x="351" y="1144"/>
                      </a:lnTo>
                      <a:lnTo>
                        <a:pt x="353" y="1144"/>
                      </a:lnTo>
                      <a:lnTo>
                        <a:pt x="355" y="1144"/>
                      </a:lnTo>
                      <a:lnTo>
                        <a:pt x="357" y="1144"/>
                      </a:lnTo>
                      <a:lnTo>
                        <a:pt x="359" y="1144"/>
                      </a:lnTo>
                      <a:lnTo>
                        <a:pt x="361" y="1144"/>
                      </a:lnTo>
                      <a:lnTo>
                        <a:pt x="361" y="1146"/>
                      </a:lnTo>
                      <a:lnTo>
                        <a:pt x="363" y="1146"/>
                      </a:lnTo>
                      <a:lnTo>
                        <a:pt x="364" y="1146"/>
                      </a:lnTo>
                      <a:lnTo>
                        <a:pt x="366" y="1146"/>
                      </a:lnTo>
                      <a:lnTo>
                        <a:pt x="368" y="1146"/>
                      </a:lnTo>
                      <a:lnTo>
                        <a:pt x="370" y="1146"/>
                      </a:lnTo>
                      <a:lnTo>
                        <a:pt x="370" y="1148"/>
                      </a:lnTo>
                      <a:lnTo>
                        <a:pt x="372" y="1146"/>
                      </a:lnTo>
                      <a:lnTo>
                        <a:pt x="374" y="1146"/>
                      </a:lnTo>
                      <a:lnTo>
                        <a:pt x="376" y="1146"/>
                      </a:lnTo>
                      <a:lnTo>
                        <a:pt x="376" y="1148"/>
                      </a:lnTo>
                      <a:lnTo>
                        <a:pt x="376" y="1150"/>
                      </a:lnTo>
                      <a:lnTo>
                        <a:pt x="378" y="1150"/>
                      </a:lnTo>
                      <a:lnTo>
                        <a:pt x="378" y="1152"/>
                      </a:lnTo>
                      <a:lnTo>
                        <a:pt x="380" y="1152"/>
                      </a:lnTo>
                      <a:lnTo>
                        <a:pt x="381" y="1152"/>
                      </a:lnTo>
                      <a:lnTo>
                        <a:pt x="383" y="1152"/>
                      </a:lnTo>
                      <a:lnTo>
                        <a:pt x="385" y="1152"/>
                      </a:lnTo>
                      <a:lnTo>
                        <a:pt x="387" y="1154"/>
                      </a:lnTo>
                      <a:lnTo>
                        <a:pt x="389" y="1154"/>
                      </a:lnTo>
                      <a:lnTo>
                        <a:pt x="389" y="1156"/>
                      </a:lnTo>
                      <a:lnTo>
                        <a:pt x="389" y="1157"/>
                      </a:lnTo>
                      <a:lnTo>
                        <a:pt x="391" y="1157"/>
                      </a:lnTo>
                      <a:lnTo>
                        <a:pt x="393" y="1157"/>
                      </a:lnTo>
                      <a:lnTo>
                        <a:pt x="393" y="1159"/>
                      </a:lnTo>
                      <a:lnTo>
                        <a:pt x="395" y="1161"/>
                      </a:lnTo>
                      <a:lnTo>
                        <a:pt x="396" y="1161"/>
                      </a:lnTo>
                      <a:lnTo>
                        <a:pt x="396" y="1163"/>
                      </a:lnTo>
                      <a:lnTo>
                        <a:pt x="396" y="1165"/>
                      </a:lnTo>
                      <a:lnTo>
                        <a:pt x="396" y="1167"/>
                      </a:lnTo>
                      <a:lnTo>
                        <a:pt x="398" y="1167"/>
                      </a:lnTo>
                      <a:lnTo>
                        <a:pt x="398" y="1169"/>
                      </a:lnTo>
                      <a:lnTo>
                        <a:pt x="400" y="1169"/>
                      </a:lnTo>
                      <a:lnTo>
                        <a:pt x="402" y="1171"/>
                      </a:lnTo>
                      <a:lnTo>
                        <a:pt x="402" y="1173"/>
                      </a:lnTo>
                      <a:lnTo>
                        <a:pt x="402" y="1174"/>
                      </a:lnTo>
                      <a:lnTo>
                        <a:pt x="404" y="1174"/>
                      </a:lnTo>
                      <a:lnTo>
                        <a:pt x="404" y="1176"/>
                      </a:lnTo>
                      <a:lnTo>
                        <a:pt x="406" y="1176"/>
                      </a:lnTo>
                      <a:lnTo>
                        <a:pt x="406" y="1178"/>
                      </a:lnTo>
                      <a:lnTo>
                        <a:pt x="408" y="1178"/>
                      </a:lnTo>
                      <a:lnTo>
                        <a:pt x="410" y="1178"/>
                      </a:lnTo>
                      <a:lnTo>
                        <a:pt x="412" y="1178"/>
                      </a:lnTo>
                      <a:lnTo>
                        <a:pt x="412" y="1176"/>
                      </a:lnTo>
                      <a:lnTo>
                        <a:pt x="413" y="1176"/>
                      </a:lnTo>
                      <a:lnTo>
                        <a:pt x="415" y="1176"/>
                      </a:lnTo>
                      <a:lnTo>
                        <a:pt x="417" y="1176"/>
                      </a:lnTo>
                      <a:lnTo>
                        <a:pt x="417" y="1178"/>
                      </a:lnTo>
                      <a:lnTo>
                        <a:pt x="419" y="1178"/>
                      </a:lnTo>
                      <a:lnTo>
                        <a:pt x="421" y="1178"/>
                      </a:lnTo>
                      <a:lnTo>
                        <a:pt x="421" y="1180"/>
                      </a:lnTo>
                      <a:lnTo>
                        <a:pt x="423" y="1180"/>
                      </a:lnTo>
                      <a:lnTo>
                        <a:pt x="423" y="1182"/>
                      </a:lnTo>
                      <a:lnTo>
                        <a:pt x="425" y="1182"/>
                      </a:lnTo>
                      <a:lnTo>
                        <a:pt x="425" y="1184"/>
                      </a:lnTo>
                      <a:lnTo>
                        <a:pt x="427" y="1184"/>
                      </a:lnTo>
                      <a:lnTo>
                        <a:pt x="428" y="1184"/>
                      </a:lnTo>
                      <a:lnTo>
                        <a:pt x="430" y="1184"/>
                      </a:lnTo>
                      <a:lnTo>
                        <a:pt x="432" y="1182"/>
                      </a:lnTo>
                      <a:lnTo>
                        <a:pt x="432" y="1184"/>
                      </a:lnTo>
                      <a:lnTo>
                        <a:pt x="434" y="1184"/>
                      </a:lnTo>
                      <a:lnTo>
                        <a:pt x="436" y="1184"/>
                      </a:lnTo>
                      <a:lnTo>
                        <a:pt x="436" y="1186"/>
                      </a:lnTo>
                      <a:lnTo>
                        <a:pt x="438" y="1186"/>
                      </a:lnTo>
                      <a:lnTo>
                        <a:pt x="440" y="1186"/>
                      </a:lnTo>
                      <a:lnTo>
                        <a:pt x="440" y="1188"/>
                      </a:lnTo>
                      <a:lnTo>
                        <a:pt x="442" y="1189"/>
                      </a:lnTo>
                      <a:lnTo>
                        <a:pt x="443" y="1189"/>
                      </a:lnTo>
                      <a:lnTo>
                        <a:pt x="445" y="1189"/>
                      </a:lnTo>
                      <a:lnTo>
                        <a:pt x="445" y="1188"/>
                      </a:lnTo>
                      <a:lnTo>
                        <a:pt x="447" y="1188"/>
                      </a:lnTo>
                      <a:lnTo>
                        <a:pt x="447" y="1186"/>
                      </a:lnTo>
                      <a:lnTo>
                        <a:pt x="449" y="1186"/>
                      </a:lnTo>
                      <a:lnTo>
                        <a:pt x="449" y="1184"/>
                      </a:lnTo>
                      <a:lnTo>
                        <a:pt x="451" y="1184"/>
                      </a:lnTo>
                      <a:lnTo>
                        <a:pt x="453" y="1184"/>
                      </a:lnTo>
                      <a:lnTo>
                        <a:pt x="455" y="1184"/>
                      </a:lnTo>
                      <a:lnTo>
                        <a:pt x="457" y="1184"/>
                      </a:lnTo>
                      <a:lnTo>
                        <a:pt x="459" y="1184"/>
                      </a:lnTo>
                      <a:lnTo>
                        <a:pt x="460" y="1182"/>
                      </a:lnTo>
                      <a:lnTo>
                        <a:pt x="460" y="1180"/>
                      </a:lnTo>
                      <a:lnTo>
                        <a:pt x="462" y="1178"/>
                      </a:lnTo>
                      <a:lnTo>
                        <a:pt x="462" y="1180"/>
                      </a:lnTo>
                      <a:lnTo>
                        <a:pt x="464" y="1180"/>
                      </a:lnTo>
                      <a:lnTo>
                        <a:pt x="466" y="1180"/>
                      </a:lnTo>
                      <a:lnTo>
                        <a:pt x="468" y="1180"/>
                      </a:lnTo>
                      <a:lnTo>
                        <a:pt x="470" y="1180"/>
                      </a:lnTo>
                      <a:lnTo>
                        <a:pt x="472" y="1180"/>
                      </a:lnTo>
                      <a:lnTo>
                        <a:pt x="474" y="1180"/>
                      </a:lnTo>
                      <a:lnTo>
                        <a:pt x="475" y="1180"/>
                      </a:lnTo>
                      <a:lnTo>
                        <a:pt x="477" y="1180"/>
                      </a:lnTo>
                      <a:lnTo>
                        <a:pt x="479" y="1180"/>
                      </a:lnTo>
                      <a:lnTo>
                        <a:pt x="481" y="1180"/>
                      </a:lnTo>
                      <a:lnTo>
                        <a:pt x="483" y="1180"/>
                      </a:lnTo>
                      <a:lnTo>
                        <a:pt x="485" y="1180"/>
                      </a:lnTo>
                      <a:lnTo>
                        <a:pt x="485" y="1182"/>
                      </a:lnTo>
                      <a:lnTo>
                        <a:pt x="487" y="1182"/>
                      </a:lnTo>
                      <a:lnTo>
                        <a:pt x="487" y="1184"/>
                      </a:lnTo>
                      <a:lnTo>
                        <a:pt x="489" y="1184"/>
                      </a:lnTo>
                      <a:lnTo>
                        <a:pt x="491" y="1184"/>
                      </a:lnTo>
                      <a:lnTo>
                        <a:pt x="492" y="1184"/>
                      </a:lnTo>
                      <a:lnTo>
                        <a:pt x="494" y="1184"/>
                      </a:lnTo>
                      <a:lnTo>
                        <a:pt x="496" y="1184"/>
                      </a:lnTo>
                      <a:lnTo>
                        <a:pt x="498" y="1184"/>
                      </a:lnTo>
                      <a:lnTo>
                        <a:pt x="500" y="1184"/>
                      </a:lnTo>
                      <a:lnTo>
                        <a:pt x="500" y="1186"/>
                      </a:lnTo>
                      <a:lnTo>
                        <a:pt x="502" y="1186"/>
                      </a:lnTo>
                      <a:lnTo>
                        <a:pt x="504" y="1186"/>
                      </a:lnTo>
                      <a:lnTo>
                        <a:pt x="504" y="1184"/>
                      </a:lnTo>
                      <a:lnTo>
                        <a:pt x="506" y="1184"/>
                      </a:lnTo>
                      <a:lnTo>
                        <a:pt x="507" y="1184"/>
                      </a:lnTo>
                      <a:lnTo>
                        <a:pt x="509" y="1184"/>
                      </a:lnTo>
                      <a:lnTo>
                        <a:pt x="509" y="1182"/>
                      </a:lnTo>
                      <a:lnTo>
                        <a:pt x="511" y="1182"/>
                      </a:lnTo>
                      <a:lnTo>
                        <a:pt x="513" y="1180"/>
                      </a:lnTo>
                      <a:lnTo>
                        <a:pt x="515" y="1180"/>
                      </a:lnTo>
                      <a:lnTo>
                        <a:pt x="517" y="1180"/>
                      </a:lnTo>
                      <a:lnTo>
                        <a:pt x="519" y="1180"/>
                      </a:lnTo>
                      <a:lnTo>
                        <a:pt x="519" y="1182"/>
                      </a:lnTo>
                      <a:lnTo>
                        <a:pt x="521" y="1182"/>
                      </a:lnTo>
                      <a:lnTo>
                        <a:pt x="522" y="1182"/>
                      </a:lnTo>
                      <a:lnTo>
                        <a:pt x="524" y="1182"/>
                      </a:lnTo>
                      <a:lnTo>
                        <a:pt x="526" y="1182"/>
                      </a:lnTo>
                      <a:lnTo>
                        <a:pt x="526" y="1180"/>
                      </a:lnTo>
                      <a:lnTo>
                        <a:pt x="528" y="1180"/>
                      </a:lnTo>
                      <a:lnTo>
                        <a:pt x="528" y="1178"/>
                      </a:lnTo>
                      <a:lnTo>
                        <a:pt x="530" y="1178"/>
                      </a:lnTo>
                      <a:lnTo>
                        <a:pt x="530" y="1176"/>
                      </a:lnTo>
                      <a:lnTo>
                        <a:pt x="532" y="1176"/>
                      </a:lnTo>
                      <a:lnTo>
                        <a:pt x="532" y="1174"/>
                      </a:lnTo>
                      <a:lnTo>
                        <a:pt x="534" y="1174"/>
                      </a:lnTo>
                      <a:lnTo>
                        <a:pt x="536" y="1174"/>
                      </a:lnTo>
                      <a:lnTo>
                        <a:pt x="538" y="1174"/>
                      </a:lnTo>
                      <a:lnTo>
                        <a:pt x="538" y="1173"/>
                      </a:lnTo>
                      <a:lnTo>
                        <a:pt x="539" y="1173"/>
                      </a:lnTo>
                      <a:lnTo>
                        <a:pt x="541" y="1173"/>
                      </a:lnTo>
                      <a:lnTo>
                        <a:pt x="543" y="1173"/>
                      </a:lnTo>
                      <a:lnTo>
                        <a:pt x="545" y="1173"/>
                      </a:lnTo>
                      <a:lnTo>
                        <a:pt x="547" y="1173"/>
                      </a:lnTo>
                      <a:lnTo>
                        <a:pt x="549" y="1173"/>
                      </a:lnTo>
                      <a:lnTo>
                        <a:pt x="549" y="1171"/>
                      </a:lnTo>
                      <a:lnTo>
                        <a:pt x="551" y="1171"/>
                      </a:lnTo>
                      <a:lnTo>
                        <a:pt x="553" y="1171"/>
                      </a:lnTo>
                      <a:lnTo>
                        <a:pt x="553" y="1169"/>
                      </a:lnTo>
                      <a:lnTo>
                        <a:pt x="554" y="1169"/>
                      </a:lnTo>
                      <a:lnTo>
                        <a:pt x="556" y="1167"/>
                      </a:lnTo>
                      <a:lnTo>
                        <a:pt x="558" y="1167"/>
                      </a:lnTo>
                      <a:lnTo>
                        <a:pt x="560" y="1167"/>
                      </a:lnTo>
                      <a:lnTo>
                        <a:pt x="560" y="1169"/>
                      </a:lnTo>
                      <a:lnTo>
                        <a:pt x="562" y="1169"/>
                      </a:lnTo>
                      <a:lnTo>
                        <a:pt x="564" y="1169"/>
                      </a:lnTo>
                      <a:lnTo>
                        <a:pt x="566" y="1169"/>
                      </a:lnTo>
                      <a:lnTo>
                        <a:pt x="568" y="1169"/>
                      </a:lnTo>
                      <a:lnTo>
                        <a:pt x="570" y="1169"/>
                      </a:lnTo>
                      <a:lnTo>
                        <a:pt x="571" y="1169"/>
                      </a:lnTo>
                      <a:lnTo>
                        <a:pt x="571" y="1167"/>
                      </a:lnTo>
                      <a:lnTo>
                        <a:pt x="573" y="1167"/>
                      </a:lnTo>
                      <a:lnTo>
                        <a:pt x="575" y="1167"/>
                      </a:lnTo>
                      <a:lnTo>
                        <a:pt x="577" y="1167"/>
                      </a:lnTo>
                      <a:lnTo>
                        <a:pt x="577" y="1165"/>
                      </a:lnTo>
                      <a:lnTo>
                        <a:pt x="579" y="1165"/>
                      </a:lnTo>
                      <a:lnTo>
                        <a:pt x="581" y="1165"/>
                      </a:lnTo>
                      <a:lnTo>
                        <a:pt x="583" y="1165"/>
                      </a:lnTo>
                      <a:lnTo>
                        <a:pt x="585" y="1165"/>
                      </a:lnTo>
                      <a:lnTo>
                        <a:pt x="586" y="1165"/>
                      </a:lnTo>
                      <a:lnTo>
                        <a:pt x="586" y="1167"/>
                      </a:lnTo>
                      <a:lnTo>
                        <a:pt x="588" y="1167"/>
                      </a:lnTo>
                      <a:lnTo>
                        <a:pt x="590" y="1167"/>
                      </a:lnTo>
                      <a:lnTo>
                        <a:pt x="592" y="1167"/>
                      </a:lnTo>
                      <a:lnTo>
                        <a:pt x="592" y="1169"/>
                      </a:lnTo>
                      <a:lnTo>
                        <a:pt x="594" y="1169"/>
                      </a:lnTo>
                      <a:lnTo>
                        <a:pt x="596" y="1169"/>
                      </a:lnTo>
                      <a:lnTo>
                        <a:pt x="596" y="1167"/>
                      </a:lnTo>
                      <a:lnTo>
                        <a:pt x="596" y="1169"/>
                      </a:lnTo>
                      <a:lnTo>
                        <a:pt x="598" y="1169"/>
                      </a:lnTo>
                      <a:lnTo>
                        <a:pt x="600" y="1169"/>
                      </a:lnTo>
                      <a:lnTo>
                        <a:pt x="601" y="1169"/>
                      </a:lnTo>
                      <a:lnTo>
                        <a:pt x="603" y="1169"/>
                      </a:lnTo>
                      <a:lnTo>
                        <a:pt x="605" y="1169"/>
                      </a:lnTo>
                      <a:lnTo>
                        <a:pt x="607" y="1169"/>
                      </a:lnTo>
                      <a:lnTo>
                        <a:pt x="607" y="1171"/>
                      </a:lnTo>
                      <a:lnTo>
                        <a:pt x="609" y="1171"/>
                      </a:lnTo>
                      <a:lnTo>
                        <a:pt x="611" y="1171"/>
                      </a:lnTo>
                      <a:lnTo>
                        <a:pt x="611" y="1169"/>
                      </a:lnTo>
                      <a:lnTo>
                        <a:pt x="613" y="1169"/>
                      </a:lnTo>
                      <a:lnTo>
                        <a:pt x="615" y="1169"/>
                      </a:lnTo>
                      <a:lnTo>
                        <a:pt x="617" y="1169"/>
                      </a:lnTo>
                      <a:lnTo>
                        <a:pt x="617" y="1171"/>
                      </a:lnTo>
                      <a:lnTo>
                        <a:pt x="617" y="1169"/>
                      </a:lnTo>
                      <a:lnTo>
                        <a:pt x="618" y="1169"/>
                      </a:lnTo>
                      <a:lnTo>
                        <a:pt x="618" y="1171"/>
                      </a:lnTo>
                      <a:lnTo>
                        <a:pt x="620" y="1171"/>
                      </a:lnTo>
                      <a:lnTo>
                        <a:pt x="622" y="1171"/>
                      </a:lnTo>
                      <a:lnTo>
                        <a:pt x="624" y="1171"/>
                      </a:lnTo>
                      <a:lnTo>
                        <a:pt x="624" y="1173"/>
                      </a:lnTo>
                      <a:lnTo>
                        <a:pt x="626" y="1173"/>
                      </a:lnTo>
                      <a:lnTo>
                        <a:pt x="628" y="1173"/>
                      </a:lnTo>
                      <a:lnTo>
                        <a:pt x="630" y="1173"/>
                      </a:lnTo>
                      <a:lnTo>
                        <a:pt x="632" y="1173"/>
                      </a:lnTo>
                      <a:lnTo>
                        <a:pt x="633" y="1173"/>
                      </a:lnTo>
                      <a:lnTo>
                        <a:pt x="635" y="1174"/>
                      </a:lnTo>
                      <a:lnTo>
                        <a:pt x="637" y="1174"/>
                      </a:lnTo>
                      <a:lnTo>
                        <a:pt x="639" y="1176"/>
                      </a:lnTo>
                      <a:lnTo>
                        <a:pt x="641" y="1176"/>
                      </a:lnTo>
                      <a:lnTo>
                        <a:pt x="643" y="1176"/>
                      </a:lnTo>
                      <a:lnTo>
                        <a:pt x="643" y="1178"/>
                      </a:lnTo>
                      <a:lnTo>
                        <a:pt x="645" y="1178"/>
                      </a:lnTo>
                      <a:lnTo>
                        <a:pt x="645" y="1180"/>
                      </a:lnTo>
                      <a:lnTo>
                        <a:pt x="647" y="1180"/>
                      </a:lnTo>
                      <a:lnTo>
                        <a:pt x="647" y="1182"/>
                      </a:lnTo>
                      <a:lnTo>
                        <a:pt x="649" y="1182"/>
                      </a:lnTo>
                      <a:lnTo>
                        <a:pt x="649" y="1184"/>
                      </a:lnTo>
                      <a:lnTo>
                        <a:pt x="649" y="1186"/>
                      </a:lnTo>
                      <a:lnTo>
                        <a:pt x="650" y="1186"/>
                      </a:lnTo>
                      <a:lnTo>
                        <a:pt x="650" y="1188"/>
                      </a:lnTo>
                      <a:lnTo>
                        <a:pt x="650" y="1189"/>
                      </a:lnTo>
                      <a:lnTo>
                        <a:pt x="650" y="1191"/>
                      </a:lnTo>
                      <a:lnTo>
                        <a:pt x="650" y="1193"/>
                      </a:lnTo>
                      <a:lnTo>
                        <a:pt x="652" y="1193"/>
                      </a:lnTo>
                      <a:lnTo>
                        <a:pt x="654" y="1193"/>
                      </a:lnTo>
                      <a:lnTo>
                        <a:pt x="654" y="1195"/>
                      </a:lnTo>
                      <a:lnTo>
                        <a:pt x="654" y="1193"/>
                      </a:lnTo>
                      <a:lnTo>
                        <a:pt x="656" y="1193"/>
                      </a:lnTo>
                      <a:lnTo>
                        <a:pt x="658" y="1193"/>
                      </a:lnTo>
                      <a:lnTo>
                        <a:pt x="660" y="1193"/>
                      </a:lnTo>
                      <a:lnTo>
                        <a:pt x="660" y="1195"/>
                      </a:lnTo>
                      <a:lnTo>
                        <a:pt x="662" y="1195"/>
                      </a:lnTo>
                      <a:lnTo>
                        <a:pt x="664" y="1197"/>
                      </a:lnTo>
                      <a:lnTo>
                        <a:pt x="665" y="1197"/>
                      </a:lnTo>
                      <a:lnTo>
                        <a:pt x="665" y="1199"/>
                      </a:lnTo>
                      <a:lnTo>
                        <a:pt x="667" y="1199"/>
                      </a:lnTo>
                      <a:lnTo>
                        <a:pt x="667" y="1201"/>
                      </a:lnTo>
                      <a:lnTo>
                        <a:pt x="667" y="1203"/>
                      </a:lnTo>
                      <a:lnTo>
                        <a:pt x="669" y="1203"/>
                      </a:lnTo>
                      <a:lnTo>
                        <a:pt x="671" y="1203"/>
                      </a:lnTo>
                      <a:lnTo>
                        <a:pt x="673" y="1203"/>
                      </a:lnTo>
                      <a:lnTo>
                        <a:pt x="673" y="1205"/>
                      </a:lnTo>
                      <a:lnTo>
                        <a:pt x="675" y="1205"/>
                      </a:lnTo>
                      <a:lnTo>
                        <a:pt x="677" y="1205"/>
                      </a:lnTo>
                      <a:lnTo>
                        <a:pt x="679" y="1205"/>
                      </a:lnTo>
                      <a:lnTo>
                        <a:pt x="680" y="1205"/>
                      </a:lnTo>
                      <a:lnTo>
                        <a:pt x="682" y="1205"/>
                      </a:lnTo>
                      <a:lnTo>
                        <a:pt x="682" y="1203"/>
                      </a:lnTo>
                      <a:lnTo>
                        <a:pt x="684" y="1203"/>
                      </a:lnTo>
                      <a:lnTo>
                        <a:pt x="686" y="1203"/>
                      </a:lnTo>
                      <a:lnTo>
                        <a:pt x="688" y="1203"/>
                      </a:lnTo>
                      <a:lnTo>
                        <a:pt x="690" y="1203"/>
                      </a:lnTo>
                      <a:lnTo>
                        <a:pt x="692" y="1203"/>
                      </a:lnTo>
                      <a:lnTo>
                        <a:pt x="694" y="1203"/>
                      </a:lnTo>
                      <a:lnTo>
                        <a:pt x="694" y="1201"/>
                      </a:lnTo>
                      <a:lnTo>
                        <a:pt x="696" y="1201"/>
                      </a:lnTo>
                      <a:lnTo>
                        <a:pt x="697" y="1201"/>
                      </a:lnTo>
                      <a:lnTo>
                        <a:pt x="697" y="1199"/>
                      </a:lnTo>
                      <a:lnTo>
                        <a:pt x="699" y="1199"/>
                      </a:lnTo>
                      <a:lnTo>
                        <a:pt x="701" y="1199"/>
                      </a:lnTo>
                      <a:lnTo>
                        <a:pt x="701" y="1197"/>
                      </a:lnTo>
                      <a:lnTo>
                        <a:pt x="703" y="1197"/>
                      </a:lnTo>
                      <a:lnTo>
                        <a:pt x="703" y="1195"/>
                      </a:lnTo>
                      <a:lnTo>
                        <a:pt x="705" y="1195"/>
                      </a:lnTo>
                      <a:lnTo>
                        <a:pt x="705" y="1193"/>
                      </a:lnTo>
                      <a:lnTo>
                        <a:pt x="707" y="1193"/>
                      </a:lnTo>
                      <a:lnTo>
                        <a:pt x="707" y="1191"/>
                      </a:lnTo>
                      <a:lnTo>
                        <a:pt x="707" y="1189"/>
                      </a:lnTo>
                      <a:lnTo>
                        <a:pt x="709" y="1189"/>
                      </a:lnTo>
                      <a:lnTo>
                        <a:pt x="709" y="1188"/>
                      </a:lnTo>
                      <a:lnTo>
                        <a:pt x="711" y="1188"/>
                      </a:lnTo>
                      <a:lnTo>
                        <a:pt x="711" y="1186"/>
                      </a:lnTo>
                      <a:lnTo>
                        <a:pt x="712" y="1186"/>
                      </a:lnTo>
                      <a:lnTo>
                        <a:pt x="714" y="1186"/>
                      </a:lnTo>
                      <a:lnTo>
                        <a:pt x="716" y="1186"/>
                      </a:lnTo>
                      <a:lnTo>
                        <a:pt x="718" y="1186"/>
                      </a:lnTo>
                      <a:lnTo>
                        <a:pt x="718" y="1188"/>
                      </a:lnTo>
                      <a:lnTo>
                        <a:pt x="720" y="1188"/>
                      </a:lnTo>
                      <a:lnTo>
                        <a:pt x="722" y="1188"/>
                      </a:lnTo>
                      <a:lnTo>
                        <a:pt x="724" y="1188"/>
                      </a:lnTo>
                      <a:lnTo>
                        <a:pt x="724" y="1186"/>
                      </a:lnTo>
                      <a:lnTo>
                        <a:pt x="724" y="1184"/>
                      </a:lnTo>
                      <a:lnTo>
                        <a:pt x="726" y="1184"/>
                      </a:lnTo>
                      <a:lnTo>
                        <a:pt x="726" y="1182"/>
                      </a:lnTo>
                      <a:lnTo>
                        <a:pt x="726" y="1180"/>
                      </a:lnTo>
                      <a:lnTo>
                        <a:pt x="724" y="1180"/>
                      </a:lnTo>
                      <a:lnTo>
                        <a:pt x="724" y="1178"/>
                      </a:lnTo>
                      <a:lnTo>
                        <a:pt x="722" y="1178"/>
                      </a:lnTo>
                      <a:lnTo>
                        <a:pt x="722" y="1176"/>
                      </a:lnTo>
                      <a:lnTo>
                        <a:pt x="720" y="1176"/>
                      </a:lnTo>
                      <a:lnTo>
                        <a:pt x="718" y="1176"/>
                      </a:lnTo>
                      <a:lnTo>
                        <a:pt x="716" y="1176"/>
                      </a:lnTo>
                      <a:lnTo>
                        <a:pt x="716" y="1174"/>
                      </a:lnTo>
                      <a:lnTo>
                        <a:pt x="716" y="1173"/>
                      </a:lnTo>
                      <a:lnTo>
                        <a:pt x="714" y="1173"/>
                      </a:lnTo>
                      <a:lnTo>
                        <a:pt x="714" y="1171"/>
                      </a:lnTo>
                      <a:lnTo>
                        <a:pt x="714" y="1169"/>
                      </a:lnTo>
                      <a:lnTo>
                        <a:pt x="714" y="1167"/>
                      </a:lnTo>
                      <a:lnTo>
                        <a:pt x="712" y="1167"/>
                      </a:lnTo>
                      <a:lnTo>
                        <a:pt x="712" y="1165"/>
                      </a:lnTo>
                      <a:lnTo>
                        <a:pt x="711" y="1163"/>
                      </a:lnTo>
                      <a:lnTo>
                        <a:pt x="711" y="1161"/>
                      </a:lnTo>
                      <a:lnTo>
                        <a:pt x="711" y="1159"/>
                      </a:lnTo>
                      <a:lnTo>
                        <a:pt x="711" y="1157"/>
                      </a:lnTo>
                      <a:lnTo>
                        <a:pt x="711" y="1156"/>
                      </a:lnTo>
                      <a:lnTo>
                        <a:pt x="712" y="1156"/>
                      </a:lnTo>
                      <a:lnTo>
                        <a:pt x="712" y="1154"/>
                      </a:lnTo>
                      <a:lnTo>
                        <a:pt x="712" y="1152"/>
                      </a:lnTo>
                      <a:lnTo>
                        <a:pt x="712" y="1150"/>
                      </a:lnTo>
                      <a:lnTo>
                        <a:pt x="714" y="1150"/>
                      </a:lnTo>
                      <a:lnTo>
                        <a:pt x="714" y="1148"/>
                      </a:lnTo>
                      <a:lnTo>
                        <a:pt x="714" y="1146"/>
                      </a:lnTo>
                      <a:lnTo>
                        <a:pt x="714" y="1144"/>
                      </a:lnTo>
                      <a:lnTo>
                        <a:pt x="716" y="1144"/>
                      </a:lnTo>
                      <a:lnTo>
                        <a:pt x="716" y="1142"/>
                      </a:lnTo>
                      <a:lnTo>
                        <a:pt x="716" y="1141"/>
                      </a:lnTo>
                      <a:lnTo>
                        <a:pt x="718" y="1141"/>
                      </a:lnTo>
                      <a:lnTo>
                        <a:pt x="718" y="1139"/>
                      </a:lnTo>
                      <a:lnTo>
                        <a:pt x="720" y="1139"/>
                      </a:lnTo>
                      <a:lnTo>
                        <a:pt x="722" y="1139"/>
                      </a:lnTo>
                      <a:lnTo>
                        <a:pt x="722" y="1137"/>
                      </a:lnTo>
                      <a:lnTo>
                        <a:pt x="724" y="1137"/>
                      </a:lnTo>
                      <a:lnTo>
                        <a:pt x="726" y="1137"/>
                      </a:lnTo>
                      <a:lnTo>
                        <a:pt x="728" y="1137"/>
                      </a:lnTo>
                      <a:lnTo>
                        <a:pt x="729" y="1137"/>
                      </a:lnTo>
                      <a:lnTo>
                        <a:pt x="731" y="1137"/>
                      </a:lnTo>
                      <a:lnTo>
                        <a:pt x="733" y="1137"/>
                      </a:lnTo>
                      <a:lnTo>
                        <a:pt x="735" y="1137"/>
                      </a:lnTo>
                      <a:lnTo>
                        <a:pt x="737" y="1139"/>
                      </a:lnTo>
                      <a:lnTo>
                        <a:pt x="739" y="1139"/>
                      </a:lnTo>
                      <a:lnTo>
                        <a:pt x="741" y="1139"/>
                      </a:lnTo>
                      <a:lnTo>
                        <a:pt x="743" y="1139"/>
                      </a:lnTo>
                      <a:lnTo>
                        <a:pt x="744" y="1139"/>
                      </a:lnTo>
                      <a:lnTo>
                        <a:pt x="744" y="1137"/>
                      </a:lnTo>
                      <a:lnTo>
                        <a:pt x="746" y="1137"/>
                      </a:lnTo>
                      <a:lnTo>
                        <a:pt x="748" y="1137"/>
                      </a:lnTo>
                      <a:lnTo>
                        <a:pt x="750" y="1137"/>
                      </a:lnTo>
                      <a:lnTo>
                        <a:pt x="752" y="1137"/>
                      </a:lnTo>
                      <a:lnTo>
                        <a:pt x="754" y="1137"/>
                      </a:lnTo>
                      <a:lnTo>
                        <a:pt x="756" y="1137"/>
                      </a:lnTo>
                      <a:lnTo>
                        <a:pt x="756" y="1135"/>
                      </a:lnTo>
                      <a:lnTo>
                        <a:pt x="758" y="1135"/>
                      </a:lnTo>
                      <a:lnTo>
                        <a:pt x="758" y="1133"/>
                      </a:lnTo>
                      <a:lnTo>
                        <a:pt x="759" y="1133"/>
                      </a:lnTo>
                      <a:lnTo>
                        <a:pt x="761" y="1133"/>
                      </a:lnTo>
                      <a:lnTo>
                        <a:pt x="763" y="1131"/>
                      </a:lnTo>
                      <a:lnTo>
                        <a:pt x="765" y="1131"/>
                      </a:lnTo>
                      <a:lnTo>
                        <a:pt x="765" y="1129"/>
                      </a:lnTo>
                      <a:lnTo>
                        <a:pt x="767" y="1129"/>
                      </a:lnTo>
                      <a:lnTo>
                        <a:pt x="769" y="1129"/>
                      </a:lnTo>
                      <a:lnTo>
                        <a:pt x="769" y="1127"/>
                      </a:lnTo>
                      <a:lnTo>
                        <a:pt x="771" y="1127"/>
                      </a:lnTo>
                      <a:lnTo>
                        <a:pt x="771" y="1125"/>
                      </a:lnTo>
                      <a:lnTo>
                        <a:pt x="771" y="1124"/>
                      </a:lnTo>
                      <a:lnTo>
                        <a:pt x="773" y="1124"/>
                      </a:lnTo>
                      <a:lnTo>
                        <a:pt x="773" y="1122"/>
                      </a:lnTo>
                      <a:lnTo>
                        <a:pt x="775" y="1122"/>
                      </a:lnTo>
                      <a:lnTo>
                        <a:pt x="775" y="1120"/>
                      </a:lnTo>
                      <a:lnTo>
                        <a:pt x="775" y="1118"/>
                      </a:lnTo>
                      <a:lnTo>
                        <a:pt x="775" y="1116"/>
                      </a:lnTo>
                      <a:lnTo>
                        <a:pt x="776" y="1116"/>
                      </a:lnTo>
                      <a:lnTo>
                        <a:pt x="776" y="1114"/>
                      </a:lnTo>
                      <a:lnTo>
                        <a:pt x="776" y="1112"/>
                      </a:lnTo>
                      <a:lnTo>
                        <a:pt x="776" y="1110"/>
                      </a:lnTo>
                      <a:lnTo>
                        <a:pt x="776" y="1109"/>
                      </a:lnTo>
                      <a:lnTo>
                        <a:pt x="776" y="1107"/>
                      </a:lnTo>
                      <a:lnTo>
                        <a:pt x="778" y="1107"/>
                      </a:lnTo>
                      <a:lnTo>
                        <a:pt x="778" y="1105"/>
                      </a:lnTo>
                      <a:lnTo>
                        <a:pt x="778" y="1103"/>
                      </a:lnTo>
                      <a:lnTo>
                        <a:pt x="778" y="1101"/>
                      </a:lnTo>
                      <a:lnTo>
                        <a:pt x="778" y="1099"/>
                      </a:lnTo>
                      <a:lnTo>
                        <a:pt x="778" y="1097"/>
                      </a:lnTo>
                      <a:lnTo>
                        <a:pt x="780" y="1097"/>
                      </a:lnTo>
                      <a:lnTo>
                        <a:pt x="780" y="1095"/>
                      </a:lnTo>
                      <a:lnTo>
                        <a:pt x="782" y="1095"/>
                      </a:lnTo>
                      <a:lnTo>
                        <a:pt x="784" y="1095"/>
                      </a:lnTo>
                      <a:lnTo>
                        <a:pt x="786" y="1095"/>
                      </a:lnTo>
                      <a:lnTo>
                        <a:pt x="786" y="1093"/>
                      </a:lnTo>
                      <a:lnTo>
                        <a:pt x="788" y="1093"/>
                      </a:lnTo>
                      <a:lnTo>
                        <a:pt x="788" y="1092"/>
                      </a:lnTo>
                      <a:lnTo>
                        <a:pt x="788" y="1090"/>
                      </a:lnTo>
                      <a:lnTo>
                        <a:pt x="788" y="1088"/>
                      </a:lnTo>
                      <a:lnTo>
                        <a:pt x="790" y="1086"/>
                      </a:lnTo>
                      <a:lnTo>
                        <a:pt x="790" y="1084"/>
                      </a:lnTo>
                      <a:lnTo>
                        <a:pt x="790" y="1082"/>
                      </a:lnTo>
                      <a:lnTo>
                        <a:pt x="790" y="1080"/>
                      </a:lnTo>
                      <a:lnTo>
                        <a:pt x="791" y="1080"/>
                      </a:lnTo>
                      <a:lnTo>
                        <a:pt x="791" y="1078"/>
                      </a:lnTo>
                      <a:lnTo>
                        <a:pt x="793" y="1078"/>
                      </a:lnTo>
                      <a:lnTo>
                        <a:pt x="793" y="1076"/>
                      </a:lnTo>
                      <a:lnTo>
                        <a:pt x="795" y="1076"/>
                      </a:lnTo>
                      <a:lnTo>
                        <a:pt x="797" y="1076"/>
                      </a:lnTo>
                      <a:lnTo>
                        <a:pt x="799" y="1076"/>
                      </a:lnTo>
                      <a:lnTo>
                        <a:pt x="801" y="1076"/>
                      </a:lnTo>
                      <a:lnTo>
                        <a:pt x="801" y="1075"/>
                      </a:lnTo>
                      <a:lnTo>
                        <a:pt x="803" y="1075"/>
                      </a:lnTo>
                      <a:lnTo>
                        <a:pt x="805" y="1075"/>
                      </a:lnTo>
                      <a:lnTo>
                        <a:pt x="805" y="1073"/>
                      </a:lnTo>
                      <a:lnTo>
                        <a:pt x="807" y="1073"/>
                      </a:lnTo>
                      <a:lnTo>
                        <a:pt x="808" y="1073"/>
                      </a:lnTo>
                      <a:lnTo>
                        <a:pt x="808" y="1071"/>
                      </a:lnTo>
                      <a:lnTo>
                        <a:pt x="810" y="1071"/>
                      </a:lnTo>
                      <a:lnTo>
                        <a:pt x="810" y="1073"/>
                      </a:lnTo>
                      <a:lnTo>
                        <a:pt x="812" y="1073"/>
                      </a:lnTo>
                      <a:lnTo>
                        <a:pt x="814" y="1075"/>
                      </a:lnTo>
                      <a:lnTo>
                        <a:pt x="816" y="1075"/>
                      </a:lnTo>
                      <a:lnTo>
                        <a:pt x="818" y="1076"/>
                      </a:lnTo>
                      <a:lnTo>
                        <a:pt x="820" y="1076"/>
                      </a:lnTo>
                      <a:lnTo>
                        <a:pt x="820" y="1078"/>
                      </a:lnTo>
                      <a:lnTo>
                        <a:pt x="822" y="1076"/>
                      </a:lnTo>
                      <a:lnTo>
                        <a:pt x="822" y="1075"/>
                      </a:lnTo>
                      <a:lnTo>
                        <a:pt x="823" y="1075"/>
                      </a:lnTo>
                      <a:lnTo>
                        <a:pt x="825" y="1075"/>
                      </a:lnTo>
                      <a:lnTo>
                        <a:pt x="827" y="1075"/>
                      </a:lnTo>
                      <a:lnTo>
                        <a:pt x="827" y="1073"/>
                      </a:lnTo>
                      <a:lnTo>
                        <a:pt x="829" y="1073"/>
                      </a:lnTo>
                      <a:lnTo>
                        <a:pt x="831" y="1071"/>
                      </a:lnTo>
                      <a:lnTo>
                        <a:pt x="831" y="1069"/>
                      </a:lnTo>
                      <a:lnTo>
                        <a:pt x="833" y="1069"/>
                      </a:lnTo>
                      <a:lnTo>
                        <a:pt x="833" y="1067"/>
                      </a:lnTo>
                      <a:lnTo>
                        <a:pt x="835" y="1067"/>
                      </a:lnTo>
                      <a:lnTo>
                        <a:pt x="835" y="1065"/>
                      </a:lnTo>
                      <a:lnTo>
                        <a:pt x="837" y="1065"/>
                      </a:lnTo>
                      <a:lnTo>
                        <a:pt x="838" y="1065"/>
                      </a:lnTo>
                      <a:lnTo>
                        <a:pt x="840" y="1065"/>
                      </a:lnTo>
                      <a:lnTo>
                        <a:pt x="842" y="1065"/>
                      </a:lnTo>
                      <a:lnTo>
                        <a:pt x="844" y="1065"/>
                      </a:lnTo>
                      <a:lnTo>
                        <a:pt x="846" y="1067"/>
                      </a:lnTo>
                      <a:lnTo>
                        <a:pt x="848" y="1067"/>
                      </a:lnTo>
                      <a:lnTo>
                        <a:pt x="848" y="1069"/>
                      </a:lnTo>
                      <a:lnTo>
                        <a:pt x="850" y="1069"/>
                      </a:lnTo>
                      <a:lnTo>
                        <a:pt x="852" y="1069"/>
                      </a:lnTo>
                      <a:lnTo>
                        <a:pt x="854" y="1069"/>
                      </a:lnTo>
                      <a:lnTo>
                        <a:pt x="854" y="1071"/>
                      </a:lnTo>
                      <a:lnTo>
                        <a:pt x="855" y="1071"/>
                      </a:lnTo>
                      <a:lnTo>
                        <a:pt x="857" y="1071"/>
                      </a:lnTo>
                      <a:lnTo>
                        <a:pt x="859" y="1071"/>
                      </a:lnTo>
                      <a:lnTo>
                        <a:pt x="859" y="1069"/>
                      </a:lnTo>
                      <a:lnTo>
                        <a:pt x="861" y="1069"/>
                      </a:lnTo>
                      <a:lnTo>
                        <a:pt x="861" y="1067"/>
                      </a:lnTo>
                      <a:lnTo>
                        <a:pt x="863" y="1065"/>
                      </a:lnTo>
                      <a:lnTo>
                        <a:pt x="863" y="1063"/>
                      </a:lnTo>
                      <a:lnTo>
                        <a:pt x="865" y="1063"/>
                      </a:lnTo>
                      <a:lnTo>
                        <a:pt x="865" y="1061"/>
                      </a:lnTo>
                      <a:lnTo>
                        <a:pt x="865" y="1060"/>
                      </a:lnTo>
                      <a:lnTo>
                        <a:pt x="865" y="1058"/>
                      </a:lnTo>
                      <a:lnTo>
                        <a:pt x="867" y="1058"/>
                      </a:lnTo>
                      <a:lnTo>
                        <a:pt x="867" y="1056"/>
                      </a:lnTo>
                      <a:lnTo>
                        <a:pt x="869" y="1056"/>
                      </a:lnTo>
                      <a:lnTo>
                        <a:pt x="870" y="1056"/>
                      </a:lnTo>
                      <a:lnTo>
                        <a:pt x="870" y="1054"/>
                      </a:lnTo>
                      <a:lnTo>
                        <a:pt x="872" y="1054"/>
                      </a:lnTo>
                      <a:lnTo>
                        <a:pt x="872" y="1052"/>
                      </a:lnTo>
                      <a:lnTo>
                        <a:pt x="874" y="1052"/>
                      </a:lnTo>
                      <a:lnTo>
                        <a:pt x="876" y="1052"/>
                      </a:lnTo>
                      <a:lnTo>
                        <a:pt x="878" y="1052"/>
                      </a:lnTo>
                      <a:lnTo>
                        <a:pt x="880" y="1052"/>
                      </a:lnTo>
                      <a:lnTo>
                        <a:pt x="882" y="1052"/>
                      </a:lnTo>
                      <a:lnTo>
                        <a:pt x="884" y="1052"/>
                      </a:lnTo>
                      <a:lnTo>
                        <a:pt x="886" y="1052"/>
                      </a:lnTo>
                      <a:lnTo>
                        <a:pt x="887" y="1052"/>
                      </a:lnTo>
                      <a:lnTo>
                        <a:pt x="887" y="1050"/>
                      </a:lnTo>
                      <a:lnTo>
                        <a:pt x="889" y="1050"/>
                      </a:lnTo>
                      <a:lnTo>
                        <a:pt x="891" y="1050"/>
                      </a:lnTo>
                      <a:lnTo>
                        <a:pt x="893" y="1050"/>
                      </a:lnTo>
                      <a:lnTo>
                        <a:pt x="893" y="1048"/>
                      </a:lnTo>
                      <a:lnTo>
                        <a:pt x="895" y="1048"/>
                      </a:lnTo>
                      <a:lnTo>
                        <a:pt x="897" y="1048"/>
                      </a:lnTo>
                      <a:lnTo>
                        <a:pt x="899" y="1046"/>
                      </a:lnTo>
                      <a:lnTo>
                        <a:pt x="901" y="1046"/>
                      </a:lnTo>
                      <a:lnTo>
                        <a:pt x="902" y="1046"/>
                      </a:lnTo>
                      <a:lnTo>
                        <a:pt x="904" y="1046"/>
                      </a:lnTo>
                      <a:lnTo>
                        <a:pt x="904" y="1048"/>
                      </a:lnTo>
                      <a:lnTo>
                        <a:pt x="904" y="996"/>
                      </a:lnTo>
                      <a:lnTo>
                        <a:pt x="904" y="950"/>
                      </a:lnTo>
                      <a:lnTo>
                        <a:pt x="904" y="918"/>
                      </a:lnTo>
                      <a:lnTo>
                        <a:pt x="904" y="858"/>
                      </a:lnTo>
                      <a:lnTo>
                        <a:pt x="904" y="775"/>
                      </a:lnTo>
                      <a:lnTo>
                        <a:pt x="904" y="736"/>
                      </a:lnTo>
                      <a:lnTo>
                        <a:pt x="904" y="625"/>
                      </a:lnTo>
                      <a:lnTo>
                        <a:pt x="904" y="583"/>
                      </a:lnTo>
                      <a:lnTo>
                        <a:pt x="904" y="564"/>
                      </a:lnTo>
                      <a:lnTo>
                        <a:pt x="904" y="527"/>
                      </a:lnTo>
                      <a:lnTo>
                        <a:pt x="904" y="480"/>
                      </a:lnTo>
                      <a:lnTo>
                        <a:pt x="904" y="476"/>
                      </a:lnTo>
                      <a:lnTo>
                        <a:pt x="904" y="448"/>
                      </a:lnTo>
                      <a:lnTo>
                        <a:pt x="904" y="429"/>
                      </a:lnTo>
                      <a:lnTo>
                        <a:pt x="904" y="389"/>
                      </a:lnTo>
                      <a:lnTo>
                        <a:pt x="904" y="382"/>
                      </a:lnTo>
                      <a:lnTo>
                        <a:pt x="904" y="376"/>
                      </a:lnTo>
                      <a:lnTo>
                        <a:pt x="904" y="350"/>
                      </a:lnTo>
                      <a:lnTo>
                        <a:pt x="904" y="327"/>
                      </a:lnTo>
                      <a:lnTo>
                        <a:pt x="904" y="288"/>
                      </a:lnTo>
                      <a:lnTo>
                        <a:pt x="904" y="282"/>
                      </a:lnTo>
                      <a:lnTo>
                        <a:pt x="904" y="243"/>
                      </a:lnTo>
                      <a:lnTo>
                        <a:pt x="904" y="239"/>
                      </a:lnTo>
                      <a:lnTo>
                        <a:pt x="904" y="216"/>
                      </a:lnTo>
                      <a:lnTo>
                        <a:pt x="904" y="184"/>
                      </a:lnTo>
                      <a:lnTo>
                        <a:pt x="904" y="145"/>
                      </a:lnTo>
                      <a:lnTo>
                        <a:pt x="904" y="96"/>
                      </a:lnTo>
                      <a:lnTo>
                        <a:pt x="904" y="66"/>
                      </a:lnTo>
                      <a:lnTo>
                        <a:pt x="904" y="20"/>
                      </a:lnTo>
                      <a:lnTo>
                        <a:pt x="904" y="0"/>
                      </a:lnTo>
                      <a:lnTo>
                        <a:pt x="904" y="2"/>
                      </a:lnTo>
                      <a:lnTo>
                        <a:pt x="906" y="2"/>
                      </a:lnTo>
                      <a:lnTo>
                        <a:pt x="906" y="3"/>
                      </a:lnTo>
                      <a:lnTo>
                        <a:pt x="908" y="3"/>
                      </a:lnTo>
                      <a:lnTo>
                        <a:pt x="910" y="5"/>
                      </a:lnTo>
                      <a:lnTo>
                        <a:pt x="912" y="5"/>
                      </a:lnTo>
                      <a:lnTo>
                        <a:pt x="912" y="7"/>
                      </a:lnTo>
                      <a:lnTo>
                        <a:pt x="914" y="7"/>
                      </a:lnTo>
                      <a:lnTo>
                        <a:pt x="914" y="9"/>
                      </a:lnTo>
                      <a:lnTo>
                        <a:pt x="914" y="11"/>
                      </a:lnTo>
                      <a:lnTo>
                        <a:pt x="914" y="13"/>
                      </a:lnTo>
                      <a:lnTo>
                        <a:pt x="916" y="13"/>
                      </a:lnTo>
                      <a:lnTo>
                        <a:pt x="917" y="13"/>
                      </a:lnTo>
                      <a:lnTo>
                        <a:pt x="919" y="13"/>
                      </a:lnTo>
                      <a:lnTo>
                        <a:pt x="921" y="13"/>
                      </a:lnTo>
                      <a:lnTo>
                        <a:pt x="921" y="15"/>
                      </a:lnTo>
                      <a:lnTo>
                        <a:pt x="921" y="18"/>
                      </a:lnTo>
                      <a:lnTo>
                        <a:pt x="923" y="18"/>
                      </a:lnTo>
                      <a:lnTo>
                        <a:pt x="925" y="18"/>
                      </a:lnTo>
                      <a:lnTo>
                        <a:pt x="927" y="18"/>
                      </a:lnTo>
                      <a:lnTo>
                        <a:pt x="929" y="18"/>
                      </a:lnTo>
                      <a:lnTo>
                        <a:pt x="929" y="20"/>
                      </a:lnTo>
                      <a:lnTo>
                        <a:pt x="927" y="22"/>
                      </a:lnTo>
                      <a:lnTo>
                        <a:pt x="927" y="24"/>
                      </a:lnTo>
                      <a:lnTo>
                        <a:pt x="929" y="26"/>
                      </a:lnTo>
                      <a:lnTo>
                        <a:pt x="931" y="26"/>
                      </a:lnTo>
                      <a:lnTo>
                        <a:pt x="933" y="26"/>
                      </a:lnTo>
                      <a:lnTo>
                        <a:pt x="933" y="28"/>
                      </a:lnTo>
                      <a:lnTo>
                        <a:pt x="934" y="30"/>
                      </a:lnTo>
                      <a:lnTo>
                        <a:pt x="934" y="32"/>
                      </a:lnTo>
                      <a:lnTo>
                        <a:pt x="934" y="34"/>
                      </a:lnTo>
                      <a:lnTo>
                        <a:pt x="936" y="34"/>
                      </a:lnTo>
                      <a:lnTo>
                        <a:pt x="938" y="34"/>
                      </a:lnTo>
                      <a:lnTo>
                        <a:pt x="938" y="32"/>
                      </a:lnTo>
                      <a:lnTo>
                        <a:pt x="940" y="32"/>
                      </a:lnTo>
                      <a:lnTo>
                        <a:pt x="942" y="32"/>
                      </a:lnTo>
                      <a:lnTo>
                        <a:pt x="944" y="32"/>
                      </a:lnTo>
                      <a:lnTo>
                        <a:pt x="944" y="34"/>
                      </a:lnTo>
                      <a:lnTo>
                        <a:pt x="946" y="34"/>
                      </a:lnTo>
                      <a:lnTo>
                        <a:pt x="946" y="35"/>
                      </a:lnTo>
                      <a:lnTo>
                        <a:pt x="948" y="35"/>
                      </a:lnTo>
                      <a:lnTo>
                        <a:pt x="948" y="37"/>
                      </a:lnTo>
                      <a:lnTo>
                        <a:pt x="949" y="39"/>
                      </a:lnTo>
                      <a:lnTo>
                        <a:pt x="951" y="39"/>
                      </a:lnTo>
                      <a:lnTo>
                        <a:pt x="951" y="41"/>
                      </a:lnTo>
                      <a:lnTo>
                        <a:pt x="953" y="41"/>
                      </a:lnTo>
                      <a:lnTo>
                        <a:pt x="955" y="39"/>
                      </a:lnTo>
                      <a:lnTo>
                        <a:pt x="955" y="37"/>
                      </a:lnTo>
                      <a:lnTo>
                        <a:pt x="957" y="37"/>
                      </a:lnTo>
                      <a:lnTo>
                        <a:pt x="959" y="37"/>
                      </a:lnTo>
                      <a:lnTo>
                        <a:pt x="959" y="39"/>
                      </a:lnTo>
                      <a:lnTo>
                        <a:pt x="959" y="41"/>
                      </a:lnTo>
                      <a:lnTo>
                        <a:pt x="961" y="43"/>
                      </a:lnTo>
                      <a:lnTo>
                        <a:pt x="963" y="43"/>
                      </a:lnTo>
                      <a:lnTo>
                        <a:pt x="965" y="41"/>
                      </a:lnTo>
                      <a:lnTo>
                        <a:pt x="966" y="43"/>
                      </a:lnTo>
                      <a:lnTo>
                        <a:pt x="968" y="43"/>
                      </a:lnTo>
                      <a:lnTo>
                        <a:pt x="970" y="45"/>
                      </a:lnTo>
                      <a:lnTo>
                        <a:pt x="972" y="45"/>
                      </a:lnTo>
                      <a:lnTo>
                        <a:pt x="972" y="47"/>
                      </a:lnTo>
                      <a:lnTo>
                        <a:pt x="974" y="47"/>
                      </a:lnTo>
                      <a:lnTo>
                        <a:pt x="974" y="49"/>
                      </a:lnTo>
                      <a:lnTo>
                        <a:pt x="974" y="50"/>
                      </a:lnTo>
                      <a:lnTo>
                        <a:pt x="976" y="52"/>
                      </a:lnTo>
                      <a:lnTo>
                        <a:pt x="978" y="52"/>
                      </a:lnTo>
                      <a:lnTo>
                        <a:pt x="978" y="54"/>
                      </a:lnTo>
                      <a:lnTo>
                        <a:pt x="980" y="54"/>
                      </a:lnTo>
                      <a:lnTo>
                        <a:pt x="978" y="56"/>
                      </a:lnTo>
                      <a:lnTo>
                        <a:pt x="978" y="58"/>
                      </a:lnTo>
                      <a:lnTo>
                        <a:pt x="980" y="60"/>
                      </a:lnTo>
                      <a:lnTo>
                        <a:pt x="981" y="60"/>
                      </a:lnTo>
                      <a:lnTo>
                        <a:pt x="981" y="62"/>
                      </a:lnTo>
                      <a:lnTo>
                        <a:pt x="983" y="62"/>
                      </a:lnTo>
                      <a:lnTo>
                        <a:pt x="985" y="62"/>
                      </a:lnTo>
                      <a:lnTo>
                        <a:pt x="987" y="62"/>
                      </a:lnTo>
                      <a:lnTo>
                        <a:pt x="987" y="64"/>
                      </a:lnTo>
                      <a:lnTo>
                        <a:pt x="989" y="66"/>
                      </a:lnTo>
                      <a:lnTo>
                        <a:pt x="989" y="67"/>
                      </a:lnTo>
                      <a:lnTo>
                        <a:pt x="991" y="69"/>
                      </a:lnTo>
                      <a:lnTo>
                        <a:pt x="993" y="69"/>
                      </a:lnTo>
                      <a:lnTo>
                        <a:pt x="995" y="69"/>
                      </a:lnTo>
                      <a:lnTo>
                        <a:pt x="995" y="71"/>
                      </a:lnTo>
                      <a:lnTo>
                        <a:pt x="996" y="73"/>
                      </a:lnTo>
                      <a:lnTo>
                        <a:pt x="998" y="73"/>
                      </a:lnTo>
                      <a:lnTo>
                        <a:pt x="1000" y="75"/>
                      </a:lnTo>
                      <a:lnTo>
                        <a:pt x="1002" y="75"/>
                      </a:lnTo>
                      <a:lnTo>
                        <a:pt x="1004" y="75"/>
                      </a:lnTo>
                      <a:lnTo>
                        <a:pt x="1004" y="77"/>
                      </a:lnTo>
                      <a:lnTo>
                        <a:pt x="1004" y="79"/>
                      </a:lnTo>
                      <a:lnTo>
                        <a:pt x="1004" y="81"/>
                      </a:lnTo>
                      <a:lnTo>
                        <a:pt x="1002" y="81"/>
                      </a:lnTo>
                      <a:lnTo>
                        <a:pt x="1002" y="82"/>
                      </a:lnTo>
                      <a:lnTo>
                        <a:pt x="1002" y="84"/>
                      </a:lnTo>
                      <a:lnTo>
                        <a:pt x="1004" y="86"/>
                      </a:lnTo>
                      <a:lnTo>
                        <a:pt x="1006" y="88"/>
                      </a:lnTo>
                      <a:lnTo>
                        <a:pt x="1008" y="88"/>
                      </a:lnTo>
                      <a:lnTo>
                        <a:pt x="1010" y="88"/>
                      </a:lnTo>
                      <a:lnTo>
                        <a:pt x="1010" y="90"/>
                      </a:lnTo>
                      <a:lnTo>
                        <a:pt x="1012" y="90"/>
                      </a:lnTo>
                      <a:lnTo>
                        <a:pt x="1012" y="92"/>
                      </a:lnTo>
                      <a:lnTo>
                        <a:pt x="1010" y="92"/>
                      </a:lnTo>
                      <a:lnTo>
                        <a:pt x="1010" y="94"/>
                      </a:lnTo>
                      <a:lnTo>
                        <a:pt x="1010" y="96"/>
                      </a:lnTo>
                      <a:lnTo>
                        <a:pt x="1012" y="96"/>
                      </a:lnTo>
                      <a:lnTo>
                        <a:pt x="1013" y="96"/>
                      </a:lnTo>
                      <a:lnTo>
                        <a:pt x="1013" y="98"/>
                      </a:lnTo>
                      <a:lnTo>
                        <a:pt x="1015" y="99"/>
                      </a:lnTo>
                      <a:lnTo>
                        <a:pt x="1013" y="101"/>
                      </a:lnTo>
                      <a:lnTo>
                        <a:pt x="1013" y="103"/>
                      </a:lnTo>
                      <a:lnTo>
                        <a:pt x="1015" y="103"/>
                      </a:lnTo>
                      <a:lnTo>
                        <a:pt x="1015" y="105"/>
                      </a:lnTo>
                      <a:lnTo>
                        <a:pt x="1015" y="107"/>
                      </a:lnTo>
                      <a:lnTo>
                        <a:pt x="1013" y="107"/>
                      </a:lnTo>
                      <a:lnTo>
                        <a:pt x="1013" y="109"/>
                      </a:lnTo>
                      <a:lnTo>
                        <a:pt x="1015" y="109"/>
                      </a:lnTo>
                      <a:lnTo>
                        <a:pt x="1015" y="111"/>
                      </a:lnTo>
                      <a:lnTo>
                        <a:pt x="1017" y="111"/>
                      </a:lnTo>
                      <a:lnTo>
                        <a:pt x="1019" y="111"/>
                      </a:lnTo>
                      <a:lnTo>
                        <a:pt x="1021" y="111"/>
                      </a:lnTo>
                      <a:lnTo>
                        <a:pt x="1021" y="109"/>
                      </a:lnTo>
                      <a:lnTo>
                        <a:pt x="1023" y="109"/>
                      </a:lnTo>
                      <a:lnTo>
                        <a:pt x="1025" y="109"/>
                      </a:lnTo>
                      <a:lnTo>
                        <a:pt x="1025" y="111"/>
                      </a:lnTo>
                      <a:lnTo>
                        <a:pt x="1025" y="113"/>
                      </a:lnTo>
                      <a:lnTo>
                        <a:pt x="1025" y="114"/>
                      </a:lnTo>
                      <a:lnTo>
                        <a:pt x="1025" y="116"/>
                      </a:lnTo>
                      <a:lnTo>
                        <a:pt x="1023" y="116"/>
                      </a:lnTo>
                      <a:lnTo>
                        <a:pt x="1023" y="118"/>
                      </a:lnTo>
                      <a:lnTo>
                        <a:pt x="1021" y="118"/>
                      </a:lnTo>
                      <a:lnTo>
                        <a:pt x="1019" y="120"/>
                      </a:lnTo>
                      <a:lnTo>
                        <a:pt x="1019" y="122"/>
                      </a:lnTo>
                      <a:lnTo>
                        <a:pt x="1021" y="124"/>
                      </a:lnTo>
                      <a:lnTo>
                        <a:pt x="1023" y="126"/>
                      </a:lnTo>
                      <a:lnTo>
                        <a:pt x="1023" y="128"/>
                      </a:lnTo>
                      <a:lnTo>
                        <a:pt x="1025" y="130"/>
                      </a:lnTo>
                      <a:lnTo>
                        <a:pt x="1025" y="131"/>
                      </a:lnTo>
                      <a:lnTo>
                        <a:pt x="1027" y="130"/>
                      </a:lnTo>
                      <a:lnTo>
                        <a:pt x="1028" y="130"/>
                      </a:lnTo>
                      <a:lnTo>
                        <a:pt x="1030" y="130"/>
                      </a:lnTo>
                      <a:lnTo>
                        <a:pt x="1032" y="130"/>
                      </a:lnTo>
                      <a:lnTo>
                        <a:pt x="1032" y="131"/>
                      </a:lnTo>
                      <a:lnTo>
                        <a:pt x="1032" y="133"/>
                      </a:lnTo>
                      <a:lnTo>
                        <a:pt x="1032" y="135"/>
                      </a:lnTo>
                      <a:lnTo>
                        <a:pt x="1030" y="135"/>
                      </a:lnTo>
                      <a:lnTo>
                        <a:pt x="1030" y="137"/>
                      </a:lnTo>
                      <a:lnTo>
                        <a:pt x="1030" y="139"/>
                      </a:lnTo>
                      <a:lnTo>
                        <a:pt x="1030" y="141"/>
                      </a:lnTo>
                      <a:lnTo>
                        <a:pt x="1032" y="141"/>
                      </a:lnTo>
                      <a:lnTo>
                        <a:pt x="1032" y="143"/>
                      </a:lnTo>
                      <a:lnTo>
                        <a:pt x="1034" y="143"/>
                      </a:lnTo>
                      <a:lnTo>
                        <a:pt x="1034" y="145"/>
                      </a:lnTo>
                      <a:lnTo>
                        <a:pt x="1036" y="143"/>
                      </a:lnTo>
                      <a:lnTo>
                        <a:pt x="1036" y="145"/>
                      </a:lnTo>
                      <a:lnTo>
                        <a:pt x="1038" y="145"/>
                      </a:lnTo>
                      <a:lnTo>
                        <a:pt x="1038" y="146"/>
                      </a:lnTo>
                      <a:lnTo>
                        <a:pt x="1040" y="146"/>
                      </a:lnTo>
                      <a:lnTo>
                        <a:pt x="1042" y="146"/>
                      </a:lnTo>
                      <a:lnTo>
                        <a:pt x="1044" y="146"/>
                      </a:lnTo>
                      <a:lnTo>
                        <a:pt x="1045" y="146"/>
                      </a:lnTo>
                      <a:lnTo>
                        <a:pt x="1044" y="146"/>
                      </a:lnTo>
                      <a:lnTo>
                        <a:pt x="1044" y="148"/>
                      </a:lnTo>
                      <a:lnTo>
                        <a:pt x="1042" y="148"/>
                      </a:lnTo>
                      <a:lnTo>
                        <a:pt x="1042" y="150"/>
                      </a:lnTo>
                      <a:lnTo>
                        <a:pt x="1040" y="152"/>
                      </a:lnTo>
                      <a:lnTo>
                        <a:pt x="1038" y="152"/>
                      </a:lnTo>
                      <a:lnTo>
                        <a:pt x="1038" y="154"/>
                      </a:lnTo>
                      <a:lnTo>
                        <a:pt x="1036" y="154"/>
                      </a:lnTo>
                      <a:lnTo>
                        <a:pt x="1036" y="156"/>
                      </a:lnTo>
                      <a:lnTo>
                        <a:pt x="1038" y="158"/>
                      </a:lnTo>
                      <a:lnTo>
                        <a:pt x="1040" y="158"/>
                      </a:lnTo>
                      <a:lnTo>
                        <a:pt x="1042" y="158"/>
                      </a:lnTo>
                      <a:lnTo>
                        <a:pt x="1042" y="156"/>
                      </a:lnTo>
                      <a:lnTo>
                        <a:pt x="1044" y="156"/>
                      </a:lnTo>
                      <a:lnTo>
                        <a:pt x="1045" y="156"/>
                      </a:lnTo>
                      <a:lnTo>
                        <a:pt x="1045" y="158"/>
                      </a:lnTo>
                      <a:lnTo>
                        <a:pt x="1045" y="160"/>
                      </a:lnTo>
                      <a:lnTo>
                        <a:pt x="1044" y="160"/>
                      </a:lnTo>
                      <a:lnTo>
                        <a:pt x="1044" y="162"/>
                      </a:lnTo>
                      <a:lnTo>
                        <a:pt x="1044" y="163"/>
                      </a:lnTo>
                      <a:lnTo>
                        <a:pt x="1044" y="165"/>
                      </a:lnTo>
                      <a:lnTo>
                        <a:pt x="1044" y="167"/>
                      </a:lnTo>
                      <a:lnTo>
                        <a:pt x="1045" y="167"/>
                      </a:lnTo>
                      <a:lnTo>
                        <a:pt x="1045" y="169"/>
                      </a:lnTo>
                      <a:lnTo>
                        <a:pt x="1045" y="171"/>
                      </a:lnTo>
                      <a:lnTo>
                        <a:pt x="1047" y="173"/>
                      </a:lnTo>
                      <a:lnTo>
                        <a:pt x="1047" y="175"/>
                      </a:lnTo>
                      <a:lnTo>
                        <a:pt x="1049" y="177"/>
                      </a:lnTo>
                      <a:lnTo>
                        <a:pt x="1049" y="178"/>
                      </a:lnTo>
                      <a:lnTo>
                        <a:pt x="1051" y="178"/>
                      </a:lnTo>
                      <a:lnTo>
                        <a:pt x="1053" y="178"/>
                      </a:lnTo>
                      <a:lnTo>
                        <a:pt x="1055" y="177"/>
                      </a:lnTo>
                      <a:lnTo>
                        <a:pt x="1057" y="177"/>
                      </a:lnTo>
                      <a:lnTo>
                        <a:pt x="1059" y="178"/>
                      </a:lnTo>
                      <a:lnTo>
                        <a:pt x="1060" y="180"/>
                      </a:lnTo>
                      <a:lnTo>
                        <a:pt x="1059" y="182"/>
                      </a:lnTo>
                      <a:lnTo>
                        <a:pt x="1059" y="184"/>
                      </a:lnTo>
                      <a:lnTo>
                        <a:pt x="1059" y="186"/>
                      </a:lnTo>
                      <a:lnTo>
                        <a:pt x="1060" y="188"/>
                      </a:lnTo>
                      <a:lnTo>
                        <a:pt x="1062" y="188"/>
                      </a:lnTo>
                      <a:lnTo>
                        <a:pt x="1062" y="186"/>
                      </a:lnTo>
                      <a:lnTo>
                        <a:pt x="1064" y="186"/>
                      </a:lnTo>
                      <a:lnTo>
                        <a:pt x="1066" y="186"/>
                      </a:lnTo>
                      <a:lnTo>
                        <a:pt x="1066" y="188"/>
                      </a:lnTo>
                      <a:lnTo>
                        <a:pt x="1066" y="190"/>
                      </a:lnTo>
                      <a:lnTo>
                        <a:pt x="1064" y="190"/>
                      </a:lnTo>
                      <a:lnTo>
                        <a:pt x="1062" y="192"/>
                      </a:lnTo>
                      <a:lnTo>
                        <a:pt x="1062" y="194"/>
                      </a:lnTo>
                      <a:lnTo>
                        <a:pt x="1064" y="195"/>
                      </a:lnTo>
                      <a:lnTo>
                        <a:pt x="1064" y="197"/>
                      </a:lnTo>
                      <a:lnTo>
                        <a:pt x="1066" y="197"/>
                      </a:lnTo>
                      <a:lnTo>
                        <a:pt x="1068" y="197"/>
                      </a:lnTo>
                      <a:lnTo>
                        <a:pt x="1070" y="197"/>
                      </a:lnTo>
                      <a:lnTo>
                        <a:pt x="1070" y="195"/>
                      </a:lnTo>
                      <a:lnTo>
                        <a:pt x="1072" y="195"/>
                      </a:lnTo>
                      <a:lnTo>
                        <a:pt x="1072" y="194"/>
                      </a:lnTo>
                      <a:lnTo>
                        <a:pt x="1074" y="194"/>
                      </a:lnTo>
                      <a:lnTo>
                        <a:pt x="1074" y="192"/>
                      </a:lnTo>
                      <a:lnTo>
                        <a:pt x="1075" y="192"/>
                      </a:lnTo>
                      <a:lnTo>
                        <a:pt x="1077" y="194"/>
                      </a:lnTo>
                      <a:lnTo>
                        <a:pt x="1077" y="195"/>
                      </a:lnTo>
                      <a:lnTo>
                        <a:pt x="1077" y="197"/>
                      </a:lnTo>
                      <a:lnTo>
                        <a:pt x="1075" y="199"/>
                      </a:lnTo>
                      <a:lnTo>
                        <a:pt x="1074" y="199"/>
                      </a:lnTo>
                      <a:lnTo>
                        <a:pt x="1072" y="199"/>
                      </a:lnTo>
                      <a:lnTo>
                        <a:pt x="1070" y="199"/>
                      </a:lnTo>
                      <a:lnTo>
                        <a:pt x="1068" y="199"/>
                      </a:lnTo>
                      <a:lnTo>
                        <a:pt x="1068" y="201"/>
                      </a:lnTo>
                      <a:lnTo>
                        <a:pt x="1068" y="203"/>
                      </a:lnTo>
                      <a:lnTo>
                        <a:pt x="1068" y="205"/>
                      </a:lnTo>
                      <a:lnTo>
                        <a:pt x="1070" y="207"/>
                      </a:lnTo>
                      <a:lnTo>
                        <a:pt x="1070" y="209"/>
                      </a:lnTo>
                      <a:lnTo>
                        <a:pt x="1068" y="209"/>
                      </a:lnTo>
                      <a:lnTo>
                        <a:pt x="1066" y="210"/>
                      </a:lnTo>
                      <a:lnTo>
                        <a:pt x="1066" y="212"/>
                      </a:lnTo>
                      <a:lnTo>
                        <a:pt x="1066" y="214"/>
                      </a:lnTo>
                      <a:lnTo>
                        <a:pt x="1066" y="216"/>
                      </a:lnTo>
                      <a:lnTo>
                        <a:pt x="1068" y="216"/>
                      </a:lnTo>
                      <a:lnTo>
                        <a:pt x="1070" y="216"/>
                      </a:lnTo>
                      <a:lnTo>
                        <a:pt x="1072" y="218"/>
                      </a:lnTo>
                      <a:lnTo>
                        <a:pt x="1074" y="218"/>
                      </a:lnTo>
                      <a:lnTo>
                        <a:pt x="1074" y="220"/>
                      </a:lnTo>
                      <a:lnTo>
                        <a:pt x="1075" y="220"/>
                      </a:lnTo>
                      <a:lnTo>
                        <a:pt x="1075" y="222"/>
                      </a:lnTo>
                      <a:lnTo>
                        <a:pt x="1077" y="224"/>
                      </a:lnTo>
                      <a:lnTo>
                        <a:pt x="1077" y="226"/>
                      </a:lnTo>
                      <a:lnTo>
                        <a:pt x="1079" y="226"/>
                      </a:lnTo>
                      <a:lnTo>
                        <a:pt x="1079" y="227"/>
                      </a:lnTo>
                      <a:lnTo>
                        <a:pt x="1079" y="229"/>
                      </a:lnTo>
                      <a:lnTo>
                        <a:pt x="1081" y="229"/>
                      </a:lnTo>
                      <a:lnTo>
                        <a:pt x="1081" y="231"/>
                      </a:lnTo>
                      <a:lnTo>
                        <a:pt x="1083" y="231"/>
                      </a:lnTo>
                      <a:lnTo>
                        <a:pt x="1083" y="233"/>
                      </a:lnTo>
                      <a:lnTo>
                        <a:pt x="1083" y="235"/>
                      </a:lnTo>
                      <a:lnTo>
                        <a:pt x="1083" y="237"/>
                      </a:lnTo>
                      <a:lnTo>
                        <a:pt x="1081" y="237"/>
                      </a:lnTo>
                      <a:lnTo>
                        <a:pt x="1079" y="237"/>
                      </a:lnTo>
                      <a:lnTo>
                        <a:pt x="1077" y="237"/>
                      </a:lnTo>
                      <a:lnTo>
                        <a:pt x="1075" y="237"/>
                      </a:lnTo>
                      <a:lnTo>
                        <a:pt x="1074" y="239"/>
                      </a:lnTo>
                      <a:lnTo>
                        <a:pt x="1074" y="241"/>
                      </a:lnTo>
                      <a:lnTo>
                        <a:pt x="1072" y="243"/>
                      </a:lnTo>
                      <a:lnTo>
                        <a:pt x="1072" y="244"/>
                      </a:lnTo>
                      <a:lnTo>
                        <a:pt x="1072" y="246"/>
                      </a:lnTo>
                      <a:lnTo>
                        <a:pt x="1074" y="246"/>
                      </a:lnTo>
                      <a:lnTo>
                        <a:pt x="1075" y="246"/>
                      </a:lnTo>
                      <a:lnTo>
                        <a:pt x="1075" y="244"/>
                      </a:lnTo>
                      <a:lnTo>
                        <a:pt x="1077" y="244"/>
                      </a:lnTo>
                      <a:lnTo>
                        <a:pt x="1079" y="244"/>
                      </a:lnTo>
                      <a:lnTo>
                        <a:pt x="1081" y="246"/>
                      </a:lnTo>
                      <a:lnTo>
                        <a:pt x="1081" y="248"/>
                      </a:lnTo>
                      <a:lnTo>
                        <a:pt x="1081" y="250"/>
                      </a:lnTo>
                      <a:lnTo>
                        <a:pt x="1081" y="252"/>
                      </a:lnTo>
                      <a:lnTo>
                        <a:pt x="1079" y="252"/>
                      </a:lnTo>
                      <a:lnTo>
                        <a:pt x="1079" y="254"/>
                      </a:lnTo>
                      <a:lnTo>
                        <a:pt x="1077" y="254"/>
                      </a:lnTo>
                      <a:lnTo>
                        <a:pt x="1077" y="256"/>
                      </a:lnTo>
                      <a:lnTo>
                        <a:pt x="1077" y="258"/>
                      </a:lnTo>
                      <a:lnTo>
                        <a:pt x="1077" y="259"/>
                      </a:lnTo>
                      <a:lnTo>
                        <a:pt x="1077" y="261"/>
                      </a:lnTo>
                      <a:lnTo>
                        <a:pt x="1079" y="261"/>
                      </a:lnTo>
                      <a:lnTo>
                        <a:pt x="1079" y="263"/>
                      </a:lnTo>
                      <a:lnTo>
                        <a:pt x="1081" y="263"/>
                      </a:lnTo>
                      <a:lnTo>
                        <a:pt x="1083" y="265"/>
                      </a:lnTo>
                      <a:lnTo>
                        <a:pt x="1085" y="265"/>
                      </a:lnTo>
                      <a:lnTo>
                        <a:pt x="1087" y="267"/>
                      </a:lnTo>
                      <a:lnTo>
                        <a:pt x="1089" y="269"/>
                      </a:lnTo>
                      <a:lnTo>
                        <a:pt x="1089" y="271"/>
                      </a:lnTo>
                      <a:lnTo>
                        <a:pt x="1091" y="271"/>
                      </a:lnTo>
                      <a:lnTo>
                        <a:pt x="1091" y="273"/>
                      </a:lnTo>
                      <a:lnTo>
                        <a:pt x="1091" y="275"/>
                      </a:lnTo>
                      <a:lnTo>
                        <a:pt x="1091" y="276"/>
                      </a:lnTo>
                      <a:lnTo>
                        <a:pt x="1092" y="276"/>
                      </a:lnTo>
                      <a:lnTo>
                        <a:pt x="1092" y="278"/>
                      </a:lnTo>
                      <a:lnTo>
                        <a:pt x="1092" y="280"/>
                      </a:lnTo>
                      <a:lnTo>
                        <a:pt x="1092" y="282"/>
                      </a:lnTo>
                      <a:lnTo>
                        <a:pt x="1092" y="284"/>
                      </a:lnTo>
                      <a:lnTo>
                        <a:pt x="1092" y="286"/>
                      </a:lnTo>
                      <a:lnTo>
                        <a:pt x="1094" y="286"/>
                      </a:lnTo>
                      <a:lnTo>
                        <a:pt x="1096" y="284"/>
                      </a:lnTo>
                      <a:lnTo>
                        <a:pt x="1098" y="284"/>
                      </a:lnTo>
                      <a:lnTo>
                        <a:pt x="1098" y="286"/>
                      </a:lnTo>
                      <a:lnTo>
                        <a:pt x="1100" y="286"/>
                      </a:lnTo>
                      <a:lnTo>
                        <a:pt x="1100" y="288"/>
                      </a:lnTo>
                      <a:lnTo>
                        <a:pt x="1100" y="290"/>
                      </a:lnTo>
                      <a:lnTo>
                        <a:pt x="1100" y="291"/>
                      </a:lnTo>
                      <a:lnTo>
                        <a:pt x="1098" y="291"/>
                      </a:lnTo>
                      <a:lnTo>
                        <a:pt x="1096" y="291"/>
                      </a:lnTo>
                      <a:lnTo>
                        <a:pt x="1096" y="293"/>
                      </a:lnTo>
                      <a:lnTo>
                        <a:pt x="1094" y="293"/>
                      </a:lnTo>
                      <a:lnTo>
                        <a:pt x="1094" y="295"/>
                      </a:lnTo>
                      <a:lnTo>
                        <a:pt x="1094" y="297"/>
                      </a:lnTo>
                      <a:lnTo>
                        <a:pt x="1094" y="299"/>
                      </a:lnTo>
                      <a:lnTo>
                        <a:pt x="1096" y="301"/>
                      </a:lnTo>
                      <a:lnTo>
                        <a:pt x="1098" y="301"/>
                      </a:lnTo>
                      <a:lnTo>
                        <a:pt x="1098" y="299"/>
                      </a:lnTo>
                      <a:lnTo>
                        <a:pt x="1100" y="299"/>
                      </a:lnTo>
                      <a:lnTo>
                        <a:pt x="1100" y="297"/>
                      </a:lnTo>
                      <a:lnTo>
                        <a:pt x="1100" y="295"/>
                      </a:lnTo>
                      <a:lnTo>
                        <a:pt x="1102" y="295"/>
                      </a:lnTo>
                      <a:lnTo>
                        <a:pt x="1102" y="293"/>
                      </a:lnTo>
                      <a:lnTo>
                        <a:pt x="1104" y="293"/>
                      </a:lnTo>
                      <a:lnTo>
                        <a:pt x="1106" y="293"/>
                      </a:lnTo>
                      <a:lnTo>
                        <a:pt x="1107" y="295"/>
                      </a:lnTo>
                      <a:lnTo>
                        <a:pt x="1106" y="297"/>
                      </a:lnTo>
                      <a:lnTo>
                        <a:pt x="1106" y="299"/>
                      </a:lnTo>
                      <a:lnTo>
                        <a:pt x="1106" y="301"/>
                      </a:lnTo>
                      <a:lnTo>
                        <a:pt x="1107" y="303"/>
                      </a:lnTo>
                      <a:lnTo>
                        <a:pt x="1106" y="303"/>
                      </a:lnTo>
                      <a:lnTo>
                        <a:pt x="1106" y="305"/>
                      </a:lnTo>
                      <a:lnTo>
                        <a:pt x="1106" y="307"/>
                      </a:lnTo>
                      <a:lnTo>
                        <a:pt x="1106" y="308"/>
                      </a:lnTo>
                      <a:lnTo>
                        <a:pt x="1106" y="310"/>
                      </a:lnTo>
                      <a:lnTo>
                        <a:pt x="1107" y="310"/>
                      </a:lnTo>
                      <a:lnTo>
                        <a:pt x="1109" y="310"/>
                      </a:lnTo>
                      <a:lnTo>
                        <a:pt x="1111" y="310"/>
                      </a:lnTo>
                      <a:lnTo>
                        <a:pt x="1113" y="312"/>
                      </a:lnTo>
                      <a:lnTo>
                        <a:pt x="1113" y="314"/>
                      </a:lnTo>
                      <a:lnTo>
                        <a:pt x="1113" y="316"/>
                      </a:lnTo>
                      <a:lnTo>
                        <a:pt x="1113" y="318"/>
                      </a:lnTo>
                      <a:lnTo>
                        <a:pt x="1111" y="320"/>
                      </a:lnTo>
                      <a:lnTo>
                        <a:pt x="1109" y="320"/>
                      </a:lnTo>
                      <a:lnTo>
                        <a:pt x="1109" y="322"/>
                      </a:lnTo>
                      <a:lnTo>
                        <a:pt x="1109" y="323"/>
                      </a:lnTo>
                      <a:lnTo>
                        <a:pt x="1109" y="325"/>
                      </a:lnTo>
                      <a:lnTo>
                        <a:pt x="1109" y="327"/>
                      </a:lnTo>
                      <a:lnTo>
                        <a:pt x="1111" y="327"/>
                      </a:lnTo>
                      <a:lnTo>
                        <a:pt x="1111" y="329"/>
                      </a:lnTo>
                      <a:lnTo>
                        <a:pt x="1113" y="331"/>
                      </a:lnTo>
                      <a:lnTo>
                        <a:pt x="1115" y="331"/>
                      </a:lnTo>
                      <a:lnTo>
                        <a:pt x="1115" y="333"/>
                      </a:lnTo>
                      <a:lnTo>
                        <a:pt x="1117" y="333"/>
                      </a:lnTo>
                      <a:lnTo>
                        <a:pt x="1119" y="335"/>
                      </a:lnTo>
                      <a:lnTo>
                        <a:pt x="1121" y="337"/>
                      </a:lnTo>
                      <a:lnTo>
                        <a:pt x="1121" y="339"/>
                      </a:lnTo>
                      <a:lnTo>
                        <a:pt x="1119" y="339"/>
                      </a:lnTo>
                      <a:lnTo>
                        <a:pt x="1119" y="340"/>
                      </a:lnTo>
                      <a:lnTo>
                        <a:pt x="1117" y="342"/>
                      </a:lnTo>
                      <a:lnTo>
                        <a:pt x="1117" y="344"/>
                      </a:lnTo>
                      <a:lnTo>
                        <a:pt x="1117" y="346"/>
                      </a:lnTo>
                      <a:lnTo>
                        <a:pt x="1115" y="348"/>
                      </a:lnTo>
                      <a:lnTo>
                        <a:pt x="1115" y="350"/>
                      </a:lnTo>
                      <a:lnTo>
                        <a:pt x="1113" y="350"/>
                      </a:lnTo>
                      <a:lnTo>
                        <a:pt x="1113" y="352"/>
                      </a:lnTo>
                      <a:lnTo>
                        <a:pt x="1115" y="354"/>
                      </a:lnTo>
                      <a:lnTo>
                        <a:pt x="1117" y="354"/>
                      </a:lnTo>
                      <a:lnTo>
                        <a:pt x="1117" y="355"/>
                      </a:lnTo>
                      <a:lnTo>
                        <a:pt x="1119" y="357"/>
                      </a:lnTo>
                      <a:lnTo>
                        <a:pt x="1119" y="359"/>
                      </a:lnTo>
                      <a:lnTo>
                        <a:pt x="1119" y="361"/>
                      </a:lnTo>
                      <a:lnTo>
                        <a:pt x="1117" y="363"/>
                      </a:lnTo>
                      <a:lnTo>
                        <a:pt x="1115" y="365"/>
                      </a:lnTo>
                      <a:lnTo>
                        <a:pt x="1115" y="367"/>
                      </a:lnTo>
                      <a:lnTo>
                        <a:pt x="1115" y="369"/>
                      </a:lnTo>
                      <a:lnTo>
                        <a:pt x="1117" y="371"/>
                      </a:lnTo>
                      <a:lnTo>
                        <a:pt x="1119" y="371"/>
                      </a:lnTo>
                      <a:lnTo>
                        <a:pt x="1121" y="372"/>
                      </a:lnTo>
                      <a:lnTo>
                        <a:pt x="1121" y="374"/>
                      </a:lnTo>
                      <a:lnTo>
                        <a:pt x="1119" y="374"/>
                      </a:lnTo>
                      <a:lnTo>
                        <a:pt x="1119" y="376"/>
                      </a:lnTo>
                      <a:lnTo>
                        <a:pt x="1117" y="376"/>
                      </a:lnTo>
                      <a:lnTo>
                        <a:pt x="1117" y="378"/>
                      </a:lnTo>
                      <a:lnTo>
                        <a:pt x="1115" y="378"/>
                      </a:lnTo>
                      <a:lnTo>
                        <a:pt x="1115" y="380"/>
                      </a:lnTo>
                      <a:lnTo>
                        <a:pt x="1117" y="382"/>
                      </a:lnTo>
                      <a:lnTo>
                        <a:pt x="1119" y="382"/>
                      </a:lnTo>
                      <a:lnTo>
                        <a:pt x="1119" y="384"/>
                      </a:lnTo>
                      <a:lnTo>
                        <a:pt x="1121" y="384"/>
                      </a:lnTo>
                      <a:lnTo>
                        <a:pt x="1121" y="386"/>
                      </a:lnTo>
                      <a:lnTo>
                        <a:pt x="1123" y="384"/>
                      </a:lnTo>
                      <a:lnTo>
                        <a:pt x="1124" y="384"/>
                      </a:lnTo>
                      <a:lnTo>
                        <a:pt x="1124" y="386"/>
                      </a:lnTo>
                      <a:lnTo>
                        <a:pt x="1126" y="386"/>
                      </a:lnTo>
                      <a:lnTo>
                        <a:pt x="1126" y="387"/>
                      </a:lnTo>
                      <a:lnTo>
                        <a:pt x="1124" y="387"/>
                      </a:lnTo>
                      <a:lnTo>
                        <a:pt x="1124" y="389"/>
                      </a:lnTo>
                      <a:lnTo>
                        <a:pt x="1123" y="391"/>
                      </a:lnTo>
                      <a:lnTo>
                        <a:pt x="1123" y="393"/>
                      </a:lnTo>
                      <a:lnTo>
                        <a:pt x="1123" y="395"/>
                      </a:lnTo>
                      <a:lnTo>
                        <a:pt x="1121" y="395"/>
                      </a:lnTo>
                      <a:lnTo>
                        <a:pt x="1121" y="397"/>
                      </a:lnTo>
                      <a:lnTo>
                        <a:pt x="1119" y="397"/>
                      </a:lnTo>
                      <a:lnTo>
                        <a:pt x="1119" y="399"/>
                      </a:lnTo>
                      <a:lnTo>
                        <a:pt x="1117" y="399"/>
                      </a:lnTo>
                      <a:lnTo>
                        <a:pt x="1115" y="399"/>
                      </a:lnTo>
                      <a:lnTo>
                        <a:pt x="1115" y="401"/>
                      </a:lnTo>
                      <a:lnTo>
                        <a:pt x="1113" y="403"/>
                      </a:lnTo>
                      <a:lnTo>
                        <a:pt x="1113" y="404"/>
                      </a:lnTo>
                      <a:lnTo>
                        <a:pt x="1113" y="406"/>
                      </a:lnTo>
                      <a:lnTo>
                        <a:pt x="1113" y="408"/>
                      </a:lnTo>
                      <a:lnTo>
                        <a:pt x="1113" y="410"/>
                      </a:lnTo>
                      <a:lnTo>
                        <a:pt x="1113" y="412"/>
                      </a:lnTo>
                      <a:lnTo>
                        <a:pt x="1111" y="414"/>
                      </a:lnTo>
                      <a:lnTo>
                        <a:pt x="1111" y="416"/>
                      </a:lnTo>
                      <a:lnTo>
                        <a:pt x="1111" y="418"/>
                      </a:lnTo>
                      <a:lnTo>
                        <a:pt x="1111" y="419"/>
                      </a:lnTo>
                      <a:lnTo>
                        <a:pt x="1109" y="421"/>
                      </a:lnTo>
                      <a:lnTo>
                        <a:pt x="1107" y="421"/>
                      </a:lnTo>
                      <a:lnTo>
                        <a:pt x="1107" y="423"/>
                      </a:lnTo>
                      <a:lnTo>
                        <a:pt x="1107" y="425"/>
                      </a:lnTo>
                      <a:lnTo>
                        <a:pt x="1107" y="427"/>
                      </a:lnTo>
                      <a:lnTo>
                        <a:pt x="1106" y="427"/>
                      </a:lnTo>
                      <a:lnTo>
                        <a:pt x="1106" y="429"/>
                      </a:lnTo>
                      <a:lnTo>
                        <a:pt x="1104" y="429"/>
                      </a:lnTo>
                      <a:lnTo>
                        <a:pt x="1102" y="429"/>
                      </a:lnTo>
                      <a:lnTo>
                        <a:pt x="1102" y="431"/>
                      </a:lnTo>
                      <a:lnTo>
                        <a:pt x="1100" y="431"/>
                      </a:lnTo>
                      <a:lnTo>
                        <a:pt x="1098" y="431"/>
                      </a:lnTo>
                      <a:lnTo>
                        <a:pt x="1098" y="433"/>
                      </a:lnTo>
                      <a:lnTo>
                        <a:pt x="1098" y="435"/>
                      </a:lnTo>
                      <a:lnTo>
                        <a:pt x="1098" y="436"/>
                      </a:lnTo>
                      <a:lnTo>
                        <a:pt x="1096" y="436"/>
                      </a:lnTo>
                      <a:lnTo>
                        <a:pt x="1096" y="438"/>
                      </a:lnTo>
                      <a:lnTo>
                        <a:pt x="1094" y="440"/>
                      </a:lnTo>
                      <a:lnTo>
                        <a:pt x="1094" y="442"/>
                      </a:lnTo>
                      <a:lnTo>
                        <a:pt x="1092" y="442"/>
                      </a:lnTo>
                      <a:lnTo>
                        <a:pt x="1091" y="442"/>
                      </a:lnTo>
                      <a:lnTo>
                        <a:pt x="1091" y="444"/>
                      </a:lnTo>
                      <a:lnTo>
                        <a:pt x="1089" y="444"/>
                      </a:lnTo>
                      <a:lnTo>
                        <a:pt x="1089" y="446"/>
                      </a:lnTo>
                      <a:lnTo>
                        <a:pt x="1089" y="448"/>
                      </a:lnTo>
                      <a:lnTo>
                        <a:pt x="1087" y="448"/>
                      </a:lnTo>
                      <a:lnTo>
                        <a:pt x="1087" y="450"/>
                      </a:lnTo>
                      <a:lnTo>
                        <a:pt x="1087" y="451"/>
                      </a:lnTo>
                      <a:lnTo>
                        <a:pt x="1085" y="453"/>
                      </a:lnTo>
                      <a:lnTo>
                        <a:pt x="1083" y="453"/>
                      </a:lnTo>
                      <a:lnTo>
                        <a:pt x="1083" y="455"/>
                      </a:lnTo>
                      <a:lnTo>
                        <a:pt x="1083" y="457"/>
                      </a:lnTo>
                      <a:lnTo>
                        <a:pt x="1083" y="459"/>
                      </a:lnTo>
                      <a:lnTo>
                        <a:pt x="1083" y="461"/>
                      </a:lnTo>
                      <a:lnTo>
                        <a:pt x="1083" y="463"/>
                      </a:lnTo>
                      <a:lnTo>
                        <a:pt x="1081" y="463"/>
                      </a:lnTo>
                      <a:lnTo>
                        <a:pt x="1079" y="463"/>
                      </a:lnTo>
                      <a:lnTo>
                        <a:pt x="1077" y="463"/>
                      </a:lnTo>
                      <a:lnTo>
                        <a:pt x="1077" y="465"/>
                      </a:lnTo>
                      <a:lnTo>
                        <a:pt x="1074" y="468"/>
                      </a:lnTo>
                      <a:lnTo>
                        <a:pt x="1074" y="470"/>
                      </a:lnTo>
                      <a:lnTo>
                        <a:pt x="1072" y="470"/>
                      </a:lnTo>
                      <a:lnTo>
                        <a:pt x="1072" y="472"/>
                      </a:lnTo>
                      <a:lnTo>
                        <a:pt x="1070" y="474"/>
                      </a:lnTo>
                      <a:lnTo>
                        <a:pt x="1068" y="474"/>
                      </a:lnTo>
                      <a:lnTo>
                        <a:pt x="1064" y="474"/>
                      </a:lnTo>
                      <a:lnTo>
                        <a:pt x="1062" y="476"/>
                      </a:lnTo>
                      <a:lnTo>
                        <a:pt x="1062" y="480"/>
                      </a:lnTo>
                      <a:lnTo>
                        <a:pt x="1062" y="483"/>
                      </a:lnTo>
                      <a:lnTo>
                        <a:pt x="1062" y="485"/>
                      </a:lnTo>
                      <a:lnTo>
                        <a:pt x="1062" y="487"/>
                      </a:lnTo>
                      <a:lnTo>
                        <a:pt x="1060" y="489"/>
                      </a:lnTo>
                      <a:lnTo>
                        <a:pt x="1060" y="491"/>
                      </a:lnTo>
                      <a:lnTo>
                        <a:pt x="1060" y="493"/>
                      </a:lnTo>
                      <a:lnTo>
                        <a:pt x="1060" y="495"/>
                      </a:lnTo>
                      <a:lnTo>
                        <a:pt x="1060" y="497"/>
                      </a:lnTo>
                      <a:lnTo>
                        <a:pt x="1059" y="497"/>
                      </a:lnTo>
                      <a:lnTo>
                        <a:pt x="1059" y="499"/>
                      </a:lnTo>
                      <a:lnTo>
                        <a:pt x="1060" y="499"/>
                      </a:lnTo>
                      <a:lnTo>
                        <a:pt x="1060" y="500"/>
                      </a:lnTo>
                      <a:lnTo>
                        <a:pt x="1060" y="502"/>
                      </a:lnTo>
                      <a:lnTo>
                        <a:pt x="1060" y="504"/>
                      </a:lnTo>
                      <a:lnTo>
                        <a:pt x="1060" y="506"/>
                      </a:lnTo>
                      <a:lnTo>
                        <a:pt x="1060" y="508"/>
                      </a:lnTo>
                      <a:lnTo>
                        <a:pt x="1060" y="510"/>
                      </a:lnTo>
                      <a:lnTo>
                        <a:pt x="1062" y="510"/>
                      </a:lnTo>
                      <a:lnTo>
                        <a:pt x="1062" y="512"/>
                      </a:lnTo>
                      <a:lnTo>
                        <a:pt x="1064" y="514"/>
                      </a:lnTo>
                      <a:lnTo>
                        <a:pt x="1066" y="514"/>
                      </a:lnTo>
                      <a:lnTo>
                        <a:pt x="1066" y="515"/>
                      </a:lnTo>
                      <a:lnTo>
                        <a:pt x="1066" y="517"/>
                      </a:lnTo>
                      <a:lnTo>
                        <a:pt x="1066" y="519"/>
                      </a:lnTo>
                      <a:lnTo>
                        <a:pt x="1066" y="521"/>
                      </a:lnTo>
                      <a:lnTo>
                        <a:pt x="1066" y="523"/>
                      </a:lnTo>
                      <a:lnTo>
                        <a:pt x="1066" y="525"/>
                      </a:lnTo>
                      <a:lnTo>
                        <a:pt x="1066" y="527"/>
                      </a:lnTo>
                      <a:lnTo>
                        <a:pt x="1066" y="529"/>
                      </a:lnTo>
                      <a:lnTo>
                        <a:pt x="1066" y="532"/>
                      </a:lnTo>
                      <a:lnTo>
                        <a:pt x="1066" y="534"/>
                      </a:lnTo>
                      <a:lnTo>
                        <a:pt x="1066" y="536"/>
                      </a:lnTo>
                      <a:lnTo>
                        <a:pt x="1068" y="538"/>
                      </a:lnTo>
                      <a:lnTo>
                        <a:pt x="1068" y="540"/>
                      </a:lnTo>
                      <a:lnTo>
                        <a:pt x="1066" y="540"/>
                      </a:lnTo>
                      <a:lnTo>
                        <a:pt x="1066" y="542"/>
                      </a:lnTo>
                      <a:lnTo>
                        <a:pt x="1064" y="542"/>
                      </a:lnTo>
                      <a:lnTo>
                        <a:pt x="1062" y="542"/>
                      </a:lnTo>
                      <a:lnTo>
                        <a:pt x="1062" y="544"/>
                      </a:lnTo>
                      <a:lnTo>
                        <a:pt x="1062" y="546"/>
                      </a:lnTo>
                      <a:lnTo>
                        <a:pt x="1062" y="547"/>
                      </a:lnTo>
                      <a:lnTo>
                        <a:pt x="1062" y="549"/>
                      </a:lnTo>
                      <a:lnTo>
                        <a:pt x="1062" y="551"/>
                      </a:lnTo>
                      <a:lnTo>
                        <a:pt x="1064" y="551"/>
                      </a:lnTo>
                      <a:lnTo>
                        <a:pt x="1064" y="553"/>
                      </a:lnTo>
                      <a:lnTo>
                        <a:pt x="1064" y="555"/>
                      </a:lnTo>
                      <a:lnTo>
                        <a:pt x="1066" y="555"/>
                      </a:lnTo>
                      <a:lnTo>
                        <a:pt x="1066" y="557"/>
                      </a:lnTo>
                      <a:lnTo>
                        <a:pt x="1068" y="557"/>
                      </a:lnTo>
                      <a:lnTo>
                        <a:pt x="1066" y="557"/>
                      </a:lnTo>
                      <a:lnTo>
                        <a:pt x="1066" y="559"/>
                      </a:lnTo>
                      <a:lnTo>
                        <a:pt x="1066" y="561"/>
                      </a:lnTo>
                      <a:lnTo>
                        <a:pt x="1066" y="563"/>
                      </a:lnTo>
                      <a:lnTo>
                        <a:pt x="1064" y="563"/>
                      </a:lnTo>
                      <a:lnTo>
                        <a:pt x="1064" y="564"/>
                      </a:lnTo>
                      <a:lnTo>
                        <a:pt x="1066" y="564"/>
                      </a:lnTo>
                      <a:lnTo>
                        <a:pt x="1066" y="566"/>
                      </a:lnTo>
                      <a:lnTo>
                        <a:pt x="1068" y="568"/>
                      </a:lnTo>
                      <a:lnTo>
                        <a:pt x="1068" y="570"/>
                      </a:lnTo>
                      <a:lnTo>
                        <a:pt x="1066" y="570"/>
                      </a:lnTo>
                      <a:lnTo>
                        <a:pt x="1066" y="572"/>
                      </a:lnTo>
                      <a:lnTo>
                        <a:pt x="1064" y="574"/>
                      </a:lnTo>
                      <a:lnTo>
                        <a:pt x="1064" y="576"/>
                      </a:lnTo>
                      <a:lnTo>
                        <a:pt x="1066" y="576"/>
                      </a:lnTo>
                      <a:lnTo>
                        <a:pt x="1068" y="576"/>
                      </a:lnTo>
                      <a:lnTo>
                        <a:pt x="1068" y="578"/>
                      </a:lnTo>
                      <a:lnTo>
                        <a:pt x="1070" y="578"/>
                      </a:lnTo>
                      <a:lnTo>
                        <a:pt x="1070" y="579"/>
                      </a:lnTo>
                      <a:lnTo>
                        <a:pt x="1072" y="581"/>
                      </a:lnTo>
                      <a:lnTo>
                        <a:pt x="1070" y="581"/>
                      </a:lnTo>
                      <a:lnTo>
                        <a:pt x="1070" y="583"/>
                      </a:lnTo>
                      <a:lnTo>
                        <a:pt x="1070" y="585"/>
                      </a:lnTo>
                      <a:lnTo>
                        <a:pt x="1070" y="587"/>
                      </a:lnTo>
                      <a:lnTo>
                        <a:pt x="1072" y="587"/>
                      </a:lnTo>
                      <a:lnTo>
                        <a:pt x="1074" y="587"/>
                      </a:lnTo>
                      <a:lnTo>
                        <a:pt x="1075" y="589"/>
                      </a:lnTo>
                      <a:lnTo>
                        <a:pt x="1077" y="589"/>
                      </a:lnTo>
                      <a:lnTo>
                        <a:pt x="1079" y="589"/>
                      </a:lnTo>
                      <a:lnTo>
                        <a:pt x="1079" y="591"/>
                      </a:lnTo>
                      <a:lnTo>
                        <a:pt x="1079" y="593"/>
                      </a:lnTo>
                      <a:lnTo>
                        <a:pt x="1079" y="595"/>
                      </a:lnTo>
                      <a:lnTo>
                        <a:pt x="1077" y="595"/>
                      </a:lnTo>
                      <a:lnTo>
                        <a:pt x="1079" y="596"/>
                      </a:lnTo>
                      <a:lnTo>
                        <a:pt x="1079" y="598"/>
                      </a:lnTo>
                      <a:lnTo>
                        <a:pt x="1079" y="600"/>
                      </a:lnTo>
                      <a:lnTo>
                        <a:pt x="1079" y="602"/>
                      </a:lnTo>
                      <a:lnTo>
                        <a:pt x="1079" y="604"/>
                      </a:lnTo>
                      <a:lnTo>
                        <a:pt x="1079" y="606"/>
                      </a:lnTo>
                      <a:lnTo>
                        <a:pt x="1081" y="606"/>
                      </a:lnTo>
                      <a:lnTo>
                        <a:pt x="1081" y="608"/>
                      </a:lnTo>
                      <a:lnTo>
                        <a:pt x="1079" y="608"/>
                      </a:lnTo>
                      <a:lnTo>
                        <a:pt x="1081" y="608"/>
                      </a:lnTo>
                      <a:lnTo>
                        <a:pt x="1083" y="606"/>
                      </a:lnTo>
                      <a:lnTo>
                        <a:pt x="1085" y="606"/>
                      </a:lnTo>
                      <a:lnTo>
                        <a:pt x="1085" y="602"/>
                      </a:lnTo>
                      <a:lnTo>
                        <a:pt x="1085" y="600"/>
                      </a:lnTo>
                      <a:lnTo>
                        <a:pt x="1087" y="598"/>
                      </a:lnTo>
                      <a:lnTo>
                        <a:pt x="1089" y="598"/>
                      </a:lnTo>
                      <a:lnTo>
                        <a:pt x="1089" y="596"/>
                      </a:lnTo>
                      <a:lnTo>
                        <a:pt x="1091" y="596"/>
                      </a:lnTo>
                      <a:lnTo>
                        <a:pt x="1092" y="596"/>
                      </a:lnTo>
                      <a:lnTo>
                        <a:pt x="1094" y="596"/>
                      </a:lnTo>
                      <a:lnTo>
                        <a:pt x="1096" y="596"/>
                      </a:lnTo>
                      <a:lnTo>
                        <a:pt x="1098" y="596"/>
                      </a:lnTo>
                      <a:lnTo>
                        <a:pt x="1100" y="596"/>
                      </a:lnTo>
                      <a:lnTo>
                        <a:pt x="1102" y="596"/>
                      </a:lnTo>
                      <a:lnTo>
                        <a:pt x="1102" y="595"/>
                      </a:lnTo>
                      <a:lnTo>
                        <a:pt x="1104" y="595"/>
                      </a:lnTo>
                      <a:lnTo>
                        <a:pt x="1104" y="593"/>
                      </a:lnTo>
                      <a:lnTo>
                        <a:pt x="1106" y="591"/>
                      </a:lnTo>
                      <a:lnTo>
                        <a:pt x="1106" y="589"/>
                      </a:lnTo>
                      <a:lnTo>
                        <a:pt x="1107" y="589"/>
                      </a:lnTo>
                      <a:lnTo>
                        <a:pt x="1109" y="589"/>
                      </a:lnTo>
                      <a:lnTo>
                        <a:pt x="1109" y="591"/>
                      </a:lnTo>
                      <a:lnTo>
                        <a:pt x="1111" y="591"/>
                      </a:lnTo>
                      <a:lnTo>
                        <a:pt x="1113" y="591"/>
                      </a:lnTo>
                      <a:lnTo>
                        <a:pt x="1113" y="589"/>
                      </a:lnTo>
                      <a:lnTo>
                        <a:pt x="1115" y="589"/>
                      </a:lnTo>
                      <a:lnTo>
                        <a:pt x="1115" y="587"/>
                      </a:lnTo>
                      <a:lnTo>
                        <a:pt x="1113" y="585"/>
                      </a:lnTo>
                      <a:lnTo>
                        <a:pt x="1115" y="583"/>
                      </a:lnTo>
                      <a:lnTo>
                        <a:pt x="1117" y="583"/>
                      </a:lnTo>
                      <a:lnTo>
                        <a:pt x="1119" y="583"/>
                      </a:lnTo>
                      <a:lnTo>
                        <a:pt x="1121" y="583"/>
                      </a:lnTo>
                      <a:lnTo>
                        <a:pt x="1123" y="583"/>
                      </a:lnTo>
                      <a:lnTo>
                        <a:pt x="1124" y="581"/>
                      </a:lnTo>
                      <a:lnTo>
                        <a:pt x="1126" y="579"/>
                      </a:lnTo>
                      <a:lnTo>
                        <a:pt x="1128" y="579"/>
                      </a:lnTo>
                      <a:lnTo>
                        <a:pt x="1128" y="578"/>
                      </a:lnTo>
                      <a:lnTo>
                        <a:pt x="1130" y="578"/>
                      </a:lnTo>
                      <a:lnTo>
                        <a:pt x="1132" y="578"/>
                      </a:lnTo>
                      <a:lnTo>
                        <a:pt x="1134" y="578"/>
                      </a:lnTo>
                      <a:lnTo>
                        <a:pt x="1136" y="578"/>
                      </a:lnTo>
                      <a:lnTo>
                        <a:pt x="1138" y="578"/>
                      </a:lnTo>
                      <a:lnTo>
                        <a:pt x="1139" y="578"/>
                      </a:lnTo>
                      <a:lnTo>
                        <a:pt x="1141" y="579"/>
                      </a:lnTo>
                      <a:lnTo>
                        <a:pt x="1143" y="579"/>
                      </a:lnTo>
                      <a:lnTo>
                        <a:pt x="1145" y="581"/>
                      </a:lnTo>
                      <a:lnTo>
                        <a:pt x="1147" y="581"/>
                      </a:lnTo>
                      <a:lnTo>
                        <a:pt x="1149" y="581"/>
                      </a:lnTo>
                      <a:lnTo>
                        <a:pt x="1151" y="579"/>
                      </a:lnTo>
                      <a:lnTo>
                        <a:pt x="1153" y="579"/>
                      </a:lnTo>
                      <a:lnTo>
                        <a:pt x="1154" y="581"/>
                      </a:lnTo>
                      <a:lnTo>
                        <a:pt x="1156" y="583"/>
                      </a:lnTo>
                      <a:lnTo>
                        <a:pt x="1156" y="585"/>
                      </a:lnTo>
                      <a:lnTo>
                        <a:pt x="1158" y="587"/>
                      </a:lnTo>
                      <a:lnTo>
                        <a:pt x="1160" y="587"/>
                      </a:lnTo>
                      <a:lnTo>
                        <a:pt x="1160" y="589"/>
                      </a:lnTo>
                      <a:lnTo>
                        <a:pt x="1162" y="591"/>
                      </a:lnTo>
                      <a:lnTo>
                        <a:pt x="1164" y="591"/>
                      </a:lnTo>
                      <a:lnTo>
                        <a:pt x="1166" y="591"/>
                      </a:lnTo>
                      <a:lnTo>
                        <a:pt x="1168" y="591"/>
                      </a:lnTo>
                      <a:lnTo>
                        <a:pt x="1170" y="591"/>
                      </a:lnTo>
                      <a:lnTo>
                        <a:pt x="1171" y="591"/>
                      </a:lnTo>
                      <a:lnTo>
                        <a:pt x="1173" y="593"/>
                      </a:lnTo>
                      <a:lnTo>
                        <a:pt x="1175" y="593"/>
                      </a:lnTo>
                      <a:lnTo>
                        <a:pt x="1177" y="593"/>
                      </a:lnTo>
                      <a:lnTo>
                        <a:pt x="1179" y="593"/>
                      </a:lnTo>
                      <a:lnTo>
                        <a:pt x="1179" y="591"/>
                      </a:lnTo>
                      <a:lnTo>
                        <a:pt x="1181" y="591"/>
                      </a:lnTo>
                      <a:lnTo>
                        <a:pt x="1181" y="593"/>
                      </a:lnTo>
                      <a:lnTo>
                        <a:pt x="1183" y="593"/>
                      </a:lnTo>
                      <a:lnTo>
                        <a:pt x="1185" y="593"/>
                      </a:lnTo>
                      <a:lnTo>
                        <a:pt x="1185" y="595"/>
                      </a:lnTo>
                      <a:lnTo>
                        <a:pt x="1186" y="595"/>
                      </a:lnTo>
                      <a:lnTo>
                        <a:pt x="1188" y="595"/>
                      </a:lnTo>
                      <a:lnTo>
                        <a:pt x="1190" y="595"/>
                      </a:lnTo>
                      <a:lnTo>
                        <a:pt x="1190" y="596"/>
                      </a:lnTo>
                      <a:lnTo>
                        <a:pt x="1192" y="596"/>
                      </a:lnTo>
                      <a:lnTo>
                        <a:pt x="1192" y="598"/>
                      </a:lnTo>
                      <a:lnTo>
                        <a:pt x="1194" y="598"/>
                      </a:lnTo>
                      <a:lnTo>
                        <a:pt x="1196" y="598"/>
                      </a:lnTo>
                      <a:lnTo>
                        <a:pt x="1198" y="598"/>
                      </a:lnTo>
                      <a:lnTo>
                        <a:pt x="1200" y="596"/>
                      </a:lnTo>
                      <a:lnTo>
                        <a:pt x="1202" y="596"/>
                      </a:lnTo>
                      <a:lnTo>
                        <a:pt x="1203" y="598"/>
                      </a:lnTo>
                      <a:lnTo>
                        <a:pt x="1205" y="596"/>
                      </a:lnTo>
                      <a:lnTo>
                        <a:pt x="1207" y="596"/>
                      </a:lnTo>
                      <a:lnTo>
                        <a:pt x="1207" y="595"/>
                      </a:lnTo>
                      <a:lnTo>
                        <a:pt x="1209" y="595"/>
                      </a:lnTo>
                      <a:lnTo>
                        <a:pt x="1209" y="593"/>
                      </a:lnTo>
                      <a:lnTo>
                        <a:pt x="1211" y="593"/>
                      </a:lnTo>
                      <a:lnTo>
                        <a:pt x="1215" y="591"/>
                      </a:lnTo>
                      <a:lnTo>
                        <a:pt x="1217" y="591"/>
                      </a:lnTo>
                      <a:lnTo>
                        <a:pt x="1218" y="591"/>
                      </a:lnTo>
                      <a:lnTo>
                        <a:pt x="1220" y="591"/>
                      </a:lnTo>
                      <a:lnTo>
                        <a:pt x="1222" y="591"/>
                      </a:lnTo>
                      <a:lnTo>
                        <a:pt x="1224" y="591"/>
                      </a:lnTo>
                      <a:lnTo>
                        <a:pt x="1226" y="589"/>
                      </a:lnTo>
                      <a:lnTo>
                        <a:pt x="1228" y="589"/>
                      </a:lnTo>
                      <a:lnTo>
                        <a:pt x="1230" y="589"/>
                      </a:lnTo>
                      <a:lnTo>
                        <a:pt x="1232" y="589"/>
                      </a:lnTo>
                      <a:lnTo>
                        <a:pt x="1232" y="591"/>
                      </a:lnTo>
                      <a:lnTo>
                        <a:pt x="1233" y="591"/>
                      </a:lnTo>
                      <a:lnTo>
                        <a:pt x="1233" y="593"/>
                      </a:lnTo>
                      <a:lnTo>
                        <a:pt x="1235" y="593"/>
                      </a:lnTo>
                      <a:lnTo>
                        <a:pt x="1237" y="593"/>
                      </a:lnTo>
                      <a:lnTo>
                        <a:pt x="1237" y="591"/>
                      </a:lnTo>
                      <a:lnTo>
                        <a:pt x="1239" y="591"/>
                      </a:lnTo>
                      <a:lnTo>
                        <a:pt x="1241" y="591"/>
                      </a:lnTo>
                      <a:lnTo>
                        <a:pt x="1241" y="589"/>
                      </a:lnTo>
                      <a:lnTo>
                        <a:pt x="1243" y="589"/>
                      </a:lnTo>
                      <a:lnTo>
                        <a:pt x="1243" y="587"/>
                      </a:lnTo>
                      <a:lnTo>
                        <a:pt x="1245" y="585"/>
                      </a:lnTo>
                      <a:lnTo>
                        <a:pt x="1247" y="585"/>
                      </a:lnTo>
                      <a:lnTo>
                        <a:pt x="1249" y="585"/>
                      </a:lnTo>
                      <a:lnTo>
                        <a:pt x="1250" y="585"/>
                      </a:lnTo>
                      <a:lnTo>
                        <a:pt x="1252" y="587"/>
                      </a:lnTo>
                      <a:lnTo>
                        <a:pt x="1254" y="587"/>
                      </a:lnTo>
                      <a:lnTo>
                        <a:pt x="1256" y="587"/>
                      </a:lnTo>
                      <a:lnTo>
                        <a:pt x="1258" y="585"/>
                      </a:lnTo>
                      <a:lnTo>
                        <a:pt x="1260" y="585"/>
                      </a:lnTo>
                      <a:lnTo>
                        <a:pt x="1262" y="585"/>
                      </a:lnTo>
                      <a:lnTo>
                        <a:pt x="1264" y="583"/>
                      </a:lnTo>
                      <a:lnTo>
                        <a:pt x="1265" y="585"/>
                      </a:lnTo>
                      <a:lnTo>
                        <a:pt x="1267" y="585"/>
                      </a:lnTo>
                      <a:lnTo>
                        <a:pt x="1271" y="585"/>
                      </a:lnTo>
                      <a:lnTo>
                        <a:pt x="1273" y="585"/>
                      </a:lnTo>
                      <a:lnTo>
                        <a:pt x="1275" y="585"/>
                      </a:lnTo>
                      <a:lnTo>
                        <a:pt x="1275" y="587"/>
                      </a:lnTo>
                      <a:lnTo>
                        <a:pt x="1277" y="587"/>
                      </a:lnTo>
                      <a:lnTo>
                        <a:pt x="1277" y="589"/>
                      </a:lnTo>
                      <a:lnTo>
                        <a:pt x="1279" y="589"/>
                      </a:lnTo>
                      <a:lnTo>
                        <a:pt x="1281" y="589"/>
                      </a:lnTo>
                      <a:lnTo>
                        <a:pt x="1282" y="589"/>
                      </a:lnTo>
                      <a:lnTo>
                        <a:pt x="1284" y="589"/>
                      </a:lnTo>
                      <a:lnTo>
                        <a:pt x="1286" y="591"/>
                      </a:lnTo>
                      <a:lnTo>
                        <a:pt x="1288" y="593"/>
                      </a:lnTo>
                      <a:lnTo>
                        <a:pt x="1290" y="593"/>
                      </a:lnTo>
                      <a:lnTo>
                        <a:pt x="1292" y="595"/>
                      </a:lnTo>
                      <a:lnTo>
                        <a:pt x="1294" y="595"/>
                      </a:lnTo>
                      <a:lnTo>
                        <a:pt x="1296" y="595"/>
                      </a:lnTo>
                      <a:lnTo>
                        <a:pt x="1297" y="595"/>
                      </a:lnTo>
                      <a:lnTo>
                        <a:pt x="1297" y="593"/>
                      </a:lnTo>
                      <a:lnTo>
                        <a:pt x="1297" y="591"/>
                      </a:lnTo>
                      <a:lnTo>
                        <a:pt x="1299" y="591"/>
                      </a:lnTo>
                      <a:lnTo>
                        <a:pt x="1301" y="591"/>
                      </a:lnTo>
                      <a:lnTo>
                        <a:pt x="1303" y="593"/>
                      </a:lnTo>
                      <a:lnTo>
                        <a:pt x="1305" y="593"/>
                      </a:lnTo>
                      <a:lnTo>
                        <a:pt x="1305" y="591"/>
                      </a:lnTo>
                      <a:lnTo>
                        <a:pt x="1307" y="591"/>
                      </a:lnTo>
                      <a:lnTo>
                        <a:pt x="1307" y="589"/>
                      </a:lnTo>
                      <a:lnTo>
                        <a:pt x="1309" y="589"/>
                      </a:lnTo>
                      <a:lnTo>
                        <a:pt x="1311" y="589"/>
                      </a:lnTo>
                      <a:lnTo>
                        <a:pt x="1312" y="589"/>
                      </a:lnTo>
                      <a:lnTo>
                        <a:pt x="1314" y="591"/>
                      </a:lnTo>
                      <a:lnTo>
                        <a:pt x="1316" y="593"/>
                      </a:lnTo>
                      <a:lnTo>
                        <a:pt x="1318" y="595"/>
                      </a:lnTo>
                      <a:lnTo>
                        <a:pt x="1320" y="596"/>
                      </a:lnTo>
                      <a:lnTo>
                        <a:pt x="1322" y="596"/>
                      </a:lnTo>
                      <a:lnTo>
                        <a:pt x="1324" y="596"/>
                      </a:lnTo>
                      <a:lnTo>
                        <a:pt x="1326" y="596"/>
                      </a:lnTo>
                      <a:lnTo>
                        <a:pt x="1328" y="596"/>
                      </a:lnTo>
                      <a:lnTo>
                        <a:pt x="1329" y="596"/>
                      </a:lnTo>
                      <a:lnTo>
                        <a:pt x="1331" y="595"/>
                      </a:lnTo>
                      <a:lnTo>
                        <a:pt x="1333" y="593"/>
                      </a:lnTo>
                      <a:lnTo>
                        <a:pt x="1335" y="593"/>
                      </a:lnTo>
                      <a:lnTo>
                        <a:pt x="1335" y="595"/>
                      </a:lnTo>
                      <a:lnTo>
                        <a:pt x="1337" y="595"/>
                      </a:lnTo>
                      <a:lnTo>
                        <a:pt x="1339" y="595"/>
                      </a:lnTo>
                      <a:lnTo>
                        <a:pt x="1341" y="595"/>
                      </a:lnTo>
                      <a:lnTo>
                        <a:pt x="1341" y="593"/>
                      </a:lnTo>
                      <a:lnTo>
                        <a:pt x="1343" y="593"/>
                      </a:lnTo>
                      <a:lnTo>
                        <a:pt x="1344" y="589"/>
                      </a:lnTo>
                      <a:lnTo>
                        <a:pt x="1346" y="589"/>
                      </a:lnTo>
                      <a:lnTo>
                        <a:pt x="1348" y="587"/>
                      </a:lnTo>
                      <a:lnTo>
                        <a:pt x="1350" y="585"/>
                      </a:lnTo>
                      <a:lnTo>
                        <a:pt x="1352" y="583"/>
                      </a:lnTo>
                      <a:lnTo>
                        <a:pt x="1354" y="583"/>
                      </a:lnTo>
                      <a:lnTo>
                        <a:pt x="1354" y="581"/>
                      </a:lnTo>
                      <a:lnTo>
                        <a:pt x="1356" y="581"/>
                      </a:lnTo>
                      <a:lnTo>
                        <a:pt x="1356" y="579"/>
                      </a:lnTo>
                      <a:lnTo>
                        <a:pt x="1358" y="579"/>
                      </a:lnTo>
                      <a:lnTo>
                        <a:pt x="1358" y="578"/>
                      </a:lnTo>
                      <a:lnTo>
                        <a:pt x="1360" y="578"/>
                      </a:lnTo>
                      <a:lnTo>
                        <a:pt x="1360" y="576"/>
                      </a:lnTo>
                      <a:lnTo>
                        <a:pt x="1361" y="574"/>
                      </a:lnTo>
                      <a:lnTo>
                        <a:pt x="1361" y="572"/>
                      </a:lnTo>
                      <a:lnTo>
                        <a:pt x="1363" y="572"/>
                      </a:lnTo>
                      <a:lnTo>
                        <a:pt x="1363" y="570"/>
                      </a:lnTo>
                      <a:lnTo>
                        <a:pt x="1363" y="568"/>
                      </a:lnTo>
                      <a:lnTo>
                        <a:pt x="1363" y="566"/>
                      </a:lnTo>
                      <a:lnTo>
                        <a:pt x="1361" y="566"/>
                      </a:lnTo>
                      <a:lnTo>
                        <a:pt x="1361" y="564"/>
                      </a:lnTo>
                      <a:lnTo>
                        <a:pt x="1361" y="563"/>
                      </a:lnTo>
                      <a:lnTo>
                        <a:pt x="1361" y="561"/>
                      </a:lnTo>
                      <a:lnTo>
                        <a:pt x="1361" y="557"/>
                      </a:lnTo>
                      <a:lnTo>
                        <a:pt x="1361" y="555"/>
                      </a:lnTo>
                      <a:lnTo>
                        <a:pt x="1361" y="553"/>
                      </a:lnTo>
                      <a:lnTo>
                        <a:pt x="1358" y="551"/>
                      </a:lnTo>
                      <a:lnTo>
                        <a:pt x="1358" y="549"/>
                      </a:lnTo>
                      <a:lnTo>
                        <a:pt x="1358" y="547"/>
                      </a:lnTo>
                      <a:lnTo>
                        <a:pt x="1358" y="546"/>
                      </a:lnTo>
                      <a:lnTo>
                        <a:pt x="1360" y="544"/>
                      </a:lnTo>
                      <a:lnTo>
                        <a:pt x="1361" y="542"/>
                      </a:lnTo>
                      <a:lnTo>
                        <a:pt x="1363" y="542"/>
                      </a:lnTo>
                      <a:lnTo>
                        <a:pt x="1365" y="542"/>
                      </a:lnTo>
                      <a:lnTo>
                        <a:pt x="1367" y="540"/>
                      </a:lnTo>
                      <a:lnTo>
                        <a:pt x="1369" y="538"/>
                      </a:lnTo>
                      <a:lnTo>
                        <a:pt x="1371" y="538"/>
                      </a:lnTo>
                      <a:lnTo>
                        <a:pt x="1373" y="538"/>
                      </a:lnTo>
                      <a:lnTo>
                        <a:pt x="1375" y="538"/>
                      </a:lnTo>
                      <a:lnTo>
                        <a:pt x="1375" y="540"/>
                      </a:lnTo>
                      <a:lnTo>
                        <a:pt x="1375" y="538"/>
                      </a:lnTo>
                      <a:lnTo>
                        <a:pt x="1376" y="538"/>
                      </a:lnTo>
                      <a:lnTo>
                        <a:pt x="1378" y="540"/>
                      </a:lnTo>
                      <a:lnTo>
                        <a:pt x="1380" y="540"/>
                      </a:lnTo>
                      <a:lnTo>
                        <a:pt x="1382" y="540"/>
                      </a:lnTo>
                      <a:lnTo>
                        <a:pt x="1384" y="540"/>
                      </a:lnTo>
                      <a:lnTo>
                        <a:pt x="1386" y="540"/>
                      </a:lnTo>
                      <a:lnTo>
                        <a:pt x="1388" y="540"/>
                      </a:lnTo>
                      <a:lnTo>
                        <a:pt x="1390" y="540"/>
                      </a:lnTo>
                      <a:lnTo>
                        <a:pt x="1391" y="540"/>
                      </a:lnTo>
                      <a:lnTo>
                        <a:pt x="1393" y="540"/>
                      </a:lnTo>
                      <a:lnTo>
                        <a:pt x="1395" y="540"/>
                      </a:lnTo>
                      <a:lnTo>
                        <a:pt x="1397" y="540"/>
                      </a:lnTo>
                      <a:lnTo>
                        <a:pt x="1399" y="540"/>
                      </a:lnTo>
                      <a:lnTo>
                        <a:pt x="1401" y="540"/>
                      </a:lnTo>
                      <a:lnTo>
                        <a:pt x="1403" y="540"/>
                      </a:lnTo>
                      <a:lnTo>
                        <a:pt x="1405" y="540"/>
                      </a:lnTo>
                      <a:lnTo>
                        <a:pt x="1407" y="538"/>
                      </a:lnTo>
                      <a:lnTo>
                        <a:pt x="1408" y="538"/>
                      </a:lnTo>
                      <a:lnTo>
                        <a:pt x="1410" y="536"/>
                      </a:lnTo>
                      <a:lnTo>
                        <a:pt x="1412" y="534"/>
                      </a:lnTo>
                      <a:lnTo>
                        <a:pt x="1414" y="534"/>
                      </a:lnTo>
                      <a:lnTo>
                        <a:pt x="1416" y="534"/>
                      </a:lnTo>
                      <a:lnTo>
                        <a:pt x="1418" y="534"/>
                      </a:lnTo>
                      <a:lnTo>
                        <a:pt x="1418" y="532"/>
                      </a:lnTo>
                      <a:lnTo>
                        <a:pt x="1420" y="531"/>
                      </a:lnTo>
                      <a:lnTo>
                        <a:pt x="1422" y="531"/>
                      </a:lnTo>
                      <a:lnTo>
                        <a:pt x="1423" y="531"/>
                      </a:lnTo>
                      <a:lnTo>
                        <a:pt x="1425" y="531"/>
                      </a:lnTo>
                      <a:lnTo>
                        <a:pt x="1427" y="531"/>
                      </a:lnTo>
                      <a:lnTo>
                        <a:pt x="1429" y="531"/>
                      </a:lnTo>
                      <a:lnTo>
                        <a:pt x="1429" y="529"/>
                      </a:lnTo>
                      <a:lnTo>
                        <a:pt x="1431" y="529"/>
                      </a:lnTo>
                      <a:lnTo>
                        <a:pt x="1431" y="527"/>
                      </a:lnTo>
                      <a:lnTo>
                        <a:pt x="1433" y="525"/>
                      </a:lnTo>
                      <a:lnTo>
                        <a:pt x="1433" y="523"/>
                      </a:lnTo>
                      <a:lnTo>
                        <a:pt x="1435" y="521"/>
                      </a:lnTo>
                      <a:lnTo>
                        <a:pt x="1435" y="519"/>
                      </a:lnTo>
                      <a:lnTo>
                        <a:pt x="1435" y="517"/>
                      </a:lnTo>
                      <a:lnTo>
                        <a:pt x="1435" y="515"/>
                      </a:lnTo>
                      <a:lnTo>
                        <a:pt x="1437" y="515"/>
                      </a:lnTo>
                      <a:lnTo>
                        <a:pt x="1437" y="514"/>
                      </a:lnTo>
                      <a:lnTo>
                        <a:pt x="1439" y="514"/>
                      </a:lnTo>
                      <a:lnTo>
                        <a:pt x="1440" y="514"/>
                      </a:lnTo>
                      <a:lnTo>
                        <a:pt x="1440" y="512"/>
                      </a:lnTo>
                      <a:lnTo>
                        <a:pt x="1442" y="512"/>
                      </a:lnTo>
                      <a:lnTo>
                        <a:pt x="1442" y="510"/>
                      </a:lnTo>
                      <a:lnTo>
                        <a:pt x="1442" y="508"/>
                      </a:lnTo>
                      <a:lnTo>
                        <a:pt x="1444" y="506"/>
                      </a:lnTo>
                      <a:lnTo>
                        <a:pt x="1446" y="504"/>
                      </a:lnTo>
                      <a:lnTo>
                        <a:pt x="1446" y="506"/>
                      </a:lnTo>
                      <a:lnTo>
                        <a:pt x="1448" y="506"/>
                      </a:lnTo>
                      <a:lnTo>
                        <a:pt x="1450" y="506"/>
                      </a:lnTo>
                      <a:lnTo>
                        <a:pt x="1450" y="504"/>
                      </a:lnTo>
                      <a:lnTo>
                        <a:pt x="1450" y="502"/>
                      </a:lnTo>
                      <a:lnTo>
                        <a:pt x="1450" y="500"/>
                      </a:lnTo>
                      <a:lnTo>
                        <a:pt x="1450" y="499"/>
                      </a:lnTo>
                      <a:lnTo>
                        <a:pt x="1452" y="499"/>
                      </a:lnTo>
                      <a:lnTo>
                        <a:pt x="1452" y="497"/>
                      </a:lnTo>
                      <a:lnTo>
                        <a:pt x="1454" y="497"/>
                      </a:lnTo>
                      <a:lnTo>
                        <a:pt x="1455" y="497"/>
                      </a:lnTo>
                      <a:lnTo>
                        <a:pt x="1455" y="495"/>
                      </a:lnTo>
                      <a:lnTo>
                        <a:pt x="1457" y="495"/>
                      </a:lnTo>
                      <a:lnTo>
                        <a:pt x="1457" y="493"/>
                      </a:lnTo>
                      <a:lnTo>
                        <a:pt x="1459" y="493"/>
                      </a:lnTo>
                      <a:lnTo>
                        <a:pt x="1457" y="493"/>
                      </a:lnTo>
                      <a:lnTo>
                        <a:pt x="1457" y="491"/>
                      </a:lnTo>
                      <a:lnTo>
                        <a:pt x="1457" y="489"/>
                      </a:lnTo>
                      <a:lnTo>
                        <a:pt x="1457" y="487"/>
                      </a:lnTo>
                      <a:lnTo>
                        <a:pt x="1457" y="485"/>
                      </a:lnTo>
                      <a:lnTo>
                        <a:pt x="1459" y="485"/>
                      </a:lnTo>
                      <a:lnTo>
                        <a:pt x="1461" y="483"/>
                      </a:lnTo>
                      <a:lnTo>
                        <a:pt x="1463" y="483"/>
                      </a:lnTo>
                      <a:lnTo>
                        <a:pt x="1463" y="482"/>
                      </a:lnTo>
                      <a:lnTo>
                        <a:pt x="1463" y="480"/>
                      </a:lnTo>
                      <a:lnTo>
                        <a:pt x="1463" y="478"/>
                      </a:lnTo>
                      <a:lnTo>
                        <a:pt x="1463" y="476"/>
                      </a:lnTo>
                      <a:lnTo>
                        <a:pt x="1463" y="474"/>
                      </a:lnTo>
                      <a:lnTo>
                        <a:pt x="1465" y="472"/>
                      </a:lnTo>
                      <a:lnTo>
                        <a:pt x="1467" y="472"/>
                      </a:lnTo>
                      <a:lnTo>
                        <a:pt x="1467" y="470"/>
                      </a:lnTo>
                      <a:lnTo>
                        <a:pt x="1467" y="468"/>
                      </a:lnTo>
                      <a:lnTo>
                        <a:pt x="1467" y="467"/>
                      </a:lnTo>
                      <a:lnTo>
                        <a:pt x="1465" y="467"/>
                      </a:lnTo>
                      <a:lnTo>
                        <a:pt x="1465" y="465"/>
                      </a:lnTo>
                      <a:lnTo>
                        <a:pt x="1465" y="463"/>
                      </a:lnTo>
                      <a:lnTo>
                        <a:pt x="1465" y="461"/>
                      </a:lnTo>
                      <a:lnTo>
                        <a:pt x="1467" y="461"/>
                      </a:lnTo>
                      <a:lnTo>
                        <a:pt x="1469" y="461"/>
                      </a:lnTo>
                      <a:lnTo>
                        <a:pt x="1470" y="459"/>
                      </a:lnTo>
                      <a:lnTo>
                        <a:pt x="1472" y="459"/>
                      </a:lnTo>
                      <a:lnTo>
                        <a:pt x="1472" y="457"/>
                      </a:lnTo>
                      <a:lnTo>
                        <a:pt x="1474" y="457"/>
                      </a:lnTo>
                      <a:lnTo>
                        <a:pt x="1476" y="455"/>
                      </a:lnTo>
                      <a:lnTo>
                        <a:pt x="1478" y="455"/>
                      </a:lnTo>
                      <a:lnTo>
                        <a:pt x="1476" y="453"/>
                      </a:lnTo>
                      <a:lnTo>
                        <a:pt x="1476" y="451"/>
                      </a:lnTo>
                      <a:lnTo>
                        <a:pt x="1478" y="450"/>
                      </a:lnTo>
                      <a:lnTo>
                        <a:pt x="1478" y="448"/>
                      </a:lnTo>
                      <a:lnTo>
                        <a:pt x="1480" y="448"/>
                      </a:lnTo>
                      <a:lnTo>
                        <a:pt x="1482" y="448"/>
                      </a:lnTo>
                      <a:lnTo>
                        <a:pt x="1484" y="448"/>
                      </a:lnTo>
                      <a:lnTo>
                        <a:pt x="1486" y="448"/>
                      </a:lnTo>
                      <a:lnTo>
                        <a:pt x="1487" y="446"/>
                      </a:lnTo>
                      <a:lnTo>
                        <a:pt x="1489" y="446"/>
                      </a:lnTo>
                      <a:lnTo>
                        <a:pt x="1491" y="446"/>
                      </a:lnTo>
                      <a:lnTo>
                        <a:pt x="1491" y="448"/>
                      </a:lnTo>
                      <a:lnTo>
                        <a:pt x="1493" y="448"/>
                      </a:lnTo>
                      <a:lnTo>
                        <a:pt x="1495" y="448"/>
                      </a:lnTo>
                      <a:lnTo>
                        <a:pt x="1495" y="446"/>
                      </a:lnTo>
                      <a:lnTo>
                        <a:pt x="1497" y="446"/>
                      </a:lnTo>
                      <a:lnTo>
                        <a:pt x="1497" y="444"/>
                      </a:lnTo>
                      <a:lnTo>
                        <a:pt x="1497" y="442"/>
                      </a:lnTo>
                      <a:lnTo>
                        <a:pt x="1499" y="442"/>
                      </a:lnTo>
                      <a:lnTo>
                        <a:pt x="1502" y="440"/>
                      </a:lnTo>
                      <a:lnTo>
                        <a:pt x="1504" y="442"/>
                      </a:lnTo>
                      <a:lnTo>
                        <a:pt x="1506" y="442"/>
                      </a:lnTo>
                      <a:lnTo>
                        <a:pt x="1508" y="442"/>
                      </a:lnTo>
                      <a:lnTo>
                        <a:pt x="1510" y="440"/>
                      </a:lnTo>
                      <a:lnTo>
                        <a:pt x="1510" y="438"/>
                      </a:lnTo>
                      <a:lnTo>
                        <a:pt x="1510" y="435"/>
                      </a:lnTo>
                      <a:lnTo>
                        <a:pt x="1508" y="433"/>
                      </a:lnTo>
                      <a:lnTo>
                        <a:pt x="1508" y="431"/>
                      </a:lnTo>
                      <a:lnTo>
                        <a:pt x="1510" y="431"/>
                      </a:lnTo>
                      <a:lnTo>
                        <a:pt x="1512" y="431"/>
                      </a:lnTo>
                      <a:lnTo>
                        <a:pt x="1514" y="431"/>
                      </a:lnTo>
                      <a:lnTo>
                        <a:pt x="1516" y="431"/>
                      </a:lnTo>
                      <a:lnTo>
                        <a:pt x="1516" y="429"/>
                      </a:lnTo>
                      <a:lnTo>
                        <a:pt x="1518" y="429"/>
                      </a:lnTo>
                      <a:lnTo>
                        <a:pt x="1518" y="427"/>
                      </a:lnTo>
                      <a:lnTo>
                        <a:pt x="1519" y="427"/>
                      </a:lnTo>
                      <a:lnTo>
                        <a:pt x="1519" y="425"/>
                      </a:lnTo>
                      <a:lnTo>
                        <a:pt x="1519" y="423"/>
                      </a:lnTo>
                      <a:lnTo>
                        <a:pt x="1518" y="423"/>
                      </a:lnTo>
                      <a:lnTo>
                        <a:pt x="1518" y="421"/>
                      </a:lnTo>
                      <a:lnTo>
                        <a:pt x="1518" y="419"/>
                      </a:lnTo>
                      <a:lnTo>
                        <a:pt x="1519" y="419"/>
                      </a:lnTo>
                      <a:lnTo>
                        <a:pt x="1519" y="418"/>
                      </a:lnTo>
                      <a:lnTo>
                        <a:pt x="1521" y="418"/>
                      </a:lnTo>
                      <a:lnTo>
                        <a:pt x="1523" y="418"/>
                      </a:lnTo>
                      <a:lnTo>
                        <a:pt x="1523" y="414"/>
                      </a:lnTo>
                      <a:lnTo>
                        <a:pt x="1525" y="414"/>
                      </a:lnTo>
                      <a:lnTo>
                        <a:pt x="1527" y="414"/>
                      </a:lnTo>
                      <a:lnTo>
                        <a:pt x="1529" y="414"/>
                      </a:lnTo>
                      <a:lnTo>
                        <a:pt x="1531" y="414"/>
                      </a:lnTo>
                      <a:lnTo>
                        <a:pt x="1533" y="414"/>
                      </a:lnTo>
                      <a:lnTo>
                        <a:pt x="1533" y="412"/>
                      </a:lnTo>
                      <a:lnTo>
                        <a:pt x="1534" y="412"/>
                      </a:lnTo>
                      <a:lnTo>
                        <a:pt x="1534" y="410"/>
                      </a:lnTo>
                      <a:lnTo>
                        <a:pt x="1534" y="408"/>
                      </a:lnTo>
                      <a:lnTo>
                        <a:pt x="1536" y="408"/>
                      </a:lnTo>
                      <a:lnTo>
                        <a:pt x="1536" y="406"/>
                      </a:lnTo>
                      <a:lnTo>
                        <a:pt x="1538" y="406"/>
                      </a:lnTo>
                      <a:lnTo>
                        <a:pt x="1540" y="408"/>
                      </a:lnTo>
                      <a:lnTo>
                        <a:pt x="1542" y="408"/>
                      </a:lnTo>
                      <a:lnTo>
                        <a:pt x="1542" y="410"/>
                      </a:lnTo>
                      <a:lnTo>
                        <a:pt x="1544" y="410"/>
                      </a:lnTo>
                      <a:lnTo>
                        <a:pt x="1546" y="410"/>
                      </a:lnTo>
                      <a:lnTo>
                        <a:pt x="1548" y="410"/>
                      </a:lnTo>
                      <a:lnTo>
                        <a:pt x="1548" y="412"/>
                      </a:lnTo>
                      <a:lnTo>
                        <a:pt x="1549" y="412"/>
                      </a:lnTo>
                      <a:lnTo>
                        <a:pt x="1549" y="414"/>
                      </a:lnTo>
                      <a:lnTo>
                        <a:pt x="1551" y="414"/>
                      </a:lnTo>
                      <a:lnTo>
                        <a:pt x="1553" y="414"/>
                      </a:lnTo>
                      <a:lnTo>
                        <a:pt x="1555" y="414"/>
                      </a:lnTo>
                      <a:lnTo>
                        <a:pt x="1557" y="414"/>
                      </a:lnTo>
                      <a:lnTo>
                        <a:pt x="1559" y="412"/>
                      </a:lnTo>
                      <a:lnTo>
                        <a:pt x="1559" y="410"/>
                      </a:lnTo>
                      <a:lnTo>
                        <a:pt x="1559" y="408"/>
                      </a:lnTo>
                      <a:lnTo>
                        <a:pt x="1561" y="408"/>
                      </a:lnTo>
                      <a:lnTo>
                        <a:pt x="1561" y="406"/>
                      </a:lnTo>
                      <a:lnTo>
                        <a:pt x="1563" y="406"/>
                      </a:lnTo>
                      <a:lnTo>
                        <a:pt x="1563" y="404"/>
                      </a:lnTo>
                      <a:lnTo>
                        <a:pt x="1565" y="403"/>
                      </a:lnTo>
                      <a:lnTo>
                        <a:pt x="1565" y="401"/>
                      </a:lnTo>
                      <a:lnTo>
                        <a:pt x="1565" y="399"/>
                      </a:lnTo>
                      <a:lnTo>
                        <a:pt x="1565" y="397"/>
                      </a:lnTo>
                      <a:lnTo>
                        <a:pt x="1565" y="395"/>
                      </a:lnTo>
                      <a:lnTo>
                        <a:pt x="1565" y="393"/>
                      </a:lnTo>
                      <a:lnTo>
                        <a:pt x="1563" y="393"/>
                      </a:lnTo>
                      <a:lnTo>
                        <a:pt x="1563" y="391"/>
                      </a:lnTo>
                      <a:lnTo>
                        <a:pt x="1563" y="389"/>
                      </a:lnTo>
                      <a:lnTo>
                        <a:pt x="1565" y="389"/>
                      </a:lnTo>
                      <a:lnTo>
                        <a:pt x="1566" y="389"/>
                      </a:lnTo>
                      <a:lnTo>
                        <a:pt x="1566" y="391"/>
                      </a:lnTo>
                      <a:lnTo>
                        <a:pt x="1568" y="391"/>
                      </a:lnTo>
                      <a:lnTo>
                        <a:pt x="1568" y="393"/>
                      </a:lnTo>
                      <a:lnTo>
                        <a:pt x="1570" y="393"/>
                      </a:lnTo>
                      <a:lnTo>
                        <a:pt x="1570" y="391"/>
                      </a:lnTo>
                      <a:lnTo>
                        <a:pt x="1570" y="389"/>
                      </a:lnTo>
                      <a:lnTo>
                        <a:pt x="1570" y="387"/>
                      </a:lnTo>
                      <a:lnTo>
                        <a:pt x="1570" y="386"/>
                      </a:lnTo>
                      <a:lnTo>
                        <a:pt x="1572" y="386"/>
                      </a:lnTo>
                      <a:lnTo>
                        <a:pt x="1574" y="386"/>
                      </a:lnTo>
                      <a:lnTo>
                        <a:pt x="1576" y="384"/>
                      </a:lnTo>
                      <a:lnTo>
                        <a:pt x="1578" y="384"/>
                      </a:lnTo>
                      <a:close/>
                    </a:path>
                  </a:pathLst>
                </a:custGeom>
                <a:solidFill>
                  <a:srgbClr val="CDFFCD"/>
                </a:solidFill>
                <a:ln w="9525">
                  <a:solidFill>
                    <a:schemeClr val="accent6"/>
                  </a:solidFill>
                  <a:round/>
                  <a:headEnd/>
                  <a:tailEnd/>
                </a:ln>
              </p:spPr>
              <p:txBody>
                <a:bodyPr vert="horz" wrap="square" lIns="89614" tIns="44807" rIns="89614" bIns="44807" numCol="1" anchor="t" anchorCtr="0" compatLnSpc="1">
                  <a:prstTxWarp prst="textNoShape">
                    <a:avLst/>
                  </a:prstTxWarp>
                </a:bodyPr>
                <a:lstStyle/>
                <a:p>
                  <a:pPr fontAlgn="base">
                    <a:spcBef>
                      <a:spcPct val="0"/>
                    </a:spcBef>
                    <a:spcAft>
                      <a:spcPct val="0"/>
                    </a:spcAft>
                  </a:pPr>
                  <a:endParaRPr lang="en-US" sz="1568" dirty="0">
                    <a:solidFill>
                      <a:srgbClr val="000000"/>
                    </a:solidFill>
                  </a:endParaRPr>
                </a:p>
              </p:txBody>
            </p:sp>
            <p:sp>
              <p:nvSpPr>
                <p:cNvPr id="55" name="Freeform 39"/>
                <p:cNvSpPr>
                  <a:spLocks noEditPoints="1"/>
                </p:cNvSpPr>
                <p:nvPr/>
              </p:nvSpPr>
              <p:spPr bwMode="auto">
                <a:xfrm>
                  <a:off x="1622425" y="4211639"/>
                  <a:ext cx="2620963" cy="2120901"/>
                </a:xfrm>
                <a:custGeom>
                  <a:avLst/>
                  <a:gdLst>
                    <a:gd name="T0" fmla="*/ 58 w 1651"/>
                    <a:gd name="T1" fmla="*/ 819 h 1336"/>
                    <a:gd name="T2" fmla="*/ 1627 w 1651"/>
                    <a:gd name="T3" fmla="*/ 482 h 1336"/>
                    <a:gd name="T4" fmla="*/ 1510 w 1651"/>
                    <a:gd name="T5" fmla="*/ 540 h 1336"/>
                    <a:gd name="T6" fmla="*/ 1416 w 1651"/>
                    <a:gd name="T7" fmla="*/ 713 h 1336"/>
                    <a:gd name="T8" fmla="*/ 1431 w 1651"/>
                    <a:gd name="T9" fmla="*/ 913 h 1336"/>
                    <a:gd name="T10" fmla="*/ 1482 w 1651"/>
                    <a:gd name="T11" fmla="*/ 1026 h 1336"/>
                    <a:gd name="T12" fmla="*/ 1497 w 1651"/>
                    <a:gd name="T13" fmla="*/ 1073 h 1336"/>
                    <a:gd name="T14" fmla="*/ 1433 w 1651"/>
                    <a:gd name="T15" fmla="*/ 1103 h 1336"/>
                    <a:gd name="T16" fmla="*/ 1391 w 1651"/>
                    <a:gd name="T17" fmla="*/ 1107 h 1336"/>
                    <a:gd name="T18" fmla="*/ 1326 w 1651"/>
                    <a:gd name="T19" fmla="*/ 1103 h 1336"/>
                    <a:gd name="T20" fmla="*/ 1211 w 1651"/>
                    <a:gd name="T21" fmla="*/ 1092 h 1336"/>
                    <a:gd name="T22" fmla="*/ 1113 w 1651"/>
                    <a:gd name="T23" fmla="*/ 1129 h 1336"/>
                    <a:gd name="T24" fmla="*/ 1062 w 1651"/>
                    <a:gd name="T25" fmla="*/ 1169 h 1336"/>
                    <a:gd name="T26" fmla="*/ 1021 w 1651"/>
                    <a:gd name="T27" fmla="*/ 1197 h 1336"/>
                    <a:gd name="T28" fmla="*/ 936 w 1651"/>
                    <a:gd name="T29" fmla="*/ 1193 h 1336"/>
                    <a:gd name="T30" fmla="*/ 882 w 1651"/>
                    <a:gd name="T31" fmla="*/ 1205 h 1336"/>
                    <a:gd name="T32" fmla="*/ 795 w 1651"/>
                    <a:gd name="T33" fmla="*/ 1218 h 1336"/>
                    <a:gd name="T34" fmla="*/ 733 w 1651"/>
                    <a:gd name="T35" fmla="*/ 1218 h 1336"/>
                    <a:gd name="T36" fmla="*/ 648 w 1651"/>
                    <a:gd name="T37" fmla="*/ 1270 h 1336"/>
                    <a:gd name="T38" fmla="*/ 577 w 1651"/>
                    <a:gd name="T39" fmla="*/ 1334 h 1336"/>
                    <a:gd name="T40" fmla="*/ 505 w 1651"/>
                    <a:gd name="T41" fmla="*/ 1317 h 1336"/>
                    <a:gd name="T42" fmla="*/ 464 w 1651"/>
                    <a:gd name="T43" fmla="*/ 1302 h 1336"/>
                    <a:gd name="T44" fmla="*/ 423 w 1651"/>
                    <a:gd name="T45" fmla="*/ 1267 h 1336"/>
                    <a:gd name="T46" fmla="*/ 406 w 1651"/>
                    <a:gd name="T47" fmla="*/ 1253 h 1336"/>
                    <a:gd name="T48" fmla="*/ 370 w 1651"/>
                    <a:gd name="T49" fmla="*/ 1212 h 1336"/>
                    <a:gd name="T50" fmla="*/ 310 w 1651"/>
                    <a:gd name="T51" fmla="*/ 1189 h 1336"/>
                    <a:gd name="T52" fmla="*/ 268 w 1651"/>
                    <a:gd name="T53" fmla="*/ 1188 h 1336"/>
                    <a:gd name="T54" fmla="*/ 282 w 1651"/>
                    <a:gd name="T55" fmla="*/ 1129 h 1336"/>
                    <a:gd name="T56" fmla="*/ 178 w 1651"/>
                    <a:gd name="T57" fmla="*/ 1114 h 1336"/>
                    <a:gd name="T58" fmla="*/ 184 w 1651"/>
                    <a:gd name="T59" fmla="*/ 1152 h 1336"/>
                    <a:gd name="T60" fmla="*/ 174 w 1651"/>
                    <a:gd name="T61" fmla="*/ 1182 h 1336"/>
                    <a:gd name="T62" fmla="*/ 142 w 1651"/>
                    <a:gd name="T63" fmla="*/ 1124 h 1336"/>
                    <a:gd name="T64" fmla="*/ 150 w 1651"/>
                    <a:gd name="T65" fmla="*/ 1076 h 1336"/>
                    <a:gd name="T66" fmla="*/ 173 w 1651"/>
                    <a:gd name="T67" fmla="*/ 1048 h 1336"/>
                    <a:gd name="T68" fmla="*/ 178 w 1651"/>
                    <a:gd name="T69" fmla="*/ 1014 h 1336"/>
                    <a:gd name="T70" fmla="*/ 144 w 1651"/>
                    <a:gd name="T71" fmla="*/ 947 h 1336"/>
                    <a:gd name="T72" fmla="*/ 101 w 1651"/>
                    <a:gd name="T73" fmla="*/ 877 h 1336"/>
                    <a:gd name="T74" fmla="*/ 58 w 1651"/>
                    <a:gd name="T75" fmla="*/ 794 h 1336"/>
                    <a:gd name="T76" fmla="*/ 88 w 1651"/>
                    <a:gd name="T77" fmla="*/ 834 h 1336"/>
                    <a:gd name="T78" fmla="*/ 71 w 1651"/>
                    <a:gd name="T79" fmla="*/ 788 h 1336"/>
                    <a:gd name="T80" fmla="*/ 50 w 1651"/>
                    <a:gd name="T81" fmla="*/ 779 h 1336"/>
                    <a:gd name="T82" fmla="*/ 31 w 1651"/>
                    <a:gd name="T83" fmla="*/ 773 h 1336"/>
                    <a:gd name="T84" fmla="*/ 31 w 1651"/>
                    <a:gd name="T85" fmla="*/ 728 h 1336"/>
                    <a:gd name="T86" fmla="*/ 43 w 1651"/>
                    <a:gd name="T87" fmla="*/ 685 h 1336"/>
                    <a:gd name="T88" fmla="*/ 86 w 1651"/>
                    <a:gd name="T89" fmla="*/ 706 h 1336"/>
                    <a:gd name="T90" fmla="*/ 150 w 1651"/>
                    <a:gd name="T91" fmla="*/ 553 h 1336"/>
                    <a:gd name="T92" fmla="*/ 131 w 1651"/>
                    <a:gd name="T93" fmla="*/ 459 h 1336"/>
                    <a:gd name="T94" fmla="*/ 112 w 1651"/>
                    <a:gd name="T95" fmla="*/ 384 h 1336"/>
                    <a:gd name="T96" fmla="*/ 69 w 1651"/>
                    <a:gd name="T97" fmla="*/ 318 h 1336"/>
                    <a:gd name="T98" fmla="*/ 30 w 1651"/>
                    <a:gd name="T99" fmla="*/ 263 h 1336"/>
                    <a:gd name="T100" fmla="*/ 3 w 1651"/>
                    <a:gd name="T101" fmla="*/ 216 h 1336"/>
                    <a:gd name="T102" fmla="*/ 165 w 1651"/>
                    <a:gd name="T103" fmla="*/ 32 h 1336"/>
                    <a:gd name="T104" fmla="*/ 291 w 1651"/>
                    <a:gd name="T105" fmla="*/ 180 h 1336"/>
                    <a:gd name="T106" fmla="*/ 332 w 1651"/>
                    <a:gd name="T107" fmla="*/ 380 h 1336"/>
                    <a:gd name="T108" fmla="*/ 332 w 1651"/>
                    <a:gd name="T109" fmla="*/ 433 h 1336"/>
                    <a:gd name="T110" fmla="*/ 442 w 1651"/>
                    <a:gd name="T111" fmla="*/ 506 h 1336"/>
                    <a:gd name="T112" fmla="*/ 443 w 1651"/>
                    <a:gd name="T113" fmla="*/ 611 h 1336"/>
                    <a:gd name="T114" fmla="*/ 586 w 1651"/>
                    <a:gd name="T115" fmla="*/ 546 h 1336"/>
                    <a:gd name="T116" fmla="*/ 669 w 1651"/>
                    <a:gd name="T117" fmla="*/ 741 h 1336"/>
                    <a:gd name="T118" fmla="*/ 970 w 1651"/>
                    <a:gd name="T119" fmla="*/ 564 h 1336"/>
                    <a:gd name="T120" fmla="*/ 1107 w 1651"/>
                    <a:gd name="T121" fmla="*/ 435 h 1336"/>
                    <a:gd name="T122" fmla="*/ 1277 w 1651"/>
                    <a:gd name="T123" fmla="*/ 418 h 1336"/>
                    <a:gd name="T124" fmla="*/ 1497 w 1651"/>
                    <a:gd name="T125" fmla="*/ 363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51" h="1336">
                      <a:moveTo>
                        <a:pt x="421" y="1291"/>
                      </a:moveTo>
                      <a:lnTo>
                        <a:pt x="423" y="1291"/>
                      </a:lnTo>
                      <a:lnTo>
                        <a:pt x="423" y="1293"/>
                      </a:lnTo>
                      <a:lnTo>
                        <a:pt x="421" y="1293"/>
                      </a:lnTo>
                      <a:lnTo>
                        <a:pt x="421" y="1291"/>
                      </a:lnTo>
                      <a:close/>
                      <a:moveTo>
                        <a:pt x="421" y="1287"/>
                      </a:moveTo>
                      <a:lnTo>
                        <a:pt x="425" y="1287"/>
                      </a:lnTo>
                      <a:lnTo>
                        <a:pt x="425" y="1291"/>
                      </a:lnTo>
                      <a:lnTo>
                        <a:pt x="421" y="1291"/>
                      </a:lnTo>
                      <a:lnTo>
                        <a:pt x="421" y="1287"/>
                      </a:lnTo>
                      <a:close/>
                      <a:moveTo>
                        <a:pt x="156" y="1016"/>
                      </a:moveTo>
                      <a:lnTo>
                        <a:pt x="158" y="1016"/>
                      </a:lnTo>
                      <a:lnTo>
                        <a:pt x="158" y="1018"/>
                      </a:lnTo>
                      <a:lnTo>
                        <a:pt x="158" y="1020"/>
                      </a:lnTo>
                      <a:lnTo>
                        <a:pt x="159" y="1020"/>
                      </a:lnTo>
                      <a:lnTo>
                        <a:pt x="159" y="1022"/>
                      </a:lnTo>
                      <a:lnTo>
                        <a:pt x="158" y="1022"/>
                      </a:lnTo>
                      <a:lnTo>
                        <a:pt x="156" y="1024"/>
                      </a:lnTo>
                      <a:lnTo>
                        <a:pt x="154" y="1022"/>
                      </a:lnTo>
                      <a:lnTo>
                        <a:pt x="154" y="1020"/>
                      </a:lnTo>
                      <a:lnTo>
                        <a:pt x="154" y="1018"/>
                      </a:lnTo>
                      <a:lnTo>
                        <a:pt x="152" y="1018"/>
                      </a:lnTo>
                      <a:lnTo>
                        <a:pt x="152" y="1016"/>
                      </a:lnTo>
                      <a:lnTo>
                        <a:pt x="154" y="1014"/>
                      </a:lnTo>
                      <a:lnTo>
                        <a:pt x="156" y="1014"/>
                      </a:lnTo>
                      <a:lnTo>
                        <a:pt x="158" y="1014"/>
                      </a:lnTo>
                      <a:lnTo>
                        <a:pt x="156" y="1016"/>
                      </a:lnTo>
                      <a:close/>
                      <a:moveTo>
                        <a:pt x="82" y="900"/>
                      </a:moveTo>
                      <a:lnTo>
                        <a:pt x="84" y="900"/>
                      </a:lnTo>
                      <a:lnTo>
                        <a:pt x="84" y="898"/>
                      </a:lnTo>
                      <a:lnTo>
                        <a:pt x="84" y="900"/>
                      </a:lnTo>
                      <a:lnTo>
                        <a:pt x="84" y="901"/>
                      </a:lnTo>
                      <a:lnTo>
                        <a:pt x="86" y="901"/>
                      </a:lnTo>
                      <a:lnTo>
                        <a:pt x="86" y="903"/>
                      </a:lnTo>
                      <a:lnTo>
                        <a:pt x="84" y="903"/>
                      </a:lnTo>
                      <a:lnTo>
                        <a:pt x="84" y="905"/>
                      </a:lnTo>
                      <a:lnTo>
                        <a:pt x="84" y="903"/>
                      </a:lnTo>
                      <a:lnTo>
                        <a:pt x="84" y="905"/>
                      </a:lnTo>
                      <a:lnTo>
                        <a:pt x="82" y="905"/>
                      </a:lnTo>
                      <a:lnTo>
                        <a:pt x="82" y="903"/>
                      </a:lnTo>
                      <a:lnTo>
                        <a:pt x="82" y="901"/>
                      </a:lnTo>
                      <a:lnTo>
                        <a:pt x="80" y="901"/>
                      </a:lnTo>
                      <a:lnTo>
                        <a:pt x="80" y="900"/>
                      </a:lnTo>
                      <a:lnTo>
                        <a:pt x="80" y="898"/>
                      </a:lnTo>
                      <a:lnTo>
                        <a:pt x="80" y="900"/>
                      </a:lnTo>
                      <a:lnTo>
                        <a:pt x="82" y="900"/>
                      </a:lnTo>
                      <a:close/>
                      <a:moveTo>
                        <a:pt x="56" y="819"/>
                      </a:moveTo>
                      <a:lnTo>
                        <a:pt x="58" y="819"/>
                      </a:lnTo>
                      <a:lnTo>
                        <a:pt x="56" y="819"/>
                      </a:lnTo>
                      <a:close/>
                      <a:moveTo>
                        <a:pt x="65" y="798"/>
                      </a:moveTo>
                      <a:lnTo>
                        <a:pt x="67" y="798"/>
                      </a:lnTo>
                      <a:lnTo>
                        <a:pt x="67" y="800"/>
                      </a:lnTo>
                      <a:lnTo>
                        <a:pt x="65" y="800"/>
                      </a:lnTo>
                      <a:lnTo>
                        <a:pt x="65" y="798"/>
                      </a:lnTo>
                      <a:close/>
                      <a:moveTo>
                        <a:pt x="48" y="796"/>
                      </a:moveTo>
                      <a:lnTo>
                        <a:pt x="50" y="796"/>
                      </a:lnTo>
                      <a:lnTo>
                        <a:pt x="50" y="798"/>
                      </a:lnTo>
                      <a:lnTo>
                        <a:pt x="48" y="798"/>
                      </a:lnTo>
                      <a:lnTo>
                        <a:pt x="48" y="796"/>
                      </a:lnTo>
                      <a:close/>
                      <a:moveTo>
                        <a:pt x="1632" y="404"/>
                      </a:moveTo>
                      <a:lnTo>
                        <a:pt x="1634" y="406"/>
                      </a:lnTo>
                      <a:lnTo>
                        <a:pt x="1634" y="408"/>
                      </a:lnTo>
                      <a:lnTo>
                        <a:pt x="1642" y="412"/>
                      </a:lnTo>
                      <a:lnTo>
                        <a:pt x="1640" y="414"/>
                      </a:lnTo>
                      <a:lnTo>
                        <a:pt x="1634" y="416"/>
                      </a:lnTo>
                      <a:lnTo>
                        <a:pt x="1632" y="425"/>
                      </a:lnTo>
                      <a:lnTo>
                        <a:pt x="1630" y="425"/>
                      </a:lnTo>
                      <a:lnTo>
                        <a:pt x="1625" y="423"/>
                      </a:lnTo>
                      <a:lnTo>
                        <a:pt x="1621" y="435"/>
                      </a:lnTo>
                      <a:lnTo>
                        <a:pt x="1621" y="440"/>
                      </a:lnTo>
                      <a:lnTo>
                        <a:pt x="1625" y="440"/>
                      </a:lnTo>
                      <a:lnTo>
                        <a:pt x="1628" y="440"/>
                      </a:lnTo>
                      <a:lnTo>
                        <a:pt x="1632" y="440"/>
                      </a:lnTo>
                      <a:lnTo>
                        <a:pt x="1632" y="438"/>
                      </a:lnTo>
                      <a:lnTo>
                        <a:pt x="1634" y="438"/>
                      </a:lnTo>
                      <a:lnTo>
                        <a:pt x="1636" y="438"/>
                      </a:lnTo>
                      <a:lnTo>
                        <a:pt x="1640" y="442"/>
                      </a:lnTo>
                      <a:lnTo>
                        <a:pt x="1643" y="444"/>
                      </a:lnTo>
                      <a:lnTo>
                        <a:pt x="1643" y="446"/>
                      </a:lnTo>
                      <a:lnTo>
                        <a:pt x="1642" y="448"/>
                      </a:lnTo>
                      <a:lnTo>
                        <a:pt x="1645" y="451"/>
                      </a:lnTo>
                      <a:lnTo>
                        <a:pt x="1647" y="451"/>
                      </a:lnTo>
                      <a:lnTo>
                        <a:pt x="1647" y="453"/>
                      </a:lnTo>
                      <a:lnTo>
                        <a:pt x="1651" y="455"/>
                      </a:lnTo>
                      <a:lnTo>
                        <a:pt x="1645" y="461"/>
                      </a:lnTo>
                      <a:lnTo>
                        <a:pt x="1640" y="467"/>
                      </a:lnTo>
                      <a:lnTo>
                        <a:pt x="1642" y="468"/>
                      </a:lnTo>
                      <a:lnTo>
                        <a:pt x="1643" y="470"/>
                      </a:lnTo>
                      <a:lnTo>
                        <a:pt x="1642" y="470"/>
                      </a:lnTo>
                      <a:lnTo>
                        <a:pt x="1642" y="472"/>
                      </a:lnTo>
                      <a:lnTo>
                        <a:pt x="1638" y="472"/>
                      </a:lnTo>
                      <a:lnTo>
                        <a:pt x="1638" y="474"/>
                      </a:lnTo>
                      <a:lnTo>
                        <a:pt x="1632" y="472"/>
                      </a:lnTo>
                      <a:lnTo>
                        <a:pt x="1630" y="472"/>
                      </a:lnTo>
                      <a:lnTo>
                        <a:pt x="1628" y="476"/>
                      </a:lnTo>
                      <a:lnTo>
                        <a:pt x="1627" y="482"/>
                      </a:lnTo>
                      <a:lnTo>
                        <a:pt x="1630" y="483"/>
                      </a:lnTo>
                      <a:lnTo>
                        <a:pt x="1628" y="487"/>
                      </a:lnTo>
                      <a:lnTo>
                        <a:pt x="1625" y="485"/>
                      </a:lnTo>
                      <a:lnTo>
                        <a:pt x="1623" y="487"/>
                      </a:lnTo>
                      <a:lnTo>
                        <a:pt x="1623" y="489"/>
                      </a:lnTo>
                      <a:lnTo>
                        <a:pt x="1621" y="489"/>
                      </a:lnTo>
                      <a:lnTo>
                        <a:pt x="1619" y="495"/>
                      </a:lnTo>
                      <a:lnTo>
                        <a:pt x="1619" y="497"/>
                      </a:lnTo>
                      <a:lnTo>
                        <a:pt x="1619" y="502"/>
                      </a:lnTo>
                      <a:lnTo>
                        <a:pt x="1623" y="495"/>
                      </a:lnTo>
                      <a:lnTo>
                        <a:pt x="1627" y="497"/>
                      </a:lnTo>
                      <a:lnTo>
                        <a:pt x="1628" y="499"/>
                      </a:lnTo>
                      <a:lnTo>
                        <a:pt x="1628" y="506"/>
                      </a:lnTo>
                      <a:lnTo>
                        <a:pt x="1627" y="508"/>
                      </a:lnTo>
                      <a:lnTo>
                        <a:pt x="1625" y="510"/>
                      </a:lnTo>
                      <a:lnTo>
                        <a:pt x="1621" y="514"/>
                      </a:lnTo>
                      <a:lnTo>
                        <a:pt x="1623" y="514"/>
                      </a:lnTo>
                      <a:lnTo>
                        <a:pt x="1619" y="517"/>
                      </a:lnTo>
                      <a:lnTo>
                        <a:pt x="1617" y="517"/>
                      </a:lnTo>
                      <a:lnTo>
                        <a:pt x="1611" y="517"/>
                      </a:lnTo>
                      <a:lnTo>
                        <a:pt x="1604" y="515"/>
                      </a:lnTo>
                      <a:lnTo>
                        <a:pt x="1604" y="521"/>
                      </a:lnTo>
                      <a:lnTo>
                        <a:pt x="1606" y="523"/>
                      </a:lnTo>
                      <a:lnTo>
                        <a:pt x="1602" y="527"/>
                      </a:lnTo>
                      <a:lnTo>
                        <a:pt x="1591" y="529"/>
                      </a:lnTo>
                      <a:lnTo>
                        <a:pt x="1583" y="531"/>
                      </a:lnTo>
                      <a:lnTo>
                        <a:pt x="1581" y="534"/>
                      </a:lnTo>
                      <a:lnTo>
                        <a:pt x="1580" y="536"/>
                      </a:lnTo>
                      <a:lnTo>
                        <a:pt x="1578" y="538"/>
                      </a:lnTo>
                      <a:lnTo>
                        <a:pt x="1574" y="540"/>
                      </a:lnTo>
                      <a:lnTo>
                        <a:pt x="1572" y="540"/>
                      </a:lnTo>
                      <a:lnTo>
                        <a:pt x="1566" y="546"/>
                      </a:lnTo>
                      <a:lnTo>
                        <a:pt x="1564" y="546"/>
                      </a:lnTo>
                      <a:lnTo>
                        <a:pt x="1559" y="544"/>
                      </a:lnTo>
                      <a:lnTo>
                        <a:pt x="1555" y="542"/>
                      </a:lnTo>
                      <a:lnTo>
                        <a:pt x="1553" y="540"/>
                      </a:lnTo>
                      <a:lnTo>
                        <a:pt x="1553" y="538"/>
                      </a:lnTo>
                      <a:lnTo>
                        <a:pt x="1548" y="532"/>
                      </a:lnTo>
                      <a:lnTo>
                        <a:pt x="1542" y="527"/>
                      </a:lnTo>
                      <a:lnTo>
                        <a:pt x="1540" y="527"/>
                      </a:lnTo>
                      <a:lnTo>
                        <a:pt x="1534" y="523"/>
                      </a:lnTo>
                      <a:lnTo>
                        <a:pt x="1529" y="529"/>
                      </a:lnTo>
                      <a:lnTo>
                        <a:pt x="1527" y="531"/>
                      </a:lnTo>
                      <a:lnTo>
                        <a:pt x="1523" y="532"/>
                      </a:lnTo>
                      <a:lnTo>
                        <a:pt x="1521" y="534"/>
                      </a:lnTo>
                      <a:lnTo>
                        <a:pt x="1519" y="534"/>
                      </a:lnTo>
                      <a:lnTo>
                        <a:pt x="1516" y="540"/>
                      </a:lnTo>
                      <a:lnTo>
                        <a:pt x="1510" y="540"/>
                      </a:lnTo>
                      <a:lnTo>
                        <a:pt x="1510" y="542"/>
                      </a:lnTo>
                      <a:lnTo>
                        <a:pt x="1508" y="544"/>
                      </a:lnTo>
                      <a:lnTo>
                        <a:pt x="1508" y="547"/>
                      </a:lnTo>
                      <a:lnTo>
                        <a:pt x="1504" y="559"/>
                      </a:lnTo>
                      <a:lnTo>
                        <a:pt x="1506" y="561"/>
                      </a:lnTo>
                      <a:lnTo>
                        <a:pt x="1512" y="568"/>
                      </a:lnTo>
                      <a:lnTo>
                        <a:pt x="1508" y="572"/>
                      </a:lnTo>
                      <a:lnTo>
                        <a:pt x="1506" y="572"/>
                      </a:lnTo>
                      <a:lnTo>
                        <a:pt x="1489" y="572"/>
                      </a:lnTo>
                      <a:lnTo>
                        <a:pt x="1480" y="570"/>
                      </a:lnTo>
                      <a:lnTo>
                        <a:pt x="1472" y="568"/>
                      </a:lnTo>
                      <a:lnTo>
                        <a:pt x="1467" y="568"/>
                      </a:lnTo>
                      <a:lnTo>
                        <a:pt x="1453" y="566"/>
                      </a:lnTo>
                      <a:lnTo>
                        <a:pt x="1446" y="576"/>
                      </a:lnTo>
                      <a:lnTo>
                        <a:pt x="1446" y="579"/>
                      </a:lnTo>
                      <a:lnTo>
                        <a:pt x="1442" y="587"/>
                      </a:lnTo>
                      <a:lnTo>
                        <a:pt x="1438" y="583"/>
                      </a:lnTo>
                      <a:lnTo>
                        <a:pt x="1433" y="581"/>
                      </a:lnTo>
                      <a:lnTo>
                        <a:pt x="1429" y="579"/>
                      </a:lnTo>
                      <a:lnTo>
                        <a:pt x="1427" y="579"/>
                      </a:lnTo>
                      <a:lnTo>
                        <a:pt x="1427" y="578"/>
                      </a:lnTo>
                      <a:lnTo>
                        <a:pt x="1423" y="574"/>
                      </a:lnTo>
                      <a:lnTo>
                        <a:pt x="1420" y="583"/>
                      </a:lnTo>
                      <a:lnTo>
                        <a:pt x="1418" y="587"/>
                      </a:lnTo>
                      <a:lnTo>
                        <a:pt x="1418" y="589"/>
                      </a:lnTo>
                      <a:lnTo>
                        <a:pt x="1412" y="591"/>
                      </a:lnTo>
                      <a:lnTo>
                        <a:pt x="1408" y="589"/>
                      </a:lnTo>
                      <a:lnTo>
                        <a:pt x="1395" y="596"/>
                      </a:lnTo>
                      <a:lnTo>
                        <a:pt x="1401" y="610"/>
                      </a:lnTo>
                      <a:lnTo>
                        <a:pt x="1401" y="613"/>
                      </a:lnTo>
                      <a:lnTo>
                        <a:pt x="1401" y="625"/>
                      </a:lnTo>
                      <a:lnTo>
                        <a:pt x="1412" y="636"/>
                      </a:lnTo>
                      <a:lnTo>
                        <a:pt x="1414" y="643"/>
                      </a:lnTo>
                      <a:lnTo>
                        <a:pt x="1416" y="653"/>
                      </a:lnTo>
                      <a:lnTo>
                        <a:pt x="1418" y="653"/>
                      </a:lnTo>
                      <a:lnTo>
                        <a:pt x="1416" y="666"/>
                      </a:lnTo>
                      <a:lnTo>
                        <a:pt x="1412" y="668"/>
                      </a:lnTo>
                      <a:lnTo>
                        <a:pt x="1406" y="672"/>
                      </a:lnTo>
                      <a:lnTo>
                        <a:pt x="1408" y="674"/>
                      </a:lnTo>
                      <a:lnTo>
                        <a:pt x="1423" y="681"/>
                      </a:lnTo>
                      <a:lnTo>
                        <a:pt x="1423" y="683"/>
                      </a:lnTo>
                      <a:lnTo>
                        <a:pt x="1429" y="689"/>
                      </a:lnTo>
                      <a:lnTo>
                        <a:pt x="1429" y="691"/>
                      </a:lnTo>
                      <a:lnTo>
                        <a:pt x="1429" y="696"/>
                      </a:lnTo>
                      <a:lnTo>
                        <a:pt x="1429" y="700"/>
                      </a:lnTo>
                      <a:lnTo>
                        <a:pt x="1440" y="700"/>
                      </a:lnTo>
                      <a:lnTo>
                        <a:pt x="1435" y="719"/>
                      </a:lnTo>
                      <a:lnTo>
                        <a:pt x="1416" y="713"/>
                      </a:lnTo>
                      <a:lnTo>
                        <a:pt x="1403" y="707"/>
                      </a:lnTo>
                      <a:lnTo>
                        <a:pt x="1390" y="706"/>
                      </a:lnTo>
                      <a:lnTo>
                        <a:pt x="1386" y="702"/>
                      </a:lnTo>
                      <a:lnTo>
                        <a:pt x="1376" y="700"/>
                      </a:lnTo>
                      <a:lnTo>
                        <a:pt x="1361" y="711"/>
                      </a:lnTo>
                      <a:lnTo>
                        <a:pt x="1367" y="728"/>
                      </a:lnTo>
                      <a:lnTo>
                        <a:pt x="1369" y="728"/>
                      </a:lnTo>
                      <a:lnTo>
                        <a:pt x="1363" y="734"/>
                      </a:lnTo>
                      <a:lnTo>
                        <a:pt x="1341" y="734"/>
                      </a:lnTo>
                      <a:lnTo>
                        <a:pt x="1339" y="741"/>
                      </a:lnTo>
                      <a:lnTo>
                        <a:pt x="1326" y="756"/>
                      </a:lnTo>
                      <a:lnTo>
                        <a:pt x="1331" y="770"/>
                      </a:lnTo>
                      <a:lnTo>
                        <a:pt x="1322" y="775"/>
                      </a:lnTo>
                      <a:lnTo>
                        <a:pt x="1322" y="779"/>
                      </a:lnTo>
                      <a:lnTo>
                        <a:pt x="1327" y="785"/>
                      </a:lnTo>
                      <a:lnTo>
                        <a:pt x="1327" y="794"/>
                      </a:lnTo>
                      <a:lnTo>
                        <a:pt x="1318" y="805"/>
                      </a:lnTo>
                      <a:lnTo>
                        <a:pt x="1311" y="815"/>
                      </a:lnTo>
                      <a:lnTo>
                        <a:pt x="1307" y="828"/>
                      </a:lnTo>
                      <a:lnTo>
                        <a:pt x="1303" y="832"/>
                      </a:lnTo>
                      <a:lnTo>
                        <a:pt x="1301" y="836"/>
                      </a:lnTo>
                      <a:lnTo>
                        <a:pt x="1297" y="839"/>
                      </a:lnTo>
                      <a:lnTo>
                        <a:pt x="1297" y="841"/>
                      </a:lnTo>
                      <a:lnTo>
                        <a:pt x="1295" y="841"/>
                      </a:lnTo>
                      <a:lnTo>
                        <a:pt x="1294" y="847"/>
                      </a:lnTo>
                      <a:lnTo>
                        <a:pt x="1292" y="852"/>
                      </a:lnTo>
                      <a:lnTo>
                        <a:pt x="1284" y="866"/>
                      </a:lnTo>
                      <a:lnTo>
                        <a:pt x="1280" y="866"/>
                      </a:lnTo>
                      <a:lnTo>
                        <a:pt x="1280" y="871"/>
                      </a:lnTo>
                      <a:lnTo>
                        <a:pt x="1271" y="871"/>
                      </a:lnTo>
                      <a:lnTo>
                        <a:pt x="1271" y="883"/>
                      </a:lnTo>
                      <a:lnTo>
                        <a:pt x="1271" y="888"/>
                      </a:lnTo>
                      <a:lnTo>
                        <a:pt x="1271" y="892"/>
                      </a:lnTo>
                      <a:lnTo>
                        <a:pt x="1284" y="900"/>
                      </a:lnTo>
                      <a:lnTo>
                        <a:pt x="1280" y="900"/>
                      </a:lnTo>
                      <a:lnTo>
                        <a:pt x="1284" y="900"/>
                      </a:lnTo>
                      <a:lnTo>
                        <a:pt x="1295" y="900"/>
                      </a:lnTo>
                      <a:lnTo>
                        <a:pt x="1322" y="903"/>
                      </a:lnTo>
                      <a:lnTo>
                        <a:pt x="1331" y="901"/>
                      </a:lnTo>
                      <a:lnTo>
                        <a:pt x="1343" y="898"/>
                      </a:lnTo>
                      <a:lnTo>
                        <a:pt x="1356" y="894"/>
                      </a:lnTo>
                      <a:lnTo>
                        <a:pt x="1367" y="894"/>
                      </a:lnTo>
                      <a:lnTo>
                        <a:pt x="1373" y="890"/>
                      </a:lnTo>
                      <a:lnTo>
                        <a:pt x="1388" y="890"/>
                      </a:lnTo>
                      <a:lnTo>
                        <a:pt x="1414" y="890"/>
                      </a:lnTo>
                      <a:lnTo>
                        <a:pt x="1420" y="896"/>
                      </a:lnTo>
                      <a:lnTo>
                        <a:pt x="1420" y="898"/>
                      </a:lnTo>
                      <a:lnTo>
                        <a:pt x="1431" y="913"/>
                      </a:lnTo>
                      <a:lnTo>
                        <a:pt x="1429" y="907"/>
                      </a:lnTo>
                      <a:lnTo>
                        <a:pt x="1435" y="907"/>
                      </a:lnTo>
                      <a:lnTo>
                        <a:pt x="1438" y="907"/>
                      </a:lnTo>
                      <a:lnTo>
                        <a:pt x="1446" y="907"/>
                      </a:lnTo>
                      <a:lnTo>
                        <a:pt x="1457" y="909"/>
                      </a:lnTo>
                      <a:lnTo>
                        <a:pt x="1465" y="907"/>
                      </a:lnTo>
                      <a:lnTo>
                        <a:pt x="1467" y="909"/>
                      </a:lnTo>
                      <a:lnTo>
                        <a:pt x="1469" y="913"/>
                      </a:lnTo>
                      <a:lnTo>
                        <a:pt x="1470" y="913"/>
                      </a:lnTo>
                      <a:lnTo>
                        <a:pt x="1476" y="916"/>
                      </a:lnTo>
                      <a:lnTo>
                        <a:pt x="1478" y="916"/>
                      </a:lnTo>
                      <a:lnTo>
                        <a:pt x="1485" y="920"/>
                      </a:lnTo>
                      <a:lnTo>
                        <a:pt x="1493" y="924"/>
                      </a:lnTo>
                      <a:lnTo>
                        <a:pt x="1493" y="926"/>
                      </a:lnTo>
                      <a:lnTo>
                        <a:pt x="1491" y="933"/>
                      </a:lnTo>
                      <a:lnTo>
                        <a:pt x="1491" y="947"/>
                      </a:lnTo>
                      <a:lnTo>
                        <a:pt x="1497" y="947"/>
                      </a:lnTo>
                      <a:lnTo>
                        <a:pt x="1497" y="952"/>
                      </a:lnTo>
                      <a:lnTo>
                        <a:pt x="1510" y="964"/>
                      </a:lnTo>
                      <a:lnTo>
                        <a:pt x="1510" y="973"/>
                      </a:lnTo>
                      <a:lnTo>
                        <a:pt x="1510" y="977"/>
                      </a:lnTo>
                      <a:lnTo>
                        <a:pt x="1504" y="977"/>
                      </a:lnTo>
                      <a:lnTo>
                        <a:pt x="1499" y="977"/>
                      </a:lnTo>
                      <a:lnTo>
                        <a:pt x="1487" y="977"/>
                      </a:lnTo>
                      <a:lnTo>
                        <a:pt x="1480" y="971"/>
                      </a:lnTo>
                      <a:lnTo>
                        <a:pt x="1480" y="979"/>
                      </a:lnTo>
                      <a:lnTo>
                        <a:pt x="1476" y="980"/>
                      </a:lnTo>
                      <a:lnTo>
                        <a:pt x="1476" y="986"/>
                      </a:lnTo>
                      <a:lnTo>
                        <a:pt x="1472" y="988"/>
                      </a:lnTo>
                      <a:lnTo>
                        <a:pt x="1459" y="992"/>
                      </a:lnTo>
                      <a:lnTo>
                        <a:pt x="1453" y="992"/>
                      </a:lnTo>
                      <a:lnTo>
                        <a:pt x="1452" y="992"/>
                      </a:lnTo>
                      <a:lnTo>
                        <a:pt x="1450" y="999"/>
                      </a:lnTo>
                      <a:lnTo>
                        <a:pt x="1448" y="1003"/>
                      </a:lnTo>
                      <a:lnTo>
                        <a:pt x="1448" y="1005"/>
                      </a:lnTo>
                      <a:lnTo>
                        <a:pt x="1444" y="1009"/>
                      </a:lnTo>
                      <a:lnTo>
                        <a:pt x="1438" y="1014"/>
                      </a:lnTo>
                      <a:lnTo>
                        <a:pt x="1444" y="1014"/>
                      </a:lnTo>
                      <a:lnTo>
                        <a:pt x="1448" y="1016"/>
                      </a:lnTo>
                      <a:lnTo>
                        <a:pt x="1453" y="1018"/>
                      </a:lnTo>
                      <a:lnTo>
                        <a:pt x="1457" y="1020"/>
                      </a:lnTo>
                      <a:lnTo>
                        <a:pt x="1463" y="1020"/>
                      </a:lnTo>
                      <a:lnTo>
                        <a:pt x="1463" y="1014"/>
                      </a:lnTo>
                      <a:lnTo>
                        <a:pt x="1470" y="1012"/>
                      </a:lnTo>
                      <a:lnTo>
                        <a:pt x="1470" y="1011"/>
                      </a:lnTo>
                      <a:lnTo>
                        <a:pt x="1482" y="1014"/>
                      </a:lnTo>
                      <a:lnTo>
                        <a:pt x="1480" y="1016"/>
                      </a:lnTo>
                      <a:lnTo>
                        <a:pt x="1482" y="1026"/>
                      </a:lnTo>
                      <a:lnTo>
                        <a:pt x="1493" y="1028"/>
                      </a:lnTo>
                      <a:lnTo>
                        <a:pt x="1497" y="1029"/>
                      </a:lnTo>
                      <a:lnTo>
                        <a:pt x="1517" y="1037"/>
                      </a:lnTo>
                      <a:lnTo>
                        <a:pt x="1516" y="1037"/>
                      </a:lnTo>
                      <a:lnTo>
                        <a:pt x="1516" y="1039"/>
                      </a:lnTo>
                      <a:lnTo>
                        <a:pt x="1516" y="1041"/>
                      </a:lnTo>
                      <a:lnTo>
                        <a:pt x="1514" y="1041"/>
                      </a:lnTo>
                      <a:lnTo>
                        <a:pt x="1514" y="1043"/>
                      </a:lnTo>
                      <a:lnTo>
                        <a:pt x="1512" y="1043"/>
                      </a:lnTo>
                      <a:lnTo>
                        <a:pt x="1510" y="1043"/>
                      </a:lnTo>
                      <a:lnTo>
                        <a:pt x="1508" y="1043"/>
                      </a:lnTo>
                      <a:lnTo>
                        <a:pt x="1508" y="1044"/>
                      </a:lnTo>
                      <a:lnTo>
                        <a:pt x="1506" y="1044"/>
                      </a:lnTo>
                      <a:lnTo>
                        <a:pt x="1506" y="1043"/>
                      </a:lnTo>
                      <a:lnTo>
                        <a:pt x="1506" y="1044"/>
                      </a:lnTo>
                      <a:lnTo>
                        <a:pt x="1504" y="1044"/>
                      </a:lnTo>
                      <a:lnTo>
                        <a:pt x="1504" y="1046"/>
                      </a:lnTo>
                      <a:lnTo>
                        <a:pt x="1504" y="1048"/>
                      </a:lnTo>
                      <a:lnTo>
                        <a:pt x="1506" y="1048"/>
                      </a:lnTo>
                      <a:lnTo>
                        <a:pt x="1506" y="1050"/>
                      </a:lnTo>
                      <a:lnTo>
                        <a:pt x="1504" y="1050"/>
                      </a:lnTo>
                      <a:lnTo>
                        <a:pt x="1502" y="1050"/>
                      </a:lnTo>
                      <a:lnTo>
                        <a:pt x="1501" y="1052"/>
                      </a:lnTo>
                      <a:lnTo>
                        <a:pt x="1502" y="1052"/>
                      </a:lnTo>
                      <a:lnTo>
                        <a:pt x="1502" y="1054"/>
                      </a:lnTo>
                      <a:lnTo>
                        <a:pt x="1502" y="1056"/>
                      </a:lnTo>
                      <a:lnTo>
                        <a:pt x="1502" y="1058"/>
                      </a:lnTo>
                      <a:lnTo>
                        <a:pt x="1501" y="1058"/>
                      </a:lnTo>
                      <a:lnTo>
                        <a:pt x="1501" y="1060"/>
                      </a:lnTo>
                      <a:lnTo>
                        <a:pt x="1502" y="1060"/>
                      </a:lnTo>
                      <a:lnTo>
                        <a:pt x="1501" y="1060"/>
                      </a:lnTo>
                      <a:lnTo>
                        <a:pt x="1501" y="1061"/>
                      </a:lnTo>
                      <a:lnTo>
                        <a:pt x="1501" y="1063"/>
                      </a:lnTo>
                      <a:lnTo>
                        <a:pt x="1501" y="1065"/>
                      </a:lnTo>
                      <a:lnTo>
                        <a:pt x="1502" y="1065"/>
                      </a:lnTo>
                      <a:lnTo>
                        <a:pt x="1502" y="1067"/>
                      </a:lnTo>
                      <a:lnTo>
                        <a:pt x="1504" y="1067"/>
                      </a:lnTo>
                      <a:lnTo>
                        <a:pt x="1502" y="1067"/>
                      </a:lnTo>
                      <a:lnTo>
                        <a:pt x="1502" y="1069"/>
                      </a:lnTo>
                      <a:lnTo>
                        <a:pt x="1504" y="1069"/>
                      </a:lnTo>
                      <a:lnTo>
                        <a:pt x="1504" y="1071"/>
                      </a:lnTo>
                      <a:lnTo>
                        <a:pt x="1502" y="1071"/>
                      </a:lnTo>
                      <a:lnTo>
                        <a:pt x="1504" y="1071"/>
                      </a:lnTo>
                      <a:lnTo>
                        <a:pt x="1504" y="1073"/>
                      </a:lnTo>
                      <a:lnTo>
                        <a:pt x="1502" y="1073"/>
                      </a:lnTo>
                      <a:lnTo>
                        <a:pt x="1501" y="1073"/>
                      </a:lnTo>
                      <a:lnTo>
                        <a:pt x="1499" y="1073"/>
                      </a:lnTo>
                      <a:lnTo>
                        <a:pt x="1497" y="1073"/>
                      </a:lnTo>
                      <a:lnTo>
                        <a:pt x="1495" y="1073"/>
                      </a:lnTo>
                      <a:lnTo>
                        <a:pt x="1493" y="1073"/>
                      </a:lnTo>
                      <a:lnTo>
                        <a:pt x="1491" y="1073"/>
                      </a:lnTo>
                      <a:lnTo>
                        <a:pt x="1489" y="1073"/>
                      </a:lnTo>
                      <a:lnTo>
                        <a:pt x="1487" y="1073"/>
                      </a:lnTo>
                      <a:lnTo>
                        <a:pt x="1485" y="1073"/>
                      </a:lnTo>
                      <a:lnTo>
                        <a:pt x="1482" y="1073"/>
                      </a:lnTo>
                      <a:lnTo>
                        <a:pt x="1480" y="1073"/>
                      </a:lnTo>
                      <a:lnTo>
                        <a:pt x="1478" y="1075"/>
                      </a:lnTo>
                      <a:lnTo>
                        <a:pt x="1476" y="1075"/>
                      </a:lnTo>
                      <a:lnTo>
                        <a:pt x="1476" y="1076"/>
                      </a:lnTo>
                      <a:lnTo>
                        <a:pt x="1474" y="1076"/>
                      </a:lnTo>
                      <a:lnTo>
                        <a:pt x="1474" y="1078"/>
                      </a:lnTo>
                      <a:lnTo>
                        <a:pt x="1472" y="1078"/>
                      </a:lnTo>
                      <a:lnTo>
                        <a:pt x="1470" y="1078"/>
                      </a:lnTo>
                      <a:lnTo>
                        <a:pt x="1469" y="1078"/>
                      </a:lnTo>
                      <a:lnTo>
                        <a:pt x="1467" y="1078"/>
                      </a:lnTo>
                      <a:lnTo>
                        <a:pt x="1465" y="1078"/>
                      </a:lnTo>
                      <a:lnTo>
                        <a:pt x="1465" y="1080"/>
                      </a:lnTo>
                      <a:lnTo>
                        <a:pt x="1463" y="1078"/>
                      </a:lnTo>
                      <a:lnTo>
                        <a:pt x="1463" y="1080"/>
                      </a:lnTo>
                      <a:lnTo>
                        <a:pt x="1463" y="1078"/>
                      </a:lnTo>
                      <a:lnTo>
                        <a:pt x="1461" y="1078"/>
                      </a:lnTo>
                      <a:lnTo>
                        <a:pt x="1461" y="1080"/>
                      </a:lnTo>
                      <a:lnTo>
                        <a:pt x="1459" y="1080"/>
                      </a:lnTo>
                      <a:lnTo>
                        <a:pt x="1459" y="1078"/>
                      </a:lnTo>
                      <a:lnTo>
                        <a:pt x="1459" y="1080"/>
                      </a:lnTo>
                      <a:lnTo>
                        <a:pt x="1457" y="1080"/>
                      </a:lnTo>
                      <a:lnTo>
                        <a:pt x="1457" y="1078"/>
                      </a:lnTo>
                      <a:lnTo>
                        <a:pt x="1457" y="1080"/>
                      </a:lnTo>
                      <a:lnTo>
                        <a:pt x="1455" y="1080"/>
                      </a:lnTo>
                      <a:lnTo>
                        <a:pt x="1453" y="1080"/>
                      </a:lnTo>
                      <a:lnTo>
                        <a:pt x="1448" y="1082"/>
                      </a:lnTo>
                      <a:lnTo>
                        <a:pt x="1446" y="1084"/>
                      </a:lnTo>
                      <a:lnTo>
                        <a:pt x="1444" y="1084"/>
                      </a:lnTo>
                      <a:lnTo>
                        <a:pt x="1440" y="1088"/>
                      </a:lnTo>
                      <a:lnTo>
                        <a:pt x="1438" y="1090"/>
                      </a:lnTo>
                      <a:lnTo>
                        <a:pt x="1437" y="1090"/>
                      </a:lnTo>
                      <a:lnTo>
                        <a:pt x="1437" y="1092"/>
                      </a:lnTo>
                      <a:lnTo>
                        <a:pt x="1435" y="1093"/>
                      </a:lnTo>
                      <a:lnTo>
                        <a:pt x="1435" y="1095"/>
                      </a:lnTo>
                      <a:lnTo>
                        <a:pt x="1437" y="1095"/>
                      </a:lnTo>
                      <a:lnTo>
                        <a:pt x="1435" y="1095"/>
                      </a:lnTo>
                      <a:lnTo>
                        <a:pt x="1435" y="1097"/>
                      </a:lnTo>
                      <a:lnTo>
                        <a:pt x="1437" y="1097"/>
                      </a:lnTo>
                      <a:lnTo>
                        <a:pt x="1435" y="1097"/>
                      </a:lnTo>
                      <a:lnTo>
                        <a:pt x="1435" y="1099"/>
                      </a:lnTo>
                      <a:lnTo>
                        <a:pt x="1433" y="1103"/>
                      </a:lnTo>
                      <a:lnTo>
                        <a:pt x="1433" y="1105"/>
                      </a:lnTo>
                      <a:lnTo>
                        <a:pt x="1435" y="1108"/>
                      </a:lnTo>
                      <a:lnTo>
                        <a:pt x="1437" y="1108"/>
                      </a:lnTo>
                      <a:lnTo>
                        <a:pt x="1440" y="1110"/>
                      </a:lnTo>
                      <a:lnTo>
                        <a:pt x="1442" y="1110"/>
                      </a:lnTo>
                      <a:lnTo>
                        <a:pt x="1444" y="1112"/>
                      </a:lnTo>
                      <a:lnTo>
                        <a:pt x="1442" y="1112"/>
                      </a:lnTo>
                      <a:lnTo>
                        <a:pt x="1440" y="1112"/>
                      </a:lnTo>
                      <a:lnTo>
                        <a:pt x="1438" y="1112"/>
                      </a:lnTo>
                      <a:lnTo>
                        <a:pt x="1438" y="1110"/>
                      </a:lnTo>
                      <a:lnTo>
                        <a:pt x="1438" y="1112"/>
                      </a:lnTo>
                      <a:lnTo>
                        <a:pt x="1437" y="1112"/>
                      </a:lnTo>
                      <a:lnTo>
                        <a:pt x="1438" y="1112"/>
                      </a:lnTo>
                      <a:lnTo>
                        <a:pt x="1438" y="1110"/>
                      </a:lnTo>
                      <a:lnTo>
                        <a:pt x="1437" y="1110"/>
                      </a:lnTo>
                      <a:lnTo>
                        <a:pt x="1435" y="1110"/>
                      </a:lnTo>
                      <a:lnTo>
                        <a:pt x="1433" y="1110"/>
                      </a:lnTo>
                      <a:lnTo>
                        <a:pt x="1431" y="1110"/>
                      </a:lnTo>
                      <a:lnTo>
                        <a:pt x="1429" y="1110"/>
                      </a:lnTo>
                      <a:lnTo>
                        <a:pt x="1427" y="1110"/>
                      </a:lnTo>
                      <a:lnTo>
                        <a:pt x="1425" y="1110"/>
                      </a:lnTo>
                      <a:lnTo>
                        <a:pt x="1423" y="1110"/>
                      </a:lnTo>
                      <a:lnTo>
                        <a:pt x="1422" y="1110"/>
                      </a:lnTo>
                      <a:lnTo>
                        <a:pt x="1422" y="1108"/>
                      </a:lnTo>
                      <a:lnTo>
                        <a:pt x="1420" y="1108"/>
                      </a:lnTo>
                      <a:lnTo>
                        <a:pt x="1420" y="1110"/>
                      </a:lnTo>
                      <a:lnTo>
                        <a:pt x="1418" y="1110"/>
                      </a:lnTo>
                      <a:lnTo>
                        <a:pt x="1416" y="1110"/>
                      </a:lnTo>
                      <a:lnTo>
                        <a:pt x="1414" y="1110"/>
                      </a:lnTo>
                      <a:lnTo>
                        <a:pt x="1414" y="1108"/>
                      </a:lnTo>
                      <a:lnTo>
                        <a:pt x="1412" y="1108"/>
                      </a:lnTo>
                      <a:lnTo>
                        <a:pt x="1412" y="1110"/>
                      </a:lnTo>
                      <a:lnTo>
                        <a:pt x="1410" y="1110"/>
                      </a:lnTo>
                      <a:lnTo>
                        <a:pt x="1410" y="1108"/>
                      </a:lnTo>
                      <a:lnTo>
                        <a:pt x="1408" y="1108"/>
                      </a:lnTo>
                      <a:lnTo>
                        <a:pt x="1406" y="1108"/>
                      </a:lnTo>
                      <a:lnTo>
                        <a:pt x="1405" y="1107"/>
                      </a:lnTo>
                      <a:lnTo>
                        <a:pt x="1403" y="1107"/>
                      </a:lnTo>
                      <a:lnTo>
                        <a:pt x="1401" y="1107"/>
                      </a:lnTo>
                      <a:lnTo>
                        <a:pt x="1399" y="1107"/>
                      </a:lnTo>
                      <a:lnTo>
                        <a:pt x="1397" y="1107"/>
                      </a:lnTo>
                      <a:lnTo>
                        <a:pt x="1397" y="1105"/>
                      </a:lnTo>
                      <a:lnTo>
                        <a:pt x="1395" y="1105"/>
                      </a:lnTo>
                      <a:lnTo>
                        <a:pt x="1395" y="1107"/>
                      </a:lnTo>
                      <a:lnTo>
                        <a:pt x="1395" y="1105"/>
                      </a:lnTo>
                      <a:lnTo>
                        <a:pt x="1395" y="1107"/>
                      </a:lnTo>
                      <a:lnTo>
                        <a:pt x="1393" y="1107"/>
                      </a:lnTo>
                      <a:lnTo>
                        <a:pt x="1391" y="1107"/>
                      </a:lnTo>
                      <a:lnTo>
                        <a:pt x="1391" y="1105"/>
                      </a:lnTo>
                      <a:lnTo>
                        <a:pt x="1390" y="1105"/>
                      </a:lnTo>
                      <a:lnTo>
                        <a:pt x="1388" y="1105"/>
                      </a:lnTo>
                      <a:lnTo>
                        <a:pt x="1386" y="1105"/>
                      </a:lnTo>
                      <a:lnTo>
                        <a:pt x="1384" y="1105"/>
                      </a:lnTo>
                      <a:lnTo>
                        <a:pt x="1382" y="1105"/>
                      </a:lnTo>
                      <a:lnTo>
                        <a:pt x="1380" y="1105"/>
                      </a:lnTo>
                      <a:lnTo>
                        <a:pt x="1378" y="1105"/>
                      </a:lnTo>
                      <a:lnTo>
                        <a:pt x="1376" y="1105"/>
                      </a:lnTo>
                      <a:lnTo>
                        <a:pt x="1374" y="1105"/>
                      </a:lnTo>
                      <a:lnTo>
                        <a:pt x="1373" y="1105"/>
                      </a:lnTo>
                      <a:lnTo>
                        <a:pt x="1373" y="1103"/>
                      </a:lnTo>
                      <a:lnTo>
                        <a:pt x="1371" y="1103"/>
                      </a:lnTo>
                      <a:lnTo>
                        <a:pt x="1369" y="1103"/>
                      </a:lnTo>
                      <a:lnTo>
                        <a:pt x="1367" y="1103"/>
                      </a:lnTo>
                      <a:lnTo>
                        <a:pt x="1365" y="1103"/>
                      </a:lnTo>
                      <a:lnTo>
                        <a:pt x="1363" y="1103"/>
                      </a:lnTo>
                      <a:lnTo>
                        <a:pt x="1361" y="1103"/>
                      </a:lnTo>
                      <a:lnTo>
                        <a:pt x="1361" y="1105"/>
                      </a:lnTo>
                      <a:lnTo>
                        <a:pt x="1359" y="1105"/>
                      </a:lnTo>
                      <a:lnTo>
                        <a:pt x="1361" y="1105"/>
                      </a:lnTo>
                      <a:lnTo>
                        <a:pt x="1359" y="1105"/>
                      </a:lnTo>
                      <a:lnTo>
                        <a:pt x="1358" y="1105"/>
                      </a:lnTo>
                      <a:lnTo>
                        <a:pt x="1356" y="1105"/>
                      </a:lnTo>
                      <a:lnTo>
                        <a:pt x="1354" y="1103"/>
                      </a:lnTo>
                      <a:lnTo>
                        <a:pt x="1354" y="1105"/>
                      </a:lnTo>
                      <a:lnTo>
                        <a:pt x="1352" y="1105"/>
                      </a:lnTo>
                      <a:lnTo>
                        <a:pt x="1350" y="1105"/>
                      </a:lnTo>
                      <a:lnTo>
                        <a:pt x="1350" y="1103"/>
                      </a:lnTo>
                      <a:lnTo>
                        <a:pt x="1348" y="1103"/>
                      </a:lnTo>
                      <a:lnTo>
                        <a:pt x="1346" y="1103"/>
                      </a:lnTo>
                      <a:lnTo>
                        <a:pt x="1346" y="1101"/>
                      </a:lnTo>
                      <a:lnTo>
                        <a:pt x="1344" y="1101"/>
                      </a:lnTo>
                      <a:lnTo>
                        <a:pt x="1343" y="1101"/>
                      </a:lnTo>
                      <a:lnTo>
                        <a:pt x="1341" y="1101"/>
                      </a:lnTo>
                      <a:lnTo>
                        <a:pt x="1339" y="1101"/>
                      </a:lnTo>
                      <a:lnTo>
                        <a:pt x="1335" y="1101"/>
                      </a:lnTo>
                      <a:lnTo>
                        <a:pt x="1333" y="1103"/>
                      </a:lnTo>
                      <a:lnTo>
                        <a:pt x="1333" y="1105"/>
                      </a:lnTo>
                      <a:lnTo>
                        <a:pt x="1331" y="1105"/>
                      </a:lnTo>
                      <a:lnTo>
                        <a:pt x="1333" y="1105"/>
                      </a:lnTo>
                      <a:lnTo>
                        <a:pt x="1333" y="1107"/>
                      </a:lnTo>
                      <a:lnTo>
                        <a:pt x="1331" y="1107"/>
                      </a:lnTo>
                      <a:lnTo>
                        <a:pt x="1331" y="1105"/>
                      </a:lnTo>
                      <a:lnTo>
                        <a:pt x="1329" y="1105"/>
                      </a:lnTo>
                      <a:lnTo>
                        <a:pt x="1327" y="1105"/>
                      </a:lnTo>
                      <a:lnTo>
                        <a:pt x="1327" y="1103"/>
                      </a:lnTo>
                      <a:lnTo>
                        <a:pt x="1326" y="1103"/>
                      </a:lnTo>
                      <a:lnTo>
                        <a:pt x="1322" y="1101"/>
                      </a:lnTo>
                      <a:lnTo>
                        <a:pt x="1320" y="1099"/>
                      </a:lnTo>
                      <a:lnTo>
                        <a:pt x="1316" y="1099"/>
                      </a:lnTo>
                      <a:lnTo>
                        <a:pt x="1314" y="1097"/>
                      </a:lnTo>
                      <a:lnTo>
                        <a:pt x="1312" y="1097"/>
                      </a:lnTo>
                      <a:lnTo>
                        <a:pt x="1311" y="1097"/>
                      </a:lnTo>
                      <a:lnTo>
                        <a:pt x="1311" y="1095"/>
                      </a:lnTo>
                      <a:lnTo>
                        <a:pt x="1309" y="1095"/>
                      </a:lnTo>
                      <a:lnTo>
                        <a:pt x="1307" y="1095"/>
                      </a:lnTo>
                      <a:lnTo>
                        <a:pt x="1305" y="1095"/>
                      </a:lnTo>
                      <a:lnTo>
                        <a:pt x="1297" y="1093"/>
                      </a:lnTo>
                      <a:lnTo>
                        <a:pt x="1292" y="1092"/>
                      </a:lnTo>
                      <a:lnTo>
                        <a:pt x="1292" y="1090"/>
                      </a:lnTo>
                      <a:lnTo>
                        <a:pt x="1288" y="1090"/>
                      </a:lnTo>
                      <a:lnTo>
                        <a:pt x="1286" y="1088"/>
                      </a:lnTo>
                      <a:lnTo>
                        <a:pt x="1282" y="1088"/>
                      </a:lnTo>
                      <a:lnTo>
                        <a:pt x="1280" y="1086"/>
                      </a:lnTo>
                      <a:lnTo>
                        <a:pt x="1280" y="1088"/>
                      </a:lnTo>
                      <a:lnTo>
                        <a:pt x="1279" y="1088"/>
                      </a:lnTo>
                      <a:lnTo>
                        <a:pt x="1279" y="1090"/>
                      </a:lnTo>
                      <a:lnTo>
                        <a:pt x="1273" y="1088"/>
                      </a:lnTo>
                      <a:lnTo>
                        <a:pt x="1267" y="1086"/>
                      </a:lnTo>
                      <a:lnTo>
                        <a:pt x="1260" y="1084"/>
                      </a:lnTo>
                      <a:lnTo>
                        <a:pt x="1254" y="1080"/>
                      </a:lnTo>
                      <a:lnTo>
                        <a:pt x="1247" y="1080"/>
                      </a:lnTo>
                      <a:lnTo>
                        <a:pt x="1243" y="1078"/>
                      </a:lnTo>
                      <a:lnTo>
                        <a:pt x="1233" y="1078"/>
                      </a:lnTo>
                      <a:lnTo>
                        <a:pt x="1233" y="1076"/>
                      </a:lnTo>
                      <a:lnTo>
                        <a:pt x="1233" y="1078"/>
                      </a:lnTo>
                      <a:lnTo>
                        <a:pt x="1232" y="1076"/>
                      </a:lnTo>
                      <a:lnTo>
                        <a:pt x="1228" y="1076"/>
                      </a:lnTo>
                      <a:lnTo>
                        <a:pt x="1226" y="1076"/>
                      </a:lnTo>
                      <a:lnTo>
                        <a:pt x="1226" y="1078"/>
                      </a:lnTo>
                      <a:lnTo>
                        <a:pt x="1224" y="1080"/>
                      </a:lnTo>
                      <a:lnTo>
                        <a:pt x="1222" y="1080"/>
                      </a:lnTo>
                      <a:lnTo>
                        <a:pt x="1224" y="1080"/>
                      </a:lnTo>
                      <a:lnTo>
                        <a:pt x="1222" y="1082"/>
                      </a:lnTo>
                      <a:lnTo>
                        <a:pt x="1222" y="1084"/>
                      </a:lnTo>
                      <a:lnTo>
                        <a:pt x="1220" y="1084"/>
                      </a:lnTo>
                      <a:lnTo>
                        <a:pt x="1218" y="1084"/>
                      </a:lnTo>
                      <a:lnTo>
                        <a:pt x="1218" y="1086"/>
                      </a:lnTo>
                      <a:lnTo>
                        <a:pt x="1216" y="1086"/>
                      </a:lnTo>
                      <a:lnTo>
                        <a:pt x="1215" y="1086"/>
                      </a:lnTo>
                      <a:lnTo>
                        <a:pt x="1215" y="1088"/>
                      </a:lnTo>
                      <a:lnTo>
                        <a:pt x="1213" y="1088"/>
                      </a:lnTo>
                      <a:lnTo>
                        <a:pt x="1213" y="1090"/>
                      </a:lnTo>
                      <a:lnTo>
                        <a:pt x="1211" y="1090"/>
                      </a:lnTo>
                      <a:lnTo>
                        <a:pt x="1211" y="1092"/>
                      </a:lnTo>
                      <a:lnTo>
                        <a:pt x="1209" y="1092"/>
                      </a:lnTo>
                      <a:lnTo>
                        <a:pt x="1207" y="1092"/>
                      </a:lnTo>
                      <a:lnTo>
                        <a:pt x="1207" y="1093"/>
                      </a:lnTo>
                      <a:lnTo>
                        <a:pt x="1205" y="1093"/>
                      </a:lnTo>
                      <a:lnTo>
                        <a:pt x="1203" y="1093"/>
                      </a:lnTo>
                      <a:lnTo>
                        <a:pt x="1201" y="1093"/>
                      </a:lnTo>
                      <a:lnTo>
                        <a:pt x="1200" y="1093"/>
                      </a:lnTo>
                      <a:lnTo>
                        <a:pt x="1200" y="1095"/>
                      </a:lnTo>
                      <a:lnTo>
                        <a:pt x="1198" y="1095"/>
                      </a:lnTo>
                      <a:lnTo>
                        <a:pt x="1196" y="1095"/>
                      </a:lnTo>
                      <a:lnTo>
                        <a:pt x="1196" y="1097"/>
                      </a:lnTo>
                      <a:lnTo>
                        <a:pt x="1194" y="1095"/>
                      </a:lnTo>
                      <a:lnTo>
                        <a:pt x="1194" y="1097"/>
                      </a:lnTo>
                      <a:lnTo>
                        <a:pt x="1192" y="1097"/>
                      </a:lnTo>
                      <a:lnTo>
                        <a:pt x="1192" y="1095"/>
                      </a:lnTo>
                      <a:lnTo>
                        <a:pt x="1192" y="1097"/>
                      </a:lnTo>
                      <a:lnTo>
                        <a:pt x="1190" y="1097"/>
                      </a:lnTo>
                      <a:lnTo>
                        <a:pt x="1188" y="1095"/>
                      </a:lnTo>
                      <a:lnTo>
                        <a:pt x="1186" y="1095"/>
                      </a:lnTo>
                      <a:lnTo>
                        <a:pt x="1185" y="1095"/>
                      </a:lnTo>
                      <a:lnTo>
                        <a:pt x="1183" y="1095"/>
                      </a:lnTo>
                      <a:lnTo>
                        <a:pt x="1181" y="1097"/>
                      </a:lnTo>
                      <a:lnTo>
                        <a:pt x="1179" y="1097"/>
                      </a:lnTo>
                      <a:lnTo>
                        <a:pt x="1177" y="1097"/>
                      </a:lnTo>
                      <a:lnTo>
                        <a:pt x="1175" y="1097"/>
                      </a:lnTo>
                      <a:lnTo>
                        <a:pt x="1175" y="1095"/>
                      </a:lnTo>
                      <a:lnTo>
                        <a:pt x="1173" y="1095"/>
                      </a:lnTo>
                      <a:lnTo>
                        <a:pt x="1171" y="1095"/>
                      </a:lnTo>
                      <a:lnTo>
                        <a:pt x="1169" y="1095"/>
                      </a:lnTo>
                      <a:lnTo>
                        <a:pt x="1168" y="1095"/>
                      </a:lnTo>
                      <a:lnTo>
                        <a:pt x="1162" y="1093"/>
                      </a:lnTo>
                      <a:lnTo>
                        <a:pt x="1153" y="1095"/>
                      </a:lnTo>
                      <a:lnTo>
                        <a:pt x="1151" y="1095"/>
                      </a:lnTo>
                      <a:lnTo>
                        <a:pt x="1147" y="1095"/>
                      </a:lnTo>
                      <a:lnTo>
                        <a:pt x="1145" y="1095"/>
                      </a:lnTo>
                      <a:lnTo>
                        <a:pt x="1139" y="1097"/>
                      </a:lnTo>
                      <a:lnTo>
                        <a:pt x="1134" y="1099"/>
                      </a:lnTo>
                      <a:lnTo>
                        <a:pt x="1124" y="1105"/>
                      </a:lnTo>
                      <a:lnTo>
                        <a:pt x="1122" y="1107"/>
                      </a:lnTo>
                      <a:lnTo>
                        <a:pt x="1121" y="1107"/>
                      </a:lnTo>
                      <a:lnTo>
                        <a:pt x="1121" y="1108"/>
                      </a:lnTo>
                      <a:lnTo>
                        <a:pt x="1119" y="1110"/>
                      </a:lnTo>
                      <a:lnTo>
                        <a:pt x="1115" y="1114"/>
                      </a:lnTo>
                      <a:lnTo>
                        <a:pt x="1111" y="1122"/>
                      </a:lnTo>
                      <a:lnTo>
                        <a:pt x="1111" y="1124"/>
                      </a:lnTo>
                      <a:lnTo>
                        <a:pt x="1111" y="1127"/>
                      </a:lnTo>
                      <a:lnTo>
                        <a:pt x="1111" y="1129"/>
                      </a:lnTo>
                      <a:lnTo>
                        <a:pt x="1113" y="1129"/>
                      </a:lnTo>
                      <a:lnTo>
                        <a:pt x="1115" y="1129"/>
                      </a:lnTo>
                      <a:lnTo>
                        <a:pt x="1115" y="1131"/>
                      </a:lnTo>
                      <a:lnTo>
                        <a:pt x="1117" y="1131"/>
                      </a:lnTo>
                      <a:lnTo>
                        <a:pt x="1119" y="1133"/>
                      </a:lnTo>
                      <a:lnTo>
                        <a:pt x="1121" y="1133"/>
                      </a:lnTo>
                      <a:lnTo>
                        <a:pt x="1121" y="1135"/>
                      </a:lnTo>
                      <a:lnTo>
                        <a:pt x="1121" y="1133"/>
                      </a:lnTo>
                      <a:lnTo>
                        <a:pt x="1121" y="1135"/>
                      </a:lnTo>
                      <a:lnTo>
                        <a:pt x="1121" y="1133"/>
                      </a:lnTo>
                      <a:lnTo>
                        <a:pt x="1122" y="1133"/>
                      </a:lnTo>
                      <a:lnTo>
                        <a:pt x="1122" y="1135"/>
                      </a:lnTo>
                      <a:lnTo>
                        <a:pt x="1124" y="1135"/>
                      </a:lnTo>
                      <a:lnTo>
                        <a:pt x="1124" y="1137"/>
                      </a:lnTo>
                      <a:lnTo>
                        <a:pt x="1122" y="1137"/>
                      </a:lnTo>
                      <a:lnTo>
                        <a:pt x="1122" y="1139"/>
                      </a:lnTo>
                      <a:lnTo>
                        <a:pt x="1121" y="1139"/>
                      </a:lnTo>
                      <a:lnTo>
                        <a:pt x="1119" y="1139"/>
                      </a:lnTo>
                      <a:lnTo>
                        <a:pt x="1117" y="1139"/>
                      </a:lnTo>
                      <a:lnTo>
                        <a:pt x="1117" y="1140"/>
                      </a:lnTo>
                      <a:lnTo>
                        <a:pt x="1115" y="1140"/>
                      </a:lnTo>
                      <a:lnTo>
                        <a:pt x="1113" y="1140"/>
                      </a:lnTo>
                      <a:lnTo>
                        <a:pt x="1111" y="1140"/>
                      </a:lnTo>
                      <a:lnTo>
                        <a:pt x="1109" y="1140"/>
                      </a:lnTo>
                      <a:lnTo>
                        <a:pt x="1109" y="1142"/>
                      </a:lnTo>
                      <a:lnTo>
                        <a:pt x="1109" y="1140"/>
                      </a:lnTo>
                      <a:lnTo>
                        <a:pt x="1107" y="1140"/>
                      </a:lnTo>
                      <a:lnTo>
                        <a:pt x="1107" y="1142"/>
                      </a:lnTo>
                      <a:lnTo>
                        <a:pt x="1106" y="1142"/>
                      </a:lnTo>
                      <a:lnTo>
                        <a:pt x="1104" y="1142"/>
                      </a:lnTo>
                      <a:lnTo>
                        <a:pt x="1102" y="1142"/>
                      </a:lnTo>
                      <a:lnTo>
                        <a:pt x="1100" y="1142"/>
                      </a:lnTo>
                      <a:lnTo>
                        <a:pt x="1098" y="1142"/>
                      </a:lnTo>
                      <a:lnTo>
                        <a:pt x="1094" y="1142"/>
                      </a:lnTo>
                      <a:lnTo>
                        <a:pt x="1087" y="1142"/>
                      </a:lnTo>
                      <a:lnTo>
                        <a:pt x="1085" y="1144"/>
                      </a:lnTo>
                      <a:lnTo>
                        <a:pt x="1083" y="1144"/>
                      </a:lnTo>
                      <a:lnTo>
                        <a:pt x="1079" y="1146"/>
                      </a:lnTo>
                      <a:lnTo>
                        <a:pt x="1074" y="1148"/>
                      </a:lnTo>
                      <a:lnTo>
                        <a:pt x="1072" y="1150"/>
                      </a:lnTo>
                      <a:lnTo>
                        <a:pt x="1068" y="1152"/>
                      </a:lnTo>
                      <a:lnTo>
                        <a:pt x="1064" y="1156"/>
                      </a:lnTo>
                      <a:lnTo>
                        <a:pt x="1062" y="1159"/>
                      </a:lnTo>
                      <a:lnTo>
                        <a:pt x="1060" y="1161"/>
                      </a:lnTo>
                      <a:lnTo>
                        <a:pt x="1060" y="1163"/>
                      </a:lnTo>
                      <a:lnTo>
                        <a:pt x="1060" y="1165"/>
                      </a:lnTo>
                      <a:lnTo>
                        <a:pt x="1060" y="1167"/>
                      </a:lnTo>
                      <a:lnTo>
                        <a:pt x="1060" y="1169"/>
                      </a:lnTo>
                      <a:lnTo>
                        <a:pt x="1062" y="1169"/>
                      </a:lnTo>
                      <a:lnTo>
                        <a:pt x="1064" y="1169"/>
                      </a:lnTo>
                      <a:lnTo>
                        <a:pt x="1066" y="1169"/>
                      </a:lnTo>
                      <a:lnTo>
                        <a:pt x="1068" y="1171"/>
                      </a:lnTo>
                      <a:lnTo>
                        <a:pt x="1066" y="1171"/>
                      </a:lnTo>
                      <a:lnTo>
                        <a:pt x="1068" y="1171"/>
                      </a:lnTo>
                      <a:lnTo>
                        <a:pt x="1070" y="1171"/>
                      </a:lnTo>
                      <a:lnTo>
                        <a:pt x="1068" y="1173"/>
                      </a:lnTo>
                      <a:lnTo>
                        <a:pt x="1068" y="1171"/>
                      </a:lnTo>
                      <a:lnTo>
                        <a:pt x="1068" y="1173"/>
                      </a:lnTo>
                      <a:lnTo>
                        <a:pt x="1066" y="1173"/>
                      </a:lnTo>
                      <a:lnTo>
                        <a:pt x="1064" y="1173"/>
                      </a:lnTo>
                      <a:lnTo>
                        <a:pt x="1062" y="1174"/>
                      </a:lnTo>
                      <a:lnTo>
                        <a:pt x="1060" y="1176"/>
                      </a:lnTo>
                      <a:lnTo>
                        <a:pt x="1058" y="1178"/>
                      </a:lnTo>
                      <a:lnTo>
                        <a:pt x="1058" y="1180"/>
                      </a:lnTo>
                      <a:lnTo>
                        <a:pt x="1058" y="1182"/>
                      </a:lnTo>
                      <a:lnTo>
                        <a:pt x="1060" y="1182"/>
                      </a:lnTo>
                      <a:lnTo>
                        <a:pt x="1060" y="1184"/>
                      </a:lnTo>
                      <a:lnTo>
                        <a:pt x="1058" y="1184"/>
                      </a:lnTo>
                      <a:lnTo>
                        <a:pt x="1058" y="1186"/>
                      </a:lnTo>
                      <a:lnTo>
                        <a:pt x="1057" y="1186"/>
                      </a:lnTo>
                      <a:lnTo>
                        <a:pt x="1057" y="1184"/>
                      </a:lnTo>
                      <a:lnTo>
                        <a:pt x="1055" y="1186"/>
                      </a:lnTo>
                      <a:lnTo>
                        <a:pt x="1055" y="1184"/>
                      </a:lnTo>
                      <a:lnTo>
                        <a:pt x="1055" y="1186"/>
                      </a:lnTo>
                      <a:lnTo>
                        <a:pt x="1053" y="1186"/>
                      </a:lnTo>
                      <a:lnTo>
                        <a:pt x="1053" y="1188"/>
                      </a:lnTo>
                      <a:lnTo>
                        <a:pt x="1051" y="1189"/>
                      </a:lnTo>
                      <a:lnTo>
                        <a:pt x="1051" y="1191"/>
                      </a:lnTo>
                      <a:lnTo>
                        <a:pt x="1049" y="1191"/>
                      </a:lnTo>
                      <a:lnTo>
                        <a:pt x="1047" y="1191"/>
                      </a:lnTo>
                      <a:lnTo>
                        <a:pt x="1045" y="1191"/>
                      </a:lnTo>
                      <a:lnTo>
                        <a:pt x="1045" y="1193"/>
                      </a:lnTo>
                      <a:lnTo>
                        <a:pt x="1043" y="1193"/>
                      </a:lnTo>
                      <a:lnTo>
                        <a:pt x="1042" y="1193"/>
                      </a:lnTo>
                      <a:lnTo>
                        <a:pt x="1042" y="1195"/>
                      </a:lnTo>
                      <a:lnTo>
                        <a:pt x="1040" y="1195"/>
                      </a:lnTo>
                      <a:lnTo>
                        <a:pt x="1038" y="1195"/>
                      </a:lnTo>
                      <a:lnTo>
                        <a:pt x="1036" y="1195"/>
                      </a:lnTo>
                      <a:lnTo>
                        <a:pt x="1034" y="1195"/>
                      </a:lnTo>
                      <a:lnTo>
                        <a:pt x="1034" y="1197"/>
                      </a:lnTo>
                      <a:lnTo>
                        <a:pt x="1032" y="1197"/>
                      </a:lnTo>
                      <a:lnTo>
                        <a:pt x="1030" y="1197"/>
                      </a:lnTo>
                      <a:lnTo>
                        <a:pt x="1028" y="1197"/>
                      </a:lnTo>
                      <a:lnTo>
                        <a:pt x="1027" y="1197"/>
                      </a:lnTo>
                      <a:lnTo>
                        <a:pt x="1025" y="1197"/>
                      </a:lnTo>
                      <a:lnTo>
                        <a:pt x="1023" y="1197"/>
                      </a:lnTo>
                      <a:lnTo>
                        <a:pt x="1021" y="1197"/>
                      </a:lnTo>
                      <a:lnTo>
                        <a:pt x="1021" y="1199"/>
                      </a:lnTo>
                      <a:lnTo>
                        <a:pt x="1017" y="1197"/>
                      </a:lnTo>
                      <a:lnTo>
                        <a:pt x="1017" y="1199"/>
                      </a:lnTo>
                      <a:lnTo>
                        <a:pt x="1015" y="1199"/>
                      </a:lnTo>
                      <a:lnTo>
                        <a:pt x="1015" y="1201"/>
                      </a:lnTo>
                      <a:lnTo>
                        <a:pt x="1013" y="1201"/>
                      </a:lnTo>
                      <a:lnTo>
                        <a:pt x="1011" y="1201"/>
                      </a:lnTo>
                      <a:lnTo>
                        <a:pt x="1010" y="1201"/>
                      </a:lnTo>
                      <a:lnTo>
                        <a:pt x="1008" y="1201"/>
                      </a:lnTo>
                      <a:lnTo>
                        <a:pt x="1006" y="1201"/>
                      </a:lnTo>
                      <a:lnTo>
                        <a:pt x="1004" y="1201"/>
                      </a:lnTo>
                      <a:lnTo>
                        <a:pt x="1004" y="1199"/>
                      </a:lnTo>
                      <a:lnTo>
                        <a:pt x="1002" y="1199"/>
                      </a:lnTo>
                      <a:lnTo>
                        <a:pt x="1000" y="1199"/>
                      </a:lnTo>
                      <a:lnTo>
                        <a:pt x="998" y="1199"/>
                      </a:lnTo>
                      <a:lnTo>
                        <a:pt x="998" y="1197"/>
                      </a:lnTo>
                      <a:lnTo>
                        <a:pt x="996" y="1199"/>
                      </a:lnTo>
                      <a:lnTo>
                        <a:pt x="996" y="1197"/>
                      </a:lnTo>
                      <a:lnTo>
                        <a:pt x="995" y="1197"/>
                      </a:lnTo>
                      <a:lnTo>
                        <a:pt x="993" y="1197"/>
                      </a:lnTo>
                      <a:lnTo>
                        <a:pt x="991" y="1197"/>
                      </a:lnTo>
                      <a:lnTo>
                        <a:pt x="989" y="1197"/>
                      </a:lnTo>
                      <a:lnTo>
                        <a:pt x="989" y="1195"/>
                      </a:lnTo>
                      <a:lnTo>
                        <a:pt x="987" y="1195"/>
                      </a:lnTo>
                      <a:lnTo>
                        <a:pt x="983" y="1193"/>
                      </a:lnTo>
                      <a:lnTo>
                        <a:pt x="979" y="1191"/>
                      </a:lnTo>
                      <a:lnTo>
                        <a:pt x="978" y="1191"/>
                      </a:lnTo>
                      <a:lnTo>
                        <a:pt x="976" y="1191"/>
                      </a:lnTo>
                      <a:lnTo>
                        <a:pt x="974" y="1191"/>
                      </a:lnTo>
                      <a:lnTo>
                        <a:pt x="972" y="1189"/>
                      </a:lnTo>
                      <a:lnTo>
                        <a:pt x="968" y="1189"/>
                      </a:lnTo>
                      <a:lnTo>
                        <a:pt x="966" y="1189"/>
                      </a:lnTo>
                      <a:lnTo>
                        <a:pt x="964" y="1189"/>
                      </a:lnTo>
                      <a:lnTo>
                        <a:pt x="964" y="1188"/>
                      </a:lnTo>
                      <a:lnTo>
                        <a:pt x="963" y="1189"/>
                      </a:lnTo>
                      <a:lnTo>
                        <a:pt x="961" y="1189"/>
                      </a:lnTo>
                      <a:lnTo>
                        <a:pt x="959" y="1189"/>
                      </a:lnTo>
                      <a:lnTo>
                        <a:pt x="957" y="1189"/>
                      </a:lnTo>
                      <a:lnTo>
                        <a:pt x="955" y="1189"/>
                      </a:lnTo>
                      <a:lnTo>
                        <a:pt x="955" y="1191"/>
                      </a:lnTo>
                      <a:lnTo>
                        <a:pt x="953" y="1191"/>
                      </a:lnTo>
                      <a:lnTo>
                        <a:pt x="951" y="1191"/>
                      </a:lnTo>
                      <a:lnTo>
                        <a:pt x="949" y="1191"/>
                      </a:lnTo>
                      <a:lnTo>
                        <a:pt x="948" y="1191"/>
                      </a:lnTo>
                      <a:lnTo>
                        <a:pt x="946" y="1191"/>
                      </a:lnTo>
                      <a:lnTo>
                        <a:pt x="944" y="1191"/>
                      </a:lnTo>
                      <a:lnTo>
                        <a:pt x="938" y="1193"/>
                      </a:lnTo>
                      <a:lnTo>
                        <a:pt x="936" y="1193"/>
                      </a:lnTo>
                      <a:lnTo>
                        <a:pt x="936" y="1195"/>
                      </a:lnTo>
                      <a:lnTo>
                        <a:pt x="936" y="1197"/>
                      </a:lnTo>
                      <a:lnTo>
                        <a:pt x="936" y="1199"/>
                      </a:lnTo>
                      <a:lnTo>
                        <a:pt x="938" y="1199"/>
                      </a:lnTo>
                      <a:lnTo>
                        <a:pt x="938" y="1201"/>
                      </a:lnTo>
                      <a:lnTo>
                        <a:pt x="936" y="1201"/>
                      </a:lnTo>
                      <a:lnTo>
                        <a:pt x="936" y="1199"/>
                      </a:lnTo>
                      <a:lnTo>
                        <a:pt x="934" y="1199"/>
                      </a:lnTo>
                      <a:lnTo>
                        <a:pt x="934" y="1201"/>
                      </a:lnTo>
                      <a:lnTo>
                        <a:pt x="932" y="1201"/>
                      </a:lnTo>
                      <a:lnTo>
                        <a:pt x="932" y="1203"/>
                      </a:lnTo>
                      <a:lnTo>
                        <a:pt x="931" y="1203"/>
                      </a:lnTo>
                      <a:lnTo>
                        <a:pt x="931" y="1205"/>
                      </a:lnTo>
                      <a:lnTo>
                        <a:pt x="929" y="1205"/>
                      </a:lnTo>
                      <a:lnTo>
                        <a:pt x="927" y="1205"/>
                      </a:lnTo>
                      <a:lnTo>
                        <a:pt x="925" y="1205"/>
                      </a:lnTo>
                      <a:lnTo>
                        <a:pt x="925" y="1206"/>
                      </a:lnTo>
                      <a:lnTo>
                        <a:pt x="923" y="1206"/>
                      </a:lnTo>
                      <a:lnTo>
                        <a:pt x="923" y="1208"/>
                      </a:lnTo>
                      <a:lnTo>
                        <a:pt x="923" y="1210"/>
                      </a:lnTo>
                      <a:lnTo>
                        <a:pt x="921" y="1208"/>
                      </a:lnTo>
                      <a:lnTo>
                        <a:pt x="919" y="1208"/>
                      </a:lnTo>
                      <a:lnTo>
                        <a:pt x="917" y="1208"/>
                      </a:lnTo>
                      <a:lnTo>
                        <a:pt x="916" y="1210"/>
                      </a:lnTo>
                      <a:lnTo>
                        <a:pt x="914" y="1210"/>
                      </a:lnTo>
                      <a:lnTo>
                        <a:pt x="914" y="1212"/>
                      </a:lnTo>
                      <a:lnTo>
                        <a:pt x="912" y="1212"/>
                      </a:lnTo>
                      <a:lnTo>
                        <a:pt x="910" y="1212"/>
                      </a:lnTo>
                      <a:lnTo>
                        <a:pt x="908" y="1212"/>
                      </a:lnTo>
                      <a:lnTo>
                        <a:pt x="908" y="1214"/>
                      </a:lnTo>
                      <a:lnTo>
                        <a:pt x="906" y="1214"/>
                      </a:lnTo>
                      <a:lnTo>
                        <a:pt x="904" y="1214"/>
                      </a:lnTo>
                      <a:lnTo>
                        <a:pt x="902" y="1214"/>
                      </a:lnTo>
                      <a:lnTo>
                        <a:pt x="900" y="1214"/>
                      </a:lnTo>
                      <a:lnTo>
                        <a:pt x="899" y="1212"/>
                      </a:lnTo>
                      <a:lnTo>
                        <a:pt x="897" y="1212"/>
                      </a:lnTo>
                      <a:lnTo>
                        <a:pt x="895" y="1210"/>
                      </a:lnTo>
                      <a:lnTo>
                        <a:pt x="893" y="1210"/>
                      </a:lnTo>
                      <a:lnTo>
                        <a:pt x="891" y="1208"/>
                      </a:lnTo>
                      <a:lnTo>
                        <a:pt x="889" y="1208"/>
                      </a:lnTo>
                      <a:lnTo>
                        <a:pt x="887" y="1208"/>
                      </a:lnTo>
                      <a:lnTo>
                        <a:pt x="887" y="1206"/>
                      </a:lnTo>
                      <a:lnTo>
                        <a:pt x="885" y="1206"/>
                      </a:lnTo>
                      <a:lnTo>
                        <a:pt x="885" y="1208"/>
                      </a:lnTo>
                      <a:lnTo>
                        <a:pt x="885" y="1206"/>
                      </a:lnTo>
                      <a:lnTo>
                        <a:pt x="884" y="1206"/>
                      </a:lnTo>
                      <a:lnTo>
                        <a:pt x="882" y="1206"/>
                      </a:lnTo>
                      <a:lnTo>
                        <a:pt x="882" y="1205"/>
                      </a:lnTo>
                      <a:lnTo>
                        <a:pt x="882" y="1206"/>
                      </a:lnTo>
                      <a:lnTo>
                        <a:pt x="882" y="1205"/>
                      </a:lnTo>
                      <a:lnTo>
                        <a:pt x="880" y="1205"/>
                      </a:lnTo>
                      <a:lnTo>
                        <a:pt x="874" y="1201"/>
                      </a:lnTo>
                      <a:lnTo>
                        <a:pt x="869" y="1199"/>
                      </a:lnTo>
                      <a:lnTo>
                        <a:pt x="861" y="1197"/>
                      </a:lnTo>
                      <a:lnTo>
                        <a:pt x="859" y="1197"/>
                      </a:lnTo>
                      <a:lnTo>
                        <a:pt x="857" y="1197"/>
                      </a:lnTo>
                      <a:lnTo>
                        <a:pt x="857" y="1195"/>
                      </a:lnTo>
                      <a:lnTo>
                        <a:pt x="853" y="1195"/>
                      </a:lnTo>
                      <a:lnTo>
                        <a:pt x="850" y="1195"/>
                      </a:lnTo>
                      <a:lnTo>
                        <a:pt x="844" y="1193"/>
                      </a:lnTo>
                      <a:lnTo>
                        <a:pt x="842" y="1193"/>
                      </a:lnTo>
                      <a:lnTo>
                        <a:pt x="840" y="1193"/>
                      </a:lnTo>
                      <a:lnTo>
                        <a:pt x="838" y="1193"/>
                      </a:lnTo>
                      <a:lnTo>
                        <a:pt x="837" y="1193"/>
                      </a:lnTo>
                      <a:lnTo>
                        <a:pt x="833" y="1191"/>
                      </a:lnTo>
                      <a:lnTo>
                        <a:pt x="831" y="1191"/>
                      </a:lnTo>
                      <a:lnTo>
                        <a:pt x="829" y="1191"/>
                      </a:lnTo>
                      <a:lnTo>
                        <a:pt x="827" y="1191"/>
                      </a:lnTo>
                      <a:lnTo>
                        <a:pt x="825" y="1191"/>
                      </a:lnTo>
                      <a:lnTo>
                        <a:pt x="823" y="1191"/>
                      </a:lnTo>
                      <a:lnTo>
                        <a:pt x="821" y="1191"/>
                      </a:lnTo>
                      <a:lnTo>
                        <a:pt x="820" y="1191"/>
                      </a:lnTo>
                      <a:lnTo>
                        <a:pt x="818" y="1191"/>
                      </a:lnTo>
                      <a:lnTo>
                        <a:pt x="816" y="1191"/>
                      </a:lnTo>
                      <a:lnTo>
                        <a:pt x="814" y="1191"/>
                      </a:lnTo>
                      <a:lnTo>
                        <a:pt x="812" y="1191"/>
                      </a:lnTo>
                      <a:lnTo>
                        <a:pt x="810" y="1191"/>
                      </a:lnTo>
                      <a:lnTo>
                        <a:pt x="808" y="1191"/>
                      </a:lnTo>
                      <a:lnTo>
                        <a:pt x="806" y="1193"/>
                      </a:lnTo>
                      <a:lnTo>
                        <a:pt x="801" y="1195"/>
                      </a:lnTo>
                      <a:lnTo>
                        <a:pt x="797" y="1197"/>
                      </a:lnTo>
                      <a:lnTo>
                        <a:pt x="793" y="1199"/>
                      </a:lnTo>
                      <a:lnTo>
                        <a:pt x="791" y="1201"/>
                      </a:lnTo>
                      <a:lnTo>
                        <a:pt x="790" y="1201"/>
                      </a:lnTo>
                      <a:lnTo>
                        <a:pt x="790" y="1203"/>
                      </a:lnTo>
                      <a:lnTo>
                        <a:pt x="790" y="1205"/>
                      </a:lnTo>
                      <a:lnTo>
                        <a:pt x="790" y="1206"/>
                      </a:lnTo>
                      <a:lnTo>
                        <a:pt x="790" y="1208"/>
                      </a:lnTo>
                      <a:lnTo>
                        <a:pt x="791" y="1208"/>
                      </a:lnTo>
                      <a:lnTo>
                        <a:pt x="791" y="1210"/>
                      </a:lnTo>
                      <a:lnTo>
                        <a:pt x="793" y="1210"/>
                      </a:lnTo>
                      <a:lnTo>
                        <a:pt x="793" y="1212"/>
                      </a:lnTo>
                      <a:lnTo>
                        <a:pt x="793" y="1214"/>
                      </a:lnTo>
                      <a:lnTo>
                        <a:pt x="795" y="1214"/>
                      </a:lnTo>
                      <a:lnTo>
                        <a:pt x="795" y="1216"/>
                      </a:lnTo>
                      <a:lnTo>
                        <a:pt x="795" y="1218"/>
                      </a:lnTo>
                      <a:lnTo>
                        <a:pt x="793" y="1218"/>
                      </a:lnTo>
                      <a:lnTo>
                        <a:pt x="795" y="1218"/>
                      </a:lnTo>
                      <a:lnTo>
                        <a:pt x="793" y="1218"/>
                      </a:lnTo>
                      <a:lnTo>
                        <a:pt x="793" y="1220"/>
                      </a:lnTo>
                      <a:lnTo>
                        <a:pt x="793" y="1221"/>
                      </a:lnTo>
                      <a:lnTo>
                        <a:pt x="795" y="1221"/>
                      </a:lnTo>
                      <a:lnTo>
                        <a:pt x="793" y="1221"/>
                      </a:lnTo>
                      <a:lnTo>
                        <a:pt x="793" y="1223"/>
                      </a:lnTo>
                      <a:lnTo>
                        <a:pt x="793" y="1221"/>
                      </a:lnTo>
                      <a:lnTo>
                        <a:pt x="791" y="1221"/>
                      </a:lnTo>
                      <a:lnTo>
                        <a:pt x="790" y="1223"/>
                      </a:lnTo>
                      <a:lnTo>
                        <a:pt x="790" y="1225"/>
                      </a:lnTo>
                      <a:lnTo>
                        <a:pt x="788" y="1225"/>
                      </a:lnTo>
                      <a:lnTo>
                        <a:pt x="786" y="1223"/>
                      </a:lnTo>
                      <a:lnTo>
                        <a:pt x="784" y="1223"/>
                      </a:lnTo>
                      <a:lnTo>
                        <a:pt x="782" y="1223"/>
                      </a:lnTo>
                      <a:lnTo>
                        <a:pt x="782" y="1225"/>
                      </a:lnTo>
                      <a:lnTo>
                        <a:pt x="782" y="1223"/>
                      </a:lnTo>
                      <a:lnTo>
                        <a:pt x="780" y="1223"/>
                      </a:lnTo>
                      <a:lnTo>
                        <a:pt x="778" y="1223"/>
                      </a:lnTo>
                      <a:lnTo>
                        <a:pt x="776" y="1223"/>
                      </a:lnTo>
                      <a:lnTo>
                        <a:pt x="774" y="1221"/>
                      </a:lnTo>
                      <a:lnTo>
                        <a:pt x="773" y="1221"/>
                      </a:lnTo>
                      <a:lnTo>
                        <a:pt x="771" y="1221"/>
                      </a:lnTo>
                      <a:lnTo>
                        <a:pt x="769" y="1221"/>
                      </a:lnTo>
                      <a:lnTo>
                        <a:pt x="767" y="1220"/>
                      </a:lnTo>
                      <a:lnTo>
                        <a:pt x="765" y="1220"/>
                      </a:lnTo>
                      <a:lnTo>
                        <a:pt x="763" y="1220"/>
                      </a:lnTo>
                      <a:lnTo>
                        <a:pt x="761" y="1220"/>
                      </a:lnTo>
                      <a:lnTo>
                        <a:pt x="759" y="1220"/>
                      </a:lnTo>
                      <a:lnTo>
                        <a:pt x="759" y="1218"/>
                      </a:lnTo>
                      <a:lnTo>
                        <a:pt x="758" y="1218"/>
                      </a:lnTo>
                      <a:lnTo>
                        <a:pt x="758" y="1220"/>
                      </a:lnTo>
                      <a:lnTo>
                        <a:pt x="756" y="1220"/>
                      </a:lnTo>
                      <a:lnTo>
                        <a:pt x="756" y="1218"/>
                      </a:lnTo>
                      <a:lnTo>
                        <a:pt x="754" y="1218"/>
                      </a:lnTo>
                      <a:lnTo>
                        <a:pt x="754" y="1220"/>
                      </a:lnTo>
                      <a:lnTo>
                        <a:pt x="754" y="1218"/>
                      </a:lnTo>
                      <a:lnTo>
                        <a:pt x="752" y="1218"/>
                      </a:lnTo>
                      <a:lnTo>
                        <a:pt x="750" y="1218"/>
                      </a:lnTo>
                      <a:lnTo>
                        <a:pt x="748" y="1218"/>
                      </a:lnTo>
                      <a:lnTo>
                        <a:pt x="746" y="1218"/>
                      </a:lnTo>
                      <a:lnTo>
                        <a:pt x="744" y="1218"/>
                      </a:lnTo>
                      <a:lnTo>
                        <a:pt x="741" y="1218"/>
                      </a:lnTo>
                      <a:lnTo>
                        <a:pt x="739" y="1218"/>
                      </a:lnTo>
                      <a:lnTo>
                        <a:pt x="737" y="1218"/>
                      </a:lnTo>
                      <a:lnTo>
                        <a:pt x="735" y="1218"/>
                      </a:lnTo>
                      <a:lnTo>
                        <a:pt x="733" y="1218"/>
                      </a:lnTo>
                      <a:lnTo>
                        <a:pt x="731" y="1218"/>
                      </a:lnTo>
                      <a:lnTo>
                        <a:pt x="729" y="1218"/>
                      </a:lnTo>
                      <a:lnTo>
                        <a:pt x="727" y="1218"/>
                      </a:lnTo>
                      <a:lnTo>
                        <a:pt x="727" y="1220"/>
                      </a:lnTo>
                      <a:lnTo>
                        <a:pt x="726" y="1220"/>
                      </a:lnTo>
                      <a:lnTo>
                        <a:pt x="724" y="1220"/>
                      </a:lnTo>
                      <a:lnTo>
                        <a:pt x="722" y="1220"/>
                      </a:lnTo>
                      <a:lnTo>
                        <a:pt x="720" y="1220"/>
                      </a:lnTo>
                      <a:lnTo>
                        <a:pt x="720" y="1221"/>
                      </a:lnTo>
                      <a:lnTo>
                        <a:pt x="718" y="1221"/>
                      </a:lnTo>
                      <a:lnTo>
                        <a:pt x="716" y="1221"/>
                      </a:lnTo>
                      <a:lnTo>
                        <a:pt x="714" y="1221"/>
                      </a:lnTo>
                      <a:lnTo>
                        <a:pt x="714" y="1223"/>
                      </a:lnTo>
                      <a:lnTo>
                        <a:pt x="714" y="1221"/>
                      </a:lnTo>
                      <a:lnTo>
                        <a:pt x="712" y="1221"/>
                      </a:lnTo>
                      <a:lnTo>
                        <a:pt x="709" y="1223"/>
                      </a:lnTo>
                      <a:lnTo>
                        <a:pt x="707" y="1225"/>
                      </a:lnTo>
                      <a:lnTo>
                        <a:pt x="705" y="1225"/>
                      </a:lnTo>
                      <a:lnTo>
                        <a:pt x="703" y="1225"/>
                      </a:lnTo>
                      <a:lnTo>
                        <a:pt x="703" y="1227"/>
                      </a:lnTo>
                      <a:lnTo>
                        <a:pt x="699" y="1227"/>
                      </a:lnTo>
                      <a:lnTo>
                        <a:pt x="694" y="1231"/>
                      </a:lnTo>
                      <a:lnTo>
                        <a:pt x="690" y="1233"/>
                      </a:lnTo>
                      <a:lnTo>
                        <a:pt x="686" y="1237"/>
                      </a:lnTo>
                      <a:lnTo>
                        <a:pt x="684" y="1238"/>
                      </a:lnTo>
                      <a:lnTo>
                        <a:pt x="682" y="1240"/>
                      </a:lnTo>
                      <a:lnTo>
                        <a:pt x="680" y="1242"/>
                      </a:lnTo>
                      <a:lnTo>
                        <a:pt x="680" y="1244"/>
                      </a:lnTo>
                      <a:lnTo>
                        <a:pt x="679" y="1244"/>
                      </a:lnTo>
                      <a:lnTo>
                        <a:pt x="679" y="1246"/>
                      </a:lnTo>
                      <a:lnTo>
                        <a:pt x="679" y="1248"/>
                      </a:lnTo>
                      <a:lnTo>
                        <a:pt x="679" y="1250"/>
                      </a:lnTo>
                      <a:lnTo>
                        <a:pt x="677" y="1250"/>
                      </a:lnTo>
                      <a:lnTo>
                        <a:pt x="677" y="1252"/>
                      </a:lnTo>
                      <a:lnTo>
                        <a:pt x="677" y="1253"/>
                      </a:lnTo>
                      <a:lnTo>
                        <a:pt x="675" y="1253"/>
                      </a:lnTo>
                      <a:lnTo>
                        <a:pt x="675" y="1255"/>
                      </a:lnTo>
                      <a:lnTo>
                        <a:pt x="673" y="1255"/>
                      </a:lnTo>
                      <a:lnTo>
                        <a:pt x="671" y="1255"/>
                      </a:lnTo>
                      <a:lnTo>
                        <a:pt x="665" y="1259"/>
                      </a:lnTo>
                      <a:lnTo>
                        <a:pt x="662" y="1261"/>
                      </a:lnTo>
                      <a:lnTo>
                        <a:pt x="660" y="1263"/>
                      </a:lnTo>
                      <a:lnTo>
                        <a:pt x="658" y="1263"/>
                      </a:lnTo>
                      <a:lnTo>
                        <a:pt x="658" y="1265"/>
                      </a:lnTo>
                      <a:lnTo>
                        <a:pt x="656" y="1267"/>
                      </a:lnTo>
                      <a:lnTo>
                        <a:pt x="654" y="1269"/>
                      </a:lnTo>
                      <a:lnTo>
                        <a:pt x="652" y="1270"/>
                      </a:lnTo>
                      <a:lnTo>
                        <a:pt x="648" y="1270"/>
                      </a:lnTo>
                      <a:lnTo>
                        <a:pt x="648" y="1272"/>
                      </a:lnTo>
                      <a:lnTo>
                        <a:pt x="647" y="1272"/>
                      </a:lnTo>
                      <a:lnTo>
                        <a:pt x="645" y="1272"/>
                      </a:lnTo>
                      <a:lnTo>
                        <a:pt x="641" y="1274"/>
                      </a:lnTo>
                      <a:lnTo>
                        <a:pt x="637" y="1276"/>
                      </a:lnTo>
                      <a:lnTo>
                        <a:pt x="635" y="1278"/>
                      </a:lnTo>
                      <a:lnTo>
                        <a:pt x="635" y="1280"/>
                      </a:lnTo>
                      <a:lnTo>
                        <a:pt x="633" y="1280"/>
                      </a:lnTo>
                      <a:lnTo>
                        <a:pt x="633" y="1282"/>
                      </a:lnTo>
                      <a:lnTo>
                        <a:pt x="632" y="1282"/>
                      </a:lnTo>
                      <a:lnTo>
                        <a:pt x="632" y="1284"/>
                      </a:lnTo>
                      <a:lnTo>
                        <a:pt x="632" y="1285"/>
                      </a:lnTo>
                      <a:lnTo>
                        <a:pt x="632" y="1287"/>
                      </a:lnTo>
                      <a:lnTo>
                        <a:pt x="632" y="1289"/>
                      </a:lnTo>
                      <a:lnTo>
                        <a:pt x="632" y="1291"/>
                      </a:lnTo>
                      <a:lnTo>
                        <a:pt x="632" y="1293"/>
                      </a:lnTo>
                      <a:lnTo>
                        <a:pt x="632" y="1291"/>
                      </a:lnTo>
                      <a:lnTo>
                        <a:pt x="630" y="1291"/>
                      </a:lnTo>
                      <a:lnTo>
                        <a:pt x="628" y="1291"/>
                      </a:lnTo>
                      <a:lnTo>
                        <a:pt x="626" y="1291"/>
                      </a:lnTo>
                      <a:lnTo>
                        <a:pt x="624" y="1291"/>
                      </a:lnTo>
                      <a:lnTo>
                        <a:pt x="622" y="1293"/>
                      </a:lnTo>
                      <a:lnTo>
                        <a:pt x="615" y="1295"/>
                      </a:lnTo>
                      <a:lnTo>
                        <a:pt x="609" y="1297"/>
                      </a:lnTo>
                      <a:lnTo>
                        <a:pt x="603" y="1301"/>
                      </a:lnTo>
                      <a:lnTo>
                        <a:pt x="598" y="1302"/>
                      </a:lnTo>
                      <a:lnTo>
                        <a:pt x="592" y="1306"/>
                      </a:lnTo>
                      <a:lnTo>
                        <a:pt x="588" y="1310"/>
                      </a:lnTo>
                      <a:lnTo>
                        <a:pt x="586" y="1314"/>
                      </a:lnTo>
                      <a:lnTo>
                        <a:pt x="584" y="1316"/>
                      </a:lnTo>
                      <a:lnTo>
                        <a:pt x="584" y="1317"/>
                      </a:lnTo>
                      <a:lnTo>
                        <a:pt x="584" y="1319"/>
                      </a:lnTo>
                      <a:lnTo>
                        <a:pt x="584" y="1321"/>
                      </a:lnTo>
                      <a:lnTo>
                        <a:pt x="584" y="1323"/>
                      </a:lnTo>
                      <a:lnTo>
                        <a:pt x="584" y="1325"/>
                      </a:lnTo>
                      <a:lnTo>
                        <a:pt x="586" y="1325"/>
                      </a:lnTo>
                      <a:lnTo>
                        <a:pt x="586" y="1327"/>
                      </a:lnTo>
                      <a:lnTo>
                        <a:pt x="588" y="1327"/>
                      </a:lnTo>
                      <a:lnTo>
                        <a:pt x="588" y="1329"/>
                      </a:lnTo>
                      <a:lnTo>
                        <a:pt x="586" y="1329"/>
                      </a:lnTo>
                      <a:lnTo>
                        <a:pt x="586" y="1331"/>
                      </a:lnTo>
                      <a:lnTo>
                        <a:pt x="584" y="1331"/>
                      </a:lnTo>
                      <a:lnTo>
                        <a:pt x="583" y="1331"/>
                      </a:lnTo>
                      <a:lnTo>
                        <a:pt x="581" y="1331"/>
                      </a:lnTo>
                      <a:lnTo>
                        <a:pt x="579" y="1331"/>
                      </a:lnTo>
                      <a:lnTo>
                        <a:pt x="579" y="1333"/>
                      </a:lnTo>
                      <a:lnTo>
                        <a:pt x="579" y="1334"/>
                      </a:lnTo>
                      <a:lnTo>
                        <a:pt x="577" y="1334"/>
                      </a:lnTo>
                      <a:lnTo>
                        <a:pt x="575" y="1334"/>
                      </a:lnTo>
                      <a:lnTo>
                        <a:pt x="575" y="1336"/>
                      </a:lnTo>
                      <a:lnTo>
                        <a:pt x="573" y="1336"/>
                      </a:lnTo>
                      <a:lnTo>
                        <a:pt x="571" y="1336"/>
                      </a:lnTo>
                      <a:lnTo>
                        <a:pt x="569" y="1336"/>
                      </a:lnTo>
                      <a:lnTo>
                        <a:pt x="568" y="1336"/>
                      </a:lnTo>
                      <a:lnTo>
                        <a:pt x="568" y="1334"/>
                      </a:lnTo>
                      <a:lnTo>
                        <a:pt x="566" y="1334"/>
                      </a:lnTo>
                      <a:lnTo>
                        <a:pt x="564" y="1334"/>
                      </a:lnTo>
                      <a:lnTo>
                        <a:pt x="564" y="1333"/>
                      </a:lnTo>
                      <a:lnTo>
                        <a:pt x="562" y="1333"/>
                      </a:lnTo>
                      <a:lnTo>
                        <a:pt x="560" y="1331"/>
                      </a:lnTo>
                      <a:lnTo>
                        <a:pt x="558" y="1331"/>
                      </a:lnTo>
                      <a:lnTo>
                        <a:pt x="556" y="1331"/>
                      </a:lnTo>
                      <a:lnTo>
                        <a:pt x="556" y="1329"/>
                      </a:lnTo>
                      <a:lnTo>
                        <a:pt x="554" y="1329"/>
                      </a:lnTo>
                      <a:lnTo>
                        <a:pt x="554" y="1327"/>
                      </a:lnTo>
                      <a:lnTo>
                        <a:pt x="553" y="1325"/>
                      </a:lnTo>
                      <a:lnTo>
                        <a:pt x="551" y="1325"/>
                      </a:lnTo>
                      <a:lnTo>
                        <a:pt x="551" y="1323"/>
                      </a:lnTo>
                      <a:lnTo>
                        <a:pt x="549" y="1323"/>
                      </a:lnTo>
                      <a:lnTo>
                        <a:pt x="547" y="1321"/>
                      </a:lnTo>
                      <a:lnTo>
                        <a:pt x="545" y="1321"/>
                      </a:lnTo>
                      <a:lnTo>
                        <a:pt x="543" y="1321"/>
                      </a:lnTo>
                      <a:lnTo>
                        <a:pt x="543" y="1317"/>
                      </a:lnTo>
                      <a:lnTo>
                        <a:pt x="541" y="1317"/>
                      </a:lnTo>
                      <a:lnTo>
                        <a:pt x="539" y="1316"/>
                      </a:lnTo>
                      <a:lnTo>
                        <a:pt x="537" y="1316"/>
                      </a:lnTo>
                      <a:lnTo>
                        <a:pt x="536" y="1316"/>
                      </a:lnTo>
                      <a:lnTo>
                        <a:pt x="534" y="1316"/>
                      </a:lnTo>
                      <a:lnTo>
                        <a:pt x="534" y="1317"/>
                      </a:lnTo>
                      <a:lnTo>
                        <a:pt x="534" y="1316"/>
                      </a:lnTo>
                      <a:lnTo>
                        <a:pt x="532" y="1316"/>
                      </a:lnTo>
                      <a:lnTo>
                        <a:pt x="530" y="1316"/>
                      </a:lnTo>
                      <a:lnTo>
                        <a:pt x="528" y="1316"/>
                      </a:lnTo>
                      <a:lnTo>
                        <a:pt x="526" y="1314"/>
                      </a:lnTo>
                      <a:lnTo>
                        <a:pt x="526" y="1316"/>
                      </a:lnTo>
                      <a:lnTo>
                        <a:pt x="524" y="1316"/>
                      </a:lnTo>
                      <a:lnTo>
                        <a:pt x="522" y="1316"/>
                      </a:lnTo>
                      <a:lnTo>
                        <a:pt x="521" y="1316"/>
                      </a:lnTo>
                      <a:lnTo>
                        <a:pt x="519" y="1316"/>
                      </a:lnTo>
                      <a:lnTo>
                        <a:pt x="517" y="1316"/>
                      </a:lnTo>
                      <a:lnTo>
                        <a:pt x="515" y="1316"/>
                      </a:lnTo>
                      <a:lnTo>
                        <a:pt x="513" y="1316"/>
                      </a:lnTo>
                      <a:lnTo>
                        <a:pt x="511" y="1316"/>
                      </a:lnTo>
                      <a:lnTo>
                        <a:pt x="509" y="1317"/>
                      </a:lnTo>
                      <a:lnTo>
                        <a:pt x="507" y="1317"/>
                      </a:lnTo>
                      <a:lnTo>
                        <a:pt x="505" y="1317"/>
                      </a:lnTo>
                      <a:lnTo>
                        <a:pt x="504" y="1316"/>
                      </a:lnTo>
                      <a:lnTo>
                        <a:pt x="502" y="1316"/>
                      </a:lnTo>
                      <a:lnTo>
                        <a:pt x="500" y="1316"/>
                      </a:lnTo>
                      <a:lnTo>
                        <a:pt x="498" y="1316"/>
                      </a:lnTo>
                      <a:lnTo>
                        <a:pt x="496" y="1316"/>
                      </a:lnTo>
                      <a:lnTo>
                        <a:pt x="494" y="1314"/>
                      </a:lnTo>
                      <a:lnTo>
                        <a:pt x="492" y="1316"/>
                      </a:lnTo>
                      <a:lnTo>
                        <a:pt x="490" y="1316"/>
                      </a:lnTo>
                      <a:lnTo>
                        <a:pt x="490" y="1317"/>
                      </a:lnTo>
                      <a:lnTo>
                        <a:pt x="489" y="1319"/>
                      </a:lnTo>
                      <a:lnTo>
                        <a:pt x="490" y="1321"/>
                      </a:lnTo>
                      <a:lnTo>
                        <a:pt x="489" y="1321"/>
                      </a:lnTo>
                      <a:lnTo>
                        <a:pt x="487" y="1321"/>
                      </a:lnTo>
                      <a:lnTo>
                        <a:pt x="487" y="1323"/>
                      </a:lnTo>
                      <a:lnTo>
                        <a:pt x="485" y="1323"/>
                      </a:lnTo>
                      <a:lnTo>
                        <a:pt x="485" y="1321"/>
                      </a:lnTo>
                      <a:lnTo>
                        <a:pt x="487" y="1321"/>
                      </a:lnTo>
                      <a:lnTo>
                        <a:pt x="485" y="1321"/>
                      </a:lnTo>
                      <a:lnTo>
                        <a:pt x="483" y="1321"/>
                      </a:lnTo>
                      <a:lnTo>
                        <a:pt x="485" y="1321"/>
                      </a:lnTo>
                      <a:lnTo>
                        <a:pt x="483" y="1321"/>
                      </a:lnTo>
                      <a:lnTo>
                        <a:pt x="481" y="1321"/>
                      </a:lnTo>
                      <a:lnTo>
                        <a:pt x="481" y="1319"/>
                      </a:lnTo>
                      <a:lnTo>
                        <a:pt x="481" y="1321"/>
                      </a:lnTo>
                      <a:lnTo>
                        <a:pt x="479" y="1321"/>
                      </a:lnTo>
                      <a:lnTo>
                        <a:pt x="479" y="1319"/>
                      </a:lnTo>
                      <a:lnTo>
                        <a:pt x="481" y="1319"/>
                      </a:lnTo>
                      <a:lnTo>
                        <a:pt x="481" y="1317"/>
                      </a:lnTo>
                      <a:lnTo>
                        <a:pt x="479" y="1314"/>
                      </a:lnTo>
                      <a:lnTo>
                        <a:pt x="477" y="1312"/>
                      </a:lnTo>
                      <a:lnTo>
                        <a:pt x="475" y="1312"/>
                      </a:lnTo>
                      <a:lnTo>
                        <a:pt x="474" y="1314"/>
                      </a:lnTo>
                      <a:lnTo>
                        <a:pt x="472" y="1312"/>
                      </a:lnTo>
                      <a:lnTo>
                        <a:pt x="470" y="1312"/>
                      </a:lnTo>
                      <a:lnTo>
                        <a:pt x="470" y="1310"/>
                      </a:lnTo>
                      <a:lnTo>
                        <a:pt x="472" y="1310"/>
                      </a:lnTo>
                      <a:lnTo>
                        <a:pt x="470" y="1310"/>
                      </a:lnTo>
                      <a:lnTo>
                        <a:pt x="470" y="1308"/>
                      </a:lnTo>
                      <a:lnTo>
                        <a:pt x="470" y="1306"/>
                      </a:lnTo>
                      <a:lnTo>
                        <a:pt x="468" y="1306"/>
                      </a:lnTo>
                      <a:lnTo>
                        <a:pt x="468" y="1304"/>
                      </a:lnTo>
                      <a:lnTo>
                        <a:pt x="468" y="1302"/>
                      </a:lnTo>
                      <a:lnTo>
                        <a:pt x="466" y="1302"/>
                      </a:lnTo>
                      <a:lnTo>
                        <a:pt x="466" y="1304"/>
                      </a:lnTo>
                      <a:lnTo>
                        <a:pt x="464" y="1304"/>
                      </a:lnTo>
                      <a:lnTo>
                        <a:pt x="462" y="1304"/>
                      </a:lnTo>
                      <a:lnTo>
                        <a:pt x="462" y="1302"/>
                      </a:lnTo>
                      <a:lnTo>
                        <a:pt x="464" y="1302"/>
                      </a:lnTo>
                      <a:lnTo>
                        <a:pt x="462" y="1302"/>
                      </a:lnTo>
                      <a:lnTo>
                        <a:pt x="462" y="1301"/>
                      </a:lnTo>
                      <a:lnTo>
                        <a:pt x="462" y="1302"/>
                      </a:lnTo>
                      <a:lnTo>
                        <a:pt x="462" y="1301"/>
                      </a:lnTo>
                      <a:lnTo>
                        <a:pt x="460" y="1301"/>
                      </a:lnTo>
                      <a:lnTo>
                        <a:pt x="460" y="1299"/>
                      </a:lnTo>
                      <a:lnTo>
                        <a:pt x="458" y="1299"/>
                      </a:lnTo>
                      <a:lnTo>
                        <a:pt x="457" y="1299"/>
                      </a:lnTo>
                      <a:lnTo>
                        <a:pt x="457" y="1297"/>
                      </a:lnTo>
                      <a:lnTo>
                        <a:pt x="455" y="1295"/>
                      </a:lnTo>
                      <a:lnTo>
                        <a:pt x="457" y="1295"/>
                      </a:lnTo>
                      <a:lnTo>
                        <a:pt x="455" y="1293"/>
                      </a:lnTo>
                      <a:lnTo>
                        <a:pt x="453" y="1293"/>
                      </a:lnTo>
                      <a:lnTo>
                        <a:pt x="453" y="1291"/>
                      </a:lnTo>
                      <a:lnTo>
                        <a:pt x="453" y="1293"/>
                      </a:lnTo>
                      <a:lnTo>
                        <a:pt x="453" y="1291"/>
                      </a:lnTo>
                      <a:lnTo>
                        <a:pt x="451" y="1291"/>
                      </a:lnTo>
                      <a:lnTo>
                        <a:pt x="453" y="1291"/>
                      </a:lnTo>
                      <a:lnTo>
                        <a:pt x="453" y="1289"/>
                      </a:lnTo>
                      <a:lnTo>
                        <a:pt x="453" y="1291"/>
                      </a:lnTo>
                      <a:lnTo>
                        <a:pt x="453" y="1289"/>
                      </a:lnTo>
                      <a:lnTo>
                        <a:pt x="453" y="1287"/>
                      </a:lnTo>
                      <a:lnTo>
                        <a:pt x="449" y="1285"/>
                      </a:lnTo>
                      <a:lnTo>
                        <a:pt x="447" y="1285"/>
                      </a:lnTo>
                      <a:lnTo>
                        <a:pt x="447" y="1287"/>
                      </a:lnTo>
                      <a:lnTo>
                        <a:pt x="445" y="1287"/>
                      </a:lnTo>
                      <a:lnTo>
                        <a:pt x="445" y="1285"/>
                      </a:lnTo>
                      <a:lnTo>
                        <a:pt x="445" y="1287"/>
                      </a:lnTo>
                      <a:lnTo>
                        <a:pt x="443" y="1287"/>
                      </a:lnTo>
                      <a:lnTo>
                        <a:pt x="443" y="1285"/>
                      </a:lnTo>
                      <a:lnTo>
                        <a:pt x="443" y="1287"/>
                      </a:lnTo>
                      <a:lnTo>
                        <a:pt x="443" y="1285"/>
                      </a:lnTo>
                      <a:lnTo>
                        <a:pt x="442" y="1285"/>
                      </a:lnTo>
                      <a:lnTo>
                        <a:pt x="442" y="1284"/>
                      </a:lnTo>
                      <a:lnTo>
                        <a:pt x="440" y="1284"/>
                      </a:lnTo>
                      <a:lnTo>
                        <a:pt x="438" y="1284"/>
                      </a:lnTo>
                      <a:lnTo>
                        <a:pt x="440" y="1284"/>
                      </a:lnTo>
                      <a:lnTo>
                        <a:pt x="438" y="1284"/>
                      </a:lnTo>
                      <a:lnTo>
                        <a:pt x="436" y="1284"/>
                      </a:lnTo>
                      <a:lnTo>
                        <a:pt x="432" y="1282"/>
                      </a:lnTo>
                      <a:lnTo>
                        <a:pt x="430" y="1280"/>
                      </a:lnTo>
                      <a:lnTo>
                        <a:pt x="430" y="1276"/>
                      </a:lnTo>
                      <a:lnTo>
                        <a:pt x="428" y="1274"/>
                      </a:lnTo>
                      <a:lnTo>
                        <a:pt x="428" y="1272"/>
                      </a:lnTo>
                      <a:lnTo>
                        <a:pt x="426" y="1270"/>
                      </a:lnTo>
                      <a:lnTo>
                        <a:pt x="425" y="1269"/>
                      </a:lnTo>
                      <a:lnTo>
                        <a:pt x="425" y="1267"/>
                      </a:lnTo>
                      <a:lnTo>
                        <a:pt x="423" y="1267"/>
                      </a:lnTo>
                      <a:lnTo>
                        <a:pt x="421" y="1267"/>
                      </a:lnTo>
                      <a:lnTo>
                        <a:pt x="419" y="1267"/>
                      </a:lnTo>
                      <a:lnTo>
                        <a:pt x="417" y="1267"/>
                      </a:lnTo>
                      <a:lnTo>
                        <a:pt x="415" y="1267"/>
                      </a:lnTo>
                      <a:lnTo>
                        <a:pt x="415" y="1269"/>
                      </a:lnTo>
                      <a:lnTo>
                        <a:pt x="413" y="1269"/>
                      </a:lnTo>
                      <a:lnTo>
                        <a:pt x="411" y="1269"/>
                      </a:lnTo>
                      <a:lnTo>
                        <a:pt x="410" y="1269"/>
                      </a:lnTo>
                      <a:lnTo>
                        <a:pt x="408" y="1269"/>
                      </a:lnTo>
                      <a:lnTo>
                        <a:pt x="408" y="1270"/>
                      </a:lnTo>
                      <a:lnTo>
                        <a:pt x="406" y="1270"/>
                      </a:lnTo>
                      <a:lnTo>
                        <a:pt x="406" y="1272"/>
                      </a:lnTo>
                      <a:lnTo>
                        <a:pt x="404" y="1272"/>
                      </a:lnTo>
                      <a:lnTo>
                        <a:pt x="402" y="1272"/>
                      </a:lnTo>
                      <a:lnTo>
                        <a:pt x="400" y="1272"/>
                      </a:lnTo>
                      <a:lnTo>
                        <a:pt x="398" y="1272"/>
                      </a:lnTo>
                      <a:lnTo>
                        <a:pt x="398" y="1270"/>
                      </a:lnTo>
                      <a:lnTo>
                        <a:pt x="398" y="1272"/>
                      </a:lnTo>
                      <a:lnTo>
                        <a:pt x="396" y="1272"/>
                      </a:lnTo>
                      <a:lnTo>
                        <a:pt x="396" y="1274"/>
                      </a:lnTo>
                      <a:lnTo>
                        <a:pt x="395" y="1274"/>
                      </a:lnTo>
                      <a:lnTo>
                        <a:pt x="393" y="1274"/>
                      </a:lnTo>
                      <a:lnTo>
                        <a:pt x="391" y="1274"/>
                      </a:lnTo>
                      <a:lnTo>
                        <a:pt x="393" y="1274"/>
                      </a:lnTo>
                      <a:lnTo>
                        <a:pt x="393" y="1272"/>
                      </a:lnTo>
                      <a:lnTo>
                        <a:pt x="391" y="1274"/>
                      </a:lnTo>
                      <a:lnTo>
                        <a:pt x="393" y="1274"/>
                      </a:lnTo>
                      <a:lnTo>
                        <a:pt x="391" y="1274"/>
                      </a:lnTo>
                      <a:lnTo>
                        <a:pt x="391" y="1272"/>
                      </a:lnTo>
                      <a:lnTo>
                        <a:pt x="393" y="1272"/>
                      </a:lnTo>
                      <a:lnTo>
                        <a:pt x="393" y="1270"/>
                      </a:lnTo>
                      <a:lnTo>
                        <a:pt x="395" y="1270"/>
                      </a:lnTo>
                      <a:lnTo>
                        <a:pt x="395" y="1269"/>
                      </a:lnTo>
                      <a:lnTo>
                        <a:pt x="396" y="1269"/>
                      </a:lnTo>
                      <a:lnTo>
                        <a:pt x="398" y="1267"/>
                      </a:lnTo>
                      <a:lnTo>
                        <a:pt x="400" y="1267"/>
                      </a:lnTo>
                      <a:lnTo>
                        <a:pt x="402" y="1265"/>
                      </a:lnTo>
                      <a:lnTo>
                        <a:pt x="402" y="1263"/>
                      </a:lnTo>
                      <a:lnTo>
                        <a:pt x="402" y="1261"/>
                      </a:lnTo>
                      <a:lnTo>
                        <a:pt x="404" y="1261"/>
                      </a:lnTo>
                      <a:lnTo>
                        <a:pt x="404" y="1259"/>
                      </a:lnTo>
                      <a:lnTo>
                        <a:pt x="404" y="1261"/>
                      </a:lnTo>
                      <a:lnTo>
                        <a:pt x="404" y="1259"/>
                      </a:lnTo>
                      <a:lnTo>
                        <a:pt x="406" y="1259"/>
                      </a:lnTo>
                      <a:lnTo>
                        <a:pt x="404" y="1259"/>
                      </a:lnTo>
                      <a:lnTo>
                        <a:pt x="404" y="1257"/>
                      </a:lnTo>
                      <a:lnTo>
                        <a:pt x="406" y="1255"/>
                      </a:lnTo>
                      <a:lnTo>
                        <a:pt x="406" y="1253"/>
                      </a:lnTo>
                      <a:lnTo>
                        <a:pt x="408" y="1253"/>
                      </a:lnTo>
                      <a:lnTo>
                        <a:pt x="406" y="1253"/>
                      </a:lnTo>
                      <a:lnTo>
                        <a:pt x="406" y="1252"/>
                      </a:lnTo>
                      <a:lnTo>
                        <a:pt x="408" y="1252"/>
                      </a:lnTo>
                      <a:lnTo>
                        <a:pt x="408" y="1250"/>
                      </a:lnTo>
                      <a:lnTo>
                        <a:pt x="408" y="1252"/>
                      </a:lnTo>
                      <a:lnTo>
                        <a:pt x="410" y="1252"/>
                      </a:lnTo>
                      <a:lnTo>
                        <a:pt x="410" y="1250"/>
                      </a:lnTo>
                      <a:lnTo>
                        <a:pt x="411" y="1248"/>
                      </a:lnTo>
                      <a:lnTo>
                        <a:pt x="413" y="1248"/>
                      </a:lnTo>
                      <a:lnTo>
                        <a:pt x="413" y="1246"/>
                      </a:lnTo>
                      <a:lnTo>
                        <a:pt x="413" y="1244"/>
                      </a:lnTo>
                      <a:lnTo>
                        <a:pt x="413" y="1242"/>
                      </a:lnTo>
                      <a:lnTo>
                        <a:pt x="411" y="1242"/>
                      </a:lnTo>
                      <a:lnTo>
                        <a:pt x="413" y="1242"/>
                      </a:lnTo>
                      <a:lnTo>
                        <a:pt x="411" y="1242"/>
                      </a:lnTo>
                      <a:lnTo>
                        <a:pt x="411" y="1240"/>
                      </a:lnTo>
                      <a:lnTo>
                        <a:pt x="411" y="1238"/>
                      </a:lnTo>
                      <a:lnTo>
                        <a:pt x="410" y="1233"/>
                      </a:lnTo>
                      <a:lnTo>
                        <a:pt x="408" y="1229"/>
                      </a:lnTo>
                      <a:lnTo>
                        <a:pt x="404" y="1221"/>
                      </a:lnTo>
                      <a:lnTo>
                        <a:pt x="400" y="1216"/>
                      </a:lnTo>
                      <a:lnTo>
                        <a:pt x="396" y="1212"/>
                      </a:lnTo>
                      <a:lnTo>
                        <a:pt x="395" y="1210"/>
                      </a:lnTo>
                      <a:lnTo>
                        <a:pt x="393" y="1208"/>
                      </a:lnTo>
                      <a:lnTo>
                        <a:pt x="391" y="1206"/>
                      </a:lnTo>
                      <a:lnTo>
                        <a:pt x="389" y="1206"/>
                      </a:lnTo>
                      <a:lnTo>
                        <a:pt x="387" y="1206"/>
                      </a:lnTo>
                      <a:lnTo>
                        <a:pt x="387" y="1205"/>
                      </a:lnTo>
                      <a:lnTo>
                        <a:pt x="385" y="1205"/>
                      </a:lnTo>
                      <a:lnTo>
                        <a:pt x="385" y="1206"/>
                      </a:lnTo>
                      <a:lnTo>
                        <a:pt x="383" y="1206"/>
                      </a:lnTo>
                      <a:lnTo>
                        <a:pt x="381" y="1206"/>
                      </a:lnTo>
                      <a:lnTo>
                        <a:pt x="379" y="1206"/>
                      </a:lnTo>
                      <a:lnTo>
                        <a:pt x="379" y="1208"/>
                      </a:lnTo>
                      <a:lnTo>
                        <a:pt x="379" y="1210"/>
                      </a:lnTo>
                      <a:lnTo>
                        <a:pt x="378" y="1210"/>
                      </a:lnTo>
                      <a:lnTo>
                        <a:pt x="378" y="1208"/>
                      </a:lnTo>
                      <a:lnTo>
                        <a:pt x="378" y="1210"/>
                      </a:lnTo>
                      <a:lnTo>
                        <a:pt x="376" y="1210"/>
                      </a:lnTo>
                      <a:lnTo>
                        <a:pt x="376" y="1212"/>
                      </a:lnTo>
                      <a:lnTo>
                        <a:pt x="374" y="1212"/>
                      </a:lnTo>
                      <a:lnTo>
                        <a:pt x="376" y="1212"/>
                      </a:lnTo>
                      <a:lnTo>
                        <a:pt x="374" y="1212"/>
                      </a:lnTo>
                      <a:lnTo>
                        <a:pt x="374" y="1214"/>
                      </a:lnTo>
                      <a:lnTo>
                        <a:pt x="372" y="1214"/>
                      </a:lnTo>
                      <a:lnTo>
                        <a:pt x="370" y="1214"/>
                      </a:lnTo>
                      <a:lnTo>
                        <a:pt x="370" y="1212"/>
                      </a:lnTo>
                      <a:lnTo>
                        <a:pt x="368" y="1212"/>
                      </a:lnTo>
                      <a:lnTo>
                        <a:pt x="368" y="1214"/>
                      </a:lnTo>
                      <a:lnTo>
                        <a:pt x="368" y="1212"/>
                      </a:lnTo>
                      <a:lnTo>
                        <a:pt x="368" y="1210"/>
                      </a:lnTo>
                      <a:lnTo>
                        <a:pt x="366" y="1212"/>
                      </a:lnTo>
                      <a:lnTo>
                        <a:pt x="366" y="1210"/>
                      </a:lnTo>
                      <a:lnTo>
                        <a:pt x="364" y="1210"/>
                      </a:lnTo>
                      <a:lnTo>
                        <a:pt x="364" y="1208"/>
                      </a:lnTo>
                      <a:lnTo>
                        <a:pt x="363" y="1208"/>
                      </a:lnTo>
                      <a:lnTo>
                        <a:pt x="361" y="1208"/>
                      </a:lnTo>
                      <a:lnTo>
                        <a:pt x="361" y="1206"/>
                      </a:lnTo>
                      <a:lnTo>
                        <a:pt x="359" y="1208"/>
                      </a:lnTo>
                      <a:lnTo>
                        <a:pt x="357" y="1208"/>
                      </a:lnTo>
                      <a:lnTo>
                        <a:pt x="355" y="1208"/>
                      </a:lnTo>
                      <a:lnTo>
                        <a:pt x="353" y="1208"/>
                      </a:lnTo>
                      <a:lnTo>
                        <a:pt x="353" y="1210"/>
                      </a:lnTo>
                      <a:lnTo>
                        <a:pt x="353" y="1208"/>
                      </a:lnTo>
                      <a:lnTo>
                        <a:pt x="351" y="1208"/>
                      </a:lnTo>
                      <a:lnTo>
                        <a:pt x="349" y="1208"/>
                      </a:lnTo>
                      <a:lnTo>
                        <a:pt x="349" y="1206"/>
                      </a:lnTo>
                      <a:lnTo>
                        <a:pt x="347" y="1206"/>
                      </a:lnTo>
                      <a:lnTo>
                        <a:pt x="347" y="1205"/>
                      </a:lnTo>
                      <a:lnTo>
                        <a:pt x="347" y="1203"/>
                      </a:lnTo>
                      <a:lnTo>
                        <a:pt x="349" y="1203"/>
                      </a:lnTo>
                      <a:lnTo>
                        <a:pt x="349" y="1201"/>
                      </a:lnTo>
                      <a:lnTo>
                        <a:pt x="347" y="1201"/>
                      </a:lnTo>
                      <a:lnTo>
                        <a:pt x="347" y="1199"/>
                      </a:lnTo>
                      <a:lnTo>
                        <a:pt x="347" y="1197"/>
                      </a:lnTo>
                      <a:lnTo>
                        <a:pt x="344" y="1193"/>
                      </a:lnTo>
                      <a:lnTo>
                        <a:pt x="342" y="1193"/>
                      </a:lnTo>
                      <a:lnTo>
                        <a:pt x="340" y="1191"/>
                      </a:lnTo>
                      <a:lnTo>
                        <a:pt x="334" y="1188"/>
                      </a:lnTo>
                      <a:lnTo>
                        <a:pt x="332" y="1186"/>
                      </a:lnTo>
                      <a:lnTo>
                        <a:pt x="329" y="1184"/>
                      </a:lnTo>
                      <a:lnTo>
                        <a:pt x="327" y="1184"/>
                      </a:lnTo>
                      <a:lnTo>
                        <a:pt x="325" y="1186"/>
                      </a:lnTo>
                      <a:lnTo>
                        <a:pt x="323" y="1186"/>
                      </a:lnTo>
                      <a:lnTo>
                        <a:pt x="321" y="1186"/>
                      </a:lnTo>
                      <a:lnTo>
                        <a:pt x="319" y="1186"/>
                      </a:lnTo>
                      <a:lnTo>
                        <a:pt x="317" y="1186"/>
                      </a:lnTo>
                      <a:lnTo>
                        <a:pt x="317" y="1184"/>
                      </a:lnTo>
                      <a:lnTo>
                        <a:pt x="316" y="1184"/>
                      </a:lnTo>
                      <a:lnTo>
                        <a:pt x="316" y="1186"/>
                      </a:lnTo>
                      <a:lnTo>
                        <a:pt x="314" y="1186"/>
                      </a:lnTo>
                      <a:lnTo>
                        <a:pt x="314" y="1188"/>
                      </a:lnTo>
                      <a:lnTo>
                        <a:pt x="312" y="1188"/>
                      </a:lnTo>
                      <a:lnTo>
                        <a:pt x="312" y="1189"/>
                      </a:lnTo>
                      <a:lnTo>
                        <a:pt x="310" y="1189"/>
                      </a:lnTo>
                      <a:lnTo>
                        <a:pt x="308" y="1189"/>
                      </a:lnTo>
                      <a:lnTo>
                        <a:pt x="308" y="1191"/>
                      </a:lnTo>
                      <a:lnTo>
                        <a:pt x="306" y="1189"/>
                      </a:lnTo>
                      <a:lnTo>
                        <a:pt x="304" y="1189"/>
                      </a:lnTo>
                      <a:lnTo>
                        <a:pt x="302" y="1189"/>
                      </a:lnTo>
                      <a:lnTo>
                        <a:pt x="300" y="1189"/>
                      </a:lnTo>
                      <a:lnTo>
                        <a:pt x="300" y="1188"/>
                      </a:lnTo>
                      <a:lnTo>
                        <a:pt x="300" y="1189"/>
                      </a:lnTo>
                      <a:lnTo>
                        <a:pt x="299" y="1189"/>
                      </a:lnTo>
                      <a:lnTo>
                        <a:pt x="297" y="1189"/>
                      </a:lnTo>
                      <a:lnTo>
                        <a:pt x="295" y="1189"/>
                      </a:lnTo>
                      <a:lnTo>
                        <a:pt x="293" y="1189"/>
                      </a:lnTo>
                      <a:lnTo>
                        <a:pt x="293" y="1191"/>
                      </a:lnTo>
                      <a:lnTo>
                        <a:pt x="291" y="1191"/>
                      </a:lnTo>
                      <a:lnTo>
                        <a:pt x="291" y="1193"/>
                      </a:lnTo>
                      <a:lnTo>
                        <a:pt x="291" y="1191"/>
                      </a:lnTo>
                      <a:lnTo>
                        <a:pt x="291" y="1193"/>
                      </a:lnTo>
                      <a:lnTo>
                        <a:pt x="289" y="1193"/>
                      </a:lnTo>
                      <a:lnTo>
                        <a:pt x="291" y="1193"/>
                      </a:lnTo>
                      <a:lnTo>
                        <a:pt x="289" y="1195"/>
                      </a:lnTo>
                      <a:lnTo>
                        <a:pt x="289" y="1193"/>
                      </a:lnTo>
                      <a:lnTo>
                        <a:pt x="287" y="1193"/>
                      </a:lnTo>
                      <a:lnTo>
                        <a:pt x="285" y="1193"/>
                      </a:lnTo>
                      <a:lnTo>
                        <a:pt x="284" y="1193"/>
                      </a:lnTo>
                      <a:lnTo>
                        <a:pt x="282" y="1193"/>
                      </a:lnTo>
                      <a:lnTo>
                        <a:pt x="282" y="1195"/>
                      </a:lnTo>
                      <a:lnTo>
                        <a:pt x="280" y="1195"/>
                      </a:lnTo>
                      <a:lnTo>
                        <a:pt x="280" y="1197"/>
                      </a:lnTo>
                      <a:lnTo>
                        <a:pt x="282" y="1197"/>
                      </a:lnTo>
                      <a:lnTo>
                        <a:pt x="282" y="1199"/>
                      </a:lnTo>
                      <a:lnTo>
                        <a:pt x="280" y="1199"/>
                      </a:lnTo>
                      <a:lnTo>
                        <a:pt x="280" y="1197"/>
                      </a:lnTo>
                      <a:lnTo>
                        <a:pt x="278" y="1197"/>
                      </a:lnTo>
                      <a:lnTo>
                        <a:pt x="278" y="1195"/>
                      </a:lnTo>
                      <a:lnTo>
                        <a:pt x="276" y="1195"/>
                      </a:lnTo>
                      <a:lnTo>
                        <a:pt x="274" y="1195"/>
                      </a:lnTo>
                      <a:lnTo>
                        <a:pt x="274" y="1197"/>
                      </a:lnTo>
                      <a:lnTo>
                        <a:pt x="274" y="1199"/>
                      </a:lnTo>
                      <a:lnTo>
                        <a:pt x="272" y="1199"/>
                      </a:lnTo>
                      <a:lnTo>
                        <a:pt x="272" y="1197"/>
                      </a:lnTo>
                      <a:lnTo>
                        <a:pt x="270" y="1197"/>
                      </a:lnTo>
                      <a:lnTo>
                        <a:pt x="272" y="1195"/>
                      </a:lnTo>
                      <a:lnTo>
                        <a:pt x="272" y="1193"/>
                      </a:lnTo>
                      <a:lnTo>
                        <a:pt x="270" y="1193"/>
                      </a:lnTo>
                      <a:lnTo>
                        <a:pt x="270" y="1191"/>
                      </a:lnTo>
                      <a:lnTo>
                        <a:pt x="268" y="1191"/>
                      </a:lnTo>
                      <a:lnTo>
                        <a:pt x="270" y="1189"/>
                      </a:lnTo>
                      <a:lnTo>
                        <a:pt x="268" y="1188"/>
                      </a:lnTo>
                      <a:lnTo>
                        <a:pt x="268" y="1186"/>
                      </a:lnTo>
                      <a:lnTo>
                        <a:pt x="270" y="1186"/>
                      </a:lnTo>
                      <a:lnTo>
                        <a:pt x="272" y="1186"/>
                      </a:lnTo>
                      <a:lnTo>
                        <a:pt x="274" y="1184"/>
                      </a:lnTo>
                      <a:lnTo>
                        <a:pt x="272" y="1182"/>
                      </a:lnTo>
                      <a:lnTo>
                        <a:pt x="270" y="1182"/>
                      </a:lnTo>
                      <a:lnTo>
                        <a:pt x="270" y="1180"/>
                      </a:lnTo>
                      <a:lnTo>
                        <a:pt x="270" y="1178"/>
                      </a:lnTo>
                      <a:lnTo>
                        <a:pt x="270" y="1176"/>
                      </a:lnTo>
                      <a:lnTo>
                        <a:pt x="270" y="1174"/>
                      </a:lnTo>
                      <a:lnTo>
                        <a:pt x="268" y="1174"/>
                      </a:lnTo>
                      <a:lnTo>
                        <a:pt x="268" y="1173"/>
                      </a:lnTo>
                      <a:lnTo>
                        <a:pt x="268" y="1171"/>
                      </a:lnTo>
                      <a:lnTo>
                        <a:pt x="270" y="1171"/>
                      </a:lnTo>
                      <a:lnTo>
                        <a:pt x="270" y="1169"/>
                      </a:lnTo>
                      <a:lnTo>
                        <a:pt x="270" y="1167"/>
                      </a:lnTo>
                      <a:lnTo>
                        <a:pt x="272" y="1167"/>
                      </a:lnTo>
                      <a:lnTo>
                        <a:pt x="272" y="1165"/>
                      </a:lnTo>
                      <a:lnTo>
                        <a:pt x="272" y="1163"/>
                      </a:lnTo>
                      <a:lnTo>
                        <a:pt x="274" y="1163"/>
                      </a:lnTo>
                      <a:lnTo>
                        <a:pt x="276" y="1163"/>
                      </a:lnTo>
                      <a:lnTo>
                        <a:pt x="276" y="1161"/>
                      </a:lnTo>
                      <a:lnTo>
                        <a:pt x="278" y="1161"/>
                      </a:lnTo>
                      <a:lnTo>
                        <a:pt x="278" y="1159"/>
                      </a:lnTo>
                      <a:lnTo>
                        <a:pt x="280" y="1159"/>
                      </a:lnTo>
                      <a:lnTo>
                        <a:pt x="280" y="1157"/>
                      </a:lnTo>
                      <a:lnTo>
                        <a:pt x="280" y="1156"/>
                      </a:lnTo>
                      <a:lnTo>
                        <a:pt x="280" y="1154"/>
                      </a:lnTo>
                      <a:lnTo>
                        <a:pt x="280" y="1152"/>
                      </a:lnTo>
                      <a:lnTo>
                        <a:pt x="278" y="1152"/>
                      </a:lnTo>
                      <a:lnTo>
                        <a:pt x="278" y="1150"/>
                      </a:lnTo>
                      <a:lnTo>
                        <a:pt x="276" y="1148"/>
                      </a:lnTo>
                      <a:lnTo>
                        <a:pt x="274" y="1148"/>
                      </a:lnTo>
                      <a:lnTo>
                        <a:pt x="274" y="1146"/>
                      </a:lnTo>
                      <a:lnTo>
                        <a:pt x="274" y="1144"/>
                      </a:lnTo>
                      <a:lnTo>
                        <a:pt x="274" y="1142"/>
                      </a:lnTo>
                      <a:lnTo>
                        <a:pt x="272" y="1142"/>
                      </a:lnTo>
                      <a:lnTo>
                        <a:pt x="272" y="1140"/>
                      </a:lnTo>
                      <a:lnTo>
                        <a:pt x="270" y="1139"/>
                      </a:lnTo>
                      <a:lnTo>
                        <a:pt x="270" y="1137"/>
                      </a:lnTo>
                      <a:lnTo>
                        <a:pt x="270" y="1135"/>
                      </a:lnTo>
                      <a:lnTo>
                        <a:pt x="272" y="1135"/>
                      </a:lnTo>
                      <a:lnTo>
                        <a:pt x="272" y="1133"/>
                      </a:lnTo>
                      <a:lnTo>
                        <a:pt x="274" y="1133"/>
                      </a:lnTo>
                      <a:lnTo>
                        <a:pt x="276" y="1131"/>
                      </a:lnTo>
                      <a:lnTo>
                        <a:pt x="278" y="1131"/>
                      </a:lnTo>
                      <a:lnTo>
                        <a:pt x="280" y="1129"/>
                      </a:lnTo>
                      <a:lnTo>
                        <a:pt x="282" y="1129"/>
                      </a:lnTo>
                      <a:lnTo>
                        <a:pt x="280" y="1129"/>
                      </a:lnTo>
                      <a:lnTo>
                        <a:pt x="282" y="1129"/>
                      </a:lnTo>
                      <a:lnTo>
                        <a:pt x="282" y="1127"/>
                      </a:lnTo>
                      <a:lnTo>
                        <a:pt x="284" y="1127"/>
                      </a:lnTo>
                      <a:lnTo>
                        <a:pt x="282" y="1125"/>
                      </a:lnTo>
                      <a:lnTo>
                        <a:pt x="280" y="1125"/>
                      </a:lnTo>
                      <a:lnTo>
                        <a:pt x="280" y="1124"/>
                      </a:lnTo>
                      <a:lnTo>
                        <a:pt x="280" y="1125"/>
                      </a:lnTo>
                      <a:lnTo>
                        <a:pt x="280" y="1124"/>
                      </a:lnTo>
                      <a:lnTo>
                        <a:pt x="278" y="1124"/>
                      </a:lnTo>
                      <a:lnTo>
                        <a:pt x="278" y="1122"/>
                      </a:lnTo>
                      <a:lnTo>
                        <a:pt x="276" y="1118"/>
                      </a:lnTo>
                      <a:lnTo>
                        <a:pt x="274" y="1118"/>
                      </a:lnTo>
                      <a:lnTo>
                        <a:pt x="274" y="1116"/>
                      </a:lnTo>
                      <a:lnTo>
                        <a:pt x="272" y="1116"/>
                      </a:lnTo>
                      <a:lnTo>
                        <a:pt x="272" y="1114"/>
                      </a:lnTo>
                      <a:lnTo>
                        <a:pt x="270" y="1114"/>
                      </a:lnTo>
                      <a:lnTo>
                        <a:pt x="270" y="1112"/>
                      </a:lnTo>
                      <a:lnTo>
                        <a:pt x="268" y="1110"/>
                      </a:lnTo>
                      <a:lnTo>
                        <a:pt x="268" y="1108"/>
                      </a:lnTo>
                      <a:lnTo>
                        <a:pt x="267" y="1108"/>
                      </a:lnTo>
                      <a:lnTo>
                        <a:pt x="261" y="1105"/>
                      </a:lnTo>
                      <a:lnTo>
                        <a:pt x="257" y="1103"/>
                      </a:lnTo>
                      <a:lnTo>
                        <a:pt x="253" y="1103"/>
                      </a:lnTo>
                      <a:lnTo>
                        <a:pt x="250" y="1101"/>
                      </a:lnTo>
                      <a:lnTo>
                        <a:pt x="238" y="1101"/>
                      </a:lnTo>
                      <a:lnTo>
                        <a:pt x="237" y="1101"/>
                      </a:lnTo>
                      <a:lnTo>
                        <a:pt x="235" y="1101"/>
                      </a:lnTo>
                      <a:lnTo>
                        <a:pt x="231" y="1101"/>
                      </a:lnTo>
                      <a:lnTo>
                        <a:pt x="227" y="1101"/>
                      </a:lnTo>
                      <a:lnTo>
                        <a:pt x="221" y="1101"/>
                      </a:lnTo>
                      <a:lnTo>
                        <a:pt x="220" y="1101"/>
                      </a:lnTo>
                      <a:lnTo>
                        <a:pt x="218" y="1101"/>
                      </a:lnTo>
                      <a:lnTo>
                        <a:pt x="212" y="1103"/>
                      </a:lnTo>
                      <a:lnTo>
                        <a:pt x="205" y="1105"/>
                      </a:lnTo>
                      <a:lnTo>
                        <a:pt x="203" y="1105"/>
                      </a:lnTo>
                      <a:lnTo>
                        <a:pt x="203" y="1107"/>
                      </a:lnTo>
                      <a:lnTo>
                        <a:pt x="201" y="1107"/>
                      </a:lnTo>
                      <a:lnTo>
                        <a:pt x="199" y="1107"/>
                      </a:lnTo>
                      <a:lnTo>
                        <a:pt x="191" y="1108"/>
                      </a:lnTo>
                      <a:lnTo>
                        <a:pt x="189" y="1108"/>
                      </a:lnTo>
                      <a:lnTo>
                        <a:pt x="186" y="1110"/>
                      </a:lnTo>
                      <a:lnTo>
                        <a:pt x="184" y="1110"/>
                      </a:lnTo>
                      <a:lnTo>
                        <a:pt x="182" y="1110"/>
                      </a:lnTo>
                      <a:lnTo>
                        <a:pt x="182" y="1112"/>
                      </a:lnTo>
                      <a:lnTo>
                        <a:pt x="180" y="1112"/>
                      </a:lnTo>
                      <a:lnTo>
                        <a:pt x="180" y="1114"/>
                      </a:lnTo>
                      <a:lnTo>
                        <a:pt x="178" y="1114"/>
                      </a:lnTo>
                      <a:lnTo>
                        <a:pt x="178" y="1116"/>
                      </a:lnTo>
                      <a:lnTo>
                        <a:pt x="176" y="1118"/>
                      </a:lnTo>
                      <a:lnTo>
                        <a:pt x="176" y="1120"/>
                      </a:lnTo>
                      <a:lnTo>
                        <a:pt x="174" y="1120"/>
                      </a:lnTo>
                      <a:lnTo>
                        <a:pt x="173" y="1120"/>
                      </a:lnTo>
                      <a:lnTo>
                        <a:pt x="173" y="1122"/>
                      </a:lnTo>
                      <a:lnTo>
                        <a:pt x="171" y="1122"/>
                      </a:lnTo>
                      <a:lnTo>
                        <a:pt x="173" y="1122"/>
                      </a:lnTo>
                      <a:lnTo>
                        <a:pt x="173" y="1124"/>
                      </a:lnTo>
                      <a:lnTo>
                        <a:pt x="174" y="1125"/>
                      </a:lnTo>
                      <a:lnTo>
                        <a:pt x="173" y="1125"/>
                      </a:lnTo>
                      <a:lnTo>
                        <a:pt x="173" y="1127"/>
                      </a:lnTo>
                      <a:lnTo>
                        <a:pt x="171" y="1127"/>
                      </a:lnTo>
                      <a:lnTo>
                        <a:pt x="171" y="1129"/>
                      </a:lnTo>
                      <a:lnTo>
                        <a:pt x="173" y="1129"/>
                      </a:lnTo>
                      <a:lnTo>
                        <a:pt x="171" y="1129"/>
                      </a:lnTo>
                      <a:lnTo>
                        <a:pt x="171" y="1131"/>
                      </a:lnTo>
                      <a:lnTo>
                        <a:pt x="171" y="1133"/>
                      </a:lnTo>
                      <a:lnTo>
                        <a:pt x="171" y="1135"/>
                      </a:lnTo>
                      <a:lnTo>
                        <a:pt x="171" y="1137"/>
                      </a:lnTo>
                      <a:lnTo>
                        <a:pt x="173" y="1139"/>
                      </a:lnTo>
                      <a:lnTo>
                        <a:pt x="171" y="1139"/>
                      </a:lnTo>
                      <a:lnTo>
                        <a:pt x="173" y="1139"/>
                      </a:lnTo>
                      <a:lnTo>
                        <a:pt x="173" y="1137"/>
                      </a:lnTo>
                      <a:lnTo>
                        <a:pt x="173" y="1139"/>
                      </a:lnTo>
                      <a:lnTo>
                        <a:pt x="173" y="1137"/>
                      </a:lnTo>
                      <a:lnTo>
                        <a:pt x="174" y="1137"/>
                      </a:lnTo>
                      <a:lnTo>
                        <a:pt x="173" y="1137"/>
                      </a:lnTo>
                      <a:lnTo>
                        <a:pt x="174" y="1137"/>
                      </a:lnTo>
                      <a:lnTo>
                        <a:pt x="173" y="1135"/>
                      </a:lnTo>
                      <a:lnTo>
                        <a:pt x="173" y="1137"/>
                      </a:lnTo>
                      <a:lnTo>
                        <a:pt x="173" y="1135"/>
                      </a:lnTo>
                      <a:lnTo>
                        <a:pt x="174" y="1137"/>
                      </a:lnTo>
                      <a:lnTo>
                        <a:pt x="174" y="1139"/>
                      </a:lnTo>
                      <a:lnTo>
                        <a:pt x="176" y="1139"/>
                      </a:lnTo>
                      <a:lnTo>
                        <a:pt x="176" y="1140"/>
                      </a:lnTo>
                      <a:lnTo>
                        <a:pt x="178" y="1140"/>
                      </a:lnTo>
                      <a:lnTo>
                        <a:pt x="178" y="1142"/>
                      </a:lnTo>
                      <a:lnTo>
                        <a:pt x="180" y="1142"/>
                      </a:lnTo>
                      <a:lnTo>
                        <a:pt x="180" y="1144"/>
                      </a:lnTo>
                      <a:lnTo>
                        <a:pt x="180" y="1146"/>
                      </a:lnTo>
                      <a:lnTo>
                        <a:pt x="180" y="1148"/>
                      </a:lnTo>
                      <a:lnTo>
                        <a:pt x="182" y="1148"/>
                      </a:lnTo>
                      <a:lnTo>
                        <a:pt x="182" y="1150"/>
                      </a:lnTo>
                      <a:lnTo>
                        <a:pt x="184" y="1150"/>
                      </a:lnTo>
                      <a:lnTo>
                        <a:pt x="182" y="1150"/>
                      </a:lnTo>
                      <a:lnTo>
                        <a:pt x="182" y="1152"/>
                      </a:lnTo>
                      <a:lnTo>
                        <a:pt x="184" y="1152"/>
                      </a:lnTo>
                      <a:lnTo>
                        <a:pt x="182" y="1152"/>
                      </a:lnTo>
                      <a:lnTo>
                        <a:pt x="182" y="1154"/>
                      </a:lnTo>
                      <a:lnTo>
                        <a:pt x="182" y="1156"/>
                      </a:lnTo>
                      <a:lnTo>
                        <a:pt x="184" y="1156"/>
                      </a:lnTo>
                      <a:lnTo>
                        <a:pt x="182" y="1156"/>
                      </a:lnTo>
                      <a:lnTo>
                        <a:pt x="182" y="1157"/>
                      </a:lnTo>
                      <a:lnTo>
                        <a:pt x="184" y="1157"/>
                      </a:lnTo>
                      <a:lnTo>
                        <a:pt x="182" y="1157"/>
                      </a:lnTo>
                      <a:lnTo>
                        <a:pt x="182" y="1159"/>
                      </a:lnTo>
                      <a:lnTo>
                        <a:pt x="180" y="1161"/>
                      </a:lnTo>
                      <a:lnTo>
                        <a:pt x="180" y="1163"/>
                      </a:lnTo>
                      <a:lnTo>
                        <a:pt x="182" y="1163"/>
                      </a:lnTo>
                      <a:lnTo>
                        <a:pt x="182" y="1165"/>
                      </a:lnTo>
                      <a:lnTo>
                        <a:pt x="182" y="1167"/>
                      </a:lnTo>
                      <a:lnTo>
                        <a:pt x="180" y="1167"/>
                      </a:lnTo>
                      <a:lnTo>
                        <a:pt x="180" y="1169"/>
                      </a:lnTo>
                      <a:lnTo>
                        <a:pt x="180" y="1171"/>
                      </a:lnTo>
                      <a:lnTo>
                        <a:pt x="180" y="1173"/>
                      </a:lnTo>
                      <a:lnTo>
                        <a:pt x="180" y="1174"/>
                      </a:lnTo>
                      <a:lnTo>
                        <a:pt x="178" y="1174"/>
                      </a:lnTo>
                      <a:lnTo>
                        <a:pt x="180" y="1174"/>
                      </a:lnTo>
                      <a:lnTo>
                        <a:pt x="180" y="1176"/>
                      </a:lnTo>
                      <a:lnTo>
                        <a:pt x="178" y="1176"/>
                      </a:lnTo>
                      <a:lnTo>
                        <a:pt x="178" y="1178"/>
                      </a:lnTo>
                      <a:lnTo>
                        <a:pt x="180" y="1178"/>
                      </a:lnTo>
                      <a:lnTo>
                        <a:pt x="180" y="1180"/>
                      </a:lnTo>
                      <a:lnTo>
                        <a:pt x="180" y="1182"/>
                      </a:lnTo>
                      <a:lnTo>
                        <a:pt x="182" y="1182"/>
                      </a:lnTo>
                      <a:lnTo>
                        <a:pt x="182" y="1184"/>
                      </a:lnTo>
                      <a:lnTo>
                        <a:pt x="184" y="1184"/>
                      </a:lnTo>
                      <a:lnTo>
                        <a:pt x="184" y="1186"/>
                      </a:lnTo>
                      <a:lnTo>
                        <a:pt x="186" y="1186"/>
                      </a:lnTo>
                      <a:lnTo>
                        <a:pt x="186" y="1188"/>
                      </a:lnTo>
                      <a:lnTo>
                        <a:pt x="188" y="1188"/>
                      </a:lnTo>
                      <a:lnTo>
                        <a:pt x="188" y="1189"/>
                      </a:lnTo>
                      <a:lnTo>
                        <a:pt x="188" y="1188"/>
                      </a:lnTo>
                      <a:lnTo>
                        <a:pt x="186" y="1188"/>
                      </a:lnTo>
                      <a:lnTo>
                        <a:pt x="184" y="1188"/>
                      </a:lnTo>
                      <a:lnTo>
                        <a:pt x="184" y="1189"/>
                      </a:lnTo>
                      <a:lnTo>
                        <a:pt x="182" y="1189"/>
                      </a:lnTo>
                      <a:lnTo>
                        <a:pt x="182" y="1188"/>
                      </a:lnTo>
                      <a:lnTo>
                        <a:pt x="180" y="1188"/>
                      </a:lnTo>
                      <a:lnTo>
                        <a:pt x="180" y="1186"/>
                      </a:lnTo>
                      <a:lnTo>
                        <a:pt x="178" y="1186"/>
                      </a:lnTo>
                      <a:lnTo>
                        <a:pt x="178" y="1184"/>
                      </a:lnTo>
                      <a:lnTo>
                        <a:pt x="178" y="1182"/>
                      </a:lnTo>
                      <a:lnTo>
                        <a:pt x="176" y="1182"/>
                      </a:lnTo>
                      <a:lnTo>
                        <a:pt x="174" y="1182"/>
                      </a:lnTo>
                      <a:lnTo>
                        <a:pt x="173" y="1182"/>
                      </a:lnTo>
                      <a:lnTo>
                        <a:pt x="171" y="1180"/>
                      </a:lnTo>
                      <a:lnTo>
                        <a:pt x="169" y="1180"/>
                      </a:lnTo>
                      <a:lnTo>
                        <a:pt x="169" y="1178"/>
                      </a:lnTo>
                      <a:lnTo>
                        <a:pt x="167" y="1178"/>
                      </a:lnTo>
                      <a:lnTo>
                        <a:pt x="167" y="1176"/>
                      </a:lnTo>
                      <a:lnTo>
                        <a:pt x="165" y="1176"/>
                      </a:lnTo>
                      <a:lnTo>
                        <a:pt x="165" y="1174"/>
                      </a:lnTo>
                      <a:lnTo>
                        <a:pt x="163" y="1174"/>
                      </a:lnTo>
                      <a:lnTo>
                        <a:pt x="163" y="1173"/>
                      </a:lnTo>
                      <a:lnTo>
                        <a:pt x="165" y="1173"/>
                      </a:lnTo>
                      <a:lnTo>
                        <a:pt x="163" y="1169"/>
                      </a:lnTo>
                      <a:lnTo>
                        <a:pt x="163" y="1167"/>
                      </a:lnTo>
                      <a:lnTo>
                        <a:pt x="161" y="1167"/>
                      </a:lnTo>
                      <a:lnTo>
                        <a:pt x="161" y="1165"/>
                      </a:lnTo>
                      <a:lnTo>
                        <a:pt x="161" y="1163"/>
                      </a:lnTo>
                      <a:lnTo>
                        <a:pt x="159" y="1163"/>
                      </a:lnTo>
                      <a:lnTo>
                        <a:pt x="158" y="1163"/>
                      </a:lnTo>
                      <a:lnTo>
                        <a:pt x="158" y="1161"/>
                      </a:lnTo>
                      <a:lnTo>
                        <a:pt x="159" y="1161"/>
                      </a:lnTo>
                      <a:lnTo>
                        <a:pt x="159" y="1159"/>
                      </a:lnTo>
                      <a:lnTo>
                        <a:pt x="158" y="1159"/>
                      </a:lnTo>
                      <a:lnTo>
                        <a:pt x="158" y="1157"/>
                      </a:lnTo>
                      <a:lnTo>
                        <a:pt x="159" y="1157"/>
                      </a:lnTo>
                      <a:lnTo>
                        <a:pt x="158" y="1157"/>
                      </a:lnTo>
                      <a:lnTo>
                        <a:pt x="158" y="1156"/>
                      </a:lnTo>
                      <a:lnTo>
                        <a:pt x="159" y="1156"/>
                      </a:lnTo>
                      <a:lnTo>
                        <a:pt x="158" y="1156"/>
                      </a:lnTo>
                      <a:lnTo>
                        <a:pt x="158" y="1154"/>
                      </a:lnTo>
                      <a:lnTo>
                        <a:pt x="158" y="1152"/>
                      </a:lnTo>
                      <a:lnTo>
                        <a:pt x="158" y="1150"/>
                      </a:lnTo>
                      <a:lnTo>
                        <a:pt x="158" y="1148"/>
                      </a:lnTo>
                      <a:lnTo>
                        <a:pt x="158" y="1146"/>
                      </a:lnTo>
                      <a:lnTo>
                        <a:pt x="156" y="1146"/>
                      </a:lnTo>
                      <a:lnTo>
                        <a:pt x="156" y="1144"/>
                      </a:lnTo>
                      <a:lnTo>
                        <a:pt x="156" y="1142"/>
                      </a:lnTo>
                      <a:lnTo>
                        <a:pt x="156" y="1140"/>
                      </a:lnTo>
                      <a:lnTo>
                        <a:pt x="156" y="1139"/>
                      </a:lnTo>
                      <a:lnTo>
                        <a:pt x="154" y="1135"/>
                      </a:lnTo>
                      <a:lnTo>
                        <a:pt x="152" y="1135"/>
                      </a:lnTo>
                      <a:lnTo>
                        <a:pt x="152" y="1133"/>
                      </a:lnTo>
                      <a:lnTo>
                        <a:pt x="150" y="1133"/>
                      </a:lnTo>
                      <a:lnTo>
                        <a:pt x="148" y="1133"/>
                      </a:lnTo>
                      <a:lnTo>
                        <a:pt x="146" y="1131"/>
                      </a:lnTo>
                      <a:lnTo>
                        <a:pt x="146" y="1129"/>
                      </a:lnTo>
                      <a:lnTo>
                        <a:pt x="144" y="1127"/>
                      </a:lnTo>
                      <a:lnTo>
                        <a:pt x="142" y="1125"/>
                      </a:lnTo>
                      <a:lnTo>
                        <a:pt x="142" y="1124"/>
                      </a:lnTo>
                      <a:lnTo>
                        <a:pt x="144" y="1122"/>
                      </a:lnTo>
                      <a:lnTo>
                        <a:pt x="142" y="1122"/>
                      </a:lnTo>
                      <a:lnTo>
                        <a:pt x="144" y="1122"/>
                      </a:lnTo>
                      <a:lnTo>
                        <a:pt x="144" y="1120"/>
                      </a:lnTo>
                      <a:lnTo>
                        <a:pt x="146" y="1120"/>
                      </a:lnTo>
                      <a:lnTo>
                        <a:pt x="148" y="1118"/>
                      </a:lnTo>
                      <a:lnTo>
                        <a:pt x="150" y="1118"/>
                      </a:lnTo>
                      <a:lnTo>
                        <a:pt x="152" y="1116"/>
                      </a:lnTo>
                      <a:lnTo>
                        <a:pt x="152" y="1114"/>
                      </a:lnTo>
                      <a:lnTo>
                        <a:pt x="152" y="1112"/>
                      </a:lnTo>
                      <a:lnTo>
                        <a:pt x="152" y="1110"/>
                      </a:lnTo>
                      <a:lnTo>
                        <a:pt x="152" y="1108"/>
                      </a:lnTo>
                      <a:lnTo>
                        <a:pt x="150" y="1107"/>
                      </a:lnTo>
                      <a:lnTo>
                        <a:pt x="152" y="1105"/>
                      </a:lnTo>
                      <a:lnTo>
                        <a:pt x="152" y="1103"/>
                      </a:lnTo>
                      <a:lnTo>
                        <a:pt x="152" y="1101"/>
                      </a:lnTo>
                      <a:lnTo>
                        <a:pt x="154" y="1101"/>
                      </a:lnTo>
                      <a:lnTo>
                        <a:pt x="154" y="1099"/>
                      </a:lnTo>
                      <a:lnTo>
                        <a:pt x="156" y="1099"/>
                      </a:lnTo>
                      <a:lnTo>
                        <a:pt x="156" y="1097"/>
                      </a:lnTo>
                      <a:lnTo>
                        <a:pt x="154" y="1097"/>
                      </a:lnTo>
                      <a:lnTo>
                        <a:pt x="154" y="1095"/>
                      </a:lnTo>
                      <a:lnTo>
                        <a:pt x="154" y="1093"/>
                      </a:lnTo>
                      <a:lnTo>
                        <a:pt x="152" y="1093"/>
                      </a:lnTo>
                      <a:lnTo>
                        <a:pt x="150" y="1093"/>
                      </a:lnTo>
                      <a:lnTo>
                        <a:pt x="150" y="1095"/>
                      </a:lnTo>
                      <a:lnTo>
                        <a:pt x="150" y="1093"/>
                      </a:lnTo>
                      <a:lnTo>
                        <a:pt x="150" y="1095"/>
                      </a:lnTo>
                      <a:lnTo>
                        <a:pt x="148" y="1097"/>
                      </a:lnTo>
                      <a:lnTo>
                        <a:pt x="146" y="1097"/>
                      </a:lnTo>
                      <a:lnTo>
                        <a:pt x="146" y="1095"/>
                      </a:lnTo>
                      <a:lnTo>
                        <a:pt x="144" y="1097"/>
                      </a:lnTo>
                      <a:lnTo>
                        <a:pt x="144" y="1095"/>
                      </a:lnTo>
                      <a:lnTo>
                        <a:pt x="144" y="1093"/>
                      </a:lnTo>
                      <a:lnTo>
                        <a:pt x="142" y="1093"/>
                      </a:lnTo>
                      <a:lnTo>
                        <a:pt x="141" y="1092"/>
                      </a:lnTo>
                      <a:lnTo>
                        <a:pt x="141" y="1090"/>
                      </a:lnTo>
                      <a:lnTo>
                        <a:pt x="142" y="1088"/>
                      </a:lnTo>
                      <a:lnTo>
                        <a:pt x="141" y="1088"/>
                      </a:lnTo>
                      <a:lnTo>
                        <a:pt x="144" y="1086"/>
                      </a:lnTo>
                      <a:lnTo>
                        <a:pt x="146" y="1086"/>
                      </a:lnTo>
                      <a:lnTo>
                        <a:pt x="146" y="1084"/>
                      </a:lnTo>
                      <a:lnTo>
                        <a:pt x="146" y="1082"/>
                      </a:lnTo>
                      <a:lnTo>
                        <a:pt x="148" y="1082"/>
                      </a:lnTo>
                      <a:lnTo>
                        <a:pt x="148" y="1080"/>
                      </a:lnTo>
                      <a:lnTo>
                        <a:pt x="148" y="1078"/>
                      </a:lnTo>
                      <a:lnTo>
                        <a:pt x="150" y="1078"/>
                      </a:lnTo>
                      <a:lnTo>
                        <a:pt x="150" y="1076"/>
                      </a:lnTo>
                      <a:lnTo>
                        <a:pt x="150" y="1075"/>
                      </a:lnTo>
                      <a:lnTo>
                        <a:pt x="152" y="1075"/>
                      </a:lnTo>
                      <a:lnTo>
                        <a:pt x="152" y="1073"/>
                      </a:lnTo>
                      <a:lnTo>
                        <a:pt x="154" y="1073"/>
                      </a:lnTo>
                      <a:lnTo>
                        <a:pt x="154" y="1071"/>
                      </a:lnTo>
                      <a:lnTo>
                        <a:pt x="156" y="1071"/>
                      </a:lnTo>
                      <a:lnTo>
                        <a:pt x="156" y="1069"/>
                      </a:lnTo>
                      <a:lnTo>
                        <a:pt x="156" y="1067"/>
                      </a:lnTo>
                      <a:lnTo>
                        <a:pt x="156" y="1065"/>
                      </a:lnTo>
                      <a:lnTo>
                        <a:pt x="158" y="1065"/>
                      </a:lnTo>
                      <a:lnTo>
                        <a:pt x="158" y="1063"/>
                      </a:lnTo>
                      <a:lnTo>
                        <a:pt x="158" y="1061"/>
                      </a:lnTo>
                      <a:lnTo>
                        <a:pt x="156" y="1061"/>
                      </a:lnTo>
                      <a:lnTo>
                        <a:pt x="156" y="1060"/>
                      </a:lnTo>
                      <a:lnTo>
                        <a:pt x="158" y="1060"/>
                      </a:lnTo>
                      <a:lnTo>
                        <a:pt x="158" y="1058"/>
                      </a:lnTo>
                      <a:lnTo>
                        <a:pt x="158" y="1056"/>
                      </a:lnTo>
                      <a:lnTo>
                        <a:pt x="158" y="1054"/>
                      </a:lnTo>
                      <a:lnTo>
                        <a:pt x="159" y="1054"/>
                      </a:lnTo>
                      <a:lnTo>
                        <a:pt x="159" y="1052"/>
                      </a:lnTo>
                      <a:lnTo>
                        <a:pt x="161" y="1052"/>
                      </a:lnTo>
                      <a:lnTo>
                        <a:pt x="161" y="1050"/>
                      </a:lnTo>
                      <a:lnTo>
                        <a:pt x="163" y="1050"/>
                      </a:lnTo>
                      <a:lnTo>
                        <a:pt x="163" y="1048"/>
                      </a:lnTo>
                      <a:lnTo>
                        <a:pt x="165" y="1048"/>
                      </a:lnTo>
                      <a:lnTo>
                        <a:pt x="167" y="1046"/>
                      </a:lnTo>
                      <a:lnTo>
                        <a:pt x="167" y="1048"/>
                      </a:lnTo>
                      <a:lnTo>
                        <a:pt x="167" y="1046"/>
                      </a:lnTo>
                      <a:lnTo>
                        <a:pt x="167" y="1048"/>
                      </a:lnTo>
                      <a:lnTo>
                        <a:pt x="169" y="1048"/>
                      </a:lnTo>
                      <a:lnTo>
                        <a:pt x="171" y="1048"/>
                      </a:lnTo>
                      <a:lnTo>
                        <a:pt x="171" y="1046"/>
                      </a:lnTo>
                      <a:lnTo>
                        <a:pt x="171" y="1048"/>
                      </a:lnTo>
                      <a:lnTo>
                        <a:pt x="173" y="1046"/>
                      </a:lnTo>
                      <a:lnTo>
                        <a:pt x="171" y="1048"/>
                      </a:lnTo>
                      <a:lnTo>
                        <a:pt x="169" y="1048"/>
                      </a:lnTo>
                      <a:lnTo>
                        <a:pt x="169" y="1050"/>
                      </a:lnTo>
                      <a:lnTo>
                        <a:pt x="169" y="1048"/>
                      </a:lnTo>
                      <a:lnTo>
                        <a:pt x="169" y="1050"/>
                      </a:lnTo>
                      <a:lnTo>
                        <a:pt x="167" y="1050"/>
                      </a:lnTo>
                      <a:lnTo>
                        <a:pt x="169" y="1050"/>
                      </a:lnTo>
                      <a:lnTo>
                        <a:pt x="171" y="1050"/>
                      </a:lnTo>
                      <a:lnTo>
                        <a:pt x="169" y="1050"/>
                      </a:lnTo>
                      <a:lnTo>
                        <a:pt x="171" y="1050"/>
                      </a:lnTo>
                      <a:lnTo>
                        <a:pt x="171" y="1048"/>
                      </a:lnTo>
                      <a:lnTo>
                        <a:pt x="173" y="1048"/>
                      </a:lnTo>
                      <a:lnTo>
                        <a:pt x="173" y="1050"/>
                      </a:lnTo>
                      <a:lnTo>
                        <a:pt x="173" y="1048"/>
                      </a:lnTo>
                      <a:lnTo>
                        <a:pt x="173" y="1050"/>
                      </a:lnTo>
                      <a:lnTo>
                        <a:pt x="171" y="1050"/>
                      </a:lnTo>
                      <a:lnTo>
                        <a:pt x="173" y="1050"/>
                      </a:lnTo>
                      <a:lnTo>
                        <a:pt x="171" y="1050"/>
                      </a:lnTo>
                      <a:lnTo>
                        <a:pt x="174" y="1054"/>
                      </a:lnTo>
                      <a:lnTo>
                        <a:pt x="173" y="1052"/>
                      </a:lnTo>
                      <a:lnTo>
                        <a:pt x="174" y="1052"/>
                      </a:lnTo>
                      <a:lnTo>
                        <a:pt x="174" y="1054"/>
                      </a:lnTo>
                      <a:lnTo>
                        <a:pt x="174" y="1052"/>
                      </a:lnTo>
                      <a:lnTo>
                        <a:pt x="173" y="1052"/>
                      </a:lnTo>
                      <a:lnTo>
                        <a:pt x="173" y="1050"/>
                      </a:lnTo>
                      <a:lnTo>
                        <a:pt x="174" y="1050"/>
                      </a:lnTo>
                      <a:lnTo>
                        <a:pt x="176" y="1052"/>
                      </a:lnTo>
                      <a:lnTo>
                        <a:pt x="176" y="1054"/>
                      </a:lnTo>
                      <a:lnTo>
                        <a:pt x="176" y="1052"/>
                      </a:lnTo>
                      <a:lnTo>
                        <a:pt x="176" y="1054"/>
                      </a:lnTo>
                      <a:lnTo>
                        <a:pt x="178" y="1052"/>
                      </a:lnTo>
                      <a:lnTo>
                        <a:pt x="174" y="1050"/>
                      </a:lnTo>
                      <a:lnTo>
                        <a:pt x="174" y="1048"/>
                      </a:lnTo>
                      <a:lnTo>
                        <a:pt x="173" y="1050"/>
                      </a:lnTo>
                      <a:lnTo>
                        <a:pt x="174" y="1048"/>
                      </a:lnTo>
                      <a:lnTo>
                        <a:pt x="173" y="1048"/>
                      </a:lnTo>
                      <a:lnTo>
                        <a:pt x="174" y="1048"/>
                      </a:lnTo>
                      <a:lnTo>
                        <a:pt x="176" y="1050"/>
                      </a:lnTo>
                      <a:lnTo>
                        <a:pt x="176" y="1052"/>
                      </a:lnTo>
                      <a:lnTo>
                        <a:pt x="178" y="1052"/>
                      </a:lnTo>
                      <a:lnTo>
                        <a:pt x="180" y="1052"/>
                      </a:lnTo>
                      <a:lnTo>
                        <a:pt x="180" y="1050"/>
                      </a:lnTo>
                      <a:lnTo>
                        <a:pt x="182" y="1050"/>
                      </a:lnTo>
                      <a:lnTo>
                        <a:pt x="182" y="1048"/>
                      </a:lnTo>
                      <a:lnTo>
                        <a:pt x="184" y="1048"/>
                      </a:lnTo>
                      <a:lnTo>
                        <a:pt x="184" y="1046"/>
                      </a:lnTo>
                      <a:lnTo>
                        <a:pt x="184" y="1044"/>
                      </a:lnTo>
                      <a:lnTo>
                        <a:pt x="186" y="1043"/>
                      </a:lnTo>
                      <a:lnTo>
                        <a:pt x="186" y="1041"/>
                      </a:lnTo>
                      <a:lnTo>
                        <a:pt x="186" y="1039"/>
                      </a:lnTo>
                      <a:lnTo>
                        <a:pt x="186" y="1033"/>
                      </a:lnTo>
                      <a:lnTo>
                        <a:pt x="186" y="1031"/>
                      </a:lnTo>
                      <a:lnTo>
                        <a:pt x="184" y="1028"/>
                      </a:lnTo>
                      <a:lnTo>
                        <a:pt x="184" y="1026"/>
                      </a:lnTo>
                      <a:lnTo>
                        <a:pt x="184" y="1024"/>
                      </a:lnTo>
                      <a:lnTo>
                        <a:pt x="182" y="1024"/>
                      </a:lnTo>
                      <a:lnTo>
                        <a:pt x="182" y="1022"/>
                      </a:lnTo>
                      <a:lnTo>
                        <a:pt x="180" y="1020"/>
                      </a:lnTo>
                      <a:lnTo>
                        <a:pt x="180" y="1018"/>
                      </a:lnTo>
                      <a:lnTo>
                        <a:pt x="178" y="1018"/>
                      </a:lnTo>
                      <a:lnTo>
                        <a:pt x="178" y="1016"/>
                      </a:lnTo>
                      <a:lnTo>
                        <a:pt x="178" y="1014"/>
                      </a:lnTo>
                      <a:lnTo>
                        <a:pt x="176" y="1014"/>
                      </a:lnTo>
                      <a:lnTo>
                        <a:pt x="176" y="1012"/>
                      </a:lnTo>
                      <a:lnTo>
                        <a:pt x="176" y="1011"/>
                      </a:lnTo>
                      <a:lnTo>
                        <a:pt x="174" y="1009"/>
                      </a:lnTo>
                      <a:lnTo>
                        <a:pt x="174" y="1003"/>
                      </a:lnTo>
                      <a:lnTo>
                        <a:pt x="174" y="1001"/>
                      </a:lnTo>
                      <a:lnTo>
                        <a:pt x="173" y="999"/>
                      </a:lnTo>
                      <a:lnTo>
                        <a:pt x="173" y="997"/>
                      </a:lnTo>
                      <a:lnTo>
                        <a:pt x="173" y="996"/>
                      </a:lnTo>
                      <a:lnTo>
                        <a:pt x="174" y="994"/>
                      </a:lnTo>
                      <a:lnTo>
                        <a:pt x="174" y="992"/>
                      </a:lnTo>
                      <a:lnTo>
                        <a:pt x="174" y="990"/>
                      </a:lnTo>
                      <a:lnTo>
                        <a:pt x="173" y="984"/>
                      </a:lnTo>
                      <a:lnTo>
                        <a:pt x="173" y="982"/>
                      </a:lnTo>
                      <a:lnTo>
                        <a:pt x="173" y="980"/>
                      </a:lnTo>
                      <a:lnTo>
                        <a:pt x="171" y="980"/>
                      </a:lnTo>
                      <a:lnTo>
                        <a:pt x="171" y="979"/>
                      </a:lnTo>
                      <a:lnTo>
                        <a:pt x="169" y="979"/>
                      </a:lnTo>
                      <a:lnTo>
                        <a:pt x="171" y="979"/>
                      </a:lnTo>
                      <a:lnTo>
                        <a:pt x="169" y="979"/>
                      </a:lnTo>
                      <a:lnTo>
                        <a:pt x="171" y="979"/>
                      </a:lnTo>
                      <a:lnTo>
                        <a:pt x="171" y="977"/>
                      </a:lnTo>
                      <a:lnTo>
                        <a:pt x="169" y="973"/>
                      </a:lnTo>
                      <a:lnTo>
                        <a:pt x="167" y="969"/>
                      </a:lnTo>
                      <a:lnTo>
                        <a:pt x="165" y="967"/>
                      </a:lnTo>
                      <a:lnTo>
                        <a:pt x="165" y="965"/>
                      </a:lnTo>
                      <a:lnTo>
                        <a:pt x="163" y="965"/>
                      </a:lnTo>
                      <a:lnTo>
                        <a:pt x="163" y="964"/>
                      </a:lnTo>
                      <a:lnTo>
                        <a:pt x="161" y="962"/>
                      </a:lnTo>
                      <a:lnTo>
                        <a:pt x="159" y="962"/>
                      </a:lnTo>
                      <a:lnTo>
                        <a:pt x="158" y="962"/>
                      </a:lnTo>
                      <a:lnTo>
                        <a:pt x="158" y="960"/>
                      </a:lnTo>
                      <a:lnTo>
                        <a:pt x="156" y="960"/>
                      </a:lnTo>
                      <a:lnTo>
                        <a:pt x="156" y="958"/>
                      </a:lnTo>
                      <a:lnTo>
                        <a:pt x="158" y="958"/>
                      </a:lnTo>
                      <a:lnTo>
                        <a:pt x="156" y="958"/>
                      </a:lnTo>
                      <a:lnTo>
                        <a:pt x="156" y="956"/>
                      </a:lnTo>
                      <a:lnTo>
                        <a:pt x="154" y="954"/>
                      </a:lnTo>
                      <a:lnTo>
                        <a:pt x="154" y="956"/>
                      </a:lnTo>
                      <a:lnTo>
                        <a:pt x="152" y="954"/>
                      </a:lnTo>
                      <a:lnTo>
                        <a:pt x="154" y="954"/>
                      </a:lnTo>
                      <a:lnTo>
                        <a:pt x="154" y="952"/>
                      </a:lnTo>
                      <a:lnTo>
                        <a:pt x="152" y="950"/>
                      </a:lnTo>
                      <a:lnTo>
                        <a:pt x="152" y="948"/>
                      </a:lnTo>
                      <a:lnTo>
                        <a:pt x="150" y="947"/>
                      </a:lnTo>
                      <a:lnTo>
                        <a:pt x="148" y="947"/>
                      </a:lnTo>
                      <a:lnTo>
                        <a:pt x="146" y="947"/>
                      </a:lnTo>
                      <a:lnTo>
                        <a:pt x="144" y="947"/>
                      </a:lnTo>
                      <a:lnTo>
                        <a:pt x="144" y="948"/>
                      </a:lnTo>
                      <a:lnTo>
                        <a:pt x="142" y="947"/>
                      </a:lnTo>
                      <a:lnTo>
                        <a:pt x="141" y="947"/>
                      </a:lnTo>
                      <a:lnTo>
                        <a:pt x="141" y="945"/>
                      </a:lnTo>
                      <a:lnTo>
                        <a:pt x="141" y="943"/>
                      </a:lnTo>
                      <a:lnTo>
                        <a:pt x="141" y="941"/>
                      </a:lnTo>
                      <a:lnTo>
                        <a:pt x="141" y="939"/>
                      </a:lnTo>
                      <a:lnTo>
                        <a:pt x="141" y="937"/>
                      </a:lnTo>
                      <a:lnTo>
                        <a:pt x="142" y="937"/>
                      </a:lnTo>
                      <a:lnTo>
                        <a:pt x="142" y="935"/>
                      </a:lnTo>
                      <a:lnTo>
                        <a:pt x="142" y="933"/>
                      </a:lnTo>
                      <a:lnTo>
                        <a:pt x="142" y="932"/>
                      </a:lnTo>
                      <a:lnTo>
                        <a:pt x="144" y="932"/>
                      </a:lnTo>
                      <a:lnTo>
                        <a:pt x="144" y="930"/>
                      </a:lnTo>
                      <a:lnTo>
                        <a:pt x="142" y="930"/>
                      </a:lnTo>
                      <a:lnTo>
                        <a:pt x="142" y="928"/>
                      </a:lnTo>
                      <a:lnTo>
                        <a:pt x="141" y="928"/>
                      </a:lnTo>
                      <a:lnTo>
                        <a:pt x="141" y="926"/>
                      </a:lnTo>
                      <a:lnTo>
                        <a:pt x="142" y="926"/>
                      </a:lnTo>
                      <a:lnTo>
                        <a:pt x="141" y="926"/>
                      </a:lnTo>
                      <a:lnTo>
                        <a:pt x="141" y="924"/>
                      </a:lnTo>
                      <a:lnTo>
                        <a:pt x="142" y="924"/>
                      </a:lnTo>
                      <a:lnTo>
                        <a:pt x="141" y="924"/>
                      </a:lnTo>
                      <a:lnTo>
                        <a:pt x="141" y="922"/>
                      </a:lnTo>
                      <a:lnTo>
                        <a:pt x="141" y="920"/>
                      </a:lnTo>
                      <a:lnTo>
                        <a:pt x="139" y="920"/>
                      </a:lnTo>
                      <a:lnTo>
                        <a:pt x="141" y="918"/>
                      </a:lnTo>
                      <a:lnTo>
                        <a:pt x="139" y="918"/>
                      </a:lnTo>
                      <a:lnTo>
                        <a:pt x="137" y="916"/>
                      </a:lnTo>
                      <a:lnTo>
                        <a:pt x="137" y="915"/>
                      </a:lnTo>
                      <a:lnTo>
                        <a:pt x="135" y="913"/>
                      </a:lnTo>
                      <a:lnTo>
                        <a:pt x="131" y="907"/>
                      </a:lnTo>
                      <a:lnTo>
                        <a:pt x="127" y="903"/>
                      </a:lnTo>
                      <a:lnTo>
                        <a:pt x="122" y="898"/>
                      </a:lnTo>
                      <a:lnTo>
                        <a:pt x="120" y="896"/>
                      </a:lnTo>
                      <a:lnTo>
                        <a:pt x="118" y="894"/>
                      </a:lnTo>
                      <a:lnTo>
                        <a:pt x="116" y="892"/>
                      </a:lnTo>
                      <a:lnTo>
                        <a:pt x="109" y="888"/>
                      </a:lnTo>
                      <a:lnTo>
                        <a:pt x="107" y="886"/>
                      </a:lnTo>
                      <a:lnTo>
                        <a:pt x="105" y="886"/>
                      </a:lnTo>
                      <a:lnTo>
                        <a:pt x="103" y="884"/>
                      </a:lnTo>
                      <a:lnTo>
                        <a:pt x="103" y="883"/>
                      </a:lnTo>
                      <a:lnTo>
                        <a:pt x="101" y="883"/>
                      </a:lnTo>
                      <a:lnTo>
                        <a:pt x="101" y="881"/>
                      </a:lnTo>
                      <a:lnTo>
                        <a:pt x="99" y="881"/>
                      </a:lnTo>
                      <a:lnTo>
                        <a:pt x="99" y="879"/>
                      </a:lnTo>
                      <a:lnTo>
                        <a:pt x="99" y="877"/>
                      </a:lnTo>
                      <a:lnTo>
                        <a:pt x="101" y="877"/>
                      </a:lnTo>
                      <a:lnTo>
                        <a:pt x="103" y="877"/>
                      </a:lnTo>
                      <a:lnTo>
                        <a:pt x="103" y="873"/>
                      </a:lnTo>
                      <a:lnTo>
                        <a:pt x="101" y="873"/>
                      </a:lnTo>
                      <a:lnTo>
                        <a:pt x="101" y="871"/>
                      </a:lnTo>
                      <a:lnTo>
                        <a:pt x="101" y="869"/>
                      </a:lnTo>
                      <a:lnTo>
                        <a:pt x="99" y="864"/>
                      </a:lnTo>
                      <a:lnTo>
                        <a:pt x="95" y="856"/>
                      </a:lnTo>
                      <a:lnTo>
                        <a:pt x="92" y="851"/>
                      </a:lnTo>
                      <a:lnTo>
                        <a:pt x="88" y="845"/>
                      </a:lnTo>
                      <a:lnTo>
                        <a:pt x="82" y="837"/>
                      </a:lnTo>
                      <a:lnTo>
                        <a:pt x="77" y="830"/>
                      </a:lnTo>
                      <a:lnTo>
                        <a:pt x="71" y="824"/>
                      </a:lnTo>
                      <a:lnTo>
                        <a:pt x="67" y="822"/>
                      </a:lnTo>
                      <a:lnTo>
                        <a:pt x="67" y="820"/>
                      </a:lnTo>
                      <a:lnTo>
                        <a:pt x="65" y="820"/>
                      </a:lnTo>
                      <a:lnTo>
                        <a:pt x="65" y="819"/>
                      </a:lnTo>
                      <a:lnTo>
                        <a:pt x="63" y="817"/>
                      </a:lnTo>
                      <a:lnTo>
                        <a:pt x="62" y="817"/>
                      </a:lnTo>
                      <a:lnTo>
                        <a:pt x="60" y="817"/>
                      </a:lnTo>
                      <a:lnTo>
                        <a:pt x="58" y="817"/>
                      </a:lnTo>
                      <a:lnTo>
                        <a:pt x="58" y="815"/>
                      </a:lnTo>
                      <a:lnTo>
                        <a:pt x="56" y="815"/>
                      </a:lnTo>
                      <a:lnTo>
                        <a:pt x="54" y="815"/>
                      </a:lnTo>
                      <a:lnTo>
                        <a:pt x="54" y="813"/>
                      </a:lnTo>
                      <a:lnTo>
                        <a:pt x="54" y="811"/>
                      </a:lnTo>
                      <a:lnTo>
                        <a:pt x="56" y="811"/>
                      </a:lnTo>
                      <a:lnTo>
                        <a:pt x="54" y="809"/>
                      </a:lnTo>
                      <a:lnTo>
                        <a:pt x="54" y="807"/>
                      </a:lnTo>
                      <a:lnTo>
                        <a:pt x="52" y="807"/>
                      </a:lnTo>
                      <a:lnTo>
                        <a:pt x="50" y="805"/>
                      </a:lnTo>
                      <a:lnTo>
                        <a:pt x="48" y="805"/>
                      </a:lnTo>
                      <a:lnTo>
                        <a:pt x="48" y="804"/>
                      </a:lnTo>
                      <a:lnTo>
                        <a:pt x="50" y="804"/>
                      </a:lnTo>
                      <a:lnTo>
                        <a:pt x="50" y="802"/>
                      </a:lnTo>
                      <a:lnTo>
                        <a:pt x="52" y="802"/>
                      </a:lnTo>
                      <a:lnTo>
                        <a:pt x="54" y="802"/>
                      </a:lnTo>
                      <a:lnTo>
                        <a:pt x="56" y="802"/>
                      </a:lnTo>
                      <a:lnTo>
                        <a:pt x="56" y="800"/>
                      </a:lnTo>
                      <a:lnTo>
                        <a:pt x="56" y="798"/>
                      </a:lnTo>
                      <a:lnTo>
                        <a:pt x="56" y="796"/>
                      </a:lnTo>
                      <a:lnTo>
                        <a:pt x="54" y="796"/>
                      </a:lnTo>
                      <a:lnTo>
                        <a:pt x="54" y="794"/>
                      </a:lnTo>
                      <a:lnTo>
                        <a:pt x="56" y="794"/>
                      </a:lnTo>
                      <a:lnTo>
                        <a:pt x="54" y="794"/>
                      </a:lnTo>
                      <a:lnTo>
                        <a:pt x="54" y="792"/>
                      </a:lnTo>
                      <a:lnTo>
                        <a:pt x="56" y="792"/>
                      </a:lnTo>
                      <a:lnTo>
                        <a:pt x="58" y="792"/>
                      </a:lnTo>
                      <a:lnTo>
                        <a:pt x="58" y="794"/>
                      </a:lnTo>
                      <a:lnTo>
                        <a:pt x="60" y="794"/>
                      </a:lnTo>
                      <a:lnTo>
                        <a:pt x="60" y="792"/>
                      </a:lnTo>
                      <a:lnTo>
                        <a:pt x="60" y="794"/>
                      </a:lnTo>
                      <a:lnTo>
                        <a:pt x="60" y="796"/>
                      </a:lnTo>
                      <a:lnTo>
                        <a:pt x="62" y="796"/>
                      </a:lnTo>
                      <a:lnTo>
                        <a:pt x="62" y="798"/>
                      </a:lnTo>
                      <a:lnTo>
                        <a:pt x="60" y="798"/>
                      </a:lnTo>
                      <a:lnTo>
                        <a:pt x="60" y="800"/>
                      </a:lnTo>
                      <a:lnTo>
                        <a:pt x="58" y="800"/>
                      </a:lnTo>
                      <a:lnTo>
                        <a:pt x="56" y="800"/>
                      </a:lnTo>
                      <a:lnTo>
                        <a:pt x="58" y="800"/>
                      </a:lnTo>
                      <a:lnTo>
                        <a:pt x="60" y="800"/>
                      </a:lnTo>
                      <a:lnTo>
                        <a:pt x="62" y="800"/>
                      </a:lnTo>
                      <a:lnTo>
                        <a:pt x="63" y="800"/>
                      </a:lnTo>
                      <a:lnTo>
                        <a:pt x="63" y="802"/>
                      </a:lnTo>
                      <a:lnTo>
                        <a:pt x="65" y="802"/>
                      </a:lnTo>
                      <a:lnTo>
                        <a:pt x="63" y="802"/>
                      </a:lnTo>
                      <a:lnTo>
                        <a:pt x="63" y="804"/>
                      </a:lnTo>
                      <a:lnTo>
                        <a:pt x="65" y="804"/>
                      </a:lnTo>
                      <a:lnTo>
                        <a:pt x="65" y="805"/>
                      </a:lnTo>
                      <a:lnTo>
                        <a:pt x="65" y="807"/>
                      </a:lnTo>
                      <a:lnTo>
                        <a:pt x="65" y="809"/>
                      </a:lnTo>
                      <a:lnTo>
                        <a:pt x="67" y="809"/>
                      </a:lnTo>
                      <a:lnTo>
                        <a:pt x="67" y="811"/>
                      </a:lnTo>
                      <a:lnTo>
                        <a:pt x="69" y="811"/>
                      </a:lnTo>
                      <a:lnTo>
                        <a:pt x="69" y="813"/>
                      </a:lnTo>
                      <a:lnTo>
                        <a:pt x="67" y="813"/>
                      </a:lnTo>
                      <a:lnTo>
                        <a:pt x="67" y="815"/>
                      </a:lnTo>
                      <a:lnTo>
                        <a:pt x="67" y="817"/>
                      </a:lnTo>
                      <a:lnTo>
                        <a:pt x="69" y="817"/>
                      </a:lnTo>
                      <a:lnTo>
                        <a:pt x="71" y="819"/>
                      </a:lnTo>
                      <a:lnTo>
                        <a:pt x="73" y="819"/>
                      </a:lnTo>
                      <a:lnTo>
                        <a:pt x="75" y="819"/>
                      </a:lnTo>
                      <a:lnTo>
                        <a:pt x="73" y="819"/>
                      </a:lnTo>
                      <a:lnTo>
                        <a:pt x="73" y="820"/>
                      </a:lnTo>
                      <a:lnTo>
                        <a:pt x="75" y="820"/>
                      </a:lnTo>
                      <a:lnTo>
                        <a:pt x="77" y="822"/>
                      </a:lnTo>
                      <a:lnTo>
                        <a:pt x="77" y="824"/>
                      </a:lnTo>
                      <a:lnTo>
                        <a:pt x="79" y="826"/>
                      </a:lnTo>
                      <a:lnTo>
                        <a:pt x="80" y="826"/>
                      </a:lnTo>
                      <a:lnTo>
                        <a:pt x="80" y="828"/>
                      </a:lnTo>
                      <a:lnTo>
                        <a:pt x="82" y="828"/>
                      </a:lnTo>
                      <a:lnTo>
                        <a:pt x="84" y="828"/>
                      </a:lnTo>
                      <a:lnTo>
                        <a:pt x="84" y="830"/>
                      </a:lnTo>
                      <a:lnTo>
                        <a:pt x="84" y="832"/>
                      </a:lnTo>
                      <a:lnTo>
                        <a:pt x="84" y="834"/>
                      </a:lnTo>
                      <a:lnTo>
                        <a:pt x="86" y="834"/>
                      </a:lnTo>
                      <a:lnTo>
                        <a:pt x="88" y="834"/>
                      </a:lnTo>
                      <a:lnTo>
                        <a:pt x="90" y="832"/>
                      </a:lnTo>
                      <a:lnTo>
                        <a:pt x="92" y="832"/>
                      </a:lnTo>
                      <a:lnTo>
                        <a:pt x="92" y="830"/>
                      </a:lnTo>
                      <a:lnTo>
                        <a:pt x="94" y="830"/>
                      </a:lnTo>
                      <a:lnTo>
                        <a:pt x="94" y="828"/>
                      </a:lnTo>
                      <a:lnTo>
                        <a:pt x="94" y="826"/>
                      </a:lnTo>
                      <a:lnTo>
                        <a:pt x="92" y="826"/>
                      </a:lnTo>
                      <a:lnTo>
                        <a:pt x="90" y="826"/>
                      </a:lnTo>
                      <a:lnTo>
                        <a:pt x="88" y="828"/>
                      </a:lnTo>
                      <a:lnTo>
                        <a:pt x="90" y="828"/>
                      </a:lnTo>
                      <a:lnTo>
                        <a:pt x="88" y="828"/>
                      </a:lnTo>
                      <a:lnTo>
                        <a:pt x="88" y="826"/>
                      </a:lnTo>
                      <a:lnTo>
                        <a:pt x="86" y="826"/>
                      </a:lnTo>
                      <a:lnTo>
                        <a:pt x="84" y="826"/>
                      </a:lnTo>
                      <a:lnTo>
                        <a:pt x="82" y="824"/>
                      </a:lnTo>
                      <a:lnTo>
                        <a:pt x="82" y="822"/>
                      </a:lnTo>
                      <a:lnTo>
                        <a:pt x="84" y="822"/>
                      </a:lnTo>
                      <a:lnTo>
                        <a:pt x="84" y="824"/>
                      </a:lnTo>
                      <a:lnTo>
                        <a:pt x="84" y="822"/>
                      </a:lnTo>
                      <a:lnTo>
                        <a:pt x="86" y="824"/>
                      </a:lnTo>
                      <a:lnTo>
                        <a:pt x="86" y="822"/>
                      </a:lnTo>
                      <a:lnTo>
                        <a:pt x="84" y="822"/>
                      </a:lnTo>
                      <a:lnTo>
                        <a:pt x="86" y="822"/>
                      </a:lnTo>
                      <a:lnTo>
                        <a:pt x="84" y="822"/>
                      </a:lnTo>
                      <a:lnTo>
                        <a:pt x="84" y="820"/>
                      </a:lnTo>
                      <a:lnTo>
                        <a:pt x="86" y="820"/>
                      </a:lnTo>
                      <a:lnTo>
                        <a:pt x="86" y="819"/>
                      </a:lnTo>
                      <a:lnTo>
                        <a:pt x="84" y="819"/>
                      </a:lnTo>
                      <a:lnTo>
                        <a:pt x="84" y="817"/>
                      </a:lnTo>
                      <a:lnTo>
                        <a:pt x="84" y="815"/>
                      </a:lnTo>
                      <a:lnTo>
                        <a:pt x="82" y="815"/>
                      </a:lnTo>
                      <a:lnTo>
                        <a:pt x="80" y="813"/>
                      </a:lnTo>
                      <a:lnTo>
                        <a:pt x="79" y="813"/>
                      </a:lnTo>
                      <a:lnTo>
                        <a:pt x="77" y="811"/>
                      </a:lnTo>
                      <a:lnTo>
                        <a:pt x="77" y="809"/>
                      </a:lnTo>
                      <a:lnTo>
                        <a:pt x="75" y="809"/>
                      </a:lnTo>
                      <a:lnTo>
                        <a:pt x="73" y="807"/>
                      </a:lnTo>
                      <a:lnTo>
                        <a:pt x="71" y="805"/>
                      </a:lnTo>
                      <a:lnTo>
                        <a:pt x="69" y="804"/>
                      </a:lnTo>
                      <a:lnTo>
                        <a:pt x="69" y="802"/>
                      </a:lnTo>
                      <a:lnTo>
                        <a:pt x="69" y="800"/>
                      </a:lnTo>
                      <a:lnTo>
                        <a:pt x="69" y="798"/>
                      </a:lnTo>
                      <a:lnTo>
                        <a:pt x="69" y="796"/>
                      </a:lnTo>
                      <a:lnTo>
                        <a:pt x="71" y="792"/>
                      </a:lnTo>
                      <a:lnTo>
                        <a:pt x="71" y="790"/>
                      </a:lnTo>
                      <a:lnTo>
                        <a:pt x="73" y="790"/>
                      </a:lnTo>
                      <a:lnTo>
                        <a:pt x="73" y="788"/>
                      </a:lnTo>
                      <a:lnTo>
                        <a:pt x="71" y="788"/>
                      </a:lnTo>
                      <a:lnTo>
                        <a:pt x="73" y="788"/>
                      </a:lnTo>
                      <a:lnTo>
                        <a:pt x="73" y="787"/>
                      </a:lnTo>
                      <a:lnTo>
                        <a:pt x="71" y="787"/>
                      </a:lnTo>
                      <a:lnTo>
                        <a:pt x="71" y="785"/>
                      </a:lnTo>
                      <a:lnTo>
                        <a:pt x="71" y="783"/>
                      </a:lnTo>
                      <a:lnTo>
                        <a:pt x="69" y="781"/>
                      </a:lnTo>
                      <a:lnTo>
                        <a:pt x="69" y="779"/>
                      </a:lnTo>
                      <a:lnTo>
                        <a:pt x="65" y="775"/>
                      </a:lnTo>
                      <a:lnTo>
                        <a:pt x="63" y="775"/>
                      </a:lnTo>
                      <a:lnTo>
                        <a:pt x="63" y="773"/>
                      </a:lnTo>
                      <a:lnTo>
                        <a:pt x="62" y="773"/>
                      </a:lnTo>
                      <a:lnTo>
                        <a:pt x="62" y="775"/>
                      </a:lnTo>
                      <a:lnTo>
                        <a:pt x="60" y="773"/>
                      </a:lnTo>
                      <a:lnTo>
                        <a:pt x="60" y="775"/>
                      </a:lnTo>
                      <a:lnTo>
                        <a:pt x="60" y="777"/>
                      </a:lnTo>
                      <a:lnTo>
                        <a:pt x="58" y="777"/>
                      </a:lnTo>
                      <a:lnTo>
                        <a:pt x="58" y="779"/>
                      </a:lnTo>
                      <a:lnTo>
                        <a:pt x="58" y="781"/>
                      </a:lnTo>
                      <a:lnTo>
                        <a:pt x="56" y="783"/>
                      </a:lnTo>
                      <a:lnTo>
                        <a:pt x="58" y="781"/>
                      </a:lnTo>
                      <a:lnTo>
                        <a:pt x="58" y="779"/>
                      </a:lnTo>
                      <a:lnTo>
                        <a:pt x="58" y="777"/>
                      </a:lnTo>
                      <a:lnTo>
                        <a:pt x="58" y="775"/>
                      </a:lnTo>
                      <a:lnTo>
                        <a:pt x="60" y="775"/>
                      </a:lnTo>
                      <a:lnTo>
                        <a:pt x="60" y="773"/>
                      </a:lnTo>
                      <a:lnTo>
                        <a:pt x="60" y="772"/>
                      </a:lnTo>
                      <a:lnTo>
                        <a:pt x="58" y="772"/>
                      </a:lnTo>
                      <a:lnTo>
                        <a:pt x="58" y="770"/>
                      </a:lnTo>
                      <a:lnTo>
                        <a:pt x="58" y="772"/>
                      </a:lnTo>
                      <a:lnTo>
                        <a:pt x="58" y="770"/>
                      </a:lnTo>
                      <a:lnTo>
                        <a:pt x="58" y="772"/>
                      </a:lnTo>
                      <a:lnTo>
                        <a:pt x="56" y="772"/>
                      </a:lnTo>
                      <a:lnTo>
                        <a:pt x="56" y="770"/>
                      </a:lnTo>
                      <a:lnTo>
                        <a:pt x="54" y="772"/>
                      </a:lnTo>
                      <a:lnTo>
                        <a:pt x="52" y="772"/>
                      </a:lnTo>
                      <a:lnTo>
                        <a:pt x="50" y="772"/>
                      </a:lnTo>
                      <a:lnTo>
                        <a:pt x="48" y="772"/>
                      </a:lnTo>
                      <a:lnTo>
                        <a:pt x="48" y="773"/>
                      </a:lnTo>
                      <a:lnTo>
                        <a:pt x="47" y="773"/>
                      </a:lnTo>
                      <a:lnTo>
                        <a:pt x="48" y="773"/>
                      </a:lnTo>
                      <a:lnTo>
                        <a:pt x="48" y="775"/>
                      </a:lnTo>
                      <a:lnTo>
                        <a:pt x="48" y="777"/>
                      </a:lnTo>
                      <a:lnTo>
                        <a:pt x="48" y="779"/>
                      </a:lnTo>
                      <a:lnTo>
                        <a:pt x="48" y="777"/>
                      </a:lnTo>
                      <a:lnTo>
                        <a:pt x="48" y="779"/>
                      </a:lnTo>
                      <a:lnTo>
                        <a:pt x="48" y="777"/>
                      </a:lnTo>
                      <a:lnTo>
                        <a:pt x="48" y="779"/>
                      </a:lnTo>
                      <a:lnTo>
                        <a:pt x="50" y="779"/>
                      </a:lnTo>
                      <a:lnTo>
                        <a:pt x="50" y="781"/>
                      </a:lnTo>
                      <a:lnTo>
                        <a:pt x="52" y="781"/>
                      </a:lnTo>
                      <a:lnTo>
                        <a:pt x="52" y="779"/>
                      </a:lnTo>
                      <a:lnTo>
                        <a:pt x="50" y="779"/>
                      </a:lnTo>
                      <a:lnTo>
                        <a:pt x="52" y="779"/>
                      </a:lnTo>
                      <a:lnTo>
                        <a:pt x="50" y="779"/>
                      </a:lnTo>
                      <a:lnTo>
                        <a:pt x="52" y="779"/>
                      </a:lnTo>
                      <a:lnTo>
                        <a:pt x="52" y="781"/>
                      </a:lnTo>
                      <a:lnTo>
                        <a:pt x="54" y="781"/>
                      </a:lnTo>
                      <a:lnTo>
                        <a:pt x="54" y="783"/>
                      </a:lnTo>
                      <a:lnTo>
                        <a:pt x="54" y="785"/>
                      </a:lnTo>
                      <a:lnTo>
                        <a:pt x="54" y="787"/>
                      </a:lnTo>
                      <a:lnTo>
                        <a:pt x="52" y="787"/>
                      </a:lnTo>
                      <a:lnTo>
                        <a:pt x="52" y="785"/>
                      </a:lnTo>
                      <a:lnTo>
                        <a:pt x="54" y="785"/>
                      </a:lnTo>
                      <a:lnTo>
                        <a:pt x="54" y="783"/>
                      </a:lnTo>
                      <a:lnTo>
                        <a:pt x="52" y="783"/>
                      </a:lnTo>
                      <a:lnTo>
                        <a:pt x="52" y="781"/>
                      </a:lnTo>
                      <a:lnTo>
                        <a:pt x="50" y="781"/>
                      </a:lnTo>
                      <a:lnTo>
                        <a:pt x="48" y="781"/>
                      </a:lnTo>
                      <a:lnTo>
                        <a:pt x="48" y="779"/>
                      </a:lnTo>
                      <a:lnTo>
                        <a:pt x="47" y="779"/>
                      </a:lnTo>
                      <a:lnTo>
                        <a:pt x="45" y="781"/>
                      </a:lnTo>
                      <a:lnTo>
                        <a:pt x="45" y="783"/>
                      </a:lnTo>
                      <a:lnTo>
                        <a:pt x="45" y="785"/>
                      </a:lnTo>
                      <a:lnTo>
                        <a:pt x="43" y="785"/>
                      </a:lnTo>
                      <a:lnTo>
                        <a:pt x="41" y="785"/>
                      </a:lnTo>
                      <a:lnTo>
                        <a:pt x="39" y="787"/>
                      </a:lnTo>
                      <a:lnTo>
                        <a:pt x="39" y="788"/>
                      </a:lnTo>
                      <a:lnTo>
                        <a:pt x="39" y="787"/>
                      </a:lnTo>
                      <a:lnTo>
                        <a:pt x="37" y="787"/>
                      </a:lnTo>
                      <a:lnTo>
                        <a:pt x="37" y="785"/>
                      </a:lnTo>
                      <a:lnTo>
                        <a:pt x="35" y="785"/>
                      </a:lnTo>
                      <a:lnTo>
                        <a:pt x="33" y="785"/>
                      </a:lnTo>
                      <a:lnTo>
                        <a:pt x="35" y="785"/>
                      </a:lnTo>
                      <a:lnTo>
                        <a:pt x="35" y="783"/>
                      </a:lnTo>
                      <a:lnTo>
                        <a:pt x="33" y="781"/>
                      </a:lnTo>
                      <a:lnTo>
                        <a:pt x="33" y="779"/>
                      </a:lnTo>
                      <a:lnTo>
                        <a:pt x="35" y="781"/>
                      </a:lnTo>
                      <a:lnTo>
                        <a:pt x="35" y="779"/>
                      </a:lnTo>
                      <a:lnTo>
                        <a:pt x="37" y="779"/>
                      </a:lnTo>
                      <a:lnTo>
                        <a:pt x="37" y="777"/>
                      </a:lnTo>
                      <a:lnTo>
                        <a:pt x="37" y="775"/>
                      </a:lnTo>
                      <a:lnTo>
                        <a:pt x="35" y="775"/>
                      </a:lnTo>
                      <a:lnTo>
                        <a:pt x="35" y="773"/>
                      </a:lnTo>
                      <a:lnTo>
                        <a:pt x="33" y="772"/>
                      </a:lnTo>
                      <a:lnTo>
                        <a:pt x="31" y="772"/>
                      </a:lnTo>
                      <a:lnTo>
                        <a:pt x="31" y="773"/>
                      </a:lnTo>
                      <a:lnTo>
                        <a:pt x="30" y="773"/>
                      </a:lnTo>
                      <a:lnTo>
                        <a:pt x="30" y="772"/>
                      </a:lnTo>
                      <a:lnTo>
                        <a:pt x="28" y="772"/>
                      </a:lnTo>
                      <a:lnTo>
                        <a:pt x="30" y="772"/>
                      </a:lnTo>
                      <a:lnTo>
                        <a:pt x="30" y="770"/>
                      </a:lnTo>
                      <a:lnTo>
                        <a:pt x="28" y="770"/>
                      </a:lnTo>
                      <a:lnTo>
                        <a:pt x="30" y="770"/>
                      </a:lnTo>
                      <a:lnTo>
                        <a:pt x="30" y="768"/>
                      </a:lnTo>
                      <a:lnTo>
                        <a:pt x="30" y="766"/>
                      </a:lnTo>
                      <a:lnTo>
                        <a:pt x="31" y="766"/>
                      </a:lnTo>
                      <a:lnTo>
                        <a:pt x="31" y="764"/>
                      </a:lnTo>
                      <a:lnTo>
                        <a:pt x="30" y="764"/>
                      </a:lnTo>
                      <a:lnTo>
                        <a:pt x="31" y="764"/>
                      </a:lnTo>
                      <a:lnTo>
                        <a:pt x="31" y="762"/>
                      </a:lnTo>
                      <a:lnTo>
                        <a:pt x="31" y="760"/>
                      </a:lnTo>
                      <a:lnTo>
                        <a:pt x="31" y="762"/>
                      </a:lnTo>
                      <a:lnTo>
                        <a:pt x="31" y="760"/>
                      </a:lnTo>
                      <a:lnTo>
                        <a:pt x="31" y="758"/>
                      </a:lnTo>
                      <a:lnTo>
                        <a:pt x="30" y="758"/>
                      </a:lnTo>
                      <a:lnTo>
                        <a:pt x="31" y="758"/>
                      </a:lnTo>
                      <a:lnTo>
                        <a:pt x="31" y="756"/>
                      </a:lnTo>
                      <a:lnTo>
                        <a:pt x="31" y="755"/>
                      </a:lnTo>
                      <a:lnTo>
                        <a:pt x="31" y="751"/>
                      </a:lnTo>
                      <a:lnTo>
                        <a:pt x="31" y="749"/>
                      </a:lnTo>
                      <a:lnTo>
                        <a:pt x="30" y="747"/>
                      </a:lnTo>
                      <a:lnTo>
                        <a:pt x="28" y="747"/>
                      </a:lnTo>
                      <a:lnTo>
                        <a:pt x="28" y="745"/>
                      </a:lnTo>
                      <a:lnTo>
                        <a:pt x="26" y="745"/>
                      </a:lnTo>
                      <a:lnTo>
                        <a:pt x="26" y="743"/>
                      </a:lnTo>
                      <a:lnTo>
                        <a:pt x="24" y="743"/>
                      </a:lnTo>
                      <a:lnTo>
                        <a:pt x="26" y="743"/>
                      </a:lnTo>
                      <a:lnTo>
                        <a:pt x="26" y="741"/>
                      </a:lnTo>
                      <a:lnTo>
                        <a:pt x="28" y="741"/>
                      </a:lnTo>
                      <a:lnTo>
                        <a:pt x="28" y="740"/>
                      </a:lnTo>
                      <a:lnTo>
                        <a:pt x="26" y="740"/>
                      </a:lnTo>
                      <a:lnTo>
                        <a:pt x="28" y="740"/>
                      </a:lnTo>
                      <a:lnTo>
                        <a:pt x="28" y="738"/>
                      </a:lnTo>
                      <a:lnTo>
                        <a:pt x="26" y="738"/>
                      </a:lnTo>
                      <a:lnTo>
                        <a:pt x="28" y="738"/>
                      </a:lnTo>
                      <a:lnTo>
                        <a:pt x="30" y="738"/>
                      </a:lnTo>
                      <a:lnTo>
                        <a:pt x="30" y="736"/>
                      </a:lnTo>
                      <a:lnTo>
                        <a:pt x="31" y="736"/>
                      </a:lnTo>
                      <a:lnTo>
                        <a:pt x="31" y="734"/>
                      </a:lnTo>
                      <a:lnTo>
                        <a:pt x="31" y="732"/>
                      </a:lnTo>
                      <a:lnTo>
                        <a:pt x="31" y="730"/>
                      </a:lnTo>
                      <a:lnTo>
                        <a:pt x="30" y="730"/>
                      </a:lnTo>
                      <a:lnTo>
                        <a:pt x="30" y="728"/>
                      </a:lnTo>
                      <a:lnTo>
                        <a:pt x="31" y="728"/>
                      </a:lnTo>
                      <a:lnTo>
                        <a:pt x="31" y="726"/>
                      </a:lnTo>
                      <a:lnTo>
                        <a:pt x="30" y="726"/>
                      </a:lnTo>
                      <a:lnTo>
                        <a:pt x="30" y="724"/>
                      </a:lnTo>
                      <a:lnTo>
                        <a:pt x="28" y="724"/>
                      </a:lnTo>
                      <a:lnTo>
                        <a:pt x="26" y="724"/>
                      </a:lnTo>
                      <a:lnTo>
                        <a:pt x="26" y="723"/>
                      </a:lnTo>
                      <a:lnTo>
                        <a:pt x="24" y="723"/>
                      </a:lnTo>
                      <a:lnTo>
                        <a:pt x="26" y="723"/>
                      </a:lnTo>
                      <a:lnTo>
                        <a:pt x="24" y="723"/>
                      </a:lnTo>
                      <a:lnTo>
                        <a:pt x="24" y="721"/>
                      </a:lnTo>
                      <a:lnTo>
                        <a:pt x="22" y="721"/>
                      </a:lnTo>
                      <a:lnTo>
                        <a:pt x="22" y="719"/>
                      </a:lnTo>
                      <a:lnTo>
                        <a:pt x="22" y="717"/>
                      </a:lnTo>
                      <a:lnTo>
                        <a:pt x="24" y="719"/>
                      </a:lnTo>
                      <a:lnTo>
                        <a:pt x="24" y="717"/>
                      </a:lnTo>
                      <a:lnTo>
                        <a:pt x="24" y="715"/>
                      </a:lnTo>
                      <a:lnTo>
                        <a:pt x="24" y="717"/>
                      </a:lnTo>
                      <a:lnTo>
                        <a:pt x="26" y="717"/>
                      </a:lnTo>
                      <a:lnTo>
                        <a:pt x="26" y="715"/>
                      </a:lnTo>
                      <a:lnTo>
                        <a:pt x="28" y="715"/>
                      </a:lnTo>
                      <a:lnTo>
                        <a:pt x="30" y="715"/>
                      </a:lnTo>
                      <a:lnTo>
                        <a:pt x="31" y="715"/>
                      </a:lnTo>
                      <a:lnTo>
                        <a:pt x="31" y="713"/>
                      </a:lnTo>
                      <a:lnTo>
                        <a:pt x="31" y="711"/>
                      </a:lnTo>
                      <a:lnTo>
                        <a:pt x="31" y="713"/>
                      </a:lnTo>
                      <a:lnTo>
                        <a:pt x="33" y="713"/>
                      </a:lnTo>
                      <a:lnTo>
                        <a:pt x="35" y="713"/>
                      </a:lnTo>
                      <a:lnTo>
                        <a:pt x="35" y="711"/>
                      </a:lnTo>
                      <a:lnTo>
                        <a:pt x="37" y="711"/>
                      </a:lnTo>
                      <a:lnTo>
                        <a:pt x="37" y="709"/>
                      </a:lnTo>
                      <a:lnTo>
                        <a:pt x="37" y="707"/>
                      </a:lnTo>
                      <a:lnTo>
                        <a:pt x="37" y="704"/>
                      </a:lnTo>
                      <a:lnTo>
                        <a:pt x="37" y="702"/>
                      </a:lnTo>
                      <a:lnTo>
                        <a:pt x="37" y="698"/>
                      </a:lnTo>
                      <a:lnTo>
                        <a:pt x="35" y="698"/>
                      </a:lnTo>
                      <a:lnTo>
                        <a:pt x="35" y="696"/>
                      </a:lnTo>
                      <a:lnTo>
                        <a:pt x="35" y="694"/>
                      </a:lnTo>
                      <a:lnTo>
                        <a:pt x="35" y="692"/>
                      </a:lnTo>
                      <a:lnTo>
                        <a:pt x="37" y="692"/>
                      </a:lnTo>
                      <a:lnTo>
                        <a:pt x="37" y="691"/>
                      </a:lnTo>
                      <a:lnTo>
                        <a:pt x="37" y="692"/>
                      </a:lnTo>
                      <a:lnTo>
                        <a:pt x="37" y="691"/>
                      </a:lnTo>
                      <a:lnTo>
                        <a:pt x="39" y="691"/>
                      </a:lnTo>
                      <a:lnTo>
                        <a:pt x="39" y="689"/>
                      </a:lnTo>
                      <a:lnTo>
                        <a:pt x="41" y="689"/>
                      </a:lnTo>
                      <a:lnTo>
                        <a:pt x="41" y="687"/>
                      </a:lnTo>
                      <a:lnTo>
                        <a:pt x="41" y="685"/>
                      </a:lnTo>
                      <a:lnTo>
                        <a:pt x="43" y="685"/>
                      </a:lnTo>
                      <a:lnTo>
                        <a:pt x="43" y="687"/>
                      </a:lnTo>
                      <a:lnTo>
                        <a:pt x="45" y="687"/>
                      </a:lnTo>
                      <a:lnTo>
                        <a:pt x="45" y="685"/>
                      </a:lnTo>
                      <a:lnTo>
                        <a:pt x="47" y="685"/>
                      </a:lnTo>
                      <a:lnTo>
                        <a:pt x="47" y="687"/>
                      </a:lnTo>
                      <a:lnTo>
                        <a:pt x="48" y="687"/>
                      </a:lnTo>
                      <a:lnTo>
                        <a:pt x="50" y="687"/>
                      </a:lnTo>
                      <a:lnTo>
                        <a:pt x="50" y="685"/>
                      </a:lnTo>
                      <a:lnTo>
                        <a:pt x="52" y="685"/>
                      </a:lnTo>
                      <a:lnTo>
                        <a:pt x="52" y="683"/>
                      </a:lnTo>
                      <a:lnTo>
                        <a:pt x="52" y="681"/>
                      </a:lnTo>
                      <a:lnTo>
                        <a:pt x="54" y="681"/>
                      </a:lnTo>
                      <a:lnTo>
                        <a:pt x="56" y="683"/>
                      </a:lnTo>
                      <a:lnTo>
                        <a:pt x="56" y="681"/>
                      </a:lnTo>
                      <a:lnTo>
                        <a:pt x="56" y="683"/>
                      </a:lnTo>
                      <a:lnTo>
                        <a:pt x="56" y="685"/>
                      </a:lnTo>
                      <a:lnTo>
                        <a:pt x="54" y="685"/>
                      </a:lnTo>
                      <a:lnTo>
                        <a:pt x="54" y="687"/>
                      </a:lnTo>
                      <a:lnTo>
                        <a:pt x="56" y="687"/>
                      </a:lnTo>
                      <a:lnTo>
                        <a:pt x="56" y="689"/>
                      </a:lnTo>
                      <a:lnTo>
                        <a:pt x="58" y="689"/>
                      </a:lnTo>
                      <a:lnTo>
                        <a:pt x="60" y="689"/>
                      </a:lnTo>
                      <a:lnTo>
                        <a:pt x="60" y="691"/>
                      </a:lnTo>
                      <a:lnTo>
                        <a:pt x="62" y="691"/>
                      </a:lnTo>
                      <a:lnTo>
                        <a:pt x="63" y="692"/>
                      </a:lnTo>
                      <a:lnTo>
                        <a:pt x="65" y="692"/>
                      </a:lnTo>
                      <a:lnTo>
                        <a:pt x="65" y="694"/>
                      </a:lnTo>
                      <a:lnTo>
                        <a:pt x="65" y="692"/>
                      </a:lnTo>
                      <a:lnTo>
                        <a:pt x="63" y="692"/>
                      </a:lnTo>
                      <a:lnTo>
                        <a:pt x="63" y="694"/>
                      </a:lnTo>
                      <a:lnTo>
                        <a:pt x="65" y="694"/>
                      </a:lnTo>
                      <a:lnTo>
                        <a:pt x="65" y="696"/>
                      </a:lnTo>
                      <a:lnTo>
                        <a:pt x="67" y="696"/>
                      </a:lnTo>
                      <a:lnTo>
                        <a:pt x="67" y="698"/>
                      </a:lnTo>
                      <a:lnTo>
                        <a:pt x="69" y="698"/>
                      </a:lnTo>
                      <a:lnTo>
                        <a:pt x="69" y="700"/>
                      </a:lnTo>
                      <a:lnTo>
                        <a:pt x="71" y="700"/>
                      </a:lnTo>
                      <a:lnTo>
                        <a:pt x="73" y="702"/>
                      </a:lnTo>
                      <a:lnTo>
                        <a:pt x="73" y="704"/>
                      </a:lnTo>
                      <a:lnTo>
                        <a:pt x="75" y="704"/>
                      </a:lnTo>
                      <a:lnTo>
                        <a:pt x="75" y="706"/>
                      </a:lnTo>
                      <a:lnTo>
                        <a:pt x="77" y="706"/>
                      </a:lnTo>
                      <a:lnTo>
                        <a:pt x="79" y="706"/>
                      </a:lnTo>
                      <a:lnTo>
                        <a:pt x="80" y="704"/>
                      </a:lnTo>
                      <a:lnTo>
                        <a:pt x="82" y="704"/>
                      </a:lnTo>
                      <a:lnTo>
                        <a:pt x="84" y="704"/>
                      </a:lnTo>
                      <a:lnTo>
                        <a:pt x="84" y="706"/>
                      </a:lnTo>
                      <a:lnTo>
                        <a:pt x="86" y="706"/>
                      </a:lnTo>
                      <a:lnTo>
                        <a:pt x="86" y="704"/>
                      </a:lnTo>
                      <a:lnTo>
                        <a:pt x="86" y="706"/>
                      </a:lnTo>
                      <a:lnTo>
                        <a:pt x="88" y="706"/>
                      </a:lnTo>
                      <a:lnTo>
                        <a:pt x="88" y="704"/>
                      </a:lnTo>
                      <a:lnTo>
                        <a:pt x="88" y="706"/>
                      </a:lnTo>
                      <a:lnTo>
                        <a:pt x="90" y="706"/>
                      </a:lnTo>
                      <a:lnTo>
                        <a:pt x="90" y="704"/>
                      </a:lnTo>
                      <a:lnTo>
                        <a:pt x="92" y="704"/>
                      </a:lnTo>
                      <a:lnTo>
                        <a:pt x="94" y="704"/>
                      </a:lnTo>
                      <a:lnTo>
                        <a:pt x="95" y="704"/>
                      </a:lnTo>
                      <a:lnTo>
                        <a:pt x="97" y="704"/>
                      </a:lnTo>
                      <a:lnTo>
                        <a:pt x="97" y="702"/>
                      </a:lnTo>
                      <a:lnTo>
                        <a:pt x="103" y="698"/>
                      </a:lnTo>
                      <a:lnTo>
                        <a:pt x="103" y="696"/>
                      </a:lnTo>
                      <a:lnTo>
                        <a:pt x="105" y="696"/>
                      </a:lnTo>
                      <a:lnTo>
                        <a:pt x="107" y="694"/>
                      </a:lnTo>
                      <a:lnTo>
                        <a:pt x="107" y="691"/>
                      </a:lnTo>
                      <a:lnTo>
                        <a:pt x="109" y="689"/>
                      </a:lnTo>
                      <a:lnTo>
                        <a:pt x="110" y="689"/>
                      </a:lnTo>
                      <a:lnTo>
                        <a:pt x="112" y="685"/>
                      </a:lnTo>
                      <a:lnTo>
                        <a:pt x="120" y="679"/>
                      </a:lnTo>
                      <a:lnTo>
                        <a:pt x="124" y="674"/>
                      </a:lnTo>
                      <a:lnTo>
                        <a:pt x="127" y="670"/>
                      </a:lnTo>
                      <a:lnTo>
                        <a:pt x="129" y="664"/>
                      </a:lnTo>
                      <a:lnTo>
                        <a:pt x="133" y="660"/>
                      </a:lnTo>
                      <a:lnTo>
                        <a:pt x="137" y="653"/>
                      </a:lnTo>
                      <a:lnTo>
                        <a:pt x="139" y="649"/>
                      </a:lnTo>
                      <a:lnTo>
                        <a:pt x="139" y="645"/>
                      </a:lnTo>
                      <a:lnTo>
                        <a:pt x="141" y="640"/>
                      </a:lnTo>
                      <a:lnTo>
                        <a:pt x="142" y="634"/>
                      </a:lnTo>
                      <a:lnTo>
                        <a:pt x="144" y="630"/>
                      </a:lnTo>
                      <a:lnTo>
                        <a:pt x="146" y="617"/>
                      </a:lnTo>
                      <a:lnTo>
                        <a:pt x="146" y="610"/>
                      </a:lnTo>
                      <a:lnTo>
                        <a:pt x="146" y="602"/>
                      </a:lnTo>
                      <a:lnTo>
                        <a:pt x="146" y="593"/>
                      </a:lnTo>
                      <a:lnTo>
                        <a:pt x="144" y="581"/>
                      </a:lnTo>
                      <a:lnTo>
                        <a:pt x="142" y="572"/>
                      </a:lnTo>
                      <a:lnTo>
                        <a:pt x="142" y="570"/>
                      </a:lnTo>
                      <a:lnTo>
                        <a:pt x="142" y="566"/>
                      </a:lnTo>
                      <a:lnTo>
                        <a:pt x="141" y="564"/>
                      </a:lnTo>
                      <a:lnTo>
                        <a:pt x="142" y="564"/>
                      </a:lnTo>
                      <a:lnTo>
                        <a:pt x="144" y="564"/>
                      </a:lnTo>
                      <a:lnTo>
                        <a:pt x="146" y="564"/>
                      </a:lnTo>
                      <a:lnTo>
                        <a:pt x="148" y="564"/>
                      </a:lnTo>
                      <a:lnTo>
                        <a:pt x="148" y="563"/>
                      </a:lnTo>
                      <a:lnTo>
                        <a:pt x="148" y="561"/>
                      </a:lnTo>
                      <a:lnTo>
                        <a:pt x="150" y="557"/>
                      </a:lnTo>
                      <a:lnTo>
                        <a:pt x="150" y="553"/>
                      </a:lnTo>
                      <a:lnTo>
                        <a:pt x="148" y="549"/>
                      </a:lnTo>
                      <a:lnTo>
                        <a:pt x="148" y="547"/>
                      </a:lnTo>
                      <a:lnTo>
                        <a:pt x="146" y="542"/>
                      </a:lnTo>
                      <a:lnTo>
                        <a:pt x="146" y="536"/>
                      </a:lnTo>
                      <a:lnTo>
                        <a:pt x="144" y="536"/>
                      </a:lnTo>
                      <a:lnTo>
                        <a:pt x="144" y="534"/>
                      </a:lnTo>
                      <a:lnTo>
                        <a:pt x="144" y="532"/>
                      </a:lnTo>
                      <a:lnTo>
                        <a:pt x="144" y="531"/>
                      </a:lnTo>
                      <a:lnTo>
                        <a:pt x="144" y="527"/>
                      </a:lnTo>
                      <a:lnTo>
                        <a:pt x="142" y="527"/>
                      </a:lnTo>
                      <a:lnTo>
                        <a:pt x="141" y="523"/>
                      </a:lnTo>
                      <a:lnTo>
                        <a:pt x="141" y="521"/>
                      </a:lnTo>
                      <a:lnTo>
                        <a:pt x="141" y="519"/>
                      </a:lnTo>
                      <a:lnTo>
                        <a:pt x="141" y="517"/>
                      </a:lnTo>
                      <a:lnTo>
                        <a:pt x="139" y="514"/>
                      </a:lnTo>
                      <a:lnTo>
                        <a:pt x="139" y="512"/>
                      </a:lnTo>
                      <a:lnTo>
                        <a:pt x="139" y="510"/>
                      </a:lnTo>
                      <a:lnTo>
                        <a:pt x="139" y="508"/>
                      </a:lnTo>
                      <a:lnTo>
                        <a:pt x="139" y="506"/>
                      </a:lnTo>
                      <a:lnTo>
                        <a:pt x="139" y="504"/>
                      </a:lnTo>
                      <a:lnTo>
                        <a:pt x="139" y="502"/>
                      </a:lnTo>
                      <a:lnTo>
                        <a:pt x="139" y="500"/>
                      </a:lnTo>
                      <a:lnTo>
                        <a:pt x="139" y="499"/>
                      </a:lnTo>
                      <a:lnTo>
                        <a:pt x="139" y="497"/>
                      </a:lnTo>
                      <a:lnTo>
                        <a:pt x="137" y="497"/>
                      </a:lnTo>
                      <a:lnTo>
                        <a:pt x="139" y="497"/>
                      </a:lnTo>
                      <a:lnTo>
                        <a:pt x="141" y="497"/>
                      </a:lnTo>
                      <a:lnTo>
                        <a:pt x="141" y="495"/>
                      </a:lnTo>
                      <a:lnTo>
                        <a:pt x="141" y="493"/>
                      </a:lnTo>
                      <a:lnTo>
                        <a:pt x="142" y="493"/>
                      </a:lnTo>
                      <a:lnTo>
                        <a:pt x="142" y="491"/>
                      </a:lnTo>
                      <a:lnTo>
                        <a:pt x="141" y="489"/>
                      </a:lnTo>
                      <a:lnTo>
                        <a:pt x="141" y="487"/>
                      </a:lnTo>
                      <a:lnTo>
                        <a:pt x="141" y="483"/>
                      </a:lnTo>
                      <a:lnTo>
                        <a:pt x="137" y="478"/>
                      </a:lnTo>
                      <a:lnTo>
                        <a:pt x="137" y="476"/>
                      </a:lnTo>
                      <a:lnTo>
                        <a:pt x="137" y="474"/>
                      </a:lnTo>
                      <a:lnTo>
                        <a:pt x="137" y="472"/>
                      </a:lnTo>
                      <a:lnTo>
                        <a:pt x="135" y="472"/>
                      </a:lnTo>
                      <a:lnTo>
                        <a:pt x="135" y="470"/>
                      </a:lnTo>
                      <a:lnTo>
                        <a:pt x="135" y="468"/>
                      </a:lnTo>
                      <a:lnTo>
                        <a:pt x="133" y="468"/>
                      </a:lnTo>
                      <a:lnTo>
                        <a:pt x="133" y="467"/>
                      </a:lnTo>
                      <a:lnTo>
                        <a:pt x="135" y="465"/>
                      </a:lnTo>
                      <a:lnTo>
                        <a:pt x="135" y="463"/>
                      </a:lnTo>
                      <a:lnTo>
                        <a:pt x="133" y="461"/>
                      </a:lnTo>
                      <a:lnTo>
                        <a:pt x="133" y="459"/>
                      </a:lnTo>
                      <a:lnTo>
                        <a:pt x="131" y="459"/>
                      </a:lnTo>
                      <a:lnTo>
                        <a:pt x="131" y="457"/>
                      </a:lnTo>
                      <a:lnTo>
                        <a:pt x="131" y="455"/>
                      </a:lnTo>
                      <a:lnTo>
                        <a:pt x="129" y="453"/>
                      </a:lnTo>
                      <a:lnTo>
                        <a:pt x="129" y="451"/>
                      </a:lnTo>
                      <a:lnTo>
                        <a:pt x="129" y="450"/>
                      </a:lnTo>
                      <a:lnTo>
                        <a:pt x="131" y="450"/>
                      </a:lnTo>
                      <a:lnTo>
                        <a:pt x="131" y="448"/>
                      </a:lnTo>
                      <a:lnTo>
                        <a:pt x="131" y="446"/>
                      </a:lnTo>
                      <a:lnTo>
                        <a:pt x="131" y="444"/>
                      </a:lnTo>
                      <a:lnTo>
                        <a:pt x="131" y="442"/>
                      </a:lnTo>
                      <a:lnTo>
                        <a:pt x="133" y="442"/>
                      </a:lnTo>
                      <a:lnTo>
                        <a:pt x="133" y="440"/>
                      </a:lnTo>
                      <a:lnTo>
                        <a:pt x="133" y="438"/>
                      </a:lnTo>
                      <a:lnTo>
                        <a:pt x="133" y="436"/>
                      </a:lnTo>
                      <a:lnTo>
                        <a:pt x="131" y="435"/>
                      </a:lnTo>
                      <a:lnTo>
                        <a:pt x="131" y="433"/>
                      </a:lnTo>
                      <a:lnTo>
                        <a:pt x="131" y="431"/>
                      </a:lnTo>
                      <a:lnTo>
                        <a:pt x="129" y="429"/>
                      </a:lnTo>
                      <a:lnTo>
                        <a:pt x="129" y="427"/>
                      </a:lnTo>
                      <a:lnTo>
                        <a:pt x="127" y="427"/>
                      </a:lnTo>
                      <a:lnTo>
                        <a:pt x="127" y="423"/>
                      </a:lnTo>
                      <a:lnTo>
                        <a:pt x="122" y="418"/>
                      </a:lnTo>
                      <a:lnTo>
                        <a:pt x="122" y="416"/>
                      </a:lnTo>
                      <a:lnTo>
                        <a:pt x="122" y="414"/>
                      </a:lnTo>
                      <a:lnTo>
                        <a:pt x="120" y="414"/>
                      </a:lnTo>
                      <a:lnTo>
                        <a:pt x="122" y="414"/>
                      </a:lnTo>
                      <a:lnTo>
                        <a:pt x="120" y="414"/>
                      </a:lnTo>
                      <a:lnTo>
                        <a:pt x="122" y="414"/>
                      </a:lnTo>
                      <a:lnTo>
                        <a:pt x="122" y="412"/>
                      </a:lnTo>
                      <a:lnTo>
                        <a:pt x="120" y="410"/>
                      </a:lnTo>
                      <a:lnTo>
                        <a:pt x="120" y="408"/>
                      </a:lnTo>
                      <a:lnTo>
                        <a:pt x="120" y="406"/>
                      </a:lnTo>
                      <a:lnTo>
                        <a:pt x="120" y="404"/>
                      </a:lnTo>
                      <a:lnTo>
                        <a:pt x="118" y="403"/>
                      </a:lnTo>
                      <a:lnTo>
                        <a:pt x="120" y="403"/>
                      </a:lnTo>
                      <a:lnTo>
                        <a:pt x="118" y="403"/>
                      </a:lnTo>
                      <a:lnTo>
                        <a:pt x="118" y="401"/>
                      </a:lnTo>
                      <a:lnTo>
                        <a:pt x="118" y="399"/>
                      </a:lnTo>
                      <a:lnTo>
                        <a:pt x="118" y="397"/>
                      </a:lnTo>
                      <a:lnTo>
                        <a:pt x="118" y="395"/>
                      </a:lnTo>
                      <a:lnTo>
                        <a:pt x="118" y="393"/>
                      </a:lnTo>
                      <a:lnTo>
                        <a:pt x="118" y="391"/>
                      </a:lnTo>
                      <a:lnTo>
                        <a:pt x="116" y="389"/>
                      </a:lnTo>
                      <a:lnTo>
                        <a:pt x="116" y="387"/>
                      </a:lnTo>
                      <a:lnTo>
                        <a:pt x="114" y="387"/>
                      </a:lnTo>
                      <a:lnTo>
                        <a:pt x="114" y="386"/>
                      </a:lnTo>
                      <a:lnTo>
                        <a:pt x="114" y="384"/>
                      </a:lnTo>
                      <a:lnTo>
                        <a:pt x="112" y="384"/>
                      </a:lnTo>
                      <a:lnTo>
                        <a:pt x="110" y="380"/>
                      </a:lnTo>
                      <a:lnTo>
                        <a:pt x="110" y="378"/>
                      </a:lnTo>
                      <a:lnTo>
                        <a:pt x="109" y="378"/>
                      </a:lnTo>
                      <a:lnTo>
                        <a:pt x="109" y="376"/>
                      </a:lnTo>
                      <a:lnTo>
                        <a:pt x="107" y="376"/>
                      </a:lnTo>
                      <a:lnTo>
                        <a:pt x="107" y="374"/>
                      </a:lnTo>
                      <a:lnTo>
                        <a:pt x="107" y="372"/>
                      </a:lnTo>
                      <a:lnTo>
                        <a:pt x="105" y="372"/>
                      </a:lnTo>
                      <a:lnTo>
                        <a:pt x="105" y="371"/>
                      </a:lnTo>
                      <a:lnTo>
                        <a:pt x="103" y="371"/>
                      </a:lnTo>
                      <a:lnTo>
                        <a:pt x="103" y="369"/>
                      </a:lnTo>
                      <a:lnTo>
                        <a:pt x="101" y="367"/>
                      </a:lnTo>
                      <a:lnTo>
                        <a:pt x="101" y="365"/>
                      </a:lnTo>
                      <a:lnTo>
                        <a:pt x="99" y="365"/>
                      </a:lnTo>
                      <a:lnTo>
                        <a:pt x="99" y="363"/>
                      </a:lnTo>
                      <a:lnTo>
                        <a:pt x="99" y="361"/>
                      </a:lnTo>
                      <a:lnTo>
                        <a:pt x="99" y="359"/>
                      </a:lnTo>
                      <a:lnTo>
                        <a:pt x="97" y="359"/>
                      </a:lnTo>
                      <a:lnTo>
                        <a:pt x="97" y="357"/>
                      </a:lnTo>
                      <a:lnTo>
                        <a:pt x="95" y="357"/>
                      </a:lnTo>
                      <a:lnTo>
                        <a:pt x="95" y="355"/>
                      </a:lnTo>
                      <a:lnTo>
                        <a:pt x="95" y="354"/>
                      </a:lnTo>
                      <a:lnTo>
                        <a:pt x="95" y="352"/>
                      </a:lnTo>
                      <a:lnTo>
                        <a:pt x="94" y="352"/>
                      </a:lnTo>
                      <a:lnTo>
                        <a:pt x="94" y="350"/>
                      </a:lnTo>
                      <a:lnTo>
                        <a:pt x="92" y="350"/>
                      </a:lnTo>
                      <a:lnTo>
                        <a:pt x="92" y="348"/>
                      </a:lnTo>
                      <a:lnTo>
                        <a:pt x="90" y="348"/>
                      </a:lnTo>
                      <a:lnTo>
                        <a:pt x="92" y="348"/>
                      </a:lnTo>
                      <a:lnTo>
                        <a:pt x="92" y="346"/>
                      </a:lnTo>
                      <a:lnTo>
                        <a:pt x="92" y="344"/>
                      </a:lnTo>
                      <a:lnTo>
                        <a:pt x="90" y="342"/>
                      </a:lnTo>
                      <a:lnTo>
                        <a:pt x="90" y="340"/>
                      </a:lnTo>
                      <a:lnTo>
                        <a:pt x="86" y="337"/>
                      </a:lnTo>
                      <a:lnTo>
                        <a:pt x="84" y="333"/>
                      </a:lnTo>
                      <a:lnTo>
                        <a:pt x="82" y="333"/>
                      </a:lnTo>
                      <a:lnTo>
                        <a:pt x="82" y="331"/>
                      </a:lnTo>
                      <a:lnTo>
                        <a:pt x="79" y="327"/>
                      </a:lnTo>
                      <a:lnTo>
                        <a:pt x="77" y="325"/>
                      </a:lnTo>
                      <a:lnTo>
                        <a:pt x="75" y="325"/>
                      </a:lnTo>
                      <a:lnTo>
                        <a:pt x="75" y="323"/>
                      </a:lnTo>
                      <a:lnTo>
                        <a:pt x="75" y="322"/>
                      </a:lnTo>
                      <a:lnTo>
                        <a:pt x="73" y="322"/>
                      </a:lnTo>
                      <a:lnTo>
                        <a:pt x="71" y="322"/>
                      </a:lnTo>
                      <a:lnTo>
                        <a:pt x="73" y="320"/>
                      </a:lnTo>
                      <a:lnTo>
                        <a:pt x="71" y="320"/>
                      </a:lnTo>
                      <a:lnTo>
                        <a:pt x="71" y="318"/>
                      </a:lnTo>
                      <a:lnTo>
                        <a:pt x="69" y="318"/>
                      </a:lnTo>
                      <a:lnTo>
                        <a:pt x="69" y="316"/>
                      </a:lnTo>
                      <a:lnTo>
                        <a:pt x="67" y="314"/>
                      </a:lnTo>
                      <a:lnTo>
                        <a:pt x="67" y="312"/>
                      </a:lnTo>
                      <a:lnTo>
                        <a:pt x="65" y="312"/>
                      </a:lnTo>
                      <a:lnTo>
                        <a:pt x="63" y="310"/>
                      </a:lnTo>
                      <a:lnTo>
                        <a:pt x="63" y="308"/>
                      </a:lnTo>
                      <a:lnTo>
                        <a:pt x="62" y="308"/>
                      </a:lnTo>
                      <a:lnTo>
                        <a:pt x="62" y="307"/>
                      </a:lnTo>
                      <a:lnTo>
                        <a:pt x="60" y="305"/>
                      </a:lnTo>
                      <a:lnTo>
                        <a:pt x="60" y="303"/>
                      </a:lnTo>
                      <a:lnTo>
                        <a:pt x="58" y="303"/>
                      </a:lnTo>
                      <a:lnTo>
                        <a:pt x="58" y="301"/>
                      </a:lnTo>
                      <a:lnTo>
                        <a:pt x="56" y="301"/>
                      </a:lnTo>
                      <a:lnTo>
                        <a:pt x="56" y="299"/>
                      </a:lnTo>
                      <a:lnTo>
                        <a:pt x="56" y="297"/>
                      </a:lnTo>
                      <a:lnTo>
                        <a:pt x="54" y="297"/>
                      </a:lnTo>
                      <a:lnTo>
                        <a:pt x="54" y="295"/>
                      </a:lnTo>
                      <a:lnTo>
                        <a:pt x="52" y="295"/>
                      </a:lnTo>
                      <a:lnTo>
                        <a:pt x="52" y="293"/>
                      </a:lnTo>
                      <a:lnTo>
                        <a:pt x="50" y="293"/>
                      </a:lnTo>
                      <a:lnTo>
                        <a:pt x="50" y="291"/>
                      </a:lnTo>
                      <a:lnTo>
                        <a:pt x="48" y="291"/>
                      </a:lnTo>
                      <a:lnTo>
                        <a:pt x="48" y="290"/>
                      </a:lnTo>
                      <a:lnTo>
                        <a:pt x="47" y="290"/>
                      </a:lnTo>
                      <a:lnTo>
                        <a:pt x="47" y="288"/>
                      </a:lnTo>
                      <a:lnTo>
                        <a:pt x="47" y="286"/>
                      </a:lnTo>
                      <a:lnTo>
                        <a:pt x="45" y="286"/>
                      </a:lnTo>
                      <a:lnTo>
                        <a:pt x="45" y="284"/>
                      </a:lnTo>
                      <a:lnTo>
                        <a:pt x="45" y="282"/>
                      </a:lnTo>
                      <a:lnTo>
                        <a:pt x="43" y="282"/>
                      </a:lnTo>
                      <a:lnTo>
                        <a:pt x="43" y="280"/>
                      </a:lnTo>
                      <a:lnTo>
                        <a:pt x="41" y="278"/>
                      </a:lnTo>
                      <a:lnTo>
                        <a:pt x="39" y="278"/>
                      </a:lnTo>
                      <a:lnTo>
                        <a:pt x="39" y="276"/>
                      </a:lnTo>
                      <a:lnTo>
                        <a:pt x="37" y="276"/>
                      </a:lnTo>
                      <a:lnTo>
                        <a:pt x="37" y="274"/>
                      </a:lnTo>
                      <a:lnTo>
                        <a:pt x="35" y="274"/>
                      </a:lnTo>
                      <a:lnTo>
                        <a:pt x="35" y="273"/>
                      </a:lnTo>
                      <a:lnTo>
                        <a:pt x="35" y="271"/>
                      </a:lnTo>
                      <a:lnTo>
                        <a:pt x="33" y="271"/>
                      </a:lnTo>
                      <a:lnTo>
                        <a:pt x="33" y="269"/>
                      </a:lnTo>
                      <a:lnTo>
                        <a:pt x="33" y="267"/>
                      </a:lnTo>
                      <a:lnTo>
                        <a:pt x="31" y="267"/>
                      </a:lnTo>
                      <a:lnTo>
                        <a:pt x="31" y="265"/>
                      </a:lnTo>
                      <a:lnTo>
                        <a:pt x="30" y="265"/>
                      </a:lnTo>
                      <a:lnTo>
                        <a:pt x="30" y="263"/>
                      </a:lnTo>
                      <a:lnTo>
                        <a:pt x="31" y="263"/>
                      </a:lnTo>
                      <a:lnTo>
                        <a:pt x="30" y="263"/>
                      </a:lnTo>
                      <a:lnTo>
                        <a:pt x="30" y="261"/>
                      </a:lnTo>
                      <a:lnTo>
                        <a:pt x="30" y="259"/>
                      </a:lnTo>
                      <a:lnTo>
                        <a:pt x="31" y="259"/>
                      </a:lnTo>
                      <a:lnTo>
                        <a:pt x="30" y="259"/>
                      </a:lnTo>
                      <a:lnTo>
                        <a:pt x="31" y="259"/>
                      </a:lnTo>
                      <a:lnTo>
                        <a:pt x="31" y="258"/>
                      </a:lnTo>
                      <a:lnTo>
                        <a:pt x="31" y="256"/>
                      </a:lnTo>
                      <a:lnTo>
                        <a:pt x="30" y="256"/>
                      </a:lnTo>
                      <a:lnTo>
                        <a:pt x="31" y="256"/>
                      </a:lnTo>
                      <a:lnTo>
                        <a:pt x="31" y="254"/>
                      </a:lnTo>
                      <a:lnTo>
                        <a:pt x="30" y="254"/>
                      </a:lnTo>
                      <a:lnTo>
                        <a:pt x="30" y="252"/>
                      </a:lnTo>
                      <a:lnTo>
                        <a:pt x="30" y="250"/>
                      </a:lnTo>
                      <a:lnTo>
                        <a:pt x="28" y="250"/>
                      </a:lnTo>
                      <a:lnTo>
                        <a:pt x="28" y="248"/>
                      </a:lnTo>
                      <a:lnTo>
                        <a:pt x="28" y="246"/>
                      </a:lnTo>
                      <a:lnTo>
                        <a:pt x="26" y="246"/>
                      </a:lnTo>
                      <a:lnTo>
                        <a:pt x="24" y="244"/>
                      </a:lnTo>
                      <a:lnTo>
                        <a:pt x="24" y="242"/>
                      </a:lnTo>
                      <a:lnTo>
                        <a:pt x="22" y="242"/>
                      </a:lnTo>
                      <a:lnTo>
                        <a:pt x="22" y="241"/>
                      </a:lnTo>
                      <a:lnTo>
                        <a:pt x="20" y="241"/>
                      </a:lnTo>
                      <a:lnTo>
                        <a:pt x="20" y="239"/>
                      </a:lnTo>
                      <a:lnTo>
                        <a:pt x="18" y="237"/>
                      </a:lnTo>
                      <a:lnTo>
                        <a:pt x="16" y="237"/>
                      </a:lnTo>
                      <a:lnTo>
                        <a:pt x="16" y="235"/>
                      </a:lnTo>
                      <a:lnTo>
                        <a:pt x="15" y="235"/>
                      </a:lnTo>
                      <a:lnTo>
                        <a:pt x="15" y="233"/>
                      </a:lnTo>
                      <a:lnTo>
                        <a:pt x="13" y="233"/>
                      </a:lnTo>
                      <a:lnTo>
                        <a:pt x="13" y="231"/>
                      </a:lnTo>
                      <a:lnTo>
                        <a:pt x="11" y="231"/>
                      </a:lnTo>
                      <a:lnTo>
                        <a:pt x="11" y="229"/>
                      </a:lnTo>
                      <a:lnTo>
                        <a:pt x="9" y="229"/>
                      </a:lnTo>
                      <a:lnTo>
                        <a:pt x="9" y="227"/>
                      </a:lnTo>
                      <a:lnTo>
                        <a:pt x="9" y="226"/>
                      </a:lnTo>
                      <a:lnTo>
                        <a:pt x="7" y="226"/>
                      </a:lnTo>
                      <a:lnTo>
                        <a:pt x="7" y="224"/>
                      </a:lnTo>
                      <a:lnTo>
                        <a:pt x="5" y="224"/>
                      </a:lnTo>
                      <a:lnTo>
                        <a:pt x="5" y="222"/>
                      </a:lnTo>
                      <a:lnTo>
                        <a:pt x="3" y="220"/>
                      </a:lnTo>
                      <a:lnTo>
                        <a:pt x="3" y="218"/>
                      </a:lnTo>
                      <a:lnTo>
                        <a:pt x="1" y="218"/>
                      </a:lnTo>
                      <a:lnTo>
                        <a:pt x="1" y="216"/>
                      </a:lnTo>
                      <a:lnTo>
                        <a:pt x="0" y="216"/>
                      </a:lnTo>
                      <a:lnTo>
                        <a:pt x="1" y="216"/>
                      </a:lnTo>
                      <a:lnTo>
                        <a:pt x="0" y="216"/>
                      </a:lnTo>
                      <a:lnTo>
                        <a:pt x="0" y="214"/>
                      </a:lnTo>
                      <a:lnTo>
                        <a:pt x="3" y="216"/>
                      </a:lnTo>
                      <a:lnTo>
                        <a:pt x="7" y="216"/>
                      </a:lnTo>
                      <a:lnTo>
                        <a:pt x="18" y="222"/>
                      </a:lnTo>
                      <a:lnTo>
                        <a:pt x="13" y="197"/>
                      </a:lnTo>
                      <a:lnTo>
                        <a:pt x="18" y="190"/>
                      </a:lnTo>
                      <a:lnTo>
                        <a:pt x="26" y="184"/>
                      </a:lnTo>
                      <a:lnTo>
                        <a:pt x="30" y="180"/>
                      </a:lnTo>
                      <a:lnTo>
                        <a:pt x="33" y="180"/>
                      </a:lnTo>
                      <a:lnTo>
                        <a:pt x="33" y="178"/>
                      </a:lnTo>
                      <a:lnTo>
                        <a:pt x="41" y="173"/>
                      </a:lnTo>
                      <a:lnTo>
                        <a:pt x="43" y="173"/>
                      </a:lnTo>
                      <a:lnTo>
                        <a:pt x="43" y="171"/>
                      </a:lnTo>
                      <a:lnTo>
                        <a:pt x="39" y="167"/>
                      </a:lnTo>
                      <a:lnTo>
                        <a:pt x="37" y="165"/>
                      </a:lnTo>
                      <a:lnTo>
                        <a:pt x="31" y="154"/>
                      </a:lnTo>
                      <a:lnTo>
                        <a:pt x="30" y="154"/>
                      </a:lnTo>
                      <a:lnTo>
                        <a:pt x="31" y="146"/>
                      </a:lnTo>
                      <a:lnTo>
                        <a:pt x="35" y="146"/>
                      </a:lnTo>
                      <a:lnTo>
                        <a:pt x="39" y="146"/>
                      </a:lnTo>
                      <a:lnTo>
                        <a:pt x="45" y="145"/>
                      </a:lnTo>
                      <a:lnTo>
                        <a:pt x="54" y="143"/>
                      </a:lnTo>
                      <a:lnTo>
                        <a:pt x="56" y="143"/>
                      </a:lnTo>
                      <a:lnTo>
                        <a:pt x="60" y="145"/>
                      </a:lnTo>
                      <a:lnTo>
                        <a:pt x="60" y="141"/>
                      </a:lnTo>
                      <a:lnTo>
                        <a:pt x="60" y="118"/>
                      </a:lnTo>
                      <a:lnTo>
                        <a:pt x="60" y="114"/>
                      </a:lnTo>
                      <a:lnTo>
                        <a:pt x="63" y="107"/>
                      </a:lnTo>
                      <a:lnTo>
                        <a:pt x="77" y="103"/>
                      </a:lnTo>
                      <a:lnTo>
                        <a:pt x="82" y="105"/>
                      </a:lnTo>
                      <a:lnTo>
                        <a:pt x="84" y="105"/>
                      </a:lnTo>
                      <a:lnTo>
                        <a:pt x="86" y="107"/>
                      </a:lnTo>
                      <a:lnTo>
                        <a:pt x="92" y="113"/>
                      </a:lnTo>
                      <a:lnTo>
                        <a:pt x="97" y="118"/>
                      </a:lnTo>
                      <a:lnTo>
                        <a:pt x="105" y="124"/>
                      </a:lnTo>
                      <a:lnTo>
                        <a:pt x="110" y="120"/>
                      </a:lnTo>
                      <a:lnTo>
                        <a:pt x="114" y="118"/>
                      </a:lnTo>
                      <a:lnTo>
                        <a:pt x="110" y="114"/>
                      </a:lnTo>
                      <a:lnTo>
                        <a:pt x="114" y="113"/>
                      </a:lnTo>
                      <a:lnTo>
                        <a:pt x="116" y="113"/>
                      </a:lnTo>
                      <a:lnTo>
                        <a:pt x="120" y="114"/>
                      </a:lnTo>
                      <a:lnTo>
                        <a:pt x="126" y="118"/>
                      </a:lnTo>
                      <a:lnTo>
                        <a:pt x="129" y="114"/>
                      </a:lnTo>
                      <a:lnTo>
                        <a:pt x="131" y="109"/>
                      </a:lnTo>
                      <a:lnTo>
                        <a:pt x="141" y="92"/>
                      </a:lnTo>
                      <a:lnTo>
                        <a:pt x="152" y="75"/>
                      </a:lnTo>
                      <a:lnTo>
                        <a:pt x="156" y="67"/>
                      </a:lnTo>
                      <a:lnTo>
                        <a:pt x="156" y="47"/>
                      </a:lnTo>
                      <a:lnTo>
                        <a:pt x="163" y="34"/>
                      </a:lnTo>
                      <a:lnTo>
                        <a:pt x="165" y="32"/>
                      </a:lnTo>
                      <a:lnTo>
                        <a:pt x="167" y="28"/>
                      </a:lnTo>
                      <a:lnTo>
                        <a:pt x="165" y="22"/>
                      </a:lnTo>
                      <a:lnTo>
                        <a:pt x="159" y="9"/>
                      </a:lnTo>
                      <a:lnTo>
                        <a:pt x="158" y="7"/>
                      </a:lnTo>
                      <a:lnTo>
                        <a:pt x="171" y="20"/>
                      </a:lnTo>
                      <a:lnTo>
                        <a:pt x="174" y="24"/>
                      </a:lnTo>
                      <a:lnTo>
                        <a:pt x="189" y="43"/>
                      </a:lnTo>
                      <a:lnTo>
                        <a:pt x="189" y="45"/>
                      </a:lnTo>
                      <a:lnTo>
                        <a:pt x="195" y="52"/>
                      </a:lnTo>
                      <a:lnTo>
                        <a:pt x="191" y="41"/>
                      </a:lnTo>
                      <a:lnTo>
                        <a:pt x="188" y="32"/>
                      </a:lnTo>
                      <a:lnTo>
                        <a:pt x="184" y="26"/>
                      </a:lnTo>
                      <a:lnTo>
                        <a:pt x="186" y="24"/>
                      </a:lnTo>
                      <a:lnTo>
                        <a:pt x="188" y="15"/>
                      </a:lnTo>
                      <a:lnTo>
                        <a:pt x="188" y="13"/>
                      </a:lnTo>
                      <a:lnTo>
                        <a:pt x="189" y="3"/>
                      </a:lnTo>
                      <a:lnTo>
                        <a:pt x="206" y="0"/>
                      </a:lnTo>
                      <a:lnTo>
                        <a:pt x="212" y="9"/>
                      </a:lnTo>
                      <a:lnTo>
                        <a:pt x="214" y="11"/>
                      </a:lnTo>
                      <a:lnTo>
                        <a:pt x="218" y="17"/>
                      </a:lnTo>
                      <a:lnTo>
                        <a:pt x="221" y="24"/>
                      </a:lnTo>
                      <a:lnTo>
                        <a:pt x="223" y="26"/>
                      </a:lnTo>
                      <a:lnTo>
                        <a:pt x="225" y="32"/>
                      </a:lnTo>
                      <a:lnTo>
                        <a:pt x="229" y="37"/>
                      </a:lnTo>
                      <a:lnTo>
                        <a:pt x="238" y="37"/>
                      </a:lnTo>
                      <a:lnTo>
                        <a:pt x="255" y="41"/>
                      </a:lnTo>
                      <a:lnTo>
                        <a:pt x="257" y="45"/>
                      </a:lnTo>
                      <a:lnTo>
                        <a:pt x="261" y="50"/>
                      </a:lnTo>
                      <a:lnTo>
                        <a:pt x="265" y="58"/>
                      </a:lnTo>
                      <a:lnTo>
                        <a:pt x="265" y="62"/>
                      </a:lnTo>
                      <a:lnTo>
                        <a:pt x="265" y="69"/>
                      </a:lnTo>
                      <a:lnTo>
                        <a:pt x="267" y="71"/>
                      </a:lnTo>
                      <a:lnTo>
                        <a:pt x="272" y="77"/>
                      </a:lnTo>
                      <a:lnTo>
                        <a:pt x="282" y="84"/>
                      </a:lnTo>
                      <a:lnTo>
                        <a:pt x="291" y="88"/>
                      </a:lnTo>
                      <a:lnTo>
                        <a:pt x="297" y="90"/>
                      </a:lnTo>
                      <a:lnTo>
                        <a:pt x="304" y="92"/>
                      </a:lnTo>
                      <a:lnTo>
                        <a:pt x="304" y="99"/>
                      </a:lnTo>
                      <a:lnTo>
                        <a:pt x="304" y="103"/>
                      </a:lnTo>
                      <a:lnTo>
                        <a:pt x="306" y="111"/>
                      </a:lnTo>
                      <a:lnTo>
                        <a:pt x="306" y="126"/>
                      </a:lnTo>
                      <a:lnTo>
                        <a:pt x="306" y="130"/>
                      </a:lnTo>
                      <a:lnTo>
                        <a:pt x="285" y="135"/>
                      </a:lnTo>
                      <a:lnTo>
                        <a:pt x="287" y="137"/>
                      </a:lnTo>
                      <a:lnTo>
                        <a:pt x="297" y="145"/>
                      </a:lnTo>
                      <a:lnTo>
                        <a:pt x="312" y="152"/>
                      </a:lnTo>
                      <a:lnTo>
                        <a:pt x="295" y="162"/>
                      </a:lnTo>
                      <a:lnTo>
                        <a:pt x="291" y="180"/>
                      </a:lnTo>
                      <a:lnTo>
                        <a:pt x="295" y="186"/>
                      </a:lnTo>
                      <a:lnTo>
                        <a:pt x="300" y="199"/>
                      </a:lnTo>
                      <a:lnTo>
                        <a:pt x="302" y="203"/>
                      </a:lnTo>
                      <a:lnTo>
                        <a:pt x="304" y="227"/>
                      </a:lnTo>
                      <a:lnTo>
                        <a:pt x="302" y="239"/>
                      </a:lnTo>
                      <a:lnTo>
                        <a:pt x="308" y="254"/>
                      </a:lnTo>
                      <a:lnTo>
                        <a:pt x="319" y="259"/>
                      </a:lnTo>
                      <a:lnTo>
                        <a:pt x="312" y="273"/>
                      </a:lnTo>
                      <a:lnTo>
                        <a:pt x="312" y="274"/>
                      </a:lnTo>
                      <a:lnTo>
                        <a:pt x="319" y="280"/>
                      </a:lnTo>
                      <a:lnTo>
                        <a:pt x="321" y="280"/>
                      </a:lnTo>
                      <a:lnTo>
                        <a:pt x="325" y="286"/>
                      </a:lnTo>
                      <a:lnTo>
                        <a:pt x="325" y="290"/>
                      </a:lnTo>
                      <a:lnTo>
                        <a:pt x="325" y="293"/>
                      </a:lnTo>
                      <a:lnTo>
                        <a:pt x="327" y="295"/>
                      </a:lnTo>
                      <a:lnTo>
                        <a:pt x="327" y="297"/>
                      </a:lnTo>
                      <a:lnTo>
                        <a:pt x="327" y="299"/>
                      </a:lnTo>
                      <a:lnTo>
                        <a:pt x="327" y="305"/>
                      </a:lnTo>
                      <a:lnTo>
                        <a:pt x="327" y="308"/>
                      </a:lnTo>
                      <a:lnTo>
                        <a:pt x="325" y="308"/>
                      </a:lnTo>
                      <a:lnTo>
                        <a:pt x="325" y="310"/>
                      </a:lnTo>
                      <a:lnTo>
                        <a:pt x="323" y="312"/>
                      </a:lnTo>
                      <a:lnTo>
                        <a:pt x="321" y="318"/>
                      </a:lnTo>
                      <a:lnTo>
                        <a:pt x="321" y="320"/>
                      </a:lnTo>
                      <a:lnTo>
                        <a:pt x="319" y="322"/>
                      </a:lnTo>
                      <a:lnTo>
                        <a:pt x="317" y="322"/>
                      </a:lnTo>
                      <a:lnTo>
                        <a:pt x="319" y="323"/>
                      </a:lnTo>
                      <a:lnTo>
                        <a:pt x="321" y="322"/>
                      </a:lnTo>
                      <a:lnTo>
                        <a:pt x="323" y="320"/>
                      </a:lnTo>
                      <a:lnTo>
                        <a:pt x="327" y="323"/>
                      </a:lnTo>
                      <a:lnTo>
                        <a:pt x="332" y="323"/>
                      </a:lnTo>
                      <a:lnTo>
                        <a:pt x="334" y="323"/>
                      </a:lnTo>
                      <a:lnTo>
                        <a:pt x="336" y="325"/>
                      </a:lnTo>
                      <a:lnTo>
                        <a:pt x="338" y="327"/>
                      </a:lnTo>
                      <a:lnTo>
                        <a:pt x="334" y="335"/>
                      </a:lnTo>
                      <a:lnTo>
                        <a:pt x="331" y="340"/>
                      </a:lnTo>
                      <a:lnTo>
                        <a:pt x="332" y="340"/>
                      </a:lnTo>
                      <a:lnTo>
                        <a:pt x="334" y="340"/>
                      </a:lnTo>
                      <a:lnTo>
                        <a:pt x="336" y="340"/>
                      </a:lnTo>
                      <a:lnTo>
                        <a:pt x="338" y="340"/>
                      </a:lnTo>
                      <a:lnTo>
                        <a:pt x="340" y="348"/>
                      </a:lnTo>
                      <a:lnTo>
                        <a:pt x="338" y="350"/>
                      </a:lnTo>
                      <a:lnTo>
                        <a:pt x="334" y="355"/>
                      </a:lnTo>
                      <a:lnTo>
                        <a:pt x="336" y="361"/>
                      </a:lnTo>
                      <a:lnTo>
                        <a:pt x="336" y="369"/>
                      </a:lnTo>
                      <a:lnTo>
                        <a:pt x="331" y="369"/>
                      </a:lnTo>
                      <a:lnTo>
                        <a:pt x="331" y="374"/>
                      </a:lnTo>
                      <a:lnTo>
                        <a:pt x="332" y="380"/>
                      </a:lnTo>
                      <a:lnTo>
                        <a:pt x="336" y="384"/>
                      </a:lnTo>
                      <a:lnTo>
                        <a:pt x="338" y="387"/>
                      </a:lnTo>
                      <a:lnTo>
                        <a:pt x="338" y="389"/>
                      </a:lnTo>
                      <a:lnTo>
                        <a:pt x="340" y="393"/>
                      </a:lnTo>
                      <a:lnTo>
                        <a:pt x="340" y="397"/>
                      </a:lnTo>
                      <a:lnTo>
                        <a:pt x="338" y="397"/>
                      </a:lnTo>
                      <a:lnTo>
                        <a:pt x="336" y="397"/>
                      </a:lnTo>
                      <a:lnTo>
                        <a:pt x="334" y="397"/>
                      </a:lnTo>
                      <a:lnTo>
                        <a:pt x="334" y="399"/>
                      </a:lnTo>
                      <a:lnTo>
                        <a:pt x="334" y="401"/>
                      </a:lnTo>
                      <a:lnTo>
                        <a:pt x="332" y="401"/>
                      </a:lnTo>
                      <a:lnTo>
                        <a:pt x="332" y="403"/>
                      </a:lnTo>
                      <a:lnTo>
                        <a:pt x="334" y="403"/>
                      </a:lnTo>
                      <a:lnTo>
                        <a:pt x="334" y="404"/>
                      </a:lnTo>
                      <a:lnTo>
                        <a:pt x="334" y="403"/>
                      </a:lnTo>
                      <a:lnTo>
                        <a:pt x="336" y="403"/>
                      </a:lnTo>
                      <a:lnTo>
                        <a:pt x="336" y="404"/>
                      </a:lnTo>
                      <a:lnTo>
                        <a:pt x="338" y="404"/>
                      </a:lnTo>
                      <a:lnTo>
                        <a:pt x="338" y="406"/>
                      </a:lnTo>
                      <a:lnTo>
                        <a:pt x="336" y="406"/>
                      </a:lnTo>
                      <a:lnTo>
                        <a:pt x="336" y="408"/>
                      </a:lnTo>
                      <a:lnTo>
                        <a:pt x="336" y="410"/>
                      </a:lnTo>
                      <a:lnTo>
                        <a:pt x="334" y="410"/>
                      </a:lnTo>
                      <a:lnTo>
                        <a:pt x="334" y="412"/>
                      </a:lnTo>
                      <a:lnTo>
                        <a:pt x="332" y="412"/>
                      </a:lnTo>
                      <a:lnTo>
                        <a:pt x="332" y="414"/>
                      </a:lnTo>
                      <a:lnTo>
                        <a:pt x="331" y="414"/>
                      </a:lnTo>
                      <a:lnTo>
                        <a:pt x="331" y="416"/>
                      </a:lnTo>
                      <a:lnTo>
                        <a:pt x="329" y="416"/>
                      </a:lnTo>
                      <a:lnTo>
                        <a:pt x="329" y="418"/>
                      </a:lnTo>
                      <a:lnTo>
                        <a:pt x="327" y="418"/>
                      </a:lnTo>
                      <a:lnTo>
                        <a:pt x="325" y="418"/>
                      </a:lnTo>
                      <a:lnTo>
                        <a:pt x="325" y="419"/>
                      </a:lnTo>
                      <a:lnTo>
                        <a:pt x="325" y="421"/>
                      </a:lnTo>
                      <a:lnTo>
                        <a:pt x="323" y="421"/>
                      </a:lnTo>
                      <a:lnTo>
                        <a:pt x="325" y="421"/>
                      </a:lnTo>
                      <a:lnTo>
                        <a:pt x="325" y="423"/>
                      </a:lnTo>
                      <a:lnTo>
                        <a:pt x="325" y="425"/>
                      </a:lnTo>
                      <a:lnTo>
                        <a:pt x="325" y="427"/>
                      </a:lnTo>
                      <a:lnTo>
                        <a:pt x="325" y="429"/>
                      </a:lnTo>
                      <a:lnTo>
                        <a:pt x="323" y="429"/>
                      </a:lnTo>
                      <a:lnTo>
                        <a:pt x="323" y="431"/>
                      </a:lnTo>
                      <a:lnTo>
                        <a:pt x="325" y="431"/>
                      </a:lnTo>
                      <a:lnTo>
                        <a:pt x="327" y="431"/>
                      </a:lnTo>
                      <a:lnTo>
                        <a:pt x="327" y="433"/>
                      </a:lnTo>
                      <a:lnTo>
                        <a:pt x="329" y="433"/>
                      </a:lnTo>
                      <a:lnTo>
                        <a:pt x="331" y="433"/>
                      </a:lnTo>
                      <a:lnTo>
                        <a:pt x="332" y="433"/>
                      </a:lnTo>
                      <a:lnTo>
                        <a:pt x="334" y="435"/>
                      </a:lnTo>
                      <a:lnTo>
                        <a:pt x="336" y="435"/>
                      </a:lnTo>
                      <a:lnTo>
                        <a:pt x="338" y="435"/>
                      </a:lnTo>
                      <a:lnTo>
                        <a:pt x="338" y="436"/>
                      </a:lnTo>
                      <a:lnTo>
                        <a:pt x="340" y="436"/>
                      </a:lnTo>
                      <a:lnTo>
                        <a:pt x="342" y="436"/>
                      </a:lnTo>
                      <a:lnTo>
                        <a:pt x="342" y="438"/>
                      </a:lnTo>
                      <a:lnTo>
                        <a:pt x="344" y="438"/>
                      </a:lnTo>
                      <a:lnTo>
                        <a:pt x="346" y="438"/>
                      </a:lnTo>
                      <a:lnTo>
                        <a:pt x="346" y="440"/>
                      </a:lnTo>
                      <a:lnTo>
                        <a:pt x="347" y="440"/>
                      </a:lnTo>
                      <a:lnTo>
                        <a:pt x="349" y="440"/>
                      </a:lnTo>
                      <a:lnTo>
                        <a:pt x="351" y="440"/>
                      </a:lnTo>
                      <a:lnTo>
                        <a:pt x="351" y="442"/>
                      </a:lnTo>
                      <a:lnTo>
                        <a:pt x="353" y="442"/>
                      </a:lnTo>
                      <a:lnTo>
                        <a:pt x="355" y="440"/>
                      </a:lnTo>
                      <a:lnTo>
                        <a:pt x="355" y="438"/>
                      </a:lnTo>
                      <a:lnTo>
                        <a:pt x="357" y="438"/>
                      </a:lnTo>
                      <a:lnTo>
                        <a:pt x="359" y="440"/>
                      </a:lnTo>
                      <a:lnTo>
                        <a:pt x="361" y="442"/>
                      </a:lnTo>
                      <a:lnTo>
                        <a:pt x="363" y="440"/>
                      </a:lnTo>
                      <a:lnTo>
                        <a:pt x="368" y="440"/>
                      </a:lnTo>
                      <a:lnTo>
                        <a:pt x="370" y="453"/>
                      </a:lnTo>
                      <a:lnTo>
                        <a:pt x="379" y="442"/>
                      </a:lnTo>
                      <a:lnTo>
                        <a:pt x="381" y="440"/>
                      </a:lnTo>
                      <a:lnTo>
                        <a:pt x="391" y="427"/>
                      </a:lnTo>
                      <a:lnTo>
                        <a:pt x="389" y="446"/>
                      </a:lnTo>
                      <a:lnTo>
                        <a:pt x="385" y="459"/>
                      </a:lnTo>
                      <a:lnTo>
                        <a:pt x="387" y="463"/>
                      </a:lnTo>
                      <a:lnTo>
                        <a:pt x="391" y="459"/>
                      </a:lnTo>
                      <a:lnTo>
                        <a:pt x="400" y="465"/>
                      </a:lnTo>
                      <a:lnTo>
                        <a:pt x="400" y="472"/>
                      </a:lnTo>
                      <a:lnTo>
                        <a:pt x="408" y="478"/>
                      </a:lnTo>
                      <a:lnTo>
                        <a:pt x="410" y="482"/>
                      </a:lnTo>
                      <a:lnTo>
                        <a:pt x="413" y="480"/>
                      </a:lnTo>
                      <a:lnTo>
                        <a:pt x="417" y="474"/>
                      </a:lnTo>
                      <a:lnTo>
                        <a:pt x="425" y="478"/>
                      </a:lnTo>
                      <a:lnTo>
                        <a:pt x="430" y="483"/>
                      </a:lnTo>
                      <a:lnTo>
                        <a:pt x="436" y="491"/>
                      </a:lnTo>
                      <a:lnTo>
                        <a:pt x="438" y="491"/>
                      </a:lnTo>
                      <a:lnTo>
                        <a:pt x="440" y="491"/>
                      </a:lnTo>
                      <a:lnTo>
                        <a:pt x="442" y="491"/>
                      </a:lnTo>
                      <a:lnTo>
                        <a:pt x="442" y="493"/>
                      </a:lnTo>
                      <a:lnTo>
                        <a:pt x="442" y="495"/>
                      </a:lnTo>
                      <a:lnTo>
                        <a:pt x="442" y="497"/>
                      </a:lnTo>
                      <a:lnTo>
                        <a:pt x="440" y="502"/>
                      </a:lnTo>
                      <a:lnTo>
                        <a:pt x="442" y="504"/>
                      </a:lnTo>
                      <a:lnTo>
                        <a:pt x="442" y="506"/>
                      </a:lnTo>
                      <a:lnTo>
                        <a:pt x="447" y="495"/>
                      </a:lnTo>
                      <a:lnTo>
                        <a:pt x="449" y="504"/>
                      </a:lnTo>
                      <a:lnTo>
                        <a:pt x="447" y="506"/>
                      </a:lnTo>
                      <a:lnTo>
                        <a:pt x="442" y="508"/>
                      </a:lnTo>
                      <a:lnTo>
                        <a:pt x="442" y="510"/>
                      </a:lnTo>
                      <a:lnTo>
                        <a:pt x="438" y="514"/>
                      </a:lnTo>
                      <a:lnTo>
                        <a:pt x="440" y="517"/>
                      </a:lnTo>
                      <a:lnTo>
                        <a:pt x="440" y="519"/>
                      </a:lnTo>
                      <a:lnTo>
                        <a:pt x="442" y="517"/>
                      </a:lnTo>
                      <a:lnTo>
                        <a:pt x="445" y="523"/>
                      </a:lnTo>
                      <a:lnTo>
                        <a:pt x="443" y="527"/>
                      </a:lnTo>
                      <a:lnTo>
                        <a:pt x="443" y="529"/>
                      </a:lnTo>
                      <a:lnTo>
                        <a:pt x="445" y="531"/>
                      </a:lnTo>
                      <a:lnTo>
                        <a:pt x="443" y="532"/>
                      </a:lnTo>
                      <a:lnTo>
                        <a:pt x="443" y="534"/>
                      </a:lnTo>
                      <a:lnTo>
                        <a:pt x="443" y="536"/>
                      </a:lnTo>
                      <a:lnTo>
                        <a:pt x="442" y="536"/>
                      </a:lnTo>
                      <a:lnTo>
                        <a:pt x="442" y="538"/>
                      </a:lnTo>
                      <a:lnTo>
                        <a:pt x="442" y="540"/>
                      </a:lnTo>
                      <a:lnTo>
                        <a:pt x="442" y="542"/>
                      </a:lnTo>
                      <a:lnTo>
                        <a:pt x="443" y="542"/>
                      </a:lnTo>
                      <a:lnTo>
                        <a:pt x="442" y="544"/>
                      </a:lnTo>
                      <a:lnTo>
                        <a:pt x="442" y="546"/>
                      </a:lnTo>
                      <a:lnTo>
                        <a:pt x="421" y="557"/>
                      </a:lnTo>
                      <a:lnTo>
                        <a:pt x="426" y="579"/>
                      </a:lnTo>
                      <a:lnTo>
                        <a:pt x="428" y="579"/>
                      </a:lnTo>
                      <a:lnTo>
                        <a:pt x="428" y="581"/>
                      </a:lnTo>
                      <a:lnTo>
                        <a:pt x="428" y="583"/>
                      </a:lnTo>
                      <a:lnTo>
                        <a:pt x="428" y="585"/>
                      </a:lnTo>
                      <a:lnTo>
                        <a:pt x="430" y="585"/>
                      </a:lnTo>
                      <a:lnTo>
                        <a:pt x="430" y="587"/>
                      </a:lnTo>
                      <a:lnTo>
                        <a:pt x="432" y="587"/>
                      </a:lnTo>
                      <a:lnTo>
                        <a:pt x="432" y="589"/>
                      </a:lnTo>
                      <a:lnTo>
                        <a:pt x="434" y="591"/>
                      </a:lnTo>
                      <a:lnTo>
                        <a:pt x="434" y="593"/>
                      </a:lnTo>
                      <a:lnTo>
                        <a:pt x="436" y="595"/>
                      </a:lnTo>
                      <a:lnTo>
                        <a:pt x="436" y="596"/>
                      </a:lnTo>
                      <a:lnTo>
                        <a:pt x="438" y="596"/>
                      </a:lnTo>
                      <a:lnTo>
                        <a:pt x="438" y="598"/>
                      </a:lnTo>
                      <a:lnTo>
                        <a:pt x="438" y="600"/>
                      </a:lnTo>
                      <a:lnTo>
                        <a:pt x="438" y="602"/>
                      </a:lnTo>
                      <a:lnTo>
                        <a:pt x="440" y="602"/>
                      </a:lnTo>
                      <a:lnTo>
                        <a:pt x="440" y="604"/>
                      </a:lnTo>
                      <a:lnTo>
                        <a:pt x="440" y="606"/>
                      </a:lnTo>
                      <a:lnTo>
                        <a:pt x="442" y="606"/>
                      </a:lnTo>
                      <a:lnTo>
                        <a:pt x="442" y="608"/>
                      </a:lnTo>
                      <a:lnTo>
                        <a:pt x="442" y="610"/>
                      </a:lnTo>
                      <a:lnTo>
                        <a:pt x="443" y="611"/>
                      </a:lnTo>
                      <a:lnTo>
                        <a:pt x="445" y="611"/>
                      </a:lnTo>
                      <a:lnTo>
                        <a:pt x="447" y="611"/>
                      </a:lnTo>
                      <a:lnTo>
                        <a:pt x="447" y="613"/>
                      </a:lnTo>
                      <a:lnTo>
                        <a:pt x="447" y="615"/>
                      </a:lnTo>
                      <a:lnTo>
                        <a:pt x="449" y="615"/>
                      </a:lnTo>
                      <a:lnTo>
                        <a:pt x="443" y="619"/>
                      </a:lnTo>
                      <a:lnTo>
                        <a:pt x="442" y="640"/>
                      </a:lnTo>
                      <a:lnTo>
                        <a:pt x="443" y="653"/>
                      </a:lnTo>
                      <a:lnTo>
                        <a:pt x="447" y="662"/>
                      </a:lnTo>
                      <a:lnTo>
                        <a:pt x="451" y="672"/>
                      </a:lnTo>
                      <a:lnTo>
                        <a:pt x="466" y="664"/>
                      </a:lnTo>
                      <a:lnTo>
                        <a:pt x="468" y="662"/>
                      </a:lnTo>
                      <a:lnTo>
                        <a:pt x="472" y="659"/>
                      </a:lnTo>
                      <a:lnTo>
                        <a:pt x="472" y="651"/>
                      </a:lnTo>
                      <a:lnTo>
                        <a:pt x="474" y="640"/>
                      </a:lnTo>
                      <a:lnTo>
                        <a:pt x="472" y="638"/>
                      </a:lnTo>
                      <a:lnTo>
                        <a:pt x="472" y="634"/>
                      </a:lnTo>
                      <a:lnTo>
                        <a:pt x="474" y="628"/>
                      </a:lnTo>
                      <a:lnTo>
                        <a:pt x="474" y="627"/>
                      </a:lnTo>
                      <a:lnTo>
                        <a:pt x="477" y="621"/>
                      </a:lnTo>
                      <a:lnTo>
                        <a:pt x="475" y="617"/>
                      </a:lnTo>
                      <a:lnTo>
                        <a:pt x="475" y="611"/>
                      </a:lnTo>
                      <a:lnTo>
                        <a:pt x="483" y="602"/>
                      </a:lnTo>
                      <a:lnTo>
                        <a:pt x="485" y="602"/>
                      </a:lnTo>
                      <a:lnTo>
                        <a:pt x="487" y="606"/>
                      </a:lnTo>
                      <a:lnTo>
                        <a:pt x="490" y="610"/>
                      </a:lnTo>
                      <a:lnTo>
                        <a:pt x="496" y="606"/>
                      </a:lnTo>
                      <a:lnTo>
                        <a:pt x="502" y="602"/>
                      </a:lnTo>
                      <a:lnTo>
                        <a:pt x="504" y="602"/>
                      </a:lnTo>
                      <a:lnTo>
                        <a:pt x="498" y="596"/>
                      </a:lnTo>
                      <a:lnTo>
                        <a:pt x="504" y="593"/>
                      </a:lnTo>
                      <a:lnTo>
                        <a:pt x="504" y="589"/>
                      </a:lnTo>
                      <a:lnTo>
                        <a:pt x="505" y="585"/>
                      </a:lnTo>
                      <a:lnTo>
                        <a:pt x="511" y="593"/>
                      </a:lnTo>
                      <a:lnTo>
                        <a:pt x="522" y="587"/>
                      </a:lnTo>
                      <a:lnTo>
                        <a:pt x="526" y="578"/>
                      </a:lnTo>
                      <a:lnTo>
                        <a:pt x="534" y="579"/>
                      </a:lnTo>
                      <a:lnTo>
                        <a:pt x="539" y="585"/>
                      </a:lnTo>
                      <a:lnTo>
                        <a:pt x="541" y="583"/>
                      </a:lnTo>
                      <a:lnTo>
                        <a:pt x="556" y="583"/>
                      </a:lnTo>
                      <a:lnTo>
                        <a:pt x="564" y="576"/>
                      </a:lnTo>
                      <a:lnTo>
                        <a:pt x="564" y="574"/>
                      </a:lnTo>
                      <a:lnTo>
                        <a:pt x="569" y="570"/>
                      </a:lnTo>
                      <a:lnTo>
                        <a:pt x="573" y="568"/>
                      </a:lnTo>
                      <a:lnTo>
                        <a:pt x="575" y="564"/>
                      </a:lnTo>
                      <a:lnTo>
                        <a:pt x="583" y="559"/>
                      </a:lnTo>
                      <a:lnTo>
                        <a:pt x="583" y="555"/>
                      </a:lnTo>
                      <a:lnTo>
                        <a:pt x="586" y="546"/>
                      </a:lnTo>
                      <a:lnTo>
                        <a:pt x="594" y="544"/>
                      </a:lnTo>
                      <a:lnTo>
                        <a:pt x="598" y="544"/>
                      </a:lnTo>
                      <a:lnTo>
                        <a:pt x="598" y="542"/>
                      </a:lnTo>
                      <a:lnTo>
                        <a:pt x="600" y="540"/>
                      </a:lnTo>
                      <a:lnTo>
                        <a:pt x="600" y="538"/>
                      </a:lnTo>
                      <a:lnTo>
                        <a:pt x="600" y="536"/>
                      </a:lnTo>
                      <a:lnTo>
                        <a:pt x="601" y="532"/>
                      </a:lnTo>
                      <a:lnTo>
                        <a:pt x="603" y="531"/>
                      </a:lnTo>
                      <a:lnTo>
                        <a:pt x="605" y="529"/>
                      </a:lnTo>
                      <a:lnTo>
                        <a:pt x="607" y="527"/>
                      </a:lnTo>
                      <a:lnTo>
                        <a:pt x="611" y="525"/>
                      </a:lnTo>
                      <a:lnTo>
                        <a:pt x="615" y="525"/>
                      </a:lnTo>
                      <a:lnTo>
                        <a:pt x="618" y="525"/>
                      </a:lnTo>
                      <a:lnTo>
                        <a:pt x="615" y="538"/>
                      </a:lnTo>
                      <a:lnTo>
                        <a:pt x="633" y="536"/>
                      </a:lnTo>
                      <a:lnTo>
                        <a:pt x="633" y="538"/>
                      </a:lnTo>
                      <a:lnTo>
                        <a:pt x="635" y="546"/>
                      </a:lnTo>
                      <a:lnTo>
                        <a:pt x="635" y="551"/>
                      </a:lnTo>
                      <a:lnTo>
                        <a:pt x="635" y="553"/>
                      </a:lnTo>
                      <a:lnTo>
                        <a:pt x="637" y="563"/>
                      </a:lnTo>
                      <a:lnTo>
                        <a:pt x="628" y="561"/>
                      </a:lnTo>
                      <a:lnTo>
                        <a:pt x="615" y="574"/>
                      </a:lnTo>
                      <a:lnTo>
                        <a:pt x="616" y="583"/>
                      </a:lnTo>
                      <a:lnTo>
                        <a:pt x="615" y="585"/>
                      </a:lnTo>
                      <a:lnTo>
                        <a:pt x="611" y="589"/>
                      </a:lnTo>
                      <a:lnTo>
                        <a:pt x="605" y="596"/>
                      </a:lnTo>
                      <a:lnTo>
                        <a:pt x="605" y="595"/>
                      </a:lnTo>
                      <a:lnTo>
                        <a:pt x="594" y="589"/>
                      </a:lnTo>
                      <a:lnTo>
                        <a:pt x="592" y="589"/>
                      </a:lnTo>
                      <a:lnTo>
                        <a:pt x="596" y="608"/>
                      </a:lnTo>
                      <a:lnTo>
                        <a:pt x="596" y="613"/>
                      </a:lnTo>
                      <a:lnTo>
                        <a:pt x="598" y="621"/>
                      </a:lnTo>
                      <a:lnTo>
                        <a:pt x="603" y="638"/>
                      </a:lnTo>
                      <a:lnTo>
                        <a:pt x="601" y="642"/>
                      </a:lnTo>
                      <a:lnTo>
                        <a:pt x="607" y="653"/>
                      </a:lnTo>
                      <a:lnTo>
                        <a:pt x="609" y="664"/>
                      </a:lnTo>
                      <a:lnTo>
                        <a:pt x="618" y="670"/>
                      </a:lnTo>
                      <a:lnTo>
                        <a:pt x="620" y="675"/>
                      </a:lnTo>
                      <a:lnTo>
                        <a:pt x="620" y="696"/>
                      </a:lnTo>
                      <a:lnTo>
                        <a:pt x="628" y="706"/>
                      </a:lnTo>
                      <a:lnTo>
                        <a:pt x="637" y="711"/>
                      </a:lnTo>
                      <a:lnTo>
                        <a:pt x="648" y="713"/>
                      </a:lnTo>
                      <a:lnTo>
                        <a:pt x="656" y="724"/>
                      </a:lnTo>
                      <a:lnTo>
                        <a:pt x="660" y="728"/>
                      </a:lnTo>
                      <a:lnTo>
                        <a:pt x="663" y="730"/>
                      </a:lnTo>
                      <a:lnTo>
                        <a:pt x="665" y="738"/>
                      </a:lnTo>
                      <a:lnTo>
                        <a:pt x="665" y="745"/>
                      </a:lnTo>
                      <a:lnTo>
                        <a:pt x="669" y="741"/>
                      </a:lnTo>
                      <a:lnTo>
                        <a:pt x="684" y="753"/>
                      </a:lnTo>
                      <a:lnTo>
                        <a:pt x="699" y="755"/>
                      </a:lnTo>
                      <a:lnTo>
                        <a:pt x="714" y="736"/>
                      </a:lnTo>
                      <a:lnTo>
                        <a:pt x="716" y="736"/>
                      </a:lnTo>
                      <a:lnTo>
                        <a:pt x="724" y="749"/>
                      </a:lnTo>
                      <a:lnTo>
                        <a:pt x="724" y="755"/>
                      </a:lnTo>
                      <a:lnTo>
                        <a:pt x="731" y="755"/>
                      </a:lnTo>
                      <a:lnTo>
                        <a:pt x="739" y="751"/>
                      </a:lnTo>
                      <a:lnTo>
                        <a:pt x="741" y="751"/>
                      </a:lnTo>
                      <a:lnTo>
                        <a:pt x="756" y="755"/>
                      </a:lnTo>
                      <a:lnTo>
                        <a:pt x="759" y="755"/>
                      </a:lnTo>
                      <a:lnTo>
                        <a:pt x="761" y="745"/>
                      </a:lnTo>
                      <a:lnTo>
                        <a:pt x="776" y="740"/>
                      </a:lnTo>
                      <a:lnTo>
                        <a:pt x="780" y="728"/>
                      </a:lnTo>
                      <a:lnTo>
                        <a:pt x="782" y="723"/>
                      </a:lnTo>
                      <a:lnTo>
                        <a:pt x="784" y="717"/>
                      </a:lnTo>
                      <a:lnTo>
                        <a:pt x="784" y="706"/>
                      </a:lnTo>
                      <a:lnTo>
                        <a:pt x="778" y="696"/>
                      </a:lnTo>
                      <a:lnTo>
                        <a:pt x="774" y="691"/>
                      </a:lnTo>
                      <a:lnTo>
                        <a:pt x="774" y="683"/>
                      </a:lnTo>
                      <a:lnTo>
                        <a:pt x="782" y="679"/>
                      </a:lnTo>
                      <a:lnTo>
                        <a:pt x="788" y="670"/>
                      </a:lnTo>
                      <a:lnTo>
                        <a:pt x="818" y="662"/>
                      </a:lnTo>
                      <a:lnTo>
                        <a:pt x="837" y="664"/>
                      </a:lnTo>
                      <a:lnTo>
                        <a:pt x="842" y="666"/>
                      </a:lnTo>
                      <a:lnTo>
                        <a:pt x="852" y="666"/>
                      </a:lnTo>
                      <a:lnTo>
                        <a:pt x="857" y="664"/>
                      </a:lnTo>
                      <a:lnTo>
                        <a:pt x="869" y="659"/>
                      </a:lnTo>
                      <a:lnTo>
                        <a:pt x="863" y="647"/>
                      </a:lnTo>
                      <a:lnTo>
                        <a:pt x="874" y="623"/>
                      </a:lnTo>
                      <a:lnTo>
                        <a:pt x="874" y="621"/>
                      </a:lnTo>
                      <a:lnTo>
                        <a:pt x="876" y="621"/>
                      </a:lnTo>
                      <a:lnTo>
                        <a:pt x="878" y="619"/>
                      </a:lnTo>
                      <a:lnTo>
                        <a:pt x="887" y="608"/>
                      </a:lnTo>
                      <a:lnTo>
                        <a:pt x="897" y="604"/>
                      </a:lnTo>
                      <a:lnTo>
                        <a:pt x="899" y="602"/>
                      </a:lnTo>
                      <a:lnTo>
                        <a:pt x="904" y="591"/>
                      </a:lnTo>
                      <a:lnTo>
                        <a:pt x="904" y="583"/>
                      </a:lnTo>
                      <a:lnTo>
                        <a:pt x="917" y="587"/>
                      </a:lnTo>
                      <a:lnTo>
                        <a:pt x="932" y="579"/>
                      </a:lnTo>
                      <a:lnTo>
                        <a:pt x="938" y="581"/>
                      </a:lnTo>
                      <a:lnTo>
                        <a:pt x="940" y="576"/>
                      </a:lnTo>
                      <a:lnTo>
                        <a:pt x="949" y="570"/>
                      </a:lnTo>
                      <a:lnTo>
                        <a:pt x="949" y="568"/>
                      </a:lnTo>
                      <a:lnTo>
                        <a:pt x="955" y="570"/>
                      </a:lnTo>
                      <a:lnTo>
                        <a:pt x="961" y="570"/>
                      </a:lnTo>
                      <a:lnTo>
                        <a:pt x="968" y="568"/>
                      </a:lnTo>
                      <a:lnTo>
                        <a:pt x="970" y="564"/>
                      </a:lnTo>
                      <a:lnTo>
                        <a:pt x="968" y="557"/>
                      </a:lnTo>
                      <a:lnTo>
                        <a:pt x="966" y="544"/>
                      </a:lnTo>
                      <a:lnTo>
                        <a:pt x="964" y="538"/>
                      </a:lnTo>
                      <a:lnTo>
                        <a:pt x="968" y="538"/>
                      </a:lnTo>
                      <a:lnTo>
                        <a:pt x="976" y="536"/>
                      </a:lnTo>
                      <a:lnTo>
                        <a:pt x="979" y="534"/>
                      </a:lnTo>
                      <a:lnTo>
                        <a:pt x="983" y="532"/>
                      </a:lnTo>
                      <a:lnTo>
                        <a:pt x="987" y="532"/>
                      </a:lnTo>
                      <a:lnTo>
                        <a:pt x="993" y="532"/>
                      </a:lnTo>
                      <a:lnTo>
                        <a:pt x="998" y="538"/>
                      </a:lnTo>
                      <a:lnTo>
                        <a:pt x="1000" y="542"/>
                      </a:lnTo>
                      <a:lnTo>
                        <a:pt x="1004" y="544"/>
                      </a:lnTo>
                      <a:lnTo>
                        <a:pt x="1008" y="538"/>
                      </a:lnTo>
                      <a:lnTo>
                        <a:pt x="1010" y="536"/>
                      </a:lnTo>
                      <a:lnTo>
                        <a:pt x="1011" y="534"/>
                      </a:lnTo>
                      <a:lnTo>
                        <a:pt x="1015" y="531"/>
                      </a:lnTo>
                      <a:lnTo>
                        <a:pt x="1019" y="536"/>
                      </a:lnTo>
                      <a:lnTo>
                        <a:pt x="1021" y="536"/>
                      </a:lnTo>
                      <a:lnTo>
                        <a:pt x="1025" y="536"/>
                      </a:lnTo>
                      <a:lnTo>
                        <a:pt x="1025" y="540"/>
                      </a:lnTo>
                      <a:lnTo>
                        <a:pt x="1027" y="544"/>
                      </a:lnTo>
                      <a:lnTo>
                        <a:pt x="1030" y="546"/>
                      </a:lnTo>
                      <a:lnTo>
                        <a:pt x="1045" y="551"/>
                      </a:lnTo>
                      <a:lnTo>
                        <a:pt x="1051" y="551"/>
                      </a:lnTo>
                      <a:lnTo>
                        <a:pt x="1058" y="551"/>
                      </a:lnTo>
                      <a:lnTo>
                        <a:pt x="1058" y="549"/>
                      </a:lnTo>
                      <a:lnTo>
                        <a:pt x="1058" y="546"/>
                      </a:lnTo>
                      <a:lnTo>
                        <a:pt x="1064" y="547"/>
                      </a:lnTo>
                      <a:lnTo>
                        <a:pt x="1066" y="536"/>
                      </a:lnTo>
                      <a:lnTo>
                        <a:pt x="1075" y="534"/>
                      </a:lnTo>
                      <a:lnTo>
                        <a:pt x="1081" y="531"/>
                      </a:lnTo>
                      <a:lnTo>
                        <a:pt x="1083" y="531"/>
                      </a:lnTo>
                      <a:lnTo>
                        <a:pt x="1083" y="521"/>
                      </a:lnTo>
                      <a:lnTo>
                        <a:pt x="1087" y="502"/>
                      </a:lnTo>
                      <a:lnTo>
                        <a:pt x="1100" y="493"/>
                      </a:lnTo>
                      <a:lnTo>
                        <a:pt x="1106" y="514"/>
                      </a:lnTo>
                      <a:lnTo>
                        <a:pt x="1113" y="491"/>
                      </a:lnTo>
                      <a:lnTo>
                        <a:pt x="1117" y="487"/>
                      </a:lnTo>
                      <a:lnTo>
                        <a:pt x="1107" y="482"/>
                      </a:lnTo>
                      <a:lnTo>
                        <a:pt x="1102" y="474"/>
                      </a:lnTo>
                      <a:lnTo>
                        <a:pt x="1107" y="468"/>
                      </a:lnTo>
                      <a:lnTo>
                        <a:pt x="1106" y="461"/>
                      </a:lnTo>
                      <a:lnTo>
                        <a:pt x="1102" y="450"/>
                      </a:lnTo>
                      <a:lnTo>
                        <a:pt x="1109" y="446"/>
                      </a:lnTo>
                      <a:lnTo>
                        <a:pt x="1109" y="438"/>
                      </a:lnTo>
                      <a:lnTo>
                        <a:pt x="1109" y="436"/>
                      </a:lnTo>
                      <a:lnTo>
                        <a:pt x="1107" y="436"/>
                      </a:lnTo>
                      <a:lnTo>
                        <a:pt x="1107" y="435"/>
                      </a:lnTo>
                      <a:lnTo>
                        <a:pt x="1106" y="435"/>
                      </a:lnTo>
                      <a:lnTo>
                        <a:pt x="1106" y="433"/>
                      </a:lnTo>
                      <a:lnTo>
                        <a:pt x="1106" y="431"/>
                      </a:lnTo>
                      <a:lnTo>
                        <a:pt x="1104" y="431"/>
                      </a:lnTo>
                      <a:lnTo>
                        <a:pt x="1104" y="429"/>
                      </a:lnTo>
                      <a:lnTo>
                        <a:pt x="1104" y="427"/>
                      </a:lnTo>
                      <a:lnTo>
                        <a:pt x="1104" y="425"/>
                      </a:lnTo>
                      <a:lnTo>
                        <a:pt x="1113" y="427"/>
                      </a:lnTo>
                      <a:lnTo>
                        <a:pt x="1117" y="435"/>
                      </a:lnTo>
                      <a:lnTo>
                        <a:pt x="1126" y="436"/>
                      </a:lnTo>
                      <a:lnTo>
                        <a:pt x="1128" y="416"/>
                      </a:lnTo>
                      <a:lnTo>
                        <a:pt x="1128" y="414"/>
                      </a:lnTo>
                      <a:lnTo>
                        <a:pt x="1124" y="412"/>
                      </a:lnTo>
                      <a:lnTo>
                        <a:pt x="1136" y="406"/>
                      </a:lnTo>
                      <a:lnTo>
                        <a:pt x="1136" y="397"/>
                      </a:lnTo>
                      <a:lnTo>
                        <a:pt x="1139" y="387"/>
                      </a:lnTo>
                      <a:lnTo>
                        <a:pt x="1143" y="380"/>
                      </a:lnTo>
                      <a:lnTo>
                        <a:pt x="1147" y="369"/>
                      </a:lnTo>
                      <a:lnTo>
                        <a:pt x="1149" y="367"/>
                      </a:lnTo>
                      <a:lnTo>
                        <a:pt x="1153" y="346"/>
                      </a:lnTo>
                      <a:lnTo>
                        <a:pt x="1162" y="344"/>
                      </a:lnTo>
                      <a:lnTo>
                        <a:pt x="1171" y="348"/>
                      </a:lnTo>
                      <a:lnTo>
                        <a:pt x="1173" y="350"/>
                      </a:lnTo>
                      <a:lnTo>
                        <a:pt x="1194" y="359"/>
                      </a:lnTo>
                      <a:lnTo>
                        <a:pt x="1209" y="369"/>
                      </a:lnTo>
                      <a:lnTo>
                        <a:pt x="1211" y="369"/>
                      </a:lnTo>
                      <a:lnTo>
                        <a:pt x="1216" y="371"/>
                      </a:lnTo>
                      <a:lnTo>
                        <a:pt x="1222" y="371"/>
                      </a:lnTo>
                      <a:lnTo>
                        <a:pt x="1228" y="372"/>
                      </a:lnTo>
                      <a:lnTo>
                        <a:pt x="1228" y="374"/>
                      </a:lnTo>
                      <a:lnTo>
                        <a:pt x="1228" y="378"/>
                      </a:lnTo>
                      <a:lnTo>
                        <a:pt x="1228" y="382"/>
                      </a:lnTo>
                      <a:lnTo>
                        <a:pt x="1241" y="386"/>
                      </a:lnTo>
                      <a:lnTo>
                        <a:pt x="1239" y="391"/>
                      </a:lnTo>
                      <a:lnTo>
                        <a:pt x="1235" y="399"/>
                      </a:lnTo>
                      <a:lnTo>
                        <a:pt x="1232" y="410"/>
                      </a:lnTo>
                      <a:lnTo>
                        <a:pt x="1241" y="416"/>
                      </a:lnTo>
                      <a:lnTo>
                        <a:pt x="1243" y="416"/>
                      </a:lnTo>
                      <a:lnTo>
                        <a:pt x="1245" y="416"/>
                      </a:lnTo>
                      <a:lnTo>
                        <a:pt x="1245" y="414"/>
                      </a:lnTo>
                      <a:lnTo>
                        <a:pt x="1247" y="414"/>
                      </a:lnTo>
                      <a:lnTo>
                        <a:pt x="1247" y="412"/>
                      </a:lnTo>
                      <a:lnTo>
                        <a:pt x="1248" y="412"/>
                      </a:lnTo>
                      <a:lnTo>
                        <a:pt x="1248" y="414"/>
                      </a:lnTo>
                      <a:lnTo>
                        <a:pt x="1248" y="416"/>
                      </a:lnTo>
                      <a:lnTo>
                        <a:pt x="1256" y="414"/>
                      </a:lnTo>
                      <a:lnTo>
                        <a:pt x="1271" y="408"/>
                      </a:lnTo>
                      <a:lnTo>
                        <a:pt x="1277" y="418"/>
                      </a:lnTo>
                      <a:lnTo>
                        <a:pt x="1282" y="425"/>
                      </a:lnTo>
                      <a:lnTo>
                        <a:pt x="1294" y="419"/>
                      </a:lnTo>
                      <a:lnTo>
                        <a:pt x="1303" y="414"/>
                      </a:lnTo>
                      <a:lnTo>
                        <a:pt x="1307" y="427"/>
                      </a:lnTo>
                      <a:lnTo>
                        <a:pt x="1312" y="431"/>
                      </a:lnTo>
                      <a:lnTo>
                        <a:pt x="1327" y="427"/>
                      </a:lnTo>
                      <a:lnTo>
                        <a:pt x="1333" y="427"/>
                      </a:lnTo>
                      <a:lnTo>
                        <a:pt x="1341" y="429"/>
                      </a:lnTo>
                      <a:lnTo>
                        <a:pt x="1348" y="433"/>
                      </a:lnTo>
                      <a:lnTo>
                        <a:pt x="1356" y="436"/>
                      </a:lnTo>
                      <a:lnTo>
                        <a:pt x="1354" y="436"/>
                      </a:lnTo>
                      <a:lnTo>
                        <a:pt x="1352" y="442"/>
                      </a:lnTo>
                      <a:lnTo>
                        <a:pt x="1352" y="450"/>
                      </a:lnTo>
                      <a:lnTo>
                        <a:pt x="1354" y="455"/>
                      </a:lnTo>
                      <a:lnTo>
                        <a:pt x="1356" y="455"/>
                      </a:lnTo>
                      <a:lnTo>
                        <a:pt x="1361" y="461"/>
                      </a:lnTo>
                      <a:lnTo>
                        <a:pt x="1363" y="463"/>
                      </a:lnTo>
                      <a:lnTo>
                        <a:pt x="1365" y="457"/>
                      </a:lnTo>
                      <a:lnTo>
                        <a:pt x="1369" y="457"/>
                      </a:lnTo>
                      <a:lnTo>
                        <a:pt x="1374" y="453"/>
                      </a:lnTo>
                      <a:lnTo>
                        <a:pt x="1374" y="451"/>
                      </a:lnTo>
                      <a:lnTo>
                        <a:pt x="1376" y="450"/>
                      </a:lnTo>
                      <a:lnTo>
                        <a:pt x="1382" y="444"/>
                      </a:lnTo>
                      <a:lnTo>
                        <a:pt x="1388" y="440"/>
                      </a:lnTo>
                      <a:lnTo>
                        <a:pt x="1393" y="435"/>
                      </a:lnTo>
                      <a:lnTo>
                        <a:pt x="1397" y="431"/>
                      </a:lnTo>
                      <a:lnTo>
                        <a:pt x="1395" y="425"/>
                      </a:lnTo>
                      <a:lnTo>
                        <a:pt x="1397" y="423"/>
                      </a:lnTo>
                      <a:lnTo>
                        <a:pt x="1405" y="414"/>
                      </a:lnTo>
                      <a:lnTo>
                        <a:pt x="1406" y="403"/>
                      </a:lnTo>
                      <a:lnTo>
                        <a:pt x="1406" y="401"/>
                      </a:lnTo>
                      <a:lnTo>
                        <a:pt x="1416" y="387"/>
                      </a:lnTo>
                      <a:lnTo>
                        <a:pt x="1427" y="382"/>
                      </a:lnTo>
                      <a:lnTo>
                        <a:pt x="1437" y="384"/>
                      </a:lnTo>
                      <a:lnTo>
                        <a:pt x="1438" y="382"/>
                      </a:lnTo>
                      <a:lnTo>
                        <a:pt x="1442" y="382"/>
                      </a:lnTo>
                      <a:lnTo>
                        <a:pt x="1440" y="378"/>
                      </a:lnTo>
                      <a:lnTo>
                        <a:pt x="1442" y="378"/>
                      </a:lnTo>
                      <a:lnTo>
                        <a:pt x="1444" y="371"/>
                      </a:lnTo>
                      <a:lnTo>
                        <a:pt x="1446" y="372"/>
                      </a:lnTo>
                      <a:lnTo>
                        <a:pt x="1453" y="376"/>
                      </a:lnTo>
                      <a:lnTo>
                        <a:pt x="1465" y="380"/>
                      </a:lnTo>
                      <a:lnTo>
                        <a:pt x="1472" y="380"/>
                      </a:lnTo>
                      <a:lnTo>
                        <a:pt x="1476" y="376"/>
                      </a:lnTo>
                      <a:lnTo>
                        <a:pt x="1485" y="374"/>
                      </a:lnTo>
                      <a:lnTo>
                        <a:pt x="1487" y="372"/>
                      </a:lnTo>
                      <a:lnTo>
                        <a:pt x="1491" y="367"/>
                      </a:lnTo>
                      <a:lnTo>
                        <a:pt x="1497" y="363"/>
                      </a:lnTo>
                      <a:lnTo>
                        <a:pt x="1502" y="367"/>
                      </a:lnTo>
                      <a:lnTo>
                        <a:pt x="1508" y="365"/>
                      </a:lnTo>
                      <a:lnTo>
                        <a:pt x="1514" y="363"/>
                      </a:lnTo>
                      <a:lnTo>
                        <a:pt x="1521" y="363"/>
                      </a:lnTo>
                      <a:lnTo>
                        <a:pt x="1527" y="365"/>
                      </a:lnTo>
                      <a:lnTo>
                        <a:pt x="1532" y="376"/>
                      </a:lnTo>
                      <a:lnTo>
                        <a:pt x="1536" y="378"/>
                      </a:lnTo>
                      <a:lnTo>
                        <a:pt x="1542" y="380"/>
                      </a:lnTo>
                      <a:lnTo>
                        <a:pt x="1548" y="382"/>
                      </a:lnTo>
                      <a:lnTo>
                        <a:pt x="1553" y="384"/>
                      </a:lnTo>
                      <a:lnTo>
                        <a:pt x="1555" y="387"/>
                      </a:lnTo>
                      <a:lnTo>
                        <a:pt x="1546" y="397"/>
                      </a:lnTo>
                      <a:lnTo>
                        <a:pt x="1553" y="399"/>
                      </a:lnTo>
                      <a:lnTo>
                        <a:pt x="1549" y="403"/>
                      </a:lnTo>
                      <a:lnTo>
                        <a:pt x="1553" y="403"/>
                      </a:lnTo>
                      <a:lnTo>
                        <a:pt x="1563" y="419"/>
                      </a:lnTo>
                      <a:lnTo>
                        <a:pt x="1566" y="419"/>
                      </a:lnTo>
                      <a:lnTo>
                        <a:pt x="1568" y="418"/>
                      </a:lnTo>
                      <a:lnTo>
                        <a:pt x="1572" y="416"/>
                      </a:lnTo>
                      <a:lnTo>
                        <a:pt x="1572" y="414"/>
                      </a:lnTo>
                      <a:lnTo>
                        <a:pt x="1572" y="412"/>
                      </a:lnTo>
                      <a:lnTo>
                        <a:pt x="1572" y="408"/>
                      </a:lnTo>
                      <a:lnTo>
                        <a:pt x="1572" y="406"/>
                      </a:lnTo>
                      <a:lnTo>
                        <a:pt x="1580" y="401"/>
                      </a:lnTo>
                      <a:lnTo>
                        <a:pt x="1581" y="401"/>
                      </a:lnTo>
                      <a:lnTo>
                        <a:pt x="1581" y="397"/>
                      </a:lnTo>
                      <a:lnTo>
                        <a:pt x="1581" y="393"/>
                      </a:lnTo>
                      <a:lnTo>
                        <a:pt x="1585" y="384"/>
                      </a:lnTo>
                      <a:lnTo>
                        <a:pt x="1585" y="380"/>
                      </a:lnTo>
                      <a:lnTo>
                        <a:pt x="1593" y="380"/>
                      </a:lnTo>
                      <a:lnTo>
                        <a:pt x="1606" y="380"/>
                      </a:lnTo>
                      <a:lnTo>
                        <a:pt x="1602" y="386"/>
                      </a:lnTo>
                      <a:lnTo>
                        <a:pt x="1600" y="387"/>
                      </a:lnTo>
                      <a:lnTo>
                        <a:pt x="1604" y="399"/>
                      </a:lnTo>
                      <a:lnTo>
                        <a:pt x="1608" y="401"/>
                      </a:lnTo>
                      <a:lnTo>
                        <a:pt x="1611" y="410"/>
                      </a:lnTo>
                      <a:lnTo>
                        <a:pt x="1617" y="408"/>
                      </a:lnTo>
                      <a:lnTo>
                        <a:pt x="1619" y="406"/>
                      </a:lnTo>
                      <a:lnTo>
                        <a:pt x="1621" y="406"/>
                      </a:lnTo>
                      <a:lnTo>
                        <a:pt x="1623" y="406"/>
                      </a:lnTo>
                      <a:lnTo>
                        <a:pt x="1627" y="406"/>
                      </a:lnTo>
                      <a:lnTo>
                        <a:pt x="1632" y="404"/>
                      </a:lnTo>
                      <a:close/>
                    </a:path>
                  </a:pathLst>
                </a:custGeom>
                <a:solidFill>
                  <a:srgbClr val="CDFFCD"/>
                </a:solidFill>
                <a:ln w="9525">
                  <a:solidFill>
                    <a:schemeClr val="accent6"/>
                  </a:solidFill>
                  <a:round/>
                  <a:headEnd/>
                  <a:tailEnd/>
                </a:ln>
              </p:spPr>
              <p:txBody>
                <a:bodyPr vert="horz" wrap="square" lIns="89614" tIns="44807" rIns="89614" bIns="44807" numCol="1" anchor="t" anchorCtr="0" compatLnSpc="1">
                  <a:prstTxWarp prst="textNoShape">
                    <a:avLst/>
                  </a:prstTxWarp>
                </a:bodyPr>
                <a:lstStyle/>
                <a:p>
                  <a:pPr fontAlgn="base">
                    <a:spcBef>
                      <a:spcPct val="0"/>
                    </a:spcBef>
                    <a:spcAft>
                      <a:spcPct val="0"/>
                    </a:spcAft>
                  </a:pPr>
                  <a:endParaRPr lang="en-US" sz="1568" dirty="0">
                    <a:solidFill>
                      <a:srgbClr val="000000"/>
                    </a:solidFill>
                  </a:endParaRPr>
                </a:p>
              </p:txBody>
            </p:sp>
          </p:grpSp>
          <p:grpSp>
            <p:nvGrpSpPr>
              <p:cNvPr id="10" name="Group 9"/>
              <p:cNvGrpSpPr/>
              <p:nvPr/>
            </p:nvGrpSpPr>
            <p:grpSpPr>
              <a:xfrm>
                <a:off x="1143703" y="3543462"/>
                <a:ext cx="4788057" cy="2430974"/>
                <a:chOff x="981383" y="3654117"/>
                <a:chExt cx="4788053" cy="2430971"/>
              </a:xfrm>
              <a:solidFill>
                <a:srgbClr val="00B0F0"/>
              </a:solidFill>
            </p:grpSpPr>
            <p:sp>
              <p:nvSpPr>
                <p:cNvPr id="7" name="Isosceles Triangle 6"/>
                <p:cNvSpPr/>
                <p:nvPr/>
              </p:nvSpPr>
              <p:spPr>
                <a:xfrm>
                  <a:off x="5669756" y="3654117"/>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77" name="Isosceles Triangle 76"/>
                <p:cNvSpPr/>
                <p:nvPr/>
              </p:nvSpPr>
              <p:spPr>
                <a:xfrm>
                  <a:off x="5582908" y="3740049"/>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78" name="Isosceles Triangle 77"/>
                <p:cNvSpPr/>
                <p:nvPr/>
              </p:nvSpPr>
              <p:spPr>
                <a:xfrm>
                  <a:off x="5540450" y="3797922"/>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79" name="Isosceles Triangle 78"/>
                <p:cNvSpPr/>
                <p:nvPr/>
              </p:nvSpPr>
              <p:spPr>
                <a:xfrm>
                  <a:off x="5520177" y="3842097"/>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80" name="Isosceles Triangle 79"/>
                <p:cNvSpPr/>
                <p:nvPr/>
              </p:nvSpPr>
              <p:spPr>
                <a:xfrm>
                  <a:off x="5519190" y="3858628"/>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81" name="Isosceles Triangle 80"/>
                <p:cNvSpPr/>
                <p:nvPr/>
              </p:nvSpPr>
              <p:spPr>
                <a:xfrm>
                  <a:off x="5497514" y="3924041"/>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82" name="Isosceles Triangle 81"/>
                <p:cNvSpPr/>
                <p:nvPr/>
              </p:nvSpPr>
              <p:spPr>
                <a:xfrm>
                  <a:off x="5496555" y="3956970"/>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83" name="Isosceles Triangle 82"/>
                <p:cNvSpPr/>
                <p:nvPr/>
              </p:nvSpPr>
              <p:spPr>
                <a:xfrm>
                  <a:off x="5445756" y="4021530"/>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84" name="Isosceles Triangle 83"/>
                <p:cNvSpPr/>
                <p:nvPr/>
              </p:nvSpPr>
              <p:spPr>
                <a:xfrm>
                  <a:off x="5382147" y="4119937"/>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85" name="Isosceles Triangle 84"/>
                <p:cNvSpPr/>
                <p:nvPr/>
              </p:nvSpPr>
              <p:spPr>
                <a:xfrm>
                  <a:off x="5127121" y="4523878"/>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86" name="Isosceles Triangle 85"/>
                <p:cNvSpPr/>
                <p:nvPr/>
              </p:nvSpPr>
              <p:spPr>
                <a:xfrm>
                  <a:off x="5096149" y="4579486"/>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87" name="Isosceles Triangle 86"/>
                <p:cNvSpPr/>
                <p:nvPr/>
              </p:nvSpPr>
              <p:spPr>
                <a:xfrm>
                  <a:off x="4133162" y="5463264"/>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88" name="Isosceles Triangle 87"/>
                <p:cNvSpPr/>
                <p:nvPr/>
              </p:nvSpPr>
              <p:spPr>
                <a:xfrm>
                  <a:off x="4033482" y="5537135"/>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89" name="Isosceles Triangle 88"/>
                <p:cNvSpPr/>
                <p:nvPr/>
              </p:nvSpPr>
              <p:spPr>
                <a:xfrm>
                  <a:off x="3873292" y="5609400"/>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90" name="Isosceles Triangle 89"/>
                <p:cNvSpPr/>
                <p:nvPr/>
              </p:nvSpPr>
              <p:spPr>
                <a:xfrm>
                  <a:off x="3254686" y="5796386"/>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91" name="Isosceles Triangle 90"/>
                <p:cNvSpPr/>
                <p:nvPr/>
              </p:nvSpPr>
              <p:spPr>
                <a:xfrm>
                  <a:off x="2745809" y="5738401"/>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92" name="Isosceles Triangle 91"/>
                <p:cNvSpPr/>
                <p:nvPr/>
              </p:nvSpPr>
              <p:spPr>
                <a:xfrm>
                  <a:off x="2583030" y="5751871"/>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93" name="Isosceles Triangle 92"/>
                <p:cNvSpPr/>
                <p:nvPr/>
              </p:nvSpPr>
              <p:spPr>
                <a:xfrm>
                  <a:off x="2609392" y="5737504"/>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94" name="Isosceles Triangle 93"/>
                <p:cNvSpPr/>
                <p:nvPr/>
              </p:nvSpPr>
              <p:spPr>
                <a:xfrm>
                  <a:off x="2450240" y="5718980"/>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95" name="Isosceles Triangle 94"/>
                <p:cNvSpPr/>
                <p:nvPr/>
              </p:nvSpPr>
              <p:spPr>
                <a:xfrm>
                  <a:off x="2004684" y="5907206"/>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96" name="Isosceles Triangle 95"/>
                <p:cNvSpPr/>
                <p:nvPr/>
              </p:nvSpPr>
              <p:spPr>
                <a:xfrm>
                  <a:off x="2036844" y="5874347"/>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97" name="Isosceles Triangle 96"/>
                <p:cNvSpPr/>
                <p:nvPr/>
              </p:nvSpPr>
              <p:spPr>
                <a:xfrm>
                  <a:off x="1614101" y="5999156"/>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101" name="Isosceles Triangle 100"/>
                <p:cNvSpPr/>
                <p:nvPr/>
              </p:nvSpPr>
              <p:spPr>
                <a:xfrm>
                  <a:off x="981383" y="5820562"/>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102" name="Isosceles Triangle 101"/>
                <p:cNvSpPr/>
                <p:nvPr/>
              </p:nvSpPr>
              <p:spPr>
                <a:xfrm>
                  <a:off x="985622" y="5792481"/>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103" name="Isosceles Triangle 102"/>
                <p:cNvSpPr/>
                <p:nvPr/>
              </p:nvSpPr>
              <p:spPr>
                <a:xfrm>
                  <a:off x="999276" y="5676014"/>
                  <a:ext cx="99680" cy="85932"/>
                </a:xfrm>
                <a:prstGeom prst="triangl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grpSp>
          <p:sp>
            <p:nvSpPr>
              <p:cNvPr id="99" name="Freeform 98"/>
              <p:cNvSpPr/>
              <p:nvPr/>
            </p:nvSpPr>
            <p:spPr>
              <a:xfrm>
                <a:off x="648093" y="2122957"/>
                <a:ext cx="5591180" cy="3783936"/>
              </a:xfrm>
              <a:custGeom>
                <a:avLst/>
                <a:gdLst>
                  <a:gd name="connsiteX0" fmla="*/ 5562600 w 5562600"/>
                  <a:gd name="connsiteY0" fmla="*/ 0 h 3771209"/>
                  <a:gd name="connsiteX1" fmla="*/ 5438775 w 5562600"/>
                  <a:gd name="connsiteY1" fmla="*/ 223837 h 3771209"/>
                  <a:gd name="connsiteX2" fmla="*/ 5343525 w 5562600"/>
                  <a:gd name="connsiteY2" fmla="*/ 290512 h 3771209"/>
                  <a:gd name="connsiteX3" fmla="*/ 5276850 w 5562600"/>
                  <a:gd name="connsiteY3" fmla="*/ 504825 h 3771209"/>
                  <a:gd name="connsiteX4" fmla="*/ 5491163 w 5562600"/>
                  <a:gd name="connsiteY4" fmla="*/ 1033462 h 3771209"/>
                  <a:gd name="connsiteX5" fmla="*/ 5334000 w 5562600"/>
                  <a:gd name="connsiteY5" fmla="*/ 1262062 h 3771209"/>
                  <a:gd name="connsiteX6" fmla="*/ 5157788 w 5562600"/>
                  <a:gd name="connsiteY6" fmla="*/ 1328737 h 3771209"/>
                  <a:gd name="connsiteX7" fmla="*/ 5110163 w 5562600"/>
                  <a:gd name="connsiteY7" fmla="*/ 1462087 h 3771209"/>
                  <a:gd name="connsiteX8" fmla="*/ 4981575 w 5562600"/>
                  <a:gd name="connsiteY8" fmla="*/ 1643062 h 3771209"/>
                  <a:gd name="connsiteX9" fmla="*/ 4810125 w 5562600"/>
                  <a:gd name="connsiteY9" fmla="*/ 1881187 h 3771209"/>
                  <a:gd name="connsiteX10" fmla="*/ 4695825 w 5562600"/>
                  <a:gd name="connsiteY10" fmla="*/ 2166937 h 3771209"/>
                  <a:gd name="connsiteX11" fmla="*/ 4519613 w 5562600"/>
                  <a:gd name="connsiteY11" fmla="*/ 2300287 h 3771209"/>
                  <a:gd name="connsiteX12" fmla="*/ 4462463 w 5562600"/>
                  <a:gd name="connsiteY12" fmla="*/ 2452687 h 3771209"/>
                  <a:gd name="connsiteX13" fmla="*/ 4157663 w 5562600"/>
                  <a:gd name="connsiteY13" fmla="*/ 2547937 h 3771209"/>
                  <a:gd name="connsiteX14" fmla="*/ 3629025 w 5562600"/>
                  <a:gd name="connsiteY14" fmla="*/ 3162300 h 3771209"/>
                  <a:gd name="connsiteX15" fmla="*/ 3519488 w 5562600"/>
                  <a:gd name="connsiteY15" fmla="*/ 3281362 h 3771209"/>
                  <a:gd name="connsiteX16" fmla="*/ 3214688 w 5562600"/>
                  <a:gd name="connsiteY16" fmla="*/ 3319462 h 3771209"/>
                  <a:gd name="connsiteX17" fmla="*/ 3033713 w 5562600"/>
                  <a:gd name="connsiteY17" fmla="*/ 3295650 h 3771209"/>
                  <a:gd name="connsiteX18" fmla="*/ 2347913 w 5562600"/>
                  <a:gd name="connsiteY18" fmla="*/ 3248025 h 3771209"/>
                  <a:gd name="connsiteX19" fmla="*/ 1604963 w 5562600"/>
                  <a:gd name="connsiteY19" fmla="*/ 3362325 h 3771209"/>
                  <a:gd name="connsiteX20" fmla="*/ 1066800 w 5562600"/>
                  <a:gd name="connsiteY20" fmla="*/ 3752850 h 3771209"/>
                  <a:gd name="connsiteX21" fmla="*/ 838200 w 5562600"/>
                  <a:gd name="connsiteY21" fmla="*/ 3695700 h 3771209"/>
                  <a:gd name="connsiteX22" fmla="*/ 814388 w 5562600"/>
                  <a:gd name="connsiteY22" fmla="*/ 3590925 h 3771209"/>
                  <a:gd name="connsiteX23" fmla="*/ 714375 w 5562600"/>
                  <a:gd name="connsiteY23" fmla="*/ 3514725 h 3771209"/>
                  <a:gd name="connsiteX24" fmla="*/ 533400 w 5562600"/>
                  <a:gd name="connsiteY24" fmla="*/ 3524250 h 3771209"/>
                  <a:gd name="connsiteX25" fmla="*/ 523875 w 5562600"/>
                  <a:gd name="connsiteY25" fmla="*/ 3390900 h 3771209"/>
                  <a:gd name="connsiteX26" fmla="*/ 542925 w 5562600"/>
                  <a:gd name="connsiteY26" fmla="*/ 3276600 h 3771209"/>
                  <a:gd name="connsiteX27" fmla="*/ 442913 w 5562600"/>
                  <a:gd name="connsiteY27" fmla="*/ 3128962 h 3771209"/>
                  <a:gd name="connsiteX28" fmla="*/ 557213 w 5562600"/>
                  <a:gd name="connsiteY28" fmla="*/ 2833687 h 3771209"/>
                  <a:gd name="connsiteX29" fmla="*/ 428625 w 5562600"/>
                  <a:gd name="connsiteY29" fmla="*/ 2219325 h 3771209"/>
                  <a:gd name="connsiteX30" fmla="*/ 0 w 5562600"/>
                  <a:gd name="connsiteY30" fmla="*/ 1566862 h 3771209"/>
                  <a:gd name="connsiteX0" fmla="*/ 5562600 w 5562600"/>
                  <a:gd name="connsiteY0" fmla="*/ 0 h 3771209"/>
                  <a:gd name="connsiteX1" fmla="*/ 5438775 w 5562600"/>
                  <a:gd name="connsiteY1" fmla="*/ 223837 h 3771209"/>
                  <a:gd name="connsiteX2" fmla="*/ 5343525 w 5562600"/>
                  <a:gd name="connsiteY2" fmla="*/ 290512 h 3771209"/>
                  <a:gd name="connsiteX3" fmla="*/ 5276850 w 5562600"/>
                  <a:gd name="connsiteY3" fmla="*/ 504825 h 3771209"/>
                  <a:gd name="connsiteX4" fmla="*/ 5491163 w 5562600"/>
                  <a:gd name="connsiteY4" fmla="*/ 1033462 h 3771209"/>
                  <a:gd name="connsiteX5" fmla="*/ 5334000 w 5562600"/>
                  <a:gd name="connsiteY5" fmla="*/ 1262062 h 3771209"/>
                  <a:gd name="connsiteX6" fmla="*/ 5110163 w 5562600"/>
                  <a:gd name="connsiteY6" fmla="*/ 1462087 h 3771209"/>
                  <a:gd name="connsiteX7" fmla="*/ 4981575 w 5562600"/>
                  <a:gd name="connsiteY7" fmla="*/ 1643062 h 3771209"/>
                  <a:gd name="connsiteX8" fmla="*/ 4810125 w 5562600"/>
                  <a:gd name="connsiteY8" fmla="*/ 1881187 h 3771209"/>
                  <a:gd name="connsiteX9" fmla="*/ 4695825 w 5562600"/>
                  <a:gd name="connsiteY9" fmla="*/ 2166937 h 3771209"/>
                  <a:gd name="connsiteX10" fmla="*/ 4519613 w 5562600"/>
                  <a:gd name="connsiteY10" fmla="*/ 2300287 h 3771209"/>
                  <a:gd name="connsiteX11" fmla="*/ 4462463 w 5562600"/>
                  <a:gd name="connsiteY11" fmla="*/ 2452687 h 3771209"/>
                  <a:gd name="connsiteX12" fmla="*/ 4157663 w 5562600"/>
                  <a:gd name="connsiteY12" fmla="*/ 2547937 h 3771209"/>
                  <a:gd name="connsiteX13" fmla="*/ 3629025 w 5562600"/>
                  <a:gd name="connsiteY13" fmla="*/ 3162300 h 3771209"/>
                  <a:gd name="connsiteX14" fmla="*/ 3519488 w 5562600"/>
                  <a:gd name="connsiteY14" fmla="*/ 3281362 h 3771209"/>
                  <a:gd name="connsiteX15" fmla="*/ 3214688 w 5562600"/>
                  <a:gd name="connsiteY15" fmla="*/ 3319462 h 3771209"/>
                  <a:gd name="connsiteX16" fmla="*/ 3033713 w 5562600"/>
                  <a:gd name="connsiteY16" fmla="*/ 3295650 h 3771209"/>
                  <a:gd name="connsiteX17" fmla="*/ 2347913 w 5562600"/>
                  <a:gd name="connsiteY17" fmla="*/ 3248025 h 3771209"/>
                  <a:gd name="connsiteX18" fmla="*/ 1604963 w 5562600"/>
                  <a:gd name="connsiteY18" fmla="*/ 3362325 h 3771209"/>
                  <a:gd name="connsiteX19" fmla="*/ 1066800 w 5562600"/>
                  <a:gd name="connsiteY19" fmla="*/ 3752850 h 3771209"/>
                  <a:gd name="connsiteX20" fmla="*/ 838200 w 5562600"/>
                  <a:gd name="connsiteY20" fmla="*/ 3695700 h 3771209"/>
                  <a:gd name="connsiteX21" fmla="*/ 814388 w 5562600"/>
                  <a:gd name="connsiteY21" fmla="*/ 3590925 h 3771209"/>
                  <a:gd name="connsiteX22" fmla="*/ 714375 w 5562600"/>
                  <a:gd name="connsiteY22" fmla="*/ 3514725 h 3771209"/>
                  <a:gd name="connsiteX23" fmla="*/ 533400 w 5562600"/>
                  <a:gd name="connsiteY23" fmla="*/ 3524250 h 3771209"/>
                  <a:gd name="connsiteX24" fmla="*/ 523875 w 5562600"/>
                  <a:gd name="connsiteY24" fmla="*/ 3390900 h 3771209"/>
                  <a:gd name="connsiteX25" fmla="*/ 542925 w 5562600"/>
                  <a:gd name="connsiteY25" fmla="*/ 3276600 h 3771209"/>
                  <a:gd name="connsiteX26" fmla="*/ 442913 w 5562600"/>
                  <a:gd name="connsiteY26" fmla="*/ 3128962 h 3771209"/>
                  <a:gd name="connsiteX27" fmla="*/ 557213 w 5562600"/>
                  <a:gd name="connsiteY27" fmla="*/ 2833687 h 3771209"/>
                  <a:gd name="connsiteX28" fmla="*/ 428625 w 5562600"/>
                  <a:gd name="connsiteY28" fmla="*/ 2219325 h 3771209"/>
                  <a:gd name="connsiteX29" fmla="*/ 0 w 5562600"/>
                  <a:gd name="connsiteY29" fmla="*/ 1566862 h 3771209"/>
                  <a:gd name="connsiteX0" fmla="*/ 5562600 w 5562600"/>
                  <a:gd name="connsiteY0" fmla="*/ 0 h 3771209"/>
                  <a:gd name="connsiteX1" fmla="*/ 5438775 w 5562600"/>
                  <a:gd name="connsiteY1" fmla="*/ 223837 h 3771209"/>
                  <a:gd name="connsiteX2" fmla="*/ 5343525 w 5562600"/>
                  <a:gd name="connsiteY2" fmla="*/ 290512 h 3771209"/>
                  <a:gd name="connsiteX3" fmla="*/ 5276850 w 5562600"/>
                  <a:gd name="connsiteY3" fmla="*/ 504825 h 3771209"/>
                  <a:gd name="connsiteX4" fmla="*/ 5491163 w 5562600"/>
                  <a:gd name="connsiteY4" fmla="*/ 1033462 h 3771209"/>
                  <a:gd name="connsiteX5" fmla="*/ 5334000 w 5562600"/>
                  <a:gd name="connsiteY5" fmla="*/ 1262062 h 3771209"/>
                  <a:gd name="connsiteX6" fmla="*/ 5110163 w 5562600"/>
                  <a:gd name="connsiteY6" fmla="*/ 1462087 h 3771209"/>
                  <a:gd name="connsiteX7" fmla="*/ 4981575 w 5562600"/>
                  <a:gd name="connsiteY7" fmla="*/ 1643062 h 3771209"/>
                  <a:gd name="connsiteX8" fmla="*/ 4810125 w 5562600"/>
                  <a:gd name="connsiteY8" fmla="*/ 1881187 h 3771209"/>
                  <a:gd name="connsiteX9" fmla="*/ 4702175 w 5562600"/>
                  <a:gd name="connsiteY9" fmla="*/ 2198687 h 3771209"/>
                  <a:gd name="connsiteX10" fmla="*/ 4519613 w 5562600"/>
                  <a:gd name="connsiteY10" fmla="*/ 2300287 h 3771209"/>
                  <a:gd name="connsiteX11" fmla="*/ 4462463 w 5562600"/>
                  <a:gd name="connsiteY11" fmla="*/ 2452687 h 3771209"/>
                  <a:gd name="connsiteX12" fmla="*/ 4157663 w 5562600"/>
                  <a:gd name="connsiteY12" fmla="*/ 2547937 h 3771209"/>
                  <a:gd name="connsiteX13" fmla="*/ 3629025 w 5562600"/>
                  <a:gd name="connsiteY13" fmla="*/ 3162300 h 3771209"/>
                  <a:gd name="connsiteX14" fmla="*/ 3519488 w 5562600"/>
                  <a:gd name="connsiteY14" fmla="*/ 3281362 h 3771209"/>
                  <a:gd name="connsiteX15" fmla="*/ 3214688 w 5562600"/>
                  <a:gd name="connsiteY15" fmla="*/ 3319462 h 3771209"/>
                  <a:gd name="connsiteX16" fmla="*/ 3033713 w 5562600"/>
                  <a:gd name="connsiteY16" fmla="*/ 3295650 h 3771209"/>
                  <a:gd name="connsiteX17" fmla="*/ 2347913 w 5562600"/>
                  <a:gd name="connsiteY17" fmla="*/ 3248025 h 3771209"/>
                  <a:gd name="connsiteX18" fmla="*/ 1604963 w 5562600"/>
                  <a:gd name="connsiteY18" fmla="*/ 3362325 h 3771209"/>
                  <a:gd name="connsiteX19" fmla="*/ 1066800 w 5562600"/>
                  <a:gd name="connsiteY19" fmla="*/ 3752850 h 3771209"/>
                  <a:gd name="connsiteX20" fmla="*/ 838200 w 5562600"/>
                  <a:gd name="connsiteY20" fmla="*/ 3695700 h 3771209"/>
                  <a:gd name="connsiteX21" fmla="*/ 814388 w 5562600"/>
                  <a:gd name="connsiteY21" fmla="*/ 3590925 h 3771209"/>
                  <a:gd name="connsiteX22" fmla="*/ 714375 w 5562600"/>
                  <a:gd name="connsiteY22" fmla="*/ 3514725 h 3771209"/>
                  <a:gd name="connsiteX23" fmla="*/ 533400 w 5562600"/>
                  <a:gd name="connsiteY23" fmla="*/ 3524250 h 3771209"/>
                  <a:gd name="connsiteX24" fmla="*/ 523875 w 5562600"/>
                  <a:gd name="connsiteY24" fmla="*/ 3390900 h 3771209"/>
                  <a:gd name="connsiteX25" fmla="*/ 542925 w 5562600"/>
                  <a:gd name="connsiteY25" fmla="*/ 3276600 h 3771209"/>
                  <a:gd name="connsiteX26" fmla="*/ 442913 w 5562600"/>
                  <a:gd name="connsiteY26" fmla="*/ 3128962 h 3771209"/>
                  <a:gd name="connsiteX27" fmla="*/ 557213 w 5562600"/>
                  <a:gd name="connsiteY27" fmla="*/ 2833687 h 3771209"/>
                  <a:gd name="connsiteX28" fmla="*/ 428625 w 5562600"/>
                  <a:gd name="connsiteY28" fmla="*/ 2219325 h 3771209"/>
                  <a:gd name="connsiteX29" fmla="*/ 0 w 5562600"/>
                  <a:gd name="connsiteY29" fmla="*/ 1566862 h 3771209"/>
                  <a:gd name="connsiteX0" fmla="*/ 5562600 w 5562600"/>
                  <a:gd name="connsiteY0" fmla="*/ 0 h 3771209"/>
                  <a:gd name="connsiteX1" fmla="*/ 5438775 w 5562600"/>
                  <a:gd name="connsiteY1" fmla="*/ 223837 h 3771209"/>
                  <a:gd name="connsiteX2" fmla="*/ 5343525 w 5562600"/>
                  <a:gd name="connsiteY2" fmla="*/ 290512 h 3771209"/>
                  <a:gd name="connsiteX3" fmla="*/ 5276850 w 5562600"/>
                  <a:gd name="connsiteY3" fmla="*/ 504825 h 3771209"/>
                  <a:gd name="connsiteX4" fmla="*/ 5491163 w 5562600"/>
                  <a:gd name="connsiteY4" fmla="*/ 1033462 h 3771209"/>
                  <a:gd name="connsiteX5" fmla="*/ 5334000 w 5562600"/>
                  <a:gd name="connsiteY5" fmla="*/ 1262062 h 3771209"/>
                  <a:gd name="connsiteX6" fmla="*/ 5110163 w 5562600"/>
                  <a:gd name="connsiteY6" fmla="*/ 1462087 h 3771209"/>
                  <a:gd name="connsiteX7" fmla="*/ 4981575 w 5562600"/>
                  <a:gd name="connsiteY7" fmla="*/ 1643062 h 3771209"/>
                  <a:gd name="connsiteX8" fmla="*/ 4810125 w 5562600"/>
                  <a:gd name="connsiteY8" fmla="*/ 1881187 h 3771209"/>
                  <a:gd name="connsiteX9" fmla="*/ 4702175 w 5562600"/>
                  <a:gd name="connsiteY9" fmla="*/ 2198687 h 3771209"/>
                  <a:gd name="connsiteX10" fmla="*/ 4462463 w 5562600"/>
                  <a:gd name="connsiteY10" fmla="*/ 2452687 h 3771209"/>
                  <a:gd name="connsiteX11" fmla="*/ 4157663 w 5562600"/>
                  <a:gd name="connsiteY11" fmla="*/ 2547937 h 3771209"/>
                  <a:gd name="connsiteX12" fmla="*/ 3629025 w 5562600"/>
                  <a:gd name="connsiteY12" fmla="*/ 3162300 h 3771209"/>
                  <a:gd name="connsiteX13" fmla="*/ 3519488 w 5562600"/>
                  <a:gd name="connsiteY13" fmla="*/ 3281362 h 3771209"/>
                  <a:gd name="connsiteX14" fmla="*/ 3214688 w 5562600"/>
                  <a:gd name="connsiteY14" fmla="*/ 3319462 h 3771209"/>
                  <a:gd name="connsiteX15" fmla="*/ 3033713 w 5562600"/>
                  <a:gd name="connsiteY15" fmla="*/ 3295650 h 3771209"/>
                  <a:gd name="connsiteX16" fmla="*/ 2347913 w 5562600"/>
                  <a:gd name="connsiteY16" fmla="*/ 3248025 h 3771209"/>
                  <a:gd name="connsiteX17" fmla="*/ 1604963 w 5562600"/>
                  <a:gd name="connsiteY17" fmla="*/ 3362325 h 3771209"/>
                  <a:gd name="connsiteX18" fmla="*/ 1066800 w 5562600"/>
                  <a:gd name="connsiteY18" fmla="*/ 3752850 h 3771209"/>
                  <a:gd name="connsiteX19" fmla="*/ 838200 w 5562600"/>
                  <a:gd name="connsiteY19" fmla="*/ 3695700 h 3771209"/>
                  <a:gd name="connsiteX20" fmla="*/ 814388 w 5562600"/>
                  <a:gd name="connsiteY20" fmla="*/ 3590925 h 3771209"/>
                  <a:gd name="connsiteX21" fmla="*/ 714375 w 5562600"/>
                  <a:gd name="connsiteY21" fmla="*/ 3514725 h 3771209"/>
                  <a:gd name="connsiteX22" fmla="*/ 533400 w 5562600"/>
                  <a:gd name="connsiteY22" fmla="*/ 3524250 h 3771209"/>
                  <a:gd name="connsiteX23" fmla="*/ 523875 w 5562600"/>
                  <a:gd name="connsiteY23" fmla="*/ 3390900 h 3771209"/>
                  <a:gd name="connsiteX24" fmla="*/ 542925 w 5562600"/>
                  <a:gd name="connsiteY24" fmla="*/ 3276600 h 3771209"/>
                  <a:gd name="connsiteX25" fmla="*/ 442913 w 5562600"/>
                  <a:gd name="connsiteY25" fmla="*/ 3128962 h 3771209"/>
                  <a:gd name="connsiteX26" fmla="*/ 557213 w 5562600"/>
                  <a:gd name="connsiteY26" fmla="*/ 2833687 h 3771209"/>
                  <a:gd name="connsiteX27" fmla="*/ 428625 w 5562600"/>
                  <a:gd name="connsiteY27" fmla="*/ 2219325 h 3771209"/>
                  <a:gd name="connsiteX28" fmla="*/ 0 w 5562600"/>
                  <a:gd name="connsiteY28" fmla="*/ 1566862 h 3771209"/>
                  <a:gd name="connsiteX0" fmla="*/ 5562600 w 5562600"/>
                  <a:gd name="connsiteY0" fmla="*/ 0 h 3771209"/>
                  <a:gd name="connsiteX1" fmla="*/ 5438775 w 5562600"/>
                  <a:gd name="connsiteY1" fmla="*/ 223837 h 3771209"/>
                  <a:gd name="connsiteX2" fmla="*/ 5343525 w 5562600"/>
                  <a:gd name="connsiteY2" fmla="*/ 290512 h 3771209"/>
                  <a:gd name="connsiteX3" fmla="*/ 5276850 w 5562600"/>
                  <a:gd name="connsiteY3" fmla="*/ 504825 h 3771209"/>
                  <a:gd name="connsiteX4" fmla="*/ 5491163 w 5562600"/>
                  <a:gd name="connsiteY4" fmla="*/ 1033462 h 3771209"/>
                  <a:gd name="connsiteX5" fmla="*/ 5334000 w 5562600"/>
                  <a:gd name="connsiteY5" fmla="*/ 1262062 h 3771209"/>
                  <a:gd name="connsiteX6" fmla="*/ 5110163 w 5562600"/>
                  <a:gd name="connsiteY6" fmla="*/ 1462087 h 3771209"/>
                  <a:gd name="connsiteX7" fmla="*/ 4981575 w 5562600"/>
                  <a:gd name="connsiteY7" fmla="*/ 1643062 h 3771209"/>
                  <a:gd name="connsiteX8" fmla="*/ 4810125 w 5562600"/>
                  <a:gd name="connsiteY8" fmla="*/ 1881187 h 3771209"/>
                  <a:gd name="connsiteX9" fmla="*/ 4702175 w 5562600"/>
                  <a:gd name="connsiteY9" fmla="*/ 2198687 h 3771209"/>
                  <a:gd name="connsiteX10" fmla="*/ 4462463 w 5562600"/>
                  <a:gd name="connsiteY10" fmla="*/ 2452687 h 3771209"/>
                  <a:gd name="connsiteX11" fmla="*/ 3971925 w 5562600"/>
                  <a:gd name="connsiteY11" fmla="*/ 2767012 h 3771209"/>
                  <a:gd name="connsiteX12" fmla="*/ 3629025 w 5562600"/>
                  <a:gd name="connsiteY12" fmla="*/ 3162300 h 3771209"/>
                  <a:gd name="connsiteX13" fmla="*/ 3519488 w 5562600"/>
                  <a:gd name="connsiteY13" fmla="*/ 3281362 h 3771209"/>
                  <a:gd name="connsiteX14" fmla="*/ 3214688 w 5562600"/>
                  <a:gd name="connsiteY14" fmla="*/ 3319462 h 3771209"/>
                  <a:gd name="connsiteX15" fmla="*/ 3033713 w 5562600"/>
                  <a:gd name="connsiteY15" fmla="*/ 3295650 h 3771209"/>
                  <a:gd name="connsiteX16" fmla="*/ 2347913 w 5562600"/>
                  <a:gd name="connsiteY16" fmla="*/ 3248025 h 3771209"/>
                  <a:gd name="connsiteX17" fmla="*/ 1604963 w 5562600"/>
                  <a:gd name="connsiteY17" fmla="*/ 3362325 h 3771209"/>
                  <a:gd name="connsiteX18" fmla="*/ 1066800 w 5562600"/>
                  <a:gd name="connsiteY18" fmla="*/ 3752850 h 3771209"/>
                  <a:gd name="connsiteX19" fmla="*/ 838200 w 5562600"/>
                  <a:gd name="connsiteY19" fmla="*/ 3695700 h 3771209"/>
                  <a:gd name="connsiteX20" fmla="*/ 814388 w 5562600"/>
                  <a:gd name="connsiteY20" fmla="*/ 3590925 h 3771209"/>
                  <a:gd name="connsiteX21" fmla="*/ 714375 w 5562600"/>
                  <a:gd name="connsiteY21" fmla="*/ 3514725 h 3771209"/>
                  <a:gd name="connsiteX22" fmla="*/ 533400 w 5562600"/>
                  <a:gd name="connsiteY22" fmla="*/ 3524250 h 3771209"/>
                  <a:gd name="connsiteX23" fmla="*/ 523875 w 5562600"/>
                  <a:gd name="connsiteY23" fmla="*/ 3390900 h 3771209"/>
                  <a:gd name="connsiteX24" fmla="*/ 542925 w 5562600"/>
                  <a:gd name="connsiteY24" fmla="*/ 3276600 h 3771209"/>
                  <a:gd name="connsiteX25" fmla="*/ 442913 w 5562600"/>
                  <a:gd name="connsiteY25" fmla="*/ 3128962 h 3771209"/>
                  <a:gd name="connsiteX26" fmla="*/ 557213 w 5562600"/>
                  <a:gd name="connsiteY26" fmla="*/ 2833687 h 3771209"/>
                  <a:gd name="connsiteX27" fmla="*/ 428625 w 5562600"/>
                  <a:gd name="connsiteY27" fmla="*/ 2219325 h 3771209"/>
                  <a:gd name="connsiteX28" fmla="*/ 0 w 5562600"/>
                  <a:gd name="connsiteY28" fmla="*/ 1566862 h 3771209"/>
                  <a:gd name="connsiteX0" fmla="*/ 5562600 w 5562600"/>
                  <a:gd name="connsiteY0" fmla="*/ 0 h 3783931"/>
                  <a:gd name="connsiteX1" fmla="*/ 5438775 w 5562600"/>
                  <a:gd name="connsiteY1" fmla="*/ 223837 h 3783931"/>
                  <a:gd name="connsiteX2" fmla="*/ 5343525 w 5562600"/>
                  <a:gd name="connsiteY2" fmla="*/ 290512 h 3783931"/>
                  <a:gd name="connsiteX3" fmla="*/ 5276850 w 5562600"/>
                  <a:gd name="connsiteY3" fmla="*/ 504825 h 3783931"/>
                  <a:gd name="connsiteX4" fmla="*/ 5491163 w 5562600"/>
                  <a:gd name="connsiteY4" fmla="*/ 1033462 h 3783931"/>
                  <a:gd name="connsiteX5" fmla="*/ 5334000 w 5562600"/>
                  <a:gd name="connsiteY5" fmla="*/ 1262062 h 3783931"/>
                  <a:gd name="connsiteX6" fmla="*/ 5110163 w 5562600"/>
                  <a:gd name="connsiteY6" fmla="*/ 1462087 h 3783931"/>
                  <a:gd name="connsiteX7" fmla="*/ 4981575 w 5562600"/>
                  <a:gd name="connsiteY7" fmla="*/ 1643062 h 3783931"/>
                  <a:gd name="connsiteX8" fmla="*/ 4810125 w 5562600"/>
                  <a:gd name="connsiteY8" fmla="*/ 1881187 h 3783931"/>
                  <a:gd name="connsiteX9" fmla="*/ 4702175 w 5562600"/>
                  <a:gd name="connsiteY9" fmla="*/ 2198687 h 3783931"/>
                  <a:gd name="connsiteX10" fmla="*/ 4462463 w 5562600"/>
                  <a:gd name="connsiteY10" fmla="*/ 2452687 h 3783931"/>
                  <a:gd name="connsiteX11" fmla="*/ 3971925 w 5562600"/>
                  <a:gd name="connsiteY11" fmla="*/ 2767012 h 3783931"/>
                  <a:gd name="connsiteX12" fmla="*/ 3629025 w 5562600"/>
                  <a:gd name="connsiteY12" fmla="*/ 3162300 h 3783931"/>
                  <a:gd name="connsiteX13" fmla="*/ 3519488 w 5562600"/>
                  <a:gd name="connsiteY13" fmla="*/ 3281362 h 3783931"/>
                  <a:gd name="connsiteX14" fmla="*/ 3214688 w 5562600"/>
                  <a:gd name="connsiteY14" fmla="*/ 3319462 h 3783931"/>
                  <a:gd name="connsiteX15" fmla="*/ 3033713 w 5562600"/>
                  <a:gd name="connsiteY15" fmla="*/ 3295650 h 3783931"/>
                  <a:gd name="connsiteX16" fmla="*/ 2347913 w 5562600"/>
                  <a:gd name="connsiteY16" fmla="*/ 3248025 h 3783931"/>
                  <a:gd name="connsiteX17" fmla="*/ 1604963 w 5562600"/>
                  <a:gd name="connsiteY17" fmla="*/ 3362325 h 3783931"/>
                  <a:gd name="connsiteX18" fmla="*/ 1071563 w 5562600"/>
                  <a:gd name="connsiteY18" fmla="*/ 3767137 h 3783931"/>
                  <a:gd name="connsiteX19" fmla="*/ 838200 w 5562600"/>
                  <a:gd name="connsiteY19" fmla="*/ 3695700 h 3783931"/>
                  <a:gd name="connsiteX20" fmla="*/ 814388 w 5562600"/>
                  <a:gd name="connsiteY20" fmla="*/ 3590925 h 3783931"/>
                  <a:gd name="connsiteX21" fmla="*/ 714375 w 5562600"/>
                  <a:gd name="connsiteY21" fmla="*/ 3514725 h 3783931"/>
                  <a:gd name="connsiteX22" fmla="*/ 533400 w 5562600"/>
                  <a:gd name="connsiteY22" fmla="*/ 3524250 h 3783931"/>
                  <a:gd name="connsiteX23" fmla="*/ 523875 w 5562600"/>
                  <a:gd name="connsiteY23" fmla="*/ 3390900 h 3783931"/>
                  <a:gd name="connsiteX24" fmla="*/ 542925 w 5562600"/>
                  <a:gd name="connsiteY24" fmla="*/ 3276600 h 3783931"/>
                  <a:gd name="connsiteX25" fmla="*/ 442913 w 5562600"/>
                  <a:gd name="connsiteY25" fmla="*/ 3128962 h 3783931"/>
                  <a:gd name="connsiteX26" fmla="*/ 557213 w 5562600"/>
                  <a:gd name="connsiteY26" fmla="*/ 2833687 h 3783931"/>
                  <a:gd name="connsiteX27" fmla="*/ 428625 w 5562600"/>
                  <a:gd name="connsiteY27" fmla="*/ 2219325 h 3783931"/>
                  <a:gd name="connsiteX28" fmla="*/ 0 w 5562600"/>
                  <a:gd name="connsiteY28" fmla="*/ 1566862 h 3783931"/>
                  <a:gd name="connsiteX0" fmla="*/ 5591175 w 5591175"/>
                  <a:gd name="connsiteY0" fmla="*/ 0 h 3783931"/>
                  <a:gd name="connsiteX1" fmla="*/ 5467350 w 5591175"/>
                  <a:gd name="connsiteY1" fmla="*/ 223837 h 3783931"/>
                  <a:gd name="connsiteX2" fmla="*/ 5372100 w 5591175"/>
                  <a:gd name="connsiteY2" fmla="*/ 290512 h 3783931"/>
                  <a:gd name="connsiteX3" fmla="*/ 5305425 w 5591175"/>
                  <a:gd name="connsiteY3" fmla="*/ 504825 h 3783931"/>
                  <a:gd name="connsiteX4" fmla="*/ 5519738 w 5591175"/>
                  <a:gd name="connsiteY4" fmla="*/ 1033462 h 3783931"/>
                  <a:gd name="connsiteX5" fmla="*/ 5362575 w 5591175"/>
                  <a:gd name="connsiteY5" fmla="*/ 1262062 h 3783931"/>
                  <a:gd name="connsiteX6" fmla="*/ 5138738 w 5591175"/>
                  <a:gd name="connsiteY6" fmla="*/ 1462087 h 3783931"/>
                  <a:gd name="connsiteX7" fmla="*/ 5010150 w 5591175"/>
                  <a:gd name="connsiteY7" fmla="*/ 1643062 h 3783931"/>
                  <a:gd name="connsiteX8" fmla="*/ 4838700 w 5591175"/>
                  <a:gd name="connsiteY8" fmla="*/ 1881187 h 3783931"/>
                  <a:gd name="connsiteX9" fmla="*/ 4730750 w 5591175"/>
                  <a:gd name="connsiteY9" fmla="*/ 2198687 h 3783931"/>
                  <a:gd name="connsiteX10" fmla="*/ 4491038 w 5591175"/>
                  <a:gd name="connsiteY10" fmla="*/ 2452687 h 3783931"/>
                  <a:gd name="connsiteX11" fmla="*/ 4000500 w 5591175"/>
                  <a:gd name="connsiteY11" fmla="*/ 2767012 h 3783931"/>
                  <a:gd name="connsiteX12" fmla="*/ 3657600 w 5591175"/>
                  <a:gd name="connsiteY12" fmla="*/ 3162300 h 3783931"/>
                  <a:gd name="connsiteX13" fmla="*/ 3548063 w 5591175"/>
                  <a:gd name="connsiteY13" fmla="*/ 3281362 h 3783931"/>
                  <a:gd name="connsiteX14" fmla="*/ 3243263 w 5591175"/>
                  <a:gd name="connsiteY14" fmla="*/ 3319462 h 3783931"/>
                  <a:gd name="connsiteX15" fmla="*/ 3062288 w 5591175"/>
                  <a:gd name="connsiteY15" fmla="*/ 3295650 h 3783931"/>
                  <a:gd name="connsiteX16" fmla="*/ 2376488 w 5591175"/>
                  <a:gd name="connsiteY16" fmla="*/ 3248025 h 3783931"/>
                  <a:gd name="connsiteX17" fmla="*/ 1633538 w 5591175"/>
                  <a:gd name="connsiteY17" fmla="*/ 3362325 h 3783931"/>
                  <a:gd name="connsiteX18" fmla="*/ 1100138 w 5591175"/>
                  <a:gd name="connsiteY18" fmla="*/ 3767137 h 3783931"/>
                  <a:gd name="connsiteX19" fmla="*/ 866775 w 5591175"/>
                  <a:gd name="connsiteY19" fmla="*/ 3695700 h 3783931"/>
                  <a:gd name="connsiteX20" fmla="*/ 842963 w 5591175"/>
                  <a:gd name="connsiteY20" fmla="*/ 3590925 h 3783931"/>
                  <a:gd name="connsiteX21" fmla="*/ 742950 w 5591175"/>
                  <a:gd name="connsiteY21" fmla="*/ 3514725 h 3783931"/>
                  <a:gd name="connsiteX22" fmla="*/ 561975 w 5591175"/>
                  <a:gd name="connsiteY22" fmla="*/ 3524250 h 3783931"/>
                  <a:gd name="connsiteX23" fmla="*/ 552450 w 5591175"/>
                  <a:gd name="connsiteY23" fmla="*/ 3390900 h 3783931"/>
                  <a:gd name="connsiteX24" fmla="*/ 571500 w 5591175"/>
                  <a:gd name="connsiteY24" fmla="*/ 3276600 h 3783931"/>
                  <a:gd name="connsiteX25" fmla="*/ 471488 w 5591175"/>
                  <a:gd name="connsiteY25" fmla="*/ 3128962 h 3783931"/>
                  <a:gd name="connsiteX26" fmla="*/ 585788 w 5591175"/>
                  <a:gd name="connsiteY26" fmla="*/ 2833687 h 3783931"/>
                  <a:gd name="connsiteX27" fmla="*/ 457200 w 5591175"/>
                  <a:gd name="connsiteY27" fmla="*/ 2219325 h 3783931"/>
                  <a:gd name="connsiteX28" fmla="*/ 0 w 5591175"/>
                  <a:gd name="connsiteY28" fmla="*/ 1538287 h 3783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591175" h="3783931">
                    <a:moveTo>
                      <a:pt x="5591175" y="0"/>
                    </a:moveTo>
                    <a:cubicBezTo>
                      <a:pt x="5547518" y="87709"/>
                      <a:pt x="5503862" y="175418"/>
                      <a:pt x="5467350" y="223837"/>
                    </a:cubicBezTo>
                    <a:cubicBezTo>
                      <a:pt x="5430838" y="272256"/>
                      <a:pt x="5399087" y="243681"/>
                      <a:pt x="5372100" y="290512"/>
                    </a:cubicBezTo>
                    <a:cubicBezTo>
                      <a:pt x="5345112" y="337343"/>
                      <a:pt x="5280819" y="381000"/>
                      <a:pt x="5305425" y="504825"/>
                    </a:cubicBezTo>
                    <a:cubicBezTo>
                      <a:pt x="5330031" y="628650"/>
                      <a:pt x="5510213" y="907256"/>
                      <a:pt x="5519738" y="1033462"/>
                    </a:cubicBezTo>
                    <a:cubicBezTo>
                      <a:pt x="5529263" y="1159668"/>
                      <a:pt x="5426075" y="1190625"/>
                      <a:pt x="5362575" y="1262062"/>
                    </a:cubicBezTo>
                    <a:cubicBezTo>
                      <a:pt x="5299075" y="1333499"/>
                      <a:pt x="5197476" y="1398587"/>
                      <a:pt x="5138738" y="1462087"/>
                    </a:cubicBezTo>
                    <a:cubicBezTo>
                      <a:pt x="5109369" y="1514474"/>
                      <a:pt x="5010150" y="1643062"/>
                      <a:pt x="5010150" y="1643062"/>
                    </a:cubicBezTo>
                    <a:cubicBezTo>
                      <a:pt x="4960144" y="1712912"/>
                      <a:pt x="4885267" y="1788583"/>
                      <a:pt x="4838700" y="1881187"/>
                    </a:cubicBezTo>
                    <a:cubicBezTo>
                      <a:pt x="4792133" y="1973791"/>
                      <a:pt x="4788694" y="2103437"/>
                      <a:pt x="4730750" y="2198687"/>
                    </a:cubicBezTo>
                    <a:cubicBezTo>
                      <a:pt x="4672806" y="2293937"/>
                      <a:pt x="4612746" y="2357966"/>
                      <a:pt x="4491038" y="2452687"/>
                    </a:cubicBezTo>
                    <a:cubicBezTo>
                      <a:pt x="4369330" y="2547408"/>
                      <a:pt x="4139406" y="2648743"/>
                      <a:pt x="4000500" y="2767012"/>
                    </a:cubicBezTo>
                    <a:cubicBezTo>
                      <a:pt x="3861594" y="2885281"/>
                      <a:pt x="3733006" y="3076575"/>
                      <a:pt x="3657600" y="3162300"/>
                    </a:cubicBezTo>
                    <a:cubicBezTo>
                      <a:pt x="3582194" y="3248025"/>
                      <a:pt x="3617119" y="3255168"/>
                      <a:pt x="3548063" y="3281362"/>
                    </a:cubicBezTo>
                    <a:cubicBezTo>
                      <a:pt x="3479007" y="3307556"/>
                      <a:pt x="3324225" y="3317081"/>
                      <a:pt x="3243263" y="3319462"/>
                    </a:cubicBezTo>
                    <a:cubicBezTo>
                      <a:pt x="3162301" y="3321843"/>
                      <a:pt x="3206751" y="3307556"/>
                      <a:pt x="3062288" y="3295650"/>
                    </a:cubicBezTo>
                    <a:cubicBezTo>
                      <a:pt x="2917825" y="3283744"/>
                      <a:pt x="2614613" y="3236912"/>
                      <a:pt x="2376488" y="3248025"/>
                    </a:cubicBezTo>
                    <a:cubicBezTo>
                      <a:pt x="2138363" y="3259138"/>
                      <a:pt x="1846263" y="3275806"/>
                      <a:pt x="1633538" y="3362325"/>
                    </a:cubicBezTo>
                    <a:cubicBezTo>
                      <a:pt x="1420813" y="3448844"/>
                      <a:pt x="1227932" y="3711575"/>
                      <a:pt x="1100138" y="3767137"/>
                    </a:cubicBezTo>
                    <a:cubicBezTo>
                      <a:pt x="972344" y="3822699"/>
                      <a:pt x="909638" y="3725069"/>
                      <a:pt x="866775" y="3695700"/>
                    </a:cubicBezTo>
                    <a:cubicBezTo>
                      <a:pt x="823913" y="3666331"/>
                      <a:pt x="863600" y="3621087"/>
                      <a:pt x="842963" y="3590925"/>
                    </a:cubicBezTo>
                    <a:cubicBezTo>
                      <a:pt x="822326" y="3560763"/>
                      <a:pt x="789781" y="3525838"/>
                      <a:pt x="742950" y="3514725"/>
                    </a:cubicBezTo>
                    <a:cubicBezTo>
                      <a:pt x="696119" y="3503613"/>
                      <a:pt x="593725" y="3544887"/>
                      <a:pt x="561975" y="3524250"/>
                    </a:cubicBezTo>
                    <a:cubicBezTo>
                      <a:pt x="530225" y="3503613"/>
                      <a:pt x="550863" y="3432175"/>
                      <a:pt x="552450" y="3390900"/>
                    </a:cubicBezTo>
                    <a:cubicBezTo>
                      <a:pt x="554037" y="3349625"/>
                      <a:pt x="584994" y="3320256"/>
                      <a:pt x="571500" y="3276600"/>
                    </a:cubicBezTo>
                    <a:cubicBezTo>
                      <a:pt x="558006" y="3232944"/>
                      <a:pt x="469107" y="3202781"/>
                      <a:pt x="471488" y="3128962"/>
                    </a:cubicBezTo>
                    <a:cubicBezTo>
                      <a:pt x="473869" y="3055143"/>
                      <a:pt x="588169" y="2985293"/>
                      <a:pt x="585788" y="2833687"/>
                    </a:cubicBezTo>
                    <a:cubicBezTo>
                      <a:pt x="583407" y="2682081"/>
                      <a:pt x="554831" y="2435225"/>
                      <a:pt x="457200" y="2219325"/>
                    </a:cubicBezTo>
                    <a:cubicBezTo>
                      <a:pt x="359569" y="2003425"/>
                      <a:pt x="167878" y="1758950"/>
                      <a:pt x="0" y="1538287"/>
                    </a:cubicBezTo>
                  </a:path>
                </a:pathLst>
              </a:custGeom>
              <a:noFill/>
              <a:ln w="127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FFFFFF"/>
                  </a:solidFill>
                </a:endParaRPr>
              </a:p>
            </p:txBody>
          </p:sp>
          <p:grpSp>
            <p:nvGrpSpPr>
              <p:cNvPr id="131" name="Group 130"/>
              <p:cNvGrpSpPr/>
              <p:nvPr/>
            </p:nvGrpSpPr>
            <p:grpSpPr>
              <a:xfrm>
                <a:off x="606677" y="2193314"/>
                <a:ext cx="5923653" cy="1289752"/>
                <a:chOff x="444358" y="2303970"/>
                <a:chExt cx="5923648" cy="1289750"/>
              </a:xfrm>
            </p:grpSpPr>
            <p:sp>
              <p:nvSpPr>
                <p:cNvPr id="132" name="TextBox 131"/>
                <p:cNvSpPr txBox="1"/>
                <p:nvPr/>
              </p:nvSpPr>
              <p:spPr>
                <a:xfrm>
                  <a:off x="5689935" y="2303970"/>
                  <a:ext cx="678071" cy="4072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i="1" dirty="0">
                      <a:solidFill>
                        <a:srgbClr val="000000"/>
                      </a:solidFill>
                    </a:rPr>
                    <a:t>To Swaziland</a:t>
                  </a:r>
                  <a:br>
                    <a:rPr lang="en-US" sz="882" i="1" dirty="0">
                      <a:solidFill>
                        <a:srgbClr val="000000"/>
                      </a:solidFill>
                    </a:rPr>
                  </a:br>
                  <a:r>
                    <a:rPr lang="en-US" sz="882" i="1" dirty="0">
                      <a:solidFill>
                        <a:srgbClr val="000000"/>
                      </a:solidFill>
                    </a:rPr>
                    <a:t>and</a:t>
                  </a:r>
                  <a:br>
                    <a:rPr lang="en-US" sz="882" i="1" dirty="0">
                      <a:solidFill>
                        <a:srgbClr val="000000"/>
                      </a:solidFill>
                    </a:rPr>
                  </a:br>
                  <a:r>
                    <a:rPr lang="en-US" sz="882" i="1" dirty="0">
                      <a:solidFill>
                        <a:srgbClr val="000000"/>
                      </a:solidFill>
                    </a:rPr>
                    <a:t>Mozambique</a:t>
                  </a:r>
                </a:p>
              </p:txBody>
            </p:sp>
            <p:sp>
              <p:nvSpPr>
                <p:cNvPr id="140" name="TextBox 139"/>
                <p:cNvSpPr txBox="1"/>
                <p:nvPr/>
              </p:nvSpPr>
              <p:spPr>
                <a:xfrm>
                  <a:off x="444358" y="3322219"/>
                  <a:ext cx="557845" cy="2715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000000"/>
                      </a:solidFill>
                    </a:rPr>
                    <a:t>Alexander </a:t>
                  </a:r>
                  <a:br>
                    <a:rPr lang="en-US" sz="882" dirty="0">
                      <a:solidFill>
                        <a:srgbClr val="000000"/>
                      </a:solidFill>
                    </a:rPr>
                  </a:br>
                  <a:r>
                    <a:rPr lang="en-US" sz="882" dirty="0">
                      <a:solidFill>
                        <a:srgbClr val="000000"/>
                      </a:solidFill>
                    </a:rPr>
                    <a:t>Bay Airport</a:t>
                  </a:r>
                </a:p>
              </p:txBody>
            </p:sp>
          </p:grpSp>
          <p:grpSp>
            <p:nvGrpSpPr>
              <p:cNvPr id="149" name="Group 148"/>
              <p:cNvGrpSpPr/>
              <p:nvPr/>
            </p:nvGrpSpPr>
            <p:grpSpPr>
              <a:xfrm>
                <a:off x="1513430" y="1383658"/>
                <a:ext cx="4370317" cy="4047892"/>
                <a:chOff x="2277584" y="1093788"/>
                <a:chExt cx="4962654" cy="4596530"/>
              </a:xfrm>
              <a:noFill/>
            </p:grpSpPr>
            <p:sp>
              <p:nvSpPr>
                <p:cNvPr id="150" name="Rectangle 40"/>
                <p:cNvSpPr>
                  <a:spLocks noChangeArrowheads="1"/>
                </p:cNvSpPr>
                <p:nvPr/>
              </p:nvSpPr>
              <p:spPr bwMode="auto">
                <a:xfrm>
                  <a:off x="6397452" y="3263334"/>
                  <a:ext cx="842786" cy="15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914109" eaLnBrk="0" hangingPunct="0"/>
                  <a:r>
                    <a:rPr lang="en-US" altLang="en-US" sz="882" b="1" dirty="0">
                      <a:solidFill>
                        <a:schemeClr val="bg1">
                          <a:lumMod val="50000"/>
                        </a:schemeClr>
                      </a:solidFill>
                      <a:latin typeface="Arial Unicode MS" panose="020B0604020202020204" pitchFamily="34" charset="-128"/>
                    </a:rPr>
                    <a:t>KwaZulu-Natal</a:t>
                  </a:r>
                </a:p>
              </p:txBody>
            </p:sp>
            <p:sp>
              <p:nvSpPr>
                <p:cNvPr id="151" name="Rectangle 41"/>
                <p:cNvSpPr>
                  <a:spLocks noChangeArrowheads="1"/>
                </p:cNvSpPr>
                <p:nvPr/>
              </p:nvSpPr>
              <p:spPr bwMode="auto">
                <a:xfrm>
                  <a:off x="5113852" y="4457472"/>
                  <a:ext cx="784537" cy="15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914109" eaLnBrk="0" hangingPunct="0"/>
                  <a:r>
                    <a:rPr lang="en-US" altLang="en-US" sz="882" b="1" dirty="0">
                      <a:solidFill>
                        <a:schemeClr val="bg1">
                          <a:lumMod val="50000"/>
                        </a:schemeClr>
                      </a:solidFill>
                      <a:latin typeface="Arial Unicode MS" panose="020B0604020202020204" pitchFamily="34" charset="-128"/>
                    </a:rPr>
                    <a:t>Eastern Cape</a:t>
                  </a:r>
                </a:p>
              </p:txBody>
            </p:sp>
            <p:sp>
              <p:nvSpPr>
                <p:cNvPr id="152" name="Rectangle 42"/>
                <p:cNvSpPr>
                  <a:spLocks noChangeArrowheads="1"/>
                </p:cNvSpPr>
                <p:nvPr/>
              </p:nvSpPr>
              <p:spPr bwMode="auto">
                <a:xfrm>
                  <a:off x="5032375" y="3278187"/>
                  <a:ext cx="600689" cy="15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914109" eaLnBrk="0" hangingPunct="0"/>
                  <a:r>
                    <a:rPr lang="en-US" altLang="en-US" sz="882" b="1" dirty="0">
                      <a:solidFill>
                        <a:schemeClr val="bg1">
                          <a:lumMod val="50000"/>
                        </a:schemeClr>
                      </a:solidFill>
                      <a:latin typeface="Arial Unicode MS" panose="020B0604020202020204" pitchFamily="34" charset="-128"/>
                    </a:rPr>
                    <a:t>Free State</a:t>
                  </a:r>
                </a:p>
              </p:txBody>
            </p:sp>
            <p:sp>
              <p:nvSpPr>
                <p:cNvPr id="153" name="Rectangle 43"/>
                <p:cNvSpPr>
                  <a:spLocks noChangeArrowheads="1"/>
                </p:cNvSpPr>
                <p:nvPr/>
              </p:nvSpPr>
              <p:spPr bwMode="auto">
                <a:xfrm>
                  <a:off x="4457700" y="2208212"/>
                  <a:ext cx="644375" cy="15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109"/>
                  <a:r>
                    <a:rPr lang="en-US" altLang="en-US" sz="882" b="1" dirty="0">
                      <a:solidFill>
                        <a:schemeClr val="bg1">
                          <a:lumMod val="50000"/>
                        </a:schemeClr>
                      </a:solidFill>
                      <a:latin typeface="Arial Unicode MS" panose="020B0604020202020204" pitchFamily="34" charset="-128"/>
                    </a:rPr>
                    <a:t>North West</a:t>
                  </a:r>
                  <a:endParaRPr lang="en-US" altLang="en-US" sz="882" b="1" dirty="0">
                    <a:solidFill>
                      <a:schemeClr val="bg1">
                        <a:lumMod val="50000"/>
                      </a:schemeClr>
                    </a:solidFill>
                  </a:endParaRPr>
                </a:p>
              </p:txBody>
            </p:sp>
            <p:sp>
              <p:nvSpPr>
                <p:cNvPr id="154" name="Rectangle 44"/>
                <p:cNvSpPr>
                  <a:spLocks noChangeArrowheads="1"/>
                </p:cNvSpPr>
                <p:nvPr/>
              </p:nvSpPr>
              <p:spPr bwMode="auto">
                <a:xfrm>
                  <a:off x="6252119" y="1976459"/>
                  <a:ext cx="740851" cy="15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109"/>
                  <a:r>
                    <a:rPr lang="en-US" altLang="en-US" sz="882" b="1" dirty="0">
                      <a:solidFill>
                        <a:schemeClr val="bg1">
                          <a:lumMod val="50000"/>
                        </a:schemeClr>
                      </a:solidFill>
                      <a:latin typeface="Arial Unicode MS" panose="020B0604020202020204" pitchFamily="34" charset="-128"/>
                    </a:rPr>
                    <a:t>Mpumalanga</a:t>
                  </a:r>
                  <a:endParaRPr lang="en-US" altLang="en-US" sz="882" b="1" dirty="0">
                    <a:solidFill>
                      <a:schemeClr val="bg1">
                        <a:lumMod val="50000"/>
                      </a:schemeClr>
                    </a:solidFill>
                  </a:endParaRPr>
                </a:p>
              </p:txBody>
            </p:sp>
            <p:sp>
              <p:nvSpPr>
                <p:cNvPr id="155" name="Rectangle 45"/>
                <p:cNvSpPr>
                  <a:spLocks noChangeArrowheads="1"/>
                </p:cNvSpPr>
                <p:nvPr/>
              </p:nvSpPr>
              <p:spPr bwMode="auto">
                <a:xfrm>
                  <a:off x="5518283" y="2226173"/>
                  <a:ext cx="467389" cy="14557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109"/>
                  <a:r>
                    <a:rPr lang="en-US" altLang="en-US" sz="833" b="1" dirty="0">
                      <a:solidFill>
                        <a:schemeClr val="bg1">
                          <a:lumMod val="50000"/>
                        </a:schemeClr>
                      </a:solidFill>
                      <a:latin typeface="Arial Unicode MS" panose="020B0604020202020204" pitchFamily="34" charset="-128"/>
                    </a:rPr>
                    <a:t>Gauteng</a:t>
                  </a:r>
                  <a:endParaRPr lang="en-US" altLang="en-US" sz="833" b="1" dirty="0">
                    <a:solidFill>
                      <a:schemeClr val="bg1">
                        <a:lumMod val="50000"/>
                      </a:schemeClr>
                    </a:solidFill>
                  </a:endParaRPr>
                </a:p>
              </p:txBody>
            </p:sp>
            <p:sp>
              <p:nvSpPr>
                <p:cNvPr id="156" name="Rectangle 46"/>
                <p:cNvSpPr>
                  <a:spLocks noChangeArrowheads="1"/>
                </p:cNvSpPr>
                <p:nvPr/>
              </p:nvSpPr>
              <p:spPr bwMode="auto">
                <a:xfrm>
                  <a:off x="6059487" y="1093788"/>
                  <a:ext cx="491473" cy="15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109"/>
                  <a:r>
                    <a:rPr lang="en-US" altLang="en-US" sz="882" b="1" dirty="0">
                      <a:solidFill>
                        <a:schemeClr val="bg1">
                          <a:lumMod val="50000"/>
                        </a:schemeClr>
                      </a:solidFill>
                      <a:latin typeface="Arial Unicode MS" panose="020B0604020202020204" pitchFamily="34" charset="-128"/>
                    </a:rPr>
                    <a:t>Limpopo</a:t>
                  </a:r>
                  <a:endParaRPr lang="en-US" altLang="en-US" sz="882" b="1" dirty="0">
                    <a:solidFill>
                      <a:schemeClr val="bg1">
                        <a:lumMod val="50000"/>
                      </a:schemeClr>
                    </a:solidFill>
                  </a:endParaRPr>
                </a:p>
              </p:txBody>
            </p:sp>
            <p:sp>
              <p:nvSpPr>
                <p:cNvPr id="157" name="Rectangle 47"/>
                <p:cNvSpPr>
                  <a:spLocks noChangeArrowheads="1"/>
                </p:cNvSpPr>
                <p:nvPr/>
              </p:nvSpPr>
              <p:spPr bwMode="auto">
                <a:xfrm>
                  <a:off x="2693989" y="3663951"/>
                  <a:ext cx="842786" cy="15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109"/>
                  <a:r>
                    <a:rPr lang="en-US" altLang="en-US" sz="882" b="1" dirty="0">
                      <a:solidFill>
                        <a:schemeClr val="bg1">
                          <a:lumMod val="50000"/>
                        </a:schemeClr>
                      </a:solidFill>
                      <a:latin typeface="Arial Unicode MS" panose="020B0604020202020204" pitchFamily="34" charset="-128"/>
                    </a:rPr>
                    <a:t>Northern Cape</a:t>
                  </a:r>
                  <a:endParaRPr lang="en-US" altLang="en-US" sz="882" b="1" dirty="0">
                    <a:solidFill>
                      <a:schemeClr val="bg1">
                        <a:lumMod val="50000"/>
                      </a:schemeClr>
                    </a:solidFill>
                  </a:endParaRPr>
                </a:p>
              </p:txBody>
            </p:sp>
            <p:sp>
              <p:nvSpPr>
                <p:cNvPr id="158" name="Rectangle 48"/>
                <p:cNvSpPr>
                  <a:spLocks noChangeArrowheads="1"/>
                </p:cNvSpPr>
                <p:nvPr/>
              </p:nvSpPr>
              <p:spPr bwMode="auto">
                <a:xfrm>
                  <a:off x="2277584" y="5536168"/>
                  <a:ext cx="820942" cy="154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hangingPunct="0">
                    <a:defRPr>
                      <a:solidFill>
                        <a:schemeClr val="tx1"/>
                      </a:solidFill>
                      <a:latin typeface="Arial" panose="020B0604020202020204" pitchFamily="34" charset="0"/>
                    </a:defRPr>
                  </a:lvl1pPr>
                  <a:lvl2pPr marL="457200" eaLnBrk="0" hangingPunct="0">
                    <a:defRPr>
                      <a:solidFill>
                        <a:schemeClr val="tx1"/>
                      </a:solidFill>
                      <a:latin typeface="Arial" panose="020B0604020202020204" pitchFamily="34" charset="0"/>
                    </a:defRPr>
                  </a:lvl2pPr>
                  <a:lvl3pPr marL="914400" eaLnBrk="0" hangingPunct="0">
                    <a:defRPr>
                      <a:solidFill>
                        <a:schemeClr val="tx1"/>
                      </a:solidFill>
                      <a:latin typeface="Arial" panose="020B0604020202020204" pitchFamily="34" charset="0"/>
                    </a:defRPr>
                  </a:lvl3pPr>
                  <a:lvl4pPr marL="1371600" eaLnBrk="0" hangingPunct="0">
                    <a:defRPr>
                      <a:solidFill>
                        <a:schemeClr val="tx1"/>
                      </a:solidFill>
                      <a:latin typeface="Arial" panose="020B0604020202020204" pitchFamily="34" charset="0"/>
                    </a:defRPr>
                  </a:lvl4pPr>
                  <a:lvl5pPr marL="1828800" eaLnBrk="0" hangingPunct="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14109"/>
                  <a:r>
                    <a:rPr lang="en-US" altLang="en-US" sz="882" b="1" dirty="0">
                      <a:solidFill>
                        <a:schemeClr val="bg1">
                          <a:lumMod val="50000"/>
                        </a:schemeClr>
                      </a:solidFill>
                      <a:latin typeface="Arial Unicode MS" panose="020B0604020202020204" pitchFamily="34" charset="-128"/>
                    </a:rPr>
                    <a:t>Western Cape</a:t>
                  </a:r>
                  <a:endParaRPr lang="en-US" altLang="en-US" sz="882" b="1" dirty="0">
                    <a:solidFill>
                      <a:schemeClr val="bg1">
                        <a:lumMod val="50000"/>
                      </a:schemeClr>
                    </a:solidFill>
                  </a:endParaRPr>
                </a:p>
              </p:txBody>
            </p:sp>
          </p:grpSp>
          <p:grpSp>
            <p:nvGrpSpPr>
              <p:cNvPr id="11" name="Group 10"/>
              <p:cNvGrpSpPr/>
              <p:nvPr/>
            </p:nvGrpSpPr>
            <p:grpSpPr>
              <a:xfrm>
                <a:off x="418853" y="3209913"/>
                <a:ext cx="5801564" cy="2741096"/>
                <a:chOff x="256534" y="3320569"/>
                <a:chExt cx="5801559" cy="2741093"/>
              </a:xfrm>
            </p:grpSpPr>
            <p:grpSp>
              <p:nvGrpSpPr>
                <p:cNvPr id="5" name="Group 4"/>
                <p:cNvGrpSpPr/>
                <p:nvPr/>
              </p:nvGrpSpPr>
              <p:grpSpPr>
                <a:xfrm>
                  <a:off x="1246815" y="5851431"/>
                  <a:ext cx="169066" cy="210231"/>
                  <a:chOff x="1246815" y="5851431"/>
                  <a:chExt cx="169066" cy="210231"/>
                </a:xfrm>
                <a:solidFill>
                  <a:srgbClr val="FF0000"/>
                </a:solidFill>
              </p:grpSpPr>
              <p:sp>
                <p:nvSpPr>
                  <p:cNvPr id="68" name="5-Point Star 67"/>
                  <p:cNvSpPr/>
                  <p:nvPr/>
                </p:nvSpPr>
                <p:spPr>
                  <a:xfrm>
                    <a:off x="1246815" y="5851431"/>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69" name="5-Point Star 68"/>
                  <p:cNvSpPr/>
                  <p:nvPr/>
                </p:nvSpPr>
                <p:spPr>
                  <a:xfrm>
                    <a:off x="1278975" y="5924754"/>
                    <a:ext cx="136906"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grpSp>
            <p:grpSp>
              <p:nvGrpSpPr>
                <p:cNvPr id="9" name="Group 8"/>
                <p:cNvGrpSpPr/>
                <p:nvPr/>
              </p:nvGrpSpPr>
              <p:grpSpPr>
                <a:xfrm>
                  <a:off x="256534" y="3320569"/>
                  <a:ext cx="5801559" cy="2461743"/>
                  <a:chOff x="256534" y="3320569"/>
                  <a:chExt cx="5801559" cy="2461743"/>
                </a:xfrm>
                <a:solidFill>
                  <a:srgbClr val="FF0000"/>
                </a:solidFill>
              </p:grpSpPr>
              <p:sp>
                <p:nvSpPr>
                  <p:cNvPr id="4" name="5-Point Star 3"/>
                  <p:cNvSpPr/>
                  <p:nvPr/>
                </p:nvSpPr>
                <p:spPr>
                  <a:xfrm>
                    <a:off x="5921185" y="3320569"/>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57" name="5-Point Star 56"/>
                  <p:cNvSpPr/>
                  <p:nvPr/>
                </p:nvSpPr>
                <p:spPr>
                  <a:xfrm>
                    <a:off x="5787648" y="3495194"/>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58" name="5-Point Star 57"/>
                  <p:cNvSpPr/>
                  <p:nvPr/>
                </p:nvSpPr>
                <p:spPr>
                  <a:xfrm>
                    <a:off x="5560444" y="3717444"/>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59" name="5-Point Star 58"/>
                  <p:cNvSpPr/>
                  <p:nvPr/>
                </p:nvSpPr>
                <p:spPr>
                  <a:xfrm>
                    <a:off x="5429060" y="3901594"/>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60" name="5-Point Star 59"/>
                  <p:cNvSpPr/>
                  <p:nvPr/>
                </p:nvSpPr>
                <p:spPr>
                  <a:xfrm>
                    <a:off x="5145989" y="4444520"/>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61" name="5-Point Star 60"/>
                  <p:cNvSpPr/>
                  <p:nvPr/>
                </p:nvSpPr>
                <p:spPr>
                  <a:xfrm>
                    <a:off x="3957980" y="5512475"/>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65" name="5-Point Star 64"/>
                  <p:cNvSpPr/>
                  <p:nvPr/>
                </p:nvSpPr>
                <p:spPr>
                  <a:xfrm>
                    <a:off x="3472859" y="5558842"/>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72" name="5-Point Star 71"/>
                  <p:cNvSpPr/>
                  <p:nvPr/>
                </p:nvSpPr>
                <p:spPr>
                  <a:xfrm>
                    <a:off x="1000124" y="5617562"/>
                    <a:ext cx="95892" cy="103664"/>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73" name="5-Point Star 72"/>
                  <p:cNvSpPr/>
                  <p:nvPr/>
                </p:nvSpPr>
                <p:spPr>
                  <a:xfrm>
                    <a:off x="825149" y="5289560"/>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74" name="5-Point Star 73"/>
                  <p:cNvSpPr/>
                  <p:nvPr/>
                </p:nvSpPr>
                <p:spPr>
                  <a:xfrm>
                    <a:off x="1088804" y="5698406"/>
                    <a:ext cx="99083" cy="83906"/>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75" name="5-Point Star 74"/>
                  <p:cNvSpPr/>
                  <p:nvPr/>
                </p:nvSpPr>
                <p:spPr>
                  <a:xfrm>
                    <a:off x="398204" y="3693230"/>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76" name="5-Point Star 75"/>
                  <p:cNvSpPr/>
                  <p:nvPr/>
                </p:nvSpPr>
                <p:spPr>
                  <a:xfrm>
                    <a:off x="256534" y="3435227"/>
                    <a:ext cx="136908" cy="136908"/>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sp>
                <p:nvSpPr>
                  <p:cNvPr id="169" name="5-Point Star 168"/>
                  <p:cNvSpPr/>
                  <p:nvPr/>
                </p:nvSpPr>
                <p:spPr>
                  <a:xfrm>
                    <a:off x="1036614" y="5671630"/>
                    <a:ext cx="90588" cy="94297"/>
                  </a:xfrm>
                  <a:prstGeom prst="star5">
                    <a:avLst/>
                  </a:prstGeom>
                  <a:grp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grpSp>
          </p:grpSp>
          <p:sp>
            <p:nvSpPr>
              <p:cNvPr id="171" name="TextBox 170"/>
              <p:cNvSpPr txBox="1"/>
              <p:nvPr/>
            </p:nvSpPr>
            <p:spPr>
              <a:xfrm>
                <a:off x="5255362" y="3039222"/>
                <a:ext cx="654026" cy="1357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FF0000"/>
                    </a:solidFill>
                    <a:effectLst>
                      <a:outerShdw blurRad="38100" dist="38100" dir="2700000" algn="tl">
                        <a:srgbClr val="000000">
                          <a:alpha val="43137"/>
                        </a:srgbClr>
                      </a:outerShdw>
                    </a:effectLst>
                  </a:rPr>
                  <a:t>East 3 Route</a:t>
                </a:r>
              </a:p>
            </p:txBody>
          </p:sp>
          <p:sp>
            <p:nvSpPr>
              <p:cNvPr id="172" name="TextBox 171"/>
              <p:cNvSpPr txBox="1"/>
              <p:nvPr/>
            </p:nvSpPr>
            <p:spPr>
              <a:xfrm>
                <a:off x="4714100" y="3848809"/>
                <a:ext cx="621966" cy="2715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defPPr>
                  <a:defRPr lang="en-US"/>
                </a:defPPr>
                <a:lvl1pPr lvl="0" indent="0" defTabSz="895255" fontAlgn="base">
                  <a:spcBef>
                    <a:spcPct val="0"/>
                  </a:spcBef>
                  <a:spcAft>
                    <a:spcPct val="0"/>
                  </a:spcAft>
                  <a:buClr>
                    <a:srgbClr val="0B4623"/>
                  </a:buClr>
                  <a:defRPr sz="900" baseline="0">
                    <a:solidFill>
                      <a:srgbClr val="FF0000"/>
                    </a:solidFill>
                    <a:effectLst>
                      <a:outerShdw blurRad="38100" dist="38100" dir="2700000" algn="tl">
                        <a:srgbClr val="000000">
                          <a:alpha val="43137"/>
                        </a:srgbClr>
                      </a:outerShdw>
                    </a:effectLst>
                  </a:defRPr>
                </a:lvl1pPr>
                <a:lvl2pPr marL="193655" lvl="1" indent="-192067" defTabSz="895255">
                  <a:buClr>
                    <a:schemeClr val="tx2"/>
                  </a:buClr>
                  <a:buSzPct val="125000"/>
                  <a:buFont typeface="Arial" charset="0"/>
                  <a:buChar char="▪"/>
                  <a:defRPr baseline="0"/>
                </a:lvl2pPr>
                <a:lvl3pPr marL="457151" lvl="2" indent="-261910" defTabSz="895255">
                  <a:buClr>
                    <a:schemeClr val="tx2"/>
                  </a:buClr>
                  <a:buSzPct val="120000"/>
                  <a:buFont typeface="Arial" charset="0"/>
                  <a:buChar char="–"/>
                  <a:defRPr baseline="0"/>
                </a:lvl3pPr>
                <a:lvl4pPr marL="614298" lvl="3" indent="-155558" defTabSz="895255">
                  <a:buClr>
                    <a:schemeClr val="tx2"/>
                  </a:buClr>
                  <a:buSzPct val="120000"/>
                  <a:buFont typeface="Arial" charset="0"/>
                  <a:buChar char="▫"/>
                  <a:defRPr baseline="0"/>
                </a:lvl4pPr>
                <a:lvl5pPr marL="749728" lvl="4" indent="-130162" defTabSz="895255">
                  <a:buClr>
                    <a:schemeClr val="tx2"/>
                  </a:buClr>
                  <a:buSzPct val="89000"/>
                  <a:buFont typeface="Arial" charset="0"/>
                  <a:buChar char="-"/>
                  <a:defRPr baseline="0"/>
                </a:lvl5pPr>
                <a:lvl6pPr marL="749728" indent="-130162" defTabSz="895255" fontAlgn="base">
                  <a:spcBef>
                    <a:spcPct val="0"/>
                  </a:spcBef>
                  <a:spcAft>
                    <a:spcPct val="0"/>
                  </a:spcAft>
                  <a:buClr>
                    <a:schemeClr val="tx2"/>
                  </a:buClr>
                  <a:buSzPct val="89000"/>
                  <a:buFont typeface="Arial" charset="0"/>
                  <a:buChar char="-"/>
                  <a:defRPr baseline="0"/>
                </a:lvl6pPr>
                <a:lvl7pPr marL="749728" indent="-130162" defTabSz="895255" fontAlgn="base">
                  <a:spcBef>
                    <a:spcPct val="0"/>
                  </a:spcBef>
                  <a:spcAft>
                    <a:spcPct val="0"/>
                  </a:spcAft>
                  <a:buClr>
                    <a:schemeClr val="tx2"/>
                  </a:buClr>
                  <a:buSzPct val="89000"/>
                  <a:buFont typeface="Arial" charset="0"/>
                  <a:buChar char="-"/>
                  <a:defRPr baseline="0"/>
                </a:lvl7pPr>
                <a:lvl8pPr marL="749728" indent="-130162" defTabSz="895255" fontAlgn="base">
                  <a:spcBef>
                    <a:spcPct val="0"/>
                  </a:spcBef>
                  <a:spcAft>
                    <a:spcPct val="0"/>
                  </a:spcAft>
                  <a:buClr>
                    <a:schemeClr val="tx2"/>
                  </a:buClr>
                  <a:buSzPct val="89000"/>
                  <a:buFont typeface="Arial" charset="0"/>
                  <a:buChar char="-"/>
                  <a:defRPr baseline="0"/>
                </a:lvl8pPr>
                <a:lvl9pPr marL="749728" indent="-130162" defTabSz="895255" fontAlgn="base">
                  <a:spcBef>
                    <a:spcPct val="0"/>
                  </a:spcBef>
                  <a:spcAft>
                    <a:spcPct val="0"/>
                  </a:spcAft>
                  <a:buClr>
                    <a:schemeClr val="tx2"/>
                  </a:buClr>
                  <a:buSzPct val="89000"/>
                  <a:buFont typeface="Arial" charset="0"/>
                  <a:buChar char="-"/>
                  <a:defRPr baseline="0"/>
                </a:lvl9pPr>
              </a:lstStyle>
              <a:p>
                <a:r>
                  <a:rPr lang="en-US" sz="882" dirty="0"/>
                  <a:t>South Coast</a:t>
                </a:r>
              </a:p>
              <a:p>
                <a:r>
                  <a:rPr lang="en-US" sz="882" dirty="0"/>
                  <a:t>Experience</a:t>
                </a:r>
              </a:p>
            </p:txBody>
          </p:sp>
          <p:sp>
            <p:nvSpPr>
              <p:cNvPr id="260" name="TextBox 259"/>
              <p:cNvSpPr txBox="1"/>
              <p:nvPr/>
            </p:nvSpPr>
            <p:spPr>
              <a:xfrm>
                <a:off x="3812475" y="4617857"/>
                <a:ext cx="716376" cy="2714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FF0000"/>
                    </a:solidFill>
                    <a:effectLst>
                      <a:outerShdw blurRad="38100" dist="38100" dir="2700000" algn="tl">
                        <a:srgbClr val="000000">
                          <a:alpha val="43137"/>
                        </a:srgbClr>
                      </a:outerShdw>
                    </a:effectLst>
                  </a:rPr>
                  <a:t>Eastern Cape</a:t>
                </a:r>
                <a:br>
                  <a:rPr lang="en-US" sz="882" dirty="0">
                    <a:solidFill>
                      <a:srgbClr val="FF0000"/>
                    </a:solidFill>
                    <a:effectLst>
                      <a:outerShdw blurRad="38100" dist="38100" dir="2700000" algn="tl">
                        <a:srgbClr val="000000">
                          <a:alpha val="43137"/>
                        </a:srgbClr>
                      </a:outerShdw>
                    </a:effectLst>
                  </a:rPr>
                </a:br>
                <a:r>
                  <a:rPr lang="en-US" sz="882" dirty="0">
                    <a:solidFill>
                      <a:srgbClr val="FF0000"/>
                    </a:solidFill>
                    <a:effectLst>
                      <a:outerShdw blurRad="38100" dist="38100" dir="2700000" algn="tl">
                        <a:srgbClr val="000000">
                          <a:alpha val="43137"/>
                        </a:srgbClr>
                      </a:outerShdw>
                    </a:effectLst>
                  </a:rPr>
                  <a:t>Coastal Route</a:t>
                </a:r>
              </a:p>
            </p:txBody>
          </p:sp>
          <p:sp>
            <p:nvSpPr>
              <p:cNvPr id="261" name="TextBox 260"/>
              <p:cNvSpPr txBox="1"/>
              <p:nvPr/>
            </p:nvSpPr>
            <p:spPr>
              <a:xfrm>
                <a:off x="2502008" y="5165651"/>
                <a:ext cx="708528" cy="1357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defPPr>
                  <a:defRPr lang="en-US"/>
                </a:defPPr>
                <a:lvl1pPr lvl="0" indent="0" algn="ctr" defTabSz="895255" fontAlgn="base">
                  <a:spcBef>
                    <a:spcPct val="0"/>
                  </a:spcBef>
                  <a:spcAft>
                    <a:spcPct val="0"/>
                  </a:spcAft>
                  <a:buClr>
                    <a:srgbClr val="0B4623"/>
                  </a:buClr>
                  <a:defRPr sz="900" baseline="0">
                    <a:solidFill>
                      <a:srgbClr val="FF0000"/>
                    </a:solidFill>
                    <a:effectLst>
                      <a:outerShdw blurRad="38100" dist="38100" dir="2700000" algn="tl">
                        <a:srgbClr val="000000">
                          <a:alpha val="43137"/>
                        </a:srgbClr>
                      </a:outerShdw>
                    </a:effectLst>
                  </a:defRPr>
                </a:lvl1pPr>
                <a:lvl2pPr marL="193655" lvl="1" indent="-192067" defTabSz="895255">
                  <a:buClr>
                    <a:schemeClr val="tx2"/>
                  </a:buClr>
                  <a:buSzPct val="125000"/>
                  <a:buFont typeface="Arial" charset="0"/>
                  <a:buChar char="▪"/>
                  <a:defRPr baseline="0"/>
                </a:lvl2pPr>
                <a:lvl3pPr marL="457151" lvl="2" indent="-261910" defTabSz="895255">
                  <a:buClr>
                    <a:schemeClr val="tx2"/>
                  </a:buClr>
                  <a:buSzPct val="120000"/>
                  <a:buFont typeface="Arial" charset="0"/>
                  <a:buChar char="–"/>
                  <a:defRPr baseline="0"/>
                </a:lvl3pPr>
                <a:lvl4pPr marL="614298" lvl="3" indent="-155558" defTabSz="895255">
                  <a:buClr>
                    <a:schemeClr val="tx2"/>
                  </a:buClr>
                  <a:buSzPct val="120000"/>
                  <a:buFont typeface="Arial" charset="0"/>
                  <a:buChar char="▫"/>
                  <a:defRPr baseline="0"/>
                </a:lvl4pPr>
                <a:lvl5pPr marL="749728" lvl="4" indent="-130162" defTabSz="895255">
                  <a:buClr>
                    <a:schemeClr val="tx2"/>
                  </a:buClr>
                  <a:buSzPct val="89000"/>
                  <a:buFont typeface="Arial" charset="0"/>
                  <a:buChar char="-"/>
                  <a:defRPr baseline="0"/>
                </a:lvl5pPr>
                <a:lvl6pPr marL="749728" indent="-130162" defTabSz="895255" fontAlgn="base">
                  <a:spcBef>
                    <a:spcPct val="0"/>
                  </a:spcBef>
                  <a:spcAft>
                    <a:spcPct val="0"/>
                  </a:spcAft>
                  <a:buClr>
                    <a:schemeClr val="tx2"/>
                  </a:buClr>
                  <a:buSzPct val="89000"/>
                  <a:buFont typeface="Arial" charset="0"/>
                  <a:buChar char="-"/>
                  <a:defRPr baseline="0"/>
                </a:lvl6pPr>
                <a:lvl7pPr marL="749728" indent="-130162" defTabSz="895255" fontAlgn="base">
                  <a:spcBef>
                    <a:spcPct val="0"/>
                  </a:spcBef>
                  <a:spcAft>
                    <a:spcPct val="0"/>
                  </a:spcAft>
                  <a:buClr>
                    <a:schemeClr val="tx2"/>
                  </a:buClr>
                  <a:buSzPct val="89000"/>
                  <a:buFont typeface="Arial" charset="0"/>
                  <a:buChar char="-"/>
                  <a:defRPr baseline="0"/>
                </a:lvl7pPr>
                <a:lvl8pPr marL="749728" indent="-130162" defTabSz="895255" fontAlgn="base">
                  <a:spcBef>
                    <a:spcPct val="0"/>
                  </a:spcBef>
                  <a:spcAft>
                    <a:spcPct val="0"/>
                  </a:spcAft>
                  <a:buClr>
                    <a:schemeClr val="tx2"/>
                  </a:buClr>
                  <a:buSzPct val="89000"/>
                  <a:buFont typeface="Arial" charset="0"/>
                  <a:buChar char="-"/>
                  <a:defRPr baseline="0"/>
                </a:lvl8pPr>
                <a:lvl9pPr marL="749728" indent="-130162" defTabSz="895255" fontAlgn="base">
                  <a:spcBef>
                    <a:spcPct val="0"/>
                  </a:spcBef>
                  <a:spcAft>
                    <a:spcPct val="0"/>
                  </a:spcAft>
                  <a:buClr>
                    <a:schemeClr val="tx2"/>
                  </a:buClr>
                  <a:buSzPct val="89000"/>
                  <a:buFont typeface="Arial" charset="0"/>
                  <a:buChar char="-"/>
                  <a:defRPr baseline="0"/>
                </a:lvl9pPr>
              </a:lstStyle>
              <a:p>
                <a:r>
                  <a:rPr lang="en-US" sz="882" dirty="0"/>
                  <a:t>Garden Route</a:t>
                </a:r>
              </a:p>
            </p:txBody>
          </p:sp>
          <p:sp>
            <p:nvSpPr>
              <p:cNvPr id="262" name="TextBox 261"/>
              <p:cNvSpPr txBox="1"/>
              <p:nvPr/>
            </p:nvSpPr>
            <p:spPr>
              <a:xfrm>
                <a:off x="1510782" y="5497026"/>
                <a:ext cx="383118" cy="27150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B4623"/>
                  </a:buClr>
                </a:pPr>
                <a:r>
                  <a:rPr lang="en-US" sz="882" dirty="0">
                    <a:solidFill>
                      <a:srgbClr val="FF0000"/>
                    </a:solidFill>
                    <a:effectLst>
                      <a:outerShdw blurRad="38100" dist="38100" dir="2700000" algn="tl">
                        <a:srgbClr val="000000">
                          <a:alpha val="43137"/>
                        </a:srgbClr>
                      </a:outerShdw>
                    </a:effectLst>
                  </a:rPr>
                  <a:t>Coastal</a:t>
                </a:r>
                <a:br>
                  <a:rPr lang="en-US" sz="882" dirty="0">
                    <a:solidFill>
                      <a:srgbClr val="FF0000"/>
                    </a:solidFill>
                    <a:effectLst>
                      <a:outerShdw blurRad="38100" dist="38100" dir="2700000" algn="tl">
                        <a:srgbClr val="000000">
                          <a:alpha val="43137"/>
                        </a:srgbClr>
                      </a:outerShdw>
                    </a:effectLst>
                  </a:rPr>
                </a:br>
                <a:r>
                  <a:rPr lang="en-US" sz="882" dirty="0">
                    <a:solidFill>
                      <a:srgbClr val="FF0000"/>
                    </a:solidFill>
                    <a:effectLst>
                      <a:outerShdw blurRad="38100" dist="38100" dir="2700000" algn="tl">
                        <a:srgbClr val="000000">
                          <a:alpha val="43137"/>
                        </a:srgbClr>
                      </a:outerShdw>
                    </a:effectLst>
                  </a:rPr>
                  <a:t>Route</a:t>
                </a:r>
              </a:p>
            </p:txBody>
          </p:sp>
          <p:sp>
            <p:nvSpPr>
              <p:cNvPr id="263" name="TextBox 262"/>
              <p:cNvSpPr txBox="1"/>
              <p:nvPr/>
            </p:nvSpPr>
            <p:spPr>
              <a:xfrm>
                <a:off x="1163884" y="5170201"/>
                <a:ext cx="585098" cy="1357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FF0000"/>
                    </a:solidFill>
                    <a:effectLst>
                      <a:outerShdw blurRad="38100" dist="38100" dir="2700000" algn="tl">
                        <a:srgbClr val="000000">
                          <a:alpha val="43137"/>
                        </a:srgbClr>
                      </a:outerShdw>
                    </a:effectLst>
                  </a:rPr>
                  <a:t>West Coast</a:t>
                </a:r>
              </a:p>
            </p:txBody>
          </p:sp>
          <p:sp>
            <p:nvSpPr>
              <p:cNvPr id="264" name="TextBox 263"/>
              <p:cNvSpPr txBox="1"/>
              <p:nvPr/>
            </p:nvSpPr>
            <p:spPr>
              <a:xfrm>
                <a:off x="1091295" y="3973787"/>
                <a:ext cx="779060" cy="1357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B4623"/>
                  </a:buClr>
                </a:pPr>
                <a:r>
                  <a:rPr lang="en-US" sz="882" dirty="0">
                    <a:solidFill>
                      <a:srgbClr val="FF0000"/>
                    </a:solidFill>
                    <a:effectLst>
                      <a:outerShdw blurRad="38100" dist="38100" dir="2700000" algn="tl">
                        <a:srgbClr val="000000">
                          <a:alpha val="43137"/>
                        </a:srgbClr>
                      </a:outerShdw>
                    </a:effectLst>
                  </a:rPr>
                  <a:t>Diamond Coast</a:t>
                </a:r>
              </a:p>
            </p:txBody>
          </p:sp>
        </p:grpSp>
        <p:grpSp>
          <p:nvGrpSpPr>
            <p:cNvPr id="23" name="Group 22"/>
            <p:cNvGrpSpPr/>
            <p:nvPr/>
          </p:nvGrpSpPr>
          <p:grpSpPr>
            <a:xfrm>
              <a:off x="5268547" y="4679827"/>
              <a:ext cx="314769" cy="212181"/>
              <a:chOff x="5580112" y="4733601"/>
              <a:chExt cx="314769" cy="212181"/>
            </a:xfrm>
          </p:grpSpPr>
          <p:cxnSp>
            <p:nvCxnSpPr>
              <p:cNvPr id="22" name="Straight Connector 21"/>
              <p:cNvCxnSpPr/>
              <p:nvPr/>
            </p:nvCxnSpPr>
            <p:spPr>
              <a:xfrm>
                <a:off x="5580112" y="4733601"/>
                <a:ext cx="238834" cy="13555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8" name="Picture 117"/>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5804703" y="4855199"/>
                <a:ext cx="90178" cy="90583"/>
              </a:xfrm>
              <a:prstGeom prst="rect">
                <a:avLst/>
              </a:prstGeom>
            </p:spPr>
          </p:pic>
        </p:grpSp>
        <p:grpSp>
          <p:nvGrpSpPr>
            <p:cNvPr id="119" name="Group 118"/>
            <p:cNvGrpSpPr/>
            <p:nvPr/>
          </p:nvGrpSpPr>
          <p:grpSpPr>
            <a:xfrm>
              <a:off x="5788835" y="3828551"/>
              <a:ext cx="314769" cy="212181"/>
              <a:chOff x="5580112" y="4733601"/>
              <a:chExt cx="314769" cy="212181"/>
            </a:xfrm>
          </p:grpSpPr>
          <p:cxnSp>
            <p:nvCxnSpPr>
              <p:cNvPr id="120" name="Straight Connector 119"/>
              <p:cNvCxnSpPr/>
              <p:nvPr/>
            </p:nvCxnSpPr>
            <p:spPr>
              <a:xfrm>
                <a:off x="5580112" y="4733601"/>
                <a:ext cx="238834" cy="13555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1" name="Picture 120"/>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5804703" y="4855199"/>
                <a:ext cx="90178" cy="90583"/>
              </a:xfrm>
              <a:prstGeom prst="rect">
                <a:avLst/>
              </a:prstGeom>
            </p:spPr>
          </p:pic>
        </p:grpSp>
        <p:grpSp>
          <p:nvGrpSpPr>
            <p:cNvPr id="122" name="Group 121"/>
            <p:cNvGrpSpPr/>
            <p:nvPr/>
          </p:nvGrpSpPr>
          <p:grpSpPr>
            <a:xfrm>
              <a:off x="6227879" y="3480059"/>
              <a:ext cx="498244" cy="228565"/>
              <a:chOff x="5556330" y="4771173"/>
              <a:chExt cx="498244" cy="228565"/>
            </a:xfrm>
          </p:grpSpPr>
          <p:cxnSp>
            <p:nvCxnSpPr>
              <p:cNvPr id="123" name="Straight Connector 122"/>
              <p:cNvCxnSpPr>
                <a:stCxn id="47" idx="48"/>
                <a:endCxn id="124" idx="1"/>
              </p:cNvCxnSpPr>
              <p:nvPr/>
            </p:nvCxnSpPr>
            <p:spPr>
              <a:xfrm>
                <a:off x="5556330" y="4771173"/>
                <a:ext cx="408066" cy="18327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4" name="Picture 123"/>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5964396" y="4909155"/>
                <a:ext cx="90178" cy="90583"/>
              </a:xfrm>
              <a:prstGeom prst="rect">
                <a:avLst/>
              </a:prstGeom>
            </p:spPr>
          </p:pic>
        </p:grpSp>
        <p:grpSp>
          <p:nvGrpSpPr>
            <p:cNvPr id="125" name="Group 124"/>
            <p:cNvGrpSpPr/>
            <p:nvPr/>
          </p:nvGrpSpPr>
          <p:grpSpPr>
            <a:xfrm>
              <a:off x="6324633" y="3272013"/>
              <a:ext cx="314769" cy="212181"/>
              <a:chOff x="5580112" y="4733601"/>
              <a:chExt cx="314769" cy="212181"/>
            </a:xfrm>
          </p:grpSpPr>
          <p:cxnSp>
            <p:nvCxnSpPr>
              <p:cNvPr id="126" name="Straight Connector 125"/>
              <p:cNvCxnSpPr/>
              <p:nvPr/>
            </p:nvCxnSpPr>
            <p:spPr>
              <a:xfrm>
                <a:off x="5580112" y="4733601"/>
                <a:ext cx="238834" cy="13555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7" name="Picture 126"/>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5804703" y="4855199"/>
                <a:ext cx="90178" cy="90583"/>
              </a:xfrm>
              <a:prstGeom prst="rect">
                <a:avLst/>
              </a:prstGeom>
            </p:spPr>
          </p:pic>
        </p:grpSp>
        <p:grpSp>
          <p:nvGrpSpPr>
            <p:cNvPr id="128" name="Group 127"/>
            <p:cNvGrpSpPr/>
            <p:nvPr/>
          </p:nvGrpSpPr>
          <p:grpSpPr>
            <a:xfrm>
              <a:off x="6363882" y="3073862"/>
              <a:ext cx="314769" cy="212181"/>
              <a:chOff x="5580112" y="4733601"/>
              <a:chExt cx="314769" cy="212181"/>
            </a:xfrm>
          </p:grpSpPr>
          <p:cxnSp>
            <p:nvCxnSpPr>
              <p:cNvPr id="133" name="Straight Connector 132"/>
              <p:cNvCxnSpPr/>
              <p:nvPr/>
            </p:nvCxnSpPr>
            <p:spPr>
              <a:xfrm>
                <a:off x="5580112" y="4733601"/>
                <a:ext cx="238834" cy="135559"/>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4" name="Picture 133"/>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5804703" y="4855199"/>
                <a:ext cx="90178" cy="90583"/>
              </a:xfrm>
              <a:prstGeom prst="rect">
                <a:avLst/>
              </a:prstGeom>
            </p:spPr>
          </p:pic>
        </p:grpSp>
        <p:grpSp>
          <p:nvGrpSpPr>
            <p:cNvPr id="147" name="Group 146"/>
            <p:cNvGrpSpPr/>
            <p:nvPr/>
          </p:nvGrpSpPr>
          <p:grpSpPr>
            <a:xfrm>
              <a:off x="2583657" y="5772534"/>
              <a:ext cx="90178" cy="346317"/>
              <a:chOff x="5804703" y="4599465"/>
              <a:chExt cx="90178" cy="346317"/>
            </a:xfrm>
          </p:grpSpPr>
          <p:cxnSp>
            <p:nvCxnSpPr>
              <p:cNvPr id="148" name="Straight Connector 147"/>
              <p:cNvCxnSpPr>
                <a:endCxn id="159" idx="0"/>
              </p:cNvCxnSpPr>
              <p:nvPr/>
            </p:nvCxnSpPr>
            <p:spPr>
              <a:xfrm>
                <a:off x="5849792" y="4599465"/>
                <a:ext cx="0" cy="25573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59" name="Picture 158"/>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5804703" y="4855199"/>
                <a:ext cx="90178" cy="90583"/>
              </a:xfrm>
              <a:prstGeom prst="rect">
                <a:avLst/>
              </a:prstGeom>
            </p:spPr>
          </p:pic>
        </p:grpSp>
        <p:grpSp>
          <p:nvGrpSpPr>
            <p:cNvPr id="173" name="Group 172"/>
            <p:cNvGrpSpPr/>
            <p:nvPr/>
          </p:nvGrpSpPr>
          <p:grpSpPr>
            <a:xfrm>
              <a:off x="2845654" y="5774311"/>
              <a:ext cx="90178" cy="346317"/>
              <a:chOff x="5804703" y="4599465"/>
              <a:chExt cx="90178" cy="346317"/>
            </a:xfrm>
          </p:grpSpPr>
          <p:cxnSp>
            <p:nvCxnSpPr>
              <p:cNvPr id="174" name="Straight Connector 173"/>
              <p:cNvCxnSpPr>
                <a:endCxn id="175" idx="0"/>
              </p:cNvCxnSpPr>
              <p:nvPr/>
            </p:nvCxnSpPr>
            <p:spPr>
              <a:xfrm>
                <a:off x="5849792" y="4599465"/>
                <a:ext cx="0" cy="25573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75" name="Picture 174"/>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5804703" y="4855199"/>
                <a:ext cx="90178" cy="90583"/>
              </a:xfrm>
              <a:prstGeom prst="rect">
                <a:avLst/>
              </a:prstGeom>
            </p:spPr>
          </p:pic>
        </p:grpSp>
        <p:grpSp>
          <p:nvGrpSpPr>
            <p:cNvPr id="176" name="Group 175"/>
            <p:cNvGrpSpPr/>
            <p:nvPr/>
          </p:nvGrpSpPr>
          <p:grpSpPr>
            <a:xfrm>
              <a:off x="2980921" y="5749462"/>
              <a:ext cx="90178" cy="346317"/>
              <a:chOff x="5804703" y="4599465"/>
              <a:chExt cx="90178" cy="346317"/>
            </a:xfrm>
          </p:grpSpPr>
          <p:cxnSp>
            <p:nvCxnSpPr>
              <p:cNvPr id="177" name="Straight Connector 176"/>
              <p:cNvCxnSpPr>
                <a:endCxn id="178" idx="0"/>
              </p:cNvCxnSpPr>
              <p:nvPr/>
            </p:nvCxnSpPr>
            <p:spPr>
              <a:xfrm>
                <a:off x="5849792" y="4599465"/>
                <a:ext cx="0" cy="25573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78" name="Picture 177"/>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5804703" y="4855199"/>
                <a:ext cx="90178" cy="90583"/>
              </a:xfrm>
              <a:prstGeom prst="rect">
                <a:avLst/>
              </a:prstGeom>
            </p:spPr>
          </p:pic>
        </p:grpSp>
        <p:grpSp>
          <p:nvGrpSpPr>
            <p:cNvPr id="179" name="Group 178"/>
            <p:cNvGrpSpPr/>
            <p:nvPr/>
          </p:nvGrpSpPr>
          <p:grpSpPr>
            <a:xfrm>
              <a:off x="3546982" y="5743934"/>
              <a:ext cx="90178" cy="346317"/>
              <a:chOff x="5804703" y="4599465"/>
              <a:chExt cx="90178" cy="346317"/>
            </a:xfrm>
          </p:grpSpPr>
          <p:cxnSp>
            <p:nvCxnSpPr>
              <p:cNvPr id="180" name="Straight Connector 179"/>
              <p:cNvCxnSpPr>
                <a:endCxn id="181" idx="0"/>
              </p:cNvCxnSpPr>
              <p:nvPr/>
            </p:nvCxnSpPr>
            <p:spPr>
              <a:xfrm>
                <a:off x="5849792" y="4599465"/>
                <a:ext cx="0" cy="25573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81" name="Picture 180"/>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5804703" y="4855199"/>
                <a:ext cx="90178" cy="90583"/>
              </a:xfrm>
              <a:prstGeom prst="rect">
                <a:avLst/>
              </a:prstGeom>
            </p:spPr>
          </p:pic>
        </p:grpSp>
        <p:grpSp>
          <p:nvGrpSpPr>
            <p:cNvPr id="200" name="Group 199"/>
            <p:cNvGrpSpPr/>
            <p:nvPr/>
          </p:nvGrpSpPr>
          <p:grpSpPr>
            <a:xfrm>
              <a:off x="3862654" y="5624122"/>
              <a:ext cx="90178" cy="346317"/>
              <a:chOff x="5804703" y="4599465"/>
              <a:chExt cx="90178" cy="346317"/>
            </a:xfrm>
          </p:grpSpPr>
          <p:cxnSp>
            <p:nvCxnSpPr>
              <p:cNvPr id="201" name="Straight Connector 200"/>
              <p:cNvCxnSpPr>
                <a:endCxn id="202" idx="0"/>
              </p:cNvCxnSpPr>
              <p:nvPr/>
            </p:nvCxnSpPr>
            <p:spPr>
              <a:xfrm>
                <a:off x="5849792" y="4599465"/>
                <a:ext cx="0" cy="25573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02" name="Picture 201"/>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5804703" y="4855199"/>
                <a:ext cx="90178" cy="90583"/>
              </a:xfrm>
              <a:prstGeom prst="rect">
                <a:avLst/>
              </a:prstGeom>
            </p:spPr>
          </p:pic>
        </p:grpSp>
        <p:grpSp>
          <p:nvGrpSpPr>
            <p:cNvPr id="40" name="Group 39"/>
            <p:cNvGrpSpPr/>
            <p:nvPr/>
          </p:nvGrpSpPr>
          <p:grpSpPr>
            <a:xfrm>
              <a:off x="776714" y="5563382"/>
              <a:ext cx="448286" cy="90583"/>
              <a:chOff x="776714" y="5563382"/>
              <a:chExt cx="448286" cy="90583"/>
            </a:xfrm>
          </p:grpSpPr>
          <p:cxnSp>
            <p:nvCxnSpPr>
              <p:cNvPr id="203" name="Straight Connector 202"/>
              <p:cNvCxnSpPr>
                <a:stCxn id="99" idx="23"/>
              </p:cNvCxnSpPr>
              <p:nvPr/>
            </p:nvCxnSpPr>
            <p:spPr>
              <a:xfrm flipH="1" flipV="1">
                <a:off x="857136" y="5619666"/>
                <a:ext cx="367864" cy="6185"/>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04" name="Picture 203"/>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rot="20971608">
                <a:off x="776714" y="5563382"/>
                <a:ext cx="90178" cy="90583"/>
              </a:xfrm>
              <a:prstGeom prst="rect">
                <a:avLst/>
              </a:prstGeom>
            </p:spPr>
          </p:pic>
        </p:grpSp>
        <p:grpSp>
          <p:nvGrpSpPr>
            <p:cNvPr id="37" name="Group 36"/>
            <p:cNvGrpSpPr/>
            <p:nvPr/>
          </p:nvGrpSpPr>
          <p:grpSpPr>
            <a:xfrm>
              <a:off x="848156" y="5715199"/>
              <a:ext cx="405060" cy="90583"/>
              <a:chOff x="812901" y="5738832"/>
              <a:chExt cx="405060" cy="90583"/>
            </a:xfrm>
          </p:grpSpPr>
          <p:cxnSp>
            <p:nvCxnSpPr>
              <p:cNvPr id="205" name="Straight Connector 204"/>
              <p:cNvCxnSpPr/>
              <p:nvPr/>
            </p:nvCxnSpPr>
            <p:spPr>
              <a:xfrm rot="20971608" flipH="1" flipV="1">
                <a:off x="900383" y="5747000"/>
                <a:ext cx="317578" cy="7706"/>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06" name="Picture 205"/>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rot="20971608">
                <a:off x="812901" y="5738832"/>
                <a:ext cx="90178" cy="90583"/>
              </a:xfrm>
              <a:prstGeom prst="rect">
                <a:avLst/>
              </a:prstGeom>
            </p:spPr>
          </p:pic>
        </p:grpSp>
        <p:grpSp>
          <p:nvGrpSpPr>
            <p:cNvPr id="207" name="Group 206"/>
            <p:cNvGrpSpPr/>
            <p:nvPr/>
          </p:nvGrpSpPr>
          <p:grpSpPr>
            <a:xfrm>
              <a:off x="4185677" y="5613301"/>
              <a:ext cx="90178" cy="346317"/>
              <a:chOff x="5804703" y="4599465"/>
              <a:chExt cx="90178" cy="346317"/>
            </a:xfrm>
          </p:grpSpPr>
          <p:cxnSp>
            <p:nvCxnSpPr>
              <p:cNvPr id="208" name="Straight Connector 207"/>
              <p:cNvCxnSpPr>
                <a:endCxn id="209" idx="0"/>
              </p:cNvCxnSpPr>
              <p:nvPr/>
            </p:nvCxnSpPr>
            <p:spPr>
              <a:xfrm>
                <a:off x="5849792" y="4599465"/>
                <a:ext cx="0" cy="25573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09" name="Picture 208"/>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a:off x="5804703" y="4855199"/>
                <a:ext cx="90178" cy="90583"/>
              </a:xfrm>
              <a:prstGeom prst="rect">
                <a:avLst/>
              </a:prstGeom>
            </p:spPr>
          </p:pic>
        </p:grpSp>
        <p:grpSp>
          <p:nvGrpSpPr>
            <p:cNvPr id="39" name="Group 38"/>
            <p:cNvGrpSpPr/>
            <p:nvPr/>
          </p:nvGrpSpPr>
          <p:grpSpPr>
            <a:xfrm>
              <a:off x="227743" y="1485021"/>
              <a:ext cx="1658111" cy="1043587"/>
              <a:chOff x="6848509" y="2646683"/>
              <a:chExt cx="1744753" cy="1043587"/>
            </a:xfrm>
          </p:grpSpPr>
          <p:sp>
            <p:nvSpPr>
              <p:cNvPr id="38" name="Rounded Rectangle 37"/>
              <p:cNvSpPr/>
              <p:nvPr/>
            </p:nvSpPr>
            <p:spPr>
              <a:xfrm>
                <a:off x="7029099" y="2791211"/>
                <a:ext cx="1564163" cy="899059"/>
              </a:xfrm>
              <a:prstGeom prst="roundRect">
                <a:avLst/>
              </a:prstGeom>
              <a:solidFill>
                <a:srgbClr val="B6D4C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82" b="1" dirty="0">
                    <a:solidFill>
                      <a:schemeClr val="tx1"/>
                    </a:solidFill>
                  </a:rPr>
                  <a:t>Number of Home stay accommodations:</a:t>
                </a:r>
              </a:p>
              <a:p>
                <a:pPr algn="ctr"/>
                <a:endParaRPr lang="en-ZA" sz="784" b="1" dirty="0">
                  <a:solidFill>
                    <a:schemeClr val="tx1"/>
                  </a:solidFill>
                </a:endParaRPr>
              </a:p>
              <a:p>
                <a:pPr marL="168021" indent="-168021">
                  <a:buFont typeface="Arial" panose="020B0604020202020204" pitchFamily="34" charset="0"/>
                  <a:buChar char="•"/>
                </a:pPr>
                <a:r>
                  <a:rPr lang="en-ZA" sz="882" dirty="0">
                    <a:solidFill>
                      <a:schemeClr val="tx1"/>
                    </a:solidFill>
                  </a:rPr>
                  <a:t>8 in KZN</a:t>
                </a:r>
              </a:p>
              <a:p>
                <a:pPr marL="168021" indent="-168021">
                  <a:buFont typeface="Arial" panose="020B0604020202020204" pitchFamily="34" charset="0"/>
                  <a:buChar char="•"/>
                </a:pPr>
                <a:r>
                  <a:rPr lang="en-ZA" sz="882" dirty="0">
                    <a:solidFill>
                      <a:schemeClr val="tx1"/>
                    </a:solidFill>
                  </a:rPr>
                  <a:t>65 in EC </a:t>
                </a:r>
              </a:p>
              <a:p>
                <a:pPr marL="168021" indent="-168021">
                  <a:buFont typeface="Arial" panose="020B0604020202020204" pitchFamily="34" charset="0"/>
                  <a:buChar char="•"/>
                </a:pPr>
                <a:r>
                  <a:rPr lang="en-ZA" sz="882" dirty="0">
                    <a:solidFill>
                      <a:schemeClr val="tx1"/>
                    </a:solidFill>
                  </a:rPr>
                  <a:t>&lt;5 in WC</a:t>
                </a:r>
              </a:p>
            </p:txBody>
          </p:sp>
          <p:pic>
            <p:nvPicPr>
              <p:cNvPr id="223" name="Picture 222"/>
              <p:cNvPicPr/>
              <p:nvPr/>
            </p:nvPicPr>
            <p:blipFill>
              <a:blip r:embed="rId22" cstate="email">
                <a:extLst>
                  <a:ext uri="{28A0092B-C50C-407E-A947-70E740481C1C}">
                    <a14:useLocalDpi xmlns:a14="http://schemas.microsoft.com/office/drawing/2010/main"/>
                  </a:ext>
                </a:extLst>
              </a:blip>
              <a:srcRect r="-778" b="-328"/>
              <a:stretch>
                <a:fillRect/>
              </a:stretch>
            </p:blipFill>
            <p:spPr bwMode="auto">
              <a:xfrm>
                <a:off x="6848509" y="2646683"/>
                <a:ext cx="334273" cy="306332"/>
              </a:xfrm>
              <a:prstGeom prst="rect">
                <a:avLst/>
              </a:prstGeom>
              <a:noFill/>
              <a:ln>
                <a:noFill/>
              </a:ln>
            </p:spPr>
          </p:pic>
        </p:grpSp>
        <p:pic>
          <p:nvPicPr>
            <p:cNvPr id="24" name="Picture 2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18622721">
              <a:off x="5628367" y="4305021"/>
              <a:ext cx="383147" cy="383147"/>
            </a:xfrm>
            <a:prstGeom prst="rect">
              <a:avLst/>
            </a:prstGeom>
          </p:spPr>
        </p:pic>
        <p:grpSp>
          <p:nvGrpSpPr>
            <p:cNvPr id="168" name="Group 167"/>
            <p:cNvGrpSpPr/>
            <p:nvPr/>
          </p:nvGrpSpPr>
          <p:grpSpPr>
            <a:xfrm>
              <a:off x="553749" y="4331947"/>
              <a:ext cx="199145" cy="180552"/>
              <a:chOff x="2267744" y="2060848"/>
              <a:chExt cx="1039924" cy="911933"/>
            </a:xfrm>
          </p:grpSpPr>
          <p:pic>
            <p:nvPicPr>
              <p:cNvPr id="170" name="Picture 169"/>
              <p:cNvPicPr>
                <a:picLocks noChangeAspect="1"/>
              </p:cNvPicPr>
              <p:nvPr/>
            </p:nvPicPr>
            <p:blipFill rotWithShape="1">
              <a:blip r:embed="rId23" cstate="email">
                <a:extLst>
                  <a:ext uri="{28A0092B-C50C-407E-A947-70E740481C1C}">
                    <a14:useLocalDpi xmlns:a14="http://schemas.microsoft.com/office/drawing/2010/main"/>
                  </a:ext>
                </a:extLst>
              </a:blip>
              <a:srcRect/>
              <a:stretch/>
            </p:blipFill>
            <p:spPr>
              <a:xfrm>
                <a:off x="2267744" y="2060848"/>
                <a:ext cx="495672" cy="434666"/>
              </a:xfrm>
              <a:prstGeom prst="rect">
                <a:avLst/>
              </a:prstGeom>
            </p:spPr>
          </p:pic>
          <p:pic>
            <p:nvPicPr>
              <p:cNvPr id="183" name="Picture 182"/>
              <p:cNvPicPr>
                <a:picLocks noChangeAspect="1"/>
              </p:cNvPicPr>
              <p:nvPr/>
            </p:nvPicPr>
            <p:blipFill rotWithShape="1">
              <a:blip r:embed="rId24" cstate="email">
                <a:extLst>
                  <a:ext uri="{28A0092B-C50C-407E-A947-70E740481C1C}">
                    <a14:useLocalDpi xmlns:a14="http://schemas.microsoft.com/office/drawing/2010/main"/>
                  </a:ext>
                </a:extLst>
              </a:blip>
              <a:srcRect/>
              <a:stretch/>
            </p:blipFill>
            <p:spPr>
              <a:xfrm>
                <a:off x="2515580" y="2278181"/>
                <a:ext cx="792088" cy="694600"/>
              </a:xfrm>
              <a:prstGeom prst="rect">
                <a:avLst/>
              </a:prstGeom>
            </p:spPr>
          </p:pic>
        </p:grpSp>
        <p:pic>
          <p:nvPicPr>
            <p:cNvPr id="188" name="Picture 187"/>
            <p:cNvPicPr>
              <a:picLocks noChangeAspect="1"/>
            </p:cNvPicPr>
            <p:nvPr/>
          </p:nvPicPr>
          <p:blipFill>
            <a:blip r:embed="rId25" cstate="email">
              <a:biLevel thresh="50000"/>
              <a:extLst>
                <a:ext uri="{28A0092B-C50C-407E-A947-70E740481C1C}">
                  <a14:useLocalDpi xmlns:a14="http://schemas.microsoft.com/office/drawing/2010/main"/>
                </a:ext>
              </a:extLst>
            </a:blip>
            <a:stretch>
              <a:fillRect/>
            </a:stretch>
          </p:blipFill>
          <p:spPr>
            <a:xfrm>
              <a:off x="815846" y="3955082"/>
              <a:ext cx="154519" cy="154519"/>
            </a:xfrm>
            <a:prstGeom prst="rect">
              <a:avLst/>
            </a:prstGeom>
          </p:spPr>
        </p:pic>
        <p:pic>
          <p:nvPicPr>
            <p:cNvPr id="189" name="Picture 188"/>
            <p:cNvPicPr>
              <a:picLocks noChangeAspect="1"/>
            </p:cNvPicPr>
            <p:nvPr/>
          </p:nvPicPr>
          <p:blipFill rotWithShape="1">
            <a:blip r:embed="rId26" cstate="email">
              <a:extLst>
                <a:ext uri="{BEBA8EAE-BF5A-486C-A8C5-ECC9F3942E4B}">
                  <a14:imgProps xmlns:a14="http://schemas.microsoft.com/office/drawing/2010/main">
                    <a14:imgLayer r:embed="rId27">
                      <a14:imgEffect>
                        <a14:saturation sat="0"/>
                      </a14:imgEffect>
                    </a14:imgLayer>
                  </a14:imgProps>
                </a:ext>
                <a:ext uri="{28A0092B-C50C-407E-A947-70E740481C1C}">
                  <a14:useLocalDpi xmlns:a14="http://schemas.microsoft.com/office/drawing/2010/main"/>
                </a:ext>
              </a:extLst>
            </a:blip>
            <a:srcRect/>
            <a:stretch/>
          </p:blipFill>
          <p:spPr>
            <a:xfrm flipH="1">
              <a:off x="467544" y="4127188"/>
              <a:ext cx="206503" cy="103226"/>
            </a:xfrm>
            <a:prstGeom prst="rect">
              <a:avLst/>
            </a:prstGeom>
          </p:spPr>
        </p:pic>
        <p:pic>
          <p:nvPicPr>
            <p:cNvPr id="31" name="Picture 30"/>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914547" y="4112781"/>
              <a:ext cx="116687" cy="116687"/>
            </a:xfrm>
            <a:prstGeom prst="rect">
              <a:avLst/>
            </a:prstGeom>
          </p:spPr>
        </p:pic>
        <p:pic>
          <p:nvPicPr>
            <p:cNvPr id="190" name="Picture 189"/>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972338" y="4236299"/>
              <a:ext cx="191174" cy="191174"/>
            </a:xfrm>
            <a:prstGeom prst="rect">
              <a:avLst/>
            </a:prstGeom>
          </p:spPr>
        </p:pic>
        <p:grpSp>
          <p:nvGrpSpPr>
            <p:cNvPr id="184" name="Group 183"/>
            <p:cNvGrpSpPr/>
            <p:nvPr/>
          </p:nvGrpSpPr>
          <p:grpSpPr>
            <a:xfrm>
              <a:off x="357573" y="3685466"/>
              <a:ext cx="1172800" cy="2377664"/>
              <a:chOff x="350599" y="3724711"/>
              <a:chExt cx="1172800" cy="2377664"/>
            </a:xfrm>
          </p:grpSpPr>
          <p:pic>
            <p:nvPicPr>
              <p:cNvPr id="185" name="Picture 184"/>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350599" y="3724711"/>
                <a:ext cx="122960" cy="122960"/>
              </a:xfrm>
              <a:prstGeom prst="rect">
                <a:avLst/>
              </a:prstGeom>
            </p:spPr>
          </p:pic>
          <p:pic>
            <p:nvPicPr>
              <p:cNvPr id="186" name="Picture 185"/>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1075611" y="5908280"/>
                <a:ext cx="80606" cy="80606"/>
              </a:xfrm>
              <a:prstGeom prst="rect">
                <a:avLst/>
              </a:prstGeom>
            </p:spPr>
          </p:pic>
          <p:pic>
            <p:nvPicPr>
              <p:cNvPr id="187" name="Picture 186"/>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1046981" y="5833100"/>
                <a:ext cx="80234" cy="80234"/>
              </a:xfrm>
              <a:prstGeom prst="rect">
                <a:avLst/>
              </a:prstGeom>
            </p:spPr>
          </p:pic>
          <p:pic>
            <p:nvPicPr>
              <p:cNvPr id="213" name="Picture 212"/>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1412793" y="5991769"/>
                <a:ext cx="110606" cy="110606"/>
              </a:xfrm>
              <a:prstGeom prst="rect">
                <a:avLst/>
              </a:prstGeom>
            </p:spPr>
          </p:pic>
          <p:pic>
            <p:nvPicPr>
              <p:cNvPr id="210" name="Picture 209"/>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1229706" y="5853843"/>
                <a:ext cx="110606" cy="110606"/>
              </a:xfrm>
              <a:prstGeom prst="rect">
                <a:avLst/>
              </a:prstGeom>
            </p:spPr>
          </p:pic>
        </p:grpSp>
        <p:pic>
          <p:nvPicPr>
            <p:cNvPr id="214" name="Picture 213"/>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2094032" y="6009898"/>
              <a:ext cx="150985" cy="150985"/>
            </a:xfrm>
            <a:prstGeom prst="rect">
              <a:avLst/>
            </a:prstGeom>
          </p:spPr>
        </p:pic>
        <p:pic>
          <p:nvPicPr>
            <p:cNvPr id="216" name="Picture 215"/>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857451" y="5832081"/>
              <a:ext cx="150985" cy="150985"/>
            </a:xfrm>
            <a:prstGeom prst="rect">
              <a:avLst/>
            </a:prstGeom>
          </p:spPr>
        </p:pic>
        <p:pic>
          <p:nvPicPr>
            <p:cNvPr id="217" name="Picture 216"/>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2179810" y="6023661"/>
              <a:ext cx="110606" cy="110606"/>
            </a:xfrm>
            <a:prstGeom prst="rect">
              <a:avLst/>
            </a:prstGeom>
          </p:spPr>
        </p:pic>
        <p:pic>
          <p:nvPicPr>
            <p:cNvPr id="363" name="Picture 362"/>
            <p:cNvPicPr>
              <a:picLocks noChangeAspect="1"/>
            </p:cNvPicPr>
            <p:nvPr/>
          </p:nvPicPr>
          <p:blipFill>
            <a:blip r:embed="rId21" cstate="email">
              <a:extLst>
                <a:ext uri="{BEBA8EAE-BF5A-486C-A8C5-ECC9F3942E4B}">
                  <a14:imgProps xmlns:a14="http://schemas.microsoft.com/office/drawing/2010/main">
                    <a14:imgLayer r:embed="rId10">
                      <a14:imgEffect>
                        <a14:sharpenSoften amount="50000"/>
                      </a14:imgEffect>
                      <a14:imgEffect>
                        <a14:colorTemperature colorTemp="6100"/>
                      </a14:imgEffect>
                      <a14:imgEffect>
                        <a14:saturation sat="66000"/>
                      </a14:imgEffect>
                      <a14:imgEffect>
                        <a14:brightnessContrast contrast="40000"/>
                      </a14:imgEffect>
                    </a14:imgLayer>
                  </a14:imgProps>
                </a:ext>
                <a:ext uri="{28A0092B-C50C-407E-A947-70E740481C1C}">
                  <a14:useLocalDpi xmlns:a14="http://schemas.microsoft.com/office/drawing/2010/main"/>
                </a:ext>
              </a:extLst>
            </a:blip>
            <a:stretch>
              <a:fillRect/>
            </a:stretch>
          </p:blipFill>
          <p:spPr>
            <a:xfrm rot="359881">
              <a:off x="1448897" y="6363993"/>
              <a:ext cx="91094" cy="86832"/>
            </a:xfrm>
            <a:prstGeom prst="rect">
              <a:avLst/>
            </a:prstGeom>
          </p:spPr>
        </p:pic>
        <p:pic>
          <p:nvPicPr>
            <p:cNvPr id="367" name="Picture 366"/>
            <p:cNvPicPr/>
            <p:nvPr/>
          </p:nvPicPr>
          <p:blipFill>
            <a:blip r:embed="rId11" cstate="email">
              <a:extLst>
                <a:ext uri="{28A0092B-C50C-407E-A947-70E740481C1C}">
                  <a14:useLocalDpi xmlns:a14="http://schemas.microsoft.com/office/drawing/2010/main"/>
                </a:ext>
              </a:extLst>
            </a:blip>
            <a:srcRect r="-345"/>
            <a:stretch>
              <a:fillRect/>
            </a:stretch>
          </p:blipFill>
          <p:spPr bwMode="auto">
            <a:xfrm rot="21163278" flipH="1">
              <a:off x="1972285" y="6222245"/>
              <a:ext cx="93069" cy="100346"/>
            </a:xfrm>
            <a:prstGeom prst="rect">
              <a:avLst/>
            </a:prstGeom>
            <a:noFill/>
          </p:spPr>
        </p:pic>
        <p:pic>
          <p:nvPicPr>
            <p:cNvPr id="372" name="Picture 371"/>
            <p:cNvPicPr>
              <a:picLocks noChangeAspect="1"/>
            </p:cNvPicPr>
            <p:nvPr/>
          </p:nvPicPr>
          <p:blipFill>
            <a:blip r:embed="rId12"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1014808" y="5635113"/>
              <a:ext cx="167166" cy="167166"/>
            </a:xfrm>
            <a:prstGeom prst="rect">
              <a:avLst/>
            </a:prstGeom>
          </p:spPr>
        </p:pic>
        <p:pic>
          <p:nvPicPr>
            <p:cNvPr id="373" name="Picture 372"/>
            <p:cNvPicPr>
              <a:picLocks noChangeAspect="1"/>
            </p:cNvPicPr>
            <p:nvPr/>
          </p:nvPicPr>
          <p:blipFill>
            <a:blip r:embed="rId12"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803990" y="3955660"/>
              <a:ext cx="167485" cy="167485"/>
            </a:xfrm>
            <a:prstGeom prst="rect">
              <a:avLst/>
            </a:prstGeom>
          </p:spPr>
        </p:pic>
        <p:pic>
          <p:nvPicPr>
            <p:cNvPr id="13" name="Picture 12"/>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3198140" y="5661572"/>
              <a:ext cx="171191" cy="171191"/>
            </a:xfrm>
            <a:prstGeom prst="rect">
              <a:avLst/>
            </a:prstGeom>
          </p:spPr>
        </p:pic>
        <p:pic>
          <p:nvPicPr>
            <p:cNvPr id="230" name="Picture 229"/>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3078537" y="5580534"/>
              <a:ext cx="191174" cy="191174"/>
            </a:xfrm>
            <a:prstGeom prst="rect">
              <a:avLst/>
            </a:prstGeom>
          </p:spPr>
        </p:pic>
        <p:pic>
          <p:nvPicPr>
            <p:cNvPr id="231" name="Picture 230"/>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4475109" y="5222513"/>
              <a:ext cx="191174" cy="191174"/>
            </a:xfrm>
            <a:prstGeom prst="rect">
              <a:avLst/>
            </a:prstGeom>
          </p:spPr>
        </p:pic>
        <p:pic>
          <p:nvPicPr>
            <p:cNvPr id="233" name="Picture 232"/>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4801881" y="4938150"/>
              <a:ext cx="191174" cy="191174"/>
            </a:xfrm>
            <a:prstGeom prst="rect">
              <a:avLst/>
            </a:prstGeom>
          </p:spPr>
        </p:pic>
        <p:pic>
          <p:nvPicPr>
            <p:cNvPr id="14" name="Picture 13"/>
            <p:cNvPicPr>
              <a:picLocks noChangeAspect="1"/>
            </p:cNvPicPr>
            <p:nvPr/>
          </p:nvPicPr>
          <p:blipFill>
            <a:blip r:embed="rId35" cstate="email">
              <a:extLst>
                <a:ext uri="{28A0092B-C50C-407E-A947-70E740481C1C}">
                  <a14:useLocalDpi xmlns:a14="http://schemas.microsoft.com/office/drawing/2010/main"/>
                </a:ext>
              </a:extLst>
            </a:blip>
            <a:stretch>
              <a:fillRect/>
            </a:stretch>
          </p:blipFill>
          <p:spPr>
            <a:xfrm flipH="1">
              <a:off x="4921595" y="4757424"/>
              <a:ext cx="318357" cy="318357"/>
            </a:xfrm>
            <a:prstGeom prst="rect">
              <a:avLst/>
            </a:prstGeom>
          </p:spPr>
        </p:pic>
        <p:pic>
          <p:nvPicPr>
            <p:cNvPr id="235" name="Picture 234"/>
            <p:cNvPicPr>
              <a:picLocks noChangeAspect="1"/>
            </p:cNvPicPr>
            <p:nvPr/>
          </p:nvPicPr>
          <p:blipFill>
            <a:blip r:embed="rId12"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84610" y="3144267"/>
              <a:ext cx="141852" cy="141852"/>
            </a:xfrm>
            <a:prstGeom prst="rect">
              <a:avLst/>
            </a:prstGeom>
          </p:spPr>
        </p:pic>
        <p:pic>
          <p:nvPicPr>
            <p:cNvPr id="236" name="Picture 235"/>
            <p:cNvPicPr>
              <a:picLocks noChangeAspect="1"/>
            </p:cNvPicPr>
            <p:nvPr/>
          </p:nvPicPr>
          <p:blipFill rotWithShape="1">
            <a:blip r:embed="rId26" cstate="email">
              <a:extLst>
                <a:ext uri="{BEBA8EAE-BF5A-486C-A8C5-ECC9F3942E4B}">
                  <a14:imgProps xmlns:a14="http://schemas.microsoft.com/office/drawing/2010/main">
                    <a14:imgLayer r:embed="rId27">
                      <a14:imgEffect>
                        <a14:saturation sat="0"/>
                      </a14:imgEffect>
                    </a14:imgLayer>
                  </a14:imgProps>
                </a:ext>
                <a:ext uri="{28A0092B-C50C-407E-A947-70E740481C1C}">
                  <a14:useLocalDpi xmlns:a14="http://schemas.microsoft.com/office/drawing/2010/main"/>
                </a:ext>
              </a:extLst>
            </a:blip>
            <a:srcRect/>
            <a:stretch/>
          </p:blipFill>
          <p:spPr>
            <a:xfrm flipH="1">
              <a:off x="5795238" y="4112555"/>
              <a:ext cx="206503" cy="103226"/>
            </a:xfrm>
            <a:prstGeom prst="rect">
              <a:avLst/>
            </a:prstGeom>
          </p:spPr>
        </p:pic>
        <p:pic>
          <p:nvPicPr>
            <p:cNvPr id="32" name="Picture 31"/>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452723" y="3713197"/>
              <a:ext cx="235851" cy="248981"/>
            </a:xfrm>
            <a:prstGeom prst="rect">
              <a:avLst/>
            </a:prstGeom>
          </p:spPr>
        </p:pic>
        <p:pic>
          <p:nvPicPr>
            <p:cNvPr id="34" name="Picture 33"/>
            <p:cNvPicPr>
              <a:picLocks noChangeAspect="1"/>
            </p:cNvPicPr>
            <p:nvPr/>
          </p:nvPicPr>
          <p:blipFill>
            <a:blip r:embed="rId36" cstate="email">
              <a:extLst>
                <a:ext uri="{28A0092B-C50C-407E-A947-70E740481C1C}">
                  <a14:useLocalDpi xmlns:a14="http://schemas.microsoft.com/office/drawing/2010/main"/>
                </a:ext>
              </a:extLst>
            </a:blip>
            <a:stretch>
              <a:fillRect/>
            </a:stretch>
          </p:blipFill>
          <p:spPr>
            <a:xfrm>
              <a:off x="6130359" y="3544891"/>
              <a:ext cx="476526" cy="476526"/>
            </a:xfrm>
            <a:prstGeom prst="rect">
              <a:avLst/>
            </a:prstGeom>
          </p:spPr>
        </p:pic>
        <p:pic>
          <p:nvPicPr>
            <p:cNvPr id="43" name="Picture 42"/>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860878" y="3638962"/>
              <a:ext cx="417236" cy="178616"/>
            </a:xfrm>
            <a:prstGeom prst="rect">
              <a:avLst/>
            </a:prstGeom>
          </p:spPr>
        </p:pic>
        <p:pic>
          <p:nvPicPr>
            <p:cNvPr id="44" name="Picture 43"/>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61409" y="3807795"/>
              <a:ext cx="221066" cy="221066"/>
            </a:xfrm>
            <a:prstGeom prst="rect">
              <a:avLst/>
            </a:prstGeom>
          </p:spPr>
        </p:pic>
        <p:pic>
          <p:nvPicPr>
            <p:cNvPr id="45" name="Picture 44"/>
            <p:cNvPicPr>
              <a:picLocks noChangeAspect="1"/>
            </p:cNvPicPr>
            <p:nvPr/>
          </p:nvPicPr>
          <p:blipFill>
            <a:blip r:embed="rId18"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177674" y="4354286"/>
              <a:ext cx="214259" cy="214259"/>
            </a:xfrm>
            <a:prstGeom prst="rect">
              <a:avLst/>
            </a:prstGeom>
          </p:spPr>
        </p:pic>
        <p:pic>
          <p:nvPicPr>
            <p:cNvPr id="46" name="Picture 45"/>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205389" y="4618845"/>
              <a:ext cx="213806" cy="213806"/>
            </a:xfrm>
            <a:prstGeom prst="rect">
              <a:avLst/>
            </a:prstGeom>
          </p:spPr>
        </p:pic>
        <p:pic>
          <p:nvPicPr>
            <p:cNvPr id="254" name="Picture 253"/>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338842" y="5525702"/>
              <a:ext cx="221066" cy="221066"/>
            </a:xfrm>
            <a:prstGeom prst="rect">
              <a:avLst/>
            </a:prstGeom>
          </p:spPr>
        </p:pic>
        <p:pic>
          <p:nvPicPr>
            <p:cNvPr id="257" name="Picture 256"/>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5207554" y="4844732"/>
              <a:ext cx="221066" cy="221066"/>
            </a:xfrm>
            <a:prstGeom prst="rect">
              <a:avLst/>
            </a:prstGeom>
          </p:spPr>
        </p:pic>
        <p:pic>
          <p:nvPicPr>
            <p:cNvPr id="258" name="Picture 25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656634" y="5760200"/>
              <a:ext cx="221066" cy="221066"/>
            </a:xfrm>
            <a:prstGeom prst="rect">
              <a:avLst/>
            </a:prstGeom>
          </p:spPr>
        </p:pic>
        <p:pic>
          <p:nvPicPr>
            <p:cNvPr id="259" name="Picture 25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18622721">
              <a:off x="6382832" y="2949988"/>
              <a:ext cx="285804" cy="285804"/>
            </a:xfrm>
            <a:prstGeom prst="rect">
              <a:avLst/>
            </a:prstGeom>
          </p:spPr>
        </p:pic>
        <p:grpSp>
          <p:nvGrpSpPr>
            <p:cNvPr id="28" name="Group 27"/>
            <p:cNvGrpSpPr/>
            <p:nvPr/>
          </p:nvGrpSpPr>
          <p:grpSpPr>
            <a:xfrm>
              <a:off x="5220072" y="4509120"/>
              <a:ext cx="187774" cy="178092"/>
              <a:chOff x="4783071" y="5602164"/>
              <a:chExt cx="417466" cy="405938"/>
            </a:xfrm>
          </p:grpSpPr>
          <p:sp>
            <p:nvSpPr>
              <p:cNvPr id="21" name="Oval 20"/>
              <p:cNvSpPr/>
              <p:nvPr/>
            </p:nvSpPr>
            <p:spPr>
              <a:xfrm>
                <a:off x="4783071" y="5602164"/>
                <a:ext cx="417466" cy="405938"/>
              </a:xfrm>
              <a:prstGeom prst="ellipse">
                <a:avLst/>
              </a:prstGeom>
              <a:solidFill>
                <a:srgbClr val="00FFCC"/>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568" dirty="0" err="1">
                  <a:solidFill>
                    <a:schemeClr val="tx1"/>
                  </a:solidFill>
                </a:endParaRPr>
              </a:p>
            </p:txBody>
          </p:sp>
          <p:pic>
            <p:nvPicPr>
              <p:cNvPr id="267" name="Picture 266"/>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792237" y="5616452"/>
                <a:ext cx="366612" cy="366612"/>
              </a:xfrm>
              <a:prstGeom prst="rect">
                <a:avLst/>
              </a:prstGeom>
            </p:spPr>
          </p:pic>
        </p:grpSp>
        <p:sp>
          <p:nvSpPr>
            <p:cNvPr id="268" name="5-Point Star 267"/>
            <p:cNvSpPr/>
            <p:nvPr/>
          </p:nvSpPr>
          <p:spPr>
            <a:xfrm>
              <a:off x="5170969" y="4671327"/>
              <a:ext cx="139697" cy="139689"/>
            </a:xfrm>
            <a:prstGeom prst="star5">
              <a:avLst/>
            </a:prstGeom>
            <a:solidFill>
              <a:srgbClr val="FF0000"/>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568" dirty="0">
                <a:solidFill>
                  <a:srgbClr val="000000"/>
                </a:solidFill>
              </a:endParaRPr>
            </a:p>
          </p:txBody>
        </p:sp>
        <p:grpSp>
          <p:nvGrpSpPr>
            <p:cNvPr id="269" name="Group 268"/>
            <p:cNvGrpSpPr/>
            <p:nvPr/>
          </p:nvGrpSpPr>
          <p:grpSpPr>
            <a:xfrm>
              <a:off x="5504881" y="4186921"/>
              <a:ext cx="187774" cy="178092"/>
              <a:chOff x="4783071" y="5602164"/>
              <a:chExt cx="417466" cy="405938"/>
            </a:xfrm>
          </p:grpSpPr>
          <p:sp>
            <p:nvSpPr>
              <p:cNvPr id="270" name="Oval 269"/>
              <p:cNvSpPr/>
              <p:nvPr/>
            </p:nvSpPr>
            <p:spPr>
              <a:xfrm>
                <a:off x="4783071" y="5602164"/>
                <a:ext cx="417466" cy="405938"/>
              </a:xfrm>
              <a:prstGeom prst="ellipse">
                <a:avLst/>
              </a:prstGeom>
              <a:solidFill>
                <a:srgbClr val="00FFCC"/>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568" dirty="0" err="1">
                  <a:solidFill>
                    <a:schemeClr val="tx1"/>
                  </a:solidFill>
                </a:endParaRPr>
              </a:p>
            </p:txBody>
          </p:sp>
          <p:pic>
            <p:nvPicPr>
              <p:cNvPr id="271" name="Picture 270"/>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792237" y="5616452"/>
                <a:ext cx="366612" cy="366612"/>
              </a:xfrm>
              <a:prstGeom prst="rect">
                <a:avLst/>
              </a:prstGeom>
            </p:spPr>
          </p:pic>
        </p:grpSp>
        <p:grpSp>
          <p:nvGrpSpPr>
            <p:cNvPr id="272" name="Group 271"/>
            <p:cNvGrpSpPr/>
            <p:nvPr/>
          </p:nvGrpSpPr>
          <p:grpSpPr>
            <a:xfrm>
              <a:off x="470896" y="3541064"/>
              <a:ext cx="187774" cy="178092"/>
              <a:chOff x="4783071" y="5602164"/>
              <a:chExt cx="417466" cy="405938"/>
            </a:xfrm>
          </p:grpSpPr>
          <p:sp>
            <p:nvSpPr>
              <p:cNvPr id="273" name="Oval 272"/>
              <p:cNvSpPr/>
              <p:nvPr/>
            </p:nvSpPr>
            <p:spPr>
              <a:xfrm>
                <a:off x="4783071" y="5602164"/>
                <a:ext cx="417466" cy="405938"/>
              </a:xfrm>
              <a:prstGeom prst="ellipse">
                <a:avLst/>
              </a:prstGeom>
              <a:solidFill>
                <a:srgbClr val="00FFCC"/>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568" dirty="0" err="1">
                  <a:solidFill>
                    <a:schemeClr val="tx1"/>
                  </a:solidFill>
                </a:endParaRPr>
              </a:p>
            </p:txBody>
          </p:sp>
          <p:pic>
            <p:nvPicPr>
              <p:cNvPr id="274" name="Picture 273"/>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792237" y="5616452"/>
                <a:ext cx="366612" cy="366612"/>
              </a:xfrm>
              <a:prstGeom prst="rect">
                <a:avLst/>
              </a:prstGeom>
            </p:spPr>
          </p:pic>
        </p:grpSp>
        <p:pic>
          <p:nvPicPr>
            <p:cNvPr id="35" name="Picture 34"/>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628257" y="3547458"/>
              <a:ext cx="147908" cy="104699"/>
            </a:xfrm>
            <a:prstGeom prst="rect">
              <a:avLst/>
            </a:prstGeom>
          </p:spPr>
        </p:pic>
      </p:grpSp>
      <p:sp>
        <p:nvSpPr>
          <p:cNvPr id="6" name="Rectangle 5"/>
          <p:cNvSpPr/>
          <p:nvPr/>
        </p:nvSpPr>
        <p:spPr>
          <a:xfrm>
            <a:off x="8665445" y="6465832"/>
            <a:ext cx="205806" cy="21171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568" dirty="0" err="1">
              <a:solidFill>
                <a:schemeClr val="tx1"/>
              </a:solidFill>
            </a:endParaRPr>
          </a:p>
        </p:txBody>
      </p:sp>
      <p:grpSp>
        <p:nvGrpSpPr>
          <p:cNvPr id="30" name="Group 29"/>
          <p:cNvGrpSpPr/>
          <p:nvPr/>
        </p:nvGrpSpPr>
        <p:grpSpPr>
          <a:xfrm>
            <a:off x="4687722" y="5234216"/>
            <a:ext cx="1698396" cy="1090476"/>
            <a:chOff x="4783220" y="5340645"/>
            <a:chExt cx="1732996" cy="1112691"/>
          </a:xfrm>
        </p:grpSpPr>
        <p:sp>
          <p:nvSpPr>
            <p:cNvPr id="283" name="Rounded Rectangle 282"/>
            <p:cNvSpPr/>
            <p:nvPr/>
          </p:nvSpPr>
          <p:spPr>
            <a:xfrm>
              <a:off x="4783220" y="5463641"/>
              <a:ext cx="1592336" cy="989695"/>
            </a:xfrm>
            <a:prstGeom prst="roundRect">
              <a:avLst/>
            </a:prstGeom>
            <a:solidFill>
              <a:srgbClr val="C1FF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82" b="1" dirty="0">
                  <a:solidFill>
                    <a:srgbClr val="000000"/>
                  </a:solidFill>
                </a:rPr>
                <a:t>Priority Small Harbours Development</a:t>
              </a:r>
              <a:r>
                <a:rPr lang="en-ZA" sz="882" b="1" dirty="0">
                  <a:solidFill>
                    <a:schemeClr val="tx1"/>
                  </a:solidFill>
                </a:rPr>
                <a:t>:</a:t>
              </a:r>
            </a:p>
            <a:p>
              <a:pPr algn="ctr"/>
              <a:endParaRPr lang="en-ZA" sz="784" b="1" dirty="0">
                <a:solidFill>
                  <a:schemeClr val="tx1"/>
                </a:solidFill>
              </a:endParaRPr>
            </a:p>
            <a:p>
              <a:pPr marL="168021" indent="-168021">
                <a:buFont typeface="Arial" panose="020B0604020202020204" pitchFamily="34" charset="0"/>
                <a:buChar char="•"/>
              </a:pPr>
              <a:r>
                <a:rPr lang="en-ZA" sz="882" dirty="0">
                  <a:solidFill>
                    <a:schemeClr val="tx1"/>
                  </a:solidFill>
                </a:rPr>
                <a:t>NC - Boegoebaai</a:t>
              </a:r>
            </a:p>
            <a:p>
              <a:pPr marL="168021" indent="-168021">
                <a:buFont typeface="Arial" panose="020B0604020202020204" pitchFamily="34" charset="0"/>
                <a:buChar char="•"/>
              </a:pPr>
              <a:r>
                <a:rPr lang="en-ZA" sz="882" dirty="0">
                  <a:solidFill>
                    <a:schemeClr val="tx1"/>
                  </a:solidFill>
                </a:rPr>
                <a:t>EC - Port St Johns</a:t>
              </a:r>
            </a:p>
            <a:p>
              <a:pPr marL="168021" indent="-168021">
                <a:buFont typeface="Arial" panose="020B0604020202020204" pitchFamily="34" charset="0"/>
                <a:buChar char="•"/>
              </a:pPr>
              <a:r>
                <a:rPr lang="en-ZA" sz="882" dirty="0">
                  <a:solidFill>
                    <a:schemeClr val="tx1"/>
                  </a:solidFill>
                </a:rPr>
                <a:t>KZN - Hibberdene </a:t>
              </a:r>
            </a:p>
          </p:txBody>
        </p:sp>
        <p:grpSp>
          <p:nvGrpSpPr>
            <p:cNvPr id="293" name="Group 292"/>
            <p:cNvGrpSpPr/>
            <p:nvPr/>
          </p:nvGrpSpPr>
          <p:grpSpPr>
            <a:xfrm>
              <a:off x="6217478" y="5340645"/>
              <a:ext cx="298738" cy="272710"/>
              <a:chOff x="4783071" y="5602164"/>
              <a:chExt cx="417466" cy="405938"/>
            </a:xfrm>
          </p:grpSpPr>
          <p:sp>
            <p:nvSpPr>
              <p:cNvPr id="299" name="Oval 298"/>
              <p:cNvSpPr/>
              <p:nvPr/>
            </p:nvSpPr>
            <p:spPr>
              <a:xfrm>
                <a:off x="4783071" y="5602164"/>
                <a:ext cx="417466" cy="405938"/>
              </a:xfrm>
              <a:prstGeom prst="ellipse">
                <a:avLst/>
              </a:prstGeom>
              <a:solidFill>
                <a:srgbClr val="00FFCC"/>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568" dirty="0" err="1">
                  <a:solidFill>
                    <a:schemeClr val="tx1"/>
                  </a:solidFill>
                </a:endParaRPr>
              </a:p>
            </p:txBody>
          </p:sp>
          <p:pic>
            <p:nvPicPr>
              <p:cNvPr id="300" name="Picture 299"/>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4792237" y="5616452"/>
                <a:ext cx="366612" cy="366612"/>
              </a:xfrm>
              <a:prstGeom prst="rect">
                <a:avLst/>
              </a:prstGeom>
            </p:spPr>
          </p:pic>
        </p:grpSp>
      </p:grpSp>
      <p:sp>
        <p:nvSpPr>
          <p:cNvPr id="279" name="Title 2"/>
          <p:cNvSpPr>
            <a:spLocks noGrp="1"/>
          </p:cNvSpPr>
          <p:nvPr>
            <p:ph type="title"/>
          </p:nvPr>
        </p:nvSpPr>
        <p:spPr bwMode="gray">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61950"/>
            <a:r>
              <a:rPr lang="en-MY" dirty="0"/>
              <a:t>The Indi-Atlantic route unifies the coastline while </a:t>
            </a:r>
            <a:r>
              <a:rPr lang="en-MY" dirty="0" smtClean="0"/>
              <a:t/>
            </a:r>
            <a:br>
              <a:rPr lang="en-MY" dirty="0" smtClean="0"/>
            </a:br>
            <a:r>
              <a:rPr lang="en-MY" dirty="0" smtClean="0"/>
              <a:t>celebrating </a:t>
            </a:r>
            <a:r>
              <a:rPr lang="en-MY" dirty="0"/>
              <a:t>the diverse </a:t>
            </a:r>
            <a:r>
              <a:rPr lang="en-MY" dirty="0" err="1" smtClean="0"/>
              <a:t>CMT</a:t>
            </a:r>
            <a:r>
              <a:rPr lang="en-MY" dirty="0" smtClean="0"/>
              <a:t> activities available (2/2)</a:t>
            </a:r>
            <a:endParaRPr lang="en-GB" dirty="0"/>
          </a:p>
        </p:txBody>
      </p:sp>
      <p:sp>
        <p:nvSpPr>
          <p:cNvPr id="280" name="1. On-page tracker"/>
          <p:cNvSpPr>
            <a:spLocks noChangeArrowheads="1"/>
          </p:cNvSpPr>
          <p:nvPr/>
        </p:nvSpPr>
        <p:spPr bwMode="auto">
          <a:xfrm>
            <a:off x="171451" y="26987"/>
            <a:ext cx="521649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61950"/>
            <a:r>
              <a:rPr lang="en-US" sz="1400" dirty="0">
                <a:solidFill>
                  <a:srgbClr val="808080"/>
                </a:solidFill>
                <a:latin typeface="+mn-lt"/>
              </a:rPr>
              <a:t>PROPOSED ROUTES INITIATIVE: INDI- ATLANTIC ROUTE</a:t>
            </a:r>
          </a:p>
        </p:txBody>
      </p:sp>
      <p:sp>
        <p:nvSpPr>
          <p:cNvPr id="282" name="Marvin tracker circle"/>
          <p:cNvSpPr/>
          <p:nvPr/>
        </p:nvSpPr>
        <p:spPr>
          <a:xfrm>
            <a:off x="171451" y="230188"/>
            <a:ext cx="274320" cy="274320"/>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US" sz="1400" dirty="0">
                <a:solidFill>
                  <a:schemeClr val="bg1"/>
                </a:solidFill>
              </a:rPr>
              <a:t>7</a:t>
            </a:r>
            <a:endParaRPr lang="en-US" sz="1400" dirty="0" smtClean="0">
              <a:solidFill>
                <a:schemeClr val="bg1"/>
              </a:solidFill>
            </a:endParaRPr>
          </a:p>
        </p:txBody>
      </p:sp>
    </p:spTree>
    <p:custDataLst>
      <p:tags r:id="rId2"/>
    </p:custDataLst>
    <p:extLst>
      <p:ext uri="{BB962C8B-B14F-4D97-AF65-F5344CB8AC3E}">
        <p14:creationId xmlns:p14="http://schemas.microsoft.com/office/powerpoint/2010/main" val="335642759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85" name="think-cell Slide" r:id="rId6" imgW="359" imgH="355" progId="TCLayout.ActiveDocument.1">
                  <p:embed/>
                </p:oleObj>
              </mc:Choice>
              <mc:Fallback>
                <p:oleObj name="think-cell Slide" r:id="rId6" imgW="359" imgH="355"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Source"/>
          <p:cNvSpPr>
            <a:spLocks noChangeArrowheads="1"/>
          </p:cNvSpPr>
          <p:nvPr/>
        </p:nvSpPr>
        <p:spPr bwMode="auto">
          <a:xfrm>
            <a:off x="1452565" y="6478593"/>
            <a:ext cx="5666917" cy="138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09600" indent="-609600" defTabSz="895350">
              <a:tabLst>
                <a:tab pos="612775" algn="l"/>
              </a:tabLst>
            </a:pPr>
            <a:r>
              <a:rPr lang="en-US" sz="900" dirty="0">
                <a:latin typeface="+mn-lt"/>
              </a:rPr>
              <a:t>SOURCE: Department of Tourism land claims study </a:t>
            </a:r>
          </a:p>
        </p:txBody>
      </p:sp>
      <p:sp>
        <p:nvSpPr>
          <p:cNvPr id="12" name="Rectangle 11"/>
          <p:cNvSpPr/>
          <p:nvPr/>
        </p:nvSpPr>
        <p:spPr>
          <a:xfrm>
            <a:off x="0" y="2463865"/>
            <a:ext cx="8961438" cy="3484923"/>
          </a:xfrm>
          <a:prstGeom prst="rect">
            <a:avLst/>
          </a:pr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endParaRPr lang="en-GB" sz="1200"/>
          </a:p>
        </p:txBody>
      </p:sp>
      <p:sp>
        <p:nvSpPr>
          <p:cNvPr id="13" name="Rounded Rectangle 12"/>
          <p:cNvSpPr/>
          <p:nvPr/>
        </p:nvSpPr>
        <p:spPr>
          <a:xfrm>
            <a:off x="180975" y="2095310"/>
            <a:ext cx="1721716" cy="1629232"/>
          </a:xfrm>
          <a:prstGeom prst="roundRect">
            <a:avLst>
              <a:gd name="adj" fmla="val 10000"/>
            </a:avLst>
          </a:prstGeom>
          <a:blipFill>
            <a:blip r:embed="rId8" cstate="email">
              <a:extLst>
                <a:ext uri="{28A0092B-C50C-407E-A947-70E740481C1C}">
                  <a14:useLocalDpi xmlns:a14="http://schemas.microsoft.com/office/drawing/2010/main"/>
                </a:ext>
              </a:extLst>
            </a:blip>
            <a:srcRect/>
            <a:stretch>
              <a:fillRect l="-6000" r="-6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sz="1200"/>
          </a:p>
        </p:txBody>
      </p:sp>
      <p:sp>
        <p:nvSpPr>
          <p:cNvPr id="17" name="Freeform 16"/>
          <p:cNvSpPr/>
          <p:nvPr/>
        </p:nvSpPr>
        <p:spPr>
          <a:xfrm>
            <a:off x="180976" y="3804426"/>
            <a:ext cx="1647824" cy="166199"/>
          </a:xfrm>
          <a:custGeom>
            <a:avLst/>
            <a:gdLst>
              <a:gd name="connsiteX0" fmla="*/ 137013 w 1775452"/>
              <a:gd name="connsiteY0" fmla="*/ 0 h 1304889"/>
              <a:gd name="connsiteX1" fmla="*/ 1638439 w 1775452"/>
              <a:gd name="connsiteY1" fmla="*/ 0 h 1304889"/>
              <a:gd name="connsiteX2" fmla="*/ 1775452 w 1775452"/>
              <a:gd name="connsiteY2" fmla="*/ 137013 h 1304889"/>
              <a:gd name="connsiteX3" fmla="*/ 1775452 w 1775452"/>
              <a:gd name="connsiteY3" fmla="*/ 1304889 h 1304889"/>
              <a:gd name="connsiteX4" fmla="*/ 1775452 w 1775452"/>
              <a:gd name="connsiteY4" fmla="*/ 1304889 h 1304889"/>
              <a:gd name="connsiteX5" fmla="*/ 0 w 1775452"/>
              <a:gd name="connsiteY5" fmla="*/ 1304889 h 1304889"/>
              <a:gd name="connsiteX6" fmla="*/ 0 w 1775452"/>
              <a:gd name="connsiteY6" fmla="*/ 1304889 h 1304889"/>
              <a:gd name="connsiteX7" fmla="*/ 0 w 1775452"/>
              <a:gd name="connsiteY7" fmla="*/ 137013 h 1304889"/>
              <a:gd name="connsiteX8" fmla="*/ 137013 w 1775452"/>
              <a:gd name="connsiteY8" fmla="*/ 0 h 130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5452" h="1304889">
                <a:moveTo>
                  <a:pt x="1638439" y="1304889"/>
                </a:moveTo>
                <a:lnTo>
                  <a:pt x="137013" y="1304889"/>
                </a:lnTo>
                <a:cubicBezTo>
                  <a:pt x="61343" y="1304889"/>
                  <a:pt x="0" y="1243546"/>
                  <a:pt x="0" y="1167876"/>
                </a:cubicBezTo>
                <a:lnTo>
                  <a:pt x="0" y="0"/>
                </a:lnTo>
                <a:lnTo>
                  <a:pt x="0" y="0"/>
                </a:lnTo>
                <a:lnTo>
                  <a:pt x="1775452" y="0"/>
                </a:lnTo>
                <a:lnTo>
                  <a:pt x="1775452" y="0"/>
                </a:lnTo>
                <a:lnTo>
                  <a:pt x="1775452" y="1167876"/>
                </a:lnTo>
                <a:cubicBezTo>
                  <a:pt x="1775452" y="1243546"/>
                  <a:pt x="1714109" y="1304889"/>
                  <a:pt x="1638439" y="1304889"/>
                </a:cubicBez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lvl="0" algn="ctr" defTabSz="800100">
              <a:lnSpc>
                <a:spcPct val="90000"/>
              </a:lnSpc>
              <a:spcBef>
                <a:spcPct val="0"/>
              </a:spcBef>
              <a:spcAft>
                <a:spcPct val="35000"/>
              </a:spcAft>
            </a:pPr>
            <a:r>
              <a:rPr lang="en-ZA" sz="1200" kern="1200" dirty="0" smtClean="0">
                <a:solidFill>
                  <a:schemeClr val="tx2"/>
                </a:solidFill>
              </a:rPr>
              <a:t>Baakens Valley Precinct</a:t>
            </a:r>
            <a:endParaRPr lang="en-ZA" sz="1200" kern="1200" dirty="0">
              <a:solidFill>
                <a:schemeClr val="tx2"/>
              </a:solidFill>
            </a:endParaRPr>
          </a:p>
        </p:txBody>
      </p:sp>
      <p:sp>
        <p:nvSpPr>
          <p:cNvPr id="18" name="Rounded Rectangle 17"/>
          <p:cNvSpPr/>
          <p:nvPr/>
        </p:nvSpPr>
        <p:spPr>
          <a:xfrm>
            <a:off x="2150761" y="2095310"/>
            <a:ext cx="2005603" cy="1653879"/>
          </a:xfrm>
          <a:prstGeom prst="roundRect">
            <a:avLst>
              <a:gd name="adj" fmla="val 10000"/>
            </a:avLst>
          </a:prstGeom>
          <a:blipFill>
            <a:blip r:embed="rId9" cstate="email">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sz="1200"/>
          </a:p>
        </p:txBody>
      </p:sp>
      <p:sp>
        <p:nvSpPr>
          <p:cNvPr id="19" name="Freeform 18"/>
          <p:cNvSpPr/>
          <p:nvPr/>
        </p:nvSpPr>
        <p:spPr>
          <a:xfrm>
            <a:off x="2150761" y="3848998"/>
            <a:ext cx="2005603" cy="166199"/>
          </a:xfrm>
          <a:custGeom>
            <a:avLst/>
            <a:gdLst>
              <a:gd name="connsiteX0" fmla="*/ 102705 w 1723047"/>
              <a:gd name="connsiteY0" fmla="*/ 0 h 978140"/>
              <a:gd name="connsiteX1" fmla="*/ 1620342 w 1723047"/>
              <a:gd name="connsiteY1" fmla="*/ 0 h 978140"/>
              <a:gd name="connsiteX2" fmla="*/ 1723047 w 1723047"/>
              <a:gd name="connsiteY2" fmla="*/ 102705 h 978140"/>
              <a:gd name="connsiteX3" fmla="*/ 1723047 w 1723047"/>
              <a:gd name="connsiteY3" fmla="*/ 978140 h 978140"/>
              <a:gd name="connsiteX4" fmla="*/ 1723047 w 1723047"/>
              <a:gd name="connsiteY4" fmla="*/ 978140 h 978140"/>
              <a:gd name="connsiteX5" fmla="*/ 0 w 1723047"/>
              <a:gd name="connsiteY5" fmla="*/ 978140 h 978140"/>
              <a:gd name="connsiteX6" fmla="*/ 0 w 1723047"/>
              <a:gd name="connsiteY6" fmla="*/ 978140 h 978140"/>
              <a:gd name="connsiteX7" fmla="*/ 0 w 1723047"/>
              <a:gd name="connsiteY7" fmla="*/ 102705 h 978140"/>
              <a:gd name="connsiteX8" fmla="*/ 102705 w 1723047"/>
              <a:gd name="connsiteY8" fmla="*/ 0 h 9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047" h="978140">
                <a:moveTo>
                  <a:pt x="1620342" y="978139"/>
                </a:moveTo>
                <a:lnTo>
                  <a:pt x="102705" y="978139"/>
                </a:lnTo>
                <a:cubicBezTo>
                  <a:pt x="45983" y="978139"/>
                  <a:pt x="0" y="932156"/>
                  <a:pt x="0" y="875434"/>
                </a:cubicBezTo>
                <a:lnTo>
                  <a:pt x="0" y="1"/>
                </a:lnTo>
                <a:lnTo>
                  <a:pt x="0" y="1"/>
                </a:lnTo>
                <a:lnTo>
                  <a:pt x="1723047" y="1"/>
                </a:lnTo>
                <a:lnTo>
                  <a:pt x="1723047" y="1"/>
                </a:lnTo>
                <a:lnTo>
                  <a:pt x="1723047" y="875434"/>
                </a:lnTo>
                <a:cubicBezTo>
                  <a:pt x="1723047" y="932156"/>
                  <a:pt x="1677064" y="978139"/>
                  <a:pt x="1620342" y="978139"/>
                </a:cubicBez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lvl="0" algn="ctr" defTabSz="800100">
              <a:lnSpc>
                <a:spcPct val="90000"/>
              </a:lnSpc>
              <a:spcBef>
                <a:spcPct val="0"/>
              </a:spcBef>
              <a:spcAft>
                <a:spcPct val="35000"/>
              </a:spcAft>
            </a:pPr>
            <a:r>
              <a:rPr lang="en-ZA" sz="1200" kern="1200" dirty="0" smtClean="0">
                <a:solidFill>
                  <a:schemeClr val="tx2"/>
                </a:solidFill>
              </a:rPr>
              <a:t>Durban Point</a:t>
            </a:r>
            <a:endParaRPr lang="en-ZA" sz="1200" kern="1200" dirty="0">
              <a:solidFill>
                <a:schemeClr val="tx2"/>
              </a:solidFill>
            </a:endParaRPr>
          </a:p>
        </p:txBody>
      </p:sp>
      <p:sp>
        <p:nvSpPr>
          <p:cNvPr id="24" name="Rounded Rectangle 23"/>
          <p:cNvSpPr/>
          <p:nvPr/>
        </p:nvSpPr>
        <p:spPr>
          <a:xfrm>
            <a:off x="4404434" y="2095310"/>
            <a:ext cx="2088730" cy="1709116"/>
          </a:xfrm>
          <a:prstGeom prst="roundRect">
            <a:avLst>
              <a:gd name="adj" fmla="val 10000"/>
            </a:avLst>
          </a:prstGeom>
          <a:blipFill>
            <a:blip r:embed="rId10" cstate="email">
              <a:extLst>
                <a:ext uri="{28A0092B-C50C-407E-A947-70E740481C1C}">
                  <a14:useLocalDpi xmlns:a14="http://schemas.microsoft.com/office/drawing/2010/main"/>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sz="1200"/>
          </a:p>
        </p:txBody>
      </p:sp>
      <p:sp>
        <p:nvSpPr>
          <p:cNvPr id="25" name="Freeform 24"/>
          <p:cNvSpPr/>
          <p:nvPr/>
        </p:nvSpPr>
        <p:spPr>
          <a:xfrm>
            <a:off x="4404435" y="3888189"/>
            <a:ext cx="2088730" cy="166199"/>
          </a:xfrm>
          <a:custGeom>
            <a:avLst/>
            <a:gdLst>
              <a:gd name="connsiteX0" fmla="*/ 120648 w 1957111"/>
              <a:gd name="connsiteY0" fmla="*/ 0 h 1149029"/>
              <a:gd name="connsiteX1" fmla="*/ 1836463 w 1957111"/>
              <a:gd name="connsiteY1" fmla="*/ 0 h 1149029"/>
              <a:gd name="connsiteX2" fmla="*/ 1957111 w 1957111"/>
              <a:gd name="connsiteY2" fmla="*/ 120648 h 1149029"/>
              <a:gd name="connsiteX3" fmla="*/ 1957111 w 1957111"/>
              <a:gd name="connsiteY3" fmla="*/ 1149029 h 1149029"/>
              <a:gd name="connsiteX4" fmla="*/ 1957111 w 1957111"/>
              <a:gd name="connsiteY4" fmla="*/ 1149029 h 1149029"/>
              <a:gd name="connsiteX5" fmla="*/ 0 w 1957111"/>
              <a:gd name="connsiteY5" fmla="*/ 1149029 h 1149029"/>
              <a:gd name="connsiteX6" fmla="*/ 0 w 1957111"/>
              <a:gd name="connsiteY6" fmla="*/ 1149029 h 1149029"/>
              <a:gd name="connsiteX7" fmla="*/ 0 w 1957111"/>
              <a:gd name="connsiteY7" fmla="*/ 120648 h 1149029"/>
              <a:gd name="connsiteX8" fmla="*/ 120648 w 1957111"/>
              <a:gd name="connsiteY8" fmla="*/ 0 h 114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7111" h="1149029">
                <a:moveTo>
                  <a:pt x="1836463" y="1149029"/>
                </a:moveTo>
                <a:lnTo>
                  <a:pt x="120648" y="1149029"/>
                </a:lnTo>
                <a:cubicBezTo>
                  <a:pt x="54016" y="1149029"/>
                  <a:pt x="0" y="1095013"/>
                  <a:pt x="0" y="1028381"/>
                </a:cubicBezTo>
                <a:lnTo>
                  <a:pt x="0" y="0"/>
                </a:lnTo>
                <a:lnTo>
                  <a:pt x="0" y="0"/>
                </a:lnTo>
                <a:lnTo>
                  <a:pt x="1957111" y="0"/>
                </a:lnTo>
                <a:lnTo>
                  <a:pt x="1957111" y="0"/>
                </a:lnTo>
                <a:lnTo>
                  <a:pt x="1957111" y="1028381"/>
                </a:lnTo>
                <a:cubicBezTo>
                  <a:pt x="1957111" y="1095013"/>
                  <a:pt x="1903095" y="1149029"/>
                  <a:pt x="1836463" y="1149029"/>
                </a:cubicBez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lvl="0" algn="ctr" defTabSz="800100">
              <a:lnSpc>
                <a:spcPct val="90000"/>
              </a:lnSpc>
              <a:spcBef>
                <a:spcPct val="0"/>
              </a:spcBef>
              <a:spcAft>
                <a:spcPct val="35000"/>
              </a:spcAft>
            </a:pPr>
            <a:r>
              <a:rPr lang="en-ZA" sz="1200" kern="1200" dirty="0" smtClean="0">
                <a:solidFill>
                  <a:schemeClr val="tx2"/>
                </a:solidFill>
              </a:rPr>
              <a:t>Cape Town Cruise Terminal </a:t>
            </a:r>
            <a:endParaRPr lang="en-ZA" sz="1200" kern="1200" dirty="0">
              <a:solidFill>
                <a:schemeClr val="tx2"/>
              </a:solidFill>
            </a:endParaRPr>
          </a:p>
        </p:txBody>
      </p:sp>
      <p:sp>
        <p:nvSpPr>
          <p:cNvPr id="3" name="AutoShape 5" descr="data:image/png;base64,iVBORw0KGgoAAAANSUhEUgAAANgAAACyCAMAAAAXkfHjAAABa1BMVEX///94gYjT1NXx8/OKxTzk5udMVFwAqsWbn6XtGCEAAB3V19kIIzPu7/D6nBj39/jq6+wIHy8AGiqyuLvM0NOIjpSGwzO6v8Kjqa1CS1TsAAAACiGUmZ4wQEwuOURKVmEAABna3d9xeH4AFCYVJzUAAACtsrYeLjv6mQD5tFtTXGQAABP99OTtGSL88fKCiY7sAA9lbXTxhonH6u8utsyCwina8vTk8dRKvdGazFpocXrg7cclMj3u9N74kiHveX35qTv86tLA35rO5bD0sbGm0m/77NGXy1X5r0n2+vDxXS75oSb347r6kQD52af1eiLxVR72hSD3wHTvPB15r5vykIzypp36zJRjtLMArL6kpmvnqUUAqcyJrHryayfvbXLt0JHsNTXx5LuPymxtwYb6z4W22Ii/wlb1eQW4tjDvQA/HryX3xZ/4s35Zw8hSt40eraf2ycxbuWn6uWx8wUzzi1PzpavwkZK82oxoc9C0AAATLElEQVR4nO1ciX/bRnYGCAOBCcC4BhrAOEQAY8AGndJYx3ZEUZu1ZcXRxkmatN3tkR5pu96e2Z5J/vy+NwB4Sl7aK5ukyk8/kyDO+ead82ZgQdjjuuHprzfdgneDp7+4+6tNt+Fd4P7du7fufmJuuhlXjod/+vmtW7e++rM/2nRDrhgPP/72r+8Cs7/52aZbcrV4/NEHH/zFXyKzP/5k0225Sjz+APDtn/8VMPv69jWys4cfIbGPH79EM/vlzZ9dFztreH30WBC+AZH9/E8+vCZ29njKSzj/AkT29c2b18LOuH2BHvIfX3L/cfM62FlnX82v+58Bs68+vLn7djazrwYosq+B2M0dt7PHS7wakf0SmD3YaTtbsK8GX95qRbbLdrZoXw2eYiz73wc3b+6wnS3bVwOIZXe/+eH2zd21sxX7avASjOyu8Bxltpt2doF9NUBiL4Xnu2pnF9lXA9TF3wjC89s7aWcX2xcH6OLde8KU2ftu2R+GBfs6OQacT4/dB7f4i09hYwftbGZf50+eHT3iODptuZ3fAyv7Erd+2DU7m9nXk1cvDg5ucBwcHJ02h38DxJpK3A+7ZWcz+zo+alk11G4848chX7zblhh/5JH6x92Q2cy+nt044HxewF+z+QpPeAn+/t59fq7ZMttog9fE1L7Of+Jcjp6dgHGdH7/iUnt2zrOqjpiwO/FsZl+nXA1/OumOnHJmx1gSBrf4tNu9I/FsZl8nnMfp3LFTroznnNjnU2Ids+2W2VxcfgUCe3TM956eHb1AHXyGu54I99Hfz4i18exvN9Pi9TCXHx6jeH7CnSdnj8DlHxwcC+dH3H8sE+vsbHu1cS4/PAeBHRzxkHzWufwnAncnDbGX8xc+3+7xmfQxF9hD3D456gzs2SMQ0yPw9iCr40cXExM+QWa3n2+g0WthTmKoiS+ewAZXv7NzkCB8IrFHq6ooPL/JrWxbJdbF5tbXN9EYXeGLc66aRyfPZqq4YmPbzAtni1pmQOGAJ1CnfOPkjMsNze3Fqlf8jmf528xrlk+hm+Am1hDjxnX6BDKrR6fC08/mA3TLa2s9R4eG2fdnHbFjzKrOT8B5vDrh/vF8OfN4sBO8ulj2u04Vz4/Q2s5PTo8bXrDz6a3lXPHBlucdDbhv/B2ngz9P0d2fnR4/e3HA7aypDfx3O+ps7WsXeHFm3/7H/9wAL8h/ckIH7QgGIwCOx75pTt0R++rw8CNO7KDJgM+nqcfBC071m+kIus0Sd4UX9yD/2MQvxAnWBwA3fuK/72NyzxOPxr623M8v4uFHKLJHTSkAKzpnr86eNam+cP/zrkqFenh7h+SFePj9f6ECTkeZ5+fT+hua2D349Z/fPdgtPWzw+Hv0hjxdXMK9xnfsTPxaxmO0soOzk+X957du3fri09a+dqQ+tYjH/3BwEbO//4LPtny3c1XgGZ5gVbEdbc7A5yR2LH4to2W2ILNPwdnf/dWuxa9lnLxY0cZf4+KcBzsXv5bBZXbjbG6q5V67amDX4tcyGm2cMXvJV1PtPi+s6sxrY7cyZ7f1sMHJvAf5u0ZgD37cfV4LMruPa8S++vDBjs3PXobGzjDVxwHLre9u72z8Wkanjbjc6NZXu1EHWA9NPPsteo6fb3ON/s3BtfFfkde/7LyfXwQw+2dcHvZP10peiJPfouP4+trxwlIHpPXX7g0QxKefffHv15EXMPu368lrjz322GOPPfbYY4899thjj83AqnKx3TQlK01Ty+AFRinL6/fYDNnzKH5rNvOv5o5Rnw1TvtXzDks71yeHYxl+0UF5h17NI9YBuTPIsEMr206sK7mj33dCficaO3molywP7xB8UmgPyZU8YS2Qvi0isWyQB8aV3FHyggK/5UTPD11ZTqlXIiHTD9QrecB66IhZVXXF3TnO7fHV3vGN0BG7euhsIr+TG6+Hd0ZMzvVKehc3XhPvjljIXm+01C86iRLfXRCuATFiuVHL5whSmspLPSdr6fSRFxCTaeEXdP4upFi+62tgTfqH+K2X9kIAMYJwgt80DH3BLCaDMAxFaJlZJP0w7I+7VshREoaDXGd2jM61GDqFIKklnJ5n05ZKRZD3+32HsX7nGnpjFg7CnOm5Z84Ro8M84pcVcR8xCJnbNjRiA/jdP1wzCFmTnBMTHWbTuT4zgpwTc8OwMEUnZ6Ve5iPTHOW4yQZtq7U4B1ITlpd2jN3vDxzXzEIHzwlHHfmx48Ce0mZlG0JMH/bY5US3mTNaIDZwOLGir+vloRIk9jDiV6RVbpdBFTuOHq1HLHE4sTTQWTnSZsQOnRi/qeMUo9AeUxJNWEKjZjNhJe84Eji2ohJCipI1xELmewOW8dPj5nZm7diTiMJJVSsxU2WMjQtC6Mh2FiUW6khMi/XSI5AH9dwRl5gEvCqaplo0sfPiTYgJJLEZS6a9MSPGDp2ywIeOnFJhOt+MdIZnporuiI3Wlza3UT+fBGzCRR912dEotw95cmN6dkOMlozx+yChJWI2EisY81r1Mfk3dGjdPMgtWTLr/zWICekYmA2CVh9nxOBGjf6QPqRc7WaigwaZnuNk7X1APhYnVjK7x/fQia02LPSqaVNHzKimvX4JMZ+xBYWzApb02m2POd4bEQPFV2xms5G8RKxrRBqWdpuNgHgzCbIV5qTtxZ2NATF/eg42zhT1bk9HjOSse+YlxECksT/nAOlEz6TpNqvW8I1zxMDK1YldOpWxQEyv2qPpLNb1YnwQBR3rLp2qIhtLU2LYs2C8gbxILHOmZnIJMaPKGav8TkgC2OQ0wZODToXWJwZXHeYl99MzYnkXBtJwGmvAuDMDPGk+fVxpt6qoT9uc6EiMlKzrmY4YeIZpTLyYmCDHua3rSd3ezNNnoxmzYuWbE4N7gFsuLiQmLxOrbGcaVKYSmyPGJebqemeHHTG98aCvIwbX1QkEx36CTsYcgbOZtrBibI1YtkLMqJkOz1iHWMzyGbHW3c8T40bu27OR7IgTM5xZlgOjo0uICSYZKTpr4pw3R+xtJSYUpQ6edR1iwYwYzbs4Zi+poq9PPSf4toaYPZWYuBLHpsQAaaHk3Hep+szGrLeysaZB1XrEDu3uGBg0W1VFTsx19K7GkNklV8V8OpJwy/J1xEA8mW1XeN68V9Tf2CtygMTWVEVIwwL+E/Kdkq06D66KZMKCNjz3y4ZYwBy/bSMrL1TFGTcZDBITD72kHVWdrZNUtcRSMs1qa67P6xAjThliwkOrsA5ar7iiijLY+gh6Wx45idIQ8xyWQJ+bbuJkrLnnIjErop18fN2u+X1Z1eQbfqkHXfBcg1jBxEKDm0l0zHggW4cYZBAs8YooyZO0srkLXyUGqVVZZkVU2QM/arxiWjJd8X2RhWJq21zHFnNF6IxMdTVZ7vmTxo7NQ0dX3FTWRhM2XCu/b7P74g60UanqoLQdhi2E7L7E424eTon1nW4koiXO2GjzS+aEARHGeYht9vvTfiBJzolJdQ75jO3kEYiqz7sdwjgDX57XlmA3xRsyzNvsPufE+pD7J0Gc2HbOs3/YFdosjhPHdtarxRiVgk4rBUqOncOYJBB50crIFG7zVAncjligdIad1oqHHa3VYCVxBE0rlAAZuYHS9adWKW0TxISxeEy4u2+0qFBKNlHwglo5xH5M23uTQPHhO/WqIAHuZVJ3TzdVBW7D77MeDKNR59T1PS9Siy5zlgzukk1rNjq2rOkY2LAah23SwtXa86RLTydFgTYMLi5v/bzsFpR3oNReYDR1WrP9FkyNuoXrkjkXadGicHtvVUB4x4tMJcUu3+0T3ifkWSml0J1NlviuGH6pNkpquKE+WWeI+D5grpSfZoeM31uK5lcXgzwWVd+PKt1J1hrUXw0MSolA4J/sypLbWzyoiZcWGw21bv16Cv6DXpTjGGKd4sCc9UNwt2EYrltguhKYUZ6B8tdCJEquMkcMaw1pEF96YdHNWchVTLzJRW2OeU5nymoVxPFh5r7fBfAEhktpUMmQf9Vz/e5lFuYBl05WmVk33WMEtSAF8erkj9xfr1D2jqDFh4JVJb4s+NwCLCzPSvSOZ+DAsElfZUsz8At2pZy81UuTLr2imApUE9KeCAQlWZA0UyhgGNpLN/aeglxNBFMcgJHx+qbvqbUEmQWLehB3uInRTBVBIFZUUUPl+UVRq9508BwNNSGNAyBUwIlKClY1SsXKFLJAojXdGDEpC03BG6aCj9LxGaWQZAIlaFAvxJzID6lcYXqVJYR4NvBR4WMctym2VTuCJA4KvNaVAhwtVxX1R4Ici7J/NbOTbwdvkMp1v9AwKdMmNfgyU6C8XBExgmNjH/4BHUOpqFQppqDd8QTT6QZ+vUmVjjI40e0XghuiHGM+rnCdkbjJmSnBH7jUZyPusaO+R9BYIu7ywKXAEE+RpLq0sNxUGb0S9DUrCVzUuRW375kY0ayaCUadg6CtIc/qPTZT142gcGpNSwJu/COcaLeggaBeptH3LCHNVUjZMwi1xbAQfCBsBJWQiiVpJGaO2gkUYotCAYckoeAjKLk6TDc750btSLDipuAS3XFNF3zZpNZ8MC7PN+lQLUiSjUwYkoNUgJgcV4SMJ1HDRy4njR3RgUqLOFMNoeYjLArOPrpzRWsb3grpCPu96VrLq0SKw62xb8CI35MFuRZlrRrBRuaDoFSQqFdTKcsaLZO8LGsan47HVg9PtJodbiYLhldd8tD3htkgqlm+wvNAPjTCcZTRntIOlaT20MJeviUt3AuwUe+xxx577LHHDGlv97BOam2qmbhryNaqmZrS7uH6vGS/xx577HGN8abOepPlhfUhF2Ktrr8CHQa0WkHk5VW3WwZTUw8dOw6YHY+psYbgetSNTNdS1Yz6ZJ2lAhuAJNMozie1SuWUqlkQ2pXak19HzhRUWhRFahVaj1I/KqTtqzNIvSKL82RENSBVxZlPCXzbtuK5l9b2DSpnwKq7g0ncwrO2S2rEqyZhEGlS6o8DVqlUjEtl5KYWzVg/rqOLLc7PVG1hvt1Ko2iT1bwlkHFiT8aFLGleMAlG7RyFXNTJpPJlU/MOSydZLYUTSvl0GhEPE8YSJeJrJjxKNzkZsIAMZGMZxAsUXpOcwaBRFVdqasrFaPVFHbkmpmDSOhyUQVUpk6GDYxWz2J7JeRm7WCbkosGhmRKC65yECzwk0JBGrK+AN5StlPhBP1FxDeM7b/C60FwEBc26ALTdv6xgso81WbFvcw1slhz5bMhXC/tbEtK8MmkQN5/x7HNu15IgsKJs1X2F665VNe+bpNUQl1UZ5naYmWTIaSobhqXJqWFIGoFPI6UWfMq+JsEB6i4PiQtqCGYUJtylyHWei03FPcDFpibZFtdII1yfZYkUZxbHYopTIAFOaagZ6hYZLa8XlccFJFKlzac95DoMgmZlnEBYIAsGUbekMuB6PkGF8rGnFVQ6K8twPcGYjkAStBCXPYIKHTHuN2SqME61JGzWS0dDcCB0vCVhuiV2qM6IiSISy6gHxFx3iZhRFJYghfyVD6Pq42sxaTDgM/9aEqMubnSedAbaEAu8VWIXSowQmgrusDZQtGHFxaMFfD2mlA0MQVbf80qYy9BKLBanxAwR94AqYh5ClyVmubDbG0S4GDTs1iZojC+KVnFG1fe3Y6lZR6yeEjM9TqVZK7qiir0xGFKGK3DrfPZCFSmdEa448wXJ35K8io6QmBEoU2IC9yMtsRVV1CjFt5cLQbwz/0YELe9Egosv05DNrrKYopGYcRgjm4q/xEX5G0stsWWJEQpuIwt9NKxq6gB7VQ5hoejjQpliO5KPllhd4jKfZil0ykPXpcSg4d7Aw+XSA6UVThr3cQmbOqTgNd3tINaqYsZfk2xU0eRrDi5TRdXHRSU1GJKm9JsVeXI1wA0p61sCSel2BLJWYqIyI2ZE3N0THD6vOA8BEywj5PaVKn3UxrTq13x1/iTGNHhL4ljrFUfVlJgxEnFREsQx66LMw8Lz6ybzSOOwsqxqwN9CFDzMPIi6Hb6jC9DeeJUYZh4rNibIHkRgwnT+KgEJ+oQMmzyfshhyRTW7mv8X4w9GK7FIvJjYqiqadET5u0t8MOYNCRnwN5aMpI+OVXuPK6ZfC3eEBVJLjeaIZZj6jV1MqdzVJNinVILxWIjDNE6MD8R6Ab6939vcys5lyDXqDqS22N0ZL11EvMjh1zgA0cRqWbVMzjWtBwmYU4TEPEikkgEOywpvSzJF0zA1zZRgvCnLMKBMCXxKsoYTrgaV8QAh5nJc0grMF+Uszys/AxsLa7/KGb4m1IuKLXEdURIoSsCBX0rzQwnmPuFrWRnlAuVi0mAYshCIsXCIZStBi7Yk6wCvFqm/F1G0LAVTox6vEZNMCdI0qEboFo3C3xJ5mT2irYUeWU7YXZW6vLSPawobI7QIvfCNjA0gDRx9PQzdlWsLn/ozt2LKJPLp1pQVLXlNXDA3kVK1MCG9Si3ToqpP1YxsiX2Z3hr2NbUzb1UaRBZU1/QKtaBuRsh2uHmBjy3fAMEl5UKJGColsrYl0uJYVw8bXNZyk//9v8H/Aeetdj15NBTLAAAAAElFTkSuQmC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5" name="Picture 14" descr="http://www.outback-africa.de/blogbilder/isimangaliso-logo.gif"/>
          <p:cNvPicPr/>
          <p:nvPr/>
        </p:nvPicPr>
        <p:blipFill>
          <a:blip r:embed="rId11" cstate="email">
            <a:extLst>
              <a:ext uri="{28A0092B-C50C-407E-A947-70E740481C1C}">
                <a14:useLocalDpi xmlns:a14="http://schemas.microsoft.com/office/drawing/2010/main"/>
              </a:ext>
            </a:extLst>
          </a:blip>
          <a:srcRect/>
          <a:stretch>
            <a:fillRect/>
          </a:stretch>
        </p:blipFill>
        <p:spPr bwMode="auto">
          <a:xfrm>
            <a:off x="6735375" y="2095310"/>
            <a:ext cx="2070867" cy="1709116"/>
          </a:xfrm>
          <a:prstGeom prst="roundRect">
            <a:avLst/>
          </a:prstGeom>
          <a:blipFill>
            <a:blip r:embed="rId12" cstate="email">
              <a:extLst>
                <a:ext uri="{28A0092B-C50C-407E-A947-70E740481C1C}">
                  <a14:useLocalDpi xmlns:a14="http://schemas.microsoft.com/office/drawing/2010/main"/>
                </a:ext>
              </a:extLst>
            </a:blip>
            <a:srcRect/>
            <a:stretch>
              <a:fillRect/>
            </a:stretch>
          </a:blipFill>
        </p:spPr>
      </p:pic>
      <p:sp>
        <p:nvSpPr>
          <p:cNvPr id="16" name="TextBox 15"/>
          <p:cNvSpPr txBox="1"/>
          <p:nvPr/>
        </p:nvSpPr>
        <p:spPr>
          <a:xfrm>
            <a:off x="180975" y="1031044"/>
            <a:ext cx="8609255" cy="830997"/>
          </a:xfrm>
          <a:prstGeom prst="rect">
            <a:avLst/>
          </a:prstGeom>
          <a:solidFill>
            <a:schemeClr val="accent1">
              <a:lumMod val="60000"/>
              <a:lumOff val="40000"/>
            </a:schemeClr>
          </a:solidFill>
        </p:spPr>
        <p:txBody>
          <a:bodyPr wrap="square" rtlCol="0" anchor="ctr" anchorCtr="0">
            <a:spAutoFit/>
          </a:bodyPr>
          <a:lstStyle/>
          <a:p>
            <a:pPr marL="0" lvl="1"/>
            <a:r>
              <a:rPr lang="en-ZA" sz="1200" dirty="0" smtClean="0">
                <a:solidFill>
                  <a:schemeClr val="tx2"/>
                </a:solidFill>
              </a:rPr>
              <a:t>These are </a:t>
            </a:r>
            <a:r>
              <a:rPr lang="en-ZA" sz="1200" b="1" dirty="0" smtClean="0">
                <a:solidFill>
                  <a:schemeClr val="tx2"/>
                </a:solidFill>
              </a:rPr>
              <a:t>major infrastructural projects </a:t>
            </a:r>
            <a:r>
              <a:rPr lang="en-ZA" sz="1200" dirty="0" smtClean="0">
                <a:solidFill>
                  <a:schemeClr val="tx2"/>
                </a:solidFill>
              </a:rPr>
              <a:t>that have potential to significantly contribute to the </a:t>
            </a:r>
            <a:r>
              <a:rPr lang="en-ZA" sz="1200" b="1" dirty="0" smtClean="0">
                <a:solidFill>
                  <a:schemeClr val="tx2"/>
                </a:solidFill>
              </a:rPr>
              <a:t>economic growth </a:t>
            </a:r>
            <a:r>
              <a:rPr lang="en-ZA" sz="1200" dirty="0" smtClean="0">
                <a:solidFill>
                  <a:schemeClr val="tx2"/>
                </a:solidFill>
              </a:rPr>
              <a:t>and </a:t>
            </a:r>
            <a:r>
              <a:rPr lang="en-ZA" sz="1200" b="1" dirty="0" smtClean="0">
                <a:solidFill>
                  <a:schemeClr val="tx2"/>
                </a:solidFill>
              </a:rPr>
              <a:t>job creation </a:t>
            </a:r>
            <a:r>
              <a:rPr lang="en-ZA" sz="1200" dirty="0" smtClean="0">
                <a:solidFill>
                  <a:schemeClr val="tx2"/>
                </a:solidFill>
              </a:rPr>
              <a:t>aspirations of the sector. They have </a:t>
            </a:r>
            <a:r>
              <a:rPr lang="en-US" sz="1200" dirty="0" smtClean="0">
                <a:solidFill>
                  <a:schemeClr val="tx2"/>
                </a:solidFill>
              </a:rPr>
              <a:t>clear</a:t>
            </a:r>
            <a:r>
              <a:rPr lang="en-US" sz="1200" b="1" dirty="0" smtClean="0">
                <a:solidFill>
                  <a:schemeClr val="tx2"/>
                </a:solidFill>
              </a:rPr>
              <a:t> </a:t>
            </a:r>
            <a:r>
              <a:rPr lang="en-US" sz="1200" b="1" dirty="0">
                <a:solidFill>
                  <a:schemeClr val="tx2"/>
                </a:solidFill>
              </a:rPr>
              <a:t>business plans, funding secured </a:t>
            </a:r>
            <a:r>
              <a:rPr lang="en-US" sz="1200" dirty="0">
                <a:solidFill>
                  <a:schemeClr val="tx2"/>
                </a:solidFill>
              </a:rPr>
              <a:t>and </a:t>
            </a:r>
            <a:r>
              <a:rPr lang="en-US" sz="1200" b="1" dirty="0">
                <a:solidFill>
                  <a:schemeClr val="tx2"/>
                </a:solidFill>
              </a:rPr>
              <a:t>diverse stakeholder </a:t>
            </a:r>
            <a:r>
              <a:rPr lang="en-US" sz="1200" dirty="0">
                <a:solidFill>
                  <a:schemeClr val="tx2"/>
                </a:solidFill>
              </a:rPr>
              <a:t>participation/ </a:t>
            </a:r>
            <a:r>
              <a:rPr lang="en-US" sz="1200" dirty="0" smtClean="0">
                <a:solidFill>
                  <a:schemeClr val="tx2"/>
                </a:solidFill>
              </a:rPr>
              <a:t>agreement. As a lab, </a:t>
            </a:r>
            <a:r>
              <a:rPr lang="en-US" sz="1200" b="1" dirty="0" smtClean="0">
                <a:solidFill>
                  <a:schemeClr val="tx2"/>
                </a:solidFill>
              </a:rPr>
              <a:t>we recognize these projects </a:t>
            </a:r>
            <a:r>
              <a:rPr lang="en-US" sz="1200" dirty="0" smtClean="0">
                <a:solidFill>
                  <a:schemeClr val="tx2"/>
                </a:solidFill>
              </a:rPr>
              <a:t>that already have </a:t>
            </a:r>
            <a:r>
              <a:rPr lang="en-US" sz="1200" b="1" dirty="0" smtClean="0">
                <a:solidFill>
                  <a:schemeClr val="tx2"/>
                </a:solidFill>
              </a:rPr>
              <a:t>strong momentum </a:t>
            </a:r>
            <a:r>
              <a:rPr lang="en-US" sz="1200" dirty="0" smtClean="0">
                <a:solidFill>
                  <a:schemeClr val="tx2"/>
                </a:solidFill>
              </a:rPr>
              <a:t>with</a:t>
            </a:r>
            <a:r>
              <a:rPr lang="en-US" sz="1200" b="1" dirty="0" smtClean="0">
                <a:solidFill>
                  <a:schemeClr val="tx2"/>
                </a:solidFill>
              </a:rPr>
              <a:t> minimal</a:t>
            </a:r>
            <a:r>
              <a:rPr lang="en-US" sz="1200" dirty="0" smtClean="0">
                <a:solidFill>
                  <a:schemeClr val="tx2"/>
                </a:solidFill>
              </a:rPr>
              <a:t> </a:t>
            </a:r>
            <a:r>
              <a:rPr lang="en-US" sz="1200" b="1" dirty="0" smtClean="0">
                <a:solidFill>
                  <a:schemeClr val="tx2"/>
                </a:solidFill>
              </a:rPr>
              <a:t>challenges</a:t>
            </a:r>
            <a:r>
              <a:rPr lang="en-US" sz="1200" dirty="0" smtClean="0">
                <a:solidFill>
                  <a:schemeClr val="tx2"/>
                </a:solidFill>
              </a:rPr>
              <a:t> and have prioritized other infrastructure projects that had </a:t>
            </a:r>
            <a:r>
              <a:rPr lang="en-US" sz="1200" b="1" dirty="0" smtClean="0">
                <a:solidFill>
                  <a:schemeClr val="tx2"/>
                </a:solidFill>
              </a:rPr>
              <a:t>challenges</a:t>
            </a:r>
            <a:r>
              <a:rPr lang="en-US" sz="1200" dirty="0" smtClean="0">
                <a:solidFill>
                  <a:schemeClr val="tx2"/>
                </a:solidFill>
              </a:rPr>
              <a:t> that the lab platform would </a:t>
            </a:r>
            <a:r>
              <a:rPr lang="en-US" sz="1200" b="1" dirty="0" smtClean="0">
                <a:solidFill>
                  <a:schemeClr val="tx2"/>
                </a:solidFill>
              </a:rPr>
              <a:t>unlock</a:t>
            </a:r>
          </a:p>
        </p:txBody>
      </p:sp>
      <p:sp>
        <p:nvSpPr>
          <p:cNvPr id="26" name="Title 25"/>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ZA" dirty="0"/>
              <a:t>The lab recognizes </a:t>
            </a:r>
            <a:r>
              <a:rPr lang="en-ZA" dirty="0" smtClean="0"/>
              <a:t>major ongoing projects that </a:t>
            </a:r>
            <a:r>
              <a:rPr lang="en-ZA" dirty="0"/>
              <a:t>will contribute to the growth of the coastal and marine sector</a:t>
            </a:r>
            <a:endParaRPr lang="en-GB" dirty="0"/>
          </a:p>
        </p:txBody>
      </p:sp>
      <p:sp>
        <p:nvSpPr>
          <p:cNvPr id="27" name="Freeform 26"/>
          <p:cNvSpPr/>
          <p:nvPr/>
        </p:nvSpPr>
        <p:spPr>
          <a:xfrm>
            <a:off x="6735375" y="3888189"/>
            <a:ext cx="2054855" cy="332399"/>
          </a:xfrm>
          <a:custGeom>
            <a:avLst/>
            <a:gdLst>
              <a:gd name="connsiteX0" fmla="*/ 120648 w 1957111"/>
              <a:gd name="connsiteY0" fmla="*/ 0 h 1149029"/>
              <a:gd name="connsiteX1" fmla="*/ 1836463 w 1957111"/>
              <a:gd name="connsiteY1" fmla="*/ 0 h 1149029"/>
              <a:gd name="connsiteX2" fmla="*/ 1957111 w 1957111"/>
              <a:gd name="connsiteY2" fmla="*/ 120648 h 1149029"/>
              <a:gd name="connsiteX3" fmla="*/ 1957111 w 1957111"/>
              <a:gd name="connsiteY3" fmla="*/ 1149029 h 1149029"/>
              <a:gd name="connsiteX4" fmla="*/ 1957111 w 1957111"/>
              <a:gd name="connsiteY4" fmla="*/ 1149029 h 1149029"/>
              <a:gd name="connsiteX5" fmla="*/ 0 w 1957111"/>
              <a:gd name="connsiteY5" fmla="*/ 1149029 h 1149029"/>
              <a:gd name="connsiteX6" fmla="*/ 0 w 1957111"/>
              <a:gd name="connsiteY6" fmla="*/ 1149029 h 1149029"/>
              <a:gd name="connsiteX7" fmla="*/ 0 w 1957111"/>
              <a:gd name="connsiteY7" fmla="*/ 120648 h 1149029"/>
              <a:gd name="connsiteX8" fmla="*/ 120648 w 1957111"/>
              <a:gd name="connsiteY8" fmla="*/ 0 h 114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7111" h="1149029">
                <a:moveTo>
                  <a:pt x="1836463" y="1149029"/>
                </a:moveTo>
                <a:lnTo>
                  <a:pt x="120648" y="1149029"/>
                </a:lnTo>
                <a:cubicBezTo>
                  <a:pt x="54016" y="1149029"/>
                  <a:pt x="0" y="1095013"/>
                  <a:pt x="0" y="1028381"/>
                </a:cubicBezTo>
                <a:lnTo>
                  <a:pt x="0" y="0"/>
                </a:lnTo>
                <a:lnTo>
                  <a:pt x="0" y="0"/>
                </a:lnTo>
                <a:lnTo>
                  <a:pt x="1957111" y="0"/>
                </a:lnTo>
                <a:lnTo>
                  <a:pt x="1957111" y="0"/>
                </a:lnTo>
                <a:lnTo>
                  <a:pt x="1957111" y="1028381"/>
                </a:lnTo>
                <a:cubicBezTo>
                  <a:pt x="1957111" y="1095013"/>
                  <a:pt x="1903095" y="1149029"/>
                  <a:pt x="1836463" y="1149029"/>
                </a:cubicBezTo>
                <a:close/>
              </a:path>
            </a:pathLst>
          </a:cu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t" anchorCtr="0">
            <a:spAutoFit/>
          </a:bodyPr>
          <a:lstStyle/>
          <a:p>
            <a:pPr lvl="0" algn="ctr" defTabSz="800100">
              <a:lnSpc>
                <a:spcPct val="90000"/>
              </a:lnSpc>
              <a:spcAft>
                <a:spcPct val="35000"/>
              </a:spcAft>
            </a:pPr>
            <a:r>
              <a:rPr lang="en-ZA" sz="1200" dirty="0" err="1">
                <a:solidFill>
                  <a:schemeClr val="tx2"/>
                </a:solidFill>
              </a:rPr>
              <a:t>iSimangaliso</a:t>
            </a:r>
            <a:r>
              <a:rPr lang="en-ZA" sz="1200" dirty="0">
                <a:solidFill>
                  <a:schemeClr val="tx2"/>
                </a:solidFill>
              </a:rPr>
              <a:t> accommodation mix development</a:t>
            </a:r>
            <a:endParaRPr lang="en-ZA" sz="1200" kern="1200" dirty="0">
              <a:solidFill>
                <a:schemeClr val="tx2"/>
              </a:solidFill>
            </a:endParaRPr>
          </a:p>
        </p:txBody>
      </p:sp>
      <p:sp>
        <p:nvSpPr>
          <p:cNvPr id="28" name="TextBox 27"/>
          <p:cNvSpPr txBox="1"/>
          <p:nvPr/>
        </p:nvSpPr>
        <p:spPr>
          <a:xfrm>
            <a:off x="2178255" y="4285002"/>
            <a:ext cx="1970594" cy="1477328"/>
          </a:xfrm>
          <a:prstGeom prst="rect">
            <a:avLst/>
          </a:prstGeom>
          <a:noFill/>
        </p:spPr>
        <p:txBody>
          <a:bodyPr wrap="square" lIns="0" tIns="0" rIns="0" bIns="0" rtlCol="0">
            <a:spAutoFit/>
          </a:bodyPr>
          <a:lstStyle/>
          <a:p>
            <a:r>
              <a:rPr lang="en-ZA" sz="1200" dirty="0" smtClean="0"/>
              <a:t>The project involves the  development of luxury accommodation, tourist facilities and a cruise terminal.  </a:t>
            </a:r>
          </a:p>
          <a:p>
            <a:endParaRPr lang="en-ZA" sz="1200" dirty="0" smtClean="0"/>
          </a:p>
          <a:p>
            <a:pPr marL="285750" indent="-285750">
              <a:buFont typeface="Arial" panose="020B0604020202020204" pitchFamily="34" charset="0"/>
              <a:buChar char="•"/>
            </a:pPr>
            <a:endParaRPr lang="en-ZA" sz="1200" dirty="0" smtClean="0"/>
          </a:p>
          <a:p>
            <a:pPr marL="285750" indent="-285750">
              <a:buFont typeface="Arial" panose="020B0604020202020204" pitchFamily="34" charset="0"/>
              <a:buChar char="•"/>
            </a:pPr>
            <a:endParaRPr lang="en-ZA" sz="1200" dirty="0"/>
          </a:p>
        </p:txBody>
      </p:sp>
      <p:sp>
        <p:nvSpPr>
          <p:cNvPr id="29" name="TextBox 28"/>
          <p:cNvSpPr txBox="1"/>
          <p:nvPr/>
        </p:nvSpPr>
        <p:spPr>
          <a:xfrm>
            <a:off x="171451" y="4285002"/>
            <a:ext cx="1731239" cy="1477328"/>
          </a:xfrm>
          <a:prstGeom prst="rect">
            <a:avLst/>
          </a:prstGeom>
          <a:noFill/>
        </p:spPr>
        <p:txBody>
          <a:bodyPr wrap="square" lIns="0" tIns="0" rIns="0" bIns="0" rtlCol="0">
            <a:spAutoFit/>
          </a:bodyPr>
          <a:lstStyle/>
          <a:p>
            <a:r>
              <a:rPr lang="en-ZA" sz="1200" dirty="0" smtClean="0"/>
              <a:t>The development will include </a:t>
            </a:r>
            <a:r>
              <a:rPr lang="en-ZA" sz="1200" dirty="0"/>
              <a:t>the </a:t>
            </a:r>
            <a:r>
              <a:rPr lang="en-ZA" sz="1200" dirty="0" smtClean="0"/>
              <a:t>rehabilitation of the Baakens </a:t>
            </a:r>
            <a:r>
              <a:rPr lang="en-ZA" sz="1200" dirty="0"/>
              <a:t>River </a:t>
            </a:r>
            <a:r>
              <a:rPr lang="en-ZA" sz="1200" dirty="0" smtClean="0"/>
              <a:t>which will be linked </a:t>
            </a:r>
            <a:r>
              <a:rPr lang="en-ZA" sz="1200" dirty="0"/>
              <a:t>to the </a:t>
            </a:r>
            <a:r>
              <a:rPr lang="en-ZA" sz="1200" dirty="0" smtClean="0"/>
              <a:t>waterfront development. There will be water sport activities and </a:t>
            </a:r>
            <a:r>
              <a:rPr lang="en-ZA" sz="1200" dirty="0"/>
              <a:t>leisure </a:t>
            </a:r>
            <a:r>
              <a:rPr lang="en-ZA" sz="1200" dirty="0" smtClean="0"/>
              <a:t>facilities provided.</a:t>
            </a:r>
            <a:endParaRPr lang="en-ZA" sz="1200" dirty="0"/>
          </a:p>
        </p:txBody>
      </p:sp>
      <p:sp>
        <p:nvSpPr>
          <p:cNvPr id="31" name="TextBox 30"/>
          <p:cNvSpPr txBox="1"/>
          <p:nvPr/>
        </p:nvSpPr>
        <p:spPr>
          <a:xfrm>
            <a:off x="4404436" y="4285002"/>
            <a:ext cx="2088730" cy="1292662"/>
          </a:xfrm>
          <a:prstGeom prst="rect">
            <a:avLst/>
          </a:prstGeom>
          <a:noFill/>
        </p:spPr>
        <p:txBody>
          <a:bodyPr wrap="square" lIns="0" tIns="0" rIns="0" bIns="0" rtlCol="0">
            <a:spAutoFit/>
          </a:bodyPr>
          <a:lstStyle/>
          <a:p>
            <a:r>
              <a:rPr lang="en-ZA" sz="1200" dirty="0"/>
              <a:t>The port will accommodate the current and future passenger vessel fleet. It is also envisaged that the upgraded facility will house value-added retail and hospitality services</a:t>
            </a:r>
          </a:p>
          <a:p>
            <a:pPr marL="285750" indent="-285750">
              <a:buFont typeface="Arial" panose="020B0604020202020204" pitchFamily="34" charset="0"/>
              <a:buChar char="•"/>
            </a:pPr>
            <a:endParaRPr lang="en-ZA" sz="1200" dirty="0"/>
          </a:p>
        </p:txBody>
      </p:sp>
      <p:sp>
        <p:nvSpPr>
          <p:cNvPr id="32" name="TextBox 31"/>
          <p:cNvSpPr txBox="1"/>
          <p:nvPr/>
        </p:nvSpPr>
        <p:spPr>
          <a:xfrm>
            <a:off x="6911509" y="4285002"/>
            <a:ext cx="1878479" cy="1477328"/>
          </a:xfrm>
          <a:prstGeom prst="rect">
            <a:avLst/>
          </a:prstGeom>
          <a:noFill/>
        </p:spPr>
        <p:txBody>
          <a:bodyPr wrap="square" lIns="0" tIns="0" rIns="0" bIns="0" rtlCol="0">
            <a:spAutoFit/>
          </a:bodyPr>
          <a:lstStyle/>
          <a:p>
            <a:r>
              <a:rPr lang="en-US" sz="1200" dirty="0">
                <a:solidFill>
                  <a:srgbClr val="000000"/>
                </a:solidFill>
              </a:rPr>
              <a:t>43 accommodation facilities across the wetland with cabins, tented camps, lodges and </a:t>
            </a:r>
            <a:r>
              <a:rPr lang="en-US" sz="1200" dirty="0" smtClean="0">
                <a:solidFill>
                  <a:srgbClr val="000000"/>
                </a:solidFill>
              </a:rPr>
              <a:t>self-catering units</a:t>
            </a:r>
          </a:p>
          <a:p>
            <a:r>
              <a:rPr lang="en-US" sz="1200" dirty="0" smtClean="0">
                <a:solidFill>
                  <a:srgbClr val="000000"/>
                </a:solidFill>
              </a:rPr>
              <a:t>R2.3 billion investment</a:t>
            </a:r>
          </a:p>
          <a:p>
            <a:r>
              <a:rPr lang="en-US" sz="1200" dirty="0" smtClean="0">
                <a:solidFill>
                  <a:srgbClr val="000000"/>
                </a:solidFill>
              </a:rPr>
              <a:t>Potential to create 4200 jobs</a:t>
            </a:r>
            <a:endParaRPr lang="en-ZA" sz="1200" dirty="0"/>
          </a:p>
        </p:txBody>
      </p:sp>
    </p:spTree>
    <p:custDataLst>
      <p:tags r:id="rId2"/>
    </p:custDataLst>
    <p:extLst>
      <p:ext uri="{BB962C8B-B14F-4D97-AF65-F5344CB8AC3E}">
        <p14:creationId xmlns:p14="http://schemas.microsoft.com/office/powerpoint/2010/main" val="287057763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31" name="think-cell Slide" r:id="rId32" imgW="493" imgH="493" progId="TCLayout.ActiveDocument.1">
                  <p:embed/>
                </p:oleObj>
              </mc:Choice>
              <mc:Fallback>
                <p:oleObj name="think-cell Slide" r:id="rId32" imgW="493" imgH="493"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350" dirty="0" err="1" smtClean="0">
              <a:solidFill>
                <a:schemeClr val="tx1"/>
              </a:solidFill>
              <a:latin typeface="Arial" panose="020B0604020202020204" pitchFamily="34" charset="0"/>
              <a:sym typeface="Arial" panose="020B0604020202020204" pitchFamily="34" charset="0"/>
            </a:endParaRPr>
          </a:p>
        </p:txBody>
      </p:sp>
      <p:sp>
        <p:nvSpPr>
          <p:cNvPr id="94" name="Rectangle 16"/>
          <p:cNvSpPr>
            <a:spLocks noChangeArrowheads="1"/>
          </p:cNvSpPr>
          <p:nvPr/>
        </p:nvSpPr>
        <p:spPr bwMode="auto">
          <a:xfrm>
            <a:off x="171451" y="977458"/>
            <a:ext cx="8618537" cy="5256288"/>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a:extLst/>
        </p:spPr>
        <p:txBody>
          <a:bodyPr wrap="none" lIns="93212" tIns="46604" rIns="93212" bIns="46604"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500" b="0" i="0" u="none" strike="noStrike" kern="1200" cap="none" spc="0" normalizeH="0" baseline="0" noProof="0">
              <a:ln>
                <a:noFill/>
              </a:ln>
              <a:solidFill>
                <a:srgbClr val="000000"/>
              </a:solidFill>
              <a:effectLst/>
              <a:uLnTx/>
              <a:uFillTx/>
              <a:latin typeface="Arial" charset="0"/>
              <a:ea typeface="+mn-ea"/>
              <a:cs typeface="+mn-cs"/>
            </a:endParaRPr>
          </a:p>
        </p:txBody>
      </p:sp>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With the 9 detailed initiatives, the Lab intends to reach its aspirations through 2030</a:t>
            </a:r>
            <a:endParaRPr lang="en-US" dirty="0"/>
          </a:p>
        </p:txBody>
      </p:sp>
      <p:cxnSp>
        <p:nvCxnSpPr>
          <p:cNvPr id="22" name="Straight Connector 21"/>
          <p:cNvCxnSpPr/>
          <p:nvPr>
            <p:custDataLst>
              <p:tags r:id="rId4"/>
            </p:custDataLst>
          </p:nvPr>
        </p:nvCxnSpPr>
        <p:spPr bwMode="gray">
          <a:xfrm>
            <a:off x="5378450" y="2520950"/>
            <a:ext cx="0" cy="13017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5"/>
            </p:custDataLst>
          </p:nvPr>
        </p:nvCxnSpPr>
        <p:spPr bwMode="gray">
          <a:xfrm>
            <a:off x="6438900" y="2057400"/>
            <a:ext cx="0" cy="128588"/>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 name="Object 3"/>
          <p:cNvGraphicFramePr>
            <a:graphicFrameLocks/>
          </p:cNvGraphicFramePr>
          <p:nvPr>
            <p:custDataLst>
              <p:tags r:id="rId6"/>
            </p:custDataLst>
            <p:extLst/>
          </p:nvPr>
        </p:nvGraphicFramePr>
        <p:xfrm>
          <a:off x="4419600" y="1524000"/>
          <a:ext cx="2118227" cy="1638534"/>
        </p:xfrm>
        <a:graphic>
          <a:graphicData uri="http://schemas.openxmlformats.org/presentationml/2006/ole">
            <mc:AlternateContent xmlns:mc="http://schemas.openxmlformats.org/markup-compatibility/2006">
              <mc:Choice xmlns:v="urn:schemas-microsoft-com:vml" Requires="v">
                <p:oleObj spid="_x0000_s132132" name="Chart" r:id="rId34" imgW="2114447" imgH="1638227" progId="MSGraph.Chart.8">
                  <p:embed followColorScheme="full"/>
                </p:oleObj>
              </mc:Choice>
              <mc:Fallback>
                <p:oleObj name="Chart" r:id="rId34" imgW="2114447" imgH="1638227" progId="MSGraph.Chart.8">
                  <p:embed followColorScheme="full"/>
                  <p:pic>
                    <p:nvPicPr>
                      <p:cNvPr id="0" name=""/>
                      <p:cNvPicPr/>
                      <p:nvPr/>
                    </p:nvPicPr>
                    <p:blipFill>
                      <a:blip r:embed="rId35"/>
                      <a:stretch>
                        <a:fillRect/>
                      </a:stretch>
                    </p:blipFill>
                    <p:spPr>
                      <a:xfrm>
                        <a:off x="4419600" y="1524000"/>
                        <a:ext cx="2118227" cy="1638534"/>
                      </a:xfrm>
                      <a:prstGeom prst="rect">
                        <a:avLst/>
                      </a:prstGeom>
                    </p:spPr>
                  </p:pic>
                </p:oleObj>
              </mc:Fallback>
            </mc:AlternateContent>
          </a:graphicData>
        </a:graphic>
      </p:graphicFrame>
      <p:sp>
        <p:nvSpPr>
          <p:cNvPr id="72" name="Text Placeholder 38"/>
          <p:cNvSpPr>
            <a:spLocks noGrp="1"/>
          </p:cNvSpPr>
          <p:nvPr>
            <p:custDataLst>
              <p:tags r:id="rId7"/>
            </p:custDataLst>
          </p:nvPr>
        </p:nvSpPr>
        <p:spPr bwMode="auto">
          <a:xfrm>
            <a:off x="2279650" y="2249488"/>
            <a:ext cx="600075"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92713523-4751-40CB-851A-6B90182E49C5}" type="datetime'''I''nf''l''''a''t''i''''''o''''n'''''''">
              <a:rPr lang="en-US" sz="1350"/>
              <a:pPr/>
              <a:t>Inflation</a:t>
            </a:fld>
            <a:endParaRPr lang="en-US" sz="1350" dirty="0">
              <a:sym typeface="+mn-lt"/>
            </a:endParaRPr>
          </a:p>
        </p:txBody>
      </p:sp>
      <p:sp>
        <p:nvSpPr>
          <p:cNvPr id="39" name="Text Placeholder 50"/>
          <p:cNvSpPr>
            <a:spLocks noGrp="1"/>
          </p:cNvSpPr>
          <p:nvPr>
            <p:custDataLst>
              <p:tags r:id="rId8"/>
            </p:custDataLst>
          </p:nvPr>
        </p:nvSpPr>
        <p:spPr bwMode="gray">
          <a:xfrm>
            <a:off x="5403850" y="2719388"/>
            <a:ext cx="292100"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4AB7B4A-7A78-4C58-A9B5-2B1627ED48A8}" type="datetime'''''''''''''''''''''''''''''''''''''''4'''''''''''''''''''''''">
              <a:rPr lang="en-US" sz="1350"/>
              <a:pPr/>
              <a:t>4</a:t>
            </a:fld>
            <a:r>
              <a:rPr lang="en-US" sz="1350" smtClean="0">
                <a:sym typeface="+mn-lt"/>
              </a:rPr>
              <a:t>%</a:t>
            </a:r>
            <a:endParaRPr lang="en-US" sz="1350" dirty="0">
              <a:sym typeface="+mn-lt"/>
            </a:endParaRPr>
          </a:p>
        </p:txBody>
      </p:sp>
      <p:sp>
        <p:nvSpPr>
          <p:cNvPr id="38" name="Text Placeholder 49"/>
          <p:cNvSpPr>
            <a:spLocks noGrp="1"/>
          </p:cNvSpPr>
          <p:nvPr>
            <p:custDataLst>
              <p:tags r:id="rId9"/>
            </p:custDataLst>
          </p:nvPr>
        </p:nvSpPr>
        <p:spPr bwMode="gray">
          <a:xfrm>
            <a:off x="6464300" y="2249488"/>
            <a:ext cx="292100"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7DD7A9D-AE62-4F3A-8A20-202762C1486E}" type="datetime'''''''''''''''''''''''''''''''''''5'''''''''''''''''''''''''">
              <a:rPr lang="en-US" sz="1350" smtClean="0">
                <a:sym typeface="+mn-lt"/>
              </a:rPr>
              <a:pPr/>
              <a:t>5</a:t>
            </a:fld>
            <a:r>
              <a:rPr lang="en-US" sz="1350" dirty="0" smtClean="0">
                <a:sym typeface="+mn-lt"/>
              </a:rPr>
              <a:t>%</a:t>
            </a:r>
            <a:endParaRPr lang="en-US" sz="1350" dirty="0">
              <a:sym typeface="+mn-lt"/>
            </a:endParaRPr>
          </a:p>
        </p:txBody>
      </p:sp>
      <p:sp>
        <p:nvSpPr>
          <p:cNvPr id="37" name="Text Placeholder 48"/>
          <p:cNvSpPr>
            <a:spLocks noGrp="1"/>
          </p:cNvSpPr>
          <p:nvPr>
            <p:custDataLst>
              <p:tags r:id="rId10"/>
            </p:custDataLst>
          </p:nvPr>
        </p:nvSpPr>
        <p:spPr bwMode="gray">
          <a:xfrm>
            <a:off x="6464300" y="1782763"/>
            <a:ext cx="292100"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51CC3FB-2BC4-40BC-8310-8141876967EF}" type="datetime'''''''''''''''''9'''''''''''''''">
              <a:rPr lang="en-US" sz="1350"/>
              <a:pPr/>
              <a:t>9</a:t>
            </a:fld>
            <a:r>
              <a:rPr lang="en-US" sz="1350" smtClean="0">
                <a:sym typeface="+mn-lt"/>
              </a:rPr>
              <a:t>%</a:t>
            </a:r>
            <a:endParaRPr lang="en-US" sz="1350" dirty="0">
              <a:sym typeface="+mn-lt"/>
            </a:endParaRPr>
          </a:p>
        </p:txBody>
      </p:sp>
      <p:sp>
        <p:nvSpPr>
          <p:cNvPr id="73" name="Text Placeholder 39"/>
          <p:cNvSpPr>
            <a:spLocks noGrp="1"/>
          </p:cNvSpPr>
          <p:nvPr>
            <p:custDataLst>
              <p:tags r:id="rId11"/>
            </p:custDataLst>
          </p:nvPr>
        </p:nvSpPr>
        <p:spPr bwMode="auto">
          <a:xfrm>
            <a:off x="2279650" y="2719388"/>
            <a:ext cx="2114550"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96B6A9AA-A375-42D1-8272-354E588158CF}" type="datetime'I''''m''''''''''plem''enta''tion ''o''f ''i''''nitiativ''es'''">
              <a:rPr lang="en-US" sz="1350" smtClean="0"/>
              <a:pPr/>
              <a:t>Implementation of initiatives</a:t>
            </a:fld>
            <a:endParaRPr lang="en-US" sz="1350" dirty="0">
              <a:sym typeface="+mn-lt"/>
            </a:endParaRPr>
          </a:p>
        </p:txBody>
      </p:sp>
      <p:sp>
        <p:nvSpPr>
          <p:cNvPr id="71" name="Text Placeholder 37"/>
          <p:cNvSpPr>
            <a:spLocks noGrp="1"/>
          </p:cNvSpPr>
          <p:nvPr>
            <p:custDataLst>
              <p:tags r:id="rId12"/>
            </p:custDataLst>
          </p:nvPr>
        </p:nvSpPr>
        <p:spPr bwMode="auto">
          <a:xfrm>
            <a:off x="2279650" y="1782763"/>
            <a:ext cx="1987550"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932315A-A733-41BB-9CC6-1256D8A9DAD3}" type="datetime'''G''DP'' ''''g''row''''t''h ''''thro''ug''h'' 203''0'''''''''">
              <a:rPr lang="en-US" sz="1350"/>
              <a:pPr/>
              <a:t>GDP growth through 2030</a:t>
            </a:fld>
            <a:endParaRPr lang="en-US" sz="1350" dirty="0">
              <a:sym typeface="+mn-lt"/>
            </a:endParaRPr>
          </a:p>
        </p:txBody>
      </p:sp>
      <p:grpSp>
        <p:nvGrpSpPr>
          <p:cNvPr id="82" name="ACET 31"/>
          <p:cNvGrpSpPr>
            <a:grpSpLocks/>
          </p:cNvGrpSpPr>
          <p:nvPr/>
        </p:nvGrpSpPr>
        <p:grpSpPr bwMode="auto">
          <a:xfrm>
            <a:off x="481622" y="1262856"/>
            <a:ext cx="8027377" cy="227262"/>
            <a:chOff x="915" y="935"/>
            <a:chExt cx="2686" cy="95"/>
          </a:xfrm>
        </p:grpSpPr>
        <p:cxnSp>
          <p:nvCxnSpPr>
            <p:cNvPr id="83" name="AutoShape 249"/>
            <p:cNvCxnSpPr>
              <a:cxnSpLocks noChangeShapeType="1"/>
              <a:stCxn id="84" idx="4"/>
              <a:endCxn id="84"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4" name="AutoShape 250"/>
            <p:cNvSpPr>
              <a:spLocks noChangeArrowheads="1"/>
            </p:cNvSpPr>
            <p:nvPr/>
          </p:nvSpPr>
          <p:spPr bwMode="auto">
            <a:xfrm>
              <a:off x="915" y="935"/>
              <a:ext cx="2686" cy="9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50" b="1" baseline="0" noProof="0" dirty="0" smtClean="0">
                  <a:latin typeface="+mn-lt"/>
                  <a:ea typeface="+mn-ea"/>
                </a:rPr>
                <a:t>How</a:t>
              </a:r>
              <a:r>
                <a:rPr lang="en-US" sz="1350" b="1" noProof="0" dirty="0" smtClean="0">
                  <a:latin typeface="+mn-lt"/>
                  <a:ea typeface="+mn-ea"/>
                </a:rPr>
                <a:t> the Lab intends to reach the Aspirations</a:t>
              </a:r>
              <a:endParaRPr lang="en-US" sz="1350" baseline="0" noProof="0" dirty="0">
                <a:solidFill>
                  <a:srgbClr val="808080"/>
                </a:solidFill>
                <a:latin typeface="+mn-lt"/>
                <a:ea typeface="+mn-ea"/>
              </a:endParaRPr>
            </a:p>
          </p:txBody>
        </p:sp>
      </p:grpSp>
      <p:sp>
        <p:nvSpPr>
          <p:cNvPr id="6" name="Rectangle 5"/>
          <p:cNvSpPr txBox="1"/>
          <p:nvPr>
            <p:custDataLst>
              <p:tags r:id="rId13"/>
            </p:custDataLst>
          </p:nvPr>
        </p:nvSpPr>
        <p:spPr>
          <a:xfrm>
            <a:off x="481623" y="1652609"/>
            <a:ext cx="1524000" cy="1882754"/>
          </a:xfrm>
          <a:prstGeom prst="rect">
            <a:avLst/>
          </a:prstGeom>
          <a:solidFill>
            <a:schemeClr val="accent1"/>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350" b="1" dirty="0"/>
              <a:t>9</a:t>
            </a:r>
            <a:r>
              <a:rPr lang="en-US" sz="1350" b="1" dirty="0" smtClean="0"/>
              <a:t>% GDP contribution growth through 2030</a:t>
            </a:r>
            <a:endParaRPr lang="en-US" sz="1350" b="1" dirty="0"/>
          </a:p>
        </p:txBody>
      </p:sp>
      <p:sp>
        <p:nvSpPr>
          <p:cNvPr id="42" name="Rectangle 5"/>
          <p:cNvSpPr txBox="1"/>
          <p:nvPr>
            <p:custDataLst>
              <p:tags r:id="rId14"/>
            </p:custDataLst>
          </p:nvPr>
        </p:nvSpPr>
        <p:spPr>
          <a:xfrm>
            <a:off x="481623" y="3782158"/>
            <a:ext cx="1524000" cy="2122962"/>
          </a:xfrm>
          <a:prstGeom prst="rect">
            <a:avLst/>
          </a:prstGeom>
          <a:solidFill>
            <a:schemeClr val="accent1"/>
          </a:solidFill>
          <a:ln w="9525">
            <a:no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350" b="1" dirty="0" smtClean="0"/>
              <a:t>Increase employment to 116,000</a:t>
            </a:r>
            <a:endParaRPr lang="en-US" sz="1350" b="1" dirty="0"/>
          </a:p>
        </p:txBody>
      </p:sp>
      <p:cxnSp>
        <p:nvCxnSpPr>
          <p:cNvPr id="44" name="Straight Connector 43"/>
          <p:cNvCxnSpPr/>
          <p:nvPr>
            <p:custDataLst>
              <p:tags r:id="rId15"/>
            </p:custDataLst>
          </p:nvPr>
        </p:nvCxnSpPr>
        <p:spPr bwMode="gray">
          <a:xfrm>
            <a:off x="5378450" y="4572000"/>
            <a:ext cx="0" cy="12065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6"/>
            </p:custDataLst>
          </p:nvPr>
        </p:nvCxnSpPr>
        <p:spPr bwMode="gray">
          <a:xfrm>
            <a:off x="6438900" y="4152900"/>
            <a:ext cx="0" cy="12065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17"/>
            </p:custDataLst>
          </p:nvPr>
        </p:nvCxnSpPr>
        <p:spPr bwMode="gray">
          <a:xfrm>
            <a:off x="5340350" y="4997450"/>
            <a:ext cx="0" cy="122238"/>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18"/>
            </p:custDataLst>
          </p:nvPr>
        </p:nvCxnSpPr>
        <p:spPr bwMode="gray">
          <a:xfrm>
            <a:off x="5334000" y="5416550"/>
            <a:ext cx="0" cy="122238"/>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5" name="Rectangle 4"/>
          <p:cNvSpPr/>
          <p:nvPr>
            <p:custDataLst>
              <p:tags r:id="rId19"/>
            </p:custDataLst>
          </p:nvPr>
        </p:nvSpPr>
        <p:spPr bwMode="auto">
          <a:xfrm>
            <a:off x="5334000" y="5119688"/>
            <a:ext cx="6350" cy="296863"/>
          </a:xfrm>
          <a:prstGeom prst="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aphicFrame>
        <p:nvGraphicFramePr>
          <p:cNvPr id="46" name="Object 45"/>
          <p:cNvGraphicFramePr>
            <a:graphicFrameLocks/>
          </p:cNvGraphicFramePr>
          <p:nvPr>
            <p:custDataLst>
              <p:tags r:id="rId20"/>
            </p:custDataLst>
            <p:extLst/>
          </p:nvPr>
        </p:nvGraphicFramePr>
        <p:xfrm>
          <a:off x="4419600" y="3657600"/>
          <a:ext cx="2118227" cy="2347019"/>
        </p:xfrm>
        <a:graphic>
          <a:graphicData uri="http://schemas.openxmlformats.org/presentationml/2006/ole">
            <mc:AlternateContent xmlns:mc="http://schemas.openxmlformats.org/markup-compatibility/2006">
              <mc:Choice xmlns:v="urn:schemas-microsoft-com:vml" Requires="v">
                <p:oleObj spid="_x0000_s132133" name="Chart" r:id="rId36" imgW="2114447" imgH="2343023" progId="MSGraph.Chart.8">
                  <p:embed followColorScheme="full"/>
                </p:oleObj>
              </mc:Choice>
              <mc:Fallback>
                <p:oleObj name="Chart" r:id="rId36" imgW="2114447" imgH="2343023" progId="MSGraph.Chart.8">
                  <p:embed followColorScheme="full"/>
                  <p:pic>
                    <p:nvPicPr>
                      <p:cNvPr id="0" name=""/>
                      <p:cNvPicPr/>
                      <p:nvPr/>
                    </p:nvPicPr>
                    <p:blipFill>
                      <a:blip r:embed="rId37"/>
                      <a:stretch>
                        <a:fillRect/>
                      </a:stretch>
                    </p:blipFill>
                    <p:spPr>
                      <a:xfrm>
                        <a:off x="4419600" y="3657600"/>
                        <a:ext cx="2118227" cy="2347019"/>
                      </a:xfrm>
                      <a:prstGeom prst="rect">
                        <a:avLst/>
                      </a:prstGeom>
                    </p:spPr>
                  </p:pic>
                </p:oleObj>
              </mc:Fallback>
            </mc:AlternateContent>
          </a:graphicData>
        </a:graphic>
      </p:graphicFrame>
      <p:sp>
        <p:nvSpPr>
          <p:cNvPr id="36" name="Text Placeholder 2"/>
          <p:cNvSpPr>
            <a:spLocks noGrp="1"/>
          </p:cNvSpPr>
          <p:nvPr>
            <p:custDataLst>
              <p:tags r:id="rId21"/>
            </p:custDataLst>
          </p:nvPr>
        </p:nvSpPr>
        <p:spPr bwMode="gray">
          <a:xfrm>
            <a:off x="6464301" y="3897313"/>
            <a:ext cx="650875"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0203467-F5BD-4B7B-A50B-B62D84EA3205}" type="datetime'''''''1''''''1''''''''6,0''''''''44'''''''''''''''''''">
              <a:rPr lang="en-US" sz="1350"/>
              <a:pPr/>
              <a:t>116,044</a:t>
            </a:fld>
            <a:endParaRPr lang="en-GB" sz="1350" dirty="0">
              <a:sym typeface="+mn-lt"/>
            </a:endParaRPr>
          </a:p>
        </p:txBody>
      </p:sp>
      <p:sp>
        <p:nvSpPr>
          <p:cNvPr id="51" name="Text Placeholder 5"/>
          <p:cNvSpPr>
            <a:spLocks noGrp="1"/>
          </p:cNvSpPr>
          <p:nvPr>
            <p:custDataLst>
              <p:tags r:id="rId22"/>
            </p:custDataLst>
          </p:nvPr>
        </p:nvSpPr>
        <p:spPr bwMode="gray">
          <a:xfrm>
            <a:off x="5365750" y="5164138"/>
            <a:ext cx="330200"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8ECBF1B-3092-489B-89CE-A479BF75280E}" type="datetime'''''''''''''''''''''''''''''''5''''''0''0'''''">
              <a:rPr lang="en-US" sz="1350"/>
              <a:pPr/>
              <a:t>500</a:t>
            </a:fld>
            <a:endParaRPr lang="en-GB" sz="1350" dirty="0">
              <a:sym typeface="+mn-lt"/>
            </a:endParaRPr>
          </a:p>
        </p:txBody>
      </p:sp>
      <p:sp>
        <p:nvSpPr>
          <p:cNvPr id="54" name="Text Placeholder 7"/>
          <p:cNvSpPr>
            <a:spLocks noGrp="1"/>
          </p:cNvSpPr>
          <p:nvPr>
            <p:custDataLst>
              <p:tags r:id="rId23"/>
            </p:custDataLst>
          </p:nvPr>
        </p:nvSpPr>
        <p:spPr bwMode="gray">
          <a:xfrm>
            <a:off x="6464300" y="4319588"/>
            <a:ext cx="568325"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AE1F6E8-1A72-410A-96B9-20F0F74C0207}" type="datetime'''6''''''''''''''''''''''''''4'',''4''''''''3''''''''''''5'">
              <a:rPr lang="en-US" sz="1350"/>
              <a:pPr/>
              <a:t>64,435</a:t>
            </a:fld>
            <a:endParaRPr lang="en-GB" sz="1350" dirty="0">
              <a:latin typeface="Arial" panose="020B0604020202020204" pitchFamily="34" charset="0"/>
              <a:sym typeface="Arial" panose="020B0604020202020204" pitchFamily="34" charset="0"/>
            </a:endParaRPr>
          </a:p>
        </p:txBody>
      </p:sp>
      <p:sp>
        <p:nvSpPr>
          <p:cNvPr id="53" name="Text Placeholder 6"/>
          <p:cNvSpPr>
            <a:spLocks noGrp="1"/>
          </p:cNvSpPr>
          <p:nvPr>
            <p:custDataLst>
              <p:tags r:id="rId24"/>
            </p:custDataLst>
          </p:nvPr>
        </p:nvSpPr>
        <p:spPr bwMode="auto">
          <a:xfrm>
            <a:off x="2498725" y="4319588"/>
            <a:ext cx="1638300"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350" dirty="0" smtClean="0">
                <a:latin typeface="Arial" panose="020B0604020202020204" pitchFamily="34" charset="0"/>
                <a:sym typeface="Arial" panose="020B0604020202020204" pitchFamily="34" charset="0"/>
              </a:rPr>
              <a:t>Baseline employment</a:t>
            </a:r>
            <a:endParaRPr lang="en-GB" sz="1350" dirty="0">
              <a:latin typeface="Arial" panose="020B0604020202020204" pitchFamily="34" charset="0"/>
              <a:sym typeface="Arial" panose="020B0604020202020204" pitchFamily="34" charset="0"/>
            </a:endParaRPr>
          </a:p>
        </p:txBody>
      </p:sp>
      <p:sp>
        <p:nvSpPr>
          <p:cNvPr id="47" name="Text Placeholder 40"/>
          <p:cNvSpPr>
            <a:spLocks noGrp="1"/>
          </p:cNvSpPr>
          <p:nvPr>
            <p:custDataLst>
              <p:tags r:id="rId25"/>
            </p:custDataLst>
          </p:nvPr>
        </p:nvSpPr>
        <p:spPr bwMode="auto">
          <a:xfrm>
            <a:off x="2498725" y="5164138"/>
            <a:ext cx="866775"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350" dirty="0" smtClean="0"/>
              <a:t>Cruise liner</a:t>
            </a:r>
          </a:p>
        </p:txBody>
      </p:sp>
      <p:sp>
        <p:nvSpPr>
          <p:cNvPr id="49" name="Text Placeholder 37"/>
          <p:cNvSpPr>
            <a:spLocks noGrp="1"/>
          </p:cNvSpPr>
          <p:nvPr>
            <p:custDataLst>
              <p:tags r:id="rId26"/>
            </p:custDataLst>
          </p:nvPr>
        </p:nvSpPr>
        <p:spPr bwMode="auto">
          <a:xfrm>
            <a:off x="2498725" y="3897313"/>
            <a:ext cx="1895475"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91058F6-3A3B-4CDB-9467-073A392AF0DD}" type="datetime'''Job'''''' g''row''''t''h'' t''hro''''''ug''h'''' 2030'''">
              <a:rPr lang="en-US" sz="1350"/>
              <a:pPr/>
              <a:t>Job growth through 2030</a:t>
            </a:fld>
            <a:endParaRPr lang="en-US" sz="1350" dirty="0">
              <a:sym typeface="+mn-lt"/>
            </a:endParaRPr>
          </a:p>
        </p:txBody>
      </p:sp>
      <p:sp>
        <p:nvSpPr>
          <p:cNvPr id="48" name="Text Placeholder 38"/>
          <p:cNvSpPr>
            <a:spLocks noGrp="1"/>
          </p:cNvSpPr>
          <p:nvPr>
            <p:custDataLst>
              <p:tags r:id="rId27"/>
            </p:custDataLst>
          </p:nvPr>
        </p:nvSpPr>
        <p:spPr bwMode="auto">
          <a:xfrm>
            <a:off x="2498725" y="4741863"/>
            <a:ext cx="1419225"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350" dirty="0" smtClean="0"/>
              <a:t>Blue Flag beaches</a:t>
            </a:r>
            <a:endParaRPr lang="en-US" sz="1350" dirty="0">
              <a:sym typeface="+mn-lt"/>
            </a:endParaRPr>
          </a:p>
        </p:txBody>
      </p:sp>
      <p:sp>
        <p:nvSpPr>
          <p:cNvPr id="41" name="Text Placeholder 3"/>
          <p:cNvSpPr>
            <a:spLocks noGrp="1"/>
          </p:cNvSpPr>
          <p:nvPr>
            <p:custDataLst>
              <p:tags r:id="rId28"/>
            </p:custDataLst>
          </p:nvPr>
        </p:nvSpPr>
        <p:spPr bwMode="gray">
          <a:xfrm>
            <a:off x="5403850" y="4741863"/>
            <a:ext cx="473075"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1A8FCC0-592C-4B17-B728-42B760C50CA3}" type="datetime'2'''''''',''''''2''0''''''''''0'''''''''''''''">
              <a:rPr lang="en-US" sz="1350"/>
              <a:pPr/>
              <a:t>2,200</a:t>
            </a:fld>
            <a:endParaRPr lang="en-GB" sz="1350" dirty="0">
              <a:sym typeface="+mn-lt"/>
            </a:endParaRPr>
          </a:p>
        </p:txBody>
      </p:sp>
      <p:sp>
        <p:nvSpPr>
          <p:cNvPr id="50" name="Text Placeholder 4"/>
          <p:cNvSpPr>
            <a:spLocks noGrp="1"/>
          </p:cNvSpPr>
          <p:nvPr>
            <p:custDataLst>
              <p:tags r:id="rId29"/>
            </p:custDataLst>
          </p:nvPr>
        </p:nvSpPr>
        <p:spPr bwMode="auto">
          <a:xfrm>
            <a:off x="2498725" y="5588000"/>
            <a:ext cx="1695450"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382C552D-3DB3-40D2-902A-756B21C43CB8}" type="datetime'''''E''x''pansio''n ''o''''''''''f'' a''''''c''t''i''vities'''">
              <a:rPr lang="en-US" sz="1350">
                <a:latin typeface="Arial" panose="020B0604020202020204" pitchFamily="34" charset="0"/>
                <a:sym typeface="Arial" panose="020B0604020202020204" pitchFamily="34" charset="0"/>
              </a:rPr>
              <a:pPr/>
              <a:t>Expansion of activities</a:t>
            </a:fld>
            <a:endParaRPr lang="en-US" sz="1350" dirty="0">
              <a:latin typeface="Arial" panose="020B0604020202020204" pitchFamily="34" charset="0"/>
              <a:sym typeface="Arial" panose="020B0604020202020204" pitchFamily="34" charset="0"/>
            </a:endParaRPr>
          </a:p>
        </p:txBody>
      </p:sp>
      <p:sp>
        <p:nvSpPr>
          <p:cNvPr id="52" name="Text Placeholder 5"/>
          <p:cNvSpPr>
            <a:spLocks noGrp="1"/>
          </p:cNvSpPr>
          <p:nvPr>
            <p:custDataLst>
              <p:tags r:id="rId30"/>
            </p:custDataLst>
          </p:nvPr>
        </p:nvSpPr>
        <p:spPr bwMode="gray">
          <a:xfrm>
            <a:off x="5359400" y="5588000"/>
            <a:ext cx="568325" cy="2063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3B1C14C-05CA-49E4-ACD6-F4F6D7024EF8}" type="datetime'''''''''''''48'''',''''''''9''''''''''''''''''''''''''0''9'''">
              <a:rPr lang="en-US" sz="1350">
                <a:latin typeface="Arial" panose="020B0604020202020204" pitchFamily="34" charset="0"/>
                <a:sym typeface="Arial" panose="020B0604020202020204" pitchFamily="34" charset="0"/>
              </a:rPr>
              <a:pPr/>
              <a:t>48,909</a:t>
            </a:fld>
            <a:endParaRPr lang="en-US" sz="1350" dirty="0">
              <a:latin typeface="Arial" panose="020B0604020202020204" pitchFamily="34" charset="0"/>
              <a:sym typeface="Arial" panose="020B0604020202020204" pitchFamily="34" charset="0"/>
            </a:endParaRPr>
          </a:p>
        </p:txBody>
      </p:sp>
      <p:sp>
        <p:nvSpPr>
          <p:cNvPr id="8" name="Freeform 7"/>
          <p:cNvSpPr/>
          <p:nvPr/>
        </p:nvSpPr>
        <p:spPr>
          <a:xfrm>
            <a:off x="5671413" y="1454726"/>
            <a:ext cx="2911474" cy="2093182"/>
          </a:xfrm>
          <a:custGeom>
            <a:avLst/>
            <a:gdLst>
              <a:gd name="connsiteX0" fmla="*/ 26377 w 3086100"/>
              <a:gd name="connsiteY0" fmla="*/ 747346 h 1441938"/>
              <a:gd name="connsiteX1" fmla="*/ 1134208 w 3086100"/>
              <a:gd name="connsiteY1" fmla="*/ 659423 h 1441938"/>
              <a:gd name="connsiteX2" fmla="*/ 1626577 w 3086100"/>
              <a:gd name="connsiteY2" fmla="*/ 0 h 1441938"/>
              <a:gd name="connsiteX3" fmla="*/ 2910254 w 3086100"/>
              <a:gd name="connsiteY3" fmla="*/ 0 h 1441938"/>
              <a:gd name="connsiteX4" fmla="*/ 3086100 w 3086100"/>
              <a:gd name="connsiteY4" fmla="*/ 0 h 1441938"/>
              <a:gd name="connsiteX5" fmla="*/ 3086100 w 3086100"/>
              <a:gd name="connsiteY5" fmla="*/ 1441938 h 1441938"/>
              <a:gd name="connsiteX6" fmla="*/ 905608 w 3086100"/>
              <a:gd name="connsiteY6" fmla="*/ 1441938 h 1441938"/>
              <a:gd name="connsiteX7" fmla="*/ 0 w 3086100"/>
              <a:gd name="connsiteY7" fmla="*/ 1099038 h 1441938"/>
              <a:gd name="connsiteX8" fmla="*/ 26377 w 3086100"/>
              <a:gd name="connsiteY8" fmla="*/ 747346 h 144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6100" h="1441938">
                <a:moveTo>
                  <a:pt x="26377" y="747346"/>
                </a:moveTo>
                <a:lnTo>
                  <a:pt x="1134208" y="659423"/>
                </a:lnTo>
                <a:lnTo>
                  <a:pt x="1626577" y="0"/>
                </a:lnTo>
                <a:lnTo>
                  <a:pt x="2910254" y="0"/>
                </a:lnTo>
                <a:lnTo>
                  <a:pt x="3086100" y="0"/>
                </a:lnTo>
                <a:lnTo>
                  <a:pt x="3086100" y="1441938"/>
                </a:lnTo>
                <a:lnTo>
                  <a:pt x="905608" y="1441938"/>
                </a:lnTo>
                <a:lnTo>
                  <a:pt x="0" y="1099038"/>
                </a:lnTo>
                <a:lnTo>
                  <a:pt x="26377" y="747346"/>
                </a:lnTo>
                <a:close/>
              </a:path>
            </a:pathLst>
          </a:custGeom>
          <a:gradFill flip="none" rotWithShape="1">
            <a:gsLst>
              <a:gs pos="0">
                <a:schemeClr val="accent1">
                  <a:tint val="66000"/>
                  <a:satMod val="160000"/>
                  <a:lumMod val="31000"/>
                  <a:lumOff val="69000"/>
                  <a:alpha val="10000"/>
                </a:schemeClr>
              </a:gs>
              <a:gs pos="50000">
                <a:schemeClr val="accent1">
                  <a:tint val="44500"/>
                  <a:satMod val="160000"/>
                </a:schemeClr>
              </a:gs>
              <a:gs pos="100000">
                <a:schemeClr val="accent1">
                  <a:tint val="23500"/>
                  <a:satMod val="16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smtClean="0">
              <a:solidFill>
                <a:schemeClr val="tx1"/>
              </a:solidFill>
            </a:endParaRPr>
          </a:p>
        </p:txBody>
      </p:sp>
      <p:sp>
        <p:nvSpPr>
          <p:cNvPr id="9" name="TextBox 8"/>
          <p:cNvSpPr txBox="1"/>
          <p:nvPr/>
        </p:nvSpPr>
        <p:spPr>
          <a:xfrm>
            <a:off x="7270270" y="1490118"/>
            <a:ext cx="1579439" cy="20774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350" dirty="0" smtClean="0"/>
              <a:t>Events</a:t>
            </a:r>
          </a:p>
          <a:p>
            <a:pPr lvl="1"/>
            <a:r>
              <a:rPr lang="en-US" sz="1350" dirty="0" smtClean="0"/>
              <a:t>Routes</a:t>
            </a:r>
          </a:p>
          <a:p>
            <a:pPr lvl="1"/>
            <a:r>
              <a:rPr lang="en-US" sz="1350" dirty="0" smtClean="0"/>
              <a:t>New infrastructure </a:t>
            </a:r>
          </a:p>
          <a:p>
            <a:pPr lvl="1"/>
            <a:r>
              <a:rPr lang="en-US" sz="1350" dirty="0" smtClean="0"/>
              <a:t>Cruise</a:t>
            </a:r>
          </a:p>
          <a:p>
            <a:pPr lvl="1"/>
            <a:r>
              <a:rPr lang="en-US" sz="1350" dirty="0" smtClean="0"/>
              <a:t>Improved marketing </a:t>
            </a:r>
          </a:p>
          <a:p>
            <a:pPr lvl="1"/>
            <a:r>
              <a:rPr lang="en-US" sz="1350" dirty="0" smtClean="0"/>
              <a:t>Enabling legislation</a:t>
            </a:r>
          </a:p>
          <a:p>
            <a:pPr lvl="1"/>
            <a:r>
              <a:rPr lang="en-US" sz="1350" dirty="0" smtClean="0"/>
              <a:t>Skills</a:t>
            </a:r>
            <a:endParaRPr lang="en-US" sz="1350" dirty="0"/>
          </a:p>
        </p:txBody>
      </p:sp>
      <p:sp>
        <p:nvSpPr>
          <p:cNvPr id="55" name="Freeform 54"/>
          <p:cNvSpPr/>
          <p:nvPr/>
        </p:nvSpPr>
        <p:spPr>
          <a:xfrm>
            <a:off x="5645151" y="4398204"/>
            <a:ext cx="2937544" cy="1741700"/>
          </a:xfrm>
          <a:custGeom>
            <a:avLst/>
            <a:gdLst>
              <a:gd name="connsiteX0" fmla="*/ 26377 w 3086100"/>
              <a:gd name="connsiteY0" fmla="*/ 747346 h 1441938"/>
              <a:gd name="connsiteX1" fmla="*/ 1134208 w 3086100"/>
              <a:gd name="connsiteY1" fmla="*/ 659423 h 1441938"/>
              <a:gd name="connsiteX2" fmla="*/ 1626577 w 3086100"/>
              <a:gd name="connsiteY2" fmla="*/ 0 h 1441938"/>
              <a:gd name="connsiteX3" fmla="*/ 2910254 w 3086100"/>
              <a:gd name="connsiteY3" fmla="*/ 0 h 1441938"/>
              <a:gd name="connsiteX4" fmla="*/ 3086100 w 3086100"/>
              <a:gd name="connsiteY4" fmla="*/ 0 h 1441938"/>
              <a:gd name="connsiteX5" fmla="*/ 3086100 w 3086100"/>
              <a:gd name="connsiteY5" fmla="*/ 1441938 h 1441938"/>
              <a:gd name="connsiteX6" fmla="*/ 905608 w 3086100"/>
              <a:gd name="connsiteY6" fmla="*/ 1441938 h 1441938"/>
              <a:gd name="connsiteX7" fmla="*/ 0 w 3086100"/>
              <a:gd name="connsiteY7" fmla="*/ 1099038 h 1441938"/>
              <a:gd name="connsiteX8" fmla="*/ 26377 w 3086100"/>
              <a:gd name="connsiteY8" fmla="*/ 747346 h 144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6100" h="1441938">
                <a:moveTo>
                  <a:pt x="26377" y="747346"/>
                </a:moveTo>
                <a:lnTo>
                  <a:pt x="1134208" y="659423"/>
                </a:lnTo>
                <a:lnTo>
                  <a:pt x="1626577" y="0"/>
                </a:lnTo>
                <a:lnTo>
                  <a:pt x="2910254" y="0"/>
                </a:lnTo>
                <a:lnTo>
                  <a:pt x="3086100" y="0"/>
                </a:lnTo>
                <a:lnTo>
                  <a:pt x="3086100" y="1441938"/>
                </a:lnTo>
                <a:lnTo>
                  <a:pt x="905608" y="1441938"/>
                </a:lnTo>
                <a:lnTo>
                  <a:pt x="0" y="1099038"/>
                </a:lnTo>
                <a:lnTo>
                  <a:pt x="26377" y="747346"/>
                </a:lnTo>
                <a:close/>
              </a:path>
            </a:pathLst>
          </a:custGeom>
          <a:gradFill flip="none" rotWithShape="1">
            <a:gsLst>
              <a:gs pos="0">
                <a:schemeClr val="accent1">
                  <a:tint val="66000"/>
                  <a:satMod val="160000"/>
                  <a:lumMod val="25000"/>
                  <a:lumOff val="75000"/>
                  <a:alpha val="10000"/>
                </a:schemeClr>
              </a:gs>
              <a:gs pos="50000">
                <a:schemeClr val="accent1">
                  <a:tint val="44500"/>
                  <a:satMod val="160000"/>
                </a:schemeClr>
              </a:gs>
              <a:gs pos="100000">
                <a:schemeClr val="accent1">
                  <a:tint val="23500"/>
                  <a:satMod val="16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err="1" smtClean="0">
              <a:solidFill>
                <a:schemeClr val="tx1"/>
              </a:solidFill>
            </a:endParaRPr>
          </a:p>
        </p:txBody>
      </p:sp>
      <p:sp>
        <p:nvSpPr>
          <p:cNvPr id="56" name="TextBox 55"/>
          <p:cNvSpPr txBox="1"/>
          <p:nvPr/>
        </p:nvSpPr>
        <p:spPr>
          <a:xfrm>
            <a:off x="7095869" y="4493097"/>
            <a:ext cx="1413129" cy="18697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350" dirty="0" smtClean="0"/>
              <a:t>Coastal route</a:t>
            </a:r>
          </a:p>
          <a:p>
            <a:pPr lvl="1"/>
            <a:r>
              <a:rPr lang="en-US" sz="1350" dirty="0" err="1" smtClean="0"/>
              <a:t>Monwabisi</a:t>
            </a:r>
            <a:r>
              <a:rPr lang="en-US" sz="1350" dirty="0" smtClean="0"/>
              <a:t> node</a:t>
            </a:r>
          </a:p>
          <a:p>
            <a:pPr lvl="1"/>
            <a:r>
              <a:rPr lang="en-US" sz="1350" dirty="0" smtClean="0"/>
              <a:t>Alexander Airport</a:t>
            </a:r>
          </a:p>
          <a:p>
            <a:pPr lvl="1"/>
            <a:r>
              <a:rPr lang="en-US" sz="1350" dirty="0" smtClean="0"/>
              <a:t>National Heritage festival</a:t>
            </a:r>
          </a:p>
          <a:p>
            <a:pPr lvl="1"/>
            <a:endParaRPr lang="en-US" sz="1350" dirty="0"/>
          </a:p>
        </p:txBody>
      </p:sp>
    </p:spTree>
    <p:extLst>
      <p:ext uri="{BB962C8B-B14F-4D97-AF65-F5344CB8AC3E}">
        <p14:creationId xmlns:p14="http://schemas.microsoft.com/office/powerpoint/2010/main" val="187250970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dirty="0" err="1" smtClean="0">
              <a:solidFill>
                <a:srgbClr val="000000"/>
              </a:solidFill>
              <a:sym typeface="Arial" panose="020B0604020202020204" pitchFamily="34" charset="0"/>
            </a:endParaRPr>
          </a:p>
        </p:txBody>
      </p:sp>
      <p:pic>
        <p:nvPicPr>
          <p:cNvPr id="13" name="Picture 12"/>
          <p:cNvPicPr>
            <a:picLocks noChangeAspect="1"/>
          </p:cNvPicPr>
          <p:nvPr/>
        </p:nvPicPr>
        <p:blipFill rotWithShape="1">
          <a:blip r:embed="rId12"/>
          <a:srcRect l="35426" b="17511"/>
          <a:stretch/>
        </p:blipFill>
        <p:spPr>
          <a:xfrm>
            <a:off x="1" y="2205013"/>
            <a:ext cx="3552092" cy="4516461"/>
          </a:xfrm>
          <a:prstGeom prst="rect">
            <a:avLst/>
          </a:prstGeom>
        </p:spPr>
      </p:pic>
      <p:sp>
        <p:nvSpPr>
          <p:cNvPr id="2" name="Title 1"/>
          <p:cNvSpPr>
            <a:spLocks noGrp="1"/>
          </p:cNvSpPr>
          <p:nvPr>
            <p:ph type="title"/>
          </p:nvPr>
        </p:nvSpPr>
        <p:spPr>
          <a:xfrm>
            <a:off x="171451" y="230188"/>
            <a:ext cx="861853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a:t>Contents</a:t>
            </a:r>
          </a:p>
        </p:txBody>
      </p:sp>
      <p:sp>
        <p:nvSpPr>
          <p:cNvPr id="14" name="Text Placeholder 2"/>
          <p:cNvSpPr>
            <a:spLocks noGrp="1"/>
          </p:cNvSpPr>
          <p:nvPr>
            <p:custDataLst>
              <p:tags r:id="rId4"/>
            </p:custDataLst>
          </p:nvPr>
        </p:nvSpPr>
        <p:spPr bwMode="gray">
          <a:xfrm>
            <a:off x="1864659" y="1918030"/>
            <a:ext cx="4582179" cy="814388"/>
          </a:xfrm>
          <a:prstGeom prst="rect">
            <a:avLst/>
          </a:prstGeom>
          <a:solidFill>
            <a:schemeClr val="accent1"/>
          </a:soli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2550"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B4623"/>
              </a:buClr>
            </a:pPr>
            <a:r>
              <a:rPr lang="en-US" altLang="ja-JP" sz="3200" b="1" dirty="0" smtClean="0">
                <a:solidFill>
                  <a:srgbClr val="0B4623"/>
                </a:solidFill>
              </a:rPr>
              <a:t>Introduction to </a:t>
            </a:r>
            <a:r>
              <a:rPr lang="en-US" altLang="ja-JP" sz="3200" b="1" dirty="0" err="1" smtClean="0">
                <a:solidFill>
                  <a:srgbClr val="0B4623"/>
                </a:solidFill>
              </a:rPr>
              <a:t>iTrack</a:t>
            </a:r>
            <a:endParaRPr lang="en-US" sz="3200" b="1" dirty="0">
              <a:solidFill>
                <a:srgbClr val="0B4623"/>
              </a:solidFill>
            </a:endParaRPr>
          </a:p>
        </p:txBody>
      </p:sp>
      <p:sp>
        <p:nvSpPr>
          <p:cNvPr id="15" name="Text Placeholder 2">
            <a:hlinkClick r:id="rId13" action="ppaction://hlinksldjump"/>
          </p:cNvPr>
          <p:cNvSpPr>
            <a:spLocks noGrp="1"/>
          </p:cNvSpPr>
          <p:nvPr>
            <p:custDataLst>
              <p:tags r:id="rId5"/>
            </p:custDataLst>
          </p:nvPr>
        </p:nvSpPr>
        <p:spPr bwMode="gray">
          <a:xfrm>
            <a:off x="2514600" y="2954338"/>
            <a:ext cx="3932238" cy="406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B4623"/>
              </a:buClr>
            </a:pPr>
            <a:r>
              <a:rPr lang="en-US" altLang="ja-JP" sz="2000" dirty="0" smtClean="0">
                <a:solidFill>
                  <a:srgbClr val="0B4623"/>
                </a:solidFill>
              </a:rPr>
              <a:t>User guide</a:t>
            </a:r>
            <a:endParaRPr lang="en-US" sz="2000" dirty="0">
              <a:solidFill>
                <a:srgbClr val="0B4623"/>
              </a:solidFill>
            </a:endParaRPr>
          </a:p>
        </p:txBody>
      </p:sp>
      <p:sp>
        <p:nvSpPr>
          <p:cNvPr id="16" name="Text Placeholder 2">
            <a:hlinkClick r:id="rId13" action="ppaction://hlinksldjump"/>
          </p:cNvPr>
          <p:cNvSpPr>
            <a:spLocks noGrp="1"/>
          </p:cNvSpPr>
          <p:nvPr>
            <p:custDataLst>
              <p:tags r:id="rId6"/>
            </p:custDataLst>
          </p:nvPr>
        </p:nvSpPr>
        <p:spPr bwMode="gray">
          <a:xfrm>
            <a:off x="2514600" y="3360738"/>
            <a:ext cx="3932238" cy="406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0963" rIns="0" bIns="80963"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588" lvl="1" indent="0">
              <a:buClr>
                <a:srgbClr val="0B4623"/>
              </a:buClr>
              <a:buFont typeface="Arial" charset="0"/>
              <a:buNone/>
            </a:pPr>
            <a:endParaRPr lang="en-US" dirty="0">
              <a:solidFill>
                <a:srgbClr val="0B4623"/>
              </a:solidFill>
            </a:endParaRPr>
          </a:p>
        </p:txBody>
      </p:sp>
      <p:sp>
        <p:nvSpPr>
          <p:cNvPr id="17" name="Text Placeholder 2">
            <a:hlinkClick r:id="rId13" action="ppaction://hlinksldjump"/>
          </p:cNvPr>
          <p:cNvSpPr>
            <a:spLocks noGrp="1"/>
          </p:cNvSpPr>
          <p:nvPr>
            <p:custDataLst>
              <p:tags r:id="rId7"/>
            </p:custDataLst>
          </p:nvPr>
        </p:nvSpPr>
        <p:spPr bwMode="gray">
          <a:xfrm>
            <a:off x="2514600" y="3767138"/>
            <a:ext cx="3932238" cy="4079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0963" tIns="82550" rIns="0" bIns="80963" numCol="1" spcCol="0" anchor="ctr" anchorCtr="0" compatLnSpc="1">
            <a:prstTxWarp prst="textNoShape">
              <a:avLst/>
            </a:prstTxWarp>
            <a:noAutofit/>
          </a:bodyPr>
          <a:lst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588" lvl="1" indent="0">
              <a:buClr>
                <a:srgbClr val="0B4623"/>
              </a:buClr>
              <a:buFont typeface="Arial" charset="0"/>
              <a:buNone/>
            </a:pPr>
            <a:endParaRPr lang="en-US" dirty="0">
              <a:solidFill>
                <a:srgbClr val="0B4623"/>
              </a:solidFill>
            </a:endParaRPr>
          </a:p>
        </p:txBody>
      </p:sp>
      <p:grpSp>
        <p:nvGrpSpPr>
          <p:cNvPr id="10" name="Group 9"/>
          <p:cNvGrpSpPr>
            <a:grpSpLocks/>
          </p:cNvGrpSpPr>
          <p:nvPr/>
        </p:nvGrpSpPr>
        <p:grpSpPr>
          <a:xfrm>
            <a:off x="0" y="943082"/>
            <a:ext cx="8961438" cy="568548"/>
            <a:chOff x="0" y="1143439"/>
            <a:chExt cx="8961438" cy="568548"/>
          </a:xfrm>
        </p:grpSpPr>
        <p:sp>
          <p:nvSpPr>
            <p:cNvPr id="11" name="Rectangle 136"/>
            <p:cNvSpPr>
              <a:spLocks noChangeArrowheads="1"/>
            </p:cNvSpPr>
            <p:nvPr/>
          </p:nvSpPr>
          <p:spPr bwMode="auto">
            <a:xfrm>
              <a:off x="0" y="1143439"/>
              <a:ext cx="8961438" cy="568548"/>
            </a:xfrm>
            <a:prstGeom prst="rect">
              <a:avLst/>
            </a:prstGeom>
            <a:gradFill rotWithShape="1">
              <a:gsLst>
                <a:gs pos="0">
                  <a:srgbClr val="EEEEEE"/>
                </a:gs>
                <a:gs pos="100000">
                  <a:srgbClr val="EEEEEE">
                    <a:gamma/>
                    <a:tint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solidFill>
                  <a:srgbClr val="000000"/>
                </a:solidFill>
                <a:latin typeface="Arial"/>
              </a:endParaRPr>
            </a:p>
          </p:txBody>
        </p:sp>
        <p:cxnSp>
          <p:nvCxnSpPr>
            <p:cNvPr id="12" name="Straight Connector 11"/>
            <p:cNvCxnSpPr>
              <a:cxnSpLocks/>
            </p:cNvCxnSpPr>
            <p:nvPr/>
          </p:nvCxnSpPr>
          <p:spPr>
            <a:xfrm>
              <a:off x="0" y="1143439"/>
              <a:ext cx="89614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2016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0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53" name="Group 52"/>
          <p:cNvGrpSpPr>
            <a:grpSpLocks/>
          </p:cNvGrpSpPr>
          <p:nvPr/>
        </p:nvGrpSpPr>
        <p:grpSpPr>
          <a:xfrm>
            <a:off x="0" y="1362028"/>
            <a:ext cx="8961438" cy="568548"/>
            <a:chOff x="0" y="1143439"/>
            <a:chExt cx="8961438" cy="568548"/>
          </a:xfrm>
        </p:grpSpPr>
        <p:sp>
          <p:nvSpPr>
            <p:cNvPr id="54" name="Rectangle 136"/>
            <p:cNvSpPr>
              <a:spLocks noChangeArrowheads="1"/>
            </p:cNvSpPr>
            <p:nvPr/>
          </p:nvSpPr>
          <p:spPr bwMode="auto">
            <a:xfrm>
              <a:off x="0" y="1143439"/>
              <a:ext cx="8961438" cy="568548"/>
            </a:xfrm>
            <a:prstGeom prst="rect">
              <a:avLst/>
            </a:prstGeom>
            <a:gradFill rotWithShape="1">
              <a:gsLst>
                <a:gs pos="0">
                  <a:srgbClr val="EEEEEE"/>
                </a:gs>
                <a:gs pos="100000">
                  <a:srgbClr val="EEEEEE">
                    <a:gamma/>
                    <a:tint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500">
                <a:solidFill>
                  <a:srgbClr val="000000"/>
                </a:solidFill>
                <a:latin typeface="Arial"/>
              </a:endParaRPr>
            </a:p>
          </p:txBody>
        </p:sp>
        <p:cxnSp>
          <p:nvCxnSpPr>
            <p:cNvPr id="55" name="Straight Connector 54"/>
            <p:cNvCxnSpPr>
              <a:cxnSpLocks/>
            </p:cNvCxnSpPr>
            <p:nvPr/>
          </p:nvCxnSpPr>
          <p:spPr>
            <a:xfrm>
              <a:off x="0" y="1143439"/>
              <a:ext cx="89614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altLang="ja-JP" dirty="0" err="1"/>
              <a:t>iTrack</a:t>
            </a:r>
            <a:r>
              <a:rPr lang="en-US" altLang="ja-JP" dirty="0"/>
              <a:t> is a simple and intuitive digital tool accessible from computers, tablet PCs and smartphones</a:t>
            </a:r>
            <a:endParaRPr lang="ja-JP" altLang="en-US" dirty="0"/>
          </a:p>
        </p:txBody>
      </p:sp>
      <p:sp>
        <p:nvSpPr>
          <p:cNvPr id="25" name="AutoShape 250"/>
          <p:cNvSpPr>
            <a:spLocks noChangeArrowheads="1"/>
          </p:cNvSpPr>
          <p:nvPr/>
        </p:nvSpPr>
        <p:spPr bwMode="auto">
          <a:xfrm>
            <a:off x="265245" y="1074100"/>
            <a:ext cx="8430948" cy="2492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500" b="1" dirty="0" smtClean="0">
                <a:solidFill>
                  <a:srgbClr val="0B4623"/>
                </a:solidFill>
                <a:latin typeface="Arial"/>
              </a:rPr>
              <a:t>Core value propositions of </a:t>
            </a:r>
            <a:r>
              <a:rPr lang="en-US" sz="1500" b="1" dirty="0" err="1" smtClean="0">
                <a:solidFill>
                  <a:srgbClr val="0B4623"/>
                </a:solidFill>
                <a:latin typeface="Arial"/>
              </a:rPr>
              <a:t>iTrack</a:t>
            </a:r>
            <a:r>
              <a:rPr lang="en-US" sz="1500" b="1" dirty="0" smtClean="0">
                <a:solidFill>
                  <a:srgbClr val="0B4623"/>
                </a:solidFill>
                <a:latin typeface="Arial"/>
              </a:rPr>
              <a:t> are…</a:t>
            </a:r>
            <a:endParaRPr lang="en-US" sz="1500" b="1" dirty="0">
              <a:solidFill>
                <a:srgbClr val="0B4623"/>
              </a:solidFill>
              <a:latin typeface="Arial"/>
            </a:endParaRPr>
          </a:p>
        </p:txBody>
      </p:sp>
      <p:grpSp>
        <p:nvGrpSpPr>
          <p:cNvPr id="6" name="Group 5"/>
          <p:cNvGrpSpPr>
            <a:grpSpLocks/>
          </p:cNvGrpSpPr>
          <p:nvPr/>
        </p:nvGrpSpPr>
        <p:grpSpPr>
          <a:xfrm>
            <a:off x="265245" y="1539900"/>
            <a:ext cx="8430948" cy="4556909"/>
            <a:chOff x="212857" y="1555140"/>
            <a:chExt cx="8430948" cy="4556909"/>
          </a:xfrm>
        </p:grpSpPr>
        <p:sp>
          <p:nvSpPr>
            <p:cNvPr id="9" name="Rectangle 6"/>
            <p:cNvSpPr txBox="1">
              <a:spLocks/>
            </p:cNvSpPr>
            <p:nvPr/>
          </p:nvSpPr>
          <p:spPr>
            <a:xfrm>
              <a:off x="212857" y="1887587"/>
              <a:ext cx="2053659" cy="18928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20000"/>
                </a:spcBef>
                <a:buClr>
                  <a:srgbClr val="0B4623"/>
                </a:buClr>
              </a:pPr>
              <a:r>
                <a:rPr lang="en-US" sz="1500" b="1" dirty="0" smtClean="0">
                  <a:solidFill>
                    <a:srgbClr val="0B4623"/>
                  </a:solidFill>
                </a:rPr>
                <a:t>Web-based easy to set-up tool </a:t>
              </a:r>
              <a:r>
                <a:rPr lang="en-US" altLang="ja-JP" sz="1500" dirty="0" smtClean="0">
                  <a:solidFill>
                    <a:srgbClr val="000000"/>
                  </a:solidFill>
                </a:rPr>
                <a:t>accessible from anywhere in the world</a:t>
              </a:r>
              <a:endParaRPr lang="en-US" sz="1500" dirty="0" smtClean="0">
                <a:solidFill>
                  <a:srgbClr val="0B4623"/>
                </a:solidFill>
              </a:endParaRPr>
            </a:p>
            <a:p>
              <a:pPr lvl="1">
                <a:spcBef>
                  <a:spcPct val="20000"/>
                </a:spcBef>
                <a:buClr>
                  <a:srgbClr val="0B4623"/>
                </a:buClr>
              </a:pPr>
              <a:r>
                <a:rPr lang="en-US" altLang="ja-JP" sz="1500" dirty="0" smtClean="0">
                  <a:solidFill>
                    <a:srgbClr val="000000"/>
                  </a:solidFill>
                </a:rPr>
                <a:t>Accessible using </a:t>
              </a:r>
              <a:r>
                <a:rPr lang="en-US" altLang="ja-JP" sz="1500" b="1" dirty="0" smtClean="0">
                  <a:solidFill>
                    <a:srgbClr val="0B4623"/>
                  </a:solidFill>
                </a:rPr>
                <a:t>computers, smartphones and tablet PCs</a:t>
              </a:r>
            </a:p>
          </p:txBody>
        </p:sp>
        <p:pic>
          <p:nvPicPr>
            <p:cNvPr id="40" name="Picture 39"/>
            <p:cNvPicPr>
              <a:picLocks/>
            </p:cNvPicPr>
            <p:nvPr/>
          </p:nvPicPr>
          <p:blipFill rotWithShape="1">
            <a:blip r:embed="rId6" cstate="email">
              <a:extLst>
                <a:ext uri="{28A0092B-C50C-407E-A947-70E740481C1C}">
                  <a14:useLocalDpi xmlns:a14="http://schemas.microsoft.com/office/drawing/2010/main" val="0"/>
                </a:ext>
              </a:extLst>
            </a:blip>
            <a:srcRect/>
            <a:stretch/>
          </p:blipFill>
          <p:spPr>
            <a:xfrm>
              <a:off x="2360319" y="1887587"/>
              <a:ext cx="1896015" cy="1417271"/>
            </a:xfrm>
            <a:prstGeom prst="rect">
              <a:avLst/>
            </a:prstGeom>
          </p:spPr>
        </p:pic>
        <p:grpSp>
          <p:nvGrpSpPr>
            <p:cNvPr id="3" name="Group 2"/>
            <p:cNvGrpSpPr/>
            <p:nvPr/>
          </p:nvGrpSpPr>
          <p:grpSpPr>
            <a:xfrm>
              <a:off x="212857" y="1555140"/>
              <a:ext cx="4043476" cy="249299"/>
              <a:chOff x="212858" y="1555140"/>
              <a:chExt cx="4043476" cy="249299"/>
            </a:xfrm>
          </p:grpSpPr>
          <p:sp>
            <p:nvSpPr>
              <p:cNvPr id="8" name="AutoShape 250"/>
              <p:cNvSpPr>
                <a:spLocks noChangeArrowheads="1"/>
              </p:cNvSpPr>
              <p:nvPr/>
            </p:nvSpPr>
            <p:spPr bwMode="auto">
              <a:xfrm>
                <a:off x="212858" y="1555140"/>
                <a:ext cx="4043476" cy="2492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sz="1500" b="1" dirty="0" smtClean="0">
                    <a:solidFill>
                      <a:srgbClr val="0B4623"/>
                    </a:solidFill>
                    <a:latin typeface="Arial"/>
                  </a:rPr>
                  <a:t>Smartphone and tablet PC friendly</a:t>
                </a:r>
                <a:endParaRPr lang="en-US" sz="1500" b="1" dirty="0">
                  <a:solidFill>
                    <a:srgbClr val="0B4623"/>
                  </a:solidFill>
                  <a:latin typeface="Arial"/>
                </a:endParaRPr>
              </a:p>
            </p:txBody>
          </p:sp>
          <p:cxnSp>
            <p:nvCxnSpPr>
              <p:cNvPr id="61" name="AutoShape 249"/>
              <p:cNvCxnSpPr>
                <a:cxnSpLocks noChangeShapeType="1"/>
              </p:cNvCxnSpPr>
              <p:nvPr/>
            </p:nvCxnSpPr>
            <p:spPr bwMode="auto">
              <a:xfrm>
                <a:off x="212858" y="1804439"/>
                <a:ext cx="4043476" cy="0"/>
              </a:xfrm>
              <a:prstGeom prst="straightConnector1">
                <a:avLst/>
              </a:prstGeom>
              <a:noFill/>
              <a:ln w="952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1" name="Rectangle 6"/>
            <p:cNvSpPr txBox="1">
              <a:spLocks/>
            </p:cNvSpPr>
            <p:nvPr/>
          </p:nvSpPr>
          <p:spPr>
            <a:xfrm>
              <a:off x="2395326" y="4219223"/>
              <a:ext cx="1941257" cy="18928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20000"/>
                </a:spcBef>
                <a:buClr>
                  <a:srgbClr val="0B4623"/>
                </a:buClr>
              </a:pPr>
              <a:r>
                <a:rPr lang="en-US" altLang="ja-JP" sz="1500" dirty="0" smtClean="0">
                  <a:solidFill>
                    <a:srgbClr val="000000"/>
                  </a:solidFill>
                </a:rPr>
                <a:t>Requires only </a:t>
              </a:r>
              <a:r>
                <a:rPr lang="en-US" altLang="ja-JP" sz="1500" b="1" dirty="0" smtClean="0">
                  <a:solidFill>
                    <a:srgbClr val="0B4623"/>
                  </a:solidFill>
                </a:rPr>
                <a:t>3G </a:t>
              </a:r>
              <a:r>
                <a:rPr lang="en-US" altLang="ja-JP" sz="1500" b="1" dirty="0">
                  <a:solidFill>
                    <a:srgbClr val="0B4623"/>
                  </a:solidFill>
                </a:rPr>
                <a:t>internet </a:t>
              </a:r>
              <a:r>
                <a:rPr lang="en-US" altLang="ja-JP" sz="1500" dirty="0" smtClean="0">
                  <a:solidFill>
                    <a:srgbClr val="000000"/>
                  </a:solidFill>
                </a:rPr>
                <a:t>of </a:t>
              </a:r>
              <a:r>
                <a:rPr lang="en-US" altLang="ja-JP" sz="1500" dirty="0">
                  <a:solidFill>
                    <a:srgbClr val="000000"/>
                  </a:solidFill>
                </a:rPr>
                <a:t>10-15mins/ day—friendly for emerging </a:t>
              </a:r>
              <a:r>
                <a:rPr lang="en-US" altLang="ja-JP" sz="1500" dirty="0" smtClean="0">
                  <a:solidFill>
                    <a:srgbClr val="000000"/>
                  </a:solidFill>
                </a:rPr>
                <a:t>countries</a:t>
              </a:r>
              <a:endParaRPr lang="en-US" altLang="ja-JP" sz="1500" dirty="0">
                <a:solidFill>
                  <a:srgbClr val="000000"/>
                </a:solidFill>
              </a:endParaRPr>
            </a:p>
            <a:p>
              <a:pPr lvl="1">
                <a:spcBef>
                  <a:spcPct val="20000"/>
                </a:spcBef>
                <a:buClr>
                  <a:srgbClr val="0B4623"/>
                </a:buClr>
              </a:pPr>
              <a:r>
                <a:rPr lang="en-US" altLang="ja-JP" sz="1500" dirty="0">
                  <a:solidFill>
                    <a:srgbClr val="000000"/>
                  </a:solidFill>
                </a:rPr>
                <a:t>Accessible using </a:t>
              </a:r>
              <a:r>
                <a:rPr lang="en-US" altLang="ja-JP" sz="1500" b="1" dirty="0" smtClean="0">
                  <a:solidFill>
                    <a:srgbClr val="0B4623"/>
                  </a:solidFill>
                </a:rPr>
                <a:t>Google Chrome</a:t>
              </a:r>
              <a:r>
                <a:rPr lang="en-US" altLang="ja-JP" sz="1500" dirty="0" smtClean="0">
                  <a:solidFill>
                    <a:srgbClr val="000000"/>
                  </a:solidFill>
                </a:rPr>
                <a:t> and </a:t>
              </a:r>
              <a:r>
                <a:rPr lang="en-US" altLang="ja-JP" sz="1500" b="1" dirty="0" smtClean="0">
                  <a:solidFill>
                    <a:srgbClr val="0B4623"/>
                  </a:solidFill>
                </a:rPr>
                <a:t>Safari</a:t>
              </a:r>
              <a:endParaRPr lang="en-US" altLang="ja-JP" sz="1500" dirty="0">
                <a:solidFill>
                  <a:srgbClr val="000000"/>
                </a:solidFill>
              </a:endParaRPr>
            </a:p>
          </p:txBody>
        </p:sp>
        <p:grpSp>
          <p:nvGrpSpPr>
            <p:cNvPr id="4" name="Group 3"/>
            <p:cNvGrpSpPr/>
            <p:nvPr/>
          </p:nvGrpSpPr>
          <p:grpSpPr>
            <a:xfrm>
              <a:off x="2395326" y="3907526"/>
              <a:ext cx="3928515" cy="249299"/>
              <a:chOff x="2395326" y="3907526"/>
              <a:chExt cx="3928515" cy="249299"/>
            </a:xfrm>
          </p:grpSpPr>
          <p:cxnSp>
            <p:nvCxnSpPr>
              <p:cNvPr id="62" name="AutoShape 249"/>
              <p:cNvCxnSpPr>
                <a:cxnSpLocks noChangeShapeType="1"/>
              </p:cNvCxnSpPr>
              <p:nvPr/>
            </p:nvCxnSpPr>
            <p:spPr bwMode="auto">
              <a:xfrm>
                <a:off x="2395326" y="4156825"/>
                <a:ext cx="3928515" cy="0"/>
              </a:xfrm>
              <a:prstGeom prst="straightConnector1">
                <a:avLst/>
              </a:prstGeom>
              <a:noFill/>
              <a:ln w="952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AutoShape 250"/>
              <p:cNvSpPr>
                <a:spLocks noChangeArrowheads="1"/>
              </p:cNvSpPr>
              <p:nvPr/>
            </p:nvSpPr>
            <p:spPr bwMode="auto">
              <a:xfrm>
                <a:off x="2395326" y="3907526"/>
                <a:ext cx="3928515" cy="2492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p>
                <a:r>
                  <a:rPr lang="en-US" altLang="ja-JP" sz="1500" b="1" dirty="0">
                    <a:solidFill>
                      <a:srgbClr val="0B4623"/>
                    </a:solidFill>
                    <a:latin typeface="Arial"/>
                  </a:rPr>
                  <a:t>Low infrastructure barrier</a:t>
                </a:r>
              </a:p>
            </p:txBody>
          </p:sp>
        </p:grpSp>
        <p:pic>
          <p:nvPicPr>
            <p:cNvPr id="5" name="Picture 4"/>
            <p:cNvPicPr>
              <a:picLocks/>
            </p:cNvPicPr>
            <p:nvPr/>
          </p:nvPicPr>
          <p:blipFill rotWithShape="1">
            <a:blip r:embed="rId7"/>
            <a:srcRect l="2509" r="8751"/>
            <a:stretch/>
          </p:blipFill>
          <p:spPr>
            <a:xfrm>
              <a:off x="4430385" y="4219223"/>
              <a:ext cx="1896015" cy="1417271"/>
            </a:xfrm>
            <a:prstGeom prst="rect">
              <a:avLst/>
            </a:prstGeom>
          </p:spPr>
        </p:pic>
        <p:grpSp>
          <p:nvGrpSpPr>
            <p:cNvPr id="12" name="Group 11"/>
            <p:cNvGrpSpPr/>
            <p:nvPr/>
          </p:nvGrpSpPr>
          <p:grpSpPr>
            <a:xfrm>
              <a:off x="4600328" y="1555140"/>
              <a:ext cx="4043476" cy="249299"/>
              <a:chOff x="332714" y="3877618"/>
              <a:chExt cx="4043476" cy="249299"/>
            </a:xfrm>
          </p:grpSpPr>
          <p:cxnSp>
            <p:nvCxnSpPr>
              <p:cNvPr id="17" name="AutoShape 249"/>
              <p:cNvCxnSpPr>
                <a:cxnSpLocks noChangeShapeType="1"/>
              </p:cNvCxnSpPr>
              <p:nvPr/>
            </p:nvCxnSpPr>
            <p:spPr bwMode="auto">
              <a:xfrm>
                <a:off x="332714" y="4126917"/>
                <a:ext cx="4043476" cy="0"/>
              </a:xfrm>
              <a:prstGeom prst="straightConnector1">
                <a:avLst/>
              </a:prstGeom>
              <a:noFill/>
              <a:ln w="952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332714" y="3877618"/>
                <a:ext cx="4043476" cy="24929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altLang="ja-JP" sz="1500" b="1" dirty="0" smtClean="0">
                    <a:solidFill>
                      <a:srgbClr val="0B4623"/>
                    </a:solidFill>
                    <a:latin typeface="Arial"/>
                  </a:rPr>
                  <a:t>Extreme simplicity and intuitiveness</a:t>
                </a:r>
                <a:endParaRPr lang="en-US" altLang="ja-JP" sz="1500" b="1" dirty="0">
                  <a:solidFill>
                    <a:srgbClr val="0B4623"/>
                  </a:solidFill>
                  <a:latin typeface="Arial"/>
                </a:endParaRPr>
              </a:p>
            </p:txBody>
          </p:sp>
        </p:grpSp>
        <p:sp>
          <p:nvSpPr>
            <p:cNvPr id="19" name="Rectangle 6"/>
            <p:cNvSpPr txBox="1">
              <a:spLocks/>
            </p:cNvSpPr>
            <p:nvPr/>
          </p:nvSpPr>
          <p:spPr>
            <a:xfrm>
              <a:off x="4600328" y="1887587"/>
              <a:ext cx="2053659" cy="18928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20000"/>
                </a:spcBef>
                <a:buClr>
                  <a:srgbClr val="0B4623"/>
                </a:buClr>
              </a:pPr>
              <a:r>
                <a:rPr lang="en-US" altLang="ja-JP" sz="1500" b="1" dirty="0">
                  <a:solidFill>
                    <a:srgbClr val="0B4623"/>
                  </a:solidFill>
                </a:rPr>
                <a:t>Simple and intuitive interface </a:t>
              </a:r>
              <a:r>
                <a:rPr lang="en-US" altLang="ja-JP" sz="1500" dirty="0">
                  <a:solidFill>
                    <a:srgbClr val="000000"/>
                  </a:solidFill>
                </a:rPr>
                <a:t>with </a:t>
              </a:r>
              <a:r>
                <a:rPr lang="en-US" altLang="ja-JP" sz="1500" dirty="0" smtClean="0">
                  <a:solidFill>
                    <a:srgbClr val="000000"/>
                  </a:solidFill>
                </a:rPr>
                <a:t>minimum but sufficient information to manage teams</a:t>
              </a:r>
              <a:endParaRPr lang="en-US" altLang="ja-JP" sz="1500" dirty="0">
                <a:solidFill>
                  <a:srgbClr val="000000"/>
                </a:solidFill>
              </a:endParaRPr>
            </a:p>
            <a:p>
              <a:pPr lvl="1">
                <a:spcBef>
                  <a:spcPct val="20000"/>
                </a:spcBef>
                <a:buClr>
                  <a:srgbClr val="0B4623"/>
                </a:buClr>
              </a:pPr>
              <a:r>
                <a:rPr lang="en-US" altLang="ja-JP" sz="1500" dirty="0" smtClean="0">
                  <a:solidFill>
                    <a:srgbClr val="000000"/>
                  </a:solidFill>
                </a:rPr>
                <a:t>Requires only </a:t>
              </a:r>
              <a:r>
                <a:rPr lang="en-US" altLang="ja-JP" sz="1500" b="1" dirty="0" smtClean="0">
                  <a:solidFill>
                    <a:srgbClr val="0B4623"/>
                  </a:solidFill>
                </a:rPr>
                <a:t>basic </a:t>
              </a:r>
              <a:r>
                <a:rPr lang="en-US" altLang="ja-JP" sz="1500" b="1" dirty="0">
                  <a:solidFill>
                    <a:srgbClr val="0B4623"/>
                  </a:solidFill>
                </a:rPr>
                <a:t>computer skills </a:t>
              </a:r>
              <a:r>
                <a:rPr lang="en-US" altLang="ja-JP" sz="1500" dirty="0">
                  <a:solidFill>
                    <a:srgbClr val="000000"/>
                  </a:solidFill>
                </a:rPr>
                <a:t>to </a:t>
              </a:r>
              <a:r>
                <a:rPr lang="en-US" altLang="ja-JP" sz="1500" dirty="0" smtClean="0">
                  <a:solidFill>
                    <a:srgbClr val="000000"/>
                  </a:solidFill>
                </a:rPr>
                <a:t>use</a:t>
              </a:r>
              <a:endParaRPr lang="en-US" altLang="ja-JP" sz="1500" dirty="0">
                <a:solidFill>
                  <a:srgbClr val="000000"/>
                </a:solidFill>
              </a:endParaRPr>
            </a:p>
          </p:txBody>
        </p:sp>
        <p:pic>
          <p:nvPicPr>
            <p:cNvPr id="223330" name="Picture 98" descr="Woman, Working, Business Woman, Businesswoman, Laptop"/>
            <p:cNvPicPr>
              <a:picLocks noChangeArrowheads="1"/>
            </p:cNvPicPr>
            <p:nvPr/>
          </p:nvPicPr>
          <p:blipFill rotWithShape="1">
            <a:blip r:embed="rId8" cstate="email">
              <a:extLst>
                <a:ext uri="{28A0092B-C50C-407E-A947-70E740481C1C}">
                  <a14:useLocalDpi xmlns:a14="http://schemas.microsoft.com/office/drawing/2010/main" val="0"/>
                </a:ext>
              </a:extLst>
            </a:blip>
            <a:srcRect/>
            <a:stretch/>
          </p:blipFill>
          <p:spPr bwMode="auto">
            <a:xfrm>
              <a:off x="6747790" y="1887587"/>
              <a:ext cx="1896015" cy="141727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2084861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2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altLang="ja-JP" dirty="0" err="1"/>
              <a:t>iTrack</a:t>
            </a:r>
            <a:r>
              <a:rPr lang="en-US" altLang="ja-JP" dirty="0"/>
              <a:t> helps Delivery Units to work in a more sophisticated</a:t>
            </a:r>
            <a:br>
              <a:rPr lang="en-US" altLang="ja-JP" dirty="0"/>
            </a:br>
            <a:r>
              <a:rPr lang="en-US" altLang="ja-JP" dirty="0"/>
              <a:t>and efficient way</a:t>
            </a:r>
            <a:endParaRPr lang="ja-JP" altLang="en-US" dirty="0"/>
          </a:p>
        </p:txBody>
      </p:sp>
      <p:grpSp>
        <p:nvGrpSpPr>
          <p:cNvPr id="30" name="Group 29"/>
          <p:cNvGrpSpPr>
            <a:grpSpLocks/>
          </p:cNvGrpSpPr>
          <p:nvPr/>
        </p:nvGrpSpPr>
        <p:grpSpPr>
          <a:xfrm>
            <a:off x="0" y="1877705"/>
            <a:ext cx="8961438" cy="568548"/>
            <a:chOff x="0" y="1143439"/>
            <a:chExt cx="8961438" cy="568548"/>
          </a:xfrm>
        </p:grpSpPr>
        <p:sp>
          <p:nvSpPr>
            <p:cNvPr id="31" name="Rectangle 136"/>
            <p:cNvSpPr>
              <a:spLocks noChangeArrowheads="1"/>
            </p:cNvSpPr>
            <p:nvPr/>
          </p:nvSpPr>
          <p:spPr bwMode="auto">
            <a:xfrm>
              <a:off x="0" y="1143439"/>
              <a:ext cx="8961438" cy="568548"/>
            </a:xfrm>
            <a:prstGeom prst="rect">
              <a:avLst/>
            </a:prstGeom>
            <a:gradFill rotWithShape="1">
              <a:gsLst>
                <a:gs pos="0">
                  <a:srgbClr val="EEEEEE"/>
                </a:gs>
                <a:gs pos="100000">
                  <a:srgbClr val="EEEEEE">
                    <a:gamma/>
                    <a:tint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solidFill>
                  <a:srgbClr val="000000"/>
                </a:solidFill>
                <a:latin typeface="Arial"/>
              </a:endParaRPr>
            </a:p>
          </p:txBody>
        </p:sp>
        <p:cxnSp>
          <p:nvCxnSpPr>
            <p:cNvPr id="32" name="Straight Connector 31"/>
            <p:cNvCxnSpPr>
              <a:cxnSpLocks/>
            </p:cNvCxnSpPr>
            <p:nvPr/>
          </p:nvCxnSpPr>
          <p:spPr>
            <a:xfrm>
              <a:off x="0" y="1143439"/>
              <a:ext cx="89614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378712" y="1533614"/>
            <a:ext cx="2395122" cy="3225235"/>
            <a:chOff x="119063" y="1431499"/>
            <a:chExt cx="3519314" cy="4451063"/>
          </a:xfrm>
        </p:grpSpPr>
        <p:grpSp>
          <p:nvGrpSpPr>
            <p:cNvPr id="4" name="Group 3"/>
            <p:cNvGrpSpPr>
              <a:grpSpLocks/>
            </p:cNvGrpSpPr>
            <p:nvPr/>
          </p:nvGrpSpPr>
          <p:grpSpPr>
            <a:xfrm>
              <a:off x="119063" y="2051006"/>
              <a:ext cx="3519314" cy="3831556"/>
              <a:chOff x="119063" y="2051006"/>
              <a:chExt cx="3519314" cy="3831556"/>
            </a:xfrm>
          </p:grpSpPr>
          <p:pic>
            <p:nvPicPr>
              <p:cNvPr id="7" name="Picture 6"/>
              <p:cNvPicPr>
                <a:picLocks/>
              </p:cNvPicPr>
              <p:nvPr/>
            </p:nvPicPr>
            <p:blipFill>
              <a:blip r:embed="rId6" cstate="email">
                <a:extLst>
                  <a:ext uri="{28A0092B-C50C-407E-A947-70E740481C1C}">
                    <a14:useLocalDpi xmlns:a14="http://schemas.microsoft.com/office/drawing/2010/main" val="0"/>
                  </a:ext>
                </a:extLst>
              </a:blip>
              <a:stretch>
                <a:fillRect/>
              </a:stretch>
            </p:blipFill>
            <p:spPr>
              <a:xfrm>
                <a:off x="119063" y="2051006"/>
                <a:ext cx="1280747" cy="1714293"/>
              </a:xfrm>
              <a:prstGeom prst="rect">
                <a:avLst/>
              </a:prstGeom>
              <a:ln>
                <a:solidFill>
                  <a:schemeClr val="bg1">
                    <a:lumMod val="75000"/>
                  </a:schemeClr>
                </a:solidFill>
              </a:ln>
            </p:spPr>
          </p:pic>
          <p:pic>
            <p:nvPicPr>
              <p:cNvPr id="217090" name="Picture 2" descr="https://media.licdn.com/mpr/mpr/p/3/005/07d/11a/1c5526d.jpg"/>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1518873" y="2352993"/>
                <a:ext cx="2119504" cy="1412305"/>
              </a:xfrm>
              <a:prstGeom prst="rect">
                <a:avLst/>
              </a:prstGeom>
              <a:noFill/>
              <a:extLst>
                <a:ext uri="{909E8E84-426E-40DD-AFC4-6F175D3DCCD1}">
                  <a14:hiddenFill xmlns:a14="http://schemas.microsoft.com/office/drawing/2010/main">
                    <a:solidFill>
                      <a:srgbClr val="FFFFFF"/>
                    </a:solidFill>
                  </a14:hiddenFill>
                </a:ext>
              </a:extLst>
            </p:spPr>
          </p:pic>
          <p:pic>
            <p:nvPicPr>
              <p:cNvPr id="217092" name="Picture 4" descr="http://www.myhealthbeijing.com/wp-content/uploads/2015/03/stress-computer-research-anxiety.jpg"/>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119063" y="3869561"/>
                <a:ext cx="3403626" cy="2013001"/>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p:cNvSpPr txBox="1">
              <a:spLocks/>
            </p:cNvSpPr>
            <p:nvPr/>
          </p:nvSpPr>
          <p:spPr>
            <a:xfrm>
              <a:off x="119063" y="1431499"/>
              <a:ext cx="3519314" cy="5109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0B4623"/>
                </a:buClr>
              </a:pPr>
              <a:r>
                <a:rPr lang="en-US" b="1" dirty="0" smtClean="0">
                  <a:solidFill>
                    <a:srgbClr val="0B4623"/>
                  </a:solidFill>
                </a:rPr>
                <a:t>Time consuming work for traditional </a:t>
              </a:r>
              <a:r>
                <a:rPr lang="en-US" b="1" dirty="0" err="1" smtClean="0">
                  <a:solidFill>
                    <a:srgbClr val="0B4623"/>
                  </a:solidFill>
                </a:rPr>
                <a:t>DUs</a:t>
              </a:r>
              <a:r>
                <a:rPr lang="en-US" b="1" dirty="0" smtClean="0">
                  <a:solidFill>
                    <a:srgbClr val="0B4623"/>
                  </a:solidFill>
                </a:rPr>
                <a:t> to track and report progress…</a:t>
              </a:r>
              <a:endParaRPr lang="en-US" b="1" dirty="0">
                <a:solidFill>
                  <a:srgbClr val="0B4623"/>
                </a:solidFill>
              </a:endParaRPr>
            </a:p>
          </p:txBody>
        </p:sp>
      </p:grpSp>
      <p:grpSp>
        <p:nvGrpSpPr>
          <p:cNvPr id="10" name="Group 9"/>
          <p:cNvGrpSpPr/>
          <p:nvPr/>
        </p:nvGrpSpPr>
        <p:grpSpPr>
          <a:xfrm>
            <a:off x="2854864" y="883566"/>
            <a:ext cx="5849488" cy="5284983"/>
            <a:chOff x="4723333" y="1431499"/>
            <a:chExt cx="3931822" cy="3238496"/>
          </a:xfrm>
        </p:grpSpPr>
        <p:sp>
          <p:nvSpPr>
            <p:cNvPr id="5" name="TextBox 4"/>
            <p:cNvSpPr txBox="1">
              <a:spLocks/>
            </p:cNvSpPr>
            <p:nvPr/>
          </p:nvSpPr>
          <p:spPr>
            <a:xfrm>
              <a:off x="4723333" y="1431499"/>
              <a:ext cx="3931822" cy="5109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0B4623"/>
                </a:buClr>
              </a:pPr>
              <a:r>
                <a:rPr lang="en-US" b="1" dirty="0" smtClean="0">
                  <a:solidFill>
                    <a:srgbClr val="0B4623"/>
                  </a:solidFill>
                </a:rPr>
                <a:t>…</a:t>
              </a:r>
              <a:r>
                <a:rPr lang="en-US" b="1" dirty="0" err="1" smtClean="0">
                  <a:solidFill>
                    <a:srgbClr val="0B4623"/>
                  </a:solidFill>
                </a:rPr>
                <a:t>iTrack</a:t>
              </a:r>
              <a:r>
                <a:rPr lang="en-US" b="1" dirty="0" smtClean="0">
                  <a:solidFill>
                    <a:srgbClr val="0B4623"/>
                  </a:solidFill>
                </a:rPr>
                <a:t> will reduce time consuming work and improve efficiency of </a:t>
              </a:r>
              <a:r>
                <a:rPr lang="en-US" b="1" dirty="0" err="1" smtClean="0">
                  <a:solidFill>
                    <a:srgbClr val="0B4623"/>
                  </a:solidFill>
                </a:rPr>
                <a:t>DUs</a:t>
              </a:r>
              <a:endParaRPr lang="en-US" b="1" dirty="0">
                <a:solidFill>
                  <a:srgbClr val="0B4623"/>
                </a:solidFill>
              </a:endParaRPr>
            </a:p>
          </p:txBody>
        </p:sp>
        <p:grpSp>
          <p:nvGrpSpPr>
            <p:cNvPr id="3" name="Group 2"/>
            <p:cNvGrpSpPr>
              <a:grpSpLocks/>
            </p:cNvGrpSpPr>
            <p:nvPr/>
          </p:nvGrpSpPr>
          <p:grpSpPr>
            <a:xfrm>
              <a:off x="4723333" y="2051005"/>
              <a:ext cx="3931822" cy="2618990"/>
              <a:chOff x="4728433" y="2051005"/>
              <a:chExt cx="3898689" cy="2618990"/>
            </a:xfrm>
          </p:grpSpPr>
          <p:pic>
            <p:nvPicPr>
              <p:cNvPr id="23" name="Picture 6" descr="http://cache2.asset-cache.net/gc/450769255-man-lying-on-sofa-and-using-tablet-pc-gettyimages.jpg?v=1&amp;c=IWSAsset&amp;k=2&amp;d=K9qbJHvCtnVHfIOiSZHpHPqyy1LYI1jOqLG68VIGh3E%3D"/>
              <p:cNvPicPr>
                <a:picLocks noChangeArrowheads="1"/>
              </p:cNvPicPr>
              <p:nvPr/>
            </p:nvPicPr>
            <p:blipFill rotWithShape="1">
              <a:blip r:embed="rId9" cstate="email">
                <a:extLst>
                  <a:ext uri="{28A0092B-C50C-407E-A947-70E740481C1C}">
                    <a14:useLocalDpi xmlns:a14="http://schemas.microsoft.com/office/drawing/2010/main" val="0"/>
                  </a:ext>
                </a:extLst>
              </a:blip>
              <a:srcRect/>
              <a:stretch/>
            </p:blipFill>
            <p:spPr bwMode="auto">
              <a:xfrm>
                <a:off x="4728433" y="2051005"/>
                <a:ext cx="1867559" cy="261898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4" name="Picture 23"/>
              <p:cNvPicPr>
                <a:picLocks/>
              </p:cNvPicPr>
              <p:nvPr/>
            </p:nvPicPr>
            <p:blipFill>
              <a:blip r:embed="rId10" cstate="email">
                <a:extLst>
                  <a:ext uri="{28A0092B-C50C-407E-A947-70E740481C1C}">
                    <a14:useLocalDpi xmlns:a14="http://schemas.microsoft.com/office/drawing/2010/main" val="0"/>
                  </a:ext>
                </a:extLst>
              </a:blip>
              <a:stretch>
                <a:fillRect/>
              </a:stretch>
            </p:blipFill>
            <p:spPr>
              <a:xfrm>
                <a:off x="6642645" y="2051006"/>
                <a:ext cx="1984477" cy="1251942"/>
              </a:xfrm>
              <a:prstGeom prst="rect">
                <a:avLst/>
              </a:prstGeom>
            </p:spPr>
          </p:pic>
          <p:pic>
            <p:nvPicPr>
              <p:cNvPr id="25" name="Picture 24"/>
              <p:cNvPicPr>
                <a:picLocks noChangeAspect="1"/>
              </p:cNvPicPr>
              <p:nvPr/>
            </p:nvPicPr>
            <p:blipFill>
              <a:blip r:embed="rId11"/>
              <a:stretch>
                <a:fillRect/>
              </a:stretch>
            </p:blipFill>
            <p:spPr>
              <a:xfrm>
                <a:off x="6642645" y="3347010"/>
                <a:ext cx="1984477" cy="1322985"/>
              </a:xfrm>
              <a:prstGeom prst="rect">
                <a:avLst/>
              </a:prstGeom>
            </p:spPr>
          </p:pic>
        </p:grpSp>
      </p:grpSp>
      <p:grpSp>
        <p:nvGrpSpPr>
          <p:cNvPr id="20" name="Group 19"/>
          <p:cNvGrpSpPr/>
          <p:nvPr/>
        </p:nvGrpSpPr>
        <p:grpSpPr>
          <a:xfrm>
            <a:off x="2487163" y="1876523"/>
            <a:ext cx="365760" cy="360868"/>
            <a:chOff x="4304845" y="2680707"/>
            <a:chExt cx="365760" cy="360868"/>
          </a:xfrm>
        </p:grpSpPr>
        <p:sp>
          <p:nvSpPr>
            <p:cNvPr id="21" name="Oval 20"/>
            <p:cNvSpPr/>
            <p:nvPr/>
          </p:nvSpPr>
          <p:spPr>
            <a:xfrm>
              <a:off x="4304845" y="2680707"/>
              <a:ext cx="365760" cy="360868"/>
            </a:xfrm>
            <a:prstGeom prst="ellipse">
              <a:avLst/>
            </a:prstGeom>
            <a:gradFill>
              <a:gsLst>
                <a:gs pos="100000">
                  <a:schemeClr val="accent6">
                    <a:lumMod val="20000"/>
                    <a:lumOff val="80000"/>
                  </a:schemeClr>
                </a:gs>
                <a:gs pos="0">
                  <a:schemeClr val="bg1"/>
                </a:gs>
              </a:gsLst>
              <a:lin ang="5400000" scaled="1"/>
            </a:gra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smtClean="0">
                <a:solidFill>
                  <a:srgbClr val="FFFFFF"/>
                </a:solidFill>
              </a:endParaRPr>
            </a:p>
          </p:txBody>
        </p:sp>
        <p:sp>
          <p:nvSpPr>
            <p:cNvPr id="22" name="Chevron 21"/>
            <p:cNvSpPr/>
            <p:nvPr/>
          </p:nvSpPr>
          <p:spPr>
            <a:xfrm>
              <a:off x="4382121" y="2776861"/>
              <a:ext cx="100200" cy="168557"/>
            </a:xfrm>
            <a:prstGeom prst="chevron">
              <a:avLst>
                <a:gd name="adj" fmla="val 37528"/>
              </a:avLst>
            </a:prstGeom>
            <a:gradFill>
              <a:gsLst>
                <a:gs pos="100000">
                  <a:schemeClr val="accent1">
                    <a:lumMod val="90000"/>
                  </a:schemeClr>
                </a:gs>
                <a:gs pos="0">
                  <a:schemeClr val="accent1"/>
                </a:gs>
              </a:gsLst>
              <a:lin ang="5400000" scaled="1"/>
            </a:gradFill>
            <a:ln w="9525">
              <a:noFill/>
              <a:miter lim="800000"/>
              <a:headEnd/>
              <a:tailEnd/>
            </a:ln>
            <a:effectLst/>
          </p:spPr>
          <p:txBody>
            <a:bodyPr vert="horz" wrap="square" lIns="73152" tIns="73152" rIns="73152" bIns="73152" numCol="1" anchor="ctr" anchorCtr="0" compatLnSpc="1">
              <a:prstTxWarp prst="textNoShape">
                <a:avLst/>
              </a:prstTxWarp>
              <a:noAutofit/>
            </a:bodyPr>
            <a:lstStyle/>
            <a:p>
              <a:pPr defTabSz="913429">
                <a:buClr>
                  <a:srgbClr val="002960"/>
                </a:buClr>
              </a:pPr>
              <a:endParaRPr lang="en-US" b="1" dirty="0" err="1">
                <a:solidFill>
                  <a:srgbClr val="0B4623"/>
                </a:solidFill>
                <a:latin typeface="Arial"/>
                <a:cs typeface="Arial"/>
              </a:endParaRPr>
            </a:p>
          </p:txBody>
        </p:sp>
        <p:sp>
          <p:nvSpPr>
            <p:cNvPr id="26" name="Chevron 25"/>
            <p:cNvSpPr/>
            <p:nvPr/>
          </p:nvSpPr>
          <p:spPr>
            <a:xfrm>
              <a:off x="4467865" y="2755621"/>
              <a:ext cx="125453" cy="211037"/>
            </a:xfrm>
            <a:prstGeom prst="chevron">
              <a:avLst>
                <a:gd name="adj" fmla="val 37528"/>
              </a:avLst>
            </a:prstGeom>
            <a:gradFill>
              <a:gsLst>
                <a:gs pos="0">
                  <a:schemeClr val="accent3"/>
                </a:gs>
                <a:gs pos="100000">
                  <a:schemeClr val="accent3">
                    <a:lumMod val="75000"/>
                  </a:schemeClr>
                </a:gs>
              </a:gsLst>
              <a:lin ang="5400000" scaled="1"/>
            </a:gradFill>
            <a:ln w="19050">
              <a:noFill/>
            </a:ln>
            <a:effectLst/>
          </p:spPr>
          <p:txBody>
            <a:bodyPr wrap="square" lIns="0" tIns="0" rIns="0" bIns="0" anchor="ctr" anchorCtr="1">
              <a:noAutofit/>
            </a:bodyPr>
            <a:lstStyle/>
            <a:p>
              <a:pPr defTabSz="895350"/>
              <a:endParaRPr lang="en-US" b="1" dirty="0" err="1">
                <a:solidFill>
                  <a:srgbClr val="FFFFFF"/>
                </a:solidFill>
                <a:latin typeface="Arial"/>
                <a:cs typeface="Arial" charset="0"/>
              </a:endParaRPr>
            </a:p>
          </p:txBody>
        </p:sp>
      </p:grpSp>
    </p:spTree>
    <p:extLst>
      <p:ext uri="{BB962C8B-B14F-4D97-AF65-F5344CB8AC3E}">
        <p14:creationId xmlns:p14="http://schemas.microsoft.com/office/powerpoint/2010/main" val="285464853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65434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71" name="think-cell Slide" r:id="rId180" imgW="347" imgH="346" progId="TCLayout.ActiveDocument.1">
                  <p:embed/>
                </p:oleObj>
              </mc:Choice>
              <mc:Fallback>
                <p:oleObj name="think-cell Slide" r:id="rId180" imgW="347" imgH="346" progId="TCLayout.ActiveDocument.1">
                  <p:embed/>
                  <p:pic>
                    <p:nvPicPr>
                      <p:cNvPr id="0" name=""/>
                      <p:cNvPicPr/>
                      <p:nvPr/>
                    </p:nvPicPr>
                    <p:blipFill>
                      <a:blip r:embed="rId181"/>
                      <a:stretch>
                        <a:fillRect/>
                      </a:stretch>
                    </p:blipFill>
                    <p:spPr>
                      <a:xfrm>
                        <a:off x="1588" y="1588"/>
                        <a:ext cx="1587" cy="1587"/>
                      </a:xfrm>
                      <a:prstGeom prst="rect">
                        <a:avLst/>
                      </a:prstGeom>
                    </p:spPr>
                  </p:pic>
                </p:oleObj>
              </mc:Fallback>
            </mc:AlternateContent>
          </a:graphicData>
        </a:graphic>
      </p:graphicFrame>
      <p:sp>
        <p:nvSpPr>
          <p:cNvPr id="250" name="Title 1"/>
          <p:cNvSpPr txBox="1">
            <a:spLocks/>
          </p:cNvSpPr>
          <p:nvPr/>
        </p:nvSpPr>
        <p:spPr bwMode="auto">
          <a:xfrm>
            <a:off x="1" y="0"/>
            <a:ext cx="8961437" cy="635006"/>
          </a:xfrm>
          <a:prstGeom prst="rect">
            <a:avLst/>
          </a:prstGeom>
          <a:extLst>
            <a:ext uri="{91240B29-F687-4F45-9708-019B960494DF}">
              <a14:hiddenLine xmlns:a14="http://schemas.microsoft.com/office/drawing/2010/main" w="9525">
                <a:solidFill>
                  <a:schemeClr val="tx2"/>
                </a:solidFill>
                <a:miter lim="800000"/>
                <a:headEnd/>
                <a:tailEnd/>
              </a14:hiddenLine>
            </a:ext>
          </a:extLst>
        </p:spPr>
        <p:style>
          <a:lnRef idx="0">
            <a:schemeClr val="accent3"/>
          </a:lnRef>
          <a:fillRef idx="3">
            <a:schemeClr val="accent3"/>
          </a:fillRef>
          <a:effectRef idx="3">
            <a:schemeClr val="accent3"/>
          </a:effectRef>
          <a:fontRef idx="minor">
            <a:schemeClr val="lt1"/>
          </a:fontRef>
        </p:style>
        <p:txBody>
          <a:bodyPr vert="horz" wrap="square" lIns="0" tIns="0" rIns="0" bIns="0" numCol="1" anchor="ctr" anchorCtr="0" compatLnSpc="1">
            <a:prstTxWarp prst="textNoShape">
              <a:avLst/>
            </a:prstTxWarp>
            <a:noAutofit/>
          </a:bodyPr>
          <a:lstStyle>
            <a:lvl1pPr algn="l" defTabSz="895255" rtl="0" eaLnBrk="1" fontAlgn="base" hangingPunct="1">
              <a:spcBef>
                <a:spcPct val="0"/>
              </a:spcBef>
              <a:spcAft>
                <a:spcPct val="0"/>
              </a:spcAft>
              <a:tabLst>
                <a:tab pos="269846" algn="l"/>
              </a:tabLst>
              <a:defRPr sz="1900" b="1" baseline="0">
                <a:solidFill>
                  <a:schemeClr val="lt1"/>
                </a:solidFill>
                <a:latin typeface="+mn-lt"/>
                <a:ea typeface="+mn-ea"/>
                <a:cs typeface="+mn-cs"/>
              </a:defRPr>
            </a:lvl1pPr>
            <a:lvl2pPr algn="l" defTabSz="895255" rtl="0" eaLnBrk="1" fontAlgn="base" hangingPunct="1">
              <a:spcBef>
                <a:spcPct val="0"/>
              </a:spcBef>
              <a:spcAft>
                <a:spcPct val="0"/>
              </a:spcAft>
              <a:defRPr sz="1900" b="1">
                <a:solidFill>
                  <a:schemeClr val="lt1"/>
                </a:solidFill>
                <a:latin typeface="+mn-lt"/>
                <a:ea typeface="+mn-ea"/>
                <a:cs typeface="+mn-cs"/>
              </a:defRPr>
            </a:lvl2pPr>
            <a:lvl3pPr algn="l" defTabSz="895255" rtl="0" eaLnBrk="1" fontAlgn="base" hangingPunct="1">
              <a:spcBef>
                <a:spcPct val="0"/>
              </a:spcBef>
              <a:spcAft>
                <a:spcPct val="0"/>
              </a:spcAft>
              <a:defRPr sz="1900" b="1">
                <a:solidFill>
                  <a:schemeClr val="lt1"/>
                </a:solidFill>
                <a:latin typeface="+mn-lt"/>
                <a:ea typeface="+mn-ea"/>
                <a:cs typeface="+mn-cs"/>
              </a:defRPr>
            </a:lvl3pPr>
            <a:lvl4pPr algn="l" defTabSz="895255" rtl="0" eaLnBrk="1" fontAlgn="base" hangingPunct="1">
              <a:spcBef>
                <a:spcPct val="0"/>
              </a:spcBef>
              <a:spcAft>
                <a:spcPct val="0"/>
              </a:spcAft>
              <a:defRPr sz="1900" b="1">
                <a:solidFill>
                  <a:schemeClr val="lt1"/>
                </a:solidFill>
                <a:latin typeface="+mn-lt"/>
                <a:ea typeface="+mn-ea"/>
                <a:cs typeface="+mn-cs"/>
              </a:defRPr>
            </a:lvl4pPr>
            <a:lvl5pPr algn="l" defTabSz="895255" rtl="0" eaLnBrk="1" fontAlgn="base" hangingPunct="1">
              <a:spcBef>
                <a:spcPct val="0"/>
              </a:spcBef>
              <a:spcAft>
                <a:spcPct val="0"/>
              </a:spcAft>
              <a:defRPr sz="1900" b="1">
                <a:solidFill>
                  <a:schemeClr val="lt1"/>
                </a:solidFill>
                <a:latin typeface="+mn-lt"/>
                <a:ea typeface="+mn-ea"/>
                <a:cs typeface="+mn-cs"/>
              </a:defRPr>
            </a:lvl5pPr>
            <a:lvl6pPr marL="457151" algn="l" defTabSz="895255" rtl="0" eaLnBrk="1" fontAlgn="base" hangingPunct="1">
              <a:spcBef>
                <a:spcPct val="0"/>
              </a:spcBef>
              <a:spcAft>
                <a:spcPct val="0"/>
              </a:spcAft>
              <a:defRPr sz="1900" b="1">
                <a:solidFill>
                  <a:schemeClr val="lt1"/>
                </a:solidFill>
                <a:latin typeface="+mn-lt"/>
                <a:ea typeface="+mn-ea"/>
                <a:cs typeface="+mn-cs"/>
              </a:defRPr>
            </a:lvl6pPr>
            <a:lvl7pPr marL="914303" algn="l" defTabSz="895255" rtl="0" eaLnBrk="1" fontAlgn="base" hangingPunct="1">
              <a:spcBef>
                <a:spcPct val="0"/>
              </a:spcBef>
              <a:spcAft>
                <a:spcPct val="0"/>
              </a:spcAft>
              <a:defRPr sz="1900" b="1">
                <a:solidFill>
                  <a:schemeClr val="lt1"/>
                </a:solidFill>
                <a:latin typeface="+mn-lt"/>
                <a:ea typeface="+mn-ea"/>
                <a:cs typeface="+mn-cs"/>
              </a:defRPr>
            </a:lvl7pPr>
            <a:lvl8pPr marL="1371454" algn="l" defTabSz="895255" rtl="0" eaLnBrk="1" fontAlgn="base" hangingPunct="1">
              <a:spcBef>
                <a:spcPct val="0"/>
              </a:spcBef>
              <a:spcAft>
                <a:spcPct val="0"/>
              </a:spcAft>
              <a:defRPr sz="1900" b="1">
                <a:solidFill>
                  <a:schemeClr val="lt1"/>
                </a:solidFill>
                <a:latin typeface="+mn-lt"/>
                <a:ea typeface="+mn-ea"/>
                <a:cs typeface="+mn-cs"/>
              </a:defRPr>
            </a:lvl8pPr>
            <a:lvl9pPr marL="1828607" algn="l" defTabSz="895255" rtl="0" eaLnBrk="1" fontAlgn="base" hangingPunct="1">
              <a:spcBef>
                <a:spcPct val="0"/>
              </a:spcBef>
              <a:spcAft>
                <a:spcPct val="0"/>
              </a:spcAft>
              <a:defRPr sz="1900" b="1">
                <a:solidFill>
                  <a:schemeClr val="lt1"/>
                </a:solidFill>
                <a:latin typeface="+mn-lt"/>
                <a:ea typeface="+mn-ea"/>
                <a:cs typeface="+mn-cs"/>
              </a:defRPr>
            </a:lvl9pPr>
          </a:lstStyle>
          <a:p>
            <a:pPr algn="ctr"/>
            <a:endParaRPr lang="en-ZA" sz="2200" kern="0" dirty="0">
              <a:solidFill>
                <a:schemeClr val="bg1"/>
              </a:solidFill>
            </a:endParaRPr>
          </a:p>
        </p:txBody>
      </p:sp>
      <p:sp>
        <p:nvSpPr>
          <p:cNvPr id="7" name="Rectangle 6"/>
          <p:cNvSpPr/>
          <p:nvPr/>
        </p:nvSpPr>
        <p:spPr>
          <a:xfrm>
            <a:off x="0" y="628650"/>
            <a:ext cx="8961438" cy="5495925"/>
          </a:xfrm>
          <a:prstGeom prst="rect">
            <a:avLst/>
          </a:prstGeom>
          <a:solidFill>
            <a:schemeClr val="accent4">
              <a:lumMod val="60000"/>
              <a:lumOff val="40000"/>
            </a:schemeClr>
          </a:solidFill>
          <a:ln w="22225" algn="ctr">
            <a:solidFill>
              <a:srgbClr val="D0CBBE"/>
            </a:solidFill>
            <a:miter lim="800000"/>
            <a:headEnd/>
            <a:tailEnd/>
          </a:ln>
          <a:effectLst/>
        </p:spPr>
        <p:txBody>
          <a:bodyPr vert="horz" wrap="square" lIns="91440" tIns="45720" rIns="91440" bIns="45720" numCol="1" rtlCol="0" anchor="t" anchorCtr="0" compatLnSpc="1">
            <a:prstTxWarp prst="textNoShape">
              <a:avLst/>
            </a:prstTxWarp>
          </a:bodyPr>
          <a:lstStyle/>
          <a:p>
            <a:pPr algn="ctr" fontAlgn="auto">
              <a:spcBef>
                <a:spcPts val="0"/>
              </a:spcBef>
              <a:spcAft>
                <a:spcPts val="0"/>
              </a:spcAft>
            </a:pPr>
            <a:endParaRPr lang="en-US" sz="1800" kern="0" dirty="0">
              <a:solidFill>
                <a:srgbClr val="4D4D4D"/>
              </a:solidFill>
              <a:latin typeface="Arial" pitchFamily="34" charset="0"/>
              <a:cs typeface="Arial" pitchFamily="34" charset="0"/>
            </a:endParaRPr>
          </a:p>
        </p:txBody>
      </p:sp>
      <p:sp>
        <p:nvSpPr>
          <p:cNvPr id="8" name="Rectangle 7"/>
          <p:cNvSpPr/>
          <p:nvPr/>
        </p:nvSpPr>
        <p:spPr>
          <a:xfrm rot="5400000">
            <a:off x="-260579" y="889230"/>
            <a:ext cx="5495927" cy="4974772"/>
          </a:xfrm>
          <a:custGeom>
            <a:avLst/>
            <a:gdLst>
              <a:gd name="connsiteX0" fmla="*/ 0 w 5495925"/>
              <a:gd name="connsiteY0" fmla="*/ 0 h 6962775"/>
              <a:gd name="connsiteX1" fmla="*/ 5495925 w 5495925"/>
              <a:gd name="connsiteY1" fmla="*/ 0 h 6962775"/>
              <a:gd name="connsiteX2" fmla="*/ 5495925 w 5495925"/>
              <a:gd name="connsiteY2" fmla="*/ 6962775 h 6962775"/>
              <a:gd name="connsiteX3" fmla="*/ 0 w 5495925"/>
              <a:gd name="connsiteY3" fmla="*/ 6962775 h 6962775"/>
              <a:gd name="connsiteX4" fmla="*/ 0 w 5495925"/>
              <a:gd name="connsiteY4" fmla="*/ 0 h 6962775"/>
              <a:gd name="connsiteX0" fmla="*/ 0 w 5495925"/>
              <a:gd name="connsiteY0" fmla="*/ 0 h 6962775"/>
              <a:gd name="connsiteX1" fmla="*/ 5495925 w 5495925"/>
              <a:gd name="connsiteY1" fmla="*/ 0 h 6962775"/>
              <a:gd name="connsiteX2" fmla="*/ 5486400 w 5495925"/>
              <a:gd name="connsiteY2" fmla="*/ 1543050 h 6962775"/>
              <a:gd name="connsiteX3" fmla="*/ 5495925 w 5495925"/>
              <a:gd name="connsiteY3" fmla="*/ 6962775 h 6962775"/>
              <a:gd name="connsiteX4" fmla="*/ 0 w 5495925"/>
              <a:gd name="connsiteY4" fmla="*/ 6962775 h 6962775"/>
              <a:gd name="connsiteX5" fmla="*/ 0 w 5495925"/>
              <a:gd name="connsiteY5" fmla="*/ 0 h 6962775"/>
              <a:gd name="connsiteX0" fmla="*/ 0 w 5495925"/>
              <a:gd name="connsiteY0" fmla="*/ 0 h 6962775"/>
              <a:gd name="connsiteX1" fmla="*/ 5486400 w 5495925"/>
              <a:gd name="connsiteY1" fmla="*/ 1543050 h 6962775"/>
              <a:gd name="connsiteX2" fmla="*/ 5495925 w 5495925"/>
              <a:gd name="connsiteY2" fmla="*/ 6962775 h 6962775"/>
              <a:gd name="connsiteX3" fmla="*/ 0 w 5495925"/>
              <a:gd name="connsiteY3" fmla="*/ 6962775 h 6962775"/>
              <a:gd name="connsiteX4" fmla="*/ 0 w 5495925"/>
              <a:gd name="connsiteY4" fmla="*/ 0 h 6962775"/>
              <a:gd name="connsiteX0" fmla="*/ 0 w 5495928"/>
              <a:gd name="connsiteY0" fmla="*/ 0 h 6962775"/>
              <a:gd name="connsiteX1" fmla="*/ 5495928 w 5495928"/>
              <a:gd name="connsiteY1" fmla="*/ 1543049 h 6962775"/>
              <a:gd name="connsiteX2" fmla="*/ 5495925 w 5495928"/>
              <a:gd name="connsiteY2" fmla="*/ 6962775 h 6962775"/>
              <a:gd name="connsiteX3" fmla="*/ 0 w 5495928"/>
              <a:gd name="connsiteY3" fmla="*/ 6962775 h 6962775"/>
              <a:gd name="connsiteX4" fmla="*/ 0 w 5495928"/>
              <a:gd name="connsiteY4" fmla="*/ 0 h 6962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928" h="6962775">
                <a:moveTo>
                  <a:pt x="0" y="0"/>
                </a:moveTo>
                <a:lnTo>
                  <a:pt x="5495928" y="1543049"/>
                </a:lnTo>
                <a:cubicBezTo>
                  <a:pt x="5495927" y="3349624"/>
                  <a:pt x="5495926" y="5156200"/>
                  <a:pt x="5495925" y="6962775"/>
                </a:cubicBezTo>
                <a:lnTo>
                  <a:pt x="0" y="6962775"/>
                </a:lnTo>
                <a:lnTo>
                  <a:pt x="0" y="0"/>
                </a:lnTo>
                <a:close/>
              </a:path>
            </a:pathLst>
          </a:custGeom>
          <a:solidFill>
            <a:schemeClr val="accent1"/>
          </a:solidFill>
          <a:ln w="9525">
            <a:noFill/>
          </a:ln>
          <a:effectLst>
            <a:outerShdw blurRad="304800" dist="38100" sx="98000" sy="980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2" name="Title 1"/>
          <p:cNvSpPr>
            <a:spLocks noGrp="1"/>
          </p:cNvSpPr>
          <p:nvPr>
            <p:ph type="title"/>
          </p:nvPr>
        </p:nvSpPr>
        <p:spPr>
          <a:xfrm>
            <a:off x="177048" y="146297"/>
            <a:ext cx="861853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0">
            <a:schemeClr val="accent3"/>
          </a:lnRef>
          <a:fillRef idx="3">
            <a:schemeClr val="accent3"/>
          </a:fillRef>
          <a:effectRef idx="3">
            <a:schemeClr val="accent3"/>
          </a:effectRef>
          <a:fontRef idx="minor">
            <a:schemeClr val="lt1"/>
          </a:fontRef>
        </p:style>
        <p:txBody>
          <a:bodyPr vert="horz" wrap="square" lIns="0" tIns="0" rIns="0" bIns="0" numCol="1" anchor="ctr" anchorCtr="0" compatLnSpc="1">
            <a:prstTxWarp prst="textNoShape">
              <a:avLst/>
            </a:prstTxWarp>
            <a:spAutoFit/>
          </a:bodyPr>
          <a:lstStyle/>
          <a:p>
            <a:pPr algn="ctr"/>
            <a:r>
              <a:rPr lang="en-US" dirty="0">
                <a:solidFill>
                  <a:schemeClr val="bg1"/>
                </a:solidFill>
                <a:latin typeface="+mn-lt"/>
                <a:ea typeface="+mn-ea"/>
                <a:cs typeface="+mn-cs"/>
              </a:rPr>
              <a:t>South Africa is the 3rd most biodiverse country in the world</a:t>
            </a:r>
            <a:endParaRPr lang="en-ZA" dirty="0">
              <a:solidFill>
                <a:schemeClr val="bg1"/>
              </a:solidFill>
              <a:latin typeface="+mn-lt"/>
              <a:ea typeface="+mn-ea"/>
              <a:cs typeface="+mn-cs"/>
            </a:endParaRPr>
          </a:p>
        </p:txBody>
      </p:sp>
      <p:sp>
        <p:nvSpPr>
          <p:cNvPr id="25" name="TextBox 24"/>
          <p:cNvSpPr txBox="1"/>
          <p:nvPr/>
        </p:nvSpPr>
        <p:spPr>
          <a:xfrm>
            <a:off x="705365" y="4732795"/>
            <a:ext cx="2816732"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lgn="ctr">
              <a:buNone/>
            </a:pPr>
            <a:r>
              <a:rPr lang="en-US" sz="3600" b="1" dirty="0" smtClean="0">
                <a:solidFill>
                  <a:schemeClr val="accent3"/>
                </a:solidFill>
              </a:rPr>
              <a:t>2% </a:t>
            </a:r>
            <a:r>
              <a:rPr lang="en-US" sz="2800" dirty="0" smtClean="0">
                <a:solidFill>
                  <a:schemeClr val="accent3"/>
                </a:solidFill>
              </a:rPr>
              <a:t>of the </a:t>
            </a:r>
            <a:br>
              <a:rPr lang="en-US" sz="2800" dirty="0" smtClean="0">
                <a:solidFill>
                  <a:schemeClr val="accent3"/>
                </a:solidFill>
              </a:rPr>
            </a:br>
            <a:r>
              <a:rPr lang="en-US" sz="2800" dirty="0" smtClean="0">
                <a:solidFill>
                  <a:schemeClr val="accent3"/>
                </a:solidFill>
              </a:rPr>
              <a:t>world’s land area </a:t>
            </a:r>
            <a:endParaRPr lang="en-US" sz="2800" dirty="0">
              <a:solidFill>
                <a:schemeClr val="accent3"/>
              </a:solidFill>
            </a:endParaRPr>
          </a:p>
        </p:txBody>
      </p:sp>
      <p:sp>
        <p:nvSpPr>
          <p:cNvPr id="27" name="TextBox 26"/>
          <p:cNvSpPr txBox="1"/>
          <p:nvPr/>
        </p:nvSpPr>
        <p:spPr>
          <a:xfrm>
            <a:off x="4539563" y="3021222"/>
            <a:ext cx="1907895"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lgn="ctr">
              <a:buNone/>
            </a:pPr>
            <a:r>
              <a:rPr lang="en-ZA" sz="3600" b="1" dirty="0">
                <a:solidFill>
                  <a:schemeClr val="accent3"/>
                </a:solidFill>
              </a:rPr>
              <a:t>10% </a:t>
            </a:r>
            <a:r>
              <a:rPr lang="en-ZA" sz="2400" dirty="0">
                <a:solidFill>
                  <a:schemeClr val="accent3"/>
                </a:solidFill>
              </a:rPr>
              <a:t>of the </a:t>
            </a:r>
            <a:r>
              <a:rPr lang="en-ZA" sz="2400" dirty="0" smtClean="0">
                <a:solidFill>
                  <a:schemeClr val="accent3"/>
                </a:solidFill>
              </a:rPr>
              <a:t/>
            </a:r>
            <a:br>
              <a:rPr lang="en-ZA" sz="2400" dirty="0" smtClean="0">
                <a:solidFill>
                  <a:schemeClr val="accent3"/>
                </a:solidFill>
              </a:rPr>
            </a:br>
            <a:r>
              <a:rPr lang="en-ZA" sz="2400" dirty="0" smtClean="0">
                <a:solidFill>
                  <a:schemeClr val="accent3"/>
                </a:solidFill>
              </a:rPr>
              <a:t>world’s </a:t>
            </a:r>
            <a:r>
              <a:rPr lang="en-ZA" sz="2400" dirty="0">
                <a:solidFill>
                  <a:schemeClr val="accent3"/>
                </a:solidFill>
              </a:rPr>
              <a:t>plants</a:t>
            </a:r>
            <a:endParaRPr lang="en-US" sz="2800" dirty="0">
              <a:solidFill>
                <a:schemeClr val="accent3"/>
              </a:solidFill>
            </a:endParaRPr>
          </a:p>
        </p:txBody>
      </p:sp>
      <p:grpSp>
        <p:nvGrpSpPr>
          <p:cNvPr id="5" name="Group 4"/>
          <p:cNvGrpSpPr>
            <a:grpSpLocks noChangeAspect="1"/>
          </p:cNvGrpSpPr>
          <p:nvPr/>
        </p:nvGrpSpPr>
        <p:grpSpPr>
          <a:xfrm>
            <a:off x="202729" y="1147676"/>
            <a:ext cx="3806739" cy="2624742"/>
            <a:chOff x="151209" y="795808"/>
            <a:chExt cx="5341971" cy="3683283"/>
          </a:xfrm>
        </p:grpSpPr>
        <p:sp>
          <p:nvSpPr>
            <p:cNvPr id="30" name="Freeform 930"/>
            <p:cNvSpPr>
              <a:spLocks/>
            </p:cNvSpPr>
            <p:nvPr>
              <p:custDataLst>
                <p:tags r:id="rId4"/>
              </p:custDataLst>
            </p:nvPr>
          </p:nvSpPr>
          <p:spPr bwMode="gray">
            <a:xfrm>
              <a:off x="2939023" y="2823940"/>
              <a:ext cx="158680" cy="234053"/>
            </a:xfrm>
            <a:custGeom>
              <a:avLst/>
              <a:gdLst>
                <a:gd name="T0" fmla="*/ 140 w 160"/>
                <a:gd name="T1" fmla="*/ 182 h 236"/>
                <a:gd name="T2" fmla="*/ 137 w 160"/>
                <a:gd name="T3" fmla="*/ 164 h 236"/>
                <a:gd name="T4" fmla="*/ 131 w 160"/>
                <a:gd name="T5" fmla="*/ 154 h 236"/>
                <a:gd name="T6" fmla="*/ 137 w 160"/>
                <a:gd name="T7" fmla="*/ 136 h 236"/>
                <a:gd name="T8" fmla="*/ 158 w 160"/>
                <a:gd name="T9" fmla="*/ 106 h 236"/>
                <a:gd name="T10" fmla="*/ 158 w 160"/>
                <a:gd name="T11" fmla="*/ 63 h 236"/>
                <a:gd name="T12" fmla="*/ 143 w 160"/>
                <a:gd name="T13" fmla="*/ 49 h 236"/>
                <a:gd name="T14" fmla="*/ 125 w 160"/>
                <a:gd name="T15" fmla="*/ 39 h 236"/>
                <a:gd name="T16" fmla="*/ 107 w 160"/>
                <a:gd name="T17" fmla="*/ 30 h 236"/>
                <a:gd name="T18" fmla="*/ 92 w 160"/>
                <a:gd name="T19" fmla="*/ 26 h 236"/>
                <a:gd name="T20" fmla="*/ 77 w 160"/>
                <a:gd name="T21" fmla="*/ 8 h 236"/>
                <a:gd name="T22" fmla="*/ 65 w 160"/>
                <a:gd name="T23" fmla="*/ 7 h 236"/>
                <a:gd name="T24" fmla="*/ 50 w 160"/>
                <a:gd name="T25" fmla="*/ 4 h 236"/>
                <a:gd name="T26" fmla="*/ 26 w 160"/>
                <a:gd name="T27" fmla="*/ 2 h 236"/>
                <a:gd name="T28" fmla="*/ 31 w 160"/>
                <a:gd name="T29" fmla="*/ 17 h 236"/>
                <a:gd name="T30" fmla="*/ 40 w 160"/>
                <a:gd name="T31" fmla="*/ 51 h 236"/>
                <a:gd name="T32" fmla="*/ 34 w 160"/>
                <a:gd name="T33" fmla="*/ 93 h 236"/>
                <a:gd name="T34" fmla="*/ 21 w 160"/>
                <a:gd name="T35" fmla="*/ 116 h 236"/>
                <a:gd name="T36" fmla="*/ 5 w 160"/>
                <a:gd name="T37" fmla="*/ 131 h 236"/>
                <a:gd name="T38" fmla="*/ 13 w 160"/>
                <a:gd name="T39" fmla="*/ 158 h 236"/>
                <a:gd name="T40" fmla="*/ 28 w 160"/>
                <a:gd name="T41" fmla="*/ 188 h 236"/>
                <a:gd name="T42" fmla="*/ 29 w 160"/>
                <a:gd name="T43" fmla="*/ 197 h 236"/>
                <a:gd name="T44" fmla="*/ 14 w 160"/>
                <a:gd name="T45" fmla="*/ 205 h 236"/>
                <a:gd name="T46" fmla="*/ 26 w 160"/>
                <a:gd name="T47" fmla="*/ 217 h 236"/>
                <a:gd name="T48" fmla="*/ 43 w 160"/>
                <a:gd name="T49" fmla="*/ 232 h 236"/>
                <a:gd name="T50" fmla="*/ 67 w 160"/>
                <a:gd name="T51" fmla="*/ 235 h 236"/>
                <a:gd name="T52" fmla="*/ 83 w 160"/>
                <a:gd name="T53" fmla="*/ 228 h 236"/>
                <a:gd name="T54" fmla="*/ 98 w 160"/>
                <a:gd name="T55" fmla="*/ 214 h 236"/>
                <a:gd name="T56" fmla="*/ 115 w 160"/>
                <a:gd name="T57" fmla="*/ 205 h 236"/>
                <a:gd name="T58" fmla="*/ 121 w 160"/>
                <a:gd name="T59" fmla="*/ 197 h 236"/>
                <a:gd name="T60" fmla="*/ 142 w 160"/>
                <a:gd name="T61" fmla="*/ 185 h 236"/>
                <a:gd name="T62" fmla="*/ 140 w 160"/>
                <a:gd name="T63" fmla="*/ 18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36">
                  <a:moveTo>
                    <a:pt x="140" y="182"/>
                  </a:moveTo>
                  <a:cubicBezTo>
                    <a:pt x="140" y="178"/>
                    <a:pt x="138" y="169"/>
                    <a:pt x="137" y="164"/>
                  </a:cubicBezTo>
                  <a:cubicBezTo>
                    <a:pt x="136" y="159"/>
                    <a:pt x="131" y="159"/>
                    <a:pt x="131" y="154"/>
                  </a:cubicBezTo>
                  <a:cubicBezTo>
                    <a:pt x="133" y="149"/>
                    <a:pt x="137" y="136"/>
                    <a:pt x="137" y="136"/>
                  </a:cubicBezTo>
                  <a:cubicBezTo>
                    <a:pt x="145" y="123"/>
                    <a:pt x="140" y="110"/>
                    <a:pt x="158" y="106"/>
                  </a:cubicBezTo>
                  <a:cubicBezTo>
                    <a:pt x="160" y="93"/>
                    <a:pt x="160" y="72"/>
                    <a:pt x="158" y="63"/>
                  </a:cubicBezTo>
                  <a:cubicBezTo>
                    <a:pt x="156" y="54"/>
                    <a:pt x="148" y="53"/>
                    <a:pt x="143" y="49"/>
                  </a:cubicBezTo>
                  <a:cubicBezTo>
                    <a:pt x="138" y="42"/>
                    <a:pt x="133" y="40"/>
                    <a:pt x="125" y="39"/>
                  </a:cubicBezTo>
                  <a:cubicBezTo>
                    <a:pt x="118" y="36"/>
                    <a:pt x="114" y="31"/>
                    <a:pt x="107" y="30"/>
                  </a:cubicBezTo>
                  <a:cubicBezTo>
                    <a:pt x="103" y="28"/>
                    <a:pt x="99" y="30"/>
                    <a:pt x="92" y="26"/>
                  </a:cubicBezTo>
                  <a:cubicBezTo>
                    <a:pt x="87" y="22"/>
                    <a:pt x="81" y="11"/>
                    <a:pt x="77" y="8"/>
                  </a:cubicBezTo>
                  <a:cubicBezTo>
                    <a:pt x="73" y="5"/>
                    <a:pt x="69" y="8"/>
                    <a:pt x="65" y="7"/>
                  </a:cubicBezTo>
                  <a:cubicBezTo>
                    <a:pt x="60" y="5"/>
                    <a:pt x="54" y="7"/>
                    <a:pt x="50" y="4"/>
                  </a:cubicBezTo>
                  <a:cubicBezTo>
                    <a:pt x="41" y="4"/>
                    <a:pt x="34" y="0"/>
                    <a:pt x="26" y="2"/>
                  </a:cubicBezTo>
                  <a:cubicBezTo>
                    <a:pt x="22" y="3"/>
                    <a:pt x="25" y="16"/>
                    <a:pt x="31" y="17"/>
                  </a:cubicBezTo>
                  <a:cubicBezTo>
                    <a:pt x="37" y="27"/>
                    <a:pt x="36" y="40"/>
                    <a:pt x="40" y="51"/>
                  </a:cubicBezTo>
                  <a:cubicBezTo>
                    <a:pt x="43" y="69"/>
                    <a:pt x="45" y="79"/>
                    <a:pt x="34" y="93"/>
                  </a:cubicBezTo>
                  <a:cubicBezTo>
                    <a:pt x="31" y="104"/>
                    <a:pt x="26" y="110"/>
                    <a:pt x="21" y="116"/>
                  </a:cubicBezTo>
                  <a:cubicBezTo>
                    <a:pt x="16" y="122"/>
                    <a:pt x="6" y="124"/>
                    <a:pt x="5" y="131"/>
                  </a:cubicBezTo>
                  <a:cubicBezTo>
                    <a:pt x="3" y="142"/>
                    <a:pt x="0" y="156"/>
                    <a:pt x="13" y="158"/>
                  </a:cubicBezTo>
                  <a:cubicBezTo>
                    <a:pt x="14" y="170"/>
                    <a:pt x="21" y="179"/>
                    <a:pt x="28" y="188"/>
                  </a:cubicBezTo>
                  <a:cubicBezTo>
                    <a:pt x="29" y="195"/>
                    <a:pt x="38" y="195"/>
                    <a:pt x="29" y="197"/>
                  </a:cubicBezTo>
                  <a:cubicBezTo>
                    <a:pt x="23" y="200"/>
                    <a:pt x="18" y="199"/>
                    <a:pt x="14" y="205"/>
                  </a:cubicBezTo>
                  <a:cubicBezTo>
                    <a:pt x="16" y="210"/>
                    <a:pt x="21" y="213"/>
                    <a:pt x="26" y="217"/>
                  </a:cubicBezTo>
                  <a:cubicBezTo>
                    <a:pt x="32" y="226"/>
                    <a:pt x="32" y="231"/>
                    <a:pt x="43" y="232"/>
                  </a:cubicBezTo>
                  <a:cubicBezTo>
                    <a:pt x="50" y="235"/>
                    <a:pt x="60" y="236"/>
                    <a:pt x="67" y="235"/>
                  </a:cubicBezTo>
                  <a:cubicBezTo>
                    <a:pt x="74" y="234"/>
                    <a:pt x="78" y="232"/>
                    <a:pt x="83" y="228"/>
                  </a:cubicBezTo>
                  <a:cubicBezTo>
                    <a:pt x="86" y="219"/>
                    <a:pt x="91" y="219"/>
                    <a:pt x="98" y="214"/>
                  </a:cubicBezTo>
                  <a:cubicBezTo>
                    <a:pt x="102" y="207"/>
                    <a:pt x="107" y="206"/>
                    <a:pt x="115" y="205"/>
                  </a:cubicBezTo>
                  <a:cubicBezTo>
                    <a:pt x="125" y="197"/>
                    <a:pt x="113" y="207"/>
                    <a:pt x="121" y="197"/>
                  </a:cubicBezTo>
                  <a:cubicBezTo>
                    <a:pt x="125" y="192"/>
                    <a:pt x="138" y="187"/>
                    <a:pt x="142" y="185"/>
                  </a:cubicBezTo>
                  <a:cubicBezTo>
                    <a:pt x="143" y="184"/>
                    <a:pt x="141" y="183"/>
                    <a:pt x="140" y="182"/>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32" name="Freeform 931"/>
            <p:cNvSpPr>
              <a:spLocks/>
            </p:cNvSpPr>
            <p:nvPr>
              <p:custDataLst>
                <p:tags r:id="rId5"/>
              </p:custDataLst>
            </p:nvPr>
          </p:nvSpPr>
          <p:spPr bwMode="gray">
            <a:xfrm>
              <a:off x="3232581" y="2951876"/>
              <a:ext cx="214218" cy="162647"/>
            </a:xfrm>
            <a:custGeom>
              <a:avLst/>
              <a:gdLst>
                <a:gd name="T0" fmla="*/ 46 w 216"/>
                <a:gd name="T1" fmla="*/ 5 h 164"/>
                <a:gd name="T2" fmla="*/ 68 w 216"/>
                <a:gd name="T3" fmla="*/ 6 h 164"/>
                <a:gd name="T4" fmla="*/ 87 w 216"/>
                <a:gd name="T5" fmla="*/ 6 h 164"/>
                <a:gd name="T6" fmla="*/ 113 w 216"/>
                <a:gd name="T7" fmla="*/ 6 h 164"/>
                <a:gd name="T8" fmla="*/ 124 w 216"/>
                <a:gd name="T9" fmla="*/ 9 h 164"/>
                <a:gd name="T10" fmla="*/ 129 w 216"/>
                <a:gd name="T11" fmla="*/ 24 h 164"/>
                <a:gd name="T12" fmla="*/ 122 w 216"/>
                <a:gd name="T13" fmla="*/ 27 h 164"/>
                <a:gd name="T14" fmla="*/ 124 w 216"/>
                <a:gd name="T15" fmla="*/ 39 h 164"/>
                <a:gd name="T16" fmla="*/ 153 w 216"/>
                <a:gd name="T17" fmla="*/ 64 h 164"/>
                <a:gd name="T18" fmla="*/ 170 w 216"/>
                <a:gd name="T19" fmla="*/ 82 h 164"/>
                <a:gd name="T20" fmla="*/ 182 w 216"/>
                <a:gd name="T21" fmla="*/ 85 h 164"/>
                <a:gd name="T22" fmla="*/ 200 w 216"/>
                <a:gd name="T23" fmla="*/ 94 h 164"/>
                <a:gd name="T24" fmla="*/ 215 w 216"/>
                <a:gd name="T25" fmla="*/ 103 h 164"/>
                <a:gd name="T26" fmla="*/ 198 w 216"/>
                <a:gd name="T27" fmla="*/ 120 h 164"/>
                <a:gd name="T28" fmla="*/ 186 w 216"/>
                <a:gd name="T29" fmla="*/ 133 h 164"/>
                <a:gd name="T30" fmla="*/ 168 w 216"/>
                <a:gd name="T31" fmla="*/ 143 h 164"/>
                <a:gd name="T32" fmla="*/ 132 w 216"/>
                <a:gd name="T33" fmla="*/ 146 h 164"/>
                <a:gd name="T34" fmla="*/ 107 w 216"/>
                <a:gd name="T35" fmla="*/ 161 h 164"/>
                <a:gd name="T36" fmla="*/ 87 w 216"/>
                <a:gd name="T37" fmla="*/ 162 h 164"/>
                <a:gd name="T38" fmla="*/ 65 w 216"/>
                <a:gd name="T39" fmla="*/ 162 h 164"/>
                <a:gd name="T40" fmla="*/ 48 w 216"/>
                <a:gd name="T41" fmla="*/ 148 h 164"/>
                <a:gd name="T42" fmla="*/ 42 w 216"/>
                <a:gd name="T43" fmla="*/ 144 h 164"/>
                <a:gd name="T44" fmla="*/ 24 w 216"/>
                <a:gd name="T45" fmla="*/ 127 h 164"/>
                <a:gd name="T46" fmla="*/ 18 w 216"/>
                <a:gd name="T47" fmla="*/ 113 h 164"/>
                <a:gd name="T48" fmla="*/ 2 w 216"/>
                <a:gd name="T49" fmla="*/ 99 h 164"/>
                <a:gd name="T50" fmla="*/ 4 w 216"/>
                <a:gd name="T51" fmla="*/ 92 h 164"/>
                <a:gd name="T52" fmla="*/ 14 w 216"/>
                <a:gd name="T53" fmla="*/ 83 h 164"/>
                <a:gd name="T54" fmla="*/ 16 w 216"/>
                <a:gd name="T55" fmla="*/ 60 h 164"/>
                <a:gd name="T56" fmla="*/ 28 w 216"/>
                <a:gd name="T57" fmla="*/ 42 h 164"/>
                <a:gd name="T58" fmla="*/ 41 w 216"/>
                <a:gd name="T59" fmla="*/ 31 h 164"/>
                <a:gd name="T60" fmla="*/ 46 w 216"/>
                <a:gd name="T61" fmla="*/ 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64">
                  <a:moveTo>
                    <a:pt x="46" y="5"/>
                  </a:moveTo>
                  <a:cubicBezTo>
                    <a:pt x="50" y="0"/>
                    <a:pt x="61" y="6"/>
                    <a:pt x="68" y="6"/>
                  </a:cubicBezTo>
                  <a:cubicBezTo>
                    <a:pt x="75" y="6"/>
                    <a:pt x="80" y="6"/>
                    <a:pt x="87" y="6"/>
                  </a:cubicBezTo>
                  <a:cubicBezTo>
                    <a:pt x="94" y="6"/>
                    <a:pt x="107" y="6"/>
                    <a:pt x="113" y="6"/>
                  </a:cubicBezTo>
                  <a:cubicBezTo>
                    <a:pt x="117" y="8"/>
                    <a:pt x="121" y="5"/>
                    <a:pt x="124" y="9"/>
                  </a:cubicBezTo>
                  <a:cubicBezTo>
                    <a:pt x="126" y="11"/>
                    <a:pt x="130" y="21"/>
                    <a:pt x="129" y="24"/>
                  </a:cubicBezTo>
                  <a:cubicBezTo>
                    <a:pt x="129" y="27"/>
                    <a:pt x="123" y="25"/>
                    <a:pt x="122" y="27"/>
                  </a:cubicBezTo>
                  <a:cubicBezTo>
                    <a:pt x="121" y="28"/>
                    <a:pt x="119" y="33"/>
                    <a:pt x="124" y="39"/>
                  </a:cubicBezTo>
                  <a:cubicBezTo>
                    <a:pt x="129" y="45"/>
                    <a:pt x="145" y="57"/>
                    <a:pt x="153" y="64"/>
                  </a:cubicBezTo>
                  <a:cubicBezTo>
                    <a:pt x="156" y="69"/>
                    <a:pt x="164" y="78"/>
                    <a:pt x="170" y="82"/>
                  </a:cubicBezTo>
                  <a:cubicBezTo>
                    <a:pt x="174" y="83"/>
                    <a:pt x="182" y="85"/>
                    <a:pt x="182" y="85"/>
                  </a:cubicBezTo>
                  <a:cubicBezTo>
                    <a:pt x="186" y="88"/>
                    <a:pt x="196" y="91"/>
                    <a:pt x="200" y="94"/>
                  </a:cubicBezTo>
                  <a:cubicBezTo>
                    <a:pt x="205" y="97"/>
                    <a:pt x="215" y="99"/>
                    <a:pt x="215" y="103"/>
                  </a:cubicBezTo>
                  <a:cubicBezTo>
                    <a:pt x="216" y="108"/>
                    <a:pt x="203" y="115"/>
                    <a:pt x="198" y="120"/>
                  </a:cubicBezTo>
                  <a:cubicBezTo>
                    <a:pt x="193" y="125"/>
                    <a:pt x="191" y="129"/>
                    <a:pt x="186" y="133"/>
                  </a:cubicBezTo>
                  <a:cubicBezTo>
                    <a:pt x="178" y="138"/>
                    <a:pt x="177" y="141"/>
                    <a:pt x="168" y="143"/>
                  </a:cubicBezTo>
                  <a:cubicBezTo>
                    <a:pt x="159" y="145"/>
                    <a:pt x="142" y="143"/>
                    <a:pt x="132" y="146"/>
                  </a:cubicBezTo>
                  <a:cubicBezTo>
                    <a:pt x="122" y="156"/>
                    <a:pt x="123" y="159"/>
                    <a:pt x="107" y="161"/>
                  </a:cubicBezTo>
                  <a:cubicBezTo>
                    <a:pt x="100" y="164"/>
                    <a:pt x="94" y="162"/>
                    <a:pt x="87" y="162"/>
                  </a:cubicBezTo>
                  <a:cubicBezTo>
                    <a:pt x="80" y="162"/>
                    <a:pt x="71" y="164"/>
                    <a:pt x="65" y="162"/>
                  </a:cubicBezTo>
                  <a:cubicBezTo>
                    <a:pt x="54" y="158"/>
                    <a:pt x="62" y="157"/>
                    <a:pt x="48" y="148"/>
                  </a:cubicBezTo>
                  <a:cubicBezTo>
                    <a:pt x="46" y="147"/>
                    <a:pt x="42" y="144"/>
                    <a:pt x="42" y="144"/>
                  </a:cubicBezTo>
                  <a:cubicBezTo>
                    <a:pt x="38" y="141"/>
                    <a:pt x="29" y="133"/>
                    <a:pt x="24" y="127"/>
                  </a:cubicBezTo>
                  <a:cubicBezTo>
                    <a:pt x="20" y="122"/>
                    <a:pt x="22" y="118"/>
                    <a:pt x="18" y="113"/>
                  </a:cubicBezTo>
                  <a:cubicBezTo>
                    <a:pt x="15" y="109"/>
                    <a:pt x="2" y="99"/>
                    <a:pt x="2" y="99"/>
                  </a:cubicBezTo>
                  <a:cubicBezTo>
                    <a:pt x="0" y="95"/>
                    <a:pt x="2" y="95"/>
                    <a:pt x="4" y="92"/>
                  </a:cubicBezTo>
                  <a:cubicBezTo>
                    <a:pt x="6" y="89"/>
                    <a:pt x="12" y="88"/>
                    <a:pt x="14" y="83"/>
                  </a:cubicBezTo>
                  <a:cubicBezTo>
                    <a:pt x="17" y="76"/>
                    <a:pt x="11" y="67"/>
                    <a:pt x="16" y="60"/>
                  </a:cubicBezTo>
                  <a:cubicBezTo>
                    <a:pt x="18" y="56"/>
                    <a:pt x="25" y="45"/>
                    <a:pt x="28" y="42"/>
                  </a:cubicBezTo>
                  <a:cubicBezTo>
                    <a:pt x="31" y="39"/>
                    <a:pt x="41" y="31"/>
                    <a:pt x="41" y="31"/>
                  </a:cubicBezTo>
                  <a:cubicBezTo>
                    <a:pt x="44" y="24"/>
                    <a:pt x="50" y="13"/>
                    <a:pt x="46" y="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34" name="Freeform 932"/>
            <p:cNvSpPr>
              <a:spLocks/>
            </p:cNvSpPr>
            <p:nvPr>
              <p:custDataLst>
                <p:tags r:id="rId6"/>
              </p:custDataLst>
            </p:nvPr>
          </p:nvSpPr>
          <p:spPr bwMode="gray">
            <a:xfrm>
              <a:off x="2959850" y="3004439"/>
              <a:ext cx="186449" cy="118019"/>
            </a:xfrm>
            <a:custGeom>
              <a:avLst/>
              <a:gdLst>
                <a:gd name="T0" fmla="*/ 11 w 188"/>
                <a:gd name="T1" fmla="*/ 49 h 119"/>
                <a:gd name="T2" fmla="*/ 47 w 188"/>
                <a:gd name="T3" fmla="*/ 52 h 119"/>
                <a:gd name="T4" fmla="*/ 65 w 188"/>
                <a:gd name="T5" fmla="*/ 40 h 119"/>
                <a:gd name="T6" fmla="*/ 97 w 188"/>
                <a:gd name="T7" fmla="*/ 17 h 119"/>
                <a:gd name="T8" fmla="*/ 121 w 188"/>
                <a:gd name="T9" fmla="*/ 0 h 119"/>
                <a:gd name="T10" fmla="*/ 130 w 188"/>
                <a:gd name="T11" fmla="*/ 14 h 119"/>
                <a:gd name="T12" fmla="*/ 136 w 188"/>
                <a:gd name="T13" fmla="*/ 29 h 119"/>
                <a:gd name="T14" fmla="*/ 144 w 188"/>
                <a:gd name="T15" fmla="*/ 41 h 119"/>
                <a:gd name="T16" fmla="*/ 156 w 188"/>
                <a:gd name="T17" fmla="*/ 48 h 119"/>
                <a:gd name="T18" fmla="*/ 164 w 188"/>
                <a:gd name="T19" fmla="*/ 59 h 119"/>
                <a:gd name="T20" fmla="*/ 180 w 188"/>
                <a:gd name="T21" fmla="*/ 77 h 119"/>
                <a:gd name="T22" fmla="*/ 188 w 188"/>
                <a:gd name="T23" fmla="*/ 87 h 119"/>
                <a:gd name="T24" fmla="*/ 169 w 188"/>
                <a:gd name="T25" fmla="*/ 88 h 119"/>
                <a:gd name="T26" fmla="*/ 152 w 188"/>
                <a:gd name="T27" fmla="*/ 93 h 119"/>
                <a:gd name="T28" fmla="*/ 136 w 188"/>
                <a:gd name="T29" fmla="*/ 91 h 119"/>
                <a:gd name="T30" fmla="*/ 106 w 188"/>
                <a:gd name="T31" fmla="*/ 102 h 119"/>
                <a:gd name="T32" fmla="*/ 86 w 188"/>
                <a:gd name="T33" fmla="*/ 96 h 119"/>
                <a:gd name="T34" fmla="*/ 68 w 188"/>
                <a:gd name="T35" fmla="*/ 91 h 119"/>
                <a:gd name="T36" fmla="*/ 55 w 188"/>
                <a:gd name="T37" fmla="*/ 110 h 119"/>
                <a:gd name="T38" fmla="*/ 34 w 188"/>
                <a:gd name="T39" fmla="*/ 110 h 119"/>
                <a:gd name="T40" fmla="*/ 19 w 188"/>
                <a:gd name="T41" fmla="*/ 116 h 119"/>
                <a:gd name="T42" fmla="*/ 7 w 188"/>
                <a:gd name="T43" fmla="*/ 91 h 119"/>
                <a:gd name="T44" fmla="*/ 10 w 188"/>
                <a:gd name="T45" fmla="*/ 58 h 119"/>
                <a:gd name="T46" fmla="*/ 11 w 188"/>
                <a:gd name="T47" fmla="*/ 4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8" h="119">
                  <a:moveTo>
                    <a:pt x="11" y="49"/>
                  </a:moveTo>
                  <a:cubicBezTo>
                    <a:pt x="16" y="48"/>
                    <a:pt x="38" y="53"/>
                    <a:pt x="47" y="52"/>
                  </a:cubicBezTo>
                  <a:cubicBezTo>
                    <a:pt x="56" y="51"/>
                    <a:pt x="62" y="43"/>
                    <a:pt x="65" y="40"/>
                  </a:cubicBezTo>
                  <a:cubicBezTo>
                    <a:pt x="73" y="34"/>
                    <a:pt x="88" y="23"/>
                    <a:pt x="97" y="17"/>
                  </a:cubicBezTo>
                  <a:cubicBezTo>
                    <a:pt x="98" y="10"/>
                    <a:pt x="114" y="3"/>
                    <a:pt x="121" y="0"/>
                  </a:cubicBezTo>
                  <a:cubicBezTo>
                    <a:pt x="124" y="5"/>
                    <a:pt x="127" y="9"/>
                    <a:pt x="130" y="14"/>
                  </a:cubicBezTo>
                  <a:cubicBezTo>
                    <a:pt x="133" y="19"/>
                    <a:pt x="132" y="24"/>
                    <a:pt x="136" y="29"/>
                  </a:cubicBezTo>
                  <a:cubicBezTo>
                    <a:pt x="138" y="33"/>
                    <a:pt x="141" y="38"/>
                    <a:pt x="144" y="41"/>
                  </a:cubicBezTo>
                  <a:cubicBezTo>
                    <a:pt x="147" y="45"/>
                    <a:pt x="153" y="45"/>
                    <a:pt x="156" y="48"/>
                  </a:cubicBezTo>
                  <a:cubicBezTo>
                    <a:pt x="159" y="51"/>
                    <a:pt x="160" y="54"/>
                    <a:pt x="164" y="59"/>
                  </a:cubicBezTo>
                  <a:cubicBezTo>
                    <a:pt x="170" y="65"/>
                    <a:pt x="171" y="75"/>
                    <a:pt x="180" y="77"/>
                  </a:cubicBezTo>
                  <a:cubicBezTo>
                    <a:pt x="181" y="83"/>
                    <a:pt x="187" y="81"/>
                    <a:pt x="188" y="87"/>
                  </a:cubicBezTo>
                  <a:cubicBezTo>
                    <a:pt x="187" y="90"/>
                    <a:pt x="175" y="87"/>
                    <a:pt x="169" y="88"/>
                  </a:cubicBezTo>
                  <a:cubicBezTo>
                    <a:pt x="163" y="89"/>
                    <a:pt x="157" y="93"/>
                    <a:pt x="152" y="93"/>
                  </a:cubicBezTo>
                  <a:cubicBezTo>
                    <a:pt x="143" y="95"/>
                    <a:pt x="143" y="89"/>
                    <a:pt x="136" y="91"/>
                  </a:cubicBezTo>
                  <a:cubicBezTo>
                    <a:pt x="128" y="93"/>
                    <a:pt x="114" y="101"/>
                    <a:pt x="106" y="102"/>
                  </a:cubicBezTo>
                  <a:cubicBezTo>
                    <a:pt x="96" y="109"/>
                    <a:pt x="96" y="98"/>
                    <a:pt x="86" y="96"/>
                  </a:cubicBezTo>
                  <a:cubicBezTo>
                    <a:pt x="79" y="91"/>
                    <a:pt x="78" y="90"/>
                    <a:pt x="68" y="91"/>
                  </a:cubicBezTo>
                  <a:cubicBezTo>
                    <a:pt x="63" y="92"/>
                    <a:pt x="63" y="106"/>
                    <a:pt x="55" y="110"/>
                  </a:cubicBezTo>
                  <a:cubicBezTo>
                    <a:pt x="49" y="113"/>
                    <a:pt x="40" y="109"/>
                    <a:pt x="34" y="110"/>
                  </a:cubicBezTo>
                  <a:cubicBezTo>
                    <a:pt x="28" y="111"/>
                    <a:pt x="23" y="119"/>
                    <a:pt x="19" y="116"/>
                  </a:cubicBezTo>
                  <a:cubicBezTo>
                    <a:pt x="0" y="113"/>
                    <a:pt x="16" y="103"/>
                    <a:pt x="7" y="91"/>
                  </a:cubicBezTo>
                  <a:cubicBezTo>
                    <a:pt x="4" y="76"/>
                    <a:pt x="1" y="69"/>
                    <a:pt x="10" y="58"/>
                  </a:cubicBezTo>
                  <a:cubicBezTo>
                    <a:pt x="11" y="50"/>
                    <a:pt x="11" y="53"/>
                    <a:pt x="11" y="49"/>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35" name="Freeform 934"/>
            <p:cNvSpPr>
              <a:spLocks/>
            </p:cNvSpPr>
            <p:nvPr>
              <p:custDataLst>
                <p:tags r:id="rId7"/>
              </p:custDataLst>
            </p:nvPr>
          </p:nvSpPr>
          <p:spPr bwMode="gray">
            <a:xfrm>
              <a:off x="3071917" y="2837825"/>
              <a:ext cx="232070" cy="201326"/>
            </a:xfrm>
            <a:custGeom>
              <a:avLst/>
              <a:gdLst>
                <a:gd name="T0" fmla="*/ 12 w 234"/>
                <a:gd name="T1" fmla="*/ 101 h 203"/>
                <a:gd name="T2" fmla="*/ 24 w 234"/>
                <a:gd name="T3" fmla="*/ 87 h 203"/>
                <a:gd name="T4" fmla="*/ 26 w 234"/>
                <a:gd name="T5" fmla="*/ 36 h 203"/>
                <a:gd name="T6" fmla="*/ 41 w 234"/>
                <a:gd name="T7" fmla="*/ 37 h 203"/>
                <a:gd name="T8" fmla="*/ 40 w 234"/>
                <a:gd name="T9" fmla="*/ 7 h 203"/>
                <a:gd name="T10" fmla="*/ 152 w 234"/>
                <a:gd name="T11" fmla="*/ 7 h 203"/>
                <a:gd name="T12" fmla="*/ 181 w 234"/>
                <a:gd name="T13" fmla="*/ 8 h 203"/>
                <a:gd name="T14" fmla="*/ 209 w 234"/>
                <a:gd name="T15" fmla="*/ 0 h 203"/>
                <a:gd name="T16" fmla="*/ 216 w 234"/>
                <a:gd name="T17" fmla="*/ 8 h 203"/>
                <a:gd name="T18" fmla="*/ 218 w 234"/>
                <a:gd name="T19" fmla="*/ 13 h 203"/>
                <a:gd name="T20" fmla="*/ 220 w 234"/>
                <a:gd name="T21" fmla="*/ 22 h 203"/>
                <a:gd name="T22" fmla="*/ 221 w 234"/>
                <a:gd name="T23" fmla="*/ 36 h 203"/>
                <a:gd name="T24" fmla="*/ 234 w 234"/>
                <a:gd name="T25" fmla="*/ 60 h 203"/>
                <a:gd name="T26" fmla="*/ 224 w 234"/>
                <a:gd name="T27" fmla="*/ 78 h 203"/>
                <a:gd name="T28" fmla="*/ 213 w 234"/>
                <a:gd name="T29" fmla="*/ 93 h 203"/>
                <a:gd name="T30" fmla="*/ 211 w 234"/>
                <a:gd name="T31" fmla="*/ 106 h 203"/>
                <a:gd name="T32" fmla="*/ 209 w 234"/>
                <a:gd name="T33" fmla="*/ 112 h 203"/>
                <a:gd name="T34" fmla="*/ 207 w 234"/>
                <a:gd name="T35" fmla="*/ 136 h 203"/>
                <a:gd name="T36" fmla="*/ 199 w 234"/>
                <a:gd name="T37" fmla="*/ 146 h 203"/>
                <a:gd name="T38" fmla="*/ 192 w 234"/>
                <a:gd name="T39" fmla="*/ 157 h 203"/>
                <a:gd name="T40" fmla="*/ 189 w 234"/>
                <a:gd name="T41" fmla="*/ 160 h 203"/>
                <a:gd name="T42" fmla="*/ 181 w 234"/>
                <a:gd name="T43" fmla="*/ 174 h 203"/>
                <a:gd name="T44" fmla="*/ 176 w 234"/>
                <a:gd name="T45" fmla="*/ 190 h 203"/>
                <a:gd name="T46" fmla="*/ 173 w 234"/>
                <a:gd name="T47" fmla="*/ 187 h 203"/>
                <a:gd name="T48" fmla="*/ 162 w 234"/>
                <a:gd name="T49" fmla="*/ 163 h 203"/>
                <a:gd name="T50" fmla="*/ 156 w 234"/>
                <a:gd name="T51" fmla="*/ 156 h 203"/>
                <a:gd name="T52" fmla="*/ 152 w 234"/>
                <a:gd name="T53" fmla="*/ 160 h 203"/>
                <a:gd name="T54" fmla="*/ 145 w 234"/>
                <a:gd name="T55" fmla="*/ 177 h 203"/>
                <a:gd name="T56" fmla="*/ 129 w 234"/>
                <a:gd name="T57" fmla="*/ 189 h 203"/>
                <a:gd name="T58" fmla="*/ 116 w 234"/>
                <a:gd name="T59" fmla="*/ 179 h 203"/>
                <a:gd name="T60" fmla="*/ 106 w 234"/>
                <a:gd name="T61" fmla="*/ 187 h 203"/>
                <a:gd name="T62" fmla="*/ 93 w 234"/>
                <a:gd name="T63" fmla="*/ 193 h 203"/>
                <a:gd name="T64" fmla="*/ 86 w 234"/>
                <a:gd name="T65" fmla="*/ 194 h 203"/>
                <a:gd name="T66" fmla="*/ 63 w 234"/>
                <a:gd name="T67" fmla="*/ 191 h 203"/>
                <a:gd name="T68" fmla="*/ 53 w 234"/>
                <a:gd name="T69" fmla="*/ 179 h 203"/>
                <a:gd name="T70" fmla="*/ 39 w 234"/>
                <a:gd name="T71" fmla="*/ 183 h 203"/>
                <a:gd name="T72" fmla="*/ 36 w 234"/>
                <a:gd name="T73" fmla="*/ 194 h 203"/>
                <a:gd name="T74" fmla="*/ 29 w 234"/>
                <a:gd name="T75" fmla="*/ 203 h 203"/>
                <a:gd name="T76" fmla="*/ 21 w 234"/>
                <a:gd name="T77" fmla="*/ 193 h 203"/>
                <a:gd name="T78" fmla="*/ 13 w 234"/>
                <a:gd name="T79" fmla="*/ 177 h 203"/>
                <a:gd name="T80" fmla="*/ 4 w 234"/>
                <a:gd name="T81" fmla="*/ 159 h 203"/>
                <a:gd name="T82" fmla="*/ 0 w 234"/>
                <a:gd name="T83" fmla="*/ 140 h 203"/>
                <a:gd name="T84" fmla="*/ 4 w 234"/>
                <a:gd name="T85" fmla="*/ 125 h 203"/>
                <a:gd name="T86" fmla="*/ 10 w 234"/>
                <a:gd name="T87" fmla="*/ 115 h 203"/>
                <a:gd name="T88" fmla="*/ 9 w 234"/>
                <a:gd name="T89" fmla="*/ 111 h 203"/>
                <a:gd name="T90" fmla="*/ 12 w 234"/>
                <a:gd name="T91" fmla="*/ 10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203">
                  <a:moveTo>
                    <a:pt x="12" y="101"/>
                  </a:moveTo>
                  <a:lnTo>
                    <a:pt x="24" y="87"/>
                  </a:lnTo>
                  <a:lnTo>
                    <a:pt x="26" y="36"/>
                  </a:lnTo>
                  <a:lnTo>
                    <a:pt x="41" y="37"/>
                  </a:lnTo>
                  <a:lnTo>
                    <a:pt x="40" y="7"/>
                  </a:lnTo>
                  <a:lnTo>
                    <a:pt x="152" y="7"/>
                  </a:lnTo>
                  <a:lnTo>
                    <a:pt x="181" y="8"/>
                  </a:lnTo>
                  <a:lnTo>
                    <a:pt x="209" y="0"/>
                  </a:lnTo>
                  <a:cubicBezTo>
                    <a:pt x="213" y="2"/>
                    <a:pt x="214" y="6"/>
                    <a:pt x="216" y="8"/>
                  </a:cubicBezTo>
                  <a:cubicBezTo>
                    <a:pt x="217" y="10"/>
                    <a:pt x="217" y="12"/>
                    <a:pt x="218" y="13"/>
                  </a:cubicBezTo>
                  <a:cubicBezTo>
                    <a:pt x="218" y="16"/>
                    <a:pt x="219" y="19"/>
                    <a:pt x="220" y="22"/>
                  </a:cubicBezTo>
                  <a:cubicBezTo>
                    <a:pt x="221" y="26"/>
                    <a:pt x="219" y="30"/>
                    <a:pt x="221" y="36"/>
                  </a:cubicBezTo>
                  <a:cubicBezTo>
                    <a:pt x="224" y="43"/>
                    <a:pt x="233" y="53"/>
                    <a:pt x="234" y="60"/>
                  </a:cubicBezTo>
                  <a:cubicBezTo>
                    <a:pt x="234" y="67"/>
                    <a:pt x="227" y="74"/>
                    <a:pt x="224" y="78"/>
                  </a:cubicBezTo>
                  <a:cubicBezTo>
                    <a:pt x="221" y="83"/>
                    <a:pt x="215" y="89"/>
                    <a:pt x="213" y="93"/>
                  </a:cubicBezTo>
                  <a:cubicBezTo>
                    <a:pt x="211" y="97"/>
                    <a:pt x="214" y="101"/>
                    <a:pt x="211" y="106"/>
                  </a:cubicBezTo>
                  <a:cubicBezTo>
                    <a:pt x="210" y="108"/>
                    <a:pt x="210" y="110"/>
                    <a:pt x="209" y="112"/>
                  </a:cubicBezTo>
                  <a:cubicBezTo>
                    <a:pt x="211" y="117"/>
                    <a:pt x="213" y="132"/>
                    <a:pt x="207" y="136"/>
                  </a:cubicBezTo>
                  <a:cubicBezTo>
                    <a:pt x="204" y="143"/>
                    <a:pt x="209" y="145"/>
                    <a:pt x="199" y="146"/>
                  </a:cubicBezTo>
                  <a:cubicBezTo>
                    <a:pt x="197" y="149"/>
                    <a:pt x="194" y="155"/>
                    <a:pt x="192" y="157"/>
                  </a:cubicBezTo>
                  <a:cubicBezTo>
                    <a:pt x="191" y="158"/>
                    <a:pt x="189" y="160"/>
                    <a:pt x="189" y="160"/>
                  </a:cubicBezTo>
                  <a:cubicBezTo>
                    <a:pt x="187" y="163"/>
                    <a:pt x="183" y="171"/>
                    <a:pt x="181" y="174"/>
                  </a:cubicBezTo>
                  <a:cubicBezTo>
                    <a:pt x="179" y="179"/>
                    <a:pt x="177" y="188"/>
                    <a:pt x="176" y="190"/>
                  </a:cubicBezTo>
                  <a:cubicBezTo>
                    <a:pt x="175" y="191"/>
                    <a:pt x="174" y="189"/>
                    <a:pt x="173" y="187"/>
                  </a:cubicBezTo>
                  <a:cubicBezTo>
                    <a:pt x="171" y="183"/>
                    <a:pt x="165" y="168"/>
                    <a:pt x="162" y="163"/>
                  </a:cubicBezTo>
                  <a:cubicBezTo>
                    <a:pt x="160" y="160"/>
                    <a:pt x="158" y="157"/>
                    <a:pt x="156" y="156"/>
                  </a:cubicBezTo>
                  <a:cubicBezTo>
                    <a:pt x="155" y="157"/>
                    <a:pt x="154" y="157"/>
                    <a:pt x="152" y="160"/>
                  </a:cubicBezTo>
                  <a:lnTo>
                    <a:pt x="145" y="177"/>
                  </a:lnTo>
                  <a:lnTo>
                    <a:pt x="129" y="189"/>
                  </a:lnTo>
                  <a:lnTo>
                    <a:pt x="116" y="179"/>
                  </a:lnTo>
                  <a:cubicBezTo>
                    <a:pt x="112" y="179"/>
                    <a:pt x="109" y="185"/>
                    <a:pt x="106" y="187"/>
                  </a:cubicBezTo>
                  <a:cubicBezTo>
                    <a:pt x="102" y="189"/>
                    <a:pt x="96" y="192"/>
                    <a:pt x="93" y="193"/>
                  </a:cubicBezTo>
                  <a:cubicBezTo>
                    <a:pt x="91" y="194"/>
                    <a:pt x="89" y="194"/>
                    <a:pt x="86" y="194"/>
                  </a:cubicBezTo>
                  <a:cubicBezTo>
                    <a:pt x="83" y="186"/>
                    <a:pt x="69" y="191"/>
                    <a:pt x="63" y="191"/>
                  </a:cubicBezTo>
                  <a:cubicBezTo>
                    <a:pt x="61" y="187"/>
                    <a:pt x="57" y="181"/>
                    <a:pt x="53" y="179"/>
                  </a:cubicBezTo>
                  <a:cubicBezTo>
                    <a:pt x="36" y="179"/>
                    <a:pt x="46" y="178"/>
                    <a:pt x="39" y="183"/>
                  </a:cubicBezTo>
                  <a:cubicBezTo>
                    <a:pt x="37" y="187"/>
                    <a:pt x="37" y="190"/>
                    <a:pt x="36" y="194"/>
                  </a:cubicBezTo>
                  <a:cubicBezTo>
                    <a:pt x="35" y="197"/>
                    <a:pt x="32" y="201"/>
                    <a:pt x="29" y="203"/>
                  </a:cubicBezTo>
                  <a:cubicBezTo>
                    <a:pt x="27" y="203"/>
                    <a:pt x="23" y="196"/>
                    <a:pt x="21" y="193"/>
                  </a:cubicBezTo>
                  <a:cubicBezTo>
                    <a:pt x="18" y="189"/>
                    <a:pt x="16" y="183"/>
                    <a:pt x="13" y="177"/>
                  </a:cubicBezTo>
                  <a:cubicBezTo>
                    <a:pt x="10" y="173"/>
                    <a:pt x="6" y="165"/>
                    <a:pt x="4" y="159"/>
                  </a:cubicBezTo>
                  <a:cubicBezTo>
                    <a:pt x="3" y="155"/>
                    <a:pt x="0" y="146"/>
                    <a:pt x="0" y="140"/>
                  </a:cubicBezTo>
                  <a:cubicBezTo>
                    <a:pt x="0" y="134"/>
                    <a:pt x="2" y="129"/>
                    <a:pt x="4" y="125"/>
                  </a:cubicBezTo>
                  <a:cubicBezTo>
                    <a:pt x="0" y="120"/>
                    <a:pt x="5" y="116"/>
                    <a:pt x="10" y="115"/>
                  </a:cubicBezTo>
                  <a:cubicBezTo>
                    <a:pt x="9" y="114"/>
                    <a:pt x="7" y="113"/>
                    <a:pt x="9" y="111"/>
                  </a:cubicBezTo>
                  <a:cubicBezTo>
                    <a:pt x="10" y="106"/>
                    <a:pt x="9" y="113"/>
                    <a:pt x="12" y="101"/>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36" name="Freeform 439"/>
            <p:cNvSpPr>
              <a:spLocks/>
            </p:cNvSpPr>
            <p:nvPr>
              <p:custDataLst>
                <p:tags r:id="rId8"/>
              </p:custDataLst>
            </p:nvPr>
          </p:nvSpPr>
          <p:spPr bwMode="gray">
            <a:xfrm>
              <a:off x="2613728" y="2484761"/>
              <a:ext cx="48596" cy="107109"/>
            </a:xfrm>
            <a:custGeom>
              <a:avLst/>
              <a:gdLst>
                <a:gd name="T0" fmla="*/ 9 w 50"/>
                <a:gd name="T1" fmla="*/ 0 h 111"/>
                <a:gd name="T2" fmla="*/ 25 w 50"/>
                <a:gd name="T3" fmla="*/ 17 h 111"/>
                <a:gd name="T4" fmla="*/ 46 w 50"/>
                <a:gd name="T5" fmla="*/ 20 h 111"/>
                <a:gd name="T6" fmla="*/ 46 w 50"/>
                <a:gd name="T7" fmla="*/ 33 h 111"/>
                <a:gd name="T8" fmla="*/ 40 w 50"/>
                <a:gd name="T9" fmla="*/ 47 h 111"/>
                <a:gd name="T10" fmla="*/ 28 w 50"/>
                <a:gd name="T11" fmla="*/ 111 h 111"/>
                <a:gd name="T12" fmla="*/ 4 w 50"/>
                <a:gd name="T13" fmla="*/ 86 h 111"/>
                <a:gd name="T14" fmla="*/ 9 w 50"/>
                <a:gd name="T15" fmla="*/ 63 h 111"/>
                <a:gd name="T16" fmla="*/ 7 w 50"/>
                <a:gd name="T17" fmla="*/ 12 h 111"/>
                <a:gd name="T18" fmla="*/ 9 w 50"/>
                <a:gd name="T1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11">
                  <a:moveTo>
                    <a:pt x="9" y="0"/>
                  </a:moveTo>
                  <a:cubicBezTo>
                    <a:pt x="12" y="1"/>
                    <a:pt x="19" y="14"/>
                    <a:pt x="25" y="17"/>
                  </a:cubicBezTo>
                  <a:cubicBezTo>
                    <a:pt x="31" y="20"/>
                    <a:pt x="42" y="17"/>
                    <a:pt x="46" y="20"/>
                  </a:cubicBezTo>
                  <a:cubicBezTo>
                    <a:pt x="50" y="25"/>
                    <a:pt x="49" y="27"/>
                    <a:pt x="46" y="33"/>
                  </a:cubicBezTo>
                  <a:cubicBezTo>
                    <a:pt x="45" y="39"/>
                    <a:pt x="43" y="42"/>
                    <a:pt x="40" y="47"/>
                  </a:cubicBezTo>
                  <a:cubicBezTo>
                    <a:pt x="38" y="68"/>
                    <a:pt x="41" y="93"/>
                    <a:pt x="28" y="111"/>
                  </a:cubicBezTo>
                  <a:cubicBezTo>
                    <a:pt x="3" y="109"/>
                    <a:pt x="16" y="103"/>
                    <a:pt x="4" y="86"/>
                  </a:cubicBezTo>
                  <a:cubicBezTo>
                    <a:pt x="2" y="77"/>
                    <a:pt x="0" y="68"/>
                    <a:pt x="9" y="63"/>
                  </a:cubicBezTo>
                  <a:cubicBezTo>
                    <a:pt x="10" y="41"/>
                    <a:pt x="15" y="31"/>
                    <a:pt x="7" y="12"/>
                  </a:cubicBezTo>
                  <a:cubicBezTo>
                    <a:pt x="8" y="8"/>
                    <a:pt x="9" y="0"/>
                    <a:pt x="9"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40" name="Freeform 444"/>
            <p:cNvSpPr>
              <a:spLocks/>
            </p:cNvSpPr>
            <p:nvPr>
              <p:custDataLst>
                <p:tags r:id="rId9"/>
              </p:custDataLst>
            </p:nvPr>
          </p:nvSpPr>
          <p:spPr bwMode="gray">
            <a:xfrm>
              <a:off x="2622654" y="2587903"/>
              <a:ext cx="302485" cy="298518"/>
            </a:xfrm>
            <a:custGeom>
              <a:avLst/>
              <a:gdLst>
                <a:gd name="T0" fmla="*/ 192 w 313"/>
                <a:gd name="T1" fmla="*/ 306 h 309"/>
                <a:gd name="T2" fmla="*/ 171 w 313"/>
                <a:gd name="T3" fmla="*/ 294 h 309"/>
                <a:gd name="T4" fmla="*/ 131 w 313"/>
                <a:gd name="T5" fmla="*/ 264 h 309"/>
                <a:gd name="T6" fmla="*/ 102 w 313"/>
                <a:gd name="T7" fmla="*/ 246 h 309"/>
                <a:gd name="T8" fmla="*/ 86 w 313"/>
                <a:gd name="T9" fmla="*/ 231 h 309"/>
                <a:gd name="T10" fmla="*/ 45 w 313"/>
                <a:gd name="T11" fmla="*/ 205 h 309"/>
                <a:gd name="T12" fmla="*/ 17 w 313"/>
                <a:gd name="T13" fmla="*/ 187 h 309"/>
                <a:gd name="T14" fmla="*/ 15 w 313"/>
                <a:gd name="T15" fmla="*/ 180 h 309"/>
                <a:gd name="T16" fmla="*/ 0 w 313"/>
                <a:gd name="T17" fmla="*/ 165 h 309"/>
                <a:gd name="T18" fmla="*/ 14 w 313"/>
                <a:gd name="T19" fmla="*/ 147 h 309"/>
                <a:gd name="T20" fmla="*/ 24 w 313"/>
                <a:gd name="T21" fmla="*/ 139 h 309"/>
                <a:gd name="T22" fmla="*/ 38 w 313"/>
                <a:gd name="T23" fmla="*/ 138 h 309"/>
                <a:gd name="T24" fmla="*/ 53 w 313"/>
                <a:gd name="T25" fmla="*/ 129 h 309"/>
                <a:gd name="T26" fmla="*/ 62 w 313"/>
                <a:gd name="T27" fmla="*/ 120 h 309"/>
                <a:gd name="T28" fmla="*/ 77 w 313"/>
                <a:gd name="T29" fmla="*/ 114 h 309"/>
                <a:gd name="T30" fmla="*/ 89 w 313"/>
                <a:gd name="T31" fmla="*/ 102 h 309"/>
                <a:gd name="T32" fmla="*/ 92 w 313"/>
                <a:gd name="T33" fmla="*/ 91 h 309"/>
                <a:gd name="T34" fmla="*/ 108 w 313"/>
                <a:gd name="T35" fmla="*/ 90 h 309"/>
                <a:gd name="T36" fmla="*/ 110 w 313"/>
                <a:gd name="T37" fmla="*/ 73 h 309"/>
                <a:gd name="T38" fmla="*/ 110 w 313"/>
                <a:gd name="T39" fmla="*/ 44 h 309"/>
                <a:gd name="T40" fmla="*/ 116 w 313"/>
                <a:gd name="T41" fmla="*/ 33 h 309"/>
                <a:gd name="T42" fmla="*/ 131 w 313"/>
                <a:gd name="T43" fmla="*/ 28 h 309"/>
                <a:gd name="T44" fmla="*/ 149 w 313"/>
                <a:gd name="T45" fmla="*/ 18 h 309"/>
                <a:gd name="T46" fmla="*/ 188 w 313"/>
                <a:gd name="T47" fmla="*/ 12 h 309"/>
                <a:gd name="T48" fmla="*/ 228 w 313"/>
                <a:gd name="T49" fmla="*/ 19 h 309"/>
                <a:gd name="T50" fmla="*/ 222 w 313"/>
                <a:gd name="T51" fmla="*/ 9 h 309"/>
                <a:gd name="T52" fmla="*/ 258 w 313"/>
                <a:gd name="T53" fmla="*/ 18 h 309"/>
                <a:gd name="T54" fmla="*/ 251 w 313"/>
                <a:gd name="T55" fmla="*/ 52 h 309"/>
                <a:gd name="T56" fmla="*/ 254 w 313"/>
                <a:gd name="T57" fmla="*/ 84 h 309"/>
                <a:gd name="T58" fmla="*/ 255 w 313"/>
                <a:gd name="T59" fmla="*/ 90 h 309"/>
                <a:gd name="T60" fmla="*/ 260 w 313"/>
                <a:gd name="T61" fmla="*/ 91 h 309"/>
                <a:gd name="T62" fmla="*/ 270 w 313"/>
                <a:gd name="T63" fmla="*/ 102 h 309"/>
                <a:gd name="T64" fmla="*/ 281 w 313"/>
                <a:gd name="T65" fmla="*/ 111 h 309"/>
                <a:gd name="T66" fmla="*/ 279 w 313"/>
                <a:gd name="T67" fmla="*/ 142 h 309"/>
                <a:gd name="T68" fmla="*/ 279 w 313"/>
                <a:gd name="T69" fmla="*/ 154 h 309"/>
                <a:gd name="T70" fmla="*/ 288 w 313"/>
                <a:gd name="T71" fmla="*/ 181 h 309"/>
                <a:gd name="T72" fmla="*/ 272 w 313"/>
                <a:gd name="T73" fmla="*/ 198 h 309"/>
                <a:gd name="T74" fmla="*/ 281 w 313"/>
                <a:gd name="T75" fmla="*/ 211 h 309"/>
                <a:gd name="T76" fmla="*/ 296 w 313"/>
                <a:gd name="T77" fmla="*/ 226 h 309"/>
                <a:gd name="T78" fmla="*/ 305 w 313"/>
                <a:gd name="T79" fmla="*/ 232 h 309"/>
                <a:gd name="T80" fmla="*/ 290 w 313"/>
                <a:gd name="T81" fmla="*/ 250 h 309"/>
                <a:gd name="T82" fmla="*/ 273 w 313"/>
                <a:gd name="T83" fmla="*/ 256 h 309"/>
                <a:gd name="T84" fmla="*/ 258 w 313"/>
                <a:gd name="T85" fmla="*/ 265 h 309"/>
                <a:gd name="T86" fmla="*/ 246 w 313"/>
                <a:gd name="T87" fmla="*/ 280 h 309"/>
                <a:gd name="T88" fmla="*/ 237 w 313"/>
                <a:gd name="T89" fmla="*/ 286 h 309"/>
                <a:gd name="T90" fmla="*/ 218 w 313"/>
                <a:gd name="T91" fmla="*/ 304 h 309"/>
                <a:gd name="T92" fmla="*/ 192 w 313"/>
                <a:gd name="T93" fmla="*/ 30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3" h="309">
                  <a:moveTo>
                    <a:pt x="192" y="306"/>
                  </a:moveTo>
                  <a:cubicBezTo>
                    <a:pt x="176" y="303"/>
                    <a:pt x="184" y="296"/>
                    <a:pt x="171" y="294"/>
                  </a:cubicBezTo>
                  <a:cubicBezTo>
                    <a:pt x="161" y="287"/>
                    <a:pt x="142" y="272"/>
                    <a:pt x="131" y="264"/>
                  </a:cubicBezTo>
                  <a:cubicBezTo>
                    <a:pt x="123" y="257"/>
                    <a:pt x="109" y="251"/>
                    <a:pt x="102" y="246"/>
                  </a:cubicBezTo>
                  <a:cubicBezTo>
                    <a:pt x="100" y="245"/>
                    <a:pt x="89" y="233"/>
                    <a:pt x="86" y="231"/>
                  </a:cubicBezTo>
                  <a:cubicBezTo>
                    <a:pt x="72" y="222"/>
                    <a:pt x="58" y="215"/>
                    <a:pt x="45" y="205"/>
                  </a:cubicBezTo>
                  <a:cubicBezTo>
                    <a:pt x="37" y="199"/>
                    <a:pt x="28" y="189"/>
                    <a:pt x="17" y="187"/>
                  </a:cubicBezTo>
                  <a:cubicBezTo>
                    <a:pt x="11" y="182"/>
                    <a:pt x="18" y="184"/>
                    <a:pt x="15" y="180"/>
                  </a:cubicBezTo>
                  <a:cubicBezTo>
                    <a:pt x="12" y="176"/>
                    <a:pt x="0" y="170"/>
                    <a:pt x="0" y="165"/>
                  </a:cubicBezTo>
                  <a:cubicBezTo>
                    <a:pt x="0" y="160"/>
                    <a:pt x="10" y="151"/>
                    <a:pt x="14" y="147"/>
                  </a:cubicBezTo>
                  <a:cubicBezTo>
                    <a:pt x="17" y="141"/>
                    <a:pt x="20" y="140"/>
                    <a:pt x="24" y="139"/>
                  </a:cubicBezTo>
                  <a:cubicBezTo>
                    <a:pt x="28" y="138"/>
                    <a:pt x="33" y="140"/>
                    <a:pt x="38" y="138"/>
                  </a:cubicBezTo>
                  <a:cubicBezTo>
                    <a:pt x="45" y="135"/>
                    <a:pt x="49" y="132"/>
                    <a:pt x="53" y="129"/>
                  </a:cubicBezTo>
                  <a:cubicBezTo>
                    <a:pt x="57" y="126"/>
                    <a:pt x="58" y="123"/>
                    <a:pt x="62" y="120"/>
                  </a:cubicBezTo>
                  <a:cubicBezTo>
                    <a:pt x="64" y="117"/>
                    <a:pt x="75" y="117"/>
                    <a:pt x="77" y="114"/>
                  </a:cubicBezTo>
                  <a:cubicBezTo>
                    <a:pt x="81" y="111"/>
                    <a:pt x="87" y="106"/>
                    <a:pt x="89" y="102"/>
                  </a:cubicBezTo>
                  <a:cubicBezTo>
                    <a:pt x="91" y="98"/>
                    <a:pt x="89" y="93"/>
                    <a:pt x="92" y="91"/>
                  </a:cubicBezTo>
                  <a:cubicBezTo>
                    <a:pt x="97" y="89"/>
                    <a:pt x="101" y="91"/>
                    <a:pt x="108" y="90"/>
                  </a:cubicBezTo>
                  <a:cubicBezTo>
                    <a:pt x="110" y="81"/>
                    <a:pt x="112" y="82"/>
                    <a:pt x="110" y="73"/>
                  </a:cubicBezTo>
                  <a:cubicBezTo>
                    <a:pt x="110" y="65"/>
                    <a:pt x="109" y="51"/>
                    <a:pt x="110" y="44"/>
                  </a:cubicBezTo>
                  <a:cubicBezTo>
                    <a:pt x="111" y="37"/>
                    <a:pt x="112" y="36"/>
                    <a:pt x="116" y="33"/>
                  </a:cubicBezTo>
                  <a:cubicBezTo>
                    <a:pt x="118" y="22"/>
                    <a:pt x="123" y="26"/>
                    <a:pt x="131" y="28"/>
                  </a:cubicBezTo>
                  <a:cubicBezTo>
                    <a:pt x="136" y="21"/>
                    <a:pt x="141" y="20"/>
                    <a:pt x="149" y="18"/>
                  </a:cubicBezTo>
                  <a:cubicBezTo>
                    <a:pt x="161" y="9"/>
                    <a:pt x="169" y="13"/>
                    <a:pt x="188" y="12"/>
                  </a:cubicBezTo>
                  <a:cubicBezTo>
                    <a:pt x="200" y="3"/>
                    <a:pt x="215" y="17"/>
                    <a:pt x="228" y="19"/>
                  </a:cubicBezTo>
                  <a:cubicBezTo>
                    <a:pt x="239" y="23"/>
                    <a:pt x="227" y="15"/>
                    <a:pt x="222" y="9"/>
                  </a:cubicBezTo>
                  <a:cubicBezTo>
                    <a:pt x="237" y="0"/>
                    <a:pt x="282" y="4"/>
                    <a:pt x="258" y="18"/>
                  </a:cubicBezTo>
                  <a:cubicBezTo>
                    <a:pt x="251" y="27"/>
                    <a:pt x="263" y="43"/>
                    <a:pt x="251" y="52"/>
                  </a:cubicBezTo>
                  <a:cubicBezTo>
                    <a:pt x="248" y="64"/>
                    <a:pt x="245" y="75"/>
                    <a:pt x="254" y="84"/>
                  </a:cubicBezTo>
                  <a:cubicBezTo>
                    <a:pt x="254" y="86"/>
                    <a:pt x="254" y="88"/>
                    <a:pt x="255" y="90"/>
                  </a:cubicBezTo>
                  <a:cubicBezTo>
                    <a:pt x="256" y="91"/>
                    <a:pt x="259" y="90"/>
                    <a:pt x="260" y="91"/>
                  </a:cubicBezTo>
                  <a:cubicBezTo>
                    <a:pt x="262" y="93"/>
                    <a:pt x="269" y="99"/>
                    <a:pt x="270" y="102"/>
                  </a:cubicBezTo>
                  <a:cubicBezTo>
                    <a:pt x="271" y="108"/>
                    <a:pt x="278" y="105"/>
                    <a:pt x="281" y="111"/>
                  </a:cubicBezTo>
                  <a:cubicBezTo>
                    <a:pt x="282" y="117"/>
                    <a:pt x="279" y="135"/>
                    <a:pt x="279" y="142"/>
                  </a:cubicBezTo>
                  <a:cubicBezTo>
                    <a:pt x="279" y="149"/>
                    <a:pt x="278" y="148"/>
                    <a:pt x="279" y="154"/>
                  </a:cubicBezTo>
                  <a:cubicBezTo>
                    <a:pt x="280" y="160"/>
                    <a:pt x="289" y="174"/>
                    <a:pt x="288" y="181"/>
                  </a:cubicBezTo>
                  <a:cubicBezTo>
                    <a:pt x="287" y="188"/>
                    <a:pt x="273" y="193"/>
                    <a:pt x="272" y="198"/>
                  </a:cubicBezTo>
                  <a:cubicBezTo>
                    <a:pt x="275" y="202"/>
                    <a:pt x="278" y="207"/>
                    <a:pt x="281" y="211"/>
                  </a:cubicBezTo>
                  <a:cubicBezTo>
                    <a:pt x="283" y="220"/>
                    <a:pt x="288" y="225"/>
                    <a:pt x="296" y="226"/>
                  </a:cubicBezTo>
                  <a:cubicBezTo>
                    <a:pt x="303" y="230"/>
                    <a:pt x="296" y="228"/>
                    <a:pt x="305" y="232"/>
                  </a:cubicBezTo>
                  <a:cubicBezTo>
                    <a:pt x="313" y="242"/>
                    <a:pt x="295" y="250"/>
                    <a:pt x="290" y="250"/>
                  </a:cubicBezTo>
                  <a:cubicBezTo>
                    <a:pt x="283" y="253"/>
                    <a:pt x="280" y="253"/>
                    <a:pt x="273" y="256"/>
                  </a:cubicBezTo>
                  <a:cubicBezTo>
                    <a:pt x="268" y="263"/>
                    <a:pt x="267" y="263"/>
                    <a:pt x="258" y="265"/>
                  </a:cubicBezTo>
                  <a:cubicBezTo>
                    <a:pt x="254" y="268"/>
                    <a:pt x="250" y="277"/>
                    <a:pt x="246" y="280"/>
                  </a:cubicBezTo>
                  <a:cubicBezTo>
                    <a:pt x="243" y="286"/>
                    <a:pt x="244" y="285"/>
                    <a:pt x="237" y="286"/>
                  </a:cubicBezTo>
                  <a:cubicBezTo>
                    <a:pt x="231" y="290"/>
                    <a:pt x="225" y="303"/>
                    <a:pt x="218" y="304"/>
                  </a:cubicBezTo>
                  <a:cubicBezTo>
                    <a:pt x="211" y="309"/>
                    <a:pt x="200" y="306"/>
                    <a:pt x="192" y="306"/>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42" name="Freeform 445"/>
            <p:cNvSpPr>
              <a:spLocks/>
            </p:cNvSpPr>
            <p:nvPr>
              <p:custDataLst>
                <p:tags r:id="rId10"/>
              </p:custDataLst>
            </p:nvPr>
          </p:nvSpPr>
          <p:spPr bwMode="gray">
            <a:xfrm>
              <a:off x="2885468" y="2663276"/>
              <a:ext cx="228103" cy="216202"/>
            </a:xfrm>
            <a:custGeom>
              <a:avLst/>
              <a:gdLst>
                <a:gd name="T0" fmla="*/ 6 w 236"/>
                <a:gd name="T1" fmla="*/ 43 h 224"/>
                <a:gd name="T2" fmla="*/ 16 w 236"/>
                <a:gd name="T3" fmla="*/ 22 h 224"/>
                <a:gd name="T4" fmla="*/ 28 w 236"/>
                <a:gd name="T5" fmla="*/ 15 h 224"/>
                <a:gd name="T6" fmla="*/ 48 w 236"/>
                <a:gd name="T7" fmla="*/ 0 h 224"/>
                <a:gd name="T8" fmla="*/ 85 w 236"/>
                <a:gd name="T9" fmla="*/ 6 h 224"/>
                <a:gd name="T10" fmla="*/ 118 w 236"/>
                <a:gd name="T11" fmla="*/ 30 h 224"/>
                <a:gd name="T12" fmla="*/ 142 w 236"/>
                <a:gd name="T13" fmla="*/ 40 h 224"/>
                <a:gd name="T14" fmla="*/ 150 w 236"/>
                <a:gd name="T15" fmla="*/ 43 h 224"/>
                <a:gd name="T16" fmla="*/ 160 w 236"/>
                <a:gd name="T17" fmla="*/ 30 h 224"/>
                <a:gd name="T18" fmla="*/ 156 w 236"/>
                <a:gd name="T19" fmla="*/ 13 h 224"/>
                <a:gd name="T20" fmla="*/ 174 w 236"/>
                <a:gd name="T21" fmla="*/ 3 h 224"/>
                <a:gd name="T22" fmla="*/ 213 w 236"/>
                <a:gd name="T23" fmla="*/ 12 h 224"/>
                <a:gd name="T24" fmla="*/ 226 w 236"/>
                <a:gd name="T25" fmla="*/ 21 h 224"/>
                <a:gd name="T26" fmla="*/ 228 w 236"/>
                <a:gd name="T27" fmla="*/ 34 h 224"/>
                <a:gd name="T28" fmla="*/ 229 w 236"/>
                <a:gd name="T29" fmla="*/ 66 h 224"/>
                <a:gd name="T30" fmla="*/ 231 w 236"/>
                <a:gd name="T31" fmla="*/ 183 h 224"/>
                <a:gd name="T32" fmla="*/ 232 w 236"/>
                <a:gd name="T33" fmla="*/ 217 h 224"/>
                <a:gd name="T34" fmla="*/ 208 w 236"/>
                <a:gd name="T35" fmla="*/ 223 h 224"/>
                <a:gd name="T36" fmla="*/ 186 w 236"/>
                <a:gd name="T37" fmla="*/ 208 h 224"/>
                <a:gd name="T38" fmla="*/ 168 w 236"/>
                <a:gd name="T39" fmla="*/ 198 h 224"/>
                <a:gd name="T40" fmla="*/ 153 w 236"/>
                <a:gd name="T41" fmla="*/ 195 h 224"/>
                <a:gd name="T42" fmla="*/ 145 w 236"/>
                <a:gd name="T43" fmla="*/ 187 h 224"/>
                <a:gd name="T44" fmla="*/ 129 w 236"/>
                <a:gd name="T45" fmla="*/ 175 h 224"/>
                <a:gd name="T46" fmla="*/ 103 w 236"/>
                <a:gd name="T47" fmla="*/ 168 h 224"/>
                <a:gd name="T48" fmla="*/ 78 w 236"/>
                <a:gd name="T49" fmla="*/ 171 h 224"/>
                <a:gd name="T50" fmla="*/ 58 w 236"/>
                <a:gd name="T51" fmla="*/ 163 h 224"/>
                <a:gd name="T52" fmla="*/ 39 w 236"/>
                <a:gd name="T53" fmla="*/ 160 h 224"/>
                <a:gd name="T54" fmla="*/ 12 w 236"/>
                <a:gd name="T55" fmla="*/ 139 h 224"/>
                <a:gd name="T56" fmla="*/ 1 w 236"/>
                <a:gd name="T57" fmla="*/ 127 h 224"/>
                <a:gd name="T58" fmla="*/ 15 w 236"/>
                <a:gd name="T59" fmla="*/ 106 h 224"/>
                <a:gd name="T60" fmla="*/ 7 w 236"/>
                <a:gd name="T61" fmla="*/ 73 h 224"/>
                <a:gd name="T62" fmla="*/ 6 w 236"/>
                <a:gd name="T63" fmla="*/ 4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224">
                  <a:moveTo>
                    <a:pt x="6" y="43"/>
                  </a:moveTo>
                  <a:cubicBezTo>
                    <a:pt x="8" y="35"/>
                    <a:pt x="12" y="27"/>
                    <a:pt x="16" y="22"/>
                  </a:cubicBezTo>
                  <a:cubicBezTo>
                    <a:pt x="20" y="17"/>
                    <a:pt x="23" y="19"/>
                    <a:pt x="28" y="15"/>
                  </a:cubicBezTo>
                  <a:cubicBezTo>
                    <a:pt x="34" y="5"/>
                    <a:pt x="37" y="2"/>
                    <a:pt x="48" y="0"/>
                  </a:cubicBezTo>
                  <a:cubicBezTo>
                    <a:pt x="73" y="1"/>
                    <a:pt x="67" y="2"/>
                    <a:pt x="85" y="6"/>
                  </a:cubicBezTo>
                  <a:cubicBezTo>
                    <a:pt x="103" y="30"/>
                    <a:pt x="74" y="26"/>
                    <a:pt x="118" y="30"/>
                  </a:cubicBezTo>
                  <a:cubicBezTo>
                    <a:pt x="127" y="32"/>
                    <a:pt x="133" y="38"/>
                    <a:pt x="142" y="40"/>
                  </a:cubicBezTo>
                  <a:cubicBezTo>
                    <a:pt x="144" y="44"/>
                    <a:pt x="145" y="48"/>
                    <a:pt x="150" y="43"/>
                  </a:cubicBezTo>
                  <a:cubicBezTo>
                    <a:pt x="154" y="39"/>
                    <a:pt x="160" y="30"/>
                    <a:pt x="160" y="30"/>
                  </a:cubicBezTo>
                  <a:cubicBezTo>
                    <a:pt x="159" y="23"/>
                    <a:pt x="157" y="19"/>
                    <a:pt x="156" y="13"/>
                  </a:cubicBezTo>
                  <a:cubicBezTo>
                    <a:pt x="161" y="9"/>
                    <a:pt x="168" y="7"/>
                    <a:pt x="174" y="3"/>
                  </a:cubicBezTo>
                  <a:cubicBezTo>
                    <a:pt x="197" y="4"/>
                    <a:pt x="194" y="8"/>
                    <a:pt x="213" y="12"/>
                  </a:cubicBezTo>
                  <a:cubicBezTo>
                    <a:pt x="217" y="15"/>
                    <a:pt x="222" y="18"/>
                    <a:pt x="226" y="21"/>
                  </a:cubicBezTo>
                  <a:cubicBezTo>
                    <a:pt x="229" y="27"/>
                    <a:pt x="229" y="28"/>
                    <a:pt x="228" y="34"/>
                  </a:cubicBezTo>
                  <a:cubicBezTo>
                    <a:pt x="230" y="44"/>
                    <a:pt x="227" y="56"/>
                    <a:pt x="229" y="66"/>
                  </a:cubicBezTo>
                  <a:cubicBezTo>
                    <a:pt x="232" y="90"/>
                    <a:pt x="234" y="157"/>
                    <a:pt x="231" y="183"/>
                  </a:cubicBezTo>
                  <a:cubicBezTo>
                    <a:pt x="231" y="208"/>
                    <a:pt x="236" y="210"/>
                    <a:pt x="232" y="217"/>
                  </a:cubicBezTo>
                  <a:cubicBezTo>
                    <a:pt x="228" y="224"/>
                    <a:pt x="216" y="224"/>
                    <a:pt x="208" y="223"/>
                  </a:cubicBezTo>
                  <a:cubicBezTo>
                    <a:pt x="201" y="222"/>
                    <a:pt x="193" y="212"/>
                    <a:pt x="186" y="208"/>
                  </a:cubicBezTo>
                  <a:cubicBezTo>
                    <a:pt x="179" y="204"/>
                    <a:pt x="173" y="200"/>
                    <a:pt x="168" y="198"/>
                  </a:cubicBezTo>
                  <a:cubicBezTo>
                    <a:pt x="163" y="194"/>
                    <a:pt x="155" y="197"/>
                    <a:pt x="153" y="195"/>
                  </a:cubicBezTo>
                  <a:cubicBezTo>
                    <a:pt x="149" y="193"/>
                    <a:pt x="149" y="190"/>
                    <a:pt x="145" y="187"/>
                  </a:cubicBezTo>
                  <a:cubicBezTo>
                    <a:pt x="139" y="183"/>
                    <a:pt x="136" y="178"/>
                    <a:pt x="129" y="175"/>
                  </a:cubicBezTo>
                  <a:cubicBezTo>
                    <a:pt x="122" y="172"/>
                    <a:pt x="111" y="169"/>
                    <a:pt x="103" y="168"/>
                  </a:cubicBezTo>
                  <a:cubicBezTo>
                    <a:pt x="75" y="169"/>
                    <a:pt x="94" y="162"/>
                    <a:pt x="78" y="171"/>
                  </a:cubicBezTo>
                  <a:cubicBezTo>
                    <a:pt x="74" y="170"/>
                    <a:pt x="62" y="164"/>
                    <a:pt x="58" y="163"/>
                  </a:cubicBezTo>
                  <a:cubicBezTo>
                    <a:pt x="52" y="161"/>
                    <a:pt x="39" y="160"/>
                    <a:pt x="39" y="160"/>
                  </a:cubicBezTo>
                  <a:cubicBezTo>
                    <a:pt x="30" y="154"/>
                    <a:pt x="20" y="147"/>
                    <a:pt x="12" y="139"/>
                  </a:cubicBezTo>
                  <a:cubicBezTo>
                    <a:pt x="7" y="134"/>
                    <a:pt x="7" y="131"/>
                    <a:pt x="1" y="127"/>
                  </a:cubicBezTo>
                  <a:cubicBezTo>
                    <a:pt x="0" y="119"/>
                    <a:pt x="10" y="112"/>
                    <a:pt x="15" y="106"/>
                  </a:cubicBezTo>
                  <a:cubicBezTo>
                    <a:pt x="17" y="94"/>
                    <a:pt x="11" y="84"/>
                    <a:pt x="7" y="73"/>
                  </a:cubicBezTo>
                  <a:cubicBezTo>
                    <a:pt x="6" y="61"/>
                    <a:pt x="6" y="54"/>
                    <a:pt x="6" y="4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43" name="Freeform 446"/>
            <p:cNvSpPr>
              <a:spLocks/>
            </p:cNvSpPr>
            <p:nvPr>
              <p:custDataLst>
                <p:tags r:id="rId11"/>
              </p:custDataLst>
            </p:nvPr>
          </p:nvSpPr>
          <p:spPr bwMode="gray">
            <a:xfrm>
              <a:off x="3066959" y="2284427"/>
              <a:ext cx="276699" cy="171573"/>
            </a:xfrm>
            <a:custGeom>
              <a:avLst/>
              <a:gdLst>
                <a:gd name="T0" fmla="*/ 107 w 287"/>
                <a:gd name="T1" fmla="*/ 158 h 178"/>
                <a:gd name="T2" fmla="*/ 131 w 287"/>
                <a:gd name="T3" fmla="*/ 137 h 178"/>
                <a:gd name="T4" fmla="*/ 151 w 287"/>
                <a:gd name="T5" fmla="*/ 132 h 178"/>
                <a:gd name="T6" fmla="*/ 152 w 287"/>
                <a:gd name="T7" fmla="*/ 149 h 178"/>
                <a:gd name="T8" fmla="*/ 163 w 287"/>
                <a:gd name="T9" fmla="*/ 156 h 178"/>
                <a:gd name="T10" fmla="*/ 176 w 287"/>
                <a:gd name="T11" fmla="*/ 176 h 178"/>
                <a:gd name="T12" fmla="*/ 211 w 287"/>
                <a:gd name="T13" fmla="*/ 164 h 178"/>
                <a:gd name="T14" fmla="*/ 194 w 287"/>
                <a:gd name="T15" fmla="*/ 149 h 178"/>
                <a:gd name="T16" fmla="*/ 185 w 287"/>
                <a:gd name="T17" fmla="*/ 143 h 178"/>
                <a:gd name="T18" fmla="*/ 199 w 287"/>
                <a:gd name="T19" fmla="*/ 134 h 178"/>
                <a:gd name="T20" fmla="*/ 217 w 287"/>
                <a:gd name="T21" fmla="*/ 125 h 178"/>
                <a:gd name="T22" fmla="*/ 251 w 287"/>
                <a:gd name="T23" fmla="*/ 114 h 178"/>
                <a:gd name="T24" fmla="*/ 263 w 287"/>
                <a:gd name="T25" fmla="*/ 104 h 178"/>
                <a:gd name="T26" fmla="*/ 263 w 287"/>
                <a:gd name="T27" fmla="*/ 63 h 178"/>
                <a:gd name="T28" fmla="*/ 225 w 287"/>
                <a:gd name="T29" fmla="*/ 52 h 178"/>
                <a:gd name="T30" fmla="*/ 214 w 287"/>
                <a:gd name="T31" fmla="*/ 45 h 178"/>
                <a:gd name="T32" fmla="*/ 187 w 287"/>
                <a:gd name="T33" fmla="*/ 29 h 178"/>
                <a:gd name="T34" fmla="*/ 179 w 287"/>
                <a:gd name="T35" fmla="*/ 11 h 178"/>
                <a:gd name="T36" fmla="*/ 142 w 287"/>
                <a:gd name="T37" fmla="*/ 8 h 178"/>
                <a:gd name="T38" fmla="*/ 122 w 287"/>
                <a:gd name="T39" fmla="*/ 12 h 178"/>
                <a:gd name="T40" fmla="*/ 109 w 287"/>
                <a:gd name="T41" fmla="*/ 18 h 178"/>
                <a:gd name="T42" fmla="*/ 92 w 287"/>
                <a:gd name="T43" fmla="*/ 17 h 178"/>
                <a:gd name="T44" fmla="*/ 31 w 287"/>
                <a:gd name="T45" fmla="*/ 15 h 178"/>
                <a:gd name="T46" fmla="*/ 28 w 287"/>
                <a:gd name="T47" fmla="*/ 32 h 178"/>
                <a:gd name="T48" fmla="*/ 14 w 287"/>
                <a:gd name="T49" fmla="*/ 53 h 178"/>
                <a:gd name="T50" fmla="*/ 5 w 287"/>
                <a:gd name="T51" fmla="*/ 63 h 178"/>
                <a:gd name="T52" fmla="*/ 7 w 287"/>
                <a:gd name="T53" fmla="*/ 72 h 178"/>
                <a:gd name="T54" fmla="*/ 5 w 287"/>
                <a:gd name="T55" fmla="*/ 84 h 178"/>
                <a:gd name="T56" fmla="*/ 7 w 287"/>
                <a:gd name="T57" fmla="*/ 96 h 178"/>
                <a:gd name="T58" fmla="*/ 47 w 287"/>
                <a:gd name="T59" fmla="*/ 98 h 178"/>
                <a:gd name="T60" fmla="*/ 65 w 287"/>
                <a:gd name="T61" fmla="*/ 95 h 178"/>
                <a:gd name="T62" fmla="*/ 73 w 287"/>
                <a:gd name="T63" fmla="*/ 89 h 178"/>
                <a:gd name="T64" fmla="*/ 91 w 287"/>
                <a:gd name="T65" fmla="*/ 90 h 178"/>
                <a:gd name="T66" fmla="*/ 103 w 287"/>
                <a:gd name="T67" fmla="*/ 99 h 178"/>
                <a:gd name="T68" fmla="*/ 109 w 287"/>
                <a:gd name="T69" fmla="*/ 117 h 178"/>
                <a:gd name="T70" fmla="*/ 110 w 287"/>
                <a:gd name="T71" fmla="*/ 132 h 178"/>
                <a:gd name="T72" fmla="*/ 104 w 287"/>
                <a:gd name="T73" fmla="*/ 144 h 178"/>
                <a:gd name="T74" fmla="*/ 98 w 287"/>
                <a:gd name="T75" fmla="*/ 150 h 178"/>
                <a:gd name="T76" fmla="*/ 107 w 287"/>
                <a:gd name="T77"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7" h="178">
                  <a:moveTo>
                    <a:pt x="107" y="158"/>
                  </a:moveTo>
                  <a:cubicBezTo>
                    <a:pt x="117" y="154"/>
                    <a:pt x="123" y="143"/>
                    <a:pt x="131" y="137"/>
                  </a:cubicBezTo>
                  <a:cubicBezTo>
                    <a:pt x="135" y="126"/>
                    <a:pt x="141" y="130"/>
                    <a:pt x="151" y="132"/>
                  </a:cubicBezTo>
                  <a:cubicBezTo>
                    <a:pt x="155" y="139"/>
                    <a:pt x="156" y="142"/>
                    <a:pt x="152" y="149"/>
                  </a:cubicBezTo>
                  <a:cubicBezTo>
                    <a:pt x="155" y="155"/>
                    <a:pt x="157" y="155"/>
                    <a:pt x="163" y="156"/>
                  </a:cubicBezTo>
                  <a:cubicBezTo>
                    <a:pt x="170" y="168"/>
                    <a:pt x="159" y="178"/>
                    <a:pt x="176" y="176"/>
                  </a:cubicBezTo>
                  <a:cubicBezTo>
                    <a:pt x="190" y="162"/>
                    <a:pt x="186" y="165"/>
                    <a:pt x="211" y="164"/>
                  </a:cubicBezTo>
                  <a:cubicBezTo>
                    <a:pt x="217" y="154"/>
                    <a:pt x="202" y="150"/>
                    <a:pt x="194" y="149"/>
                  </a:cubicBezTo>
                  <a:cubicBezTo>
                    <a:pt x="191" y="147"/>
                    <a:pt x="185" y="147"/>
                    <a:pt x="185" y="143"/>
                  </a:cubicBezTo>
                  <a:cubicBezTo>
                    <a:pt x="185" y="138"/>
                    <a:pt x="196" y="135"/>
                    <a:pt x="199" y="134"/>
                  </a:cubicBezTo>
                  <a:cubicBezTo>
                    <a:pt x="205" y="131"/>
                    <a:pt x="211" y="129"/>
                    <a:pt x="217" y="125"/>
                  </a:cubicBezTo>
                  <a:cubicBezTo>
                    <a:pt x="223" y="115"/>
                    <a:pt x="240" y="116"/>
                    <a:pt x="251" y="114"/>
                  </a:cubicBezTo>
                  <a:cubicBezTo>
                    <a:pt x="256" y="111"/>
                    <a:pt x="259" y="109"/>
                    <a:pt x="263" y="104"/>
                  </a:cubicBezTo>
                  <a:cubicBezTo>
                    <a:pt x="266" y="84"/>
                    <a:pt x="287" y="67"/>
                    <a:pt x="263" y="63"/>
                  </a:cubicBezTo>
                  <a:cubicBezTo>
                    <a:pt x="257" y="54"/>
                    <a:pt x="234" y="54"/>
                    <a:pt x="225" y="52"/>
                  </a:cubicBezTo>
                  <a:cubicBezTo>
                    <a:pt x="217" y="49"/>
                    <a:pt x="220" y="49"/>
                    <a:pt x="214" y="45"/>
                  </a:cubicBezTo>
                  <a:cubicBezTo>
                    <a:pt x="209" y="38"/>
                    <a:pt x="195" y="34"/>
                    <a:pt x="187" y="29"/>
                  </a:cubicBezTo>
                  <a:cubicBezTo>
                    <a:pt x="183" y="24"/>
                    <a:pt x="183" y="16"/>
                    <a:pt x="179" y="11"/>
                  </a:cubicBezTo>
                  <a:cubicBezTo>
                    <a:pt x="177" y="0"/>
                    <a:pt x="151" y="9"/>
                    <a:pt x="142" y="8"/>
                  </a:cubicBezTo>
                  <a:cubicBezTo>
                    <a:pt x="133" y="9"/>
                    <a:pt x="130" y="10"/>
                    <a:pt x="122" y="12"/>
                  </a:cubicBezTo>
                  <a:cubicBezTo>
                    <a:pt x="117" y="14"/>
                    <a:pt x="114" y="17"/>
                    <a:pt x="109" y="18"/>
                  </a:cubicBezTo>
                  <a:cubicBezTo>
                    <a:pt x="104" y="19"/>
                    <a:pt x="105" y="17"/>
                    <a:pt x="92" y="17"/>
                  </a:cubicBezTo>
                  <a:cubicBezTo>
                    <a:pt x="74" y="8"/>
                    <a:pt x="46" y="15"/>
                    <a:pt x="31" y="15"/>
                  </a:cubicBezTo>
                  <a:cubicBezTo>
                    <a:pt x="21" y="19"/>
                    <a:pt x="23" y="24"/>
                    <a:pt x="28" y="32"/>
                  </a:cubicBezTo>
                  <a:cubicBezTo>
                    <a:pt x="26" y="41"/>
                    <a:pt x="22" y="48"/>
                    <a:pt x="14" y="53"/>
                  </a:cubicBezTo>
                  <a:cubicBezTo>
                    <a:pt x="11" y="58"/>
                    <a:pt x="6" y="60"/>
                    <a:pt x="5" y="63"/>
                  </a:cubicBezTo>
                  <a:cubicBezTo>
                    <a:pt x="4" y="66"/>
                    <a:pt x="7" y="69"/>
                    <a:pt x="7" y="72"/>
                  </a:cubicBezTo>
                  <a:cubicBezTo>
                    <a:pt x="7" y="75"/>
                    <a:pt x="5" y="80"/>
                    <a:pt x="5" y="84"/>
                  </a:cubicBezTo>
                  <a:cubicBezTo>
                    <a:pt x="6" y="88"/>
                    <a:pt x="0" y="94"/>
                    <a:pt x="7" y="96"/>
                  </a:cubicBezTo>
                  <a:cubicBezTo>
                    <a:pt x="14" y="98"/>
                    <a:pt x="37" y="98"/>
                    <a:pt x="47" y="98"/>
                  </a:cubicBezTo>
                  <a:cubicBezTo>
                    <a:pt x="56" y="97"/>
                    <a:pt x="61" y="96"/>
                    <a:pt x="65" y="95"/>
                  </a:cubicBezTo>
                  <a:cubicBezTo>
                    <a:pt x="69" y="94"/>
                    <a:pt x="69" y="90"/>
                    <a:pt x="73" y="89"/>
                  </a:cubicBezTo>
                  <a:cubicBezTo>
                    <a:pt x="79" y="86"/>
                    <a:pt x="84" y="89"/>
                    <a:pt x="91" y="90"/>
                  </a:cubicBezTo>
                  <a:cubicBezTo>
                    <a:pt x="96" y="93"/>
                    <a:pt x="99" y="94"/>
                    <a:pt x="103" y="99"/>
                  </a:cubicBezTo>
                  <a:cubicBezTo>
                    <a:pt x="104" y="107"/>
                    <a:pt x="104" y="111"/>
                    <a:pt x="109" y="117"/>
                  </a:cubicBezTo>
                  <a:cubicBezTo>
                    <a:pt x="111" y="125"/>
                    <a:pt x="114" y="124"/>
                    <a:pt x="110" y="132"/>
                  </a:cubicBezTo>
                  <a:cubicBezTo>
                    <a:pt x="110" y="136"/>
                    <a:pt x="106" y="141"/>
                    <a:pt x="104" y="144"/>
                  </a:cubicBezTo>
                  <a:cubicBezTo>
                    <a:pt x="102" y="147"/>
                    <a:pt x="98" y="148"/>
                    <a:pt x="98" y="150"/>
                  </a:cubicBezTo>
                  <a:cubicBezTo>
                    <a:pt x="96" y="159"/>
                    <a:pt x="99" y="159"/>
                    <a:pt x="107" y="158"/>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44" name="Freeform 447"/>
            <p:cNvSpPr>
              <a:spLocks/>
            </p:cNvSpPr>
            <p:nvPr>
              <p:custDataLst>
                <p:tags r:id="rId12"/>
              </p:custDataLst>
            </p:nvPr>
          </p:nvSpPr>
          <p:spPr bwMode="gray">
            <a:xfrm>
              <a:off x="3551925" y="2437157"/>
              <a:ext cx="235045" cy="157689"/>
            </a:xfrm>
            <a:custGeom>
              <a:avLst/>
              <a:gdLst>
                <a:gd name="T0" fmla="*/ 174 w 244"/>
                <a:gd name="T1" fmla="*/ 93 h 163"/>
                <a:gd name="T2" fmla="*/ 189 w 244"/>
                <a:gd name="T3" fmla="*/ 82 h 163"/>
                <a:gd name="T4" fmla="*/ 219 w 244"/>
                <a:gd name="T5" fmla="*/ 61 h 163"/>
                <a:gd name="T6" fmla="*/ 237 w 244"/>
                <a:gd name="T7" fmla="*/ 73 h 163"/>
                <a:gd name="T8" fmla="*/ 244 w 244"/>
                <a:gd name="T9" fmla="*/ 84 h 163"/>
                <a:gd name="T10" fmla="*/ 196 w 244"/>
                <a:gd name="T11" fmla="*/ 97 h 163"/>
                <a:gd name="T12" fmla="*/ 183 w 244"/>
                <a:gd name="T13" fmla="*/ 106 h 163"/>
                <a:gd name="T14" fmla="*/ 172 w 244"/>
                <a:gd name="T15" fmla="*/ 115 h 163"/>
                <a:gd name="T16" fmla="*/ 177 w 244"/>
                <a:gd name="T17" fmla="*/ 142 h 163"/>
                <a:gd name="T18" fmla="*/ 153 w 244"/>
                <a:gd name="T19" fmla="*/ 157 h 163"/>
                <a:gd name="T20" fmla="*/ 150 w 244"/>
                <a:gd name="T21" fmla="*/ 153 h 163"/>
                <a:gd name="T22" fmla="*/ 148 w 244"/>
                <a:gd name="T23" fmla="*/ 147 h 163"/>
                <a:gd name="T24" fmla="*/ 121 w 244"/>
                <a:gd name="T25" fmla="*/ 129 h 163"/>
                <a:gd name="T26" fmla="*/ 99 w 244"/>
                <a:gd name="T27" fmla="*/ 112 h 163"/>
                <a:gd name="T28" fmla="*/ 91 w 244"/>
                <a:gd name="T29" fmla="*/ 93 h 163"/>
                <a:gd name="T30" fmla="*/ 76 w 244"/>
                <a:gd name="T31" fmla="*/ 78 h 163"/>
                <a:gd name="T32" fmla="*/ 58 w 244"/>
                <a:gd name="T33" fmla="*/ 73 h 163"/>
                <a:gd name="T34" fmla="*/ 49 w 244"/>
                <a:gd name="T35" fmla="*/ 57 h 163"/>
                <a:gd name="T36" fmla="*/ 18 w 244"/>
                <a:gd name="T37" fmla="*/ 72 h 163"/>
                <a:gd name="T38" fmla="*/ 4 w 244"/>
                <a:gd name="T39" fmla="*/ 79 h 163"/>
                <a:gd name="T40" fmla="*/ 4 w 244"/>
                <a:gd name="T41" fmla="*/ 19 h 163"/>
                <a:gd name="T42" fmla="*/ 30 w 244"/>
                <a:gd name="T43" fmla="*/ 9 h 163"/>
                <a:gd name="T44" fmla="*/ 43 w 244"/>
                <a:gd name="T45" fmla="*/ 0 h 163"/>
                <a:gd name="T46" fmla="*/ 51 w 244"/>
                <a:gd name="T47" fmla="*/ 9 h 163"/>
                <a:gd name="T48" fmla="*/ 61 w 244"/>
                <a:gd name="T49" fmla="*/ 12 h 163"/>
                <a:gd name="T50" fmla="*/ 69 w 244"/>
                <a:gd name="T51" fmla="*/ 25 h 163"/>
                <a:gd name="T52" fmla="*/ 90 w 244"/>
                <a:gd name="T53" fmla="*/ 34 h 163"/>
                <a:gd name="T54" fmla="*/ 105 w 244"/>
                <a:gd name="T55" fmla="*/ 46 h 163"/>
                <a:gd name="T56" fmla="*/ 139 w 244"/>
                <a:gd name="T57" fmla="*/ 46 h 163"/>
                <a:gd name="T58" fmla="*/ 150 w 244"/>
                <a:gd name="T59" fmla="*/ 63 h 163"/>
                <a:gd name="T60" fmla="*/ 156 w 244"/>
                <a:gd name="T61" fmla="*/ 75 h 163"/>
                <a:gd name="T62" fmla="*/ 165 w 244"/>
                <a:gd name="T63" fmla="*/ 81 h 163"/>
                <a:gd name="T64" fmla="*/ 174 w 244"/>
                <a:gd name="T65" fmla="*/ 9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4" h="163">
                  <a:moveTo>
                    <a:pt x="174" y="93"/>
                  </a:moveTo>
                  <a:cubicBezTo>
                    <a:pt x="186" y="84"/>
                    <a:pt x="180" y="87"/>
                    <a:pt x="189" y="82"/>
                  </a:cubicBezTo>
                  <a:cubicBezTo>
                    <a:pt x="196" y="73"/>
                    <a:pt x="209" y="65"/>
                    <a:pt x="219" y="61"/>
                  </a:cubicBezTo>
                  <a:cubicBezTo>
                    <a:pt x="227" y="64"/>
                    <a:pt x="229" y="71"/>
                    <a:pt x="237" y="73"/>
                  </a:cubicBezTo>
                  <a:cubicBezTo>
                    <a:pt x="243" y="76"/>
                    <a:pt x="243" y="78"/>
                    <a:pt x="244" y="84"/>
                  </a:cubicBezTo>
                  <a:cubicBezTo>
                    <a:pt x="242" y="101"/>
                    <a:pt x="211" y="95"/>
                    <a:pt x="196" y="97"/>
                  </a:cubicBezTo>
                  <a:cubicBezTo>
                    <a:pt x="192" y="100"/>
                    <a:pt x="187" y="103"/>
                    <a:pt x="183" y="106"/>
                  </a:cubicBezTo>
                  <a:cubicBezTo>
                    <a:pt x="180" y="112"/>
                    <a:pt x="179" y="114"/>
                    <a:pt x="172" y="115"/>
                  </a:cubicBezTo>
                  <a:cubicBezTo>
                    <a:pt x="174" y="124"/>
                    <a:pt x="173" y="134"/>
                    <a:pt x="177" y="142"/>
                  </a:cubicBezTo>
                  <a:cubicBezTo>
                    <a:pt x="174" y="163"/>
                    <a:pt x="175" y="159"/>
                    <a:pt x="153" y="157"/>
                  </a:cubicBezTo>
                  <a:cubicBezTo>
                    <a:pt x="152" y="156"/>
                    <a:pt x="151" y="154"/>
                    <a:pt x="150" y="153"/>
                  </a:cubicBezTo>
                  <a:cubicBezTo>
                    <a:pt x="149" y="151"/>
                    <a:pt x="149" y="149"/>
                    <a:pt x="148" y="147"/>
                  </a:cubicBezTo>
                  <a:cubicBezTo>
                    <a:pt x="143" y="140"/>
                    <a:pt x="128" y="133"/>
                    <a:pt x="121" y="129"/>
                  </a:cubicBezTo>
                  <a:cubicBezTo>
                    <a:pt x="116" y="121"/>
                    <a:pt x="106" y="118"/>
                    <a:pt x="99" y="112"/>
                  </a:cubicBezTo>
                  <a:cubicBezTo>
                    <a:pt x="95" y="106"/>
                    <a:pt x="94" y="99"/>
                    <a:pt x="91" y="93"/>
                  </a:cubicBezTo>
                  <a:cubicBezTo>
                    <a:pt x="90" y="86"/>
                    <a:pt x="83" y="79"/>
                    <a:pt x="76" y="78"/>
                  </a:cubicBezTo>
                  <a:cubicBezTo>
                    <a:pt x="72" y="74"/>
                    <a:pt x="62" y="76"/>
                    <a:pt x="58" y="73"/>
                  </a:cubicBezTo>
                  <a:cubicBezTo>
                    <a:pt x="54" y="70"/>
                    <a:pt x="56" y="57"/>
                    <a:pt x="49" y="57"/>
                  </a:cubicBezTo>
                  <a:cubicBezTo>
                    <a:pt x="31" y="58"/>
                    <a:pt x="24" y="58"/>
                    <a:pt x="18" y="72"/>
                  </a:cubicBezTo>
                  <a:cubicBezTo>
                    <a:pt x="17" y="79"/>
                    <a:pt x="9" y="75"/>
                    <a:pt x="4" y="79"/>
                  </a:cubicBezTo>
                  <a:cubicBezTo>
                    <a:pt x="5" y="72"/>
                    <a:pt x="0" y="30"/>
                    <a:pt x="4" y="19"/>
                  </a:cubicBezTo>
                  <a:cubicBezTo>
                    <a:pt x="8" y="8"/>
                    <a:pt x="24" y="12"/>
                    <a:pt x="30" y="9"/>
                  </a:cubicBezTo>
                  <a:cubicBezTo>
                    <a:pt x="34" y="6"/>
                    <a:pt x="39" y="3"/>
                    <a:pt x="43" y="0"/>
                  </a:cubicBezTo>
                  <a:cubicBezTo>
                    <a:pt x="46" y="0"/>
                    <a:pt x="48" y="7"/>
                    <a:pt x="51" y="9"/>
                  </a:cubicBezTo>
                  <a:cubicBezTo>
                    <a:pt x="54" y="11"/>
                    <a:pt x="58" y="9"/>
                    <a:pt x="61" y="12"/>
                  </a:cubicBezTo>
                  <a:cubicBezTo>
                    <a:pt x="64" y="14"/>
                    <a:pt x="66" y="22"/>
                    <a:pt x="69" y="25"/>
                  </a:cubicBezTo>
                  <a:cubicBezTo>
                    <a:pt x="74" y="29"/>
                    <a:pt x="73" y="31"/>
                    <a:pt x="90" y="34"/>
                  </a:cubicBezTo>
                  <a:cubicBezTo>
                    <a:pt x="95" y="37"/>
                    <a:pt x="97" y="44"/>
                    <a:pt x="105" y="46"/>
                  </a:cubicBezTo>
                  <a:cubicBezTo>
                    <a:pt x="113" y="48"/>
                    <a:pt x="132" y="43"/>
                    <a:pt x="139" y="46"/>
                  </a:cubicBezTo>
                  <a:cubicBezTo>
                    <a:pt x="148" y="51"/>
                    <a:pt x="141" y="56"/>
                    <a:pt x="150" y="63"/>
                  </a:cubicBezTo>
                  <a:cubicBezTo>
                    <a:pt x="152" y="68"/>
                    <a:pt x="154" y="72"/>
                    <a:pt x="156" y="75"/>
                  </a:cubicBezTo>
                  <a:cubicBezTo>
                    <a:pt x="158" y="78"/>
                    <a:pt x="162" y="78"/>
                    <a:pt x="165" y="81"/>
                  </a:cubicBezTo>
                  <a:cubicBezTo>
                    <a:pt x="172" y="76"/>
                    <a:pt x="165" y="87"/>
                    <a:pt x="174" y="9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45" name="Freeform 448"/>
            <p:cNvSpPr>
              <a:spLocks/>
            </p:cNvSpPr>
            <p:nvPr>
              <p:custDataLst>
                <p:tags r:id="rId13"/>
              </p:custDataLst>
            </p:nvPr>
          </p:nvSpPr>
          <p:spPr bwMode="gray">
            <a:xfrm>
              <a:off x="3394237" y="2500629"/>
              <a:ext cx="70415" cy="63472"/>
            </a:xfrm>
            <a:custGeom>
              <a:avLst/>
              <a:gdLst>
                <a:gd name="T0" fmla="*/ 44 w 73"/>
                <a:gd name="T1" fmla="*/ 22 h 66"/>
                <a:gd name="T2" fmla="*/ 31 w 73"/>
                <a:gd name="T3" fmla="*/ 18 h 66"/>
                <a:gd name="T4" fmla="*/ 20 w 73"/>
                <a:gd name="T5" fmla="*/ 0 h 66"/>
                <a:gd name="T6" fmla="*/ 4 w 73"/>
                <a:gd name="T7" fmla="*/ 7 h 66"/>
                <a:gd name="T8" fmla="*/ 7 w 73"/>
                <a:gd name="T9" fmla="*/ 28 h 66"/>
                <a:gd name="T10" fmla="*/ 13 w 73"/>
                <a:gd name="T11" fmla="*/ 36 h 66"/>
                <a:gd name="T12" fmla="*/ 16 w 73"/>
                <a:gd name="T13" fmla="*/ 46 h 66"/>
                <a:gd name="T14" fmla="*/ 28 w 73"/>
                <a:gd name="T15" fmla="*/ 51 h 66"/>
                <a:gd name="T16" fmla="*/ 41 w 73"/>
                <a:gd name="T17" fmla="*/ 48 h 66"/>
                <a:gd name="T18" fmla="*/ 56 w 73"/>
                <a:gd name="T19" fmla="*/ 66 h 66"/>
                <a:gd name="T20" fmla="*/ 62 w 73"/>
                <a:gd name="T21" fmla="*/ 45 h 66"/>
                <a:gd name="T22" fmla="*/ 73 w 73"/>
                <a:gd name="T23" fmla="*/ 31 h 66"/>
                <a:gd name="T24" fmla="*/ 61 w 73"/>
                <a:gd name="T25" fmla="*/ 18 h 66"/>
                <a:gd name="T26" fmla="*/ 49 w 73"/>
                <a:gd name="T27" fmla="*/ 4 h 66"/>
                <a:gd name="T28" fmla="*/ 44 w 73"/>
                <a:gd name="T29" fmla="*/ 2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6">
                  <a:moveTo>
                    <a:pt x="44" y="22"/>
                  </a:moveTo>
                  <a:cubicBezTo>
                    <a:pt x="39" y="21"/>
                    <a:pt x="36" y="19"/>
                    <a:pt x="31" y="18"/>
                  </a:cubicBezTo>
                  <a:cubicBezTo>
                    <a:pt x="24" y="13"/>
                    <a:pt x="28" y="5"/>
                    <a:pt x="20" y="0"/>
                  </a:cubicBezTo>
                  <a:cubicBezTo>
                    <a:pt x="15" y="2"/>
                    <a:pt x="8" y="4"/>
                    <a:pt x="4" y="7"/>
                  </a:cubicBezTo>
                  <a:cubicBezTo>
                    <a:pt x="0" y="16"/>
                    <a:pt x="1" y="20"/>
                    <a:pt x="7" y="28"/>
                  </a:cubicBezTo>
                  <a:cubicBezTo>
                    <a:pt x="10" y="42"/>
                    <a:pt x="5" y="24"/>
                    <a:pt x="13" y="36"/>
                  </a:cubicBezTo>
                  <a:cubicBezTo>
                    <a:pt x="15" y="39"/>
                    <a:pt x="14" y="43"/>
                    <a:pt x="16" y="46"/>
                  </a:cubicBezTo>
                  <a:cubicBezTo>
                    <a:pt x="18" y="54"/>
                    <a:pt x="21" y="52"/>
                    <a:pt x="28" y="51"/>
                  </a:cubicBezTo>
                  <a:cubicBezTo>
                    <a:pt x="32" y="44"/>
                    <a:pt x="35" y="43"/>
                    <a:pt x="41" y="48"/>
                  </a:cubicBezTo>
                  <a:cubicBezTo>
                    <a:pt x="46" y="57"/>
                    <a:pt x="46" y="61"/>
                    <a:pt x="56" y="66"/>
                  </a:cubicBezTo>
                  <a:cubicBezTo>
                    <a:pt x="68" y="62"/>
                    <a:pt x="58" y="55"/>
                    <a:pt x="62" y="45"/>
                  </a:cubicBezTo>
                  <a:cubicBezTo>
                    <a:pt x="63" y="41"/>
                    <a:pt x="71" y="35"/>
                    <a:pt x="73" y="31"/>
                  </a:cubicBezTo>
                  <a:cubicBezTo>
                    <a:pt x="71" y="26"/>
                    <a:pt x="65" y="21"/>
                    <a:pt x="61" y="18"/>
                  </a:cubicBezTo>
                  <a:cubicBezTo>
                    <a:pt x="59" y="12"/>
                    <a:pt x="54" y="7"/>
                    <a:pt x="49" y="4"/>
                  </a:cubicBezTo>
                  <a:cubicBezTo>
                    <a:pt x="47" y="10"/>
                    <a:pt x="47" y="16"/>
                    <a:pt x="44" y="22"/>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46" name="Freeform 449"/>
            <p:cNvSpPr>
              <a:spLocks/>
            </p:cNvSpPr>
            <p:nvPr>
              <p:custDataLst>
                <p:tags r:id="rId14"/>
              </p:custDataLst>
            </p:nvPr>
          </p:nvSpPr>
          <p:spPr bwMode="gray">
            <a:xfrm>
              <a:off x="3125472" y="2366742"/>
              <a:ext cx="50580" cy="65456"/>
            </a:xfrm>
            <a:custGeom>
              <a:avLst/>
              <a:gdLst>
                <a:gd name="T0" fmla="*/ 0 w 52"/>
                <a:gd name="T1" fmla="*/ 11 h 68"/>
                <a:gd name="T2" fmla="*/ 25 w 52"/>
                <a:gd name="T3" fmla="*/ 1 h 68"/>
                <a:gd name="T4" fmla="*/ 42 w 52"/>
                <a:gd name="T5" fmla="*/ 11 h 68"/>
                <a:gd name="T6" fmla="*/ 45 w 52"/>
                <a:gd name="T7" fmla="*/ 29 h 68"/>
                <a:gd name="T8" fmla="*/ 52 w 52"/>
                <a:gd name="T9" fmla="*/ 43 h 68"/>
                <a:gd name="T10" fmla="*/ 46 w 52"/>
                <a:gd name="T11" fmla="*/ 55 h 68"/>
                <a:gd name="T12" fmla="*/ 34 w 52"/>
                <a:gd name="T13" fmla="*/ 68 h 68"/>
                <a:gd name="T14" fmla="*/ 18 w 52"/>
                <a:gd name="T15" fmla="*/ 28 h 68"/>
                <a:gd name="T16" fmla="*/ 0 w 52"/>
                <a:gd name="T17" fmla="*/ 1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8">
                  <a:moveTo>
                    <a:pt x="0" y="11"/>
                  </a:moveTo>
                  <a:cubicBezTo>
                    <a:pt x="2" y="1"/>
                    <a:pt x="14" y="0"/>
                    <a:pt x="25" y="1"/>
                  </a:cubicBezTo>
                  <a:cubicBezTo>
                    <a:pt x="34" y="4"/>
                    <a:pt x="31" y="10"/>
                    <a:pt x="42" y="11"/>
                  </a:cubicBezTo>
                  <a:cubicBezTo>
                    <a:pt x="46" y="15"/>
                    <a:pt x="43" y="24"/>
                    <a:pt x="45" y="29"/>
                  </a:cubicBezTo>
                  <a:cubicBezTo>
                    <a:pt x="47" y="34"/>
                    <a:pt x="52" y="39"/>
                    <a:pt x="52" y="43"/>
                  </a:cubicBezTo>
                  <a:cubicBezTo>
                    <a:pt x="48" y="46"/>
                    <a:pt x="50" y="52"/>
                    <a:pt x="46" y="55"/>
                  </a:cubicBezTo>
                  <a:cubicBezTo>
                    <a:pt x="43" y="62"/>
                    <a:pt x="40" y="63"/>
                    <a:pt x="34" y="68"/>
                  </a:cubicBezTo>
                  <a:cubicBezTo>
                    <a:pt x="14" y="66"/>
                    <a:pt x="37" y="42"/>
                    <a:pt x="18" y="28"/>
                  </a:cubicBezTo>
                  <a:cubicBezTo>
                    <a:pt x="16" y="24"/>
                    <a:pt x="2" y="4"/>
                    <a:pt x="0" y="11"/>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47" name="Freeform 450"/>
            <p:cNvSpPr>
              <a:spLocks/>
            </p:cNvSpPr>
            <p:nvPr>
              <p:custDataLst>
                <p:tags r:id="rId15"/>
              </p:custDataLst>
            </p:nvPr>
          </p:nvSpPr>
          <p:spPr bwMode="gray">
            <a:xfrm>
              <a:off x="3331756" y="2480794"/>
              <a:ext cx="75373" cy="40662"/>
            </a:xfrm>
            <a:custGeom>
              <a:avLst/>
              <a:gdLst>
                <a:gd name="T0" fmla="*/ 34 w 78"/>
                <a:gd name="T1" fmla="*/ 31 h 42"/>
                <a:gd name="T2" fmla="*/ 12 w 78"/>
                <a:gd name="T3" fmla="*/ 13 h 42"/>
                <a:gd name="T4" fmla="*/ 37 w 78"/>
                <a:gd name="T5" fmla="*/ 7 h 42"/>
                <a:gd name="T6" fmla="*/ 57 w 78"/>
                <a:gd name="T7" fmla="*/ 10 h 42"/>
                <a:gd name="T8" fmla="*/ 78 w 78"/>
                <a:gd name="T9" fmla="*/ 19 h 42"/>
                <a:gd name="T10" fmla="*/ 64 w 78"/>
                <a:gd name="T11" fmla="*/ 36 h 42"/>
                <a:gd name="T12" fmla="*/ 34 w 78"/>
                <a:gd name="T13" fmla="*/ 31 h 42"/>
              </a:gdLst>
              <a:ahLst/>
              <a:cxnLst>
                <a:cxn ang="0">
                  <a:pos x="T0" y="T1"/>
                </a:cxn>
                <a:cxn ang="0">
                  <a:pos x="T2" y="T3"/>
                </a:cxn>
                <a:cxn ang="0">
                  <a:pos x="T4" y="T5"/>
                </a:cxn>
                <a:cxn ang="0">
                  <a:pos x="T6" y="T7"/>
                </a:cxn>
                <a:cxn ang="0">
                  <a:pos x="T8" y="T9"/>
                </a:cxn>
                <a:cxn ang="0">
                  <a:pos x="T10" y="T11"/>
                </a:cxn>
                <a:cxn ang="0">
                  <a:pos x="T12" y="T13"/>
                </a:cxn>
              </a:cxnLst>
              <a:rect l="0" t="0" r="r" b="b"/>
              <a:pathLst>
                <a:path w="78" h="42">
                  <a:moveTo>
                    <a:pt x="34" y="31"/>
                  </a:moveTo>
                  <a:cubicBezTo>
                    <a:pt x="0" y="25"/>
                    <a:pt x="34" y="30"/>
                    <a:pt x="12" y="13"/>
                  </a:cubicBezTo>
                  <a:cubicBezTo>
                    <a:pt x="6" y="0"/>
                    <a:pt x="35" y="7"/>
                    <a:pt x="37" y="7"/>
                  </a:cubicBezTo>
                  <a:cubicBezTo>
                    <a:pt x="51" y="13"/>
                    <a:pt x="27" y="4"/>
                    <a:pt x="57" y="10"/>
                  </a:cubicBezTo>
                  <a:cubicBezTo>
                    <a:pt x="64" y="11"/>
                    <a:pt x="70" y="18"/>
                    <a:pt x="78" y="19"/>
                  </a:cubicBezTo>
                  <a:cubicBezTo>
                    <a:pt x="67" y="23"/>
                    <a:pt x="73" y="32"/>
                    <a:pt x="64" y="36"/>
                  </a:cubicBezTo>
                  <a:cubicBezTo>
                    <a:pt x="35" y="34"/>
                    <a:pt x="41" y="42"/>
                    <a:pt x="34" y="31"/>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48" name="Freeform 451"/>
            <p:cNvSpPr>
              <a:spLocks/>
            </p:cNvSpPr>
            <p:nvPr>
              <p:custDataLst>
                <p:tags r:id="rId16"/>
              </p:custDataLst>
            </p:nvPr>
          </p:nvSpPr>
          <p:spPr bwMode="gray">
            <a:xfrm>
              <a:off x="3020346" y="2492695"/>
              <a:ext cx="39670" cy="45621"/>
            </a:xfrm>
            <a:custGeom>
              <a:avLst/>
              <a:gdLst>
                <a:gd name="T0" fmla="*/ 8 w 41"/>
                <a:gd name="T1" fmla="*/ 3 h 47"/>
                <a:gd name="T2" fmla="*/ 23 w 41"/>
                <a:gd name="T3" fmla="*/ 6 h 47"/>
                <a:gd name="T4" fmla="*/ 40 w 41"/>
                <a:gd name="T5" fmla="*/ 32 h 47"/>
                <a:gd name="T6" fmla="*/ 26 w 41"/>
                <a:gd name="T7" fmla="*/ 42 h 47"/>
                <a:gd name="T8" fmla="*/ 10 w 41"/>
                <a:gd name="T9" fmla="*/ 45 h 47"/>
                <a:gd name="T10" fmla="*/ 5 w 41"/>
                <a:gd name="T11" fmla="*/ 18 h 47"/>
                <a:gd name="T12" fmla="*/ 8 w 41"/>
                <a:gd name="T13" fmla="*/ 3 h 47"/>
              </a:gdLst>
              <a:ahLst/>
              <a:cxnLst>
                <a:cxn ang="0">
                  <a:pos x="T0" y="T1"/>
                </a:cxn>
                <a:cxn ang="0">
                  <a:pos x="T2" y="T3"/>
                </a:cxn>
                <a:cxn ang="0">
                  <a:pos x="T4" y="T5"/>
                </a:cxn>
                <a:cxn ang="0">
                  <a:pos x="T6" y="T7"/>
                </a:cxn>
                <a:cxn ang="0">
                  <a:pos x="T8" y="T9"/>
                </a:cxn>
                <a:cxn ang="0">
                  <a:pos x="T10" y="T11"/>
                </a:cxn>
                <a:cxn ang="0">
                  <a:pos x="T12" y="T13"/>
                </a:cxn>
              </a:cxnLst>
              <a:rect l="0" t="0" r="r" b="b"/>
              <a:pathLst>
                <a:path w="41" h="47">
                  <a:moveTo>
                    <a:pt x="8" y="3"/>
                  </a:moveTo>
                  <a:cubicBezTo>
                    <a:pt x="15" y="2"/>
                    <a:pt x="20" y="0"/>
                    <a:pt x="23" y="6"/>
                  </a:cubicBezTo>
                  <a:cubicBezTo>
                    <a:pt x="25" y="17"/>
                    <a:pt x="31" y="26"/>
                    <a:pt x="40" y="32"/>
                  </a:cubicBezTo>
                  <a:cubicBezTo>
                    <a:pt x="41" y="39"/>
                    <a:pt x="33" y="41"/>
                    <a:pt x="26" y="42"/>
                  </a:cubicBezTo>
                  <a:cubicBezTo>
                    <a:pt x="20" y="47"/>
                    <a:pt x="18" y="47"/>
                    <a:pt x="10" y="45"/>
                  </a:cubicBezTo>
                  <a:cubicBezTo>
                    <a:pt x="0" y="39"/>
                    <a:pt x="4" y="30"/>
                    <a:pt x="5" y="18"/>
                  </a:cubicBezTo>
                  <a:cubicBezTo>
                    <a:pt x="5" y="14"/>
                    <a:pt x="1" y="3"/>
                    <a:pt x="8" y="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49" name="Freeform 452"/>
            <p:cNvSpPr>
              <a:spLocks/>
            </p:cNvSpPr>
            <p:nvPr>
              <p:custDataLst>
                <p:tags r:id="rId17"/>
              </p:custDataLst>
            </p:nvPr>
          </p:nvSpPr>
          <p:spPr bwMode="gray">
            <a:xfrm>
              <a:off x="3039190" y="2494679"/>
              <a:ext cx="52563" cy="27769"/>
            </a:xfrm>
            <a:custGeom>
              <a:avLst/>
              <a:gdLst>
                <a:gd name="T0" fmla="*/ 4 w 55"/>
                <a:gd name="T1" fmla="*/ 7 h 28"/>
                <a:gd name="T2" fmla="*/ 21 w 55"/>
                <a:gd name="T3" fmla="*/ 0 h 28"/>
                <a:gd name="T4" fmla="*/ 46 w 55"/>
                <a:gd name="T5" fmla="*/ 15 h 28"/>
                <a:gd name="T6" fmla="*/ 31 w 55"/>
                <a:gd name="T7" fmla="*/ 19 h 28"/>
                <a:gd name="T8" fmla="*/ 19 w 55"/>
                <a:gd name="T9" fmla="*/ 28 h 28"/>
                <a:gd name="T10" fmla="*/ 4 w 55"/>
                <a:gd name="T11" fmla="*/ 7 h 28"/>
              </a:gdLst>
              <a:ahLst/>
              <a:cxnLst>
                <a:cxn ang="0">
                  <a:pos x="T0" y="T1"/>
                </a:cxn>
                <a:cxn ang="0">
                  <a:pos x="T2" y="T3"/>
                </a:cxn>
                <a:cxn ang="0">
                  <a:pos x="T4" y="T5"/>
                </a:cxn>
                <a:cxn ang="0">
                  <a:pos x="T6" y="T7"/>
                </a:cxn>
                <a:cxn ang="0">
                  <a:pos x="T8" y="T9"/>
                </a:cxn>
                <a:cxn ang="0">
                  <a:pos x="T10" y="T11"/>
                </a:cxn>
              </a:cxnLst>
              <a:rect l="0" t="0" r="r" b="b"/>
              <a:pathLst>
                <a:path w="55" h="28">
                  <a:moveTo>
                    <a:pt x="4" y="7"/>
                  </a:moveTo>
                  <a:cubicBezTo>
                    <a:pt x="17" y="6"/>
                    <a:pt x="10" y="2"/>
                    <a:pt x="21" y="0"/>
                  </a:cubicBezTo>
                  <a:cubicBezTo>
                    <a:pt x="55" y="2"/>
                    <a:pt x="28" y="2"/>
                    <a:pt x="46" y="15"/>
                  </a:cubicBezTo>
                  <a:cubicBezTo>
                    <a:pt x="41" y="16"/>
                    <a:pt x="36" y="18"/>
                    <a:pt x="31" y="19"/>
                  </a:cubicBezTo>
                  <a:cubicBezTo>
                    <a:pt x="26" y="22"/>
                    <a:pt x="22" y="23"/>
                    <a:pt x="19" y="28"/>
                  </a:cubicBezTo>
                  <a:cubicBezTo>
                    <a:pt x="14" y="26"/>
                    <a:pt x="0" y="7"/>
                    <a:pt x="4" y="7"/>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50" name="Freeform 453"/>
            <p:cNvSpPr>
              <a:spLocks/>
            </p:cNvSpPr>
            <p:nvPr>
              <p:custDataLst>
                <p:tags r:id="rId18"/>
              </p:custDataLst>
            </p:nvPr>
          </p:nvSpPr>
          <p:spPr bwMode="gray">
            <a:xfrm>
              <a:off x="3070926" y="2458976"/>
              <a:ext cx="90250" cy="56530"/>
            </a:xfrm>
            <a:custGeom>
              <a:avLst/>
              <a:gdLst>
                <a:gd name="T0" fmla="*/ 6 w 94"/>
                <a:gd name="T1" fmla="*/ 34 h 58"/>
                <a:gd name="T2" fmla="*/ 7 w 94"/>
                <a:gd name="T3" fmla="*/ 29 h 58"/>
                <a:gd name="T4" fmla="*/ 12 w 94"/>
                <a:gd name="T5" fmla="*/ 25 h 58"/>
                <a:gd name="T6" fmla="*/ 0 w 94"/>
                <a:gd name="T7" fmla="*/ 8 h 58"/>
                <a:gd name="T8" fmla="*/ 36 w 94"/>
                <a:gd name="T9" fmla="*/ 8 h 58"/>
                <a:gd name="T10" fmla="*/ 66 w 94"/>
                <a:gd name="T11" fmla="*/ 1 h 58"/>
                <a:gd name="T12" fmla="*/ 84 w 94"/>
                <a:gd name="T13" fmla="*/ 8 h 58"/>
                <a:gd name="T14" fmla="*/ 63 w 94"/>
                <a:gd name="T15" fmla="*/ 34 h 58"/>
                <a:gd name="T16" fmla="*/ 52 w 94"/>
                <a:gd name="T17" fmla="*/ 52 h 58"/>
                <a:gd name="T18" fmla="*/ 34 w 94"/>
                <a:gd name="T19" fmla="*/ 55 h 58"/>
                <a:gd name="T20" fmla="*/ 12 w 94"/>
                <a:gd name="T21" fmla="*/ 49 h 58"/>
                <a:gd name="T22" fmla="*/ 6 w 94"/>
                <a:gd name="T23" fmla="*/ 3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58">
                  <a:moveTo>
                    <a:pt x="6" y="34"/>
                  </a:moveTo>
                  <a:cubicBezTo>
                    <a:pt x="6" y="32"/>
                    <a:pt x="6" y="30"/>
                    <a:pt x="7" y="29"/>
                  </a:cubicBezTo>
                  <a:cubicBezTo>
                    <a:pt x="8" y="27"/>
                    <a:pt x="11" y="27"/>
                    <a:pt x="12" y="25"/>
                  </a:cubicBezTo>
                  <a:cubicBezTo>
                    <a:pt x="14" y="17"/>
                    <a:pt x="5" y="12"/>
                    <a:pt x="0" y="8"/>
                  </a:cubicBezTo>
                  <a:cubicBezTo>
                    <a:pt x="10" y="0"/>
                    <a:pt x="24" y="6"/>
                    <a:pt x="36" y="8"/>
                  </a:cubicBezTo>
                  <a:cubicBezTo>
                    <a:pt x="49" y="7"/>
                    <a:pt x="54" y="3"/>
                    <a:pt x="66" y="1"/>
                  </a:cubicBezTo>
                  <a:cubicBezTo>
                    <a:pt x="75" y="2"/>
                    <a:pt x="77" y="2"/>
                    <a:pt x="84" y="8"/>
                  </a:cubicBezTo>
                  <a:cubicBezTo>
                    <a:pt x="94" y="25"/>
                    <a:pt x="75" y="32"/>
                    <a:pt x="63" y="34"/>
                  </a:cubicBezTo>
                  <a:cubicBezTo>
                    <a:pt x="60" y="43"/>
                    <a:pt x="62" y="49"/>
                    <a:pt x="52" y="52"/>
                  </a:cubicBezTo>
                  <a:cubicBezTo>
                    <a:pt x="44" y="58"/>
                    <a:pt x="43" y="57"/>
                    <a:pt x="34" y="55"/>
                  </a:cubicBezTo>
                  <a:cubicBezTo>
                    <a:pt x="26" y="49"/>
                    <a:pt x="23" y="50"/>
                    <a:pt x="12" y="49"/>
                  </a:cubicBezTo>
                  <a:cubicBezTo>
                    <a:pt x="8" y="43"/>
                    <a:pt x="6" y="41"/>
                    <a:pt x="6" y="3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51" name="Freeform 454"/>
            <p:cNvSpPr>
              <a:spLocks/>
            </p:cNvSpPr>
            <p:nvPr>
              <p:custDataLst>
                <p:tags r:id="rId19"/>
              </p:custDataLst>
            </p:nvPr>
          </p:nvSpPr>
          <p:spPr bwMode="gray">
            <a:xfrm>
              <a:off x="3047124" y="2369718"/>
              <a:ext cx="128928" cy="105126"/>
            </a:xfrm>
            <a:custGeom>
              <a:avLst/>
              <a:gdLst>
                <a:gd name="T0" fmla="*/ 116 w 134"/>
                <a:gd name="T1" fmla="*/ 109 h 109"/>
                <a:gd name="T2" fmla="*/ 124 w 134"/>
                <a:gd name="T3" fmla="*/ 85 h 109"/>
                <a:gd name="T4" fmla="*/ 134 w 134"/>
                <a:gd name="T5" fmla="*/ 74 h 109"/>
                <a:gd name="T6" fmla="*/ 113 w 134"/>
                <a:gd name="T7" fmla="*/ 67 h 109"/>
                <a:gd name="T8" fmla="*/ 109 w 134"/>
                <a:gd name="T9" fmla="*/ 53 h 109"/>
                <a:gd name="T10" fmla="*/ 101 w 134"/>
                <a:gd name="T11" fmla="*/ 22 h 109"/>
                <a:gd name="T12" fmla="*/ 88 w 134"/>
                <a:gd name="T13" fmla="*/ 8 h 109"/>
                <a:gd name="T14" fmla="*/ 23 w 134"/>
                <a:gd name="T15" fmla="*/ 14 h 109"/>
                <a:gd name="T16" fmla="*/ 5 w 134"/>
                <a:gd name="T17" fmla="*/ 40 h 109"/>
                <a:gd name="T18" fmla="*/ 10 w 134"/>
                <a:gd name="T19" fmla="*/ 70 h 109"/>
                <a:gd name="T20" fmla="*/ 22 w 134"/>
                <a:gd name="T21" fmla="*/ 88 h 109"/>
                <a:gd name="T22" fmla="*/ 28 w 134"/>
                <a:gd name="T23" fmla="*/ 100 h 109"/>
                <a:gd name="T24" fmla="*/ 43 w 134"/>
                <a:gd name="T25" fmla="*/ 97 h 109"/>
                <a:gd name="T26" fmla="*/ 67 w 134"/>
                <a:gd name="T27" fmla="*/ 103 h 109"/>
                <a:gd name="T28" fmla="*/ 85 w 134"/>
                <a:gd name="T29" fmla="*/ 94 h 109"/>
                <a:gd name="T30" fmla="*/ 86 w 134"/>
                <a:gd name="T31" fmla="*/ 107 h 109"/>
                <a:gd name="T32" fmla="*/ 110 w 134"/>
                <a:gd name="T33" fmla="*/ 10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09">
                  <a:moveTo>
                    <a:pt x="116" y="109"/>
                  </a:moveTo>
                  <a:cubicBezTo>
                    <a:pt x="117" y="99"/>
                    <a:pt x="115" y="90"/>
                    <a:pt x="124" y="85"/>
                  </a:cubicBezTo>
                  <a:cubicBezTo>
                    <a:pt x="128" y="78"/>
                    <a:pt x="132" y="82"/>
                    <a:pt x="134" y="74"/>
                  </a:cubicBezTo>
                  <a:cubicBezTo>
                    <a:pt x="133" y="70"/>
                    <a:pt x="117" y="70"/>
                    <a:pt x="113" y="67"/>
                  </a:cubicBezTo>
                  <a:cubicBezTo>
                    <a:pt x="109" y="64"/>
                    <a:pt x="111" y="60"/>
                    <a:pt x="109" y="53"/>
                  </a:cubicBezTo>
                  <a:cubicBezTo>
                    <a:pt x="107" y="39"/>
                    <a:pt x="109" y="32"/>
                    <a:pt x="101" y="22"/>
                  </a:cubicBezTo>
                  <a:cubicBezTo>
                    <a:pt x="100" y="16"/>
                    <a:pt x="94" y="11"/>
                    <a:pt x="88" y="8"/>
                  </a:cubicBezTo>
                  <a:cubicBezTo>
                    <a:pt x="48" y="9"/>
                    <a:pt x="47" y="0"/>
                    <a:pt x="23" y="14"/>
                  </a:cubicBezTo>
                  <a:cubicBezTo>
                    <a:pt x="22" y="26"/>
                    <a:pt x="16" y="35"/>
                    <a:pt x="5" y="40"/>
                  </a:cubicBezTo>
                  <a:cubicBezTo>
                    <a:pt x="4" y="50"/>
                    <a:pt x="0" y="64"/>
                    <a:pt x="10" y="70"/>
                  </a:cubicBezTo>
                  <a:cubicBezTo>
                    <a:pt x="14" y="76"/>
                    <a:pt x="18" y="82"/>
                    <a:pt x="22" y="88"/>
                  </a:cubicBezTo>
                  <a:cubicBezTo>
                    <a:pt x="25" y="91"/>
                    <a:pt x="21" y="98"/>
                    <a:pt x="28" y="100"/>
                  </a:cubicBezTo>
                  <a:cubicBezTo>
                    <a:pt x="31" y="101"/>
                    <a:pt x="37" y="97"/>
                    <a:pt x="43" y="97"/>
                  </a:cubicBezTo>
                  <a:cubicBezTo>
                    <a:pt x="49" y="97"/>
                    <a:pt x="60" y="103"/>
                    <a:pt x="67" y="103"/>
                  </a:cubicBezTo>
                  <a:cubicBezTo>
                    <a:pt x="74" y="103"/>
                    <a:pt x="82" y="93"/>
                    <a:pt x="85" y="94"/>
                  </a:cubicBezTo>
                  <a:cubicBezTo>
                    <a:pt x="88" y="95"/>
                    <a:pt x="82" y="105"/>
                    <a:pt x="86" y="107"/>
                  </a:cubicBezTo>
                  <a:cubicBezTo>
                    <a:pt x="90" y="109"/>
                    <a:pt x="105" y="106"/>
                    <a:pt x="110" y="106"/>
                  </a:cubicBez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52" name="Freeform 455"/>
            <p:cNvSpPr>
              <a:spLocks/>
            </p:cNvSpPr>
            <p:nvPr>
              <p:custDataLst>
                <p:tags r:id="rId20"/>
              </p:custDataLst>
            </p:nvPr>
          </p:nvSpPr>
          <p:spPr bwMode="gray">
            <a:xfrm>
              <a:off x="3014396" y="2469885"/>
              <a:ext cx="29753" cy="31736"/>
            </a:xfrm>
            <a:custGeom>
              <a:avLst/>
              <a:gdLst>
                <a:gd name="T0" fmla="*/ 13 w 30"/>
                <a:gd name="T1" fmla="*/ 33 h 33"/>
                <a:gd name="T2" fmla="*/ 2 w 30"/>
                <a:gd name="T3" fmla="*/ 15 h 33"/>
                <a:gd name="T4" fmla="*/ 7 w 30"/>
                <a:gd name="T5" fmla="*/ 0 h 33"/>
                <a:gd name="T6" fmla="*/ 28 w 30"/>
                <a:gd name="T7" fmla="*/ 15 h 33"/>
                <a:gd name="T8" fmla="*/ 17 w 30"/>
                <a:gd name="T9" fmla="*/ 27 h 33"/>
                <a:gd name="T10" fmla="*/ 13 w 30"/>
                <a:gd name="T11" fmla="*/ 33 h 33"/>
              </a:gdLst>
              <a:ahLst/>
              <a:cxnLst>
                <a:cxn ang="0">
                  <a:pos x="T0" y="T1"/>
                </a:cxn>
                <a:cxn ang="0">
                  <a:pos x="T2" y="T3"/>
                </a:cxn>
                <a:cxn ang="0">
                  <a:pos x="T4" y="T5"/>
                </a:cxn>
                <a:cxn ang="0">
                  <a:pos x="T6" y="T7"/>
                </a:cxn>
                <a:cxn ang="0">
                  <a:pos x="T8" y="T9"/>
                </a:cxn>
                <a:cxn ang="0">
                  <a:pos x="T10" y="T11"/>
                </a:cxn>
              </a:cxnLst>
              <a:rect l="0" t="0" r="r" b="b"/>
              <a:pathLst>
                <a:path w="30" h="33">
                  <a:moveTo>
                    <a:pt x="13" y="33"/>
                  </a:moveTo>
                  <a:cubicBezTo>
                    <a:pt x="9" y="27"/>
                    <a:pt x="6" y="21"/>
                    <a:pt x="2" y="15"/>
                  </a:cubicBezTo>
                  <a:cubicBezTo>
                    <a:pt x="1" y="7"/>
                    <a:pt x="0" y="4"/>
                    <a:pt x="7" y="0"/>
                  </a:cubicBezTo>
                  <a:cubicBezTo>
                    <a:pt x="18" y="3"/>
                    <a:pt x="17" y="13"/>
                    <a:pt x="28" y="15"/>
                  </a:cubicBezTo>
                  <a:cubicBezTo>
                    <a:pt x="30" y="24"/>
                    <a:pt x="25" y="25"/>
                    <a:pt x="17" y="27"/>
                  </a:cubicBezTo>
                  <a:cubicBezTo>
                    <a:pt x="12" y="30"/>
                    <a:pt x="13" y="28"/>
                    <a:pt x="13" y="3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53" name="Freeform 456"/>
            <p:cNvSpPr>
              <a:spLocks/>
            </p:cNvSpPr>
            <p:nvPr>
              <p:custDataLst>
                <p:tags r:id="rId21"/>
              </p:custDataLst>
            </p:nvPr>
          </p:nvSpPr>
          <p:spPr bwMode="gray">
            <a:xfrm>
              <a:off x="2976709" y="2436165"/>
              <a:ext cx="51571" cy="47604"/>
            </a:xfrm>
            <a:custGeom>
              <a:avLst/>
              <a:gdLst>
                <a:gd name="T0" fmla="*/ 53 w 53"/>
                <a:gd name="T1" fmla="*/ 40 h 49"/>
                <a:gd name="T2" fmla="*/ 37 w 53"/>
                <a:gd name="T3" fmla="*/ 5 h 49"/>
                <a:gd name="T4" fmla="*/ 2 w 53"/>
                <a:gd name="T5" fmla="*/ 16 h 49"/>
                <a:gd name="T6" fmla="*/ 17 w 53"/>
                <a:gd name="T7" fmla="*/ 25 h 49"/>
                <a:gd name="T8" fmla="*/ 26 w 53"/>
                <a:gd name="T9" fmla="*/ 37 h 49"/>
                <a:gd name="T10" fmla="*/ 35 w 53"/>
                <a:gd name="T11" fmla="*/ 49 h 49"/>
                <a:gd name="T12" fmla="*/ 53 w 53"/>
                <a:gd name="T13" fmla="*/ 40 h 49"/>
              </a:gdLst>
              <a:ahLst/>
              <a:cxnLst>
                <a:cxn ang="0">
                  <a:pos x="T0" y="T1"/>
                </a:cxn>
                <a:cxn ang="0">
                  <a:pos x="T2" y="T3"/>
                </a:cxn>
                <a:cxn ang="0">
                  <a:pos x="T4" y="T5"/>
                </a:cxn>
                <a:cxn ang="0">
                  <a:pos x="T6" y="T7"/>
                </a:cxn>
                <a:cxn ang="0">
                  <a:pos x="T8" y="T9"/>
                </a:cxn>
                <a:cxn ang="0">
                  <a:pos x="T10" y="T11"/>
                </a:cxn>
                <a:cxn ang="0">
                  <a:pos x="T12" y="T13"/>
                </a:cxn>
              </a:cxnLst>
              <a:rect l="0" t="0" r="r" b="b"/>
              <a:pathLst>
                <a:path w="53" h="49">
                  <a:moveTo>
                    <a:pt x="53" y="40"/>
                  </a:moveTo>
                  <a:cubicBezTo>
                    <a:pt x="51" y="23"/>
                    <a:pt x="50" y="15"/>
                    <a:pt x="37" y="5"/>
                  </a:cubicBezTo>
                  <a:cubicBezTo>
                    <a:pt x="3" y="7"/>
                    <a:pt x="12" y="0"/>
                    <a:pt x="2" y="16"/>
                  </a:cubicBezTo>
                  <a:cubicBezTo>
                    <a:pt x="0" y="26"/>
                    <a:pt x="8" y="23"/>
                    <a:pt x="17" y="25"/>
                  </a:cubicBezTo>
                  <a:cubicBezTo>
                    <a:pt x="20" y="30"/>
                    <a:pt x="21" y="33"/>
                    <a:pt x="26" y="37"/>
                  </a:cubicBezTo>
                  <a:cubicBezTo>
                    <a:pt x="28" y="42"/>
                    <a:pt x="32" y="44"/>
                    <a:pt x="35" y="49"/>
                  </a:cubicBezTo>
                  <a:cubicBezTo>
                    <a:pt x="42" y="46"/>
                    <a:pt x="45" y="26"/>
                    <a:pt x="53" y="4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54" name="Freeform 457"/>
            <p:cNvSpPr>
              <a:spLocks/>
            </p:cNvSpPr>
            <p:nvPr>
              <p:custDataLst>
                <p:tags r:id="rId22"/>
              </p:custDataLst>
            </p:nvPr>
          </p:nvSpPr>
          <p:spPr bwMode="gray">
            <a:xfrm>
              <a:off x="2943982" y="2411371"/>
              <a:ext cx="77357" cy="81324"/>
            </a:xfrm>
            <a:custGeom>
              <a:avLst/>
              <a:gdLst>
                <a:gd name="T0" fmla="*/ 72 w 80"/>
                <a:gd name="T1" fmla="*/ 15 h 85"/>
                <a:gd name="T2" fmla="*/ 54 w 80"/>
                <a:gd name="T3" fmla="*/ 7 h 85"/>
                <a:gd name="T4" fmla="*/ 39 w 80"/>
                <a:gd name="T5" fmla="*/ 1 h 85"/>
                <a:gd name="T6" fmla="*/ 21 w 80"/>
                <a:gd name="T7" fmla="*/ 15 h 85"/>
                <a:gd name="T8" fmla="*/ 9 w 80"/>
                <a:gd name="T9" fmla="*/ 21 h 85"/>
                <a:gd name="T10" fmla="*/ 8 w 80"/>
                <a:gd name="T11" fmla="*/ 31 h 85"/>
                <a:gd name="T12" fmla="*/ 18 w 80"/>
                <a:gd name="T13" fmla="*/ 49 h 85"/>
                <a:gd name="T14" fmla="*/ 27 w 80"/>
                <a:gd name="T15" fmla="*/ 61 h 85"/>
                <a:gd name="T16" fmla="*/ 44 w 80"/>
                <a:gd name="T17" fmla="*/ 73 h 85"/>
                <a:gd name="T18" fmla="*/ 72 w 80"/>
                <a:gd name="T19" fmla="*/ 85 h 85"/>
                <a:gd name="T20" fmla="*/ 68 w 80"/>
                <a:gd name="T21" fmla="*/ 76 h 85"/>
                <a:gd name="T22" fmla="*/ 56 w 80"/>
                <a:gd name="T23" fmla="*/ 58 h 85"/>
                <a:gd name="T24" fmla="*/ 39 w 80"/>
                <a:gd name="T25" fmla="*/ 48 h 85"/>
                <a:gd name="T26" fmla="*/ 42 w 80"/>
                <a:gd name="T27" fmla="*/ 30 h 85"/>
                <a:gd name="T28" fmla="*/ 80 w 80"/>
                <a:gd name="T29" fmla="*/ 31 h 85"/>
                <a:gd name="T30" fmla="*/ 77 w 80"/>
                <a:gd name="T31"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85">
                  <a:moveTo>
                    <a:pt x="72" y="15"/>
                  </a:moveTo>
                  <a:cubicBezTo>
                    <a:pt x="66" y="12"/>
                    <a:pt x="60" y="9"/>
                    <a:pt x="54" y="7"/>
                  </a:cubicBezTo>
                  <a:cubicBezTo>
                    <a:pt x="49" y="2"/>
                    <a:pt x="47" y="0"/>
                    <a:pt x="39" y="1"/>
                  </a:cubicBezTo>
                  <a:cubicBezTo>
                    <a:pt x="36" y="7"/>
                    <a:pt x="27" y="11"/>
                    <a:pt x="21" y="15"/>
                  </a:cubicBezTo>
                  <a:cubicBezTo>
                    <a:pt x="20" y="24"/>
                    <a:pt x="17" y="22"/>
                    <a:pt x="9" y="21"/>
                  </a:cubicBezTo>
                  <a:cubicBezTo>
                    <a:pt x="0" y="23"/>
                    <a:pt x="4" y="25"/>
                    <a:pt x="8" y="31"/>
                  </a:cubicBezTo>
                  <a:cubicBezTo>
                    <a:pt x="9" y="45"/>
                    <a:pt x="9" y="42"/>
                    <a:pt x="18" y="49"/>
                  </a:cubicBezTo>
                  <a:cubicBezTo>
                    <a:pt x="20" y="55"/>
                    <a:pt x="22" y="57"/>
                    <a:pt x="27" y="61"/>
                  </a:cubicBezTo>
                  <a:cubicBezTo>
                    <a:pt x="31" y="67"/>
                    <a:pt x="37" y="72"/>
                    <a:pt x="44" y="73"/>
                  </a:cubicBezTo>
                  <a:cubicBezTo>
                    <a:pt x="53" y="80"/>
                    <a:pt x="61" y="84"/>
                    <a:pt x="72" y="85"/>
                  </a:cubicBezTo>
                  <a:cubicBezTo>
                    <a:pt x="76" y="84"/>
                    <a:pt x="71" y="80"/>
                    <a:pt x="68" y="76"/>
                  </a:cubicBezTo>
                  <a:cubicBezTo>
                    <a:pt x="65" y="72"/>
                    <a:pt x="61" y="63"/>
                    <a:pt x="56" y="58"/>
                  </a:cubicBezTo>
                  <a:cubicBezTo>
                    <a:pt x="52" y="52"/>
                    <a:pt x="46" y="49"/>
                    <a:pt x="39" y="48"/>
                  </a:cubicBezTo>
                  <a:cubicBezTo>
                    <a:pt x="35" y="41"/>
                    <a:pt x="35" y="35"/>
                    <a:pt x="42" y="30"/>
                  </a:cubicBezTo>
                  <a:cubicBezTo>
                    <a:pt x="49" y="27"/>
                    <a:pt x="74" y="33"/>
                    <a:pt x="80" y="31"/>
                  </a:cubicBezTo>
                  <a:cubicBezTo>
                    <a:pt x="78" y="20"/>
                    <a:pt x="79" y="24"/>
                    <a:pt x="77" y="18"/>
                  </a:cubicBez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55" name="Freeform 458"/>
            <p:cNvSpPr>
              <a:spLocks/>
            </p:cNvSpPr>
            <p:nvPr>
              <p:custDataLst>
                <p:tags r:id="rId23"/>
              </p:custDataLst>
            </p:nvPr>
          </p:nvSpPr>
          <p:spPr bwMode="gray">
            <a:xfrm>
              <a:off x="3018363" y="2414346"/>
              <a:ext cx="64464" cy="87274"/>
            </a:xfrm>
            <a:custGeom>
              <a:avLst/>
              <a:gdLst>
                <a:gd name="T0" fmla="*/ 1 w 66"/>
                <a:gd name="T1" fmla="*/ 13 h 91"/>
                <a:gd name="T2" fmla="*/ 34 w 66"/>
                <a:gd name="T3" fmla="*/ 3 h 91"/>
                <a:gd name="T4" fmla="*/ 33 w 66"/>
                <a:gd name="T5" fmla="*/ 18 h 91"/>
                <a:gd name="T6" fmla="*/ 43 w 66"/>
                <a:gd name="T7" fmla="*/ 31 h 91"/>
                <a:gd name="T8" fmla="*/ 52 w 66"/>
                <a:gd name="T9" fmla="*/ 43 h 91"/>
                <a:gd name="T10" fmla="*/ 66 w 66"/>
                <a:gd name="T11" fmla="*/ 67 h 91"/>
                <a:gd name="T12" fmla="*/ 58 w 66"/>
                <a:gd name="T13" fmla="*/ 81 h 91"/>
                <a:gd name="T14" fmla="*/ 27 w 66"/>
                <a:gd name="T15" fmla="*/ 90 h 91"/>
                <a:gd name="T16" fmla="*/ 21 w 66"/>
                <a:gd name="T17" fmla="*/ 75 h 91"/>
                <a:gd name="T18" fmla="*/ 6 w 66"/>
                <a:gd name="T19" fmla="*/ 58 h 91"/>
                <a:gd name="T20" fmla="*/ 9 w 66"/>
                <a:gd name="T21" fmla="*/ 48 h 91"/>
                <a:gd name="T22" fmla="*/ 6 w 66"/>
                <a:gd name="T23" fmla="*/ 39 h 91"/>
                <a:gd name="T24" fmla="*/ 1 w 66"/>
                <a:gd name="T25" fmla="*/ 33 h 91"/>
                <a:gd name="T26" fmla="*/ 1 w 66"/>
                <a:gd name="T27" fmla="*/ 21 h 91"/>
                <a:gd name="T28" fmla="*/ 1 w 66"/>
                <a:gd name="T29" fmla="*/ 12 h 91"/>
                <a:gd name="T30" fmla="*/ 1 w 66"/>
                <a:gd name="T31"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91">
                  <a:moveTo>
                    <a:pt x="1" y="13"/>
                  </a:moveTo>
                  <a:cubicBezTo>
                    <a:pt x="8" y="0"/>
                    <a:pt x="14" y="1"/>
                    <a:pt x="34" y="3"/>
                  </a:cubicBezTo>
                  <a:cubicBezTo>
                    <a:pt x="40" y="4"/>
                    <a:pt x="32" y="13"/>
                    <a:pt x="33" y="18"/>
                  </a:cubicBezTo>
                  <a:cubicBezTo>
                    <a:pt x="34" y="23"/>
                    <a:pt x="40" y="27"/>
                    <a:pt x="43" y="31"/>
                  </a:cubicBezTo>
                  <a:cubicBezTo>
                    <a:pt x="46" y="36"/>
                    <a:pt x="47" y="39"/>
                    <a:pt x="52" y="43"/>
                  </a:cubicBezTo>
                  <a:cubicBezTo>
                    <a:pt x="56" y="53"/>
                    <a:pt x="61" y="58"/>
                    <a:pt x="66" y="67"/>
                  </a:cubicBezTo>
                  <a:cubicBezTo>
                    <a:pt x="66" y="73"/>
                    <a:pt x="65" y="77"/>
                    <a:pt x="58" y="81"/>
                  </a:cubicBezTo>
                  <a:cubicBezTo>
                    <a:pt x="51" y="85"/>
                    <a:pt x="33" y="91"/>
                    <a:pt x="27" y="90"/>
                  </a:cubicBezTo>
                  <a:cubicBezTo>
                    <a:pt x="25" y="85"/>
                    <a:pt x="23" y="80"/>
                    <a:pt x="21" y="75"/>
                  </a:cubicBezTo>
                  <a:cubicBezTo>
                    <a:pt x="20" y="68"/>
                    <a:pt x="9" y="64"/>
                    <a:pt x="6" y="58"/>
                  </a:cubicBezTo>
                  <a:cubicBezTo>
                    <a:pt x="3" y="53"/>
                    <a:pt x="9" y="52"/>
                    <a:pt x="9" y="48"/>
                  </a:cubicBezTo>
                  <a:cubicBezTo>
                    <a:pt x="9" y="45"/>
                    <a:pt x="7" y="41"/>
                    <a:pt x="6" y="39"/>
                  </a:cubicBezTo>
                  <a:cubicBezTo>
                    <a:pt x="5" y="37"/>
                    <a:pt x="2" y="36"/>
                    <a:pt x="1" y="33"/>
                  </a:cubicBezTo>
                  <a:cubicBezTo>
                    <a:pt x="0" y="27"/>
                    <a:pt x="1" y="24"/>
                    <a:pt x="1" y="21"/>
                  </a:cubicBezTo>
                  <a:cubicBezTo>
                    <a:pt x="1" y="18"/>
                    <a:pt x="1" y="13"/>
                    <a:pt x="1" y="12"/>
                  </a:cubicBezTo>
                  <a:cubicBezTo>
                    <a:pt x="0" y="5"/>
                    <a:pt x="0" y="5"/>
                    <a:pt x="1" y="1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56" name="Freeform 459"/>
            <p:cNvSpPr>
              <a:spLocks/>
            </p:cNvSpPr>
            <p:nvPr>
              <p:custDataLst>
                <p:tags r:id="rId24"/>
              </p:custDataLst>
            </p:nvPr>
          </p:nvSpPr>
          <p:spPr bwMode="gray">
            <a:xfrm>
              <a:off x="2981668" y="2365751"/>
              <a:ext cx="89258" cy="60497"/>
            </a:xfrm>
            <a:custGeom>
              <a:avLst/>
              <a:gdLst>
                <a:gd name="T0" fmla="*/ 21 w 92"/>
                <a:gd name="T1" fmla="*/ 57 h 63"/>
                <a:gd name="T2" fmla="*/ 12 w 92"/>
                <a:gd name="T3" fmla="*/ 53 h 63"/>
                <a:gd name="T4" fmla="*/ 5 w 92"/>
                <a:gd name="T5" fmla="*/ 44 h 63"/>
                <a:gd name="T6" fmla="*/ 0 w 92"/>
                <a:gd name="T7" fmla="*/ 41 h 63"/>
                <a:gd name="T8" fmla="*/ 11 w 92"/>
                <a:gd name="T9" fmla="*/ 23 h 63"/>
                <a:gd name="T10" fmla="*/ 26 w 92"/>
                <a:gd name="T11" fmla="*/ 11 h 63"/>
                <a:gd name="T12" fmla="*/ 51 w 92"/>
                <a:gd name="T13" fmla="*/ 8 h 63"/>
                <a:gd name="T14" fmla="*/ 66 w 92"/>
                <a:gd name="T15" fmla="*/ 0 h 63"/>
                <a:gd name="T16" fmla="*/ 92 w 92"/>
                <a:gd name="T17" fmla="*/ 5 h 63"/>
                <a:gd name="T18" fmla="*/ 84 w 92"/>
                <a:gd name="T19" fmla="*/ 33 h 63"/>
                <a:gd name="T20" fmla="*/ 72 w 92"/>
                <a:gd name="T21" fmla="*/ 50 h 63"/>
                <a:gd name="T22" fmla="*/ 45 w 92"/>
                <a:gd name="T23" fmla="*/ 54 h 63"/>
                <a:gd name="T24" fmla="*/ 32 w 92"/>
                <a:gd name="T25" fmla="*/ 62 h 63"/>
                <a:gd name="T26" fmla="*/ 21 w 92"/>
                <a:gd name="T27" fmla="*/ 5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63">
                  <a:moveTo>
                    <a:pt x="21" y="57"/>
                  </a:moveTo>
                  <a:cubicBezTo>
                    <a:pt x="18" y="55"/>
                    <a:pt x="15" y="55"/>
                    <a:pt x="12" y="53"/>
                  </a:cubicBezTo>
                  <a:cubicBezTo>
                    <a:pt x="9" y="51"/>
                    <a:pt x="8" y="46"/>
                    <a:pt x="5" y="44"/>
                  </a:cubicBezTo>
                  <a:cubicBezTo>
                    <a:pt x="3" y="43"/>
                    <a:pt x="2" y="42"/>
                    <a:pt x="0" y="41"/>
                  </a:cubicBezTo>
                  <a:cubicBezTo>
                    <a:pt x="2" y="31"/>
                    <a:pt x="1" y="25"/>
                    <a:pt x="11" y="23"/>
                  </a:cubicBezTo>
                  <a:cubicBezTo>
                    <a:pt x="19" y="17"/>
                    <a:pt x="17" y="13"/>
                    <a:pt x="26" y="11"/>
                  </a:cubicBezTo>
                  <a:cubicBezTo>
                    <a:pt x="31" y="2"/>
                    <a:pt x="39" y="6"/>
                    <a:pt x="51" y="8"/>
                  </a:cubicBezTo>
                  <a:cubicBezTo>
                    <a:pt x="60" y="6"/>
                    <a:pt x="59" y="3"/>
                    <a:pt x="66" y="0"/>
                  </a:cubicBezTo>
                  <a:cubicBezTo>
                    <a:pt x="75" y="2"/>
                    <a:pt x="92" y="5"/>
                    <a:pt x="92" y="5"/>
                  </a:cubicBezTo>
                  <a:cubicBezTo>
                    <a:pt x="91" y="16"/>
                    <a:pt x="89" y="24"/>
                    <a:pt x="84" y="33"/>
                  </a:cubicBezTo>
                  <a:cubicBezTo>
                    <a:pt x="80" y="40"/>
                    <a:pt x="78" y="47"/>
                    <a:pt x="72" y="50"/>
                  </a:cubicBezTo>
                  <a:cubicBezTo>
                    <a:pt x="66" y="53"/>
                    <a:pt x="52" y="52"/>
                    <a:pt x="45" y="54"/>
                  </a:cubicBezTo>
                  <a:cubicBezTo>
                    <a:pt x="40" y="60"/>
                    <a:pt x="38" y="59"/>
                    <a:pt x="32" y="62"/>
                  </a:cubicBezTo>
                  <a:cubicBezTo>
                    <a:pt x="22" y="60"/>
                    <a:pt x="25" y="63"/>
                    <a:pt x="21" y="57"/>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57" name="Freeform 460"/>
            <p:cNvSpPr>
              <a:spLocks/>
            </p:cNvSpPr>
            <p:nvPr>
              <p:custDataLst>
                <p:tags r:id="rId25"/>
              </p:custDataLst>
            </p:nvPr>
          </p:nvSpPr>
          <p:spPr bwMode="gray">
            <a:xfrm>
              <a:off x="2986627" y="2336990"/>
              <a:ext cx="88266" cy="45621"/>
            </a:xfrm>
            <a:custGeom>
              <a:avLst/>
              <a:gdLst>
                <a:gd name="T0" fmla="*/ 90 w 91"/>
                <a:gd name="T1" fmla="*/ 35 h 48"/>
                <a:gd name="T2" fmla="*/ 91 w 91"/>
                <a:gd name="T3" fmla="*/ 18 h 48"/>
                <a:gd name="T4" fmla="*/ 51 w 91"/>
                <a:gd name="T5" fmla="*/ 11 h 48"/>
                <a:gd name="T6" fmla="*/ 25 w 91"/>
                <a:gd name="T7" fmla="*/ 12 h 48"/>
                <a:gd name="T8" fmla="*/ 4 w 91"/>
                <a:gd name="T9" fmla="*/ 24 h 48"/>
                <a:gd name="T10" fmla="*/ 10 w 91"/>
                <a:gd name="T11" fmla="*/ 45 h 48"/>
                <a:gd name="T12" fmla="*/ 25 w 91"/>
                <a:gd name="T13" fmla="*/ 36 h 48"/>
                <a:gd name="T14" fmla="*/ 49 w 91"/>
                <a:gd name="T15" fmla="*/ 35 h 48"/>
                <a:gd name="T16" fmla="*/ 90 w 91"/>
                <a:gd name="T17" fmla="*/ 3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48">
                  <a:moveTo>
                    <a:pt x="90" y="35"/>
                  </a:moveTo>
                  <a:cubicBezTo>
                    <a:pt x="91" y="27"/>
                    <a:pt x="90" y="26"/>
                    <a:pt x="91" y="18"/>
                  </a:cubicBezTo>
                  <a:cubicBezTo>
                    <a:pt x="88" y="0"/>
                    <a:pt x="66" y="10"/>
                    <a:pt x="51" y="11"/>
                  </a:cubicBezTo>
                  <a:cubicBezTo>
                    <a:pt x="42" y="8"/>
                    <a:pt x="34" y="10"/>
                    <a:pt x="25" y="12"/>
                  </a:cubicBezTo>
                  <a:cubicBezTo>
                    <a:pt x="16" y="19"/>
                    <a:pt x="17" y="23"/>
                    <a:pt x="4" y="24"/>
                  </a:cubicBezTo>
                  <a:cubicBezTo>
                    <a:pt x="0" y="30"/>
                    <a:pt x="4" y="40"/>
                    <a:pt x="10" y="45"/>
                  </a:cubicBezTo>
                  <a:cubicBezTo>
                    <a:pt x="13" y="48"/>
                    <a:pt x="19" y="38"/>
                    <a:pt x="25" y="36"/>
                  </a:cubicBezTo>
                  <a:cubicBezTo>
                    <a:pt x="31" y="34"/>
                    <a:pt x="38" y="35"/>
                    <a:pt x="49" y="35"/>
                  </a:cubicBezTo>
                  <a:cubicBezTo>
                    <a:pt x="63" y="27"/>
                    <a:pt x="66" y="32"/>
                    <a:pt x="90" y="3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58" name="Freeform 461"/>
            <p:cNvSpPr>
              <a:spLocks/>
            </p:cNvSpPr>
            <p:nvPr>
              <p:custDataLst>
                <p:tags r:id="rId26"/>
              </p:custDataLst>
            </p:nvPr>
          </p:nvSpPr>
          <p:spPr bwMode="gray">
            <a:xfrm>
              <a:off x="2925138" y="2310213"/>
              <a:ext cx="96200" cy="54547"/>
            </a:xfrm>
            <a:custGeom>
              <a:avLst/>
              <a:gdLst>
                <a:gd name="T0" fmla="*/ 100 w 100"/>
                <a:gd name="T1" fmla="*/ 35 h 56"/>
                <a:gd name="T2" fmla="*/ 86 w 100"/>
                <a:gd name="T3" fmla="*/ 26 h 56"/>
                <a:gd name="T4" fmla="*/ 55 w 100"/>
                <a:gd name="T5" fmla="*/ 3 h 56"/>
                <a:gd name="T6" fmla="*/ 35 w 100"/>
                <a:gd name="T7" fmla="*/ 2 h 56"/>
                <a:gd name="T8" fmla="*/ 20 w 100"/>
                <a:gd name="T9" fmla="*/ 12 h 56"/>
                <a:gd name="T10" fmla="*/ 2 w 100"/>
                <a:gd name="T11" fmla="*/ 23 h 56"/>
                <a:gd name="T12" fmla="*/ 11 w 100"/>
                <a:gd name="T13" fmla="*/ 38 h 56"/>
                <a:gd name="T14" fmla="*/ 23 w 100"/>
                <a:gd name="T15" fmla="*/ 56 h 56"/>
                <a:gd name="T16" fmla="*/ 41 w 100"/>
                <a:gd name="T17" fmla="*/ 45 h 56"/>
                <a:gd name="T18" fmla="*/ 59 w 100"/>
                <a:gd name="T19" fmla="*/ 56 h 56"/>
                <a:gd name="T20" fmla="*/ 64 w 100"/>
                <a:gd name="T21" fmla="*/ 54 h 56"/>
                <a:gd name="T22" fmla="*/ 68 w 100"/>
                <a:gd name="T23" fmla="*/ 56 h 56"/>
                <a:gd name="T24" fmla="*/ 88 w 100"/>
                <a:gd name="T25" fmla="*/ 42 h 56"/>
                <a:gd name="T26" fmla="*/ 100 w 100"/>
                <a:gd name="T27" fmla="*/ 3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56">
                  <a:moveTo>
                    <a:pt x="100" y="35"/>
                  </a:moveTo>
                  <a:cubicBezTo>
                    <a:pt x="94" y="32"/>
                    <a:pt x="93" y="27"/>
                    <a:pt x="86" y="26"/>
                  </a:cubicBezTo>
                  <a:cubicBezTo>
                    <a:pt x="75" y="18"/>
                    <a:pt x="66" y="11"/>
                    <a:pt x="55" y="3"/>
                  </a:cubicBezTo>
                  <a:cubicBezTo>
                    <a:pt x="47" y="0"/>
                    <a:pt x="41" y="1"/>
                    <a:pt x="35" y="2"/>
                  </a:cubicBezTo>
                  <a:cubicBezTo>
                    <a:pt x="29" y="3"/>
                    <a:pt x="25" y="9"/>
                    <a:pt x="20" y="12"/>
                  </a:cubicBezTo>
                  <a:cubicBezTo>
                    <a:pt x="13" y="20"/>
                    <a:pt x="6" y="13"/>
                    <a:pt x="2" y="23"/>
                  </a:cubicBezTo>
                  <a:cubicBezTo>
                    <a:pt x="6" y="41"/>
                    <a:pt x="0" y="29"/>
                    <a:pt x="11" y="38"/>
                  </a:cubicBezTo>
                  <a:cubicBezTo>
                    <a:pt x="13" y="43"/>
                    <a:pt x="20" y="51"/>
                    <a:pt x="23" y="56"/>
                  </a:cubicBezTo>
                  <a:cubicBezTo>
                    <a:pt x="30" y="53"/>
                    <a:pt x="35" y="49"/>
                    <a:pt x="41" y="45"/>
                  </a:cubicBezTo>
                  <a:cubicBezTo>
                    <a:pt x="47" y="49"/>
                    <a:pt x="53" y="52"/>
                    <a:pt x="59" y="56"/>
                  </a:cubicBezTo>
                  <a:cubicBezTo>
                    <a:pt x="61" y="55"/>
                    <a:pt x="62" y="54"/>
                    <a:pt x="64" y="54"/>
                  </a:cubicBezTo>
                  <a:cubicBezTo>
                    <a:pt x="65" y="54"/>
                    <a:pt x="67" y="56"/>
                    <a:pt x="68" y="56"/>
                  </a:cubicBezTo>
                  <a:cubicBezTo>
                    <a:pt x="75" y="55"/>
                    <a:pt x="80" y="43"/>
                    <a:pt x="88" y="42"/>
                  </a:cubicBezTo>
                  <a:cubicBezTo>
                    <a:pt x="91" y="37"/>
                    <a:pt x="94" y="31"/>
                    <a:pt x="100" y="3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59" name="Freeform 462"/>
            <p:cNvSpPr>
              <a:spLocks/>
            </p:cNvSpPr>
            <p:nvPr>
              <p:custDataLst>
                <p:tags r:id="rId27"/>
              </p:custDataLst>
            </p:nvPr>
          </p:nvSpPr>
          <p:spPr bwMode="gray">
            <a:xfrm>
              <a:off x="3258367" y="2587903"/>
              <a:ext cx="85291" cy="88266"/>
            </a:xfrm>
            <a:custGeom>
              <a:avLst/>
              <a:gdLst>
                <a:gd name="T0" fmla="*/ 89 w 89"/>
                <a:gd name="T1" fmla="*/ 6 h 92"/>
                <a:gd name="T2" fmla="*/ 62 w 89"/>
                <a:gd name="T3" fmla="*/ 12 h 92"/>
                <a:gd name="T4" fmla="*/ 50 w 89"/>
                <a:gd name="T5" fmla="*/ 15 h 92"/>
                <a:gd name="T6" fmla="*/ 8 w 89"/>
                <a:gd name="T7" fmla="*/ 16 h 92"/>
                <a:gd name="T8" fmla="*/ 10 w 89"/>
                <a:gd name="T9" fmla="*/ 54 h 92"/>
                <a:gd name="T10" fmla="*/ 5 w 89"/>
                <a:gd name="T11" fmla="*/ 78 h 92"/>
                <a:gd name="T12" fmla="*/ 19 w 89"/>
                <a:gd name="T13" fmla="*/ 85 h 92"/>
                <a:gd name="T14" fmla="*/ 28 w 89"/>
                <a:gd name="T15" fmla="*/ 82 h 92"/>
                <a:gd name="T16" fmla="*/ 55 w 89"/>
                <a:gd name="T17" fmla="*/ 70 h 92"/>
                <a:gd name="T18" fmla="*/ 73 w 89"/>
                <a:gd name="T19" fmla="*/ 52 h 92"/>
                <a:gd name="T20" fmla="*/ 82 w 89"/>
                <a:gd name="T21" fmla="*/ 39 h 92"/>
                <a:gd name="T22" fmla="*/ 89 w 89"/>
                <a:gd name="T23" fmla="*/ 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92">
                  <a:moveTo>
                    <a:pt x="89" y="6"/>
                  </a:moveTo>
                  <a:cubicBezTo>
                    <a:pt x="77" y="4"/>
                    <a:pt x="69" y="0"/>
                    <a:pt x="62" y="12"/>
                  </a:cubicBezTo>
                  <a:cubicBezTo>
                    <a:pt x="60" y="21"/>
                    <a:pt x="58" y="16"/>
                    <a:pt x="50" y="15"/>
                  </a:cubicBezTo>
                  <a:cubicBezTo>
                    <a:pt x="36" y="15"/>
                    <a:pt x="22" y="14"/>
                    <a:pt x="8" y="16"/>
                  </a:cubicBezTo>
                  <a:cubicBezTo>
                    <a:pt x="3" y="17"/>
                    <a:pt x="0" y="48"/>
                    <a:pt x="10" y="54"/>
                  </a:cubicBezTo>
                  <a:cubicBezTo>
                    <a:pt x="17" y="63"/>
                    <a:pt x="12" y="71"/>
                    <a:pt x="5" y="78"/>
                  </a:cubicBezTo>
                  <a:cubicBezTo>
                    <a:pt x="8" y="84"/>
                    <a:pt x="13" y="84"/>
                    <a:pt x="19" y="85"/>
                  </a:cubicBezTo>
                  <a:cubicBezTo>
                    <a:pt x="23" y="92"/>
                    <a:pt x="21" y="86"/>
                    <a:pt x="28" y="82"/>
                  </a:cubicBezTo>
                  <a:cubicBezTo>
                    <a:pt x="30" y="68"/>
                    <a:pt x="42" y="72"/>
                    <a:pt x="55" y="70"/>
                  </a:cubicBezTo>
                  <a:cubicBezTo>
                    <a:pt x="65" y="63"/>
                    <a:pt x="58" y="59"/>
                    <a:pt x="73" y="52"/>
                  </a:cubicBezTo>
                  <a:cubicBezTo>
                    <a:pt x="76" y="48"/>
                    <a:pt x="79" y="43"/>
                    <a:pt x="82" y="39"/>
                  </a:cubicBezTo>
                  <a:cubicBezTo>
                    <a:pt x="84" y="27"/>
                    <a:pt x="78" y="14"/>
                    <a:pt x="89" y="6"/>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60" name="Freeform 463"/>
            <p:cNvSpPr>
              <a:spLocks/>
            </p:cNvSpPr>
            <p:nvPr>
              <p:custDataLst>
                <p:tags r:id="rId28"/>
              </p:custDataLst>
            </p:nvPr>
          </p:nvSpPr>
          <p:spPr bwMode="gray">
            <a:xfrm>
              <a:off x="3210762" y="2614680"/>
              <a:ext cx="37687" cy="23802"/>
            </a:xfrm>
            <a:custGeom>
              <a:avLst/>
              <a:gdLst>
                <a:gd name="T0" fmla="*/ 0 w 39"/>
                <a:gd name="T1" fmla="*/ 12 h 25"/>
                <a:gd name="T2" fmla="*/ 30 w 39"/>
                <a:gd name="T3" fmla="*/ 0 h 25"/>
                <a:gd name="T4" fmla="*/ 29 w 39"/>
                <a:gd name="T5" fmla="*/ 8 h 25"/>
                <a:gd name="T6" fmla="*/ 21 w 39"/>
                <a:gd name="T7" fmla="*/ 21 h 25"/>
                <a:gd name="T8" fmla="*/ 2 w 39"/>
                <a:gd name="T9" fmla="*/ 23 h 25"/>
                <a:gd name="T10" fmla="*/ 0 w 39"/>
                <a:gd name="T11" fmla="*/ 12 h 25"/>
              </a:gdLst>
              <a:ahLst/>
              <a:cxnLst>
                <a:cxn ang="0">
                  <a:pos x="T0" y="T1"/>
                </a:cxn>
                <a:cxn ang="0">
                  <a:pos x="T2" y="T3"/>
                </a:cxn>
                <a:cxn ang="0">
                  <a:pos x="T4" y="T5"/>
                </a:cxn>
                <a:cxn ang="0">
                  <a:pos x="T6" y="T7"/>
                </a:cxn>
                <a:cxn ang="0">
                  <a:pos x="T8" y="T9"/>
                </a:cxn>
                <a:cxn ang="0">
                  <a:pos x="T10" y="T11"/>
                </a:cxn>
              </a:cxnLst>
              <a:rect l="0" t="0" r="r" b="b"/>
              <a:pathLst>
                <a:path w="39" h="25">
                  <a:moveTo>
                    <a:pt x="0" y="12"/>
                  </a:moveTo>
                  <a:cubicBezTo>
                    <a:pt x="17" y="9"/>
                    <a:pt x="18" y="9"/>
                    <a:pt x="30" y="0"/>
                  </a:cubicBezTo>
                  <a:cubicBezTo>
                    <a:pt x="39" y="3"/>
                    <a:pt x="35" y="5"/>
                    <a:pt x="29" y="8"/>
                  </a:cubicBezTo>
                  <a:cubicBezTo>
                    <a:pt x="35" y="16"/>
                    <a:pt x="29" y="19"/>
                    <a:pt x="21" y="21"/>
                  </a:cubicBezTo>
                  <a:cubicBezTo>
                    <a:pt x="14" y="25"/>
                    <a:pt x="10" y="24"/>
                    <a:pt x="2" y="23"/>
                  </a:cubicBezTo>
                  <a:cubicBezTo>
                    <a:pt x="0" y="14"/>
                    <a:pt x="0" y="18"/>
                    <a:pt x="0" y="12"/>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61" name="Freeform 464"/>
            <p:cNvSpPr>
              <a:spLocks/>
            </p:cNvSpPr>
            <p:nvPr>
              <p:custDataLst>
                <p:tags r:id="rId29"/>
              </p:custDataLst>
            </p:nvPr>
          </p:nvSpPr>
          <p:spPr bwMode="gray">
            <a:xfrm>
              <a:off x="3110596" y="2491703"/>
              <a:ext cx="286617" cy="116035"/>
            </a:xfrm>
            <a:custGeom>
              <a:avLst/>
              <a:gdLst>
                <a:gd name="T0" fmla="*/ 61 w 297"/>
                <a:gd name="T1" fmla="*/ 24 h 120"/>
                <a:gd name="T2" fmla="*/ 44 w 297"/>
                <a:gd name="T3" fmla="*/ 9 h 120"/>
                <a:gd name="T4" fmla="*/ 29 w 297"/>
                <a:gd name="T5" fmla="*/ 0 h 120"/>
                <a:gd name="T6" fmla="*/ 19 w 297"/>
                <a:gd name="T7" fmla="*/ 10 h 120"/>
                <a:gd name="T8" fmla="*/ 2 w 297"/>
                <a:gd name="T9" fmla="*/ 42 h 120"/>
                <a:gd name="T10" fmla="*/ 5 w 297"/>
                <a:gd name="T11" fmla="*/ 64 h 120"/>
                <a:gd name="T12" fmla="*/ 20 w 297"/>
                <a:gd name="T13" fmla="*/ 63 h 120"/>
                <a:gd name="T14" fmla="*/ 22 w 297"/>
                <a:gd name="T15" fmla="*/ 85 h 120"/>
                <a:gd name="T16" fmla="*/ 53 w 297"/>
                <a:gd name="T17" fmla="*/ 115 h 120"/>
                <a:gd name="T18" fmla="*/ 68 w 297"/>
                <a:gd name="T19" fmla="*/ 120 h 120"/>
                <a:gd name="T20" fmla="*/ 82 w 297"/>
                <a:gd name="T21" fmla="*/ 109 h 120"/>
                <a:gd name="T22" fmla="*/ 109 w 297"/>
                <a:gd name="T23" fmla="*/ 115 h 120"/>
                <a:gd name="T24" fmla="*/ 133 w 297"/>
                <a:gd name="T25" fmla="*/ 111 h 120"/>
                <a:gd name="T26" fmla="*/ 167 w 297"/>
                <a:gd name="T27" fmla="*/ 114 h 120"/>
                <a:gd name="T28" fmla="*/ 182 w 297"/>
                <a:gd name="T29" fmla="*/ 114 h 120"/>
                <a:gd name="T30" fmla="*/ 211 w 297"/>
                <a:gd name="T31" fmla="*/ 114 h 120"/>
                <a:gd name="T32" fmla="*/ 222 w 297"/>
                <a:gd name="T33" fmla="*/ 103 h 120"/>
                <a:gd name="T34" fmla="*/ 232 w 297"/>
                <a:gd name="T35" fmla="*/ 102 h 120"/>
                <a:gd name="T36" fmla="*/ 248 w 297"/>
                <a:gd name="T37" fmla="*/ 103 h 120"/>
                <a:gd name="T38" fmla="*/ 269 w 297"/>
                <a:gd name="T39" fmla="*/ 108 h 120"/>
                <a:gd name="T40" fmla="*/ 272 w 297"/>
                <a:gd name="T41" fmla="*/ 103 h 120"/>
                <a:gd name="T42" fmla="*/ 284 w 297"/>
                <a:gd name="T43" fmla="*/ 105 h 120"/>
                <a:gd name="T44" fmla="*/ 274 w 297"/>
                <a:gd name="T45" fmla="*/ 45 h 120"/>
                <a:gd name="T46" fmla="*/ 262 w 297"/>
                <a:gd name="T47" fmla="*/ 21 h 120"/>
                <a:gd name="T48" fmla="*/ 230 w 297"/>
                <a:gd name="T49" fmla="*/ 28 h 120"/>
                <a:gd name="T50" fmla="*/ 193 w 297"/>
                <a:gd name="T51" fmla="*/ 30 h 120"/>
                <a:gd name="T52" fmla="*/ 164 w 297"/>
                <a:gd name="T53" fmla="*/ 15 h 120"/>
                <a:gd name="T54" fmla="*/ 146 w 297"/>
                <a:gd name="T55" fmla="*/ 6 h 120"/>
                <a:gd name="T56" fmla="*/ 98 w 297"/>
                <a:gd name="T57" fmla="*/ 15 h 120"/>
                <a:gd name="T58" fmla="*/ 86 w 297"/>
                <a:gd name="T59" fmla="*/ 22 h 120"/>
                <a:gd name="T60" fmla="*/ 61 w 297"/>
                <a:gd name="T61" fmla="*/ 2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7" h="120">
                  <a:moveTo>
                    <a:pt x="61" y="24"/>
                  </a:moveTo>
                  <a:cubicBezTo>
                    <a:pt x="46" y="21"/>
                    <a:pt x="50" y="20"/>
                    <a:pt x="44" y="9"/>
                  </a:cubicBezTo>
                  <a:cubicBezTo>
                    <a:pt x="39" y="5"/>
                    <a:pt x="33" y="0"/>
                    <a:pt x="29" y="0"/>
                  </a:cubicBezTo>
                  <a:cubicBezTo>
                    <a:pt x="25" y="0"/>
                    <a:pt x="23" y="3"/>
                    <a:pt x="19" y="10"/>
                  </a:cubicBezTo>
                  <a:cubicBezTo>
                    <a:pt x="22" y="30"/>
                    <a:pt x="17" y="33"/>
                    <a:pt x="2" y="42"/>
                  </a:cubicBezTo>
                  <a:cubicBezTo>
                    <a:pt x="1" y="50"/>
                    <a:pt x="0" y="57"/>
                    <a:pt x="5" y="64"/>
                  </a:cubicBezTo>
                  <a:cubicBezTo>
                    <a:pt x="12" y="63"/>
                    <a:pt x="14" y="59"/>
                    <a:pt x="20" y="63"/>
                  </a:cubicBezTo>
                  <a:cubicBezTo>
                    <a:pt x="19" y="71"/>
                    <a:pt x="11" y="83"/>
                    <a:pt x="22" y="85"/>
                  </a:cubicBezTo>
                  <a:cubicBezTo>
                    <a:pt x="27" y="108"/>
                    <a:pt x="27" y="113"/>
                    <a:pt x="53" y="115"/>
                  </a:cubicBezTo>
                  <a:cubicBezTo>
                    <a:pt x="58" y="117"/>
                    <a:pt x="63" y="118"/>
                    <a:pt x="68" y="120"/>
                  </a:cubicBezTo>
                  <a:cubicBezTo>
                    <a:pt x="74" y="117"/>
                    <a:pt x="77" y="114"/>
                    <a:pt x="82" y="109"/>
                  </a:cubicBezTo>
                  <a:cubicBezTo>
                    <a:pt x="90" y="113"/>
                    <a:pt x="109" y="115"/>
                    <a:pt x="109" y="115"/>
                  </a:cubicBezTo>
                  <a:cubicBezTo>
                    <a:pt x="118" y="114"/>
                    <a:pt x="124" y="112"/>
                    <a:pt x="133" y="111"/>
                  </a:cubicBezTo>
                  <a:cubicBezTo>
                    <a:pt x="143" y="110"/>
                    <a:pt x="159" y="114"/>
                    <a:pt x="167" y="114"/>
                  </a:cubicBezTo>
                  <a:cubicBezTo>
                    <a:pt x="175" y="114"/>
                    <a:pt x="175" y="114"/>
                    <a:pt x="182" y="114"/>
                  </a:cubicBezTo>
                  <a:cubicBezTo>
                    <a:pt x="189" y="114"/>
                    <a:pt x="204" y="116"/>
                    <a:pt x="211" y="114"/>
                  </a:cubicBezTo>
                  <a:cubicBezTo>
                    <a:pt x="218" y="112"/>
                    <a:pt x="219" y="105"/>
                    <a:pt x="222" y="103"/>
                  </a:cubicBezTo>
                  <a:cubicBezTo>
                    <a:pt x="225" y="101"/>
                    <a:pt x="228" y="102"/>
                    <a:pt x="232" y="102"/>
                  </a:cubicBezTo>
                  <a:cubicBezTo>
                    <a:pt x="236" y="102"/>
                    <a:pt x="242" y="102"/>
                    <a:pt x="248" y="103"/>
                  </a:cubicBezTo>
                  <a:cubicBezTo>
                    <a:pt x="254" y="104"/>
                    <a:pt x="265" y="108"/>
                    <a:pt x="269" y="108"/>
                  </a:cubicBezTo>
                  <a:cubicBezTo>
                    <a:pt x="273" y="108"/>
                    <a:pt x="270" y="103"/>
                    <a:pt x="272" y="103"/>
                  </a:cubicBezTo>
                  <a:cubicBezTo>
                    <a:pt x="274" y="103"/>
                    <a:pt x="284" y="115"/>
                    <a:pt x="284" y="105"/>
                  </a:cubicBezTo>
                  <a:cubicBezTo>
                    <a:pt x="297" y="84"/>
                    <a:pt x="292" y="59"/>
                    <a:pt x="274" y="45"/>
                  </a:cubicBezTo>
                  <a:cubicBezTo>
                    <a:pt x="268" y="29"/>
                    <a:pt x="274" y="33"/>
                    <a:pt x="262" y="21"/>
                  </a:cubicBezTo>
                  <a:cubicBezTo>
                    <a:pt x="246" y="22"/>
                    <a:pt x="243" y="25"/>
                    <a:pt x="230" y="28"/>
                  </a:cubicBezTo>
                  <a:cubicBezTo>
                    <a:pt x="218" y="34"/>
                    <a:pt x="208" y="31"/>
                    <a:pt x="193" y="30"/>
                  </a:cubicBezTo>
                  <a:cubicBezTo>
                    <a:pt x="183" y="26"/>
                    <a:pt x="175" y="17"/>
                    <a:pt x="164" y="15"/>
                  </a:cubicBezTo>
                  <a:cubicBezTo>
                    <a:pt x="158" y="11"/>
                    <a:pt x="153" y="7"/>
                    <a:pt x="146" y="6"/>
                  </a:cubicBezTo>
                  <a:cubicBezTo>
                    <a:pt x="117" y="7"/>
                    <a:pt x="116" y="4"/>
                    <a:pt x="98" y="15"/>
                  </a:cubicBezTo>
                  <a:cubicBezTo>
                    <a:pt x="94" y="20"/>
                    <a:pt x="92" y="21"/>
                    <a:pt x="86" y="22"/>
                  </a:cubicBezTo>
                  <a:cubicBezTo>
                    <a:pt x="76" y="27"/>
                    <a:pt x="83" y="24"/>
                    <a:pt x="61" y="2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62" name="Freeform 465"/>
            <p:cNvSpPr>
              <a:spLocks/>
            </p:cNvSpPr>
            <p:nvPr>
              <p:custDataLst>
                <p:tags r:id="rId30"/>
              </p:custDataLst>
            </p:nvPr>
          </p:nvSpPr>
          <p:spPr bwMode="gray">
            <a:xfrm>
              <a:off x="2924147" y="3089729"/>
              <a:ext cx="268765" cy="252897"/>
            </a:xfrm>
            <a:custGeom>
              <a:avLst/>
              <a:gdLst>
                <a:gd name="T0" fmla="*/ 8 w 278"/>
                <a:gd name="T1" fmla="*/ 170 h 262"/>
                <a:gd name="T2" fmla="*/ 0 w 278"/>
                <a:gd name="T3" fmla="*/ 156 h 262"/>
                <a:gd name="T4" fmla="*/ 15 w 278"/>
                <a:gd name="T5" fmla="*/ 141 h 262"/>
                <a:gd name="T6" fmla="*/ 33 w 278"/>
                <a:gd name="T7" fmla="*/ 141 h 262"/>
                <a:gd name="T8" fmla="*/ 53 w 278"/>
                <a:gd name="T9" fmla="*/ 135 h 262"/>
                <a:gd name="T10" fmla="*/ 68 w 278"/>
                <a:gd name="T11" fmla="*/ 107 h 262"/>
                <a:gd name="T12" fmla="*/ 84 w 278"/>
                <a:gd name="T13" fmla="*/ 90 h 262"/>
                <a:gd name="T14" fmla="*/ 84 w 278"/>
                <a:gd name="T15" fmla="*/ 72 h 262"/>
                <a:gd name="T16" fmla="*/ 92 w 278"/>
                <a:gd name="T17" fmla="*/ 53 h 262"/>
                <a:gd name="T18" fmla="*/ 98 w 278"/>
                <a:gd name="T19" fmla="*/ 18 h 262"/>
                <a:gd name="T20" fmla="*/ 108 w 278"/>
                <a:gd name="T21" fmla="*/ 0 h 262"/>
                <a:gd name="T22" fmla="*/ 144 w 278"/>
                <a:gd name="T23" fmla="*/ 14 h 262"/>
                <a:gd name="T24" fmla="*/ 158 w 278"/>
                <a:gd name="T25" fmla="*/ 12 h 262"/>
                <a:gd name="T26" fmla="*/ 188 w 278"/>
                <a:gd name="T27" fmla="*/ 5 h 262"/>
                <a:gd name="T28" fmla="*/ 209 w 278"/>
                <a:gd name="T29" fmla="*/ 0 h 262"/>
                <a:gd name="T30" fmla="*/ 233 w 278"/>
                <a:gd name="T31" fmla="*/ 6 h 262"/>
                <a:gd name="T32" fmla="*/ 261 w 278"/>
                <a:gd name="T33" fmla="*/ 12 h 262"/>
                <a:gd name="T34" fmla="*/ 272 w 278"/>
                <a:gd name="T35" fmla="*/ 24 h 262"/>
                <a:gd name="T36" fmla="*/ 278 w 278"/>
                <a:gd name="T37" fmla="*/ 39 h 262"/>
                <a:gd name="T38" fmla="*/ 264 w 278"/>
                <a:gd name="T39" fmla="*/ 65 h 262"/>
                <a:gd name="T40" fmla="*/ 258 w 278"/>
                <a:gd name="T41" fmla="*/ 90 h 262"/>
                <a:gd name="T42" fmla="*/ 249 w 278"/>
                <a:gd name="T43" fmla="*/ 110 h 262"/>
                <a:gd name="T44" fmla="*/ 257 w 278"/>
                <a:gd name="T45" fmla="*/ 171 h 262"/>
                <a:gd name="T46" fmla="*/ 272 w 278"/>
                <a:gd name="T47" fmla="*/ 182 h 262"/>
                <a:gd name="T48" fmla="*/ 243 w 278"/>
                <a:gd name="T49" fmla="*/ 204 h 262"/>
                <a:gd name="T50" fmla="*/ 237 w 278"/>
                <a:gd name="T51" fmla="*/ 255 h 262"/>
                <a:gd name="T52" fmla="*/ 219 w 278"/>
                <a:gd name="T53" fmla="*/ 249 h 262"/>
                <a:gd name="T54" fmla="*/ 197 w 278"/>
                <a:gd name="T55" fmla="*/ 245 h 262"/>
                <a:gd name="T56" fmla="*/ 169 w 278"/>
                <a:gd name="T57" fmla="*/ 240 h 262"/>
                <a:gd name="T58" fmla="*/ 150 w 278"/>
                <a:gd name="T59" fmla="*/ 236 h 262"/>
                <a:gd name="T60" fmla="*/ 146 w 278"/>
                <a:gd name="T61" fmla="*/ 227 h 262"/>
                <a:gd name="T62" fmla="*/ 148 w 278"/>
                <a:gd name="T63" fmla="*/ 209 h 262"/>
                <a:gd name="T64" fmla="*/ 141 w 278"/>
                <a:gd name="T65" fmla="*/ 195 h 262"/>
                <a:gd name="T66" fmla="*/ 128 w 278"/>
                <a:gd name="T67" fmla="*/ 186 h 262"/>
                <a:gd name="T68" fmla="*/ 109 w 278"/>
                <a:gd name="T69" fmla="*/ 189 h 262"/>
                <a:gd name="T70" fmla="*/ 90 w 278"/>
                <a:gd name="T71" fmla="*/ 194 h 262"/>
                <a:gd name="T72" fmla="*/ 68 w 278"/>
                <a:gd name="T73" fmla="*/ 176 h 262"/>
                <a:gd name="T74" fmla="*/ 63 w 278"/>
                <a:gd name="T75" fmla="*/ 165 h 262"/>
                <a:gd name="T76" fmla="*/ 44 w 278"/>
                <a:gd name="T77" fmla="*/ 164 h 262"/>
                <a:gd name="T78" fmla="*/ 8 w 278"/>
                <a:gd name="T79" fmla="*/ 17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8" h="262">
                  <a:moveTo>
                    <a:pt x="8" y="170"/>
                  </a:moveTo>
                  <a:cubicBezTo>
                    <a:pt x="5" y="163"/>
                    <a:pt x="7" y="160"/>
                    <a:pt x="0" y="156"/>
                  </a:cubicBezTo>
                  <a:cubicBezTo>
                    <a:pt x="1" y="151"/>
                    <a:pt x="10" y="143"/>
                    <a:pt x="15" y="141"/>
                  </a:cubicBezTo>
                  <a:cubicBezTo>
                    <a:pt x="20" y="139"/>
                    <a:pt x="27" y="142"/>
                    <a:pt x="33" y="141"/>
                  </a:cubicBezTo>
                  <a:cubicBezTo>
                    <a:pt x="39" y="137"/>
                    <a:pt x="46" y="137"/>
                    <a:pt x="53" y="135"/>
                  </a:cubicBezTo>
                  <a:cubicBezTo>
                    <a:pt x="62" y="128"/>
                    <a:pt x="52" y="117"/>
                    <a:pt x="68" y="107"/>
                  </a:cubicBezTo>
                  <a:cubicBezTo>
                    <a:pt x="77" y="92"/>
                    <a:pt x="66" y="95"/>
                    <a:pt x="84" y="90"/>
                  </a:cubicBezTo>
                  <a:cubicBezTo>
                    <a:pt x="89" y="84"/>
                    <a:pt x="87" y="79"/>
                    <a:pt x="84" y="72"/>
                  </a:cubicBezTo>
                  <a:cubicBezTo>
                    <a:pt x="86" y="57"/>
                    <a:pt x="87" y="63"/>
                    <a:pt x="92" y="53"/>
                  </a:cubicBezTo>
                  <a:cubicBezTo>
                    <a:pt x="87" y="40"/>
                    <a:pt x="91" y="30"/>
                    <a:pt x="98" y="18"/>
                  </a:cubicBezTo>
                  <a:cubicBezTo>
                    <a:pt x="99" y="10"/>
                    <a:pt x="100" y="4"/>
                    <a:pt x="108" y="0"/>
                  </a:cubicBezTo>
                  <a:cubicBezTo>
                    <a:pt x="122" y="2"/>
                    <a:pt x="130" y="13"/>
                    <a:pt x="144" y="14"/>
                  </a:cubicBezTo>
                  <a:cubicBezTo>
                    <a:pt x="151" y="18"/>
                    <a:pt x="149" y="15"/>
                    <a:pt x="158" y="12"/>
                  </a:cubicBezTo>
                  <a:cubicBezTo>
                    <a:pt x="169" y="4"/>
                    <a:pt x="170" y="6"/>
                    <a:pt x="188" y="5"/>
                  </a:cubicBezTo>
                  <a:cubicBezTo>
                    <a:pt x="196" y="3"/>
                    <a:pt x="202" y="0"/>
                    <a:pt x="209" y="0"/>
                  </a:cubicBezTo>
                  <a:cubicBezTo>
                    <a:pt x="216" y="0"/>
                    <a:pt x="224" y="4"/>
                    <a:pt x="233" y="6"/>
                  </a:cubicBezTo>
                  <a:cubicBezTo>
                    <a:pt x="245" y="12"/>
                    <a:pt x="243" y="11"/>
                    <a:pt x="261" y="12"/>
                  </a:cubicBezTo>
                  <a:cubicBezTo>
                    <a:pt x="267" y="15"/>
                    <a:pt x="268" y="19"/>
                    <a:pt x="272" y="24"/>
                  </a:cubicBezTo>
                  <a:cubicBezTo>
                    <a:pt x="273" y="30"/>
                    <a:pt x="274" y="34"/>
                    <a:pt x="278" y="39"/>
                  </a:cubicBezTo>
                  <a:cubicBezTo>
                    <a:pt x="276" y="50"/>
                    <a:pt x="269" y="57"/>
                    <a:pt x="264" y="65"/>
                  </a:cubicBezTo>
                  <a:cubicBezTo>
                    <a:pt x="262" y="75"/>
                    <a:pt x="267" y="89"/>
                    <a:pt x="258" y="90"/>
                  </a:cubicBezTo>
                  <a:cubicBezTo>
                    <a:pt x="257" y="102"/>
                    <a:pt x="259" y="106"/>
                    <a:pt x="249" y="110"/>
                  </a:cubicBezTo>
                  <a:cubicBezTo>
                    <a:pt x="251" y="130"/>
                    <a:pt x="248" y="153"/>
                    <a:pt x="257" y="171"/>
                  </a:cubicBezTo>
                  <a:cubicBezTo>
                    <a:pt x="258" y="177"/>
                    <a:pt x="266" y="179"/>
                    <a:pt x="272" y="182"/>
                  </a:cubicBezTo>
                  <a:cubicBezTo>
                    <a:pt x="276" y="206"/>
                    <a:pt x="263" y="202"/>
                    <a:pt x="243" y="204"/>
                  </a:cubicBezTo>
                  <a:cubicBezTo>
                    <a:pt x="236" y="216"/>
                    <a:pt x="245" y="248"/>
                    <a:pt x="237" y="255"/>
                  </a:cubicBezTo>
                  <a:cubicBezTo>
                    <a:pt x="233" y="262"/>
                    <a:pt x="226" y="251"/>
                    <a:pt x="219" y="249"/>
                  </a:cubicBezTo>
                  <a:cubicBezTo>
                    <a:pt x="212" y="247"/>
                    <a:pt x="205" y="247"/>
                    <a:pt x="197" y="245"/>
                  </a:cubicBezTo>
                  <a:cubicBezTo>
                    <a:pt x="189" y="243"/>
                    <a:pt x="177" y="242"/>
                    <a:pt x="169" y="240"/>
                  </a:cubicBezTo>
                  <a:cubicBezTo>
                    <a:pt x="162" y="238"/>
                    <a:pt x="154" y="238"/>
                    <a:pt x="150" y="236"/>
                  </a:cubicBezTo>
                  <a:cubicBezTo>
                    <a:pt x="146" y="234"/>
                    <a:pt x="146" y="231"/>
                    <a:pt x="146" y="227"/>
                  </a:cubicBezTo>
                  <a:cubicBezTo>
                    <a:pt x="142" y="222"/>
                    <a:pt x="149" y="214"/>
                    <a:pt x="148" y="209"/>
                  </a:cubicBezTo>
                  <a:cubicBezTo>
                    <a:pt x="147" y="204"/>
                    <a:pt x="144" y="199"/>
                    <a:pt x="141" y="195"/>
                  </a:cubicBezTo>
                  <a:cubicBezTo>
                    <a:pt x="136" y="193"/>
                    <a:pt x="140" y="191"/>
                    <a:pt x="128" y="186"/>
                  </a:cubicBezTo>
                  <a:cubicBezTo>
                    <a:pt x="123" y="185"/>
                    <a:pt x="115" y="188"/>
                    <a:pt x="109" y="189"/>
                  </a:cubicBezTo>
                  <a:cubicBezTo>
                    <a:pt x="103" y="190"/>
                    <a:pt x="97" y="196"/>
                    <a:pt x="90" y="194"/>
                  </a:cubicBezTo>
                  <a:cubicBezTo>
                    <a:pt x="75" y="192"/>
                    <a:pt x="74" y="187"/>
                    <a:pt x="68" y="176"/>
                  </a:cubicBezTo>
                  <a:cubicBezTo>
                    <a:pt x="63" y="172"/>
                    <a:pt x="67" y="167"/>
                    <a:pt x="63" y="165"/>
                  </a:cubicBezTo>
                  <a:cubicBezTo>
                    <a:pt x="59" y="163"/>
                    <a:pt x="53" y="163"/>
                    <a:pt x="44" y="164"/>
                  </a:cubicBezTo>
                  <a:cubicBezTo>
                    <a:pt x="35" y="165"/>
                    <a:pt x="15" y="169"/>
                    <a:pt x="8" y="17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63" name="Freeform 466"/>
            <p:cNvSpPr>
              <a:spLocks/>
            </p:cNvSpPr>
            <p:nvPr>
              <p:custDataLst>
                <p:tags r:id="rId31"/>
              </p:custDataLst>
            </p:nvPr>
          </p:nvSpPr>
          <p:spPr bwMode="gray">
            <a:xfrm>
              <a:off x="3232581" y="3094688"/>
              <a:ext cx="109093" cy="132895"/>
            </a:xfrm>
            <a:custGeom>
              <a:avLst/>
              <a:gdLst>
                <a:gd name="T0" fmla="*/ 3 w 113"/>
                <a:gd name="T1" fmla="*/ 88 h 138"/>
                <a:gd name="T2" fmla="*/ 24 w 113"/>
                <a:gd name="T3" fmla="*/ 94 h 138"/>
                <a:gd name="T4" fmla="*/ 37 w 113"/>
                <a:gd name="T5" fmla="*/ 99 h 138"/>
                <a:gd name="T6" fmla="*/ 51 w 113"/>
                <a:gd name="T7" fmla="*/ 117 h 138"/>
                <a:gd name="T8" fmla="*/ 81 w 113"/>
                <a:gd name="T9" fmla="*/ 138 h 138"/>
                <a:gd name="T10" fmla="*/ 99 w 113"/>
                <a:gd name="T11" fmla="*/ 114 h 138"/>
                <a:gd name="T12" fmla="*/ 105 w 113"/>
                <a:gd name="T13" fmla="*/ 99 h 138"/>
                <a:gd name="T14" fmla="*/ 105 w 113"/>
                <a:gd name="T15" fmla="*/ 72 h 138"/>
                <a:gd name="T16" fmla="*/ 105 w 113"/>
                <a:gd name="T17" fmla="*/ 27 h 138"/>
                <a:gd name="T18" fmla="*/ 106 w 113"/>
                <a:gd name="T19" fmla="*/ 15 h 138"/>
                <a:gd name="T20" fmla="*/ 60 w 113"/>
                <a:gd name="T21" fmla="*/ 16 h 138"/>
                <a:gd name="T22" fmla="*/ 34 w 113"/>
                <a:gd name="T23" fmla="*/ 6 h 138"/>
                <a:gd name="T24" fmla="*/ 12 w 113"/>
                <a:gd name="T25" fmla="*/ 3 h 138"/>
                <a:gd name="T26" fmla="*/ 13 w 113"/>
                <a:gd name="T27" fmla="*/ 27 h 138"/>
                <a:gd name="T28" fmla="*/ 18 w 113"/>
                <a:gd name="T29" fmla="*/ 52 h 138"/>
                <a:gd name="T30" fmla="*/ 3 w 113"/>
                <a:gd name="T31" fmla="*/ 66 h 138"/>
                <a:gd name="T32" fmla="*/ 3 w 113"/>
                <a:gd name="T33" fmla="*/ 8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38">
                  <a:moveTo>
                    <a:pt x="3" y="88"/>
                  </a:moveTo>
                  <a:cubicBezTo>
                    <a:pt x="10" y="90"/>
                    <a:pt x="17" y="93"/>
                    <a:pt x="24" y="94"/>
                  </a:cubicBezTo>
                  <a:cubicBezTo>
                    <a:pt x="28" y="96"/>
                    <a:pt x="33" y="97"/>
                    <a:pt x="37" y="99"/>
                  </a:cubicBezTo>
                  <a:cubicBezTo>
                    <a:pt x="40" y="106"/>
                    <a:pt x="44" y="115"/>
                    <a:pt x="51" y="117"/>
                  </a:cubicBezTo>
                  <a:cubicBezTo>
                    <a:pt x="58" y="123"/>
                    <a:pt x="73" y="138"/>
                    <a:pt x="81" y="138"/>
                  </a:cubicBezTo>
                  <a:cubicBezTo>
                    <a:pt x="91" y="135"/>
                    <a:pt x="87" y="116"/>
                    <a:pt x="99" y="114"/>
                  </a:cubicBezTo>
                  <a:cubicBezTo>
                    <a:pt x="100" y="108"/>
                    <a:pt x="101" y="104"/>
                    <a:pt x="105" y="99"/>
                  </a:cubicBezTo>
                  <a:cubicBezTo>
                    <a:pt x="106" y="90"/>
                    <a:pt x="104" y="81"/>
                    <a:pt x="105" y="72"/>
                  </a:cubicBezTo>
                  <a:cubicBezTo>
                    <a:pt x="107" y="60"/>
                    <a:pt x="105" y="36"/>
                    <a:pt x="105" y="27"/>
                  </a:cubicBezTo>
                  <a:cubicBezTo>
                    <a:pt x="105" y="18"/>
                    <a:pt x="113" y="17"/>
                    <a:pt x="106" y="15"/>
                  </a:cubicBezTo>
                  <a:cubicBezTo>
                    <a:pt x="94" y="16"/>
                    <a:pt x="72" y="17"/>
                    <a:pt x="60" y="16"/>
                  </a:cubicBezTo>
                  <a:cubicBezTo>
                    <a:pt x="49" y="7"/>
                    <a:pt x="49" y="7"/>
                    <a:pt x="34" y="6"/>
                  </a:cubicBezTo>
                  <a:cubicBezTo>
                    <a:pt x="28" y="5"/>
                    <a:pt x="15" y="0"/>
                    <a:pt x="12" y="3"/>
                  </a:cubicBezTo>
                  <a:cubicBezTo>
                    <a:pt x="9" y="6"/>
                    <a:pt x="12" y="19"/>
                    <a:pt x="13" y="27"/>
                  </a:cubicBezTo>
                  <a:cubicBezTo>
                    <a:pt x="14" y="34"/>
                    <a:pt x="20" y="46"/>
                    <a:pt x="18" y="52"/>
                  </a:cubicBezTo>
                  <a:cubicBezTo>
                    <a:pt x="16" y="58"/>
                    <a:pt x="5" y="60"/>
                    <a:pt x="3" y="66"/>
                  </a:cubicBezTo>
                  <a:cubicBezTo>
                    <a:pt x="0" y="75"/>
                    <a:pt x="3" y="78"/>
                    <a:pt x="3" y="88"/>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64" name="Freeform 467"/>
            <p:cNvSpPr>
              <a:spLocks/>
            </p:cNvSpPr>
            <p:nvPr>
              <p:custDataLst>
                <p:tags r:id="rId32"/>
              </p:custDataLst>
            </p:nvPr>
          </p:nvSpPr>
          <p:spPr bwMode="gray">
            <a:xfrm>
              <a:off x="3058033" y="3283121"/>
              <a:ext cx="174548" cy="141821"/>
            </a:xfrm>
            <a:custGeom>
              <a:avLst/>
              <a:gdLst>
                <a:gd name="T0" fmla="*/ 61 w 181"/>
                <a:gd name="T1" fmla="*/ 46 h 147"/>
                <a:gd name="T2" fmla="*/ 80 w 181"/>
                <a:gd name="T3" fmla="*/ 51 h 147"/>
                <a:gd name="T4" fmla="*/ 95 w 181"/>
                <a:gd name="T5" fmla="*/ 55 h 147"/>
                <a:gd name="T6" fmla="*/ 110 w 181"/>
                <a:gd name="T7" fmla="*/ 67 h 147"/>
                <a:gd name="T8" fmla="*/ 103 w 181"/>
                <a:gd name="T9" fmla="*/ 57 h 147"/>
                <a:gd name="T10" fmla="*/ 100 w 181"/>
                <a:gd name="T11" fmla="*/ 37 h 147"/>
                <a:gd name="T12" fmla="*/ 103 w 181"/>
                <a:gd name="T13" fmla="*/ 10 h 147"/>
                <a:gd name="T14" fmla="*/ 113 w 181"/>
                <a:gd name="T15" fmla="*/ 0 h 147"/>
                <a:gd name="T16" fmla="*/ 139 w 181"/>
                <a:gd name="T17" fmla="*/ 4 h 147"/>
                <a:gd name="T18" fmla="*/ 172 w 181"/>
                <a:gd name="T19" fmla="*/ 15 h 147"/>
                <a:gd name="T20" fmla="*/ 169 w 181"/>
                <a:gd name="T21" fmla="*/ 66 h 147"/>
                <a:gd name="T22" fmla="*/ 152 w 181"/>
                <a:gd name="T23" fmla="*/ 94 h 147"/>
                <a:gd name="T24" fmla="*/ 137 w 181"/>
                <a:gd name="T25" fmla="*/ 100 h 147"/>
                <a:gd name="T26" fmla="*/ 107 w 181"/>
                <a:gd name="T27" fmla="*/ 114 h 147"/>
                <a:gd name="T28" fmla="*/ 88 w 181"/>
                <a:gd name="T29" fmla="*/ 127 h 147"/>
                <a:gd name="T30" fmla="*/ 80 w 181"/>
                <a:gd name="T31" fmla="*/ 142 h 147"/>
                <a:gd name="T32" fmla="*/ 52 w 181"/>
                <a:gd name="T33" fmla="*/ 147 h 147"/>
                <a:gd name="T34" fmla="*/ 17 w 181"/>
                <a:gd name="T35" fmla="*/ 141 h 147"/>
                <a:gd name="T36" fmla="*/ 8 w 181"/>
                <a:gd name="T37" fmla="*/ 129 h 147"/>
                <a:gd name="T38" fmla="*/ 4 w 181"/>
                <a:gd name="T39" fmla="*/ 112 h 147"/>
                <a:gd name="T40" fmla="*/ 4 w 181"/>
                <a:gd name="T41" fmla="*/ 91 h 147"/>
                <a:gd name="T42" fmla="*/ 7 w 181"/>
                <a:gd name="T43" fmla="*/ 70 h 147"/>
                <a:gd name="T44" fmla="*/ 29 w 181"/>
                <a:gd name="T45" fmla="*/ 66 h 147"/>
                <a:gd name="T46" fmla="*/ 40 w 181"/>
                <a:gd name="T47" fmla="*/ 55 h 147"/>
                <a:gd name="T48" fmla="*/ 38 w 181"/>
                <a:gd name="T49" fmla="*/ 43 h 147"/>
                <a:gd name="T50" fmla="*/ 35 w 181"/>
                <a:gd name="T51" fmla="*/ 42 h 147"/>
                <a:gd name="T52" fmla="*/ 61 w 181"/>
                <a:gd name="T53" fmla="*/ 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47">
                  <a:moveTo>
                    <a:pt x="61" y="46"/>
                  </a:moveTo>
                  <a:cubicBezTo>
                    <a:pt x="68" y="48"/>
                    <a:pt x="74" y="50"/>
                    <a:pt x="80" y="51"/>
                  </a:cubicBezTo>
                  <a:cubicBezTo>
                    <a:pt x="85" y="52"/>
                    <a:pt x="90" y="54"/>
                    <a:pt x="95" y="55"/>
                  </a:cubicBezTo>
                  <a:cubicBezTo>
                    <a:pt x="100" y="58"/>
                    <a:pt x="109" y="67"/>
                    <a:pt x="110" y="67"/>
                  </a:cubicBezTo>
                  <a:cubicBezTo>
                    <a:pt x="107" y="64"/>
                    <a:pt x="105" y="62"/>
                    <a:pt x="103" y="57"/>
                  </a:cubicBezTo>
                  <a:cubicBezTo>
                    <a:pt x="101" y="52"/>
                    <a:pt x="100" y="45"/>
                    <a:pt x="100" y="37"/>
                  </a:cubicBezTo>
                  <a:cubicBezTo>
                    <a:pt x="100" y="29"/>
                    <a:pt x="101" y="16"/>
                    <a:pt x="103" y="10"/>
                  </a:cubicBezTo>
                  <a:cubicBezTo>
                    <a:pt x="106" y="6"/>
                    <a:pt x="110" y="4"/>
                    <a:pt x="113" y="0"/>
                  </a:cubicBezTo>
                  <a:cubicBezTo>
                    <a:pt x="127" y="1"/>
                    <a:pt x="128" y="2"/>
                    <a:pt x="139" y="4"/>
                  </a:cubicBezTo>
                  <a:cubicBezTo>
                    <a:pt x="151" y="16"/>
                    <a:pt x="149" y="13"/>
                    <a:pt x="172" y="15"/>
                  </a:cubicBezTo>
                  <a:cubicBezTo>
                    <a:pt x="173" y="28"/>
                    <a:pt x="181" y="57"/>
                    <a:pt x="169" y="66"/>
                  </a:cubicBezTo>
                  <a:cubicBezTo>
                    <a:pt x="167" y="84"/>
                    <a:pt x="169" y="91"/>
                    <a:pt x="152" y="94"/>
                  </a:cubicBezTo>
                  <a:cubicBezTo>
                    <a:pt x="147" y="97"/>
                    <a:pt x="143" y="99"/>
                    <a:pt x="137" y="100"/>
                  </a:cubicBezTo>
                  <a:cubicBezTo>
                    <a:pt x="127" y="105"/>
                    <a:pt x="117" y="109"/>
                    <a:pt x="107" y="114"/>
                  </a:cubicBezTo>
                  <a:cubicBezTo>
                    <a:pt x="100" y="123"/>
                    <a:pt x="100" y="126"/>
                    <a:pt x="88" y="127"/>
                  </a:cubicBezTo>
                  <a:cubicBezTo>
                    <a:pt x="85" y="134"/>
                    <a:pt x="89" y="140"/>
                    <a:pt x="80" y="142"/>
                  </a:cubicBezTo>
                  <a:cubicBezTo>
                    <a:pt x="71" y="146"/>
                    <a:pt x="61" y="143"/>
                    <a:pt x="52" y="147"/>
                  </a:cubicBezTo>
                  <a:cubicBezTo>
                    <a:pt x="40" y="145"/>
                    <a:pt x="27" y="147"/>
                    <a:pt x="17" y="141"/>
                  </a:cubicBezTo>
                  <a:cubicBezTo>
                    <a:pt x="14" y="136"/>
                    <a:pt x="10" y="134"/>
                    <a:pt x="8" y="129"/>
                  </a:cubicBezTo>
                  <a:cubicBezTo>
                    <a:pt x="7" y="123"/>
                    <a:pt x="5" y="118"/>
                    <a:pt x="4" y="112"/>
                  </a:cubicBezTo>
                  <a:cubicBezTo>
                    <a:pt x="3" y="106"/>
                    <a:pt x="0" y="99"/>
                    <a:pt x="4" y="91"/>
                  </a:cubicBezTo>
                  <a:cubicBezTo>
                    <a:pt x="5" y="84"/>
                    <a:pt x="3" y="74"/>
                    <a:pt x="7" y="70"/>
                  </a:cubicBezTo>
                  <a:cubicBezTo>
                    <a:pt x="11" y="66"/>
                    <a:pt x="24" y="68"/>
                    <a:pt x="29" y="66"/>
                  </a:cubicBezTo>
                  <a:cubicBezTo>
                    <a:pt x="33" y="63"/>
                    <a:pt x="39" y="59"/>
                    <a:pt x="40" y="55"/>
                  </a:cubicBezTo>
                  <a:cubicBezTo>
                    <a:pt x="41" y="51"/>
                    <a:pt x="39" y="45"/>
                    <a:pt x="38" y="43"/>
                  </a:cubicBezTo>
                  <a:cubicBezTo>
                    <a:pt x="36" y="34"/>
                    <a:pt x="32" y="50"/>
                    <a:pt x="35" y="42"/>
                  </a:cubicBezTo>
                  <a:cubicBezTo>
                    <a:pt x="39" y="41"/>
                    <a:pt x="56" y="45"/>
                    <a:pt x="61" y="46"/>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65" name="Freeform 468"/>
            <p:cNvSpPr>
              <a:spLocks/>
            </p:cNvSpPr>
            <p:nvPr>
              <p:custDataLst>
                <p:tags r:id="rId33"/>
              </p:custDataLst>
            </p:nvPr>
          </p:nvSpPr>
          <p:spPr bwMode="gray">
            <a:xfrm>
              <a:off x="3330765" y="2989562"/>
              <a:ext cx="156697" cy="197359"/>
            </a:xfrm>
            <a:custGeom>
              <a:avLst/>
              <a:gdLst>
                <a:gd name="T0" fmla="*/ 7 w 163"/>
                <a:gd name="T1" fmla="*/ 205 h 205"/>
                <a:gd name="T2" fmla="*/ 35 w 163"/>
                <a:gd name="T3" fmla="*/ 179 h 205"/>
                <a:gd name="T4" fmla="*/ 55 w 163"/>
                <a:gd name="T5" fmla="*/ 161 h 205"/>
                <a:gd name="T6" fmla="*/ 75 w 163"/>
                <a:gd name="T7" fmla="*/ 145 h 205"/>
                <a:gd name="T8" fmla="*/ 87 w 163"/>
                <a:gd name="T9" fmla="*/ 137 h 205"/>
                <a:gd name="T10" fmla="*/ 119 w 163"/>
                <a:gd name="T11" fmla="*/ 97 h 205"/>
                <a:gd name="T12" fmla="*/ 127 w 163"/>
                <a:gd name="T13" fmla="*/ 73 h 205"/>
                <a:gd name="T14" fmla="*/ 147 w 163"/>
                <a:gd name="T15" fmla="*/ 43 h 205"/>
                <a:gd name="T16" fmla="*/ 159 w 163"/>
                <a:gd name="T17" fmla="*/ 27 h 205"/>
                <a:gd name="T18" fmla="*/ 157 w 163"/>
                <a:gd name="T19" fmla="*/ 5 h 205"/>
                <a:gd name="T20" fmla="*/ 133 w 163"/>
                <a:gd name="T21" fmla="*/ 7 h 205"/>
                <a:gd name="T22" fmla="*/ 85 w 163"/>
                <a:gd name="T23" fmla="*/ 15 h 205"/>
                <a:gd name="T24" fmla="*/ 39 w 163"/>
                <a:gd name="T25" fmla="*/ 3 h 205"/>
                <a:gd name="T26" fmla="*/ 27 w 163"/>
                <a:gd name="T27" fmla="*/ 9 h 205"/>
                <a:gd name="T28" fmla="*/ 41 w 163"/>
                <a:gd name="T29" fmla="*/ 23 h 205"/>
                <a:gd name="T30" fmla="*/ 67 w 163"/>
                <a:gd name="T31" fmla="*/ 47 h 205"/>
                <a:gd name="T32" fmla="*/ 85 w 163"/>
                <a:gd name="T33" fmla="*/ 53 h 205"/>
                <a:gd name="T34" fmla="*/ 91 w 163"/>
                <a:gd name="T35" fmla="*/ 55 h 205"/>
                <a:gd name="T36" fmla="*/ 107 w 163"/>
                <a:gd name="T37" fmla="*/ 69 h 205"/>
                <a:gd name="T38" fmla="*/ 89 w 163"/>
                <a:gd name="T39" fmla="*/ 81 h 205"/>
                <a:gd name="T40" fmla="*/ 69 w 163"/>
                <a:gd name="T41" fmla="*/ 101 h 205"/>
                <a:gd name="T42" fmla="*/ 51 w 163"/>
                <a:gd name="T43" fmla="*/ 107 h 205"/>
                <a:gd name="T44" fmla="*/ 10 w 163"/>
                <a:gd name="T45" fmla="*/ 122 h 205"/>
                <a:gd name="T46" fmla="*/ 7 w 163"/>
                <a:gd name="T4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3" h="205">
                  <a:moveTo>
                    <a:pt x="7" y="205"/>
                  </a:moveTo>
                  <a:cubicBezTo>
                    <a:pt x="14" y="198"/>
                    <a:pt x="27" y="182"/>
                    <a:pt x="35" y="179"/>
                  </a:cubicBezTo>
                  <a:cubicBezTo>
                    <a:pt x="40" y="172"/>
                    <a:pt x="48" y="166"/>
                    <a:pt x="55" y="161"/>
                  </a:cubicBezTo>
                  <a:cubicBezTo>
                    <a:pt x="58" y="152"/>
                    <a:pt x="67" y="150"/>
                    <a:pt x="75" y="145"/>
                  </a:cubicBezTo>
                  <a:cubicBezTo>
                    <a:pt x="79" y="142"/>
                    <a:pt x="87" y="137"/>
                    <a:pt x="87" y="137"/>
                  </a:cubicBezTo>
                  <a:cubicBezTo>
                    <a:pt x="96" y="123"/>
                    <a:pt x="109" y="112"/>
                    <a:pt x="119" y="97"/>
                  </a:cubicBezTo>
                  <a:cubicBezTo>
                    <a:pt x="124" y="90"/>
                    <a:pt x="122" y="80"/>
                    <a:pt x="127" y="73"/>
                  </a:cubicBezTo>
                  <a:cubicBezTo>
                    <a:pt x="134" y="63"/>
                    <a:pt x="138" y="52"/>
                    <a:pt x="147" y="43"/>
                  </a:cubicBezTo>
                  <a:cubicBezTo>
                    <a:pt x="150" y="35"/>
                    <a:pt x="155" y="34"/>
                    <a:pt x="159" y="27"/>
                  </a:cubicBezTo>
                  <a:cubicBezTo>
                    <a:pt x="158" y="20"/>
                    <a:pt x="163" y="9"/>
                    <a:pt x="157" y="5"/>
                  </a:cubicBezTo>
                  <a:cubicBezTo>
                    <a:pt x="151" y="0"/>
                    <a:pt x="141" y="6"/>
                    <a:pt x="133" y="7"/>
                  </a:cubicBezTo>
                  <a:cubicBezTo>
                    <a:pt x="115" y="10"/>
                    <a:pt x="107" y="13"/>
                    <a:pt x="85" y="15"/>
                  </a:cubicBezTo>
                  <a:cubicBezTo>
                    <a:pt x="53" y="36"/>
                    <a:pt x="57" y="9"/>
                    <a:pt x="39" y="3"/>
                  </a:cubicBezTo>
                  <a:cubicBezTo>
                    <a:pt x="36" y="4"/>
                    <a:pt x="28" y="6"/>
                    <a:pt x="27" y="9"/>
                  </a:cubicBezTo>
                  <a:cubicBezTo>
                    <a:pt x="25" y="15"/>
                    <a:pt x="41" y="23"/>
                    <a:pt x="41" y="23"/>
                  </a:cubicBezTo>
                  <a:cubicBezTo>
                    <a:pt x="48" y="34"/>
                    <a:pt x="55" y="42"/>
                    <a:pt x="67" y="47"/>
                  </a:cubicBezTo>
                  <a:cubicBezTo>
                    <a:pt x="73" y="50"/>
                    <a:pt x="79" y="51"/>
                    <a:pt x="85" y="53"/>
                  </a:cubicBezTo>
                  <a:cubicBezTo>
                    <a:pt x="87" y="54"/>
                    <a:pt x="91" y="55"/>
                    <a:pt x="91" y="55"/>
                  </a:cubicBezTo>
                  <a:cubicBezTo>
                    <a:pt x="94" y="65"/>
                    <a:pt x="101" y="60"/>
                    <a:pt x="107" y="69"/>
                  </a:cubicBezTo>
                  <a:cubicBezTo>
                    <a:pt x="99" y="72"/>
                    <a:pt x="96" y="77"/>
                    <a:pt x="89" y="81"/>
                  </a:cubicBezTo>
                  <a:cubicBezTo>
                    <a:pt x="84" y="88"/>
                    <a:pt x="76" y="96"/>
                    <a:pt x="69" y="101"/>
                  </a:cubicBezTo>
                  <a:cubicBezTo>
                    <a:pt x="63" y="106"/>
                    <a:pt x="60" y="104"/>
                    <a:pt x="51" y="107"/>
                  </a:cubicBezTo>
                  <a:cubicBezTo>
                    <a:pt x="41" y="110"/>
                    <a:pt x="17" y="106"/>
                    <a:pt x="10" y="122"/>
                  </a:cubicBezTo>
                  <a:cubicBezTo>
                    <a:pt x="0" y="139"/>
                    <a:pt x="4" y="195"/>
                    <a:pt x="7" y="20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66" name="Freeform 469"/>
            <p:cNvSpPr>
              <a:spLocks/>
            </p:cNvSpPr>
            <p:nvPr>
              <p:custDataLst>
                <p:tags r:id="rId34"/>
              </p:custDataLst>
            </p:nvPr>
          </p:nvSpPr>
          <p:spPr bwMode="gray">
            <a:xfrm>
              <a:off x="3176051" y="3100638"/>
              <a:ext cx="76365" cy="82316"/>
            </a:xfrm>
            <a:custGeom>
              <a:avLst/>
              <a:gdLst>
                <a:gd name="T0" fmla="*/ 9 w 79"/>
                <a:gd name="T1" fmla="*/ 13 h 86"/>
                <a:gd name="T2" fmla="*/ 48 w 79"/>
                <a:gd name="T3" fmla="*/ 6 h 86"/>
                <a:gd name="T4" fmla="*/ 69 w 79"/>
                <a:gd name="T5" fmla="*/ 1 h 86"/>
                <a:gd name="T6" fmla="*/ 74 w 79"/>
                <a:gd name="T7" fmla="*/ 25 h 86"/>
                <a:gd name="T8" fmla="*/ 77 w 79"/>
                <a:gd name="T9" fmla="*/ 46 h 86"/>
                <a:gd name="T10" fmla="*/ 63 w 79"/>
                <a:gd name="T11" fmla="*/ 60 h 86"/>
                <a:gd name="T12" fmla="*/ 56 w 79"/>
                <a:gd name="T13" fmla="*/ 81 h 86"/>
                <a:gd name="T14" fmla="*/ 3 w 79"/>
                <a:gd name="T15" fmla="*/ 78 h 86"/>
                <a:gd name="T16" fmla="*/ 14 w 79"/>
                <a:gd name="T17" fmla="*/ 40 h 86"/>
                <a:gd name="T18" fmla="*/ 9 w 79"/>
                <a:gd name="T19" fmla="*/ 1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6">
                  <a:moveTo>
                    <a:pt x="9" y="13"/>
                  </a:moveTo>
                  <a:cubicBezTo>
                    <a:pt x="21" y="4"/>
                    <a:pt x="27" y="7"/>
                    <a:pt x="48" y="6"/>
                  </a:cubicBezTo>
                  <a:cubicBezTo>
                    <a:pt x="54" y="3"/>
                    <a:pt x="62" y="0"/>
                    <a:pt x="69" y="1"/>
                  </a:cubicBezTo>
                  <a:cubicBezTo>
                    <a:pt x="73" y="8"/>
                    <a:pt x="70" y="18"/>
                    <a:pt x="74" y="25"/>
                  </a:cubicBezTo>
                  <a:cubicBezTo>
                    <a:pt x="75" y="32"/>
                    <a:pt x="79" y="41"/>
                    <a:pt x="77" y="46"/>
                  </a:cubicBezTo>
                  <a:cubicBezTo>
                    <a:pt x="75" y="52"/>
                    <a:pt x="66" y="54"/>
                    <a:pt x="63" y="60"/>
                  </a:cubicBezTo>
                  <a:cubicBezTo>
                    <a:pt x="59" y="67"/>
                    <a:pt x="63" y="79"/>
                    <a:pt x="56" y="81"/>
                  </a:cubicBezTo>
                  <a:cubicBezTo>
                    <a:pt x="39" y="86"/>
                    <a:pt x="3" y="78"/>
                    <a:pt x="3" y="78"/>
                  </a:cubicBezTo>
                  <a:cubicBezTo>
                    <a:pt x="0" y="64"/>
                    <a:pt x="2" y="49"/>
                    <a:pt x="14" y="40"/>
                  </a:cubicBezTo>
                  <a:cubicBezTo>
                    <a:pt x="18" y="31"/>
                    <a:pt x="14" y="20"/>
                    <a:pt x="9" y="1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67" name="Freeform 474"/>
            <p:cNvSpPr>
              <a:spLocks/>
            </p:cNvSpPr>
            <p:nvPr>
              <p:custDataLst>
                <p:tags r:id="rId35"/>
              </p:custDataLst>
            </p:nvPr>
          </p:nvSpPr>
          <p:spPr bwMode="gray">
            <a:xfrm>
              <a:off x="2753565" y="2815014"/>
              <a:ext cx="228103" cy="176532"/>
            </a:xfrm>
            <a:custGeom>
              <a:avLst/>
              <a:gdLst>
                <a:gd name="T0" fmla="*/ 219 w 237"/>
                <a:gd name="T1" fmla="*/ 20 h 183"/>
                <a:gd name="T2" fmla="*/ 201 w 237"/>
                <a:gd name="T3" fmla="*/ 8 h 183"/>
                <a:gd name="T4" fmla="*/ 183 w 237"/>
                <a:gd name="T5" fmla="*/ 3 h 183"/>
                <a:gd name="T6" fmla="*/ 156 w 237"/>
                <a:gd name="T7" fmla="*/ 14 h 183"/>
                <a:gd name="T8" fmla="*/ 134 w 237"/>
                <a:gd name="T9" fmla="*/ 24 h 183"/>
                <a:gd name="T10" fmla="*/ 120 w 237"/>
                <a:gd name="T11" fmla="*/ 33 h 183"/>
                <a:gd name="T12" fmla="*/ 111 w 237"/>
                <a:gd name="T13" fmla="*/ 45 h 183"/>
                <a:gd name="T14" fmla="*/ 102 w 237"/>
                <a:gd name="T15" fmla="*/ 53 h 183"/>
                <a:gd name="T16" fmla="*/ 77 w 237"/>
                <a:gd name="T17" fmla="*/ 72 h 183"/>
                <a:gd name="T18" fmla="*/ 57 w 237"/>
                <a:gd name="T19" fmla="*/ 69 h 183"/>
                <a:gd name="T20" fmla="*/ 59 w 237"/>
                <a:gd name="T21" fmla="*/ 80 h 183"/>
                <a:gd name="T22" fmla="*/ 60 w 237"/>
                <a:gd name="T23" fmla="*/ 119 h 183"/>
                <a:gd name="T24" fmla="*/ 44 w 237"/>
                <a:gd name="T25" fmla="*/ 128 h 183"/>
                <a:gd name="T26" fmla="*/ 26 w 237"/>
                <a:gd name="T27" fmla="*/ 128 h 183"/>
                <a:gd name="T28" fmla="*/ 0 w 237"/>
                <a:gd name="T29" fmla="*/ 137 h 183"/>
                <a:gd name="T30" fmla="*/ 6 w 237"/>
                <a:gd name="T31" fmla="*/ 143 h 183"/>
                <a:gd name="T32" fmla="*/ 11 w 237"/>
                <a:gd name="T33" fmla="*/ 159 h 183"/>
                <a:gd name="T34" fmla="*/ 29 w 237"/>
                <a:gd name="T35" fmla="*/ 174 h 183"/>
                <a:gd name="T36" fmla="*/ 47 w 237"/>
                <a:gd name="T37" fmla="*/ 179 h 183"/>
                <a:gd name="T38" fmla="*/ 51 w 237"/>
                <a:gd name="T39" fmla="*/ 182 h 183"/>
                <a:gd name="T40" fmla="*/ 54 w 237"/>
                <a:gd name="T41" fmla="*/ 171 h 183"/>
                <a:gd name="T42" fmla="*/ 69 w 237"/>
                <a:gd name="T43" fmla="*/ 159 h 183"/>
                <a:gd name="T44" fmla="*/ 89 w 237"/>
                <a:gd name="T45" fmla="*/ 158 h 183"/>
                <a:gd name="T46" fmla="*/ 128 w 237"/>
                <a:gd name="T47" fmla="*/ 167 h 183"/>
                <a:gd name="T48" fmla="*/ 146 w 237"/>
                <a:gd name="T49" fmla="*/ 162 h 183"/>
                <a:gd name="T50" fmla="*/ 162 w 237"/>
                <a:gd name="T51" fmla="*/ 164 h 183"/>
                <a:gd name="T52" fmla="*/ 173 w 237"/>
                <a:gd name="T53" fmla="*/ 159 h 183"/>
                <a:gd name="T54" fmla="*/ 177 w 237"/>
                <a:gd name="T55" fmla="*/ 161 h 183"/>
                <a:gd name="T56" fmla="*/ 192 w 237"/>
                <a:gd name="T57" fmla="*/ 164 h 183"/>
                <a:gd name="T58" fmla="*/ 200 w 237"/>
                <a:gd name="T59" fmla="*/ 143 h 183"/>
                <a:gd name="T60" fmla="*/ 209 w 237"/>
                <a:gd name="T61" fmla="*/ 132 h 183"/>
                <a:gd name="T62" fmla="*/ 215 w 237"/>
                <a:gd name="T63" fmla="*/ 122 h 183"/>
                <a:gd name="T64" fmla="*/ 224 w 237"/>
                <a:gd name="T65" fmla="*/ 116 h 183"/>
                <a:gd name="T66" fmla="*/ 230 w 237"/>
                <a:gd name="T67" fmla="*/ 98 h 183"/>
                <a:gd name="T68" fmla="*/ 237 w 237"/>
                <a:gd name="T69" fmla="*/ 78 h 183"/>
                <a:gd name="T70" fmla="*/ 233 w 237"/>
                <a:gd name="T71" fmla="*/ 51 h 183"/>
                <a:gd name="T72" fmla="*/ 222 w 237"/>
                <a:gd name="T73" fmla="*/ 26 h 183"/>
                <a:gd name="T74" fmla="*/ 219 w 237"/>
                <a:gd name="T75" fmla="*/ 2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7" h="183">
                  <a:moveTo>
                    <a:pt x="219" y="20"/>
                  </a:moveTo>
                  <a:cubicBezTo>
                    <a:pt x="215" y="17"/>
                    <a:pt x="207" y="11"/>
                    <a:pt x="201" y="8"/>
                  </a:cubicBezTo>
                  <a:cubicBezTo>
                    <a:pt x="195" y="5"/>
                    <a:pt x="190" y="2"/>
                    <a:pt x="183" y="3"/>
                  </a:cubicBezTo>
                  <a:cubicBezTo>
                    <a:pt x="175" y="0"/>
                    <a:pt x="156" y="14"/>
                    <a:pt x="156" y="14"/>
                  </a:cubicBezTo>
                  <a:cubicBezTo>
                    <a:pt x="148" y="17"/>
                    <a:pt x="140" y="21"/>
                    <a:pt x="134" y="24"/>
                  </a:cubicBezTo>
                  <a:cubicBezTo>
                    <a:pt x="128" y="27"/>
                    <a:pt x="124" y="30"/>
                    <a:pt x="120" y="33"/>
                  </a:cubicBezTo>
                  <a:cubicBezTo>
                    <a:pt x="116" y="39"/>
                    <a:pt x="119" y="43"/>
                    <a:pt x="111" y="45"/>
                  </a:cubicBezTo>
                  <a:cubicBezTo>
                    <a:pt x="109" y="53"/>
                    <a:pt x="111" y="52"/>
                    <a:pt x="102" y="53"/>
                  </a:cubicBezTo>
                  <a:cubicBezTo>
                    <a:pt x="96" y="56"/>
                    <a:pt x="84" y="69"/>
                    <a:pt x="77" y="72"/>
                  </a:cubicBezTo>
                  <a:cubicBezTo>
                    <a:pt x="70" y="75"/>
                    <a:pt x="60" y="68"/>
                    <a:pt x="57" y="69"/>
                  </a:cubicBezTo>
                  <a:cubicBezTo>
                    <a:pt x="54" y="71"/>
                    <a:pt x="59" y="72"/>
                    <a:pt x="59" y="80"/>
                  </a:cubicBezTo>
                  <a:cubicBezTo>
                    <a:pt x="59" y="88"/>
                    <a:pt x="63" y="111"/>
                    <a:pt x="60" y="119"/>
                  </a:cubicBezTo>
                  <a:cubicBezTo>
                    <a:pt x="57" y="127"/>
                    <a:pt x="50" y="127"/>
                    <a:pt x="44" y="128"/>
                  </a:cubicBezTo>
                  <a:cubicBezTo>
                    <a:pt x="38" y="139"/>
                    <a:pt x="33" y="127"/>
                    <a:pt x="26" y="128"/>
                  </a:cubicBezTo>
                  <a:cubicBezTo>
                    <a:pt x="19" y="129"/>
                    <a:pt x="3" y="135"/>
                    <a:pt x="0" y="137"/>
                  </a:cubicBezTo>
                  <a:cubicBezTo>
                    <a:pt x="1" y="140"/>
                    <a:pt x="5" y="140"/>
                    <a:pt x="6" y="143"/>
                  </a:cubicBezTo>
                  <a:cubicBezTo>
                    <a:pt x="8" y="146"/>
                    <a:pt x="7" y="154"/>
                    <a:pt x="11" y="159"/>
                  </a:cubicBezTo>
                  <a:cubicBezTo>
                    <a:pt x="15" y="164"/>
                    <a:pt x="23" y="171"/>
                    <a:pt x="29" y="174"/>
                  </a:cubicBezTo>
                  <a:cubicBezTo>
                    <a:pt x="35" y="177"/>
                    <a:pt x="41" y="177"/>
                    <a:pt x="47" y="179"/>
                  </a:cubicBezTo>
                  <a:cubicBezTo>
                    <a:pt x="48" y="180"/>
                    <a:pt x="49" y="183"/>
                    <a:pt x="51" y="182"/>
                  </a:cubicBezTo>
                  <a:cubicBezTo>
                    <a:pt x="53" y="181"/>
                    <a:pt x="54" y="172"/>
                    <a:pt x="54" y="171"/>
                  </a:cubicBezTo>
                  <a:cubicBezTo>
                    <a:pt x="56" y="165"/>
                    <a:pt x="63" y="160"/>
                    <a:pt x="69" y="159"/>
                  </a:cubicBezTo>
                  <a:cubicBezTo>
                    <a:pt x="76" y="157"/>
                    <a:pt x="82" y="159"/>
                    <a:pt x="89" y="158"/>
                  </a:cubicBezTo>
                  <a:cubicBezTo>
                    <a:pt x="102" y="160"/>
                    <a:pt x="114" y="166"/>
                    <a:pt x="128" y="167"/>
                  </a:cubicBezTo>
                  <a:cubicBezTo>
                    <a:pt x="137" y="169"/>
                    <a:pt x="139" y="162"/>
                    <a:pt x="146" y="162"/>
                  </a:cubicBezTo>
                  <a:cubicBezTo>
                    <a:pt x="152" y="162"/>
                    <a:pt x="158" y="164"/>
                    <a:pt x="162" y="164"/>
                  </a:cubicBezTo>
                  <a:cubicBezTo>
                    <a:pt x="166" y="164"/>
                    <a:pt x="171" y="159"/>
                    <a:pt x="173" y="159"/>
                  </a:cubicBezTo>
                  <a:cubicBezTo>
                    <a:pt x="174" y="158"/>
                    <a:pt x="175" y="161"/>
                    <a:pt x="177" y="161"/>
                  </a:cubicBezTo>
                  <a:cubicBezTo>
                    <a:pt x="183" y="160"/>
                    <a:pt x="187" y="167"/>
                    <a:pt x="192" y="164"/>
                  </a:cubicBezTo>
                  <a:cubicBezTo>
                    <a:pt x="197" y="161"/>
                    <a:pt x="197" y="147"/>
                    <a:pt x="200" y="143"/>
                  </a:cubicBezTo>
                  <a:cubicBezTo>
                    <a:pt x="202" y="135"/>
                    <a:pt x="205" y="139"/>
                    <a:pt x="209" y="132"/>
                  </a:cubicBezTo>
                  <a:cubicBezTo>
                    <a:pt x="211" y="128"/>
                    <a:pt x="213" y="125"/>
                    <a:pt x="215" y="122"/>
                  </a:cubicBezTo>
                  <a:cubicBezTo>
                    <a:pt x="217" y="119"/>
                    <a:pt x="221" y="120"/>
                    <a:pt x="224" y="116"/>
                  </a:cubicBezTo>
                  <a:cubicBezTo>
                    <a:pt x="225" y="110"/>
                    <a:pt x="227" y="104"/>
                    <a:pt x="230" y="98"/>
                  </a:cubicBezTo>
                  <a:cubicBezTo>
                    <a:pt x="231" y="92"/>
                    <a:pt x="237" y="86"/>
                    <a:pt x="237" y="78"/>
                  </a:cubicBezTo>
                  <a:cubicBezTo>
                    <a:pt x="237" y="70"/>
                    <a:pt x="235" y="60"/>
                    <a:pt x="233" y="51"/>
                  </a:cubicBezTo>
                  <a:cubicBezTo>
                    <a:pt x="231" y="42"/>
                    <a:pt x="224" y="31"/>
                    <a:pt x="222" y="26"/>
                  </a:cubicBezTo>
                  <a:cubicBezTo>
                    <a:pt x="221" y="21"/>
                    <a:pt x="205" y="6"/>
                    <a:pt x="219" y="2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68" name="Freeform 475"/>
            <p:cNvSpPr>
              <a:spLocks/>
            </p:cNvSpPr>
            <p:nvPr>
              <p:custDataLst>
                <p:tags r:id="rId36"/>
              </p:custDataLst>
            </p:nvPr>
          </p:nvSpPr>
          <p:spPr bwMode="gray">
            <a:xfrm>
              <a:off x="2754557" y="2982620"/>
              <a:ext cx="52563" cy="94217"/>
            </a:xfrm>
            <a:custGeom>
              <a:avLst/>
              <a:gdLst>
                <a:gd name="T0" fmla="*/ 32 w 55"/>
                <a:gd name="T1" fmla="*/ 4 h 98"/>
                <a:gd name="T2" fmla="*/ 26 w 55"/>
                <a:gd name="T3" fmla="*/ 12 h 98"/>
                <a:gd name="T4" fmla="*/ 18 w 55"/>
                <a:gd name="T5" fmla="*/ 18 h 98"/>
                <a:gd name="T6" fmla="*/ 18 w 55"/>
                <a:gd name="T7" fmla="*/ 34 h 98"/>
                <a:gd name="T8" fmla="*/ 34 w 55"/>
                <a:gd name="T9" fmla="*/ 92 h 98"/>
                <a:gd name="T10" fmla="*/ 52 w 55"/>
                <a:gd name="T11" fmla="*/ 36 h 98"/>
                <a:gd name="T12" fmla="*/ 50 w 55"/>
                <a:gd name="T13" fmla="*/ 18 h 98"/>
                <a:gd name="T14" fmla="*/ 43 w 55"/>
                <a:gd name="T15" fmla="*/ 7 h 98"/>
                <a:gd name="T16" fmla="*/ 32 w 55"/>
                <a:gd name="T17" fmla="*/ 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98">
                  <a:moveTo>
                    <a:pt x="32" y="4"/>
                  </a:moveTo>
                  <a:cubicBezTo>
                    <a:pt x="28" y="0"/>
                    <a:pt x="28" y="10"/>
                    <a:pt x="26" y="12"/>
                  </a:cubicBezTo>
                  <a:cubicBezTo>
                    <a:pt x="24" y="14"/>
                    <a:pt x="19" y="14"/>
                    <a:pt x="18" y="18"/>
                  </a:cubicBezTo>
                  <a:cubicBezTo>
                    <a:pt x="13" y="26"/>
                    <a:pt x="9" y="28"/>
                    <a:pt x="18" y="34"/>
                  </a:cubicBezTo>
                  <a:cubicBezTo>
                    <a:pt x="27" y="60"/>
                    <a:pt x="0" y="98"/>
                    <a:pt x="34" y="92"/>
                  </a:cubicBezTo>
                  <a:cubicBezTo>
                    <a:pt x="45" y="60"/>
                    <a:pt x="34" y="63"/>
                    <a:pt x="52" y="36"/>
                  </a:cubicBezTo>
                  <a:cubicBezTo>
                    <a:pt x="55" y="24"/>
                    <a:pt x="51" y="23"/>
                    <a:pt x="50" y="18"/>
                  </a:cubicBezTo>
                  <a:cubicBezTo>
                    <a:pt x="49" y="13"/>
                    <a:pt x="46" y="9"/>
                    <a:pt x="43" y="7"/>
                  </a:cubicBezTo>
                  <a:cubicBezTo>
                    <a:pt x="40" y="5"/>
                    <a:pt x="35" y="3"/>
                    <a:pt x="32" y="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69" name="Freeform 476"/>
            <p:cNvSpPr>
              <a:spLocks/>
            </p:cNvSpPr>
            <p:nvPr>
              <p:custDataLst>
                <p:tags r:id="rId37"/>
              </p:custDataLst>
            </p:nvPr>
          </p:nvSpPr>
          <p:spPr bwMode="gray">
            <a:xfrm>
              <a:off x="2746623" y="3001463"/>
              <a:ext cx="26778" cy="75373"/>
            </a:xfrm>
            <a:custGeom>
              <a:avLst/>
              <a:gdLst>
                <a:gd name="T0" fmla="*/ 18 w 28"/>
                <a:gd name="T1" fmla="*/ 0 h 78"/>
                <a:gd name="T2" fmla="*/ 0 w 28"/>
                <a:gd name="T3" fmla="*/ 21 h 78"/>
                <a:gd name="T4" fmla="*/ 10 w 28"/>
                <a:gd name="T5" fmla="*/ 50 h 78"/>
                <a:gd name="T6" fmla="*/ 10 w 28"/>
                <a:gd name="T7" fmla="*/ 63 h 78"/>
                <a:gd name="T8" fmla="*/ 16 w 28"/>
                <a:gd name="T9" fmla="*/ 76 h 78"/>
                <a:gd name="T10" fmla="*/ 24 w 28"/>
                <a:gd name="T11" fmla="*/ 74 h 78"/>
                <a:gd name="T12" fmla="*/ 27 w 28"/>
                <a:gd name="T13" fmla="*/ 24 h 78"/>
                <a:gd name="T14" fmla="*/ 18 w 28"/>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8">
                  <a:moveTo>
                    <a:pt x="18" y="0"/>
                  </a:moveTo>
                  <a:cubicBezTo>
                    <a:pt x="7" y="4"/>
                    <a:pt x="3" y="11"/>
                    <a:pt x="0" y="21"/>
                  </a:cubicBezTo>
                  <a:cubicBezTo>
                    <a:pt x="1" y="30"/>
                    <a:pt x="8" y="41"/>
                    <a:pt x="10" y="50"/>
                  </a:cubicBezTo>
                  <a:cubicBezTo>
                    <a:pt x="11" y="54"/>
                    <a:pt x="10" y="63"/>
                    <a:pt x="10" y="63"/>
                  </a:cubicBezTo>
                  <a:cubicBezTo>
                    <a:pt x="11" y="68"/>
                    <a:pt x="13" y="72"/>
                    <a:pt x="16" y="76"/>
                  </a:cubicBezTo>
                  <a:cubicBezTo>
                    <a:pt x="18" y="78"/>
                    <a:pt x="24" y="77"/>
                    <a:pt x="24" y="74"/>
                  </a:cubicBezTo>
                  <a:cubicBezTo>
                    <a:pt x="24" y="65"/>
                    <a:pt x="28" y="36"/>
                    <a:pt x="27" y="24"/>
                  </a:cubicBezTo>
                  <a:cubicBezTo>
                    <a:pt x="26" y="12"/>
                    <a:pt x="20" y="5"/>
                    <a:pt x="18"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70" name="Freeform 478"/>
            <p:cNvSpPr>
              <a:spLocks/>
            </p:cNvSpPr>
            <p:nvPr>
              <p:custDataLst>
                <p:tags r:id="rId38"/>
              </p:custDataLst>
            </p:nvPr>
          </p:nvSpPr>
          <p:spPr bwMode="gray">
            <a:xfrm>
              <a:off x="2528437" y="2978653"/>
              <a:ext cx="112068" cy="76365"/>
            </a:xfrm>
            <a:custGeom>
              <a:avLst/>
              <a:gdLst>
                <a:gd name="T0" fmla="*/ 28 w 116"/>
                <a:gd name="T1" fmla="*/ 48 h 79"/>
                <a:gd name="T2" fmla="*/ 6 w 116"/>
                <a:gd name="T3" fmla="*/ 30 h 79"/>
                <a:gd name="T4" fmla="*/ 6 w 116"/>
                <a:gd name="T5" fmla="*/ 24 h 79"/>
                <a:gd name="T6" fmla="*/ 17 w 116"/>
                <a:gd name="T7" fmla="*/ 15 h 79"/>
                <a:gd name="T8" fmla="*/ 30 w 116"/>
                <a:gd name="T9" fmla="*/ 2 h 79"/>
                <a:gd name="T10" fmla="*/ 49 w 116"/>
                <a:gd name="T11" fmla="*/ 7 h 79"/>
                <a:gd name="T12" fmla="*/ 76 w 116"/>
                <a:gd name="T13" fmla="*/ 10 h 79"/>
                <a:gd name="T14" fmla="*/ 102 w 116"/>
                <a:gd name="T15" fmla="*/ 26 h 79"/>
                <a:gd name="T16" fmla="*/ 110 w 116"/>
                <a:gd name="T17" fmla="*/ 38 h 79"/>
                <a:gd name="T18" fmla="*/ 112 w 116"/>
                <a:gd name="T19" fmla="*/ 56 h 79"/>
                <a:gd name="T20" fmla="*/ 113 w 116"/>
                <a:gd name="T21" fmla="*/ 76 h 79"/>
                <a:gd name="T22" fmla="*/ 91 w 116"/>
                <a:gd name="T23" fmla="*/ 79 h 79"/>
                <a:gd name="T24" fmla="*/ 72 w 116"/>
                <a:gd name="T25" fmla="*/ 68 h 79"/>
                <a:gd name="T26" fmla="*/ 69 w 116"/>
                <a:gd name="T27" fmla="*/ 58 h 79"/>
                <a:gd name="T28" fmla="*/ 68 w 116"/>
                <a:gd name="T29" fmla="*/ 49 h 79"/>
                <a:gd name="T30" fmla="*/ 65 w 116"/>
                <a:gd name="T31" fmla="*/ 39 h 79"/>
                <a:gd name="T32" fmla="*/ 46 w 116"/>
                <a:gd name="T33" fmla="*/ 40 h 79"/>
                <a:gd name="T34" fmla="*/ 38 w 116"/>
                <a:gd name="T35" fmla="*/ 46 h 79"/>
                <a:gd name="T36" fmla="*/ 28 w 116"/>
                <a:gd name="T37" fmla="*/ 4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79">
                  <a:moveTo>
                    <a:pt x="28" y="48"/>
                  </a:moveTo>
                  <a:cubicBezTo>
                    <a:pt x="25" y="31"/>
                    <a:pt x="23" y="32"/>
                    <a:pt x="6" y="30"/>
                  </a:cubicBezTo>
                  <a:cubicBezTo>
                    <a:pt x="0" y="24"/>
                    <a:pt x="11" y="31"/>
                    <a:pt x="6" y="24"/>
                  </a:cubicBezTo>
                  <a:cubicBezTo>
                    <a:pt x="7" y="21"/>
                    <a:pt x="13" y="19"/>
                    <a:pt x="17" y="15"/>
                  </a:cubicBezTo>
                  <a:cubicBezTo>
                    <a:pt x="21" y="11"/>
                    <a:pt x="25" y="3"/>
                    <a:pt x="30" y="2"/>
                  </a:cubicBezTo>
                  <a:cubicBezTo>
                    <a:pt x="35" y="0"/>
                    <a:pt x="41" y="6"/>
                    <a:pt x="49" y="7"/>
                  </a:cubicBezTo>
                  <a:cubicBezTo>
                    <a:pt x="57" y="8"/>
                    <a:pt x="67" y="7"/>
                    <a:pt x="76" y="10"/>
                  </a:cubicBezTo>
                  <a:cubicBezTo>
                    <a:pt x="85" y="13"/>
                    <a:pt x="96" y="21"/>
                    <a:pt x="102" y="26"/>
                  </a:cubicBezTo>
                  <a:cubicBezTo>
                    <a:pt x="104" y="30"/>
                    <a:pt x="110" y="38"/>
                    <a:pt x="110" y="38"/>
                  </a:cubicBezTo>
                  <a:cubicBezTo>
                    <a:pt x="108" y="44"/>
                    <a:pt x="112" y="56"/>
                    <a:pt x="112" y="56"/>
                  </a:cubicBezTo>
                  <a:cubicBezTo>
                    <a:pt x="111" y="61"/>
                    <a:pt x="116" y="72"/>
                    <a:pt x="113" y="76"/>
                  </a:cubicBezTo>
                  <a:cubicBezTo>
                    <a:pt x="111" y="79"/>
                    <a:pt x="91" y="79"/>
                    <a:pt x="91" y="79"/>
                  </a:cubicBezTo>
                  <a:cubicBezTo>
                    <a:pt x="79" y="77"/>
                    <a:pt x="82" y="71"/>
                    <a:pt x="72" y="68"/>
                  </a:cubicBezTo>
                  <a:cubicBezTo>
                    <a:pt x="68" y="65"/>
                    <a:pt x="71" y="63"/>
                    <a:pt x="69" y="58"/>
                  </a:cubicBezTo>
                  <a:cubicBezTo>
                    <a:pt x="68" y="55"/>
                    <a:pt x="69" y="52"/>
                    <a:pt x="68" y="49"/>
                  </a:cubicBezTo>
                  <a:cubicBezTo>
                    <a:pt x="67" y="46"/>
                    <a:pt x="69" y="41"/>
                    <a:pt x="65" y="39"/>
                  </a:cubicBezTo>
                  <a:cubicBezTo>
                    <a:pt x="61" y="35"/>
                    <a:pt x="50" y="39"/>
                    <a:pt x="46" y="40"/>
                  </a:cubicBezTo>
                  <a:cubicBezTo>
                    <a:pt x="42" y="41"/>
                    <a:pt x="41" y="45"/>
                    <a:pt x="38" y="46"/>
                  </a:cubicBezTo>
                  <a:cubicBezTo>
                    <a:pt x="33" y="53"/>
                    <a:pt x="32" y="52"/>
                    <a:pt x="28" y="48"/>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71" name="Freeform 479"/>
            <p:cNvSpPr>
              <a:spLocks/>
            </p:cNvSpPr>
            <p:nvPr>
              <p:custDataLst>
                <p:tags r:id="rId39"/>
              </p:custDataLst>
            </p:nvPr>
          </p:nvSpPr>
          <p:spPr bwMode="gray">
            <a:xfrm>
              <a:off x="2673233" y="2944934"/>
              <a:ext cx="110085" cy="77357"/>
            </a:xfrm>
            <a:custGeom>
              <a:avLst/>
              <a:gdLst>
                <a:gd name="T0" fmla="*/ 77 w 114"/>
                <a:gd name="T1" fmla="*/ 0 h 80"/>
                <a:gd name="T2" fmla="*/ 34 w 114"/>
                <a:gd name="T3" fmla="*/ 13 h 80"/>
                <a:gd name="T4" fmla="*/ 18 w 114"/>
                <a:gd name="T5" fmla="*/ 27 h 80"/>
                <a:gd name="T6" fmla="*/ 0 w 114"/>
                <a:gd name="T7" fmla="*/ 55 h 80"/>
                <a:gd name="T8" fmla="*/ 12 w 114"/>
                <a:gd name="T9" fmla="*/ 77 h 80"/>
                <a:gd name="T10" fmla="*/ 24 w 114"/>
                <a:gd name="T11" fmla="*/ 75 h 80"/>
                <a:gd name="T12" fmla="*/ 40 w 114"/>
                <a:gd name="T13" fmla="*/ 63 h 80"/>
                <a:gd name="T14" fmla="*/ 80 w 114"/>
                <a:gd name="T15" fmla="*/ 61 h 80"/>
                <a:gd name="T16" fmla="*/ 110 w 114"/>
                <a:gd name="T17" fmla="*/ 55 h 80"/>
                <a:gd name="T18" fmla="*/ 100 w 114"/>
                <a:gd name="T19" fmla="*/ 31 h 80"/>
                <a:gd name="T20" fmla="*/ 86 w 114"/>
                <a:gd name="T21" fmla="*/ 9 h 80"/>
                <a:gd name="T22" fmla="*/ 77 w 114"/>
                <a:gd name="T2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80">
                  <a:moveTo>
                    <a:pt x="77" y="0"/>
                  </a:moveTo>
                  <a:cubicBezTo>
                    <a:pt x="58" y="2"/>
                    <a:pt x="54" y="11"/>
                    <a:pt x="34" y="13"/>
                  </a:cubicBezTo>
                  <a:cubicBezTo>
                    <a:pt x="31" y="26"/>
                    <a:pt x="30" y="24"/>
                    <a:pt x="18" y="27"/>
                  </a:cubicBezTo>
                  <a:cubicBezTo>
                    <a:pt x="7" y="35"/>
                    <a:pt x="12" y="51"/>
                    <a:pt x="0" y="55"/>
                  </a:cubicBezTo>
                  <a:cubicBezTo>
                    <a:pt x="2" y="67"/>
                    <a:pt x="0" y="73"/>
                    <a:pt x="12" y="77"/>
                  </a:cubicBezTo>
                  <a:cubicBezTo>
                    <a:pt x="15" y="80"/>
                    <a:pt x="19" y="77"/>
                    <a:pt x="24" y="75"/>
                  </a:cubicBezTo>
                  <a:cubicBezTo>
                    <a:pt x="29" y="73"/>
                    <a:pt x="31" y="65"/>
                    <a:pt x="40" y="63"/>
                  </a:cubicBezTo>
                  <a:cubicBezTo>
                    <a:pt x="53" y="62"/>
                    <a:pt x="67" y="62"/>
                    <a:pt x="80" y="61"/>
                  </a:cubicBezTo>
                  <a:cubicBezTo>
                    <a:pt x="98" y="55"/>
                    <a:pt x="88" y="57"/>
                    <a:pt x="110" y="55"/>
                  </a:cubicBezTo>
                  <a:cubicBezTo>
                    <a:pt x="114" y="44"/>
                    <a:pt x="111" y="35"/>
                    <a:pt x="100" y="31"/>
                  </a:cubicBezTo>
                  <a:cubicBezTo>
                    <a:pt x="94" y="22"/>
                    <a:pt x="95" y="15"/>
                    <a:pt x="86" y="9"/>
                  </a:cubicBezTo>
                  <a:cubicBezTo>
                    <a:pt x="81" y="2"/>
                    <a:pt x="71" y="0"/>
                    <a:pt x="77"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72" name="Freeform 480"/>
            <p:cNvSpPr>
              <a:spLocks/>
            </p:cNvSpPr>
            <p:nvPr>
              <p:custDataLst>
                <p:tags r:id="rId40"/>
              </p:custDataLst>
            </p:nvPr>
          </p:nvSpPr>
          <p:spPr bwMode="gray">
            <a:xfrm>
              <a:off x="3363492" y="2892371"/>
              <a:ext cx="145788" cy="88266"/>
            </a:xfrm>
            <a:custGeom>
              <a:avLst/>
              <a:gdLst>
                <a:gd name="T0" fmla="*/ 3 w 151"/>
                <a:gd name="T1" fmla="*/ 27 h 91"/>
                <a:gd name="T2" fmla="*/ 17 w 151"/>
                <a:gd name="T3" fmla="*/ 69 h 91"/>
                <a:gd name="T4" fmla="*/ 39 w 151"/>
                <a:gd name="T5" fmla="*/ 89 h 91"/>
                <a:gd name="T6" fmla="*/ 52 w 151"/>
                <a:gd name="T7" fmla="*/ 84 h 91"/>
                <a:gd name="T8" fmla="*/ 84 w 151"/>
                <a:gd name="T9" fmla="*/ 71 h 91"/>
                <a:gd name="T10" fmla="*/ 108 w 151"/>
                <a:gd name="T11" fmla="*/ 60 h 91"/>
                <a:gd name="T12" fmla="*/ 129 w 151"/>
                <a:gd name="T13" fmla="*/ 53 h 91"/>
                <a:gd name="T14" fmla="*/ 138 w 151"/>
                <a:gd name="T15" fmla="*/ 41 h 91"/>
                <a:gd name="T16" fmla="*/ 148 w 151"/>
                <a:gd name="T17" fmla="*/ 24 h 91"/>
                <a:gd name="T18" fmla="*/ 129 w 151"/>
                <a:gd name="T19" fmla="*/ 0 h 91"/>
                <a:gd name="T20" fmla="*/ 115 w 151"/>
                <a:gd name="T21" fmla="*/ 2 h 91"/>
                <a:gd name="T22" fmla="*/ 88 w 151"/>
                <a:gd name="T23" fmla="*/ 3 h 91"/>
                <a:gd name="T24" fmla="*/ 73 w 151"/>
                <a:gd name="T25" fmla="*/ 6 h 91"/>
                <a:gd name="T26" fmla="*/ 54 w 151"/>
                <a:gd name="T27" fmla="*/ 41 h 91"/>
                <a:gd name="T28" fmla="*/ 40 w 151"/>
                <a:gd name="T29" fmla="*/ 33 h 91"/>
                <a:gd name="T30" fmla="*/ 22 w 151"/>
                <a:gd name="T31" fmla="*/ 26 h 91"/>
                <a:gd name="T32" fmla="*/ 10 w 151"/>
                <a:gd name="T33" fmla="*/ 24 h 91"/>
                <a:gd name="T34" fmla="*/ 3 w 151"/>
                <a:gd name="T35" fmla="*/ 2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 h="91">
                  <a:moveTo>
                    <a:pt x="3" y="27"/>
                  </a:moveTo>
                  <a:cubicBezTo>
                    <a:pt x="0" y="42"/>
                    <a:pt x="12" y="55"/>
                    <a:pt x="17" y="69"/>
                  </a:cubicBezTo>
                  <a:cubicBezTo>
                    <a:pt x="17" y="79"/>
                    <a:pt x="33" y="87"/>
                    <a:pt x="39" y="89"/>
                  </a:cubicBezTo>
                  <a:cubicBezTo>
                    <a:pt x="45" y="91"/>
                    <a:pt x="45" y="87"/>
                    <a:pt x="52" y="84"/>
                  </a:cubicBezTo>
                  <a:cubicBezTo>
                    <a:pt x="68" y="74"/>
                    <a:pt x="60" y="76"/>
                    <a:pt x="84" y="71"/>
                  </a:cubicBezTo>
                  <a:cubicBezTo>
                    <a:pt x="90" y="61"/>
                    <a:pt x="97" y="62"/>
                    <a:pt x="108" y="60"/>
                  </a:cubicBezTo>
                  <a:cubicBezTo>
                    <a:pt x="114" y="56"/>
                    <a:pt x="122" y="54"/>
                    <a:pt x="129" y="53"/>
                  </a:cubicBezTo>
                  <a:cubicBezTo>
                    <a:pt x="134" y="49"/>
                    <a:pt x="135" y="46"/>
                    <a:pt x="138" y="41"/>
                  </a:cubicBezTo>
                  <a:cubicBezTo>
                    <a:pt x="140" y="31"/>
                    <a:pt x="151" y="35"/>
                    <a:pt x="148" y="24"/>
                  </a:cubicBezTo>
                  <a:cubicBezTo>
                    <a:pt x="147" y="14"/>
                    <a:pt x="139" y="5"/>
                    <a:pt x="129" y="0"/>
                  </a:cubicBezTo>
                  <a:cubicBezTo>
                    <a:pt x="124" y="1"/>
                    <a:pt x="120" y="2"/>
                    <a:pt x="115" y="2"/>
                  </a:cubicBezTo>
                  <a:cubicBezTo>
                    <a:pt x="106" y="3"/>
                    <a:pt x="97" y="2"/>
                    <a:pt x="88" y="3"/>
                  </a:cubicBezTo>
                  <a:cubicBezTo>
                    <a:pt x="83" y="3"/>
                    <a:pt x="73" y="6"/>
                    <a:pt x="73" y="6"/>
                  </a:cubicBezTo>
                  <a:cubicBezTo>
                    <a:pt x="67" y="16"/>
                    <a:pt x="64" y="33"/>
                    <a:pt x="54" y="41"/>
                  </a:cubicBezTo>
                  <a:cubicBezTo>
                    <a:pt x="48" y="40"/>
                    <a:pt x="45" y="35"/>
                    <a:pt x="40" y="33"/>
                  </a:cubicBezTo>
                  <a:cubicBezTo>
                    <a:pt x="36" y="32"/>
                    <a:pt x="22" y="26"/>
                    <a:pt x="22" y="26"/>
                  </a:cubicBezTo>
                  <a:cubicBezTo>
                    <a:pt x="17" y="17"/>
                    <a:pt x="19" y="22"/>
                    <a:pt x="10" y="24"/>
                  </a:cubicBezTo>
                  <a:cubicBezTo>
                    <a:pt x="5" y="26"/>
                    <a:pt x="7" y="26"/>
                    <a:pt x="3" y="27"/>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73" name="Freeform 481"/>
            <p:cNvSpPr>
              <a:spLocks/>
            </p:cNvSpPr>
            <p:nvPr>
              <p:custDataLst>
                <p:tags r:id="rId41"/>
              </p:custDataLst>
            </p:nvPr>
          </p:nvSpPr>
          <p:spPr bwMode="gray">
            <a:xfrm>
              <a:off x="3262334" y="2900305"/>
              <a:ext cx="106118" cy="101159"/>
            </a:xfrm>
            <a:custGeom>
              <a:avLst/>
              <a:gdLst>
                <a:gd name="T0" fmla="*/ 36 w 110"/>
                <a:gd name="T1" fmla="*/ 0 h 104"/>
                <a:gd name="T2" fmla="*/ 60 w 110"/>
                <a:gd name="T3" fmla="*/ 18 h 104"/>
                <a:gd name="T4" fmla="*/ 91 w 110"/>
                <a:gd name="T5" fmla="*/ 46 h 104"/>
                <a:gd name="T6" fmla="*/ 109 w 110"/>
                <a:gd name="T7" fmla="*/ 96 h 104"/>
                <a:gd name="T8" fmla="*/ 94 w 110"/>
                <a:gd name="T9" fmla="*/ 100 h 104"/>
                <a:gd name="T10" fmla="*/ 84 w 110"/>
                <a:gd name="T11" fmla="*/ 91 h 104"/>
                <a:gd name="T12" fmla="*/ 87 w 110"/>
                <a:gd name="T13" fmla="*/ 78 h 104"/>
                <a:gd name="T14" fmla="*/ 82 w 110"/>
                <a:gd name="T15" fmla="*/ 54 h 104"/>
                <a:gd name="T16" fmla="*/ 13 w 110"/>
                <a:gd name="T17" fmla="*/ 54 h 104"/>
                <a:gd name="T18" fmla="*/ 36 w 110"/>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 h="104">
                  <a:moveTo>
                    <a:pt x="36" y="0"/>
                  </a:moveTo>
                  <a:cubicBezTo>
                    <a:pt x="57" y="2"/>
                    <a:pt x="40" y="13"/>
                    <a:pt x="60" y="18"/>
                  </a:cubicBezTo>
                  <a:cubicBezTo>
                    <a:pt x="67" y="26"/>
                    <a:pt x="84" y="36"/>
                    <a:pt x="91" y="46"/>
                  </a:cubicBezTo>
                  <a:cubicBezTo>
                    <a:pt x="99" y="59"/>
                    <a:pt x="108" y="87"/>
                    <a:pt x="109" y="96"/>
                  </a:cubicBezTo>
                  <a:cubicBezTo>
                    <a:pt x="110" y="104"/>
                    <a:pt x="98" y="101"/>
                    <a:pt x="94" y="100"/>
                  </a:cubicBezTo>
                  <a:cubicBezTo>
                    <a:pt x="90" y="99"/>
                    <a:pt x="85" y="95"/>
                    <a:pt x="84" y="91"/>
                  </a:cubicBezTo>
                  <a:cubicBezTo>
                    <a:pt x="83" y="87"/>
                    <a:pt x="87" y="84"/>
                    <a:pt x="87" y="78"/>
                  </a:cubicBezTo>
                  <a:cubicBezTo>
                    <a:pt x="87" y="72"/>
                    <a:pt x="94" y="58"/>
                    <a:pt x="82" y="54"/>
                  </a:cubicBezTo>
                  <a:cubicBezTo>
                    <a:pt x="61" y="65"/>
                    <a:pt x="36" y="59"/>
                    <a:pt x="13" y="54"/>
                  </a:cubicBezTo>
                  <a:cubicBezTo>
                    <a:pt x="0" y="33"/>
                    <a:pt x="15" y="7"/>
                    <a:pt x="36"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74" name="Freeform 482"/>
            <p:cNvSpPr>
              <a:spLocks/>
            </p:cNvSpPr>
            <p:nvPr>
              <p:custDataLst>
                <p:tags r:id="rId42"/>
              </p:custDataLst>
            </p:nvPr>
          </p:nvSpPr>
          <p:spPr bwMode="gray">
            <a:xfrm>
              <a:off x="2510586" y="2768402"/>
              <a:ext cx="175540" cy="183474"/>
            </a:xfrm>
            <a:custGeom>
              <a:avLst/>
              <a:gdLst>
                <a:gd name="T0" fmla="*/ 176 w 182"/>
                <a:gd name="T1" fmla="*/ 26 h 190"/>
                <a:gd name="T2" fmla="*/ 156 w 182"/>
                <a:gd name="T3" fmla="*/ 28 h 190"/>
                <a:gd name="T4" fmla="*/ 156 w 182"/>
                <a:gd name="T5" fmla="*/ 82 h 190"/>
                <a:gd name="T6" fmla="*/ 166 w 182"/>
                <a:gd name="T7" fmla="*/ 174 h 190"/>
                <a:gd name="T8" fmla="*/ 62 w 182"/>
                <a:gd name="T9" fmla="*/ 178 h 190"/>
                <a:gd name="T10" fmla="*/ 29 w 182"/>
                <a:gd name="T11" fmla="*/ 161 h 190"/>
                <a:gd name="T12" fmla="*/ 6 w 182"/>
                <a:gd name="T13" fmla="*/ 160 h 190"/>
                <a:gd name="T14" fmla="*/ 6 w 182"/>
                <a:gd name="T15" fmla="*/ 128 h 190"/>
                <a:gd name="T16" fmla="*/ 0 w 182"/>
                <a:gd name="T17" fmla="*/ 104 h 190"/>
                <a:gd name="T18" fmla="*/ 56 w 182"/>
                <a:gd name="T19" fmla="*/ 84 h 190"/>
                <a:gd name="T20" fmla="*/ 54 w 182"/>
                <a:gd name="T21" fmla="*/ 62 h 190"/>
                <a:gd name="T22" fmla="*/ 72 w 182"/>
                <a:gd name="T23" fmla="*/ 48 h 190"/>
                <a:gd name="T24" fmla="*/ 74 w 182"/>
                <a:gd name="T25" fmla="*/ 12 h 190"/>
                <a:gd name="T26" fmla="*/ 118 w 182"/>
                <a:gd name="T27" fmla="*/ 12 h 190"/>
                <a:gd name="T28" fmla="*/ 134 w 182"/>
                <a:gd name="T29" fmla="*/ 0 h 190"/>
                <a:gd name="T30" fmla="*/ 158 w 182"/>
                <a:gd name="T31" fmla="*/ 14 h 190"/>
                <a:gd name="T32" fmla="*/ 176 w 182"/>
                <a:gd name="T33" fmla="*/ 2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2" h="190">
                  <a:moveTo>
                    <a:pt x="176" y="26"/>
                  </a:moveTo>
                  <a:cubicBezTo>
                    <a:pt x="169" y="27"/>
                    <a:pt x="162" y="26"/>
                    <a:pt x="156" y="28"/>
                  </a:cubicBezTo>
                  <a:cubicBezTo>
                    <a:pt x="139" y="34"/>
                    <a:pt x="155" y="64"/>
                    <a:pt x="156" y="82"/>
                  </a:cubicBezTo>
                  <a:cubicBezTo>
                    <a:pt x="150" y="98"/>
                    <a:pt x="182" y="158"/>
                    <a:pt x="166" y="174"/>
                  </a:cubicBezTo>
                  <a:cubicBezTo>
                    <a:pt x="150" y="190"/>
                    <a:pt x="85" y="180"/>
                    <a:pt x="62" y="178"/>
                  </a:cubicBezTo>
                  <a:cubicBezTo>
                    <a:pt x="52" y="175"/>
                    <a:pt x="41" y="162"/>
                    <a:pt x="29" y="161"/>
                  </a:cubicBezTo>
                  <a:cubicBezTo>
                    <a:pt x="20" y="160"/>
                    <a:pt x="15" y="161"/>
                    <a:pt x="6" y="160"/>
                  </a:cubicBezTo>
                  <a:cubicBezTo>
                    <a:pt x="8" y="144"/>
                    <a:pt x="11" y="143"/>
                    <a:pt x="6" y="128"/>
                  </a:cubicBezTo>
                  <a:cubicBezTo>
                    <a:pt x="3" y="120"/>
                    <a:pt x="0" y="104"/>
                    <a:pt x="0" y="104"/>
                  </a:cubicBezTo>
                  <a:cubicBezTo>
                    <a:pt x="4" y="75"/>
                    <a:pt x="19" y="87"/>
                    <a:pt x="56" y="84"/>
                  </a:cubicBezTo>
                  <a:cubicBezTo>
                    <a:pt x="61" y="74"/>
                    <a:pt x="60" y="71"/>
                    <a:pt x="54" y="62"/>
                  </a:cubicBezTo>
                  <a:cubicBezTo>
                    <a:pt x="57" y="50"/>
                    <a:pt x="60" y="50"/>
                    <a:pt x="72" y="48"/>
                  </a:cubicBezTo>
                  <a:cubicBezTo>
                    <a:pt x="73" y="36"/>
                    <a:pt x="65" y="19"/>
                    <a:pt x="74" y="12"/>
                  </a:cubicBezTo>
                  <a:cubicBezTo>
                    <a:pt x="81" y="4"/>
                    <a:pt x="104" y="12"/>
                    <a:pt x="118" y="12"/>
                  </a:cubicBezTo>
                  <a:cubicBezTo>
                    <a:pt x="128" y="10"/>
                    <a:pt x="127" y="0"/>
                    <a:pt x="134" y="0"/>
                  </a:cubicBezTo>
                  <a:cubicBezTo>
                    <a:pt x="141" y="0"/>
                    <a:pt x="151" y="10"/>
                    <a:pt x="158" y="14"/>
                  </a:cubicBezTo>
                  <a:cubicBezTo>
                    <a:pt x="163" y="22"/>
                    <a:pt x="167" y="24"/>
                    <a:pt x="176" y="26"/>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75" name="Freeform 483"/>
            <p:cNvSpPr>
              <a:spLocks/>
            </p:cNvSpPr>
            <p:nvPr>
              <p:custDataLst>
                <p:tags r:id="rId43"/>
              </p:custDataLst>
            </p:nvPr>
          </p:nvSpPr>
          <p:spPr bwMode="gray">
            <a:xfrm>
              <a:off x="3490436" y="2796171"/>
              <a:ext cx="114052" cy="126944"/>
            </a:xfrm>
            <a:custGeom>
              <a:avLst/>
              <a:gdLst>
                <a:gd name="T0" fmla="*/ 53 w 120"/>
                <a:gd name="T1" fmla="*/ 37 h 131"/>
                <a:gd name="T2" fmla="*/ 69 w 120"/>
                <a:gd name="T3" fmla="*/ 0 h 131"/>
                <a:gd name="T4" fmla="*/ 113 w 120"/>
                <a:gd name="T5" fmla="*/ 22 h 131"/>
                <a:gd name="T6" fmla="*/ 120 w 120"/>
                <a:gd name="T7" fmla="*/ 40 h 131"/>
                <a:gd name="T8" fmla="*/ 111 w 120"/>
                <a:gd name="T9" fmla="*/ 64 h 131"/>
                <a:gd name="T10" fmla="*/ 90 w 120"/>
                <a:gd name="T11" fmla="*/ 75 h 131"/>
                <a:gd name="T12" fmla="*/ 75 w 120"/>
                <a:gd name="T13" fmla="*/ 99 h 131"/>
                <a:gd name="T14" fmla="*/ 51 w 120"/>
                <a:gd name="T15" fmla="*/ 118 h 131"/>
                <a:gd name="T16" fmla="*/ 30 w 120"/>
                <a:gd name="T17" fmla="*/ 127 h 131"/>
                <a:gd name="T18" fmla="*/ 14 w 120"/>
                <a:gd name="T19" fmla="*/ 120 h 131"/>
                <a:gd name="T20" fmla="*/ 3 w 120"/>
                <a:gd name="T21" fmla="*/ 102 h 131"/>
                <a:gd name="T22" fmla="*/ 26 w 120"/>
                <a:gd name="T23" fmla="*/ 88 h 131"/>
                <a:gd name="T24" fmla="*/ 41 w 120"/>
                <a:gd name="T25" fmla="*/ 75 h 131"/>
                <a:gd name="T26" fmla="*/ 53 w 120"/>
                <a:gd name="T27" fmla="*/ 3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31">
                  <a:moveTo>
                    <a:pt x="53" y="37"/>
                  </a:moveTo>
                  <a:cubicBezTo>
                    <a:pt x="55" y="24"/>
                    <a:pt x="58" y="9"/>
                    <a:pt x="69" y="0"/>
                  </a:cubicBezTo>
                  <a:cubicBezTo>
                    <a:pt x="76" y="20"/>
                    <a:pt x="95" y="19"/>
                    <a:pt x="113" y="22"/>
                  </a:cubicBezTo>
                  <a:cubicBezTo>
                    <a:pt x="114" y="31"/>
                    <a:pt x="115" y="33"/>
                    <a:pt x="120" y="40"/>
                  </a:cubicBezTo>
                  <a:cubicBezTo>
                    <a:pt x="119" y="51"/>
                    <a:pt x="117" y="55"/>
                    <a:pt x="111" y="64"/>
                  </a:cubicBezTo>
                  <a:cubicBezTo>
                    <a:pt x="109" y="74"/>
                    <a:pt x="99" y="73"/>
                    <a:pt x="90" y="75"/>
                  </a:cubicBezTo>
                  <a:cubicBezTo>
                    <a:pt x="87" y="91"/>
                    <a:pt x="93" y="96"/>
                    <a:pt x="75" y="99"/>
                  </a:cubicBezTo>
                  <a:cubicBezTo>
                    <a:pt x="74" y="108"/>
                    <a:pt x="61" y="116"/>
                    <a:pt x="51" y="118"/>
                  </a:cubicBezTo>
                  <a:cubicBezTo>
                    <a:pt x="43" y="122"/>
                    <a:pt x="39" y="126"/>
                    <a:pt x="30" y="127"/>
                  </a:cubicBezTo>
                  <a:cubicBezTo>
                    <a:pt x="22" y="131"/>
                    <a:pt x="20" y="124"/>
                    <a:pt x="14" y="120"/>
                  </a:cubicBezTo>
                  <a:cubicBezTo>
                    <a:pt x="10" y="113"/>
                    <a:pt x="7" y="109"/>
                    <a:pt x="3" y="102"/>
                  </a:cubicBezTo>
                  <a:cubicBezTo>
                    <a:pt x="0" y="88"/>
                    <a:pt x="16" y="89"/>
                    <a:pt x="26" y="88"/>
                  </a:cubicBezTo>
                  <a:cubicBezTo>
                    <a:pt x="32" y="83"/>
                    <a:pt x="33" y="77"/>
                    <a:pt x="41" y="75"/>
                  </a:cubicBezTo>
                  <a:cubicBezTo>
                    <a:pt x="56" y="64"/>
                    <a:pt x="54" y="59"/>
                    <a:pt x="53" y="37"/>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76" name="Freeform 484"/>
            <p:cNvSpPr>
              <a:spLocks/>
            </p:cNvSpPr>
            <p:nvPr>
              <p:custDataLst>
                <p:tags r:id="rId44"/>
              </p:custDataLst>
            </p:nvPr>
          </p:nvSpPr>
          <p:spPr bwMode="gray">
            <a:xfrm>
              <a:off x="3484486" y="2765426"/>
              <a:ext cx="74382" cy="70415"/>
            </a:xfrm>
            <a:custGeom>
              <a:avLst/>
              <a:gdLst>
                <a:gd name="T0" fmla="*/ 7 w 78"/>
                <a:gd name="T1" fmla="*/ 44 h 73"/>
                <a:gd name="T2" fmla="*/ 43 w 78"/>
                <a:gd name="T3" fmla="*/ 39 h 73"/>
                <a:gd name="T4" fmla="*/ 59 w 78"/>
                <a:gd name="T5" fmla="*/ 18 h 73"/>
                <a:gd name="T6" fmla="*/ 74 w 78"/>
                <a:gd name="T7" fmla="*/ 0 h 73"/>
                <a:gd name="T8" fmla="*/ 76 w 78"/>
                <a:gd name="T9" fmla="*/ 32 h 73"/>
                <a:gd name="T10" fmla="*/ 67 w 78"/>
                <a:gd name="T11" fmla="*/ 38 h 73"/>
                <a:gd name="T12" fmla="*/ 64 w 78"/>
                <a:gd name="T13" fmla="*/ 54 h 73"/>
                <a:gd name="T14" fmla="*/ 53 w 78"/>
                <a:gd name="T15" fmla="*/ 69 h 73"/>
                <a:gd name="T16" fmla="*/ 14 w 78"/>
                <a:gd name="T17" fmla="*/ 66 h 73"/>
                <a:gd name="T18" fmla="*/ 5 w 78"/>
                <a:gd name="T19" fmla="*/ 57 h 73"/>
                <a:gd name="T20" fmla="*/ 4 w 78"/>
                <a:gd name="T21" fmla="*/ 47 h 73"/>
                <a:gd name="T22" fmla="*/ 7 w 78"/>
                <a:gd name="T23" fmla="*/ 4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73">
                  <a:moveTo>
                    <a:pt x="7" y="44"/>
                  </a:moveTo>
                  <a:cubicBezTo>
                    <a:pt x="21" y="34"/>
                    <a:pt x="3" y="46"/>
                    <a:pt x="43" y="39"/>
                  </a:cubicBezTo>
                  <a:cubicBezTo>
                    <a:pt x="47" y="38"/>
                    <a:pt x="55" y="21"/>
                    <a:pt x="59" y="18"/>
                  </a:cubicBezTo>
                  <a:cubicBezTo>
                    <a:pt x="65" y="19"/>
                    <a:pt x="76" y="3"/>
                    <a:pt x="74" y="0"/>
                  </a:cubicBezTo>
                  <a:cubicBezTo>
                    <a:pt x="75" y="1"/>
                    <a:pt x="76" y="31"/>
                    <a:pt x="76" y="32"/>
                  </a:cubicBezTo>
                  <a:cubicBezTo>
                    <a:pt x="72" y="48"/>
                    <a:pt x="78" y="36"/>
                    <a:pt x="67" y="38"/>
                  </a:cubicBezTo>
                  <a:cubicBezTo>
                    <a:pt x="65" y="42"/>
                    <a:pt x="66" y="49"/>
                    <a:pt x="64" y="54"/>
                  </a:cubicBezTo>
                  <a:cubicBezTo>
                    <a:pt x="62" y="59"/>
                    <a:pt x="61" y="67"/>
                    <a:pt x="53" y="69"/>
                  </a:cubicBezTo>
                  <a:cubicBezTo>
                    <a:pt x="45" y="73"/>
                    <a:pt x="22" y="68"/>
                    <a:pt x="14" y="66"/>
                  </a:cubicBezTo>
                  <a:cubicBezTo>
                    <a:pt x="6" y="64"/>
                    <a:pt x="7" y="60"/>
                    <a:pt x="5" y="57"/>
                  </a:cubicBezTo>
                  <a:cubicBezTo>
                    <a:pt x="3" y="53"/>
                    <a:pt x="0" y="51"/>
                    <a:pt x="4" y="47"/>
                  </a:cubicBezTo>
                  <a:cubicBezTo>
                    <a:pt x="7" y="44"/>
                    <a:pt x="9" y="46"/>
                    <a:pt x="7" y="4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77" name="Freeform 485"/>
            <p:cNvSpPr>
              <a:spLocks/>
            </p:cNvSpPr>
            <p:nvPr>
              <p:custDataLst>
                <p:tags r:id="rId45"/>
              </p:custDataLst>
            </p:nvPr>
          </p:nvSpPr>
          <p:spPr bwMode="gray">
            <a:xfrm>
              <a:off x="3465643" y="2774353"/>
              <a:ext cx="28761" cy="30745"/>
            </a:xfrm>
            <a:custGeom>
              <a:avLst/>
              <a:gdLst>
                <a:gd name="T0" fmla="*/ 11 w 30"/>
                <a:gd name="T1" fmla="*/ 9 h 32"/>
                <a:gd name="T2" fmla="*/ 24 w 30"/>
                <a:gd name="T3" fmla="*/ 0 h 32"/>
                <a:gd name="T4" fmla="*/ 15 w 30"/>
                <a:gd name="T5" fmla="*/ 20 h 32"/>
                <a:gd name="T6" fmla="*/ 11 w 30"/>
                <a:gd name="T7" fmla="*/ 9 h 32"/>
              </a:gdLst>
              <a:ahLst/>
              <a:cxnLst>
                <a:cxn ang="0">
                  <a:pos x="T0" y="T1"/>
                </a:cxn>
                <a:cxn ang="0">
                  <a:pos x="T2" y="T3"/>
                </a:cxn>
                <a:cxn ang="0">
                  <a:pos x="T4" y="T5"/>
                </a:cxn>
                <a:cxn ang="0">
                  <a:pos x="T6" y="T7"/>
                </a:cxn>
              </a:cxnLst>
              <a:rect l="0" t="0" r="r" b="b"/>
              <a:pathLst>
                <a:path w="30" h="32">
                  <a:moveTo>
                    <a:pt x="11" y="9"/>
                  </a:moveTo>
                  <a:cubicBezTo>
                    <a:pt x="12" y="0"/>
                    <a:pt x="16" y="3"/>
                    <a:pt x="24" y="0"/>
                  </a:cubicBezTo>
                  <a:cubicBezTo>
                    <a:pt x="29" y="13"/>
                    <a:pt x="30" y="32"/>
                    <a:pt x="15" y="20"/>
                  </a:cubicBezTo>
                  <a:cubicBezTo>
                    <a:pt x="11" y="14"/>
                    <a:pt x="0" y="7"/>
                    <a:pt x="11" y="9"/>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78" name="Freeform 487"/>
            <p:cNvSpPr>
              <a:spLocks/>
            </p:cNvSpPr>
            <p:nvPr>
              <p:custDataLst>
                <p:tags r:id="rId46"/>
              </p:custDataLst>
            </p:nvPr>
          </p:nvSpPr>
          <p:spPr bwMode="gray">
            <a:xfrm>
              <a:off x="2920180" y="3245434"/>
              <a:ext cx="176532" cy="183474"/>
            </a:xfrm>
            <a:custGeom>
              <a:avLst/>
              <a:gdLst>
                <a:gd name="T0" fmla="*/ 0 w 183"/>
                <a:gd name="T1" fmla="*/ 174 h 190"/>
                <a:gd name="T2" fmla="*/ 10 w 183"/>
                <a:gd name="T3" fmla="*/ 129 h 190"/>
                <a:gd name="T4" fmla="*/ 15 w 183"/>
                <a:gd name="T5" fmla="*/ 112 h 190"/>
                <a:gd name="T6" fmla="*/ 28 w 183"/>
                <a:gd name="T7" fmla="*/ 97 h 190"/>
                <a:gd name="T8" fmla="*/ 22 w 183"/>
                <a:gd name="T9" fmla="*/ 69 h 190"/>
                <a:gd name="T10" fmla="*/ 22 w 183"/>
                <a:gd name="T11" fmla="*/ 34 h 190"/>
                <a:gd name="T12" fmla="*/ 12 w 183"/>
                <a:gd name="T13" fmla="*/ 16 h 190"/>
                <a:gd name="T14" fmla="*/ 30 w 183"/>
                <a:gd name="T15" fmla="*/ 4 h 190"/>
                <a:gd name="T16" fmla="*/ 60 w 183"/>
                <a:gd name="T17" fmla="*/ 1 h 190"/>
                <a:gd name="T18" fmla="*/ 70 w 183"/>
                <a:gd name="T19" fmla="*/ 3 h 190"/>
                <a:gd name="T20" fmla="*/ 79 w 183"/>
                <a:gd name="T21" fmla="*/ 28 h 190"/>
                <a:gd name="T22" fmla="*/ 103 w 183"/>
                <a:gd name="T23" fmla="*/ 31 h 190"/>
                <a:gd name="T24" fmla="*/ 123 w 183"/>
                <a:gd name="T25" fmla="*/ 25 h 190"/>
                <a:gd name="T26" fmla="*/ 144 w 183"/>
                <a:gd name="T27" fmla="*/ 30 h 190"/>
                <a:gd name="T28" fmla="*/ 151 w 183"/>
                <a:gd name="T29" fmla="*/ 42 h 190"/>
                <a:gd name="T30" fmla="*/ 150 w 183"/>
                <a:gd name="T31" fmla="*/ 58 h 190"/>
                <a:gd name="T32" fmla="*/ 157 w 183"/>
                <a:gd name="T33" fmla="*/ 78 h 190"/>
                <a:gd name="T34" fmla="*/ 180 w 183"/>
                <a:gd name="T35" fmla="*/ 81 h 190"/>
                <a:gd name="T36" fmla="*/ 175 w 183"/>
                <a:gd name="T37" fmla="*/ 103 h 190"/>
                <a:gd name="T38" fmla="*/ 151 w 183"/>
                <a:gd name="T39" fmla="*/ 109 h 190"/>
                <a:gd name="T40" fmla="*/ 145 w 183"/>
                <a:gd name="T41" fmla="*/ 139 h 190"/>
                <a:gd name="T42" fmla="*/ 151 w 183"/>
                <a:gd name="T43" fmla="*/ 178 h 190"/>
                <a:gd name="T44" fmla="*/ 97 w 183"/>
                <a:gd name="T45" fmla="*/ 180 h 190"/>
                <a:gd name="T46" fmla="*/ 37 w 183"/>
                <a:gd name="T47" fmla="*/ 183 h 190"/>
                <a:gd name="T48" fmla="*/ 0 w 183"/>
                <a:gd name="T49" fmla="*/ 17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90">
                  <a:moveTo>
                    <a:pt x="0" y="174"/>
                  </a:moveTo>
                  <a:cubicBezTo>
                    <a:pt x="1" y="156"/>
                    <a:pt x="0" y="143"/>
                    <a:pt x="10" y="129"/>
                  </a:cubicBezTo>
                  <a:cubicBezTo>
                    <a:pt x="8" y="120"/>
                    <a:pt x="6" y="118"/>
                    <a:pt x="15" y="112"/>
                  </a:cubicBezTo>
                  <a:cubicBezTo>
                    <a:pt x="19" y="107"/>
                    <a:pt x="23" y="101"/>
                    <a:pt x="28" y="97"/>
                  </a:cubicBezTo>
                  <a:cubicBezTo>
                    <a:pt x="26" y="87"/>
                    <a:pt x="28" y="77"/>
                    <a:pt x="22" y="69"/>
                  </a:cubicBezTo>
                  <a:cubicBezTo>
                    <a:pt x="20" y="57"/>
                    <a:pt x="20" y="47"/>
                    <a:pt x="22" y="34"/>
                  </a:cubicBezTo>
                  <a:cubicBezTo>
                    <a:pt x="17" y="28"/>
                    <a:pt x="19" y="21"/>
                    <a:pt x="12" y="16"/>
                  </a:cubicBezTo>
                  <a:cubicBezTo>
                    <a:pt x="13" y="10"/>
                    <a:pt x="22" y="6"/>
                    <a:pt x="30" y="4"/>
                  </a:cubicBezTo>
                  <a:cubicBezTo>
                    <a:pt x="38" y="2"/>
                    <a:pt x="53" y="1"/>
                    <a:pt x="60" y="1"/>
                  </a:cubicBezTo>
                  <a:cubicBezTo>
                    <a:pt x="63" y="2"/>
                    <a:pt x="68" y="0"/>
                    <a:pt x="70" y="3"/>
                  </a:cubicBezTo>
                  <a:cubicBezTo>
                    <a:pt x="73" y="6"/>
                    <a:pt x="74" y="23"/>
                    <a:pt x="79" y="28"/>
                  </a:cubicBezTo>
                  <a:cubicBezTo>
                    <a:pt x="84" y="33"/>
                    <a:pt x="96" y="32"/>
                    <a:pt x="103" y="31"/>
                  </a:cubicBezTo>
                  <a:cubicBezTo>
                    <a:pt x="118" y="29"/>
                    <a:pt x="112" y="33"/>
                    <a:pt x="123" y="25"/>
                  </a:cubicBezTo>
                  <a:cubicBezTo>
                    <a:pt x="133" y="26"/>
                    <a:pt x="139" y="21"/>
                    <a:pt x="144" y="30"/>
                  </a:cubicBezTo>
                  <a:cubicBezTo>
                    <a:pt x="149" y="34"/>
                    <a:pt x="150" y="37"/>
                    <a:pt x="151" y="42"/>
                  </a:cubicBezTo>
                  <a:cubicBezTo>
                    <a:pt x="152" y="47"/>
                    <a:pt x="149" y="52"/>
                    <a:pt x="150" y="58"/>
                  </a:cubicBezTo>
                  <a:cubicBezTo>
                    <a:pt x="153" y="65"/>
                    <a:pt x="152" y="74"/>
                    <a:pt x="157" y="78"/>
                  </a:cubicBezTo>
                  <a:cubicBezTo>
                    <a:pt x="162" y="82"/>
                    <a:pt x="177" y="77"/>
                    <a:pt x="180" y="81"/>
                  </a:cubicBezTo>
                  <a:cubicBezTo>
                    <a:pt x="183" y="85"/>
                    <a:pt x="180" y="98"/>
                    <a:pt x="175" y="103"/>
                  </a:cubicBezTo>
                  <a:cubicBezTo>
                    <a:pt x="168" y="107"/>
                    <a:pt x="159" y="108"/>
                    <a:pt x="151" y="109"/>
                  </a:cubicBezTo>
                  <a:cubicBezTo>
                    <a:pt x="146" y="115"/>
                    <a:pt x="145" y="128"/>
                    <a:pt x="145" y="139"/>
                  </a:cubicBezTo>
                  <a:cubicBezTo>
                    <a:pt x="145" y="150"/>
                    <a:pt x="159" y="171"/>
                    <a:pt x="151" y="178"/>
                  </a:cubicBezTo>
                  <a:cubicBezTo>
                    <a:pt x="143" y="190"/>
                    <a:pt x="118" y="179"/>
                    <a:pt x="97" y="180"/>
                  </a:cubicBezTo>
                  <a:cubicBezTo>
                    <a:pt x="77" y="170"/>
                    <a:pt x="59" y="185"/>
                    <a:pt x="37" y="183"/>
                  </a:cubicBezTo>
                  <a:cubicBezTo>
                    <a:pt x="19" y="176"/>
                    <a:pt x="31" y="167"/>
                    <a:pt x="0" y="17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79" name="Freeform 488"/>
            <p:cNvSpPr>
              <a:spLocks/>
            </p:cNvSpPr>
            <p:nvPr>
              <p:custDataLst>
                <p:tags r:id="rId47"/>
              </p:custDataLst>
            </p:nvPr>
          </p:nvSpPr>
          <p:spPr bwMode="gray">
            <a:xfrm>
              <a:off x="2877534" y="2997496"/>
              <a:ext cx="102151" cy="140829"/>
            </a:xfrm>
            <a:custGeom>
              <a:avLst/>
              <a:gdLst>
                <a:gd name="T0" fmla="*/ 17 w 106"/>
                <a:gd name="T1" fmla="*/ 143 h 146"/>
                <a:gd name="T2" fmla="*/ 6 w 106"/>
                <a:gd name="T3" fmla="*/ 119 h 146"/>
                <a:gd name="T4" fmla="*/ 0 w 106"/>
                <a:gd name="T5" fmla="*/ 96 h 146"/>
                <a:gd name="T6" fmla="*/ 17 w 106"/>
                <a:gd name="T7" fmla="*/ 77 h 146"/>
                <a:gd name="T8" fmla="*/ 30 w 106"/>
                <a:gd name="T9" fmla="*/ 68 h 146"/>
                <a:gd name="T10" fmla="*/ 42 w 106"/>
                <a:gd name="T11" fmla="*/ 72 h 146"/>
                <a:gd name="T12" fmla="*/ 54 w 106"/>
                <a:gd name="T13" fmla="*/ 47 h 146"/>
                <a:gd name="T14" fmla="*/ 62 w 106"/>
                <a:gd name="T15" fmla="*/ 33 h 146"/>
                <a:gd name="T16" fmla="*/ 68 w 106"/>
                <a:gd name="T17" fmla="*/ 18 h 146"/>
                <a:gd name="T18" fmla="*/ 80 w 106"/>
                <a:gd name="T19" fmla="*/ 2 h 146"/>
                <a:gd name="T20" fmla="*/ 89 w 106"/>
                <a:gd name="T21" fmla="*/ 6 h 146"/>
                <a:gd name="T22" fmla="*/ 96 w 106"/>
                <a:gd name="T23" fmla="*/ 18 h 146"/>
                <a:gd name="T24" fmla="*/ 83 w 106"/>
                <a:gd name="T25" fmla="*/ 27 h 146"/>
                <a:gd name="T26" fmla="*/ 98 w 106"/>
                <a:gd name="T27" fmla="*/ 60 h 146"/>
                <a:gd name="T28" fmla="*/ 89 w 106"/>
                <a:gd name="T29" fmla="*/ 72 h 146"/>
                <a:gd name="T30" fmla="*/ 92 w 106"/>
                <a:gd name="T31" fmla="*/ 98 h 146"/>
                <a:gd name="T32" fmla="*/ 96 w 106"/>
                <a:gd name="T33" fmla="*/ 113 h 146"/>
                <a:gd name="T34" fmla="*/ 95 w 106"/>
                <a:gd name="T35" fmla="*/ 120 h 146"/>
                <a:gd name="T36" fmla="*/ 104 w 106"/>
                <a:gd name="T37" fmla="*/ 126 h 146"/>
                <a:gd name="T38" fmla="*/ 80 w 106"/>
                <a:gd name="T39" fmla="*/ 140 h 146"/>
                <a:gd name="T40" fmla="*/ 17 w 106"/>
                <a:gd name="T41" fmla="*/ 1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146">
                  <a:moveTo>
                    <a:pt x="17" y="143"/>
                  </a:moveTo>
                  <a:cubicBezTo>
                    <a:pt x="15" y="127"/>
                    <a:pt x="20" y="122"/>
                    <a:pt x="6" y="119"/>
                  </a:cubicBezTo>
                  <a:cubicBezTo>
                    <a:pt x="2" y="112"/>
                    <a:pt x="0" y="96"/>
                    <a:pt x="0" y="96"/>
                  </a:cubicBezTo>
                  <a:cubicBezTo>
                    <a:pt x="2" y="78"/>
                    <a:pt x="0" y="79"/>
                    <a:pt x="17" y="77"/>
                  </a:cubicBezTo>
                  <a:cubicBezTo>
                    <a:pt x="21" y="70"/>
                    <a:pt x="22" y="69"/>
                    <a:pt x="30" y="68"/>
                  </a:cubicBezTo>
                  <a:cubicBezTo>
                    <a:pt x="36" y="72"/>
                    <a:pt x="36" y="77"/>
                    <a:pt x="42" y="72"/>
                  </a:cubicBezTo>
                  <a:cubicBezTo>
                    <a:pt x="47" y="57"/>
                    <a:pt x="42" y="56"/>
                    <a:pt x="54" y="47"/>
                  </a:cubicBezTo>
                  <a:cubicBezTo>
                    <a:pt x="57" y="40"/>
                    <a:pt x="55" y="37"/>
                    <a:pt x="62" y="33"/>
                  </a:cubicBezTo>
                  <a:cubicBezTo>
                    <a:pt x="63" y="27"/>
                    <a:pt x="66" y="24"/>
                    <a:pt x="68" y="18"/>
                  </a:cubicBezTo>
                  <a:cubicBezTo>
                    <a:pt x="69" y="1"/>
                    <a:pt x="69" y="9"/>
                    <a:pt x="80" y="2"/>
                  </a:cubicBezTo>
                  <a:cubicBezTo>
                    <a:pt x="84" y="0"/>
                    <a:pt x="86" y="3"/>
                    <a:pt x="89" y="6"/>
                  </a:cubicBezTo>
                  <a:cubicBezTo>
                    <a:pt x="92" y="9"/>
                    <a:pt x="97" y="15"/>
                    <a:pt x="96" y="18"/>
                  </a:cubicBezTo>
                  <a:cubicBezTo>
                    <a:pt x="90" y="21"/>
                    <a:pt x="90" y="26"/>
                    <a:pt x="83" y="27"/>
                  </a:cubicBezTo>
                  <a:cubicBezTo>
                    <a:pt x="83" y="34"/>
                    <a:pt x="97" y="53"/>
                    <a:pt x="98" y="60"/>
                  </a:cubicBezTo>
                  <a:cubicBezTo>
                    <a:pt x="99" y="67"/>
                    <a:pt x="90" y="66"/>
                    <a:pt x="89" y="72"/>
                  </a:cubicBezTo>
                  <a:cubicBezTo>
                    <a:pt x="87" y="80"/>
                    <a:pt x="92" y="92"/>
                    <a:pt x="92" y="98"/>
                  </a:cubicBezTo>
                  <a:cubicBezTo>
                    <a:pt x="93" y="105"/>
                    <a:pt x="96" y="109"/>
                    <a:pt x="96" y="113"/>
                  </a:cubicBezTo>
                  <a:cubicBezTo>
                    <a:pt x="97" y="121"/>
                    <a:pt x="94" y="118"/>
                    <a:pt x="95" y="120"/>
                  </a:cubicBezTo>
                  <a:cubicBezTo>
                    <a:pt x="96" y="122"/>
                    <a:pt x="106" y="123"/>
                    <a:pt x="104" y="126"/>
                  </a:cubicBezTo>
                  <a:cubicBezTo>
                    <a:pt x="101" y="146"/>
                    <a:pt x="100" y="141"/>
                    <a:pt x="80" y="140"/>
                  </a:cubicBezTo>
                  <a:cubicBezTo>
                    <a:pt x="57" y="131"/>
                    <a:pt x="77" y="138"/>
                    <a:pt x="17" y="14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80" name="Freeform 489"/>
            <p:cNvSpPr>
              <a:spLocks/>
            </p:cNvSpPr>
            <p:nvPr>
              <p:custDataLst>
                <p:tags r:id="rId48"/>
              </p:custDataLst>
            </p:nvPr>
          </p:nvSpPr>
          <p:spPr bwMode="gray">
            <a:xfrm>
              <a:off x="2787285" y="2966752"/>
              <a:ext cx="171573" cy="130911"/>
            </a:xfrm>
            <a:custGeom>
              <a:avLst/>
              <a:gdLst>
                <a:gd name="T0" fmla="*/ 88 w 178"/>
                <a:gd name="T1" fmla="*/ 130 h 135"/>
                <a:gd name="T2" fmla="*/ 48 w 178"/>
                <a:gd name="T3" fmla="*/ 132 h 135"/>
                <a:gd name="T4" fmla="*/ 33 w 178"/>
                <a:gd name="T5" fmla="*/ 109 h 135"/>
                <a:gd name="T6" fmla="*/ 6 w 178"/>
                <a:gd name="T7" fmla="*/ 102 h 135"/>
                <a:gd name="T8" fmla="*/ 15 w 178"/>
                <a:gd name="T9" fmla="*/ 61 h 135"/>
                <a:gd name="T10" fmla="*/ 19 w 178"/>
                <a:gd name="T11" fmla="*/ 24 h 135"/>
                <a:gd name="T12" fmla="*/ 25 w 178"/>
                <a:gd name="T13" fmla="*/ 6 h 135"/>
                <a:gd name="T14" fmla="*/ 31 w 178"/>
                <a:gd name="T15" fmla="*/ 3 h 135"/>
                <a:gd name="T16" fmla="*/ 45 w 178"/>
                <a:gd name="T17" fmla="*/ 0 h 135"/>
                <a:gd name="T18" fmla="*/ 70 w 178"/>
                <a:gd name="T19" fmla="*/ 4 h 135"/>
                <a:gd name="T20" fmla="*/ 90 w 178"/>
                <a:gd name="T21" fmla="*/ 9 h 135"/>
                <a:gd name="T22" fmla="*/ 99 w 178"/>
                <a:gd name="T23" fmla="*/ 9 h 135"/>
                <a:gd name="T24" fmla="*/ 115 w 178"/>
                <a:gd name="T25" fmla="*/ 4 h 135"/>
                <a:gd name="T26" fmla="*/ 133 w 178"/>
                <a:gd name="T27" fmla="*/ 3 h 135"/>
                <a:gd name="T28" fmla="*/ 148 w 178"/>
                <a:gd name="T29" fmla="*/ 6 h 135"/>
                <a:gd name="T30" fmla="*/ 160 w 178"/>
                <a:gd name="T31" fmla="*/ 4 h 135"/>
                <a:gd name="T32" fmla="*/ 171 w 178"/>
                <a:gd name="T33" fmla="*/ 13 h 135"/>
                <a:gd name="T34" fmla="*/ 178 w 178"/>
                <a:gd name="T35" fmla="*/ 27 h 135"/>
                <a:gd name="T36" fmla="*/ 166 w 178"/>
                <a:gd name="T37" fmla="*/ 37 h 135"/>
                <a:gd name="T38" fmla="*/ 160 w 178"/>
                <a:gd name="T39" fmla="*/ 52 h 135"/>
                <a:gd name="T40" fmla="*/ 156 w 178"/>
                <a:gd name="T41" fmla="*/ 63 h 135"/>
                <a:gd name="T42" fmla="*/ 151 w 178"/>
                <a:gd name="T43" fmla="*/ 78 h 135"/>
                <a:gd name="T44" fmla="*/ 141 w 178"/>
                <a:gd name="T45" fmla="*/ 85 h 135"/>
                <a:gd name="T46" fmla="*/ 136 w 178"/>
                <a:gd name="T47" fmla="*/ 100 h 135"/>
                <a:gd name="T48" fmla="*/ 121 w 178"/>
                <a:gd name="T49" fmla="*/ 103 h 135"/>
                <a:gd name="T50" fmla="*/ 109 w 178"/>
                <a:gd name="T51" fmla="*/ 105 h 135"/>
                <a:gd name="T52" fmla="*/ 94 w 178"/>
                <a:gd name="T53" fmla="*/ 112 h 135"/>
                <a:gd name="T54" fmla="*/ 88 w 178"/>
                <a:gd name="T55" fmla="*/ 13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135">
                  <a:moveTo>
                    <a:pt x="88" y="130"/>
                  </a:moveTo>
                  <a:cubicBezTo>
                    <a:pt x="65" y="135"/>
                    <a:pt x="78" y="133"/>
                    <a:pt x="48" y="132"/>
                  </a:cubicBezTo>
                  <a:cubicBezTo>
                    <a:pt x="46" y="113"/>
                    <a:pt x="49" y="113"/>
                    <a:pt x="33" y="109"/>
                  </a:cubicBezTo>
                  <a:cubicBezTo>
                    <a:pt x="26" y="100"/>
                    <a:pt x="18" y="103"/>
                    <a:pt x="6" y="102"/>
                  </a:cubicBezTo>
                  <a:cubicBezTo>
                    <a:pt x="7" y="82"/>
                    <a:pt x="0" y="70"/>
                    <a:pt x="15" y="61"/>
                  </a:cubicBezTo>
                  <a:cubicBezTo>
                    <a:pt x="24" y="50"/>
                    <a:pt x="14" y="37"/>
                    <a:pt x="19" y="24"/>
                  </a:cubicBezTo>
                  <a:cubicBezTo>
                    <a:pt x="21" y="15"/>
                    <a:pt x="21" y="10"/>
                    <a:pt x="25" y="6"/>
                  </a:cubicBezTo>
                  <a:cubicBezTo>
                    <a:pt x="27" y="3"/>
                    <a:pt x="28" y="4"/>
                    <a:pt x="31" y="3"/>
                  </a:cubicBezTo>
                  <a:cubicBezTo>
                    <a:pt x="34" y="2"/>
                    <a:pt x="39" y="0"/>
                    <a:pt x="45" y="0"/>
                  </a:cubicBezTo>
                  <a:cubicBezTo>
                    <a:pt x="52" y="0"/>
                    <a:pt x="63" y="3"/>
                    <a:pt x="70" y="4"/>
                  </a:cubicBezTo>
                  <a:cubicBezTo>
                    <a:pt x="77" y="6"/>
                    <a:pt x="85" y="8"/>
                    <a:pt x="90" y="9"/>
                  </a:cubicBezTo>
                  <a:cubicBezTo>
                    <a:pt x="95" y="10"/>
                    <a:pt x="95" y="10"/>
                    <a:pt x="99" y="9"/>
                  </a:cubicBezTo>
                  <a:cubicBezTo>
                    <a:pt x="103" y="9"/>
                    <a:pt x="109" y="4"/>
                    <a:pt x="115" y="4"/>
                  </a:cubicBezTo>
                  <a:cubicBezTo>
                    <a:pt x="121" y="3"/>
                    <a:pt x="128" y="3"/>
                    <a:pt x="133" y="3"/>
                  </a:cubicBezTo>
                  <a:cubicBezTo>
                    <a:pt x="141" y="2"/>
                    <a:pt x="144" y="6"/>
                    <a:pt x="148" y="6"/>
                  </a:cubicBezTo>
                  <a:cubicBezTo>
                    <a:pt x="152" y="6"/>
                    <a:pt x="156" y="3"/>
                    <a:pt x="160" y="4"/>
                  </a:cubicBezTo>
                  <a:cubicBezTo>
                    <a:pt x="164" y="5"/>
                    <a:pt x="168" y="9"/>
                    <a:pt x="171" y="13"/>
                  </a:cubicBezTo>
                  <a:cubicBezTo>
                    <a:pt x="172" y="20"/>
                    <a:pt x="172" y="23"/>
                    <a:pt x="178" y="27"/>
                  </a:cubicBezTo>
                  <a:cubicBezTo>
                    <a:pt x="174" y="32"/>
                    <a:pt x="171" y="34"/>
                    <a:pt x="166" y="37"/>
                  </a:cubicBezTo>
                  <a:cubicBezTo>
                    <a:pt x="165" y="43"/>
                    <a:pt x="164" y="47"/>
                    <a:pt x="160" y="52"/>
                  </a:cubicBezTo>
                  <a:cubicBezTo>
                    <a:pt x="159" y="59"/>
                    <a:pt x="162" y="59"/>
                    <a:pt x="156" y="63"/>
                  </a:cubicBezTo>
                  <a:cubicBezTo>
                    <a:pt x="155" y="69"/>
                    <a:pt x="153" y="73"/>
                    <a:pt x="151" y="78"/>
                  </a:cubicBezTo>
                  <a:cubicBezTo>
                    <a:pt x="149" y="83"/>
                    <a:pt x="143" y="81"/>
                    <a:pt x="141" y="85"/>
                  </a:cubicBezTo>
                  <a:cubicBezTo>
                    <a:pt x="139" y="89"/>
                    <a:pt x="139" y="97"/>
                    <a:pt x="136" y="100"/>
                  </a:cubicBezTo>
                  <a:cubicBezTo>
                    <a:pt x="131" y="110"/>
                    <a:pt x="136" y="106"/>
                    <a:pt x="121" y="103"/>
                  </a:cubicBezTo>
                  <a:cubicBezTo>
                    <a:pt x="115" y="99"/>
                    <a:pt x="116" y="104"/>
                    <a:pt x="109" y="105"/>
                  </a:cubicBezTo>
                  <a:cubicBezTo>
                    <a:pt x="108" y="112"/>
                    <a:pt x="101" y="111"/>
                    <a:pt x="94" y="112"/>
                  </a:cubicBezTo>
                  <a:cubicBezTo>
                    <a:pt x="93" y="125"/>
                    <a:pt x="92" y="124"/>
                    <a:pt x="88" y="13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81" name="Freeform 492"/>
            <p:cNvSpPr>
              <a:spLocks/>
            </p:cNvSpPr>
            <p:nvPr>
              <p:custDataLst>
                <p:tags r:id="rId49"/>
              </p:custDataLst>
            </p:nvPr>
          </p:nvSpPr>
          <p:spPr bwMode="gray">
            <a:xfrm>
              <a:off x="2698027" y="3000472"/>
              <a:ext cx="62481" cy="90250"/>
            </a:xfrm>
            <a:custGeom>
              <a:avLst/>
              <a:gdLst>
                <a:gd name="T0" fmla="*/ 65 w 65"/>
                <a:gd name="T1" fmla="*/ 0 h 94"/>
                <a:gd name="T2" fmla="*/ 14 w 65"/>
                <a:gd name="T3" fmla="*/ 6 h 94"/>
                <a:gd name="T4" fmla="*/ 18 w 65"/>
                <a:gd name="T5" fmla="*/ 48 h 94"/>
                <a:gd name="T6" fmla="*/ 10 w 65"/>
                <a:gd name="T7" fmla="*/ 70 h 94"/>
                <a:gd name="T8" fmla="*/ 28 w 65"/>
                <a:gd name="T9" fmla="*/ 94 h 94"/>
                <a:gd name="T10" fmla="*/ 58 w 65"/>
                <a:gd name="T11" fmla="*/ 86 h 94"/>
                <a:gd name="T12" fmla="*/ 57 w 65"/>
                <a:gd name="T13" fmla="*/ 50 h 94"/>
                <a:gd name="T14" fmla="*/ 51 w 65"/>
                <a:gd name="T15" fmla="*/ 23 h 94"/>
                <a:gd name="T16" fmla="*/ 65 w 65"/>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94">
                  <a:moveTo>
                    <a:pt x="65" y="0"/>
                  </a:moveTo>
                  <a:cubicBezTo>
                    <a:pt x="48" y="1"/>
                    <a:pt x="31" y="3"/>
                    <a:pt x="14" y="6"/>
                  </a:cubicBezTo>
                  <a:cubicBezTo>
                    <a:pt x="0" y="8"/>
                    <a:pt x="18" y="48"/>
                    <a:pt x="18" y="48"/>
                  </a:cubicBezTo>
                  <a:cubicBezTo>
                    <a:pt x="15" y="56"/>
                    <a:pt x="12" y="61"/>
                    <a:pt x="10" y="70"/>
                  </a:cubicBezTo>
                  <a:cubicBezTo>
                    <a:pt x="12" y="83"/>
                    <a:pt x="16" y="90"/>
                    <a:pt x="28" y="94"/>
                  </a:cubicBezTo>
                  <a:cubicBezTo>
                    <a:pt x="44" y="92"/>
                    <a:pt x="45" y="90"/>
                    <a:pt x="58" y="86"/>
                  </a:cubicBezTo>
                  <a:cubicBezTo>
                    <a:pt x="63" y="79"/>
                    <a:pt x="58" y="60"/>
                    <a:pt x="57" y="50"/>
                  </a:cubicBezTo>
                  <a:cubicBezTo>
                    <a:pt x="56" y="40"/>
                    <a:pt x="50" y="31"/>
                    <a:pt x="51" y="23"/>
                  </a:cubicBezTo>
                  <a:cubicBezTo>
                    <a:pt x="53" y="16"/>
                    <a:pt x="62" y="6"/>
                    <a:pt x="65"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82" name="Freeform 493"/>
            <p:cNvSpPr>
              <a:spLocks/>
            </p:cNvSpPr>
            <p:nvPr>
              <p:custDataLst>
                <p:tags r:id="rId50"/>
              </p:custDataLst>
            </p:nvPr>
          </p:nvSpPr>
          <p:spPr bwMode="gray">
            <a:xfrm>
              <a:off x="2628605" y="3011381"/>
              <a:ext cx="91241" cy="87274"/>
            </a:xfrm>
            <a:custGeom>
              <a:avLst/>
              <a:gdLst>
                <a:gd name="T0" fmla="*/ 75 w 95"/>
                <a:gd name="T1" fmla="*/ 0 h 90"/>
                <a:gd name="T2" fmla="*/ 62 w 95"/>
                <a:gd name="T3" fmla="*/ 11 h 90"/>
                <a:gd name="T4" fmla="*/ 51 w 95"/>
                <a:gd name="T5" fmla="*/ 2 h 90"/>
                <a:gd name="T6" fmla="*/ 18 w 95"/>
                <a:gd name="T7" fmla="*/ 2 h 90"/>
                <a:gd name="T8" fmla="*/ 6 w 95"/>
                <a:gd name="T9" fmla="*/ 4 h 90"/>
                <a:gd name="T10" fmla="*/ 9 w 95"/>
                <a:gd name="T11" fmla="*/ 36 h 90"/>
                <a:gd name="T12" fmla="*/ 0 w 95"/>
                <a:gd name="T13" fmla="*/ 50 h 90"/>
                <a:gd name="T14" fmla="*/ 12 w 95"/>
                <a:gd name="T15" fmla="*/ 70 h 90"/>
                <a:gd name="T16" fmla="*/ 24 w 95"/>
                <a:gd name="T17" fmla="*/ 90 h 90"/>
                <a:gd name="T18" fmla="*/ 64 w 95"/>
                <a:gd name="T19" fmla="*/ 76 h 90"/>
                <a:gd name="T20" fmla="*/ 82 w 95"/>
                <a:gd name="T21" fmla="*/ 58 h 90"/>
                <a:gd name="T22" fmla="*/ 89 w 95"/>
                <a:gd name="T23" fmla="*/ 41 h 90"/>
                <a:gd name="T24" fmla="*/ 90 w 95"/>
                <a:gd name="T25" fmla="*/ 30 h 90"/>
                <a:gd name="T26" fmla="*/ 83 w 95"/>
                <a:gd name="T27" fmla="*/ 15 h 90"/>
                <a:gd name="T28" fmla="*/ 75 w 95"/>
                <a:gd name="T2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90">
                  <a:moveTo>
                    <a:pt x="75" y="0"/>
                  </a:moveTo>
                  <a:cubicBezTo>
                    <a:pt x="67" y="11"/>
                    <a:pt x="78" y="3"/>
                    <a:pt x="62" y="11"/>
                  </a:cubicBezTo>
                  <a:cubicBezTo>
                    <a:pt x="58" y="10"/>
                    <a:pt x="58" y="3"/>
                    <a:pt x="51" y="2"/>
                  </a:cubicBezTo>
                  <a:cubicBezTo>
                    <a:pt x="44" y="1"/>
                    <a:pt x="25" y="2"/>
                    <a:pt x="18" y="2"/>
                  </a:cubicBezTo>
                  <a:cubicBezTo>
                    <a:pt x="14" y="3"/>
                    <a:pt x="9" y="1"/>
                    <a:pt x="6" y="4"/>
                  </a:cubicBezTo>
                  <a:cubicBezTo>
                    <a:pt x="5" y="5"/>
                    <a:pt x="7" y="30"/>
                    <a:pt x="9" y="36"/>
                  </a:cubicBezTo>
                  <a:cubicBezTo>
                    <a:pt x="6" y="44"/>
                    <a:pt x="4" y="43"/>
                    <a:pt x="0" y="50"/>
                  </a:cubicBezTo>
                  <a:cubicBezTo>
                    <a:pt x="4" y="61"/>
                    <a:pt x="0" y="67"/>
                    <a:pt x="12" y="70"/>
                  </a:cubicBezTo>
                  <a:cubicBezTo>
                    <a:pt x="18" y="78"/>
                    <a:pt x="14" y="87"/>
                    <a:pt x="24" y="90"/>
                  </a:cubicBezTo>
                  <a:cubicBezTo>
                    <a:pt x="42" y="72"/>
                    <a:pt x="18" y="79"/>
                    <a:pt x="64" y="76"/>
                  </a:cubicBezTo>
                  <a:cubicBezTo>
                    <a:pt x="82" y="80"/>
                    <a:pt x="95" y="78"/>
                    <a:pt x="82" y="58"/>
                  </a:cubicBezTo>
                  <a:cubicBezTo>
                    <a:pt x="85" y="53"/>
                    <a:pt x="88" y="46"/>
                    <a:pt x="89" y="41"/>
                  </a:cubicBezTo>
                  <a:cubicBezTo>
                    <a:pt x="90" y="36"/>
                    <a:pt x="91" y="34"/>
                    <a:pt x="90" y="30"/>
                  </a:cubicBezTo>
                  <a:cubicBezTo>
                    <a:pt x="90" y="23"/>
                    <a:pt x="85" y="19"/>
                    <a:pt x="83" y="15"/>
                  </a:cubicBezTo>
                  <a:cubicBezTo>
                    <a:pt x="80" y="10"/>
                    <a:pt x="81" y="5"/>
                    <a:pt x="75"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83" name="Freeform 494"/>
            <p:cNvSpPr>
              <a:spLocks/>
            </p:cNvSpPr>
            <p:nvPr>
              <p:custDataLst>
                <p:tags r:id="rId51"/>
              </p:custDataLst>
            </p:nvPr>
          </p:nvSpPr>
          <p:spPr bwMode="gray">
            <a:xfrm>
              <a:off x="2980676" y="3487422"/>
              <a:ext cx="236037" cy="214218"/>
            </a:xfrm>
            <a:custGeom>
              <a:avLst/>
              <a:gdLst>
                <a:gd name="T0" fmla="*/ 15 w 244"/>
                <a:gd name="T1" fmla="*/ 100 h 222"/>
                <a:gd name="T2" fmla="*/ 16 w 244"/>
                <a:gd name="T3" fmla="*/ 128 h 222"/>
                <a:gd name="T4" fmla="*/ 30 w 244"/>
                <a:gd name="T5" fmla="*/ 149 h 222"/>
                <a:gd name="T6" fmla="*/ 37 w 244"/>
                <a:gd name="T7" fmla="*/ 193 h 222"/>
                <a:gd name="T8" fmla="*/ 51 w 244"/>
                <a:gd name="T9" fmla="*/ 205 h 222"/>
                <a:gd name="T10" fmla="*/ 84 w 244"/>
                <a:gd name="T11" fmla="*/ 206 h 222"/>
                <a:gd name="T12" fmla="*/ 144 w 244"/>
                <a:gd name="T13" fmla="*/ 199 h 222"/>
                <a:gd name="T14" fmla="*/ 166 w 244"/>
                <a:gd name="T15" fmla="*/ 194 h 222"/>
                <a:gd name="T16" fmla="*/ 177 w 244"/>
                <a:gd name="T17" fmla="*/ 182 h 222"/>
                <a:gd name="T18" fmla="*/ 192 w 244"/>
                <a:gd name="T19" fmla="*/ 167 h 222"/>
                <a:gd name="T20" fmla="*/ 207 w 244"/>
                <a:gd name="T21" fmla="*/ 152 h 222"/>
                <a:gd name="T22" fmla="*/ 216 w 244"/>
                <a:gd name="T23" fmla="*/ 139 h 222"/>
                <a:gd name="T24" fmla="*/ 243 w 244"/>
                <a:gd name="T25" fmla="*/ 112 h 222"/>
                <a:gd name="T26" fmla="*/ 244 w 244"/>
                <a:gd name="T27" fmla="*/ 83 h 222"/>
                <a:gd name="T28" fmla="*/ 235 w 244"/>
                <a:gd name="T29" fmla="*/ 71 h 222"/>
                <a:gd name="T30" fmla="*/ 241 w 244"/>
                <a:gd name="T31" fmla="*/ 52 h 222"/>
                <a:gd name="T32" fmla="*/ 231 w 244"/>
                <a:gd name="T33" fmla="*/ 41 h 222"/>
                <a:gd name="T34" fmla="*/ 231 w 244"/>
                <a:gd name="T35" fmla="*/ 22 h 222"/>
                <a:gd name="T36" fmla="*/ 223 w 244"/>
                <a:gd name="T37" fmla="*/ 14 h 222"/>
                <a:gd name="T38" fmla="*/ 213 w 244"/>
                <a:gd name="T39" fmla="*/ 2 h 222"/>
                <a:gd name="T40" fmla="*/ 191 w 244"/>
                <a:gd name="T41" fmla="*/ 3 h 222"/>
                <a:gd name="T42" fmla="*/ 169 w 244"/>
                <a:gd name="T43" fmla="*/ 11 h 222"/>
                <a:gd name="T44" fmla="*/ 163 w 244"/>
                <a:gd name="T45" fmla="*/ 26 h 222"/>
                <a:gd name="T46" fmla="*/ 156 w 244"/>
                <a:gd name="T47" fmla="*/ 37 h 222"/>
                <a:gd name="T48" fmla="*/ 157 w 244"/>
                <a:gd name="T49" fmla="*/ 40 h 222"/>
                <a:gd name="T50" fmla="*/ 145 w 244"/>
                <a:gd name="T51" fmla="*/ 47 h 222"/>
                <a:gd name="T52" fmla="*/ 132 w 244"/>
                <a:gd name="T53" fmla="*/ 50 h 222"/>
                <a:gd name="T54" fmla="*/ 115 w 244"/>
                <a:gd name="T55" fmla="*/ 56 h 222"/>
                <a:gd name="T56" fmla="*/ 91 w 244"/>
                <a:gd name="T57" fmla="*/ 64 h 222"/>
                <a:gd name="T58" fmla="*/ 70 w 244"/>
                <a:gd name="T59" fmla="*/ 77 h 222"/>
                <a:gd name="T60" fmla="*/ 64 w 244"/>
                <a:gd name="T61" fmla="*/ 89 h 222"/>
                <a:gd name="T62" fmla="*/ 52 w 244"/>
                <a:gd name="T63" fmla="*/ 106 h 222"/>
                <a:gd name="T64" fmla="*/ 36 w 244"/>
                <a:gd name="T65" fmla="*/ 111 h 222"/>
                <a:gd name="T66" fmla="*/ 24 w 244"/>
                <a:gd name="T67" fmla="*/ 110 h 222"/>
                <a:gd name="T68" fmla="*/ 15 w 244"/>
                <a:gd name="T69" fmla="*/ 10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4" h="222">
                  <a:moveTo>
                    <a:pt x="15" y="100"/>
                  </a:moveTo>
                  <a:cubicBezTo>
                    <a:pt x="0" y="102"/>
                    <a:pt x="7" y="122"/>
                    <a:pt x="16" y="128"/>
                  </a:cubicBezTo>
                  <a:cubicBezTo>
                    <a:pt x="22" y="138"/>
                    <a:pt x="20" y="143"/>
                    <a:pt x="30" y="149"/>
                  </a:cubicBezTo>
                  <a:cubicBezTo>
                    <a:pt x="33" y="164"/>
                    <a:pt x="22" y="185"/>
                    <a:pt x="37" y="193"/>
                  </a:cubicBezTo>
                  <a:cubicBezTo>
                    <a:pt x="40" y="203"/>
                    <a:pt x="41" y="203"/>
                    <a:pt x="51" y="205"/>
                  </a:cubicBezTo>
                  <a:cubicBezTo>
                    <a:pt x="53" y="222"/>
                    <a:pt x="73" y="208"/>
                    <a:pt x="84" y="206"/>
                  </a:cubicBezTo>
                  <a:cubicBezTo>
                    <a:pt x="103" y="197"/>
                    <a:pt x="167" y="216"/>
                    <a:pt x="144" y="199"/>
                  </a:cubicBezTo>
                  <a:cubicBezTo>
                    <a:pt x="155" y="191"/>
                    <a:pt x="138" y="202"/>
                    <a:pt x="166" y="194"/>
                  </a:cubicBezTo>
                  <a:cubicBezTo>
                    <a:pt x="168" y="193"/>
                    <a:pt x="174" y="184"/>
                    <a:pt x="177" y="182"/>
                  </a:cubicBezTo>
                  <a:cubicBezTo>
                    <a:pt x="181" y="176"/>
                    <a:pt x="186" y="171"/>
                    <a:pt x="192" y="167"/>
                  </a:cubicBezTo>
                  <a:cubicBezTo>
                    <a:pt x="198" y="160"/>
                    <a:pt x="199" y="155"/>
                    <a:pt x="207" y="152"/>
                  </a:cubicBezTo>
                  <a:cubicBezTo>
                    <a:pt x="210" y="148"/>
                    <a:pt x="213" y="143"/>
                    <a:pt x="216" y="139"/>
                  </a:cubicBezTo>
                  <a:cubicBezTo>
                    <a:pt x="217" y="125"/>
                    <a:pt x="229" y="113"/>
                    <a:pt x="243" y="112"/>
                  </a:cubicBezTo>
                  <a:cubicBezTo>
                    <a:pt x="239" y="102"/>
                    <a:pt x="242" y="93"/>
                    <a:pt x="244" y="83"/>
                  </a:cubicBezTo>
                  <a:cubicBezTo>
                    <a:pt x="240" y="78"/>
                    <a:pt x="237" y="77"/>
                    <a:pt x="235" y="71"/>
                  </a:cubicBezTo>
                  <a:cubicBezTo>
                    <a:pt x="234" y="66"/>
                    <a:pt x="243" y="61"/>
                    <a:pt x="241" y="52"/>
                  </a:cubicBezTo>
                  <a:cubicBezTo>
                    <a:pt x="240" y="47"/>
                    <a:pt x="233" y="46"/>
                    <a:pt x="231" y="41"/>
                  </a:cubicBezTo>
                  <a:cubicBezTo>
                    <a:pt x="229" y="36"/>
                    <a:pt x="232" y="26"/>
                    <a:pt x="231" y="22"/>
                  </a:cubicBezTo>
                  <a:cubicBezTo>
                    <a:pt x="230" y="18"/>
                    <a:pt x="226" y="17"/>
                    <a:pt x="223" y="14"/>
                  </a:cubicBezTo>
                  <a:cubicBezTo>
                    <a:pt x="222" y="6"/>
                    <a:pt x="221" y="5"/>
                    <a:pt x="213" y="2"/>
                  </a:cubicBezTo>
                  <a:cubicBezTo>
                    <a:pt x="208" y="0"/>
                    <a:pt x="198" y="2"/>
                    <a:pt x="191" y="3"/>
                  </a:cubicBezTo>
                  <a:cubicBezTo>
                    <a:pt x="184" y="4"/>
                    <a:pt x="174" y="7"/>
                    <a:pt x="169" y="11"/>
                  </a:cubicBezTo>
                  <a:cubicBezTo>
                    <a:pt x="166" y="16"/>
                    <a:pt x="166" y="21"/>
                    <a:pt x="163" y="26"/>
                  </a:cubicBezTo>
                  <a:cubicBezTo>
                    <a:pt x="161" y="30"/>
                    <a:pt x="157" y="35"/>
                    <a:pt x="156" y="37"/>
                  </a:cubicBezTo>
                  <a:cubicBezTo>
                    <a:pt x="155" y="39"/>
                    <a:pt x="159" y="38"/>
                    <a:pt x="157" y="40"/>
                  </a:cubicBezTo>
                  <a:cubicBezTo>
                    <a:pt x="155" y="42"/>
                    <a:pt x="149" y="45"/>
                    <a:pt x="145" y="47"/>
                  </a:cubicBezTo>
                  <a:cubicBezTo>
                    <a:pt x="141" y="53"/>
                    <a:pt x="139" y="49"/>
                    <a:pt x="132" y="50"/>
                  </a:cubicBezTo>
                  <a:cubicBezTo>
                    <a:pt x="126" y="55"/>
                    <a:pt x="122" y="59"/>
                    <a:pt x="115" y="56"/>
                  </a:cubicBezTo>
                  <a:cubicBezTo>
                    <a:pt x="108" y="49"/>
                    <a:pt x="99" y="59"/>
                    <a:pt x="91" y="64"/>
                  </a:cubicBezTo>
                  <a:cubicBezTo>
                    <a:pt x="86" y="70"/>
                    <a:pt x="76" y="73"/>
                    <a:pt x="70" y="77"/>
                  </a:cubicBezTo>
                  <a:cubicBezTo>
                    <a:pt x="64" y="81"/>
                    <a:pt x="67" y="84"/>
                    <a:pt x="64" y="89"/>
                  </a:cubicBezTo>
                  <a:cubicBezTo>
                    <a:pt x="61" y="94"/>
                    <a:pt x="55" y="102"/>
                    <a:pt x="52" y="106"/>
                  </a:cubicBezTo>
                  <a:cubicBezTo>
                    <a:pt x="47" y="110"/>
                    <a:pt x="41" y="110"/>
                    <a:pt x="36" y="111"/>
                  </a:cubicBezTo>
                  <a:cubicBezTo>
                    <a:pt x="31" y="112"/>
                    <a:pt x="27" y="112"/>
                    <a:pt x="24" y="110"/>
                  </a:cubicBezTo>
                  <a:cubicBezTo>
                    <a:pt x="20" y="107"/>
                    <a:pt x="19" y="104"/>
                    <a:pt x="15" y="100"/>
                  </a:cubicBezTo>
                  <a:close/>
                </a:path>
              </a:pathLst>
            </a:custGeom>
            <a:solidFill>
              <a:schemeClr val="accent2"/>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84" name="Freeform 495"/>
            <p:cNvSpPr>
              <a:spLocks/>
            </p:cNvSpPr>
            <p:nvPr>
              <p:custDataLst>
                <p:tags r:id="rId52"/>
              </p:custDataLst>
            </p:nvPr>
          </p:nvSpPr>
          <p:spPr bwMode="gray">
            <a:xfrm>
              <a:off x="3131422" y="3587589"/>
              <a:ext cx="41654" cy="49588"/>
            </a:xfrm>
            <a:custGeom>
              <a:avLst/>
              <a:gdLst>
                <a:gd name="T0" fmla="*/ 21 w 43"/>
                <a:gd name="T1" fmla="*/ 5 h 51"/>
                <a:gd name="T2" fmla="*/ 7 w 43"/>
                <a:gd name="T3" fmla="*/ 12 h 51"/>
                <a:gd name="T4" fmla="*/ 9 w 43"/>
                <a:gd name="T5" fmla="*/ 23 h 51"/>
                <a:gd name="T6" fmla="*/ 10 w 43"/>
                <a:gd name="T7" fmla="*/ 39 h 51"/>
                <a:gd name="T8" fmla="*/ 36 w 43"/>
                <a:gd name="T9" fmla="*/ 27 h 51"/>
                <a:gd name="T10" fmla="*/ 25 w 43"/>
                <a:gd name="T11" fmla="*/ 0 h 51"/>
                <a:gd name="T12" fmla="*/ 21 w 43"/>
                <a:gd name="T13" fmla="*/ 5 h 51"/>
              </a:gdLst>
              <a:ahLst/>
              <a:cxnLst>
                <a:cxn ang="0">
                  <a:pos x="T0" y="T1"/>
                </a:cxn>
                <a:cxn ang="0">
                  <a:pos x="T2" y="T3"/>
                </a:cxn>
                <a:cxn ang="0">
                  <a:pos x="T4" y="T5"/>
                </a:cxn>
                <a:cxn ang="0">
                  <a:pos x="T6" y="T7"/>
                </a:cxn>
                <a:cxn ang="0">
                  <a:pos x="T8" y="T9"/>
                </a:cxn>
                <a:cxn ang="0">
                  <a:pos x="T10" y="T11"/>
                </a:cxn>
                <a:cxn ang="0">
                  <a:pos x="T12" y="T13"/>
                </a:cxn>
              </a:cxnLst>
              <a:rect l="0" t="0" r="r" b="b"/>
              <a:pathLst>
                <a:path w="43" h="51">
                  <a:moveTo>
                    <a:pt x="21" y="5"/>
                  </a:moveTo>
                  <a:cubicBezTo>
                    <a:pt x="12" y="7"/>
                    <a:pt x="16" y="10"/>
                    <a:pt x="7" y="12"/>
                  </a:cubicBezTo>
                  <a:cubicBezTo>
                    <a:pt x="0" y="16"/>
                    <a:pt x="3" y="20"/>
                    <a:pt x="9" y="23"/>
                  </a:cubicBezTo>
                  <a:cubicBezTo>
                    <a:pt x="9" y="28"/>
                    <a:pt x="6" y="36"/>
                    <a:pt x="10" y="39"/>
                  </a:cubicBezTo>
                  <a:cubicBezTo>
                    <a:pt x="24" y="51"/>
                    <a:pt x="28" y="30"/>
                    <a:pt x="36" y="27"/>
                  </a:cubicBezTo>
                  <a:cubicBezTo>
                    <a:pt x="43" y="13"/>
                    <a:pt x="39" y="6"/>
                    <a:pt x="25" y="0"/>
                  </a:cubicBezTo>
                  <a:cubicBezTo>
                    <a:pt x="23" y="1"/>
                    <a:pt x="8" y="8"/>
                    <a:pt x="21" y="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85" name="Freeform 496"/>
            <p:cNvSpPr>
              <a:spLocks/>
            </p:cNvSpPr>
            <p:nvPr>
              <p:custDataLst>
                <p:tags r:id="rId53"/>
              </p:custDataLst>
            </p:nvPr>
          </p:nvSpPr>
          <p:spPr bwMode="gray">
            <a:xfrm>
              <a:off x="2915220" y="3408081"/>
              <a:ext cx="148763" cy="187441"/>
            </a:xfrm>
            <a:custGeom>
              <a:avLst/>
              <a:gdLst>
                <a:gd name="T0" fmla="*/ 75 w 154"/>
                <a:gd name="T1" fmla="*/ 191 h 194"/>
                <a:gd name="T2" fmla="*/ 60 w 154"/>
                <a:gd name="T3" fmla="*/ 179 h 194"/>
                <a:gd name="T4" fmla="*/ 53 w 154"/>
                <a:gd name="T5" fmla="*/ 165 h 194"/>
                <a:gd name="T6" fmla="*/ 47 w 154"/>
                <a:gd name="T7" fmla="*/ 120 h 194"/>
                <a:gd name="T8" fmla="*/ 24 w 154"/>
                <a:gd name="T9" fmla="*/ 51 h 194"/>
                <a:gd name="T10" fmla="*/ 8 w 154"/>
                <a:gd name="T11" fmla="*/ 24 h 194"/>
                <a:gd name="T12" fmla="*/ 0 w 154"/>
                <a:gd name="T13" fmla="*/ 11 h 194"/>
                <a:gd name="T14" fmla="*/ 24 w 154"/>
                <a:gd name="T15" fmla="*/ 0 h 194"/>
                <a:gd name="T16" fmla="*/ 39 w 154"/>
                <a:gd name="T17" fmla="*/ 11 h 194"/>
                <a:gd name="T18" fmla="*/ 101 w 154"/>
                <a:gd name="T19" fmla="*/ 8 h 194"/>
                <a:gd name="T20" fmla="*/ 107 w 154"/>
                <a:gd name="T21" fmla="*/ 12 h 194"/>
                <a:gd name="T22" fmla="*/ 141 w 154"/>
                <a:gd name="T23" fmla="*/ 20 h 194"/>
                <a:gd name="T24" fmla="*/ 125 w 154"/>
                <a:gd name="T25" fmla="*/ 84 h 194"/>
                <a:gd name="T26" fmla="*/ 128 w 154"/>
                <a:gd name="T27" fmla="*/ 131 h 194"/>
                <a:gd name="T28" fmla="*/ 137 w 154"/>
                <a:gd name="T29" fmla="*/ 156 h 194"/>
                <a:gd name="T30" fmla="*/ 131 w 154"/>
                <a:gd name="T31" fmla="*/ 167 h 194"/>
                <a:gd name="T32" fmla="*/ 111 w 154"/>
                <a:gd name="T33" fmla="*/ 192 h 194"/>
                <a:gd name="T34" fmla="*/ 81 w 154"/>
                <a:gd name="T35" fmla="*/ 185 h 194"/>
                <a:gd name="T36" fmla="*/ 75 w 154"/>
                <a:gd name="T37" fmla="*/ 191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4" h="194">
                  <a:moveTo>
                    <a:pt x="75" y="191"/>
                  </a:moveTo>
                  <a:cubicBezTo>
                    <a:pt x="70" y="184"/>
                    <a:pt x="69" y="181"/>
                    <a:pt x="60" y="179"/>
                  </a:cubicBezTo>
                  <a:cubicBezTo>
                    <a:pt x="59" y="173"/>
                    <a:pt x="56" y="170"/>
                    <a:pt x="53" y="165"/>
                  </a:cubicBezTo>
                  <a:cubicBezTo>
                    <a:pt x="51" y="150"/>
                    <a:pt x="55" y="133"/>
                    <a:pt x="47" y="120"/>
                  </a:cubicBezTo>
                  <a:cubicBezTo>
                    <a:pt x="45" y="82"/>
                    <a:pt x="41" y="80"/>
                    <a:pt x="24" y="51"/>
                  </a:cubicBezTo>
                  <a:cubicBezTo>
                    <a:pt x="22" y="38"/>
                    <a:pt x="18" y="32"/>
                    <a:pt x="8" y="24"/>
                  </a:cubicBezTo>
                  <a:cubicBezTo>
                    <a:pt x="6" y="19"/>
                    <a:pt x="3" y="15"/>
                    <a:pt x="0" y="11"/>
                  </a:cubicBezTo>
                  <a:cubicBezTo>
                    <a:pt x="3" y="3"/>
                    <a:pt x="16" y="4"/>
                    <a:pt x="24" y="0"/>
                  </a:cubicBezTo>
                  <a:cubicBezTo>
                    <a:pt x="29" y="2"/>
                    <a:pt x="34" y="9"/>
                    <a:pt x="39" y="11"/>
                  </a:cubicBezTo>
                  <a:cubicBezTo>
                    <a:pt x="52" y="13"/>
                    <a:pt x="84" y="7"/>
                    <a:pt x="101" y="8"/>
                  </a:cubicBezTo>
                  <a:cubicBezTo>
                    <a:pt x="112" y="8"/>
                    <a:pt x="100" y="10"/>
                    <a:pt x="107" y="12"/>
                  </a:cubicBezTo>
                  <a:cubicBezTo>
                    <a:pt x="114" y="14"/>
                    <a:pt x="138" y="8"/>
                    <a:pt x="141" y="20"/>
                  </a:cubicBezTo>
                  <a:cubicBezTo>
                    <a:pt x="140" y="43"/>
                    <a:pt x="154" y="81"/>
                    <a:pt x="125" y="84"/>
                  </a:cubicBezTo>
                  <a:cubicBezTo>
                    <a:pt x="123" y="103"/>
                    <a:pt x="127" y="117"/>
                    <a:pt x="128" y="131"/>
                  </a:cubicBezTo>
                  <a:cubicBezTo>
                    <a:pt x="130" y="143"/>
                    <a:pt x="137" y="150"/>
                    <a:pt x="137" y="156"/>
                  </a:cubicBezTo>
                  <a:cubicBezTo>
                    <a:pt x="137" y="162"/>
                    <a:pt x="135" y="161"/>
                    <a:pt x="131" y="167"/>
                  </a:cubicBezTo>
                  <a:cubicBezTo>
                    <a:pt x="127" y="173"/>
                    <a:pt x="119" y="189"/>
                    <a:pt x="111" y="192"/>
                  </a:cubicBezTo>
                  <a:cubicBezTo>
                    <a:pt x="93" y="191"/>
                    <a:pt x="92" y="194"/>
                    <a:pt x="81" y="185"/>
                  </a:cubicBezTo>
                  <a:cubicBezTo>
                    <a:pt x="77" y="186"/>
                    <a:pt x="66" y="187"/>
                    <a:pt x="75" y="191"/>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86" name="Freeform 497"/>
            <p:cNvSpPr>
              <a:spLocks/>
            </p:cNvSpPr>
            <p:nvPr>
              <p:custDataLst>
                <p:tags r:id="rId54"/>
              </p:custDataLst>
            </p:nvPr>
          </p:nvSpPr>
          <p:spPr bwMode="gray">
            <a:xfrm>
              <a:off x="3034231" y="3414032"/>
              <a:ext cx="143804" cy="155705"/>
            </a:xfrm>
            <a:custGeom>
              <a:avLst/>
              <a:gdLst>
                <a:gd name="T0" fmla="*/ 20 w 149"/>
                <a:gd name="T1" fmla="*/ 11 h 161"/>
                <a:gd name="T2" fmla="*/ 20 w 149"/>
                <a:gd name="T3" fmla="*/ 21 h 161"/>
                <a:gd name="T4" fmla="*/ 20 w 149"/>
                <a:gd name="T5" fmla="*/ 35 h 161"/>
                <a:gd name="T6" fmla="*/ 20 w 149"/>
                <a:gd name="T7" fmla="*/ 48 h 161"/>
                <a:gd name="T8" fmla="*/ 18 w 149"/>
                <a:gd name="T9" fmla="*/ 69 h 161"/>
                <a:gd name="T10" fmla="*/ 3 w 149"/>
                <a:gd name="T11" fmla="*/ 84 h 161"/>
                <a:gd name="T12" fmla="*/ 2 w 149"/>
                <a:gd name="T13" fmla="*/ 94 h 161"/>
                <a:gd name="T14" fmla="*/ 3 w 149"/>
                <a:gd name="T15" fmla="*/ 123 h 161"/>
                <a:gd name="T16" fmla="*/ 14 w 149"/>
                <a:gd name="T17" fmla="*/ 147 h 161"/>
                <a:gd name="T18" fmla="*/ 32 w 149"/>
                <a:gd name="T19" fmla="*/ 144 h 161"/>
                <a:gd name="T20" fmla="*/ 47 w 149"/>
                <a:gd name="T21" fmla="*/ 129 h 161"/>
                <a:gd name="T22" fmla="*/ 66 w 149"/>
                <a:gd name="T23" fmla="*/ 131 h 161"/>
                <a:gd name="T24" fmla="*/ 80 w 149"/>
                <a:gd name="T25" fmla="*/ 128 h 161"/>
                <a:gd name="T26" fmla="*/ 98 w 149"/>
                <a:gd name="T27" fmla="*/ 117 h 161"/>
                <a:gd name="T28" fmla="*/ 107 w 149"/>
                <a:gd name="T29" fmla="*/ 104 h 161"/>
                <a:gd name="T30" fmla="*/ 116 w 149"/>
                <a:gd name="T31" fmla="*/ 89 h 161"/>
                <a:gd name="T32" fmla="*/ 134 w 149"/>
                <a:gd name="T33" fmla="*/ 81 h 161"/>
                <a:gd name="T34" fmla="*/ 138 w 149"/>
                <a:gd name="T35" fmla="*/ 78 h 161"/>
                <a:gd name="T36" fmla="*/ 137 w 149"/>
                <a:gd name="T37" fmla="*/ 68 h 161"/>
                <a:gd name="T38" fmla="*/ 114 w 149"/>
                <a:gd name="T39" fmla="*/ 63 h 161"/>
                <a:gd name="T40" fmla="*/ 99 w 149"/>
                <a:gd name="T41" fmla="*/ 42 h 161"/>
                <a:gd name="T42" fmla="*/ 84 w 149"/>
                <a:gd name="T43" fmla="*/ 24 h 161"/>
                <a:gd name="T44" fmla="*/ 74 w 149"/>
                <a:gd name="T45" fmla="*/ 9 h 161"/>
                <a:gd name="T46" fmla="*/ 36 w 149"/>
                <a:gd name="T47" fmla="*/ 3 h 161"/>
                <a:gd name="T48" fmla="*/ 24 w 149"/>
                <a:gd name="T49" fmla="*/ 9 h 161"/>
                <a:gd name="T50" fmla="*/ 20 w 149"/>
                <a:gd name="T51" fmla="*/ 1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9" h="161">
                  <a:moveTo>
                    <a:pt x="20" y="11"/>
                  </a:moveTo>
                  <a:cubicBezTo>
                    <a:pt x="19" y="13"/>
                    <a:pt x="20" y="15"/>
                    <a:pt x="20" y="21"/>
                  </a:cubicBezTo>
                  <a:cubicBezTo>
                    <a:pt x="20" y="25"/>
                    <a:pt x="20" y="31"/>
                    <a:pt x="20" y="35"/>
                  </a:cubicBezTo>
                  <a:cubicBezTo>
                    <a:pt x="20" y="39"/>
                    <a:pt x="20" y="42"/>
                    <a:pt x="20" y="48"/>
                  </a:cubicBezTo>
                  <a:cubicBezTo>
                    <a:pt x="20" y="54"/>
                    <a:pt x="21" y="63"/>
                    <a:pt x="18" y="69"/>
                  </a:cubicBezTo>
                  <a:cubicBezTo>
                    <a:pt x="16" y="74"/>
                    <a:pt x="5" y="79"/>
                    <a:pt x="3" y="84"/>
                  </a:cubicBezTo>
                  <a:cubicBezTo>
                    <a:pt x="2" y="88"/>
                    <a:pt x="0" y="86"/>
                    <a:pt x="2" y="94"/>
                  </a:cubicBezTo>
                  <a:cubicBezTo>
                    <a:pt x="2" y="100"/>
                    <a:pt x="1" y="114"/>
                    <a:pt x="3" y="123"/>
                  </a:cubicBezTo>
                  <a:cubicBezTo>
                    <a:pt x="5" y="132"/>
                    <a:pt x="9" y="144"/>
                    <a:pt x="14" y="147"/>
                  </a:cubicBezTo>
                  <a:cubicBezTo>
                    <a:pt x="16" y="161"/>
                    <a:pt x="22" y="150"/>
                    <a:pt x="32" y="144"/>
                  </a:cubicBezTo>
                  <a:cubicBezTo>
                    <a:pt x="38" y="143"/>
                    <a:pt x="41" y="131"/>
                    <a:pt x="47" y="129"/>
                  </a:cubicBezTo>
                  <a:cubicBezTo>
                    <a:pt x="53" y="127"/>
                    <a:pt x="61" y="131"/>
                    <a:pt x="66" y="131"/>
                  </a:cubicBezTo>
                  <a:cubicBezTo>
                    <a:pt x="71" y="131"/>
                    <a:pt x="75" y="130"/>
                    <a:pt x="80" y="128"/>
                  </a:cubicBezTo>
                  <a:cubicBezTo>
                    <a:pt x="90" y="126"/>
                    <a:pt x="90" y="122"/>
                    <a:pt x="98" y="117"/>
                  </a:cubicBezTo>
                  <a:cubicBezTo>
                    <a:pt x="101" y="113"/>
                    <a:pt x="105" y="109"/>
                    <a:pt x="107" y="104"/>
                  </a:cubicBezTo>
                  <a:cubicBezTo>
                    <a:pt x="108" y="95"/>
                    <a:pt x="108" y="94"/>
                    <a:pt x="116" y="89"/>
                  </a:cubicBezTo>
                  <a:cubicBezTo>
                    <a:pt x="120" y="82"/>
                    <a:pt x="126" y="83"/>
                    <a:pt x="134" y="81"/>
                  </a:cubicBezTo>
                  <a:cubicBezTo>
                    <a:pt x="135" y="80"/>
                    <a:pt x="136" y="79"/>
                    <a:pt x="138" y="78"/>
                  </a:cubicBezTo>
                  <a:cubicBezTo>
                    <a:pt x="147" y="74"/>
                    <a:pt x="149" y="70"/>
                    <a:pt x="137" y="68"/>
                  </a:cubicBezTo>
                  <a:cubicBezTo>
                    <a:pt x="129" y="65"/>
                    <a:pt x="122" y="66"/>
                    <a:pt x="114" y="63"/>
                  </a:cubicBezTo>
                  <a:cubicBezTo>
                    <a:pt x="113" y="45"/>
                    <a:pt x="114" y="47"/>
                    <a:pt x="99" y="42"/>
                  </a:cubicBezTo>
                  <a:cubicBezTo>
                    <a:pt x="91" y="36"/>
                    <a:pt x="94" y="28"/>
                    <a:pt x="84" y="24"/>
                  </a:cubicBezTo>
                  <a:cubicBezTo>
                    <a:pt x="80" y="18"/>
                    <a:pt x="81" y="12"/>
                    <a:pt x="74" y="9"/>
                  </a:cubicBezTo>
                  <a:cubicBezTo>
                    <a:pt x="62" y="11"/>
                    <a:pt x="48" y="5"/>
                    <a:pt x="36" y="3"/>
                  </a:cubicBezTo>
                  <a:cubicBezTo>
                    <a:pt x="31" y="0"/>
                    <a:pt x="24" y="9"/>
                    <a:pt x="24" y="9"/>
                  </a:cubicBezTo>
                  <a:cubicBezTo>
                    <a:pt x="23" y="10"/>
                    <a:pt x="20" y="11"/>
                    <a:pt x="20" y="11"/>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87" name="Freeform 498"/>
            <p:cNvSpPr>
              <a:spLocks/>
            </p:cNvSpPr>
            <p:nvPr>
              <p:custDataLst>
                <p:tags r:id="rId55"/>
              </p:custDataLst>
            </p:nvPr>
          </p:nvSpPr>
          <p:spPr bwMode="gray">
            <a:xfrm>
              <a:off x="3367459" y="3332708"/>
              <a:ext cx="108101" cy="206284"/>
            </a:xfrm>
            <a:custGeom>
              <a:avLst/>
              <a:gdLst>
                <a:gd name="T0" fmla="*/ 15 w 112"/>
                <a:gd name="T1" fmla="*/ 204 h 213"/>
                <a:gd name="T2" fmla="*/ 3 w 112"/>
                <a:gd name="T3" fmla="*/ 179 h 213"/>
                <a:gd name="T4" fmla="*/ 14 w 112"/>
                <a:gd name="T5" fmla="*/ 140 h 213"/>
                <a:gd name="T6" fmla="*/ 12 w 112"/>
                <a:gd name="T7" fmla="*/ 98 h 213"/>
                <a:gd name="T8" fmla="*/ 47 w 112"/>
                <a:gd name="T9" fmla="*/ 56 h 213"/>
                <a:gd name="T10" fmla="*/ 59 w 112"/>
                <a:gd name="T11" fmla="*/ 44 h 213"/>
                <a:gd name="T12" fmla="*/ 69 w 112"/>
                <a:gd name="T13" fmla="*/ 32 h 213"/>
                <a:gd name="T14" fmla="*/ 80 w 112"/>
                <a:gd name="T15" fmla="*/ 18 h 213"/>
                <a:gd name="T16" fmla="*/ 90 w 112"/>
                <a:gd name="T17" fmla="*/ 0 h 213"/>
                <a:gd name="T18" fmla="*/ 101 w 112"/>
                <a:gd name="T19" fmla="*/ 17 h 213"/>
                <a:gd name="T20" fmla="*/ 110 w 112"/>
                <a:gd name="T21" fmla="*/ 56 h 213"/>
                <a:gd name="T22" fmla="*/ 102 w 112"/>
                <a:gd name="T23" fmla="*/ 68 h 213"/>
                <a:gd name="T24" fmla="*/ 95 w 112"/>
                <a:gd name="T25" fmla="*/ 90 h 213"/>
                <a:gd name="T26" fmla="*/ 80 w 112"/>
                <a:gd name="T27" fmla="*/ 129 h 213"/>
                <a:gd name="T28" fmla="*/ 74 w 112"/>
                <a:gd name="T29" fmla="*/ 159 h 213"/>
                <a:gd name="T30" fmla="*/ 66 w 112"/>
                <a:gd name="T31" fmla="*/ 186 h 213"/>
                <a:gd name="T32" fmla="*/ 33 w 112"/>
                <a:gd name="T33" fmla="*/ 210 h 213"/>
                <a:gd name="T34" fmla="*/ 15 w 112"/>
                <a:gd name="T35" fmla="*/ 20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13">
                  <a:moveTo>
                    <a:pt x="15" y="204"/>
                  </a:moveTo>
                  <a:cubicBezTo>
                    <a:pt x="9" y="195"/>
                    <a:pt x="12" y="181"/>
                    <a:pt x="3" y="179"/>
                  </a:cubicBezTo>
                  <a:cubicBezTo>
                    <a:pt x="0" y="163"/>
                    <a:pt x="0" y="148"/>
                    <a:pt x="14" y="140"/>
                  </a:cubicBezTo>
                  <a:cubicBezTo>
                    <a:pt x="21" y="128"/>
                    <a:pt x="18" y="110"/>
                    <a:pt x="12" y="98"/>
                  </a:cubicBezTo>
                  <a:cubicBezTo>
                    <a:pt x="16" y="66"/>
                    <a:pt x="15" y="61"/>
                    <a:pt x="47" y="56"/>
                  </a:cubicBezTo>
                  <a:cubicBezTo>
                    <a:pt x="52" y="52"/>
                    <a:pt x="54" y="48"/>
                    <a:pt x="59" y="44"/>
                  </a:cubicBezTo>
                  <a:cubicBezTo>
                    <a:pt x="62" y="39"/>
                    <a:pt x="64" y="36"/>
                    <a:pt x="69" y="32"/>
                  </a:cubicBezTo>
                  <a:cubicBezTo>
                    <a:pt x="73" y="25"/>
                    <a:pt x="72" y="21"/>
                    <a:pt x="80" y="18"/>
                  </a:cubicBezTo>
                  <a:cubicBezTo>
                    <a:pt x="85" y="12"/>
                    <a:pt x="83" y="5"/>
                    <a:pt x="90" y="0"/>
                  </a:cubicBezTo>
                  <a:cubicBezTo>
                    <a:pt x="99" y="3"/>
                    <a:pt x="96" y="9"/>
                    <a:pt x="101" y="17"/>
                  </a:cubicBezTo>
                  <a:cubicBezTo>
                    <a:pt x="103" y="31"/>
                    <a:pt x="105" y="43"/>
                    <a:pt x="110" y="56"/>
                  </a:cubicBezTo>
                  <a:cubicBezTo>
                    <a:pt x="112" y="66"/>
                    <a:pt x="107" y="60"/>
                    <a:pt x="102" y="68"/>
                  </a:cubicBezTo>
                  <a:cubicBezTo>
                    <a:pt x="105" y="78"/>
                    <a:pt x="103" y="84"/>
                    <a:pt x="95" y="90"/>
                  </a:cubicBezTo>
                  <a:cubicBezTo>
                    <a:pt x="94" y="103"/>
                    <a:pt x="91" y="120"/>
                    <a:pt x="80" y="129"/>
                  </a:cubicBezTo>
                  <a:cubicBezTo>
                    <a:pt x="79" y="140"/>
                    <a:pt x="81" y="150"/>
                    <a:pt x="74" y="159"/>
                  </a:cubicBezTo>
                  <a:cubicBezTo>
                    <a:pt x="72" y="169"/>
                    <a:pt x="71" y="177"/>
                    <a:pt x="66" y="186"/>
                  </a:cubicBezTo>
                  <a:cubicBezTo>
                    <a:pt x="64" y="211"/>
                    <a:pt x="57" y="206"/>
                    <a:pt x="33" y="210"/>
                  </a:cubicBezTo>
                  <a:cubicBezTo>
                    <a:pt x="25" y="213"/>
                    <a:pt x="20" y="209"/>
                    <a:pt x="15" y="20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88" name="Freeform 499"/>
            <p:cNvSpPr>
              <a:spLocks/>
            </p:cNvSpPr>
            <p:nvPr>
              <p:custDataLst>
                <p:tags r:id="rId56"/>
              </p:custDataLst>
            </p:nvPr>
          </p:nvSpPr>
          <p:spPr bwMode="gray">
            <a:xfrm>
              <a:off x="3190927" y="3544943"/>
              <a:ext cx="28761" cy="23802"/>
            </a:xfrm>
            <a:custGeom>
              <a:avLst/>
              <a:gdLst>
                <a:gd name="T0" fmla="*/ 18 w 30"/>
                <a:gd name="T1" fmla="*/ 0 h 25"/>
                <a:gd name="T2" fmla="*/ 5 w 30"/>
                <a:gd name="T3" fmla="*/ 23 h 25"/>
                <a:gd name="T4" fmla="*/ 20 w 30"/>
                <a:gd name="T5" fmla="*/ 21 h 25"/>
                <a:gd name="T6" fmla="*/ 18 w 30"/>
                <a:gd name="T7" fmla="*/ 0 h 25"/>
              </a:gdLst>
              <a:ahLst/>
              <a:cxnLst>
                <a:cxn ang="0">
                  <a:pos x="T0" y="T1"/>
                </a:cxn>
                <a:cxn ang="0">
                  <a:pos x="T2" y="T3"/>
                </a:cxn>
                <a:cxn ang="0">
                  <a:pos x="T4" y="T5"/>
                </a:cxn>
                <a:cxn ang="0">
                  <a:pos x="T6" y="T7"/>
                </a:cxn>
              </a:cxnLst>
              <a:rect l="0" t="0" r="r" b="b"/>
              <a:pathLst>
                <a:path w="30" h="25">
                  <a:moveTo>
                    <a:pt x="18" y="0"/>
                  </a:moveTo>
                  <a:cubicBezTo>
                    <a:pt x="0" y="3"/>
                    <a:pt x="3" y="3"/>
                    <a:pt x="5" y="23"/>
                  </a:cubicBezTo>
                  <a:cubicBezTo>
                    <a:pt x="10" y="22"/>
                    <a:pt x="17" y="25"/>
                    <a:pt x="20" y="21"/>
                  </a:cubicBezTo>
                  <a:cubicBezTo>
                    <a:pt x="30" y="7"/>
                    <a:pt x="9" y="6"/>
                    <a:pt x="18"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89" name="Freeform 500"/>
            <p:cNvSpPr>
              <a:spLocks/>
            </p:cNvSpPr>
            <p:nvPr>
              <p:custDataLst>
                <p:tags r:id="rId57"/>
              </p:custDataLst>
            </p:nvPr>
          </p:nvSpPr>
          <p:spPr bwMode="gray">
            <a:xfrm>
              <a:off x="3104645" y="2674185"/>
              <a:ext cx="168598" cy="178515"/>
            </a:xfrm>
            <a:custGeom>
              <a:avLst/>
              <a:gdLst>
                <a:gd name="T0" fmla="*/ 8 w 175"/>
                <a:gd name="T1" fmla="*/ 178 h 184"/>
                <a:gd name="T2" fmla="*/ 151 w 175"/>
                <a:gd name="T3" fmla="*/ 174 h 184"/>
                <a:gd name="T4" fmla="*/ 157 w 175"/>
                <a:gd name="T5" fmla="*/ 145 h 184"/>
                <a:gd name="T6" fmla="*/ 149 w 175"/>
                <a:gd name="T7" fmla="*/ 111 h 184"/>
                <a:gd name="T8" fmla="*/ 131 w 175"/>
                <a:gd name="T9" fmla="*/ 79 h 184"/>
                <a:gd name="T10" fmla="*/ 119 w 175"/>
                <a:gd name="T11" fmla="*/ 51 h 184"/>
                <a:gd name="T12" fmla="*/ 122 w 175"/>
                <a:gd name="T13" fmla="*/ 43 h 184"/>
                <a:gd name="T14" fmla="*/ 127 w 175"/>
                <a:gd name="T15" fmla="*/ 61 h 184"/>
                <a:gd name="T16" fmla="*/ 136 w 175"/>
                <a:gd name="T17" fmla="*/ 79 h 184"/>
                <a:gd name="T18" fmla="*/ 145 w 175"/>
                <a:gd name="T19" fmla="*/ 28 h 184"/>
                <a:gd name="T20" fmla="*/ 115 w 175"/>
                <a:gd name="T21" fmla="*/ 24 h 184"/>
                <a:gd name="T22" fmla="*/ 100 w 175"/>
                <a:gd name="T23" fmla="*/ 10 h 184"/>
                <a:gd name="T24" fmla="*/ 70 w 175"/>
                <a:gd name="T25" fmla="*/ 27 h 184"/>
                <a:gd name="T26" fmla="*/ 41 w 175"/>
                <a:gd name="T27" fmla="*/ 15 h 184"/>
                <a:gd name="T28" fmla="*/ 7 w 175"/>
                <a:gd name="T29" fmla="*/ 13 h 184"/>
                <a:gd name="T30" fmla="*/ 1 w 175"/>
                <a:gd name="T31" fmla="*/ 27 h 184"/>
                <a:gd name="T32" fmla="*/ 5 w 175"/>
                <a:gd name="T33" fmla="*/ 106 h 184"/>
                <a:gd name="T34" fmla="*/ 4 w 175"/>
                <a:gd name="T35" fmla="*/ 177 h 184"/>
                <a:gd name="T36" fmla="*/ 8 w 175"/>
                <a:gd name="T37" fmla="*/ 17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5" h="184">
                  <a:moveTo>
                    <a:pt x="8" y="178"/>
                  </a:moveTo>
                  <a:cubicBezTo>
                    <a:pt x="34" y="173"/>
                    <a:pt x="127" y="184"/>
                    <a:pt x="151" y="174"/>
                  </a:cubicBezTo>
                  <a:cubicBezTo>
                    <a:pt x="175" y="169"/>
                    <a:pt x="157" y="155"/>
                    <a:pt x="157" y="145"/>
                  </a:cubicBezTo>
                  <a:cubicBezTo>
                    <a:pt x="157" y="135"/>
                    <a:pt x="153" y="122"/>
                    <a:pt x="149" y="111"/>
                  </a:cubicBezTo>
                  <a:cubicBezTo>
                    <a:pt x="147" y="99"/>
                    <a:pt x="137" y="89"/>
                    <a:pt x="131" y="79"/>
                  </a:cubicBezTo>
                  <a:cubicBezTo>
                    <a:pt x="130" y="67"/>
                    <a:pt x="129" y="57"/>
                    <a:pt x="119" y="51"/>
                  </a:cubicBezTo>
                  <a:cubicBezTo>
                    <a:pt x="118" y="48"/>
                    <a:pt x="119" y="42"/>
                    <a:pt x="122" y="43"/>
                  </a:cubicBezTo>
                  <a:cubicBezTo>
                    <a:pt x="124" y="44"/>
                    <a:pt x="126" y="58"/>
                    <a:pt x="127" y="61"/>
                  </a:cubicBezTo>
                  <a:cubicBezTo>
                    <a:pt x="128" y="68"/>
                    <a:pt x="128" y="77"/>
                    <a:pt x="136" y="79"/>
                  </a:cubicBezTo>
                  <a:cubicBezTo>
                    <a:pt x="162" y="76"/>
                    <a:pt x="151" y="81"/>
                    <a:pt x="145" y="28"/>
                  </a:cubicBezTo>
                  <a:cubicBezTo>
                    <a:pt x="144" y="18"/>
                    <a:pt x="125" y="24"/>
                    <a:pt x="115" y="24"/>
                  </a:cubicBezTo>
                  <a:cubicBezTo>
                    <a:pt x="109" y="20"/>
                    <a:pt x="106" y="15"/>
                    <a:pt x="100" y="10"/>
                  </a:cubicBezTo>
                  <a:cubicBezTo>
                    <a:pt x="87" y="13"/>
                    <a:pt x="82" y="21"/>
                    <a:pt x="70" y="27"/>
                  </a:cubicBezTo>
                  <a:cubicBezTo>
                    <a:pt x="60" y="24"/>
                    <a:pt x="51" y="17"/>
                    <a:pt x="41" y="15"/>
                  </a:cubicBezTo>
                  <a:cubicBezTo>
                    <a:pt x="30" y="9"/>
                    <a:pt x="21" y="12"/>
                    <a:pt x="7" y="13"/>
                  </a:cubicBezTo>
                  <a:cubicBezTo>
                    <a:pt x="0" y="15"/>
                    <a:pt x="1" y="0"/>
                    <a:pt x="1" y="27"/>
                  </a:cubicBezTo>
                  <a:cubicBezTo>
                    <a:pt x="0" y="42"/>
                    <a:pt x="5" y="81"/>
                    <a:pt x="5" y="106"/>
                  </a:cubicBezTo>
                  <a:cubicBezTo>
                    <a:pt x="5" y="131"/>
                    <a:pt x="3" y="165"/>
                    <a:pt x="4" y="177"/>
                  </a:cubicBezTo>
                  <a:cubicBezTo>
                    <a:pt x="9" y="174"/>
                    <a:pt x="13" y="179"/>
                    <a:pt x="8" y="178"/>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90" name="Freeform 501"/>
            <p:cNvSpPr>
              <a:spLocks/>
            </p:cNvSpPr>
            <p:nvPr>
              <p:custDataLst>
                <p:tags r:id="rId58"/>
              </p:custDataLst>
            </p:nvPr>
          </p:nvSpPr>
          <p:spPr bwMode="gray">
            <a:xfrm>
              <a:off x="2508602" y="2746583"/>
              <a:ext cx="140829" cy="113060"/>
            </a:xfrm>
            <a:custGeom>
              <a:avLst/>
              <a:gdLst>
                <a:gd name="T0" fmla="*/ 118 w 146"/>
                <a:gd name="T1" fmla="*/ 0 h 117"/>
                <a:gd name="T2" fmla="*/ 62 w 146"/>
                <a:gd name="T3" fmla="*/ 2 h 117"/>
                <a:gd name="T4" fmla="*/ 54 w 146"/>
                <a:gd name="T5" fmla="*/ 4 h 117"/>
                <a:gd name="T6" fmla="*/ 50 w 146"/>
                <a:gd name="T7" fmla="*/ 24 h 117"/>
                <a:gd name="T8" fmla="*/ 32 w 146"/>
                <a:gd name="T9" fmla="*/ 30 h 117"/>
                <a:gd name="T10" fmla="*/ 22 w 146"/>
                <a:gd name="T11" fmla="*/ 60 h 117"/>
                <a:gd name="T12" fmla="*/ 4 w 146"/>
                <a:gd name="T13" fmla="*/ 92 h 117"/>
                <a:gd name="T14" fmla="*/ 3 w 146"/>
                <a:gd name="T15" fmla="*/ 114 h 117"/>
                <a:gd name="T16" fmla="*/ 19 w 146"/>
                <a:gd name="T17" fmla="*/ 108 h 117"/>
                <a:gd name="T18" fmla="*/ 43 w 146"/>
                <a:gd name="T19" fmla="*/ 106 h 117"/>
                <a:gd name="T20" fmla="*/ 58 w 146"/>
                <a:gd name="T21" fmla="*/ 108 h 117"/>
                <a:gd name="T22" fmla="*/ 60 w 146"/>
                <a:gd name="T23" fmla="*/ 90 h 117"/>
                <a:gd name="T24" fmla="*/ 60 w 146"/>
                <a:gd name="T25" fmla="*/ 76 h 117"/>
                <a:gd name="T26" fmla="*/ 72 w 146"/>
                <a:gd name="T27" fmla="*/ 72 h 117"/>
                <a:gd name="T28" fmla="*/ 76 w 146"/>
                <a:gd name="T29" fmla="*/ 66 h 117"/>
                <a:gd name="T30" fmla="*/ 75 w 146"/>
                <a:gd name="T31" fmla="*/ 52 h 117"/>
                <a:gd name="T32" fmla="*/ 75 w 146"/>
                <a:gd name="T33" fmla="*/ 46 h 117"/>
                <a:gd name="T34" fmla="*/ 78 w 146"/>
                <a:gd name="T35" fmla="*/ 33 h 117"/>
                <a:gd name="T36" fmla="*/ 88 w 146"/>
                <a:gd name="T37" fmla="*/ 30 h 117"/>
                <a:gd name="T38" fmla="*/ 106 w 146"/>
                <a:gd name="T39" fmla="*/ 34 h 117"/>
                <a:gd name="T40" fmla="*/ 130 w 146"/>
                <a:gd name="T41" fmla="*/ 30 h 117"/>
                <a:gd name="T42" fmla="*/ 138 w 146"/>
                <a:gd name="T43" fmla="*/ 21 h 117"/>
                <a:gd name="T44" fmla="*/ 118 w 146"/>
                <a:gd name="T4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17">
                  <a:moveTo>
                    <a:pt x="118" y="0"/>
                  </a:moveTo>
                  <a:cubicBezTo>
                    <a:pt x="99" y="1"/>
                    <a:pt x="81" y="1"/>
                    <a:pt x="62" y="2"/>
                  </a:cubicBezTo>
                  <a:cubicBezTo>
                    <a:pt x="59" y="2"/>
                    <a:pt x="56" y="2"/>
                    <a:pt x="54" y="4"/>
                  </a:cubicBezTo>
                  <a:cubicBezTo>
                    <a:pt x="50" y="10"/>
                    <a:pt x="55" y="20"/>
                    <a:pt x="50" y="24"/>
                  </a:cubicBezTo>
                  <a:cubicBezTo>
                    <a:pt x="45" y="28"/>
                    <a:pt x="32" y="30"/>
                    <a:pt x="32" y="30"/>
                  </a:cubicBezTo>
                  <a:cubicBezTo>
                    <a:pt x="28" y="42"/>
                    <a:pt x="35" y="56"/>
                    <a:pt x="22" y="60"/>
                  </a:cubicBezTo>
                  <a:cubicBezTo>
                    <a:pt x="15" y="71"/>
                    <a:pt x="11" y="81"/>
                    <a:pt x="4" y="92"/>
                  </a:cubicBezTo>
                  <a:cubicBezTo>
                    <a:pt x="0" y="98"/>
                    <a:pt x="3" y="114"/>
                    <a:pt x="3" y="114"/>
                  </a:cubicBezTo>
                  <a:cubicBezTo>
                    <a:pt x="6" y="117"/>
                    <a:pt x="12" y="109"/>
                    <a:pt x="19" y="108"/>
                  </a:cubicBezTo>
                  <a:cubicBezTo>
                    <a:pt x="26" y="107"/>
                    <a:pt x="37" y="106"/>
                    <a:pt x="43" y="106"/>
                  </a:cubicBezTo>
                  <a:cubicBezTo>
                    <a:pt x="49" y="106"/>
                    <a:pt x="55" y="111"/>
                    <a:pt x="58" y="108"/>
                  </a:cubicBezTo>
                  <a:cubicBezTo>
                    <a:pt x="63" y="94"/>
                    <a:pt x="63" y="100"/>
                    <a:pt x="60" y="90"/>
                  </a:cubicBezTo>
                  <a:cubicBezTo>
                    <a:pt x="61" y="85"/>
                    <a:pt x="57" y="80"/>
                    <a:pt x="60" y="76"/>
                  </a:cubicBezTo>
                  <a:cubicBezTo>
                    <a:pt x="62" y="73"/>
                    <a:pt x="68" y="74"/>
                    <a:pt x="72" y="72"/>
                  </a:cubicBezTo>
                  <a:cubicBezTo>
                    <a:pt x="73" y="67"/>
                    <a:pt x="75" y="68"/>
                    <a:pt x="76" y="66"/>
                  </a:cubicBezTo>
                  <a:cubicBezTo>
                    <a:pt x="76" y="62"/>
                    <a:pt x="75" y="57"/>
                    <a:pt x="75" y="52"/>
                  </a:cubicBezTo>
                  <a:cubicBezTo>
                    <a:pt x="75" y="49"/>
                    <a:pt x="75" y="49"/>
                    <a:pt x="75" y="46"/>
                  </a:cubicBezTo>
                  <a:cubicBezTo>
                    <a:pt x="75" y="43"/>
                    <a:pt x="76" y="36"/>
                    <a:pt x="78" y="33"/>
                  </a:cubicBezTo>
                  <a:cubicBezTo>
                    <a:pt x="80" y="30"/>
                    <a:pt x="83" y="30"/>
                    <a:pt x="88" y="30"/>
                  </a:cubicBezTo>
                  <a:cubicBezTo>
                    <a:pt x="93" y="30"/>
                    <a:pt x="99" y="34"/>
                    <a:pt x="106" y="34"/>
                  </a:cubicBezTo>
                  <a:cubicBezTo>
                    <a:pt x="113" y="34"/>
                    <a:pt x="125" y="32"/>
                    <a:pt x="130" y="30"/>
                  </a:cubicBezTo>
                  <a:cubicBezTo>
                    <a:pt x="133" y="21"/>
                    <a:pt x="146" y="27"/>
                    <a:pt x="138" y="21"/>
                  </a:cubicBezTo>
                  <a:cubicBezTo>
                    <a:pt x="133" y="13"/>
                    <a:pt x="121" y="8"/>
                    <a:pt x="118"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91" name="Freeform 502"/>
            <p:cNvSpPr>
              <a:spLocks/>
            </p:cNvSpPr>
            <p:nvPr>
              <p:custDataLst>
                <p:tags r:id="rId59"/>
              </p:custDataLst>
            </p:nvPr>
          </p:nvSpPr>
          <p:spPr bwMode="gray">
            <a:xfrm>
              <a:off x="2564140" y="2616664"/>
              <a:ext cx="166614" cy="132895"/>
            </a:xfrm>
            <a:custGeom>
              <a:avLst/>
              <a:gdLst>
                <a:gd name="T0" fmla="*/ 0 w 173"/>
                <a:gd name="T1" fmla="*/ 138 h 138"/>
                <a:gd name="T2" fmla="*/ 27 w 173"/>
                <a:gd name="T3" fmla="*/ 124 h 138"/>
                <a:gd name="T4" fmla="*/ 39 w 173"/>
                <a:gd name="T5" fmla="*/ 114 h 138"/>
                <a:gd name="T6" fmla="*/ 54 w 173"/>
                <a:gd name="T7" fmla="*/ 63 h 138"/>
                <a:gd name="T8" fmla="*/ 72 w 173"/>
                <a:gd name="T9" fmla="*/ 42 h 138"/>
                <a:gd name="T10" fmla="*/ 90 w 173"/>
                <a:gd name="T11" fmla="*/ 30 h 138"/>
                <a:gd name="T12" fmla="*/ 102 w 173"/>
                <a:gd name="T13" fmla="*/ 15 h 138"/>
                <a:gd name="T14" fmla="*/ 108 w 173"/>
                <a:gd name="T15" fmla="*/ 0 h 138"/>
                <a:gd name="T16" fmla="*/ 144 w 173"/>
                <a:gd name="T17" fmla="*/ 4 h 138"/>
                <a:gd name="T18" fmla="*/ 168 w 173"/>
                <a:gd name="T19" fmla="*/ 12 h 138"/>
                <a:gd name="T20" fmla="*/ 171 w 173"/>
                <a:gd name="T21" fmla="*/ 57 h 138"/>
                <a:gd name="T22" fmla="*/ 154 w 173"/>
                <a:gd name="T23" fmla="*/ 64 h 138"/>
                <a:gd name="T24" fmla="*/ 145 w 173"/>
                <a:gd name="T25" fmla="*/ 76 h 138"/>
                <a:gd name="T26" fmla="*/ 133 w 173"/>
                <a:gd name="T27" fmla="*/ 85 h 138"/>
                <a:gd name="T28" fmla="*/ 118 w 173"/>
                <a:gd name="T29" fmla="*/ 96 h 138"/>
                <a:gd name="T30" fmla="*/ 104 w 173"/>
                <a:gd name="T31" fmla="*/ 108 h 138"/>
                <a:gd name="T32" fmla="*/ 85 w 173"/>
                <a:gd name="T33" fmla="*/ 109 h 138"/>
                <a:gd name="T34" fmla="*/ 61 w 173"/>
                <a:gd name="T35" fmla="*/ 133 h 138"/>
                <a:gd name="T36" fmla="*/ 0 w 173"/>
                <a:gd name="T3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3" h="138">
                  <a:moveTo>
                    <a:pt x="0" y="138"/>
                  </a:moveTo>
                  <a:cubicBezTo>
                    <a:pt x="6" y="135"/>
                    <a:pt x="21" y="128"/>
                    <a:pt x="27" y="124"/>
                  </a:cubicBezTo>
                  <a:cubicBezTo>
                    <a:pt x="31" y="118"/>
                    <a:pt x="31" y="115"/>
                    <a:pt x="39" y="114"/>
                  </a:cubicBezTo>
                  <a:cubicBezTo>
                    <a:pt x="60" y="104"/>
                    <a:pt x="42" y="80"/>
                    <a:pt x="54" y="63"/>
                  </a:cubicBezTo>
                  <a:cubicBezTo>
                    <a:pt x="56" y="53"/>
                    <a:pt x="61" y="44"/>
                    <a:pt x="72" y="42"/>
                  </a:cubicBezTo>
                  <a:cubicBezTo>
                    <a:pt x="77" y="36"/>
                    <a:pt x="82" y="32"/>
                    <a:pt x="90" y="30"/>
                  </a:cubicBezTo>
                  <a:cubicBezTo>
                    <a:pt x="97" y="27"/>
                    <a:pt x="98" y="21"/>
                    <a:pt x="102" y="15"/>
                  </a:cubicBezTo>
                  <a:cubicBezTo>
                    <a:pt x="103" y="9"/>
                    <a:pt x="104" y="5"/>
                    <a:pt x="108" y="0"/>
                  </a:cubicBezTo>
                  <a:cubicBezTo>
                    <a:pt x="121" y="1"/>
                    <a:pt x="131" y="3"/>
                    <a:pt x="144" y="4"/>
                  </a:cubicBezTo>
                  <a:cubicBezTo>
                    <a:pt x="154" y="5"/>
                    <a:pt x="163" y="3"/>
                    <a:pt x="168" y="12"/>
                  </a:cubicBezTo>
                  <a:cubicBezTo>
                    <a:pt x="172" y="20"/>
                    <a:pt x="173" y="48"/>
                    <a:pt x="171" y="57"/>
                  </a:cubicBezTo>
                  <a:cubicBezTo>
                    <a:pt x="169" y="66"/>
                    <a:pt x="158" y="61"/>
                    <a:pt x="154" y="64"/>
                  </a:cubicBezTo>
                  <a:cubicBezTo>
                    <a:pt x="149" y="68"/>
                    <a:pt x="148" y="71"/>
                    <a:pt x="145" y="76"/>
                  </a:cubicBezTo>
                  <a:cubicBezTo>
                    <a:pt x="143" y="84"/>
                    <a:pt x="140" y="84"/>
                    <a:pt x="133" y="85"/>
                  </a:cubicBezTo>
                  <a:cubicBezTo>
                    <a:pt x="127" y="89"/>
                    <a:pt x="124" y="92"/>
                    <a:pt x="118" y="96"/>
                  </a:cubicBezTo>
                  <a:cubicBezTo>
                    <a:pt x="113" y="100"/>
                    <a:pt x="109" y="106"/>
                    <a:pt x="104" y="108"/>
                  </a:cubicBezTo>
                  <a:cubicBezTo>
                    <a:pt x="99" y="110"/>
                    <a:pt x="92" y="105"/>
                    <a:pt x="85" y="109"/>
                  </a:cubicBezTo>
                  <a:cubicBezTo>
                    <a:pt x="77" y="113"/>
                    <a:pt x="62" y="133"/>
                    <a:pt x="61" y="133"/>
                  </a:cubicBezTo>
                  <a:cubicBezTo>
                    <a:pt x="44" y="134"/>
                    <a:pt x="17" y="138"/>
                    <a:pt x="0" y="138"/>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92" name="Freeform 503"/>
            <p:cNvSpPr>
              <a:spLocks/>
            </p:cNvSpPr>
            <p:nvPr>
              <p:custDataLst>
                <p:tags r:id="rId60"/>
              </p:custDataLst>
            </p:nvPr>
          </p:nvSpPr>
          <p:spPr bwMode="gray">
            <a:xfrm>
              <a:off x="3249441" y="2677161"/>
              <a:ext cx="295542" cy="252897"/>
            </a:xfrm>
            <a:custGeom>
              <a:avLst/>
              <a:gdLst>
                <a:gd name="T0" fmla="*/ 7 w 306"/>
                <a:gd name="T1" fmla="*/ 45 h 262"/>
                <a:gd name="T2" fmla="*/ 23 w 306"/>
                <a:gd name="T3" fmla="*/ 45 h 262"/>
                <a:gd name="T4" fmla="*/ 37 w 306"/>
                <a:gd name="T5" fmla="*/ 36 h 262"/>
                <a:gd name="T6" fmla="*/ 35 w 306"/>
                <a:gd name="T7" fmla="*/ 15 h 262"/>
                <a:gd name="T8" fmla="*/ 37 w 306"/>
                <a:gd name="T9" fmla="*/ 6 h 262"/>
                <a:gd name="T10" fmla="*/ 59 w 306"/>
                <a:gd name="T11" fmla="*/ 3 h 262"/>
                <a:gd name="T12" fmla="*/ 79 w 306"/>
                <a:gd name="T13" fmla="*/ 1 h 262"/>
                <a:gd name="T14" fmla="*/ 94 w 306"/>
                <a:gd name="T15" fmla="*/ 7 h 262"/>
                <a:gd name="T16" fmla="*/ 106 w 306"/>
                <a:gd name="T17" fmla="*/ 18 h 262"/>
                <a:gd name="T18" fmla="*/ 121 w 306"/>
                <a:gd name="T19" fmla="*/ 24 h 262"/>
                <a:gd name="T20" fmla="*/ 128 w 306"/>
                <a:gd name="T21" fmla="*/ 36 h 262"/>
                <a:gd name="T22" fmla="*/ 128 w 306"/>
                <a:gd name="T23" fmla="*/ 39 h 262"/>
                <a:gd name="T24" fmla="*/ 139 w 306"/>
                <a:gd name="T25" fmla="*/ 43 h 262"/>
                <a:gd name="T26" fmla="*/ 154 w 306"/>
                <a:gd name="T27" fmla="*/ 48 h 262"/>
                <a:gd name="T28" fmla="*/ 185 w 306"/>
                <a:gd name="T29" fmla="*/ 52 h 262"/>
                <a:gd name="T30" fmla="*/ 200 w 306"/>
                <a:gd name="T31" fmla="*/ 58 h 262"/>
                <a:gd name="T32" fmla="*/ 214 w 306"/>
                <a:gd name="T33" fmla="*/ 81 h 262"/>
                <a:gd name="T34" fmla="*/ 223 w 306"/>
                <a:gd name="T35" fmla="*/ 94 h 262"/>
                <a:gd name="T36" fmla="*/ 235 w 306"/>
                <a:gd name="T37" fmla="*/ 111 h 262"/>
                <a:gd name="T38" fmla="*/ 247 w 306"/>
                <a:gd name="T39" fmla="*/ 129 h 262"/>
                <a:gd name="T40" fmla="*/ 254 w 306"/>
                <a:gd name="T41" fmla="*/ 156 h 262"/>
                <a:gd name="T42" fmla="*/ 280 w 306"/>
                <a:gd name="T43" fmla="*/ 162 h 262"/>
                <a:gd name="T44" fmla="*/ 302 w 306"/>
                <a:gd name="T45" fmla="*/ 163 h 262"/>
                <a:gd name="T46" fmla="*/ 304 w 306"/>
                <a:gd name="T47" fmla="*/ 177 h 262"/>
                <a:gd name="T48" fmla="*/ 296 w 306"/>
                <a:gd name="T49" fmla="*/ 193 h 262"/>
                <a:gd name="T50" fmla="*/ 281 w 306"/>
                <a:gd name="T51" fmla="*/ 204 h 262"/>
                <a:gd name="T52" fmla="*/ 274 w 306"/>
                <a:gd name="T53" fmla="*/ 210 h 262"/>
                <a:gd name="T54" fmla="*/ 257 w 306"/>
                <a:gd name="T55" fmla="*/ 214 h 262"/>
                <a:gd name="T56" fmla="*/ 236 w 306"/>
                <a:gd name="T57" fmla="*/ 223 h 262"/>
                <a:gd name="T58" fmla="*/ 208 w 306"/>
                <a:gd name="T59" fmla="*/ 224 h 262"/>
                <a:gd name="T60" fmla="*/ 197 w 306"/>
                <a:gd name="T61" fmla="*/ 228 h 262"/>
                <a:gd name="T62" fmla="*/ 191 w 306"/>
                <a:gd name="T63" fmla="*/ 231 h 262"/>
                <a:gd name="T64" fmla="*/ 182 w 306"/>
                <a:gd name="T65" fmla="*/ 249 h 262"/>
                <a:gd name="T66" fmla="*/ 169 w 306"/>
                <a:gd name="T67" fmla="*/ 262 h 262"/>
                <a:gd name="T68" fmla="*/ 137 w 306"/>
                <a:gd name="T69" fmla="*/ 246 h 262"/>
                <a:gd name="T70" fmla="*/ 113 w 306"/>
                <a:gd name="T71" fmla="*/ 247 h 262"/>
                <a:gd name="T72" fmla="*/ 107 w 306"/>
                <a:gd name="T73" fmla="*/ 238 h 262"/>
                <a:gd name="T74" fmla="*/ 83 w 306"/>
                <a:gd name="T75" fmla="*/ 208 h 262"/>
                <a:gd name="T76" fmla="*/ 68 w 306"/>
                <a:gd name="T77" fmla="*/ 192 h 262"/>
                <a:gd name="T78" fmla="*/ 61 w 306"/>
                <a:gd name="T79" fmla="*/ 154 h 262"/>
                <a:gd name="T80" fmla="*/ 37 w 306"/>
                <a:gd name="T81" fmla="*/ 127 h 262"/>
                <a:gd name="T82" fmla="*/ 31 w 306"/>
                <a:gd name="T83" fmla="*/ 120 h 262"/>
                <a:gd name="T84" fmla="*/ 20 w 306"/>
                <a:gd name="T85" fmla="*/ 96 h 262"/>
                <a:gd name="T86" fmla="*/ 8 w 306"/>
                <a:gd name="T87" fmla="*/ 78 h 262"/>
                <a:gd name="T88" fmla="*/ 1 w 306"/>
                <a:gd name="T89" fmla="*/ 60 h 262"/>
                <a:gd name="T90" fmla="*/ 7 w 306"/>
                <a:gd name="T91" fmla="*/ 4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262">
                  <a:moveTo>
                    <a:pt x="7" y="45"/>
                  </a:moveTo>
                  <a:cubicBezTo>
                    <a:pt x="14" y="46"/>
                    <a:pt x="17" y="49"/>
                    <a:pt x="23" y="45"/>
                  </a:cubicBezTo>
                  <a:cubicBezTo>
                    <a:pt x="27" y="38"/>
                    <a:pt x="29" y="37"/>
                    <a:pt x="37" y="36"/>
                  </a:cubicBezTo>
                  <a:cubicBezTo>
                    <a:pt x="48" y="30"/>
                    <a:pt x="44" y="20"/>
                    <a:pt x="35" y="15"/>
                  </a:cubicBezTo>
                  <a:cubicBezTo>
                    <a:pt x="34" y="12"/>
                    <a:pt x="32" y="7"/>
                    <a:pt x="37" y="6"/>
                  </a:cubicBezTo>
                  <a:cubicBezTo>
                    <a:pt x="44" y="4"/>
                    <a:pt x="59" y="3"/>
                    <a:pt x="59" y="3"/>
                  </a:cubicBezTo>
                  <a:cubicBezTo>
                    <a:pt x="67" y="0"/>
                    <a:pt x="71" y="0"/>
                    <a:pt x="79" y="1"/>
                  </a:cubicBezTo>
                  <a:cubicBezTo>
                    <a:pt x="84" y="4"/>
                    <a:pt x="88" y="6"/>
                    <a:pt x="94" y="7"/>
                  </a:cubicBezTo>
                  <a:cubicBezTo>
                    <a:pt x="100" y="10"/>
                    <a:pt x="106" y="18"/>
                    <a:pt x="106" y="18"/>
                  </a:cubicBezTo>
                  <a:cubicBezTo>
                    <a:pt x="109" y="24"/>
                    <a:pt x="115" y="20"/>
                    <a:pt x="121" y="24"/>
                  </a:cubicBezTo>
                  <a:cubicBezTo>
                    <a:pt x="122" y="31"/>
                    <a:pt x="122" y="33"/>
                    <a:pt x="128" y="36"/>
                  </a:cubicBezTo>
                  <a:cubicBezTo>
                    <a:pt x="129" y="38"/>
                    <a:pt x="126" y="38"/>
                    <a:pt x="128" y="39"/>
                  </a:cubicBezTo>
                  <a:cubicBezTo>
                    <a:pt x="130" y="40"/>
                    <a:pt x="135" y="42"/>
                    <a:pt x="139" y="43"/>
                  </a:cubicBezTo>
                  <a:cubicBezTo>
                    <a:pt x="144" y="45"/>
                    <a:pt x="149" y="46"/>
                    <a:pt x="154" y="48"/>
                  </a:cubicBezTo>
                  <a:cubicBezTo>
                    <a:pt x="166" y="57"/>
                    <a:pt x="152" y="48"/>
                    <a:pt x="185" y="52"/>
                  </a:cubicBezTo>
                  <a:cubicBezTo>
                    <a:pt x="190" y="53"/>
                    <a:pt x="195" y="57"/>
                    <a:pt x="200" y="58"/>
                  </a:cubicBezTo>
                  <a:cubicBezTo>
                    <a:pt x="202" y="70"/>
                    <a:pt x="203" y="76"/>
                    <a:pt x="214" y="81"/>
                  </a:cubicBezTo>
                  <a:cubicBezTo>
                    <a:pt x="222" y="91"/>
                    <a:pt x="219" y="87"/>
                    <a:pt x="223" y="94"/>
                  </a:cubicBezTo>
                  <a:cubicBezTo>
                    <a:pt x="224" y="107"/>
                    <a:pt x="224" y="106"/>
                    <a:pt x="235" y="111"/>
                  </a:cubicBezTo>
                  <a:cubicBezTo>
                    <a:pt x="239" y="118"/>
                    <a:pt x="241" y="125"/>
                    <a:pt x="247" y="129"/>
                  </a:cubicBezTo>
                  <a:cubicBezTo>
                    <a:pt x="250" y="137"/>
                    <a:pt x="245" y="151"/>
                    <a:pt x="254" y="156"/>
                  </a:cubicBezTo>
                  <a:cubicBezTo>
                    <a:pt x="259" y="161"/>
                    <a:pt x="272" y="161"/>
                    <a:pt x="280" y="162"/>
                  </a:cubicBezTo>
                  <a:cubicBezTo>
                    <a:pt x="288" y="163"/>
                    <a:pt x="298" y="160"/>
                    <a:pt x="302" y="163"/>
                  </a:cubicBezTo>
                  <a:cubicBezTo>
                    <a:pt x="306" y="166"/>
                    <a:pt x="305" y="172"/>
                    <a:pt x="304" y="177"/>
                  </a:cubicBezTo>
                  <a:cubicBezTo>
                    <a:pt x="303" y="182"/>
                    <a:pt x="300" y="188"/>
                    <a:pt x="296" y="193"/>
                  </a:cubicBezTo>
                  <a:cubicBezTo>
                    <a:pt x="293" y="201"/>
                    <a:pt x="286" y="201"/>
                    <a:pt x="281" y="204"/>
                  </a:cubicBezTo>
                  <a:cubicBezTo>
                    <a:pt x="277" y="207"/>
                    <a:pt x="278" y="208"/>
                    <a:pt x="274" y="210"/>
                  </a:cubicBezTo>
                  <a:cubicBezTo>
                    <a:pt x="270" y="212"/>
                    <a:pt x="263" y="212"/>
                    <a:pt x="257" y="214"/>
                  </a:cubicBezTo>
                  <a:cubicBezTo>
                    <a:pt x="245" y="223"/>
                    <a:pt x="254" y="222"/>
                    <a:pt x="236" y="223"/>
                  </a:cubicBezTo>
                  <a:cubicBezTo>
                    <a:pt x="227" y="225"/>
                    <a:pt x="214" y="223"/>
                    <a:pt x="208" y="224"/>
                  </a:cubicBezTo>
                  <a:cubicBezTo>
                    <a:pt x="202" y="225"/>
                    <a:pt x="200" y="227"/>
                    <a:pt x="197" y="228"/>
                  </a:cubicBezTo>
                  <a:cubicBezTo>
                    <a:pt x="194" y="231"/>
                    <a:pt x="193" y="228"/>
                    <a:pt x="191" y="231"/>
                  </a:cubicBezTo>
                  <a:cubicBezTo>
                    <a:pt x="189" y="234"/>
                    <a:pt x="186" y="244"/>
                    <a:pt x="182" y="249"/>
                  </a:cubicBezTo>
                  <a:cubicBezTo>
                    <a:pt x="179" y="254"/>
                    <a:pt x="174" y="259"/>
                    <a:pt x="169" y="262"/>
                  </a:cubicBezTo>
                  <a:cubicBezTo>
                    <a:pt x="154" y="259"/>
                    <a:pt x="149" y="248"/>
                    <a:pt x="137" y="246"/>
                  </a:cubicBezTo>
                  <a:cubicBezTo>
                    <a:pt x="129" y="246"/>
                    <a:pt x="121" y="248"/>
                    <a:pt x="113" y="247"/>
                  </a:cubicBezTo>
                  <a:cubicBezTo>
                    <a:pt x="112" y="247"/>
                    <a:pt x="107" y="238"/>
                    <a:pt x="107" y="238"/>
                  </a:cubicBezTo>
                  <a:cubicBezTo>
                    <a:pt x="101" y="228"/>
                    <a:pt x="93" y="214"/>
                    <a:pt x="83" y="208"/>
                  </a:cubicBezTo>
                  <a:cubicBezTo>
                    <a:pt x="80" y="201"/>
                    <a:pt x="75" y="196"/>
                    <a:pt x="68" y="192"/>
                  </a:cubicBezTo>
                  <a:cubicBezTo>
                    <a:pt x="58" y="175"/>
                    <a:pt x="64" y="186"/>
                    <a:pt x="61" y="154"/>
                  </a:cubicBezTo>
                  <a:cubicBezTo>
                    <a:pt x="60" y="142"/>
                    <a:pt x="45" y="133"/>
                    <a:pt x="37" y="127"/>
                  </a:cubicBezTo>
                  <a:cubicBezTo>
                    <a:pt x="36" y="124"/>
                    <a:pt x="32" y="123"/>
                    <a:pt x="31" y="120"/>
                  </a:cubicBezTo>
                  <a:cubicBezTo>
                    <a:pt x="27" y="107"/>
                    <a:pt x="34" y="98"/>
                    <a:pt x="20" y="96"/>
                  </a:cubicBezTo>
                  <a:cubicBezTo>
                    <a:pt x="18" y="88"/>
                    <a:pt x="14" y="83"/>
                    <a:pt x="8" y="78"/>
                  </a:cubicBezTo>
                  <a:cubicBezTo>
                    <a:pt x="7" y="72"/>
                    <a:pt x="5" y="65"/>
                    <a:pt x="1" y="60"/>
                  </a:cubicBezTo>
                  <a:cubicBezTo>
                    <a:pt x="1" y="55"/>
                    <a:pt x="0" y="45"/>
                    <a:pt x="7" y="4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93" name="Freeform 504"/>
            <p:cNvSpPr>
              <a:spLocks/>
            </p:cNvSpPr>
            <p:nvPr>
              <p:custDataLst>
                <p:tags r:id="rId61"/>
              </p:custDataLst>
            </p:nvPr>
          </p:nvSpPr>
          <p:spPr bwMode="gray">
            <a:xfrm>
              <a:off x="3240515" y="2656334"/>
              <a:ext cx="70415" cy="70415"/>
            </a:xfrm>
            <a:custGeom>
              <a:avLst/>
              <a:gdLst>
                <a:gd name="T0" fmla="*/ 8 w 73"/>
                <a:gd name="T1" fmla="*/ 70 h 73"/>
                <a:gd name="T2" fmla="*/ 31 w 73"/>
                <a:gd name="T3" fmla="*/ 67 h 73"/>
                <a:gd name="T4" fmla="*/ 41 w 73"/>
                <a:gd name="T5" fmla="*/ 56 h 73"/>
                <a:gd name="T6" fmla="*/ 50 w 73"/>
                <a:gd name="T7" fmla="*/ 58 h 73"/>
                <a:gd name="T8" fmla="*/ 46 w 73"/>
                <a:gd name="T9" fmla="*/ 37 h 73"/>
                <a:gd name="T10" fmla="*/ 57 w 73"/>
                <a:gd name="T11" fmla="*/ 26 h 73"/>
                <a:gd name="T12" fmla="*/ 70 w 73"/>
                <a:gd name="T13" fmla="*/ 28 h 73"/>
                <a:gd name="T14" fmla="*/ 64 w 73"/>
                <a:gd name="T15" fmla="*/ 17 h 73"/>
                <a:gd name="T16" fmla="*/ 58 w 73"/>
                <a:gd name="T17" fmla="*/ 2 h 73"/>
                <a:gd name="T18" fmla="*/ 46 w 73"/>
                <a:gd name="T19" fmla="*/ 5 h 73"/>
                <a:gd name="T20" fmla="*/ 38 w 73"/>
                <a:gd name="T21" fmla="*/ 14 h 73"/>
                <a:gd name="T22" fmla="*/ 41 w 73"/>
                <a:gd name="T23" fmla="*/ 14 h 73"/>
                <a:gd name="T24" fmla="*/ 26 w 73"/>
                <a:gd name="T25" fmla="*/ 11 h 73"/>
                <a:gd name="T26" fmla="*/ 16 w 73"/>
                <a:gd name="T27" fmla="*/ 22 h 73"/>
                <a:gd name="T28" fmla="*/ 4 w 73"/>
                <a:gd name="T29" fmla="*/ 44 h 73"/>
                <a:gd name="T30" fmla="*/ 5 w 73"/>
                <a:gd name="T31" fmla="*/ 65 h 73"/>
                <a:gd name="T32" fmla="*/ 8 w 73"/>
                <a:gd name="T33" fmla="*/ 7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3">
                  <a:moveTo>
                    <a:pt x="8" y="70"/>
                  </a:moveTo>
                  <a:cubicBezTo>
                    <a:pt x="22" y="64"/>
                    <a:pt x="0" y="73"/>
                    <a:pt x="31" y="67"/>
                  </a:cubicBezTo>
                  <a:cubicBezTo>
                    <a:pt x="36" y="66"/>
                    <a:pt x="38" y="57"/>
                    <a:pt x="41" y="56"/>
                  </a:cubicBezTo>
                  <a:cubicBezTo>
                    <a:pt x="44" y="55"/>
                    <a:pt x="49" y="61"/>
                    <a:pt x="50" y="58"/>
                  </a:cubicBezTo>
                  <a:cubicBezTo>
                    <a:pt x="53" y="51"/>
                    <a:pt x="51" y="43"/>
                    <a:pt x="46" y="37"/>
                  </a:cubicBezTo>
                  <a:cubicBezTo>
                    <a:pt x="47" y="32"/>
                    <a:pt x="53" y="27"/>
                    <a:pt x="57" y="26"/>
                  </a:cubicBezTo>
                  <a:cubicBezTo>
                    <a:pt x="61" y="25"/>
                    <a:pt x="69" y="29"/>
                    <a:pt x="70" y="28"/>
                  </a:cubicBezTo>
                  <a:cubicBezTo>
                    <a:pt x="73" y="24"/>
                    <a:pt x="66" y="21"/>
                    <a:pt x="64" y="17"/>
                  </a:cubicBezTo>
                  <a:cubicBezTo>
                    <a:pt x="62" y="13"/>
                    <a:pt x="61" y="4"/>
                    <a:pt x="58" y="2"/>
                  </a:cubicBezTo>
                  <a:cubicBezTo>
                    <a:pt x="55" y="0"/>
                    <a:pt x="49" y="3"/>
                    <a:pt x="46" y="5"/>
                  </a:cubicBezTo>
                  <a:cubicBezTo>
                    <a:pt x="44" y="6"/>
                    <a:pt x="39" y="12"/>
                    <a:pt x="38" y="14"/>
                  </a:cubicBezTo>
                  <a:cubicBezTo>
                    <a:pt x="37" y="17"/>
                    <a:pt x="43" y="11"/>
                    <a:pt x="41" y="14"/>
                  </a:cubicBezTo>
                  <a:cubicBezTo>
                    <a:pt x="41" y="14"/>
                    <a:pt x="27" y="12"/>
                    <a:pt x="26" y="11"/>
                  </a:cubicBezTo>
                  <a:cubicBezTo>
                    <a:pt x="21" y="14"/>
                    <a:pt x="19" y="17"/>
                    <a:pt x="16" y="22"/>
                  </a:cubicBezTo>
                  <a:cubicBezTo>
                    <a:pt x="14" y="38"/>
                    <a:pt x="18" y="42"/>
                    <a:pt x="4" y="44"/>
                  </a:cubicBezTo>
                  <a:cubicBezTo>
                    <a:pt x="4" y="51"/>
                    <a:pt x="4" y="58"/>
                    <a:pt x="5" y="65"/>
                  </a:cubicBezTo>
                  <a:cubicBezTo>
                    <a:pt x="5" y="67"/>
                    <a:pt x="8" y="70"/>
                    <a:pt x="8" y="7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94" name="Freeform 505"/>
            <p:cNvSpPr>
              <a:spLocks/>
            </p:cNvSpPr>
            <p:nvPr>
              <p:custDataLst>
                <p:tags r:id="rId62"/>
              </p:custDataLst>
            </p:nvPr>
          </p:nvSpPr>
          <p:spPr bwMode="gray">
            <a:xfrm>
              <a:off x="2581001" y="3043117"/>
              <a:ext cx="70415" cy="51571"/>
            </a:xfrm>
            <a:custGeom>
              <a:avLst/>
              <a:gdLst>
                <a:gd name="T0" fmla="*/ 51 w 73"/>
                <a:gd name="T1" fmla="*/ 17 h 53"/>
                <a:gd name="T2" fmla="*/ 47 w 73"/>
                <a:gd name="T3" fmla="*/ 11 h 53"/>
                <a:gd name="T4" fmla="*/ 36 w 73"/>
                <a:gd name="T5" fmla="*/ 11 h 53"/>
                <a:gd name="T6" fmla="*/ 18 w 73"/>
                <a:gd name="T7" fmla="*/ 0 h 53"/>
                <a:gd name="T8" fmla="*/ 7 w 73"/>
                <a:gd name="T9" fmla="*/ 11 h 53"/>
                <a:gd name="T10" fmla="*/ 1 w 73"/>
                <a:gd name="T11" fmla="*/ 23 h 53"/>
                <a:gd name="T12" fmla="*/ 15 w 73"/>
                <a:gd name="T13" fmla="*/ 27 h 53"/>
                <a:gd name="T14" fmla="*/ 27 w 73"/>
                <a:gd name="T15" fmla="*/ 35 h 53"/>
                <a:gd name="T16" fmla="*/ 43 w 73"/>
                <a:gd name="T17" fmla="*/ 49 h 53"/>
                <a:gd name="T18" fmla="*/ 55 w 73"/>
                <a:gd name="T19" fmla="*/ 53 h 53"/>
                <a:gd name="T20" fmla="*/ 55 w 73"/>
                <a:gd name="T21" fmla="*/ 31 h 53"/>
                <a:gd name="T22" fmla="*/ 51 w 73"/>
                <a:gd name="T23" fmla="*/ 1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3">
                  <a:moveTo>
                    <a:pt x="51" y="17"/>
                  </a:moveTo>
                  <a:cubicBezTo>
                    <a:pt x="50" y="15"/>
                    <a:pt x="49" y="11"/>
                    <a:pt x="47" y="11"/>
                  </a:cubicBezTo>
                  <a:cubicBezTo>
                    <a:pt x="44" y="9"/>
                    <a:pt x="41" y="13"/>
                    <a:pt x="36" y="11"/>
                  </a:cubicBezTo>
                  <a:cubicBezTo>
                    <a:pt x="31" y="9"/>
                    <a:pt x="23" y="0"/>
                    <a:pt x="18" y="0"/>
                  </a:cubicBezTo>
                  <a:cubicBezTo>
                    <a:pt x="13" y="0"/>
                    <a:pt x="10" y="7"/>
                    <a:pt x="7" y="11"/>
                  </a:cubicBezTo>
                  <a:cubicBezTo>
                    <a:pt x="7" y="12"/>
                    <a:pt x="0" y="21"/>
                    <a:pt x="1" y="23"/>
                  </a:cubicBezTo>
                  <a:cubicBezTo>
                    <a:pt x="4" y="27"/>
                    <a:pt x="11" y="25"/>
                    <a:pt x="15" y="27"/>
                  </a:cubicBezTo>
                  <a:cubicBezTo>
                    <a:pt x="19" y="29"/>
                    <a:pt x="27" y="35"/>
                    <a:pt x="27" y="35"/>
                  </a:cubicBezTo>
                  <a:cubicBezTo>
                    <a:pt x="29" y="38"/>
                    <a:pt x="40" y="47"/>
                    <a:pt x="43" y="49"/>
                  </a:cubicBezTo>
                  <a:cubicBezTo>
                    <a:pt x="47" y="51"/>
                    <a:pt x="55" y="53"/>
                    <a:pt x="55" y="53"/>
                  </a:cubicBezTo>
                  <a:cubicBezTo>
                    <a:pt x="73" y="49"/>
                    <a:pt x="65" y="38"/>
                    <a:pt x="55" y="31"/>
                  </a:cubicBezTo>
                  <a:cubicBezTo>
                    <a:pt x="52" y="22"/>
                    <a:pt x="54" y="27"/>
                    <a:pt x="51" y="17"/>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95" name="Freeform 510"/>
            <p:cNvSpPr>
              <a:spLocks/>
            </p:cNvSpPr>
            <p:nvPr>
              <p:custDataLst>
                <p:tags r:id="rId63"/>
              </p:custDataLst>
            </p:nvPr>
          </p:nvSpPr>
          <p:spPr bwMode="gray">
            <a:xfrm>
              <a:off x="2834889" y="2379635"/>
              <a:ext cx="73390" cy="45621"/>
            </a:xfrm>
            <a:custGeom>
              <a:avLst/>
              <a:gdLst>
                <a:gd name="T0" fmla="*/ 13 w 76"/>
                <a:gd name="T1" fmla="*/ 12 h 48"/>
                <a:gd name="T2" fmla="*/ 47 w 76"/>
                <a:gd name="T3" fmla="*/ 4 h 48"/>
                <a:gd name="T4" fmla="*/ 67 w 76"/>
                <a:gd name="T5" fmla="*/ 7 h 48"/>
                <a:gd name="T6" fmla="*/ 76 w 76"/>
                <a:gd name="T7" fmla="*/ 18 h 48"/>
                <a:gd name="T8" fmla="*/ 64 w 76"/>
                <a:gd name="T9" fmla="*/ 25 h 48"/>
                <a:gd name="T10" fmla="*/ 56 w 76"/>
                <a:gd name="T11" fmla="*/ 31 h 48"/>
                <a:gd name="T12" fmla="*/ 41 w 76"/>
                <a:gd name="T13" fmla="*/ 39 h 48"/>
                <a:gd name="T14" fmla="*/ 29 w 76"/>
                <a:gd name="T15" fmla="*/ 43 h 48"/>
                <a:gd name="T16" fmla="*/ 4 w 76"/>
                <a:gd name="T17" fmla="*/ 34 h 48"/>
                <a:gd name="T18" fmla="*/ 2 w 76"/>
                <a:gd name="T19" fmla="*/ 18 h 48"/>
                <a:gd name="T20" fmla="*/ 13 w 76"/>
                <a:gd name="T2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48">
                  <a:moveTo>
                    <a:pt x="13" y="12"/>
                  </a:moveTo>
                  <a:cubicBezTo>
                    <a:pt x="37" y="4"/>
                    <a:pt x="23" y="0"/>
                    <a:pt x="47" y="4"/>
                  </a:cubicBezTo>
                  <a:cubicBezTo>
                    <a:pt x="53" y="5"/>
                    <a:pt x="70" y="1"/>
                    <a:pt x="67" y="7"/>
                  </a:cubicBezTo>
                  <a:cubicBezTo>
                    <a:pt x="72" y="9"/>
                    <a:pt x="76" y="15"/>
                    <a:pt x="76" y="18"/>
                  </a:cubicBezTo>
                  <a:cubicBezTo>
                    <a:pt x="76" y="21"/>
                    <a:pt x="67" y="23"/>
                    <a:pt x="64" y="25"/>
                  </a:cubicBezTo>
                  <a:cubicBezTo>
                    <a:pt x="61" y="27"/>
                    <a:pt x="60" y="29"/>
                    <a:pt x="56" y="31"/>
                  </a:cubicBezTo>
                  <a:cubicBezTo>
                    <a:pt x="52" y="33"/>
                    <a:pt x="45" y="37"/>
                    <a:pt x="41" y="39"/>
                  </a:cubicBezTo>
                  <a:cubicBezTo>
                    <a:pt x="37" y="41"/>
                    <a:pt x="35" y="44"/>
                    <a:pt x="29" y="43"/>
                  </a:cubicBezTo>
                  <a:cubicBezTo>
                    <a:pt x="23" y="48"/>
                    <a:pt x="9" y="38"/>
                    <a:pt x="4" y="34"/>
                  </a:cubicBezTo>
                  <a:cubicBezTo>
                    <a:pt x="0" y="30"/>
                    <a:pt x="0" y="22"/>
                    <a:pt x="2" y="18"/>
                  </a:cubicBezTo>
                  <a:cubicBezTo>
                    <a:pt x="7" y="14"/>
                    <a:pt x="18" y="17"/>
                    <a:pt x="13" y="12"/>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96" name="Freeform 511"/>
            <p:cNvSpPr>
              <a:spLocks/>
            </p:cNvSpPr>
            <p:nvPr>
              <p:custDataLst>
                <p:tags r:id="rId64"/>
              </p:custDataLst>
            </p:nvPr>
          </p:nvSpPr>
          <p:spPr bwMode="gray">
            <a:xfrm>
              <a:off x="2789268" y="2290378"/>
              <a:ext cx="48596" cy="56530"/>
            </a:xfrm>
            <a:custGeom>
              <a:avLst/>
              <a:gdLst>
                <a:gd name="T0" fmla="*/ 20 w 51"/>
                <a:gd name="T1" fmla="*/ 5 h 59"/>
                <a:gd name="T2" fmla="*/ 47 w 51"/>
                <a:gd name="T3" fmla="*/ 17 h 59"/>
                <a:gd name="T4" fmla="*/ 50 w 51"/>
                <a:gd name="T5" fmla="*/ 29 h 59"/>
                <a:gd name="T6" fmla="*/ 48 w 51"/>
                <a:gd name="T7" fmla="*/ 59 h 59"/>
                <a:gd name="T8" fmla="*/ 26 w 51"/>
                <a:gd name="T9" fmla="*/ 39 h 59"/>
                <a:gd name="T10" fmla="*/ 6 w 51"/>
                <a:gd name="T11" fmla="*/ 25 h 59"/>
                <a:gd name="T12" fmla="*/ 10 w 51"/>
                <a:gd name="T13" fmla="*/ 7 h 59"/>
                <a:gd name="T14" fmla="*/ 12 w 51"/>
                <a:gd name="T15" fmla="*/ 1 h 59"/>
                <a:gd name="T16" fmla="*/ 22 w 51"/>
                <a:gd name="T17" fmla="*/ 3 h 59"/>
                <a:gd name="T18" fmla="*/ 28 w 51"/>
                <a:gd name="T19" fmla="*/ 5 h 59"/>
                <a:gd name="T20" fmla="*/ 20 w 51"/>
                <a:gd name="T21" fmla="*/ 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59">
                  <a:moveTo>
                    <a:pt x="20" y="5"/>
                  </a:moveTo>
                  <a:cubicBezTo>
                    <a:pt x="27" y="7"/>
                    <a:pt x="40" y="15"/>
                    <a:pt x="47" y="17"/>
                  </a:cubicBezTo>
                  <a:cubicBezTo>
                    <a:pt x="51" y="24"/>
                    <a:pt x="47" y="21"/>
                    <a:pt x="50" y="29"/>
                  </a:cubicBezTo>
                  <a:cubicBezTo>
                    <a:pt x="47" y="38"/>
                    <a:pt x="49" y="50"/>
                    <a:pt x="48" y="59"/>
                  </a:cubicBezTo>
                  <a:cubicBezTo>
                    <a:pt x="26" y="55"/>
                    <a:pt x="42" y="49"/>
                    <a:pt x="26" y="39"/>
                  </a:cubicBezTo>
                  <a:cubicBezTo>
                    <a:pt x="23" y="31"/>
                    <a:pt x="14" y="28"/>
                    <a:pt x="6" y="25"/>
                  </a:cubicBezTo>
                  <a:cubicBezTo>
                    <a:pt x="0" y="16"/>
                    <a:pt x="3" y="14"/>
                    <a:pt x="10" y="7"/>
                  </a:cubicBezTo>
                  <a:cubicBezTo>
                    <a:pt x="11" y="5"/>
                    <a:pt x="10" y="2"/>
                    <a:pt x="12" y="1"/>
                  </a:cubicBezTo>
                  <a:cubicBezTo>
                    <a:pt x="15" y="0"/>
                    <a:pt x="19" y="2"/>
                    <a:pt x="22" y="3"/>
                  </a:cubicBezTo>
                  <a:cubicBezTo>
                    <a:pt x="24" y="4"/>
                    <a:pt x="29" y="4"/>
                    <a:pt x="28" y="5"/>
                  </a:cubicBezTo>
                  <a:cubicBezTo>
                    <a:pt x="26" y="7"/>
                    <a:pt x="23" y="5"/>
                    <a:pt x="20" y="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97" name="Freeform 512"/>
            <p:cNvSpPr>
              <a:spLocks/>
            </p:cNvSpPr>
            <p:nvPr>
              <p:custDataLst>
                <p:tags r:id="rId65"/>
              </p:custDataLst>
            </p:nvPr>
          </p:nvSpPr>
          <p:spPr bwMode="gray">
            <a:xfrm>
              <a:off x="3502337" y="2480794"/>
              <a:ext cx="198350" cy="142812"/>
            </a:xfrm>
            <a:custGeom>
              <a:avLst/>
              <a:gdLst>
                <a:gd name="T0" fmla="*/ 16 w 205"/>
                <a:gd name="T1" fmla="*/ 112 h 148"/>
                <a:gd name="T2" fmla="*/ 13 w 205"/>
                <a:gd name="T3" fmla="*/ 72 h 148"/>
                <a:gd name="T4" fmla="*/ 1 w 205"/>
                <a:gd name="T5" fmla="*/ 55 h 148"/>
                <a:gd name="T6" fmla="*/ 10 w 205"/>
                <a:gd name="T7" fmla="*/ 24 h 148"/>
                <a:gd name="T8" fmla="*/ 35 w 205"/>
                <a:gd name="T9" fmla="*/ 28 h 148"/>
                <a:gd name="T10" fmla="*/ 48 w 205"/>
                <a:gd name="T11" fmla="*/ 28 h 148"/>
                <a:gd name="T12" fmla="*/ 61 w 205"/>
                <a:gd name="T13" fmla="*/ 34 h 148"/>
                <a:gd name="T14" fmla="*/ 72 w 205"/>
                <a:gd name="T15" fmla="*/ 27 h 148"/>
                <a:gd name="T16" fmla="*/ 85 w 205"/>
                <a:gd name="T17" fmla="*/ 12 h 148"/>
                <a:gd name="T18" fmla="*/ 108 w 205"/>
                <a:gd name="T19" fmla="*/ 12 h 148"/>
                <a:gd name="T20" fmla="*/ 112 w 205"/>
                <a:gd name="T21" fmla="*/ 30 h 148"/>
                <a:gd name="T22" fmla="*/ 133 w 205"/>
                <a:gd name="T23" fmla="*/ 34 h 148"/>
                <a:gd name="T24" fmla="*/ 144 w 205"/>
                <a:gd name="T25" fmla="*/ 46 h 148"/>
                <a:gd name="T26" fmla="*/ 145 w 205"/>
                <a:gd name="T27" fmla="*/ 60 h 148"/>
                <a:gd name="T28" fmla="*/ 171 w 205"/>
                <a:gd name="T29" fmla="*/ 81 h 148"/>
                <a:gd name="T30" fmla="*/ 195 w 205"/>
                <a:gd name="T31" fmla="*/ 94 h 148"/>
                <a:gd name="T32" fmla="*/ 205 w 205"/>
                <a:gd name="T33" fmla="*/ 105 h 148"/>
                <a:gd name="T34" fmla="*/ 186 w 205"/>
                <a:gd name="T35" fmla="*/ 111 h 148"/>
                <a:gd name="T36" fmla="*/ 177 w 205"/>
                <a:gd name="T37" fmla="*/ 130 h 148"/>
                <a:gd name="T38" fmla="*/ 163 w 205"/>
                <a:gd name="T39" fmla="*/ 139 h 148"/>
                <a:gd name="T40" fmla="*/ 151 w 205"/>
                <a:gd name="T41" fmla="*/ 148 h 148"/>
                <a:gd name="T42" fmla="*/ 130 w 205"/>
                <a:gd name="T43" fmla="*/ 141 h 148"/>
                <a:gd name="T44" fmla="*/ 112 w 205"/>
                <a:gd name="T45" fmla="*/ 123 h 148"/>
                <a:gd name="T46" fmla="*/ 100 w 205"/>
                <a:gd name="T47" fmla="*/ 114 h 148"/>
                <a:gd name="T48" fmla="*/ 82 w 205"/>
                <a:gd name="T49" fmla="*/ 105 h 148"/>
                <a:gd name="T50" fmla="*/ 59 w 205"/>
                <a:gd name="T51" fmla="*/ 100 h 148"/>
                <a:gd name="T52" fmla="*/ 39 w 205"/>
                <a:gd name="T53" fmla="*/ 102 h 148"/>
                <a:gd name="T54" fmla="*/ 24 w 205"/>
                <a:gd name="T55" fmla="*/ 106 h 148"/>
                <a:gd name="T56" fmla="*/ 16 w 205"/>
                <a:gd name="T57" fmla="*/ 1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5" h="148">
                  <a:moveTo>
                    <a:pt x="16" y="112"/>
                  </a:moveTo>
                  <a:cubicBezTo>
                    <a:pt x="22" y="99"/>
                    <a:pt x="21" y="83"/>
                    <a:pt x="13" y="72"/>
                  </a:cubicBezTo>
                  <a:cubicBezTo>
                    <a:pt x="12" y="65"/>
                    <a:pt x="5" y="61"/>
                    <a:pt x="1" y="55"/>
                  </a:cubicBezTo>
                  <a:cubicBezTo>
                    <a:pt x="2" y="44"/>
                    <a:pt x="0" y="31"/>
                    <a:pt x="10" y="24"/>
                  </a:cubicBezTo>
                  <a:cubicBezTo>
                    <a:pt x="16" y="20"/>
                    <a:pt x="29" y="26"/>
                    <a:pt x="35" y="28"/>
                  </a:cubicBezTo>
                  <a:cubicBezTo>
                    <a:pt x="41" y="29"/>
                    <a:pt x="44" y="27"/>
                    <a:pt x="48" y="28"/>
                  </a:cubicBezTo>
                  <a:cubicBezTo>
                    <a:pt x="56" y="30"/>
                    <a:pt x="57" y="34"/>
                    <a:pt x="61" y="34"/>
                  </a:cubicBezTo>
                  <a:cubicBezTo>
                    <a:pt x="65" y="34"/>
                    <a:pt x="68" y="31"/>
                    <a:pt x="72" y="27"/>
                  </a:cubicBezTo>
                  <a:cubicBezTo>
                    <a:pt x="73" y="11"/>
                    <a:pt x="72" y="16"/>
                    <a:pt x="85" y="12"/>
                  </a:cubicBezTo>
                  <a:cubicBezTo>
                    <a:pt x="92" y="14"/>
                    <a:pt x="101" y="9"/>
                    <a:pt x="108" y="12"/>
                  </a:cubicBezTo>
                  <a:cubicBezTo>
                    <a:pt x="118" y="25"/>
                    <a:pt x="100" y="0"/>
                    <a:pt x="112" y="30"/>
                  </a:cubicBezTo>
                  <a:cubicBezTo>
                    <a:pt x="113" y="32"/>
                    <a:pt x="130" y="34"/>
                    <a:pt x="133" y="34"/>
                  </a:cubicBezTo>
                  <a:cubicBezTo>
                    <a:pt x="137" y="38"/>
                    <a:pt x="141" y="41"/>
                    <a:pt x="144" y="46"/>
                  </a:cubicBezTo>
                  <a:cubicBezTo>
                    <a:pt x="144" y="51"/>
                    <a:pt x="143" y="56"/>
                    <a:pt x="145" y="60"/>
                  </a:cubicBezTo>
                  <a:cubicBezTo>
                    <a:pt x="146" y="62"/>
                    <a:pt x="168" y="80"/>
                    <a:pt x="171" y="81"/>
                  </a:cubicBezTo>
                  <a:cubicBezTo>
                    <a:pt x="177" y="89"/>
                    <a:pt x="185" y="92"/>
                    <a:pt x="195" y="94"/>
                  </a:cubicBezTo>
                  <a:cubicBezTo>
                    <a:pt x="200" y="98"/>
                    <a:pt x="204" y="98"/>
                    <a:pt x="205" y="105"/>
                  </a:cubicBezTo>
                  <a:cubicBezTo>
                    <a:pt x="199" y="109"/>
                    <a:pt x="193" y="109"/>
                    <a:pt x="186" y="111"/>
                  </a:cubicBezTo>
                  <a:cubicBezTo>
                    <a:pt x="175" y="118"/>
                    <a:pt x="182" y="117"/>
                    <a:pt x="177" y="130"/>
                  </a:cubicBezTo>
                  <a:cubicBezTo>
                    <a:pt x="175" y="135"/>
                    <a:pt x="163" y="139"/>
                    <a:pt x="163" y="139"/>
                  </a:cubicBezTo>
                  <a:cubicBezTo>
                    <a:pt x="159" y="145"/>
                    <a:pt x="158" y="147"/>
                    <a:pt x="151" y="148"/>
                  </a:cubicBezTo>
                  <a:cubicBezTo>
                    <a:pt x="139" y="147"/>
                    <a:pt x="139" y="146"/>
                    <a:pt x="130" y="141"/>
                  </a:cubicBezTo>
                  <a:cubicBezTo>
                    <a:pt x="128" y="131"/>
                    <a:pt x="120" y="128"/>
                    <a:pt x="112" y="123"/>
                  </a:cubicBezTo>
                  <a:cubicBezTo>
                    <a:pt x="108" y="117"/>
                    <a:pt x="107" y="115"/>
                    <a:pt x="100" y="114"/>
                  </a:cubicBezTo>
                  <a:cubicBezTo>
                    <a:pt x="94" y="110"/>
                    <a:pt x="89" y="106"/>
                    <a:pt x="82" y="105"/>
                  </a:cubicBezTo>
                  <a:cubicBezTo>
                    <a:pt x="75" y="103"/>
                    <a:pt x="66" y="100"/>
                    <a:pt x="59" y="100"/>
                  </a:cubicBezTo>
                  <a:cubicBezTo>
                    <a:pt x="52" y="100"/>
                    <a:pt x="45" y="101"/>
                    <a:pt x="39" y="102"/>
                  </a:cubicBezTo>
                  <a:cubicBezTo>
                    <a:pt x="34" y="103"/>
                    <a:pt x="29" y="105"/>
                    <a:pt x="24" y="106"/>
                  </a:cubicBezTo>
                  <a:cubicBezTo>
                    <a:pt x="17" y="109"/>
                    <a:pt x="20" y="107"/>
                    <a:pt x="16" y="112"/>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98" name="Freeform 513"/>
            <p:cNvSpPr>
              <a:spLocks/>
            </p:cNvSpPr>
            <p:nvPr>
              <p:custDataLst>
                <p:tags r:id="rId66"/>
              </p:custDataLst>
            </p:nvPr>
          </p:nvSpPr>
          <p:spPr bwMode="gray">
            <a:xfrm>
              <a:off x="3056049" y="2134673"/>
              <a:ext cx="106118" cy="69423"/>
            </a:xfrm>
            <a:custGeom>
              <a:avLst/>
              <a:gdLst>
                <a:gd name="T0" fmla="*/ 46 w 110"/>
                <a:gd name="T1" fmla="*/ 8 h 72"/>
                <a:gd name="T2" fmla="*/ 34 w 110"/>
                <a:gd name="T3" fmla="*/ 29 h 72"/>
                <a:gd name="T4" fmla="*/ 13 w 110"/>
                <a:gd name="T5" fmla="*/ 22 h 72"/>
                <a:gd name="T6" fmla="*/ 0 w 110"/>
                <a:gd name="T7" fmla="*/ 50 h 72"/>
                <a:gd name="T8" fmla="*/ 52 w 110"/>
                <a:gd name="T9" fmla="*/ 49 h 72"/>
                <a:gd name="T10" fmla="*/ 81 w 110"/>
                <a:gd name="T11" fmla="*/ 70 h 72"/>
                <a:gd name="T12" fmla="*/ 100 w 110"/>
                <a:gd name="T13" fmla="*/ 61 h 72"/>
                <a:gd name="T14" fmla="*/ 100 w 110"/>
                <a:gd name="T15" fmla="*/ 11 h 72"/>
                <a:gd name="T16" fmla="*/ 87 w 110"/>
                <a:gd name="T17" fmla="*/ 17 h 72"/>
                <a:gd name="T18" fmla="*/ 66 w 110"/>
                <a:gd name="T19" fmla="*/ 10 h 72"/>
                <a:gd name="T20" fmla="*/ 46 w 110"/>
                <a:gd name="T21"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72">
                  <a:moveTo>
                    <a:pt x="46" y="8"/>
                  </a:moveTo>
                  <a:cubicBezTo>
                    <a:pt x="45" y="21"/>
                    <a:pt x="47" y="26"/>
                    <a:pt x="34" y="29"/>
                  </a:cubicBezTo>
                  <a:cubicBezTo>
                    <a:pt x="26" y="28"/>
                    <a:pt x="21" y="23"/>
                    <a:pt x="13" y="22"/>
                  </a:cubicBezTo>
                  <a:cubicBezTo>
                    <a:pt x="0" y="15"/>
                    <a:pt x="7" y="40"/>
                    <a:pt x="0" y="50"/>
                  </a:cubicBezTo>
                  <a:cubicBezTo>
                    <a:pt x="6" y="56"/>
                    <a:pt x="35" y="47"/>
                    <a:pt x="52" y="49"/>
                  </a:cubicBezTo>
                  <a:cubicBezTo>
                    <a:pt x="65" y="52"/>
                    <a:pt x="73" y="68"/>
                    <a:pt x="81" y="70"/>
                  </a:cubicBezTo>
                  <a:cubicBezTo>
                    <a:pt x="89" y="72"/>
                    <a:pt x="97" y="71"/>
                    <a:pt x="100" y="61"/>
                  </a:cubicBezTo>
                  <a:cubicBezTo>
                    <a:pt x="109" y="46"/>
                    <a:pt x="110" y="27"/>
                    <a:pt x="100" y="11"/>
                  </a:cubicBezTo>
                  <a:cubicBezTo>
                    <a:pt x="95" y="13"/>
                    <a:pt x="91" y="14"/>
                    <a:pt x="87" y="17"/>
                  </a:cubicBezTo>
                  <a:cubicBezTo>
                    <a:pt x="77" y="16"/>
                    <a:pt x="73" y="17"/>
                    <a:pt x="66" y="10"/>
                  </a:cubicBezTo>
                  <a:cubicBezTo>
                    <a:pt x="62" y="0"/>
                    <a:pt x="55" y="5"/>
                    <a:pt x="46" y="8"/>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99" name="Freeform 514"/>
            <p:cNvSpPr>
              <a:spLocks/>
            </p:cNvSpPr>
            <p:nvPr>
              <p:custDataLst>
                <p:tags r:id="rId67"/>
              </p:custDataLst>
            </p:nvPr>
          </p:nvSpPr>
          <p:spPr bwMode="gray">
            <a:xfrm>
              <a:off x="3051091" y="2182277"/>
              <a:ext cx="83307" cy="60497"/>
            </a:xfrm>
            <a:custGeom>
              <a:avLst/>
              <a:gdLst>
                <a:gd name="T0" fmla="*/ 8 w 86"/>
                <a:gd name="T1" fmla="*/ 4 h 63"/>
                <a:gd name="T2" fmla="*/ 5 w 86"/>
                <a:gd name="T3" fmla="*/ 25 h 63"/>
                <a:gd name="T4" fmla="*/ 26 w 86"/>
                <a:gd name="T5" fmla="*/ 45 h 63"/>
                <a:gd name="T6" fmla="*/ 30 w 86"/>
                <a:gd name="T7" fmla="*/ 58 h 63"/>
                <a:gd name="T8" fmla="*/ 47 w 86"/>
                <a:gd name="T9" fmla="*/ 63 h 63"/>
                <a:gd name="T10" fmla="*/ 66 w 86"/>
                <a:gd name="T11" fmla="*/ 58 h 63"/>
                <a:gd name="T12" fmla="*/ 72 w 86"/>
                <a:gd name="T13" fmla="*/ 46 h 63"/>
                <a:gd name="T14" fmla="*/ 86 w 86"/>
                <a:gd name="T15" fmla="*/ 28 h 63"/>
                <a:gd name="T16" fmla="*/ 78 w 86"/>
                <a:gd name="T17" fmla="*/ 16 h 63"/>
                <a:gd name="T18" fmla="*/ 63 w 86"/>
                <a:gd name="T19" fmla="*/ 3 h 63"/>
                <a:gd name="T20" fmla="*/ 41 w 86"/>
                <a:gd name="T21" fmla="*/ 1 h 63"/>
                <a:gd name="T22" fmla="*/ 8 w 86"/>
                <a:gd name="T23" fmla="*/ 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3">
                  <a:moveTo>
                    <a:pt x="8" y="4"/>
                  </a:moveTo>
                  <a:cubicBezTo>
                    <a:pt x="0" y="7"/>
                    <a:pt x="2" y="18"/>
                    <a:pt x="5" y="25"/>
                  </a:cubicBezTo>
                  <a:cubicBezTo>
                    <a:pt x="8" y="32"/>
                    <a:pt x="22" y="40"/>
                    <a:pt x="26" y="45"/>
                  </a:cubicBezTo>
                  <a:cubicBezTo>
                    <a:pt x="31" y="51"/>
                    <a:pt x="24" y="54"/>
                    <a:pt x="30" y="58"/>
                  </a:cubicBezTo>
                  <a:cubicBezTo>
                    <a:pt x="33" y="61"/>
                    <a:pt x="41" y="63"/>
                    <a:pt x="47" y="63"/>
                  </a:cubicBezTo>
                  <a:cubicBezTo>
                    <a:pt x="53" y="63"/>
                    <a:pt x="62" y="61"/>
                    <a:pt x="66" y="58"/>
                  </a:cubicBezTo>
                  <a:cubicBezTo>
                    <a:pt x="70" y="56"/>
                    <a:pt x="71" y="50"/>
                    <a:pt x="72" y="46"/>
                  </a:cubicBezTo>
                  <a:cubicBezTo>
                    <a:pt x="73" y="40"/>
                    <a:pt x="83" y="33"/>
                    <a:pt x="86" y="28"/>
                  </a:cubicBezTo>
                  <a:cubicBezTo>
                    <a:pt x="83" y="22"/>
                    <a:pt x="84" y="20"/>
                    <a:pt x="78" y="16"/>
                  </a:cubicBezTo>
                  <a:cubicBezTo>
                    <a:pt x="74" y="11"/>
                    <a:pt x="68" y="6"/>
                    <a:pt x="63" y="3"/>
                  </a:cubicBezTo>
                  <a:cubicBezTo>
                    <a:pt x="57" y="1"/>
                    <a:pt x="50" y="0"/>
                    <a:pt x="41" y="1"/>
                  </a:cubicBezTo>
                  <a:cubicBezTo>
                    <a:pt x="32" y="1"/>
                    <a:pt x="15" y="3"/>
                    <a:pt x="8" y="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00" name="Freeform 515"/>
            <p:cNvSpPr>
              <a:spLocks/>
            </p:cNvSpPr>
            <p:nvPr>
              <p:custDataLst>
                <p:tags r:id="rId68"/>
              </p:custDataLst>
            </p:nvPr>
          </p:nvSpPr>
          <p:spPr bwMode="gray">
            <a:xfrm>
              <a:off x="3083818" y="2192194"/>
              <a:ext cx="123969" cy="113060"/>
            </a:xfrm>
            <a:custGeom>
              <a:avLst/>
              <a:gdLst>
                <a:gd name="T0" fmla="*/ 11 w 128"/>
                <a:gd name="T1" fmla="*/ 54 h 117"/>
                <a:gd name="T2" fmla="*/ 2 w 128"/>
                <a:gd name="T3" fmla="*/ 92 h 117"/>
                <a:gd name="T4" fmla="*/ 10 w 128"/>
                <a:gd name="T5" fmla="*/ 114 h 117"/>
                <a:gd name="T6" fmla="*/ 22 w 128"/>
                <a:gd name="T7" fmla="*/ 110 h 117"/>
                <a:gd name="T8" fmla="*/ 61 w 128"/>
                <a:gd name="T9" fmla="*/ 110 h 117"/>
                <a:gd name="T10" fmla="*/ 83 w 128"/>
                <a:gd name="T11" fmla="*/ 114 h 117"/>
                <a:gd name="T12" fmla="*/ 107 w 128"/>
                <a:gd name="T13" fmla="*/ 109 h 117"/>
                <a:gd name="T14" fmla="*/ 118 w 128"/>
                <a:gd name="T15" fmla="*/ 102 h 117"/>
                <a:gd name="T16" fmla="*/ 124 w 128"/>
                <a:gd name="T17" fmla="*/ 84 h 117"/>
                <a:gd name="T18" fmla="*/ 122 w 128"/>
                <a:gd name="T19" fmla="*/ 68 h 117"/>
                <a:gd name="T20" fmla="*/ 119 w 128"/>
                <a:gd name="T21" fmla="*/ 51 h 117"/>
                <a:gd name="T22" fmla="*/ 104 w 128"/>
                <a:gd name="T23" fmla="*/ 23 h 117"/>
                <a:gd name="T24" fmla="*/ 91 w 128"/>
                <a:gd name="T25" fmla="*/ 6 h 117"/>
                <a:gd name="T26" fmla="*/ 74 w 128"/>
                <a:gd name="T27" fmla="*/ 2 h 117"/>
                <a:gd name="T28" fmla="*/ 56 w 128"/>
                <a:gd name="T29" fmla="*/ 15 h 117"/>
                <a:gd name="T30" fmla="*/ 44 w 128"/>
                <a:gd name="T31" fmla="*/ 26 h 117"/>
                <a:gd name="T32" fmla="*/ 41 w 128"/>
                <a:gd name="T33" fmla="*/ 37 h 117"/>
                <a:gd name="T34" fmla="*/ 35 w 128"/>
                <a:gd name="T35" fmla="*/ 48 h 117"/>
                <a:gd name="T36" fmla="*/ 23 w 128"/>
                <a:gd name="T37" fmla="*/ 53 h 117"/>
                <a:gd name="T38" fmla="*/ 11 w 128"/>
                <a:gd name="T39" fmla="*/ 5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17">
                  <a:moveTo>
                    <a:pt x="11" y="54"/>
                  </a:moveTo>
                  <a:cubicBezTo>
                    <a:pt x="8" y="67"/>
                    <a:pt x="14" y="85"/>
                    <a:pt x="2" y="92"/>
                  </a:cubicBezTo>
                  <a:cubicBezTo>
                    <a:pt x="2" y="100"/>
                    <a:pt x="0" y="111"/>
                    <a:pt x="10" y="114"/>
                  </a:cubicBezTo>
                  <a:cubicBezTo>
                    <a:pt x="13" y="117"/>
                    <a:pt x="14" y="111"/>
                    <a:pt x="22" y="110"/>
                  </a:cubicBezTo>
                  <a:cubicBezTo>
                    <a:pt x="30" y="109"/>
                    <a:pt x="51" y="109"/>
                    <a:pt x="61" y="110"/>
                  </a:cubicBezTo>
                  <a:cubicBezTo>
                    <a:pt x="68" y="114"/>
                    <a:pt x="76" y="109"/>
                    <a:pt x="83" y="114"/>
                  </a:cubicBezTo>
                  <a:cubicBezTo>
                    <a:pt x="91" y="114"/>
                    <a:pt x="101" y="111"/>
                    <a:pt x="107" y="109"/>
                  </a:cubicBezTo>
                  <a:cubicBezTo>
                    <a:pt x="113" y="107"/>
                    <a:pt x="115" y="106"/>
                    <a:pt x="118" y="102"/>
                  </a:cubicBezTo>
                  <a:cubicBezTo>
                    <a:pt x="119" y="94"/>
                    <a:pt x="128" y="89"/>
                    <a:pt x="124" y="84"/>
                  </a:cubicBezTo>
                  <a:cubicBezTo>
                    <a:pt x="122" y="76"/>
                    <a:pt x="118" y="75"/>
                    <a:pt x="122" y="68"/>
                  </a:cubicBezTo>
                  <a:cubicBezTo>
                    <a:pt x="119" y="62"/>
                    <a:pt x="121" y="57"/>
                    <a:pt x="119" y="51"/>
                  </a:cubicBezTo>
                  <a:cubicBezTo>
                    <a:pt x="117" y="40"/>
                    <a:pt x="116" y="25"/>
                    <a:pt x="104" y="23"/>
                  </a:cubicBezTo>
                  <a:cubicBezTo>
                    <a:pt x="98" y="19"/>
                    <a:pt x="91" y="6"/>
                    <a:pt x="91" y="6"/>
                  </a:cubicBezTo>
                  <a:cubicBezTo>
                    <a:pt x="87" y="0"/>
                    <a:pt x="81" y="3"/>
                    <a:pt x="74" y="2"/>
                  </a:cubicBezTo>
                  <a:cubicBezTo>
                    <a:pt x="67" y="6"/>
                    <a:pt x="64" y="14"/>
                    <a:pt x="56" y="15"/>
                  </a:cubicBezTo>
                  <a:cubicBezTo>
                    <a:pt x="53" y="20"/>
                    <a:pt x="47" y="21"/>
                    <a:pt x="44" y="26"/>
                  </a:cubicBezTo>
                  <a:cubicBezTo>
                    <a:pt x="42" y="30"/>
                    <a:pt x="42" y="33"/>
                    <a:pt x="41" y="37"/>
                  </a:cubicBezTo>
                  <a:cubicBezTo>
                    <a:pt x="40" y="41"/>
                    <a:pt x="38" y="45"/>
                    <a:pt x="35" y="48"/>
                  </a:cubicBezTo>
                  <a:cubicBezTo>
                    <a:pt x="26" y="47"/>
                    <a:pt x="27" y="52"/>
                    <a:pt x="23" y="53"/>
                  </a:cubicBezTo>
                  <a:cubicBezTo>
                    <a:pt x="19" y="54"/>
                    <a:pt x="13" y="54"/>
                    <a:pt x="11" y="5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01" name="Freeform 516"/>
            <p:cNvSpPr>
              <a:spLocks/>
            </p:cNvSpPr>
            <p:nvPr>
              <p:custDataLst>
                <p:tags r:id="rId69"/>
              </p:custDataLst>
            </p:nvPr>
          </p:nvSpPr>
          <p:spPr bwMode="gray">
            <a:xfrm>
              <a:off x="2832905" y="2228889"/>
              <a:ext cx="124961" cy="160664"/>
            </a:xfrm>
            <a:custGeom>
              <a:avLst/>
              <a:gdLst>
                <a:gd name="T0" fmla="*/ 3 w 129"/>
                <a:gd name="T1" fmla="*/ 127 h 167"/>
                <a:gd name="T2" fmla="*/ 4 w 129"/>
                <a:gd name="T3" fmla="*/ 109 h 167"/>
                <a:gd name="T4" fmla="*/ 3 w 129"/>
                <a:gd name="T5" fmla="*/ 88 h 167"/>
                <a:gd name="T6" fmla="*/ 7 w 129"/>
                <a:gd name="T7" fmla="*/ 69 h 167"/>
                <a:gd name="T8" fmla="*/ 15 w 129"/>
                <a:gd name="T9" fmla="*/ 52 h 167"/>
                <a:gd name="T10" fmla="*/ 24 w 129"/>
                <a:gd name="T11" fmla="*/ 28 h 167"/>
                <a:gd name="T12" fmla="*/ 52 w 129"/>
                <a:gd name="T13" fmla="*/ 22 h 167"/>
                <a:gd name="T14" fmla="*/ 57 w 129"/>
                <a:gd name="T15" fmla="*/ 0 h 167"/>
                <a:gd name="T16" fmla="*/ 75 w 129"/>
                <a:gd name="T17" fmla="*/ 13 h 167"/>
                <a:gd name="T18" fmla="*/ 87 w 129"/>
                <a:gd name="T19" fmla="*/ 21 h 167"/>
                <a:gd name="T20" fmla="*/ 114 w 129"/>
                <a:gd name="T21" fmla="*/ 13 h 167"/>
                <a:gd name="T22" fmla="*/ 123 w 129"/>
                <a:gd name="T23" fmla="*/ 27 h 167"/>
                <a:gd name="T24" fmla="*/ 129 w 129"/>
                <a:gd name="T25" fmla="*/ 58 h 167"/>
                <a:gd name="T26" fmla="*/ 126 w 129"/>
                <a:gd name="T27" fmla="*/ 88 h 167"/>
                <a:gd name="T28" fmla="*/ 111 w 129"/>
                <a:gd name="T29" fmla="*/ 100 h 167"/>
                <a:gd name="T30" fmla="*/ 97 w 129"/>
                <a:gd name="T31" fmla="*/ 108 h 167"/>
                <a:gd name="T32" fmla="*/ 97 w 129"/>
                <a:gd name="T33" fmla="*/ 120 h 167"/>
                <a:gd name="T34" fmla="*/ 111 w 129"/>
                <a:gd name="T35" fmla="*/ 129 h 167"/>
                <a:gd name="T36" fmla="*/ 103 w 129"/>
                <a:gd name="T37" fmla="*/ 156 h 167"/>
                <a:gd name="T38" fmla="*/ 96 w 129"/>
                <a:gd name="T39" fmla="*/ 165 h 167"/>
                <a:gd name="T40" fmla="*/ 76 w 129"/>
                <a:gd name="T41" fmla="*/ 166 h 167"/>
                <a:gd name="T42" fmla="*/ 28 w 129"/>
                <a:gd name="T43" fmla="*/ 159 h 167"/>
                <a:gd name="T44" fmla="*/ 30 w 129"/>
                <a:gd name="T45" fmla="*/ 141 h 167"/>
                <a:gd name="T46" fmla="*/ 16 w 129"/>
                <a:gd name="T47" fmla="*/ 129 h 167"/>
                <a:gd name="T48" fmla="*/ 3 w 129"/>
                <a:gd name="T49" fmla="*/ 12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67">
                  <a:moveTo>
                    <a:pt x="3" y="127"/>
                  </a:moveTo>
                  <a:cubicBezTo>
                    <a:pt x="0" y="123"/>
                    <a:pt x="3" y="119"/>
                    <a:pt x="4" y="109"/>
                  </a:cubicBezTo>
                  <a:cubicBezTo>
                    <a:pt x="4" y="103"/>
                    <a:pt x="2" y="95"/>
                    <a:pt x="3" y="88"/>
                  </a:cubicBezTo>
                  <a:cubicBezTo>
                    <a:pt x="4" y="81"/>
                    <a:pt x="5" y="75"/>
                    <a:pt x="7" y="69"/>
                  </a:cubicBezTo>
                  <a:cubicBezTo>
                    <a:pt x="8" y="59"/>
                    <a:pt x="10" y="58"/>
                    <a:pt x="15" y="52"/>
                  </a:cubicBezTo>
                  <a:cubicBezTo>
                    <a:pt x="18" y="45"/>
                    <a:pt x="18" y="33"/>
                    <a:pt x="24" y="28"/>
                  </a:cubicBezTo>
                  <a:cubicBezTo>
                    <a:pt x="28" y="17"/>
                    <a:pt x="39" y="24"/>
                    <a:pt x="52" y="22"/>
                  </a:cubicBezTo>
                  <a:cubicBezTo>
                    <a:pt x="54" y="14"/>
                    <a:pt x="46" y="2"/>
                    <a:pt x="57" y="0"/>
                  </a:cubicBezTo>
                  <a:cubicBezTo>
                    <a:pt x="70" y="1"/>
                    <a:pt x="68" y="4"/>
                    <a:pt x="75" y="13"/>
                  </a:cubicBezTo>
                  <a:cubicBezTo>
                    <a:pt x="77" y="22"/>
                    <a:pt x="78" y="22"/>
                    <a:pt x="87" y="21"/>
                  </a:cubicBezTo>
                  <a:cubicBezTo>
                    <a:pt x="95" y="8"/>
                    <a:pt x="92" y="12"/>
                    <a:pt x="114" y="13"/>
                  </a:cubicBezTo>
                  <a:cubicBezTo>
                    <a:pt x="115" y="20"/>
                    <a:pt x="120" y="20"/>
                    <a:pt x="123" y="27"/>
                  </a:cubicBezTo>
                  <a:cubicBezTo>
                    <a:pt x="124" y="37"/>
                    <a:pt x="124" y="49"/>
                    <a:pt x="129" y="58"/>
                  </a:cubicBezTo>
                  <a:cubicBezTo>
                    <a:pt x="129" y="69"/>
                    <a:pt x="129" y="81"/>
                    <a:pt x="126" y="88"/>
                  </a:cubicBezTo>
                  <a:cubicBezTo>
                    <a:pt x="123" y="95"/>
                    <a:pt x="116" y="97"/>
                    <a:pt x="111" y="100"/>
                  </a:cubicBezTo>
                  <a:cubicBezTo>
                    <a:pt x="104" y="105"/>
                    <a:pt x="102" y="100"/>
                    <a:pt x="97" y="108"/>
                  </a:cubicBezTo>
                  <a:cubicBezTo>
                    <a:pt x="96" y="111"/>
                    <a:pt x="95" y="116"/>
                    <a:pt x="97" y="120"/>
                  </a:cubicBezTo>
                  <a:cubicBezTo>
                    <a:pt x="99" y="124"/>
                    <a:pt x="110" y="123"/>
                    <a:pt x="111" y="129"/>
                  </a:cubicBezTo>
                  <a:cubicBezTo>
                    <a:pt x="113" y="142"/>
                    <a:pt x="108" y="145"/>
                    <a:pt x="103" y="156"/>
                  </a:cubicBezTo>
                  <a:cubicBezTo>
                    <a:pt x="100" y="162"/>
                    <a:pt x="100" y="163"/>
                    <a:pt x="96" y="165"/>
                  </a:cubicBezTo>
                  <a:cubicBezTo>
                    <a:pt x="92" y="167"/>
                    <a:pt x="87" y="167"/>
                    <a:pt x="76" y="166"/>
                  </a:cubicBezTo>
                  <a:cubicBezTo>
                    <a:pt x="60" y="154"/>
                    <a:pt x="59" y="160"/>
                    <a:pt x="28" y="159"/>
                  </a:cubicBezTo>
                  <a:cubicBezTo>
                    <a:pt x="20" y="155"/>
                    <a:pt x="32" y="146"/>
                    <a:pt x="30" y="141"/>
                  </a:cubicBezTo>
                  <a:cubicBezTo>
                    <a:pt x="28" y="136"/>
                    <a:pt x="20" y="131"/>
                    <a:pt x="16" y="129"/>
                  </a:cubicBezTo>
                  <a:cubicBezTo>
                    <a:pt x="11" y="126"/>
                    <a:pt x="3" y="131"/>
                    <a:pt x="3" y="127"/>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02" name="Freeform 517"/>
            <p:cNvSpPr>
              <a:spLocks/>
            </p:cNvSpPr>
            <p:nvPr>
              <p:custDataLst>
                <p:tags r:id="rId70"/>
              </p:custDataLst>
            </p:nvPr>
          </p:nvSpPr>
          <p:spPr bwMode="gray">
            <a:xfrm>
              <a:off x="2806128" y="2245749"/>
              <a:ext cx="54547" cy="61489"/>
            </a:xfrm>
            <a:custGeom>
              <a:avLst/>
              <a:gdLst>
                <a:gd name="T0" fmla="*/ 7 w 56"/>
                <a:gd name="T1" fmla="*/ 52 h 63"/>
                <a:gd name="T2" fmla="*/ 10 w 56"/>
                <a:gd name="T3" fmla="*/ 35 h 63"/>
                <a:gd name="T4" fmla="*/ 14 w 56"/>
                <a:gd name="T5" fmla="*/ 17 h 63"/>
                <a:gd name="T6" fmla="*/ 50 w 56"/>
                <a:gd name="T7" fmla="*/ 9 h 63"/>
                <a:gd name="T8" fmla="*/ 44 w 56"/>
                <a:gd name="T9" fmla="*/ 27 h 63"/>
                <a:gd name="T10" fmla="*/ 38 w 56"/>
                <a:gd name="T11" fmla="*/ 46 h 63"/>
                <a:gd name="T12" fmla="*/ 28 w 56"/>
                <a:gd name="T13" fmla="*/ 63 h 63"/>
                <a:gd name="T14" fmla="*/ 7 w 56"/>
                <a:gd name="T15" fmla="*/ 52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63">
                  <a:moveTo>
                    <a:pt x="7" y="52"/>
                  </a:moveTo>
                  <a:cubicBezTo>
                    <a:pt x="12" y="38"/>
                    <a:pt x="0" y="41"/>
                    <a:pt x="10" y="35"/>
                  </a:cubicBezTo>
                  <a:cubicBezTo>
                    <a:pt x="15" y="28"/>
                    <a:pt x="17" y="25"/>
                    <a:pt x="14" y="17"/>
                  </a:cubicBezTo>
                  <a:cubicBezTo>
                    <a:pt x="20" y="0"/>
                    <a:pt x="32" y="8"/>
                    <a:pt x="50" y="9"/>
                  </a:cubicBezTo>
                  <a:cubicBezTo>
                    <a:pt x="56" y="11"/>
                    <a:pt x="46" y="21"/>
                    <a:pt x="44" y="27"/>
                  </a:cubicBezTo>
                  <a:cubicBezTo>
                    <a:pt x="42" y="33"/>
                    <a:pt x="33" y="40"/>
                    <a:pt x="38" y="46"/>
                  </a:cubicBezTo>
                  <a:cubicBezTo>
                    <a:pt x="33" y="54"/>
                    <a:pt x="37" y="60"/>
                    <a:pt x="28" y="63"/>
                  </a:cubicBezTo>
                  <a:cubicBezTo>
                    <a:pt x="18" y="60"/>
                    <a:pt x="14" y="59"/>
                    <a:pt x="7" y="52"/>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03" name="Freeform 519"/>
            <p:cNvSpPr>
              <a:spLocks/>
            </p:cNvSpPr>
            <p:nvPr>
              <p:custDataLst>
                <p:tags r:id="rId71"/>
              </p:custDataLst>
            </p:nvPr>
          </p:nvSpPr>
          <p:spPr bwMode="gray">
            <a:xfrm>
              <a:off x="3028063" y="2507521"/>
              <a:ext cx="94433" cy="110338"/>
            </a:xfrm>
            <a:custGeom>
              <a:avLst/>
              <a:gdLst/>
              <a:ahLst/>
              <a:cxnLst/>
              <a:rect l="l" t="t" r="r" b="b"/>
              <a:pathLst>
                <a:path w="151160" h="176619">
                  <a:moveTo>
                    <a:pt x="89546" y="145463"/>
                  </a:moveTo>
                  <a:cubicBezTo>
                    <a:pt x="123434" y="150106"/>
                    <a:pt x="109571" y="162485"/>
                    <a:pt x="151160" y="167128"/>
                  </a:cubicBezTo>
                  <a:cubicBezTo>
                    <a:pt x="131136" y="181055"/>
                    <a:pt x="128055" y="176413"/>
                    <a:pt x="98788" y="173318"/>
                  </a:cubicBezTo>
                  <a:cubicBezTo>
                    <a:pt x="88006" y="165580"/>
                    <a:pt x="81844" y="167128"/>
                    <a:pt x="77223" y="154748"/>
                  </a:cubicBezTo>
                  <a:cubicBezTo>
                    <a:pt x="88006" y="151653"/>
                    <a:pt x="84925" y="154748"/>
                    <a:pt x="89546" y="145463"/>
                  </a:cubicBezTo>
                  <a:close/>
                  <a:moveTo>
                    <a:pt x="108031" y="0"/>
                  </a:moveTo>
                  <a:cubicBezTo>
                    <a:pt x="92627" y="15475"/>
                    <a:pt x="106490" y="-3095"/>
                    <a:pt x="111111" y="12380"/>
                  </a:cubicBezTo>
                  <a:cubicBezTo>
                    <a:pt x="106490" y="29402"/>
                    <a:pt x="64900" y="44877"/>
                    <a:pt x="54118" y="63446"/>
                  </a:cubicBezTo>
                  <a:cubicBezTo>
                    <a:pt x="44876" y="78921"/>
                    <a:pt x="55658" y="100586"/>
                    <a:pt x="54118" y="109871"/>
                  </a:cubicBezTo>
                  <a:cubicBezTo>
                    <a:pt x="52578" y="119155"/>
                    <a:pt x="47957" y="126893"/>
                    <a:pt x="40255" y="117608"/>
                  </a:cubicBezTo>
                  <a:cubicBezTo>
                    <a:pt x="12529" y="99038"/>
                    <a:pt x="9448" y="89753"/>
                    <a:pt x="3286" y="55709"/>
                  </a:cubicBezTo>
                  <a:cubicBezTo>
                    <a:pt x="1746" y="49519"/>
                    <a:pt x="-179" y="47585"/>
                    <a:pt x="13" y="46618"/>
                  </a:cubicBezTo>
                  <a:lnTo>
                    <a:pt x="9448" y="43329"/>
                  </a:lnTo>
                  <a:cubicBezTo>
                    <a:pt x="15609" y="41782"/>
                    <a:pt x="29472" y="49519"/>
                    <a:pt x="37174" y="44877"/>
                  </a:cubicBezTo>
                  <a:cubicBezTo>
                    <a:pt x="44876" y="40234"/>
                    <a:pt x="52578" y="18570"/>
                    <a:pt x="58739" y="13927"/>
                  </a:cubicBezTo>
                  <a:cubicBezTo>
                    <a:pt x="58739" y="13927"/>
                    <a:pt x="64900" y="9285"/>
                    <a:pt x="71062" y="6190"/>
                  </a:cubicBezTo>
                  <a:cubicBezTo>
                    <a:pt x="81845" y="0"/>
                    <a:pt x="95708" y="4642"/>
                    <a:pt x="108031"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04" name="Freeform 521"/>
            <p:cNvSpPr>
              <a:spLocks/>
            </p:cNvSpPr>
            <p:nvPr>
              <p:custDataLst>
                <p:tags r:id="rId72"/>
              </p:custDataLst>
            </p:nvPr>
          </p:nvSpPr>
          <p:spPr bwMode="gray">
            <a:xfrm>
              <a:off x="3713581" y="2526415"/>
              <a:ext cx="117027" cy="77357"/>
            </a:xfrm>
            <a:custGeom>
              <a:avLst/>
              <a:gdLst>
                <a:gd name="T0" fmla="*/ 98 w 121"/>
                <a:gd name="T1" fmla="*/ 26 h 81"/>
                <a:gd name="T2" fmla="*/ 98 w 121"/>
                <a:gd name="T3" fmla="*/ 40 h 81"/>
                <a:gd name="T4" fmla="*/ 109 w 121"/>
                <a:gd name="T5" fmla="*/ 34 h 81"/>
                <a:gd name="T6" fmla="*/ 113 w 121"/>
                <a:gd name="T7" fmla="*/ 46 h 81"/>
                <a:gd name="T8" fmla="*/ 119 w 121"/>
                <a:gd name="T9" fmla="*/ 62 h 81"/>
                <a:gd name="T10" fmla="*/ 101 w 121"/>
                <a:gd name="T11" fmla="*/ 68 h 81"/>
                <a:gd name="T12" fmla="*/ 80 w 121"/>
                <a:gd name="T13" fmla="*/ 74 h 81"/>
                <a:gd name="T14" fmla="*/ 64 w 121"/>
                <a:gd name="T15" fmla="*/ 77 h 81"/>
                <a:gd name="T16" fmla="*/ 62 w 121"/>
                <a:gd name="T17" fmla="*/ 52 h 81"/>
                <a:gd name="T18" fmla="*/ 58 w 121"/>
                <a:gd name="T19" fmla="*/ 40 h 81"/>
                <a:gd name="T20" fmla="*/ 44 w 121"/>
                <a:gd name="T21" fmla="*/ 58 h 81"/>
                <a:gd name="T22" fmla="*/ 32 w 121"/>
                <a:gd name="T23" fmla="*/ 64 h 81"/>
                <a:gd name="T24" fmla="*/ 11 w 121"/>
                <a:gd name="T25" fmla="*/ 67 h 81"/>
                <a:gd name="T26" fmla="*/ 8 w 121"/>
                <a:gd name="T27" fmla="*/ 53 h 81"/>
                <a:gd name="T28" fmla="*/ 8 w 121"/>
                <a:gd name="T29" fmla="*/ 39 h 81"/>
                <a:gd name="T30" fmla="*/ 2 w 121"/>
                <a:gd name="T31" fmla="*/ 25 h 81"/>
                <a:gd name="T32" fmla="*/ 20 w 121"/>
                <a:gd name="T33" fmla="*/ 11 h 81"/>
                <a:gd name="T34" fmla="*/ 28 w 121"/>
                <a:gd name="T35" fmla="*/ 1 h 81"/>
                <a:gd name="T36" fmla="*/ 37 w 121"/>
                <a:gd name="T37" fmla="*/ 4 h 81"/>
                <a:gd name="T38" fmla="*/ 50 w 121"/>
                <a:gd name="T39" fmla="*/ 19 h 81"/>
                <a:gd name="T40" fmla="*/ 52 w 121"/>
                <a:gd name="T41" fmla="*/ 32 h 81"/>
                <a:gd name="T42" fmla="*/ 58 w 121"/>
                <a:gd name="T43" fmla="*/ 23 h 81"/>
                <a:gd name="T44" fmla="*/ 79 w 121"/>
                <a:gd name="T45" fmla="*/ 26 h 81"/>
                <a:gd name="T46" fmla="*/ 98 w 121"/>
                <a:gd name="T47" fmla="*/ 2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1" h="81">
                  <a:moveTo>
                    <a:pt x="98" y="26"/>
                  </a:moveTo>
                  <a:cubicBezTo>
                    <a:pt x="101" y="28"/>
                    <a:pt x="96" y="39"/>
                    <a:pt x="98" y="40"/>
                  </a:cubicBezTo>
                  <a:cubicBezTo>
                    <a:pt x="100" y="41"/>
                    <a:pt x="107" y="33"/>
                    <a:pt x="109" y="34"/>
                  </a:cubicBezTo>
                  <a:cubicBezTo>
                    <a:pt x="111" y="35"/>
                    <a:pt x="111" y="41"/>
                    <a:pt x="113" y="46"/>
                  </a:cubicBezTo>
                  <a:cubicBezTo>
                    <a:pt x="115" y="51"/>
                    <a:pt x="121" y="58"/>
                    <a:pt x="119" y="62"/>
                  </a:cubicBezTo>
                  <a:cubicBezTo>
                    <a:pt x="117" y="66"/>
                    <a:pt x="107" y="66"/>
                    <a:pt x="101" y="68"/>
                  </a:cubicBezTo>
                  <a:cubicBezTo>
                    <a:pt x="95" y="70"/>
                    <a:pt x="86" y="73"/>
                    <a:pt x="80" y="74"/>
                  </a:cubicBezTo>
                  <a:cubicBezTo>
                    <a:pt x="74" y="75"/>
                    <a:pt x="67" y="81"/>
                    <a:pt x="64" y="77"/>
                  </a:cubicBezTo>
                  <a:cubicBezTo>
                    <a:pt x="61" y="73"/>
                    <a:pt x="63" y="58"/>
                    <a:pt x="62" y="52"/>
                  </a:cubicBezTo>
                  <a:cubicBezTo>
                    <a:pt x="61" y="46"/>
                    <a:pt x="61" y="39"/>
                    <a:pt x="58" y="40"/>
                  </a:cubicBezTo>
                  <a:cubicBezTo>
                    <a:pt x="55" y="41"/>
                    <a:pt x="48" y="54"/>
                    <a:pt x="44" y="58"/>
                  </a:cubicBezTo>
                  <a:cubicBezTo>
                    <a:pt x="40" y="62"/>
                    <a:pt x="37" y="63"/>
                    <a:pt x="32" y="64"/>
                  </a:cubicBezTo>
                  <a:cubicBezTo>
                    <a:pt x="27" y="65"/>
                    <a:pt x="15" y="69"/>
                    <a:pt x="11" y="67"/>
                  </a:cubicBezTo>
                  <a:cubicBezTo>
                    <a:pt x="7" y="65"/>
                    <a:pt x="8" y="58"/>
                    <a:pt x="8" y="53"/>
                  </a:cubicBezTo>
                  <a:cubicBezTo>
                    <a:pt x="8" y="48"/>
                    <a:pt x="9" y="44"/>
                    <a:pt x="8" y="39"/>
                  </a:cubicBezTo>
                  <a:cubicBezTo>
                    <a:pt x="7" y="34"/>
                    <a:pt x="0" y="30"/>
                    <a:pt x="2" y="25"/>
                  </a:cubicBezTo>
                  <a:cubicBezTo>
                    <a:pt x="4" y="20"/>
                    <a:pt x="16" y="15"/>
                    <a:pt x="20" y="11"/>
                  </a:cubicBezTo>
                  <a:cubicBezTo>
                    <a:pt x="24" y="7"/>
                    <a:pt x="25" y="2"/>
                    <a:pt x="28" y="1"/>
                  </a:cubicBezTo>
                  <a:cubicBezTo>
                    <a:pt x="31" y="0"/>
                    <a:pt x="33" y="1"/>
                    <a:pt x="37" y="4"/>
                  </a:cubicBezTo>
                  <a:cubicBezTo>
                    <a:pt x="41" y="7"/>
                    <a:pt x="48" y="14"/>
                    <a:pt x="50" y="19"/>
                  </a:cubicBezTo>
                  <a:cubicBezTo>
                    <a:pt x="52" y="24"/>
                    <a:pt x="51" y="31"/>
                    <a:pt x="52" y="32"/>
                  </a:cubicBezTo>
                  <a:cubicBezTo>
                    <a:pt x="53" y="33"/>
                    <a:pt x="54" y="24"/>
                    <a:pt x="58" y="23"/>
                  </a:cubicBezTo>
                  <a:cubicBezTo>
                    <a:pt x="62" y="22"/>
                    <a:pt x="73" y="26"/>
                    <a:pt x="79" y="26"/>
                  </a:cubicBezTo>
                  <a:cubicBezTo>
                    <a:pt x="85" y="26"/>
                    <a:pt x="95" y="24"/>
                    <a:pt x="98" y="26"/>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05" name="Freeform 522"/>
            <p:cNvSpPr>
              <a:spLocks/>
            </p:cNvSpPr>
            <p:nvPr>
              <p:custDataLst>
                <p:tags r:id="rId73"/>
              </p:custDataLst>
            </p:nvPr>
          </p:nvSpPr>
          <p:spPr bwMode="gray">
            <a:xfrm>
              <a:off x="2583975" y="2207071"/>
              <a:ext cx="73390" cy="106118"/>
            </a:xfrm>
            <a:custGeom>
              <a:avLst/>
              <a:gdLst>
                <a:gd name="T0" fmla="*/ 40 w 76"/>
                <a:gd name="T1" fmla="*/ 41 h 110"/>
                <a:gd name="T2" fmla="*/ 66 w 76"/>
                <a:gd name="T3" fmla="*/ 55 h 110"/>
                <a:gd name="T4" fmla="*/ 73 w 76"/>
                <a:gd name="T5" fmla="*/ 91 h 110"/>
                <a:gd name="T6" fmla="*/ 51 w 76"/>
                <a:gd name="T7" fmla="*/ 103 h 110"/>
                <a:gd name="T8" fmla="*/ 36 w 76"/>
                <a:gd name="T9" fmla="*/ 103 h 110"/>
                <a:gd name="T10" fmla="*/ 16 w 76"/>
                <a:gd name="T11" fmla="*/ 91 h 110"/>
                <a:gd name="T12" fmla="*/ 15 w 76"/>
                <a:gd name="T13" fmla="*/ 82 h 110"/>
                <a:gd name="T14" fmla="*/ 28 w 76"/>
                <a:gd name="T15" fmla="*/ 64 h 110"/>
                <a:gd name="T16" fmla="*/ 12 w 76"/>
                <a:gd name="T17" fmla="*/ 53 h 110"/>
                <a:gd name="T18" fmla="*/ 3 w 76"/>
                <a:gd name="T19" fmla="*/ 37 h 110"/>
                <a:gd name="T20" fmla="*/ 30 w 76"/>
                <a:gd name="T21" fmla="*/ 25 h 110"/>
                <a:gd name="T22" fmla="*/ 21 w 76"/>
                <a:gd name="T23" fmla="*/ 8 h 110"/>
                <a:gd name="T24" fmla="*/ 55 w 76"/>
                <a:gd name="T25" fmla="*/ 2 h 110"/>
                <a:gd name="T26" fmla="*/ 43 w 76"/>
                <a:gd name="T27" fmla="*/ 19 h 110"/>
                <a:gd name="T28" fmla="*/ 40 w 76"/>
                <a:gd name="T29"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10">
                  <a:moveTo>
                    <a:pt x="40" y="41"/>
                  </a:moveTo>
                  <a:cubicBezTo>
                    <a:pt x="46" y="45"/>
                    <a:pt x="61" y="47"/>
                    <a:pt x="66" y="55"/>
                  </a:cubicBezTo>
                  <a:cubicBezTo>
                    <a:pt x="71" y="63"/>
                    <a:pt x="76" y="83"/>
                    <a:pt x="73" y="91"/>
                  </a:cubicBezTo>
                  <a:cubicBezTo>
                    <a:pt x="66" y="94"/>
                    <a:pt x="59" y="101"/>
                    <a:pt x="51" y="103"/>
                  </a:cubicBezTo>
                  <a:cubicBezTo>
                    <a:pt x="50" y="110"/>
                    <a:pt x="42" y="100"/>
                    <a:pt x="36" y="103"/>
                  </a:cubicBezTo>
                  <a:cubicBezTo>
                    <a:pt x="13" y="99"/>
                    <a:pt x="23" y="104"/>
                    <a:pt x="16" y="91"/>
                  </a:cubicBezTo>
                  <a:cubicBezTo>
                    <a:pt x="15" y="84"/>
                    <a:pt x="6" y="84"/>
                    <a:pt x="15" y="82"/>
                  </a:cubicBezTo>
                  <a:cubicBezTo>
                    <a:pt x="21" y="72"/>
                    <a:pt x="18" y="72"/>
                    <a:pt x="28" y="64"/>
                  </a:cubicBezTo>
                  <a:cubicBezTo>
                    <a:pt x="26" y="52"/>
                    <a:pt x="17" y="62"/>
                    <a:pt x="12" y="53"/>
                  </a:cubicBezTo>
                  <a:cubicBezTo>
                    <a:pt x="10" y="48"/>
                    <a:pt x="0" y="42"/>
                    <a:pt x="3" y="37"/>
                  </a:cubicBezTo>
                  <a:cubicBezTo>
                    <a:pt x="6" y="32"/>
                    <a:pt x="27" y="30"/>
                    <a:pt x="30" y="25"/>
                  </a:cubicBezTo>
                  <a:cubicBezTo>
                    <a:pt x="33" y="20"/>
                    <a:pt x="17" y="12"/>
                    <a:pt x="21" y="8"/>
                  </a:cubicBezTo>
                  <a:cubicBezTo>
                    <a:pt x="25" y="4"/>
                    <a:pt x="52" y="0"/>
                    <a:pt x="55" y="2"/>
                  </a:cubicBezTo>
                  <a:cubicBezTo>
                    <a:pt x="58" y="4"/>
                    <a:pt x="45" y="13"/>
                    <a:pt x="43" y="19"/>
                  </a:cubicBezTo>
                  <a:cubicBezTo>
                    <a:pt x="41" y="25"/>
                    <a:pt x="31" y="37"/>
                    <a:pt x="40" y="41"/>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06" name="Freeform 528"/>
            <p:cNvSpPr>
              <a:spLocks/>
            </p:cNvSpPr>
            <p:nvPr>
              <p:custDataLst>
                <p:tags r:id="rId74"/>
              </p:custDataLst>
            </p:nvPr>
          </p:nvSpPr>
          <p:spPr bwMode="gray">
            <a:xfrm>
              <a:off x="2624638" y="2466910"/>
              <a:ext cx="176532" cy="142812"/>
            </a:xfrm>
            <a:custGeom>
              <a:avLst/>
              <a:gdLst>
                <a:gd name="T0" fmla="*/ 9 w 183"/>
                <a:gd name="T1" fmla="*/ 5 h 148"/>
                <a:gd name="T2" fmla="*/ 54 w 183"/>
                <a:gd name="T3" fmla="*/ 3 h 148"/>
                <a:gd name="T4" fmla="*/ 81 w 183"/>
                <a:gd name="T5" fmla="*/ 3 h 148"/>
                <a:gd name="T6" fmla="*/ 156 w 183"/>
                <a:gd name="T7" fmla="*/ 17 h 148"/>
                <a:gd name="T8" fmla="*/ 175 w 183"/>
                <a:gd name="T9" fmla="*/ 27 h 148"/>
                <a:gd name="T10" fmla="*/ 175 w 183"/>
                <a:gd name="T11" fmla="*/ 39 h 148"/>
                <a:gd name="T12" fmla="*/ 154 w 183"/>
                <a:gd name="T13" fmla="*/ 48 h 148"/>
                <a:gd name="T14" fmla="*/ 139 w 183"/>
                <a:gd name="T15" fmla="*/ 62 h 148"/>
                <a:gd name="T16" fmla="*/ 129 w 183"/>
                <a:gd name="T17" fmla="*/ 77 h 148"/>
                <a:gd name="T18" fmla="*/ 132 w 183"/>
                <a:gd name="T19" fmla="*/ 96 h 148"/>
                <a:gd name="T20" fmla="*/ 130 w 183"/>
                <a:gd name="T21" fmla="*/ 102 h 148"/>
                <a:gd name="T22" fmla="*/ 123 w 183"/>
                <a:gd name="T23" fmla="*/ 104 h 148"/>
                <a:gd name="T24" fmla="*/ 112 w 183"/>
                <a:gd name="T25" fmla="*/ 119 h 148"/>
                <a:gd name="T26" fmla="*/ 91 w 183"/>
                <a:gd name="T27" fmla="*/ 134 h 148"/>
                <a:gd name="T28" fmla="*/ 55 w 183"/>
                <a:gd name="T29" fmla="*/ 141 h 148"/>
                <a:gd name="T30" fmla="*/ 43 w 183"/>
                <a:gd name="T31" fmla="*/ 146 h 148"/>
                <a:gd name="T32" fmla="*/ 28 w 183"/>
                <a:gd name="T33" fmla="*/ 131 h 148"/>
                <a:gd name="T34" fmla="*/ 21 w 183"/>
                <a:gd name="T35" fmla="*/ 119 h 148"/>
                <a:gd name="T36" fmla="*/ 27 w 183"/>
                <a:gd name="T37" fmla="*/ 83 h 148"/>
                <a:gd name="T38" fmla="*/ 37 w 183"/>
                <a:gd name="T39" fmla="*/ 42 h 148"/>
                <a:gd name="T40" fmla="*/ 16 w 183"/>
                <a:gd name="T41" fmla="*/ 35 h 148"/>
                <a:gd name="T42" fmla="*/ 4 w 183"/>
                <a:gd name="T43" fmla="*/ 29 h 148"/>
                <a:gd name="T44" fmla="*/ 0 w 183"/>
                <a:gd name="T45" fmla="*/ 12 h 148"/>
                <a:gd name="T46" fmla="*/ 9 w 183"/>
                <a:gd name="T47" fmla="*/ 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3" h="148">
                  <a:moveTo>
                    <a:pt x="9" y="5"/>
                  </a:moveTo>
                  <a:cubicBezTo>
                    <a:pt x="13" y="0"/>
                    <a:pt x="48" y="3"/>
                    <a:pt x="54" y="3"/>
                  </a:cubicBezTo>
                  <a:cubicBezTo>
                    <a:pt x="62" y="9"/>
                    <a:pt x="72" y="7"/>
                    <a:pt x="81" y="3"/>
                  </a:cubicBezTo>
                  <a:cubicBezTo>
                    <a:pt x="113" y="5"/>
                    <a:pt x="122" y="15"/>
                    <a:pt x="156" y="17"/>
                  </a:cubicBezTo>
                  <a:cubicBezTo>
                    <a:pt x="167" y="25"/>
                    <a:pt x="155" y="25"/>
                    <a:pt x="175" y="27"/>
                  </a:cubicBezTo>
                  <a:cubicBezTo>
                    <a:pt x="177" y="34"/>
                    <a:pt x="183" y="37"/>
                    <a:pt x="175" y="39"/>
                  </a:cubicBezTo>
                  <a:cubicBezTo>
                    <a:pt x="171" y="46"/>
                    <a:pt x="162" y="47"/>
                    <a:pt x="154" y="48"/>
                  </a:cubicBezTo>
                  <a:cubicBezTo>
                    <a:pt x="148" y="53"/>
                    <a:pt x="147" y="59"/>
                    <a:pt x="139" y="62"/>
                  </a:cubicBezTo>
                  <a:cubicBezTo>
                    <a:pt x="135" y="68"/>
                    <a:pt x="136" y="74"/>
                    <a:pt x="129" y="77"/>
                  </a:cubicBezTo>
                  <a:cubicBezTo>
                    <a:pt x="123" y="84"/>
                    <a:pt x="125" y="91"/>
                    <a:pt x="132" y="96"/>
                  </a:cubicBezTo>
                  <a:cubicBezTo>
                    <a:pt x="131" y="98"/>
                    <a:pt x="132" y="101"/>
                    <a:pt x="130" y="102"/>
                  </a:cubicBezTo>
                  <a:cubicBezTo>
                    <a:pt x="128" y="104"/>
                    <a:pt x="125" y="102"/>
                    <a:pt x="123" y="104"/>
                  </a:cubicBezTo>
                  <a:cubicBezTo>
                    <a:pt x="115" y="114"/>
                    <a:pt x="125" y="111"/>
                    <a:pt x="112" y="119"/>
                  </a:cubicBezTo>
                  <a:cubicBezTo>
                    <a:pt x="105" y="129"/>
                    <a:pt x="102" y="130"/>
                    <a:pt x="91" y="134"/>
                  </a:cubicBezTo>
                  <a:cubicBezTo>
                    <a:pt x="78" y="144"/>
                    <a:pt x="78" y="140"/>
                    <a:pt x="55" y="141"/>
                  </a:cubicBezTo>
                  <a:cubicBezTo>
                    <a:pt x="48" y="145"/>
                    <a:pt x="52" y="148"/>
                    <a:pt x="43" y="146"/>
                  </a:cubicBezTo>
                  <a:cubicBezTo>
                    <a:pt x="39" y="140"/>
                    <a:pt x="35" y="132"/>
                    <a:pt x="28" y="131"/>
                  </a:cubicBezTo>
                  <a:cubicBezTo>
                    <a:pt x="25" y="126"/>
                    <a:pt x="24" y="124"/>
                    <a:pt x="21" y="119"/>
                  </a:cubicBezTo>
                  <a:cubicBezTo>
                    <a:pt x="28" y="108"/>
                    <a:pt x="21" y="95"/>
                    <a:pt x="27" y="83"/>
                  </a:cubicBezTo>
                  <a:cubicBezTo>
                    <a:pt x="30" y="67"/>
                    <a:pt x="29" y="56"/>
                    <a:pt x="37" y="42"/>
                  </a:cubicBezTo>
                  <a:cubicBezTo>
                    <a:pt x="31" y="34"/>
                    <a:pt x="27" y="36"/>
                    <a:pt x="16" y="35"/>
                  </a:cubicBezTo>
                  <a:cubicBezTo>
                    <a:pt x="11" y="33"/>
                    <a:pt x="9" y="32"/>
                    <a:pt x="4" y="29"/>
                  </a:cubicBezTo>
                  <a:cubicBezTo>
                    <a:pt x="3" y="24"/>
                    <a:pt x="1" y="17"/>
                    <a:pt x="0" y="12"/>
                  </a:cubicBezTo>
                  <a:cubicBezTo>
                    <a:pt x="3" y="10"/>
                    <a:pt x="9" y="8"/>
                    <a:pt x="9" y="8"/>
                  </a:cubicBez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07" name="Freeform 529"/>
            <p:cNvSpPr>
              <a:spLocks/>
            </p:cNvSpPr>
            <p:nvPr>
              <p:custDataLst>
                <p:tags r:id="rId75"/>
              </p:custDataLst>
            </p:nvPr>
          </p:nvSpPr>
          <p:spPr bwMode="gray">
            <a:xfrm>
              <a:off x="3388286" y="2540299"/>
              <a:ext cx="267773" cy="252897"/>
            </a:xfrm>
            <a:custGeom>
              <a:avLst/>
              <a:gdLst>
                <a:gd name="T0" fmla="*/ 5 w 277"/>
                <a:gd name="T1" fmla="*/ 5 h 262"/>
                <a:gd name="T2" fmla="*/ 1 w 277"/>
                <a:gd name="T3" fmla="*/ 37 h 262"/>
                <a:gd name="T4" fmla="*/ 2 w 277"/>
                <a:gd name="T5" fmla="*/ 53 h 262"/>
                <a:gd name="T6" fmla="*/ 15 w 277"/>
                <a:gd name="T7" fmla="*/ 67 h 262"/>
                <a:gd name="T8" fmla="*/ 26 w 277"/>
                <a:gd name="T9" fmla="*/ 77 h 262"/>
                <a:gd name="T10" fmla="*/ 14 w 277"/>
                <a:gd name="T11" fmla="*/ 100 h 262"/>
                <a:gd name="T12" fmla="*/ 28 w 277"/>
                <a:gd name="T13" fmla="*/ 121 h 262"/>
                <a:gd name="T14" fmla="*/ 46 w 277"/>
                <a:gd name="T15" fmla="*/ 139 h 262"/>
                <a:gd name="T16" fmla="*/ 53 w 277"/>
                <a:gd name="T17" fmla="*/ 173 h 262"/>
                <a:gd name="T18" fmla="*/ 85 w 277"/>
                <a:gd name="T19" fmla="*/ 182 h 262"/>
                <a:gd name="T20" fmla="*/ 94 w 277"/>
                <a:gd name="T21" fmla="*/ 208 h 262"/>
                <a:gd name="T22" fmla="*/ 115 w 277"/>
                <a:gd name="T23" fmla="*/ 218 h 262"/>
                <a:gd name="T24" fmla="*/ 119 w 277"/>
                <a:gd name="T25" fmla="*/ 220 h 262"/>
                <a:gd name="T26" fmla="*/ 130 w 277"/>
                <a:gd name="T27" fmla="*/ 221 h 262"/>
                <a:gd name="T28" fmla="*/ 145 w 277"/>
                <a:gd name="T29" fmla="*/ 233 h 262"/>
                <a:gd name="T30" fmla="*/ 173 w 277"/>
                <a:gd name="T31" fmla="*/ 215 h 262"/>
                <a:gd name="T32" fmla="*/ 193 w 277"/>
                <a:gd name="T33" fmla="*/ 221 h 262"/>
                <a:gd name="T34" fmla="*/ 202 w 277"/>
                <a:gd name="T35" fmla="*/ 251 h 262"/>
                <a:gd name="T36" fmla="*/ 236 w 277"/>
                <a:gd name="T37" fmla="*/ 257 h 262"/>
                <a:gd name="T38" fmla="*/ 256 w 277"/>
                <a:gd name="T39" fmla="*/ 241 h 262"/>
                <a:gd name="T40" fmla="*/ 268 w 277"/>
                <a:gd name="T41" fmla="*/ 233 h 262"/>
                <a:gd name="T42" fmla="*/ 277 w 277"/>
                <a:gd name="T43" fmla="*/ 230 h 262"/>
                <a:gd name="T44" fmla="*/ 269 w 277"/>
                <a:gd name="T45" fmla="*/ 208 h 262"/>
                <a:gd name="T46" fmla="*/ 253 w 277"/>
                <a:gd name="T47" fmla="*/ 199 h 262"/>
                <a:gd name="T48" fmla="*/ 248 w 277"/>
                <a:gd name="T49" fmla="*/ 176 h 262"/>
                <a:gd name="T50" fmla="*/ 251 w 277"/>
                <a:gd name="T51" fmla="*/ 164 h 262"/>
                <a:gd name="T52" fmla="*/ 243 w 277"/>
                <a:gd name="T53" fmla="*/ 146 h 262"/>
                <a:gd name="T54" fmla="*/ 239 w 277"/>
                <a:gd name="T55" fmla="*/ 127 h 262"/>
                <a:gd name="T56" fmla="*/ 247 w 277"/>
                <a:gd name="T57" fmla="*/ 80 h 262"/>
                <a:gd name="T58" fmla="*/ 227 w 277"/>
                <a:gd name="T59" fmla="*/ 61 h 262"/>
                <a:gd name="T60" fmla="*/ 209 w 277"/>
                <a:gd name="T61" fmla="*/ 49 h 262"/>
                <a:gd name="T62" fmla="*/ 185 w 277"/>
                <a:gd name="T63" fmla="*/ 40 h 262"/>
                <a:gd name="T64" fmla="*/ 165 w 277"/>
                <a:gd name="T65" fmla="*/ 38 h 262"/>
                <a:gd name="T66" fmla="*/ 146 w 277"/>
                <a:gd name="T67" fmla="*/ 44 h 262"/>
                <a:gd name="T68" fmla="*/ 128 w 277"/>
                <a:gd name="T69" fmla="*/ 52 h 262"/>
                <a:gd name="T70" fmla="*/ 97 w 277"/>
                <a:gd name="T71" fmla="*/ 61 h 262"/>
                <a:gd name="T72" fmla="*/ 73 w 277"/>
                <a:gd name="T73" fmla="*/ 41 h 262"/>
                <a:gd name="T74" fmla="*/ 53 w 277"/>
                <a:gd name="T75" fmla="*/ 19 h 262"/>
                <a:gd name="T76" fmla="*/ 43 w 277"/>
                <a:gd name="T77" fmla="*/ 8 h 262"/>
                <a:gd name="T78" fmla="*/ 31 w 277"/>
                <a:gd name="T79" fmla="*/ 10 h 262"/>
                <a:gd name="T80" fmla="*/ 17 w 277"/>
                <a:gd name="T81" fmla="*/ 8 h 262"/>
                <a:gd name="T82" fmla="*/ 5 w 277"/>
                <a:gd name="T83" fmla="*/ 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7" h="262">
                  <a:moveTo>
                    <a:pt x="5" y="5"/>
                  </a:moveTo>
                  <a:cubicBezTo>
                    <a:pt x="0" y="9"/>
                    <a:pt x="1" y="28"/>
                    <a:pt x="1" y="37"/>
                  </a:cubicBezTo>
                  <a:cubicBezTo>
                    <a:pt x="1" y="45"/>
                    <a:pt x="0" y="48"/>
                    <a:pt x="2" y="53"/>
                  </a:cubicBezTo>
                  <a:cubicBezTo>
                    <a:pt x="4" y="58"/>
                    <a:pt x="11" y="63"/>
                    <a:pt x="15" y="67"/>
                  </a:cubicBezTo>
                  <a:cubicBezTo>
                    <a:pt x="19" y="71"/>
                    <a:pt x="26" y="72"/>
                    <a:pt x="26" y="77"/>
                  </a:cubicBezTo>
                  <a:cubicBezTo>
                    <a:pt x="18" y="85"/>
                    <a:pt x="25" y="96"/>
                    <a:pt x="14" y="100"/>
                  </a:cubicBezTo>
                  <a:cubicBezTo>
                    <a:pt x="12" y="110"/>
                    <a:pt x="19" y="117"/>
                    <a:pt x="28" y="121"/>
                  </a:cubicBezTo>
                  <a:cubicBezTo>
                    <a:pt x="34" y="129"/>
                    <a:pt x="37" y="135"/>
                    <a:pt x="46" y="139"/>
                  </a:cubicBezTo>
                  <a:cubicBezTo>
                    <a:pt x="54" y="149"/>
                    <a:pt x="45" y="163"/>
                    <a:pt x="53" y="173"/>
                  </a:cubicBezTo>
                  <a:cubicBezTo>
                    <a:pt x="67" y="170"/>
                    <a:pt x="78" y="169"/>
                    <a:pt x="85" y="182"/>
                  </a:cubicBezTo>
                  <a:cubicBezTo>
                    <a:pt x="87" y="192"/>
                    <a:pt x="90" y="199"/>
                    <a:pt x="94" y="208"/>
                  </a:cubicBezTo>
                  <a:cubicBezTo>
                    <a:pt x="96" y="221"/>
                    <a:pt x="104" y="216"/>
                    <a:pt x="115" y="218"/>
                  </a:cubicBezTo>
                  <a:cubicBezTo>
                    <a:pt x="116" y="219"/>
                    <a:pt x="118" y="220"/>
                    <a:pt x="119" y="220"/>
                  </a:cubicBezTo>
                  <a:cubicBezTo>
                    <a:pt x="123" y="221"/>
                    <a:pt x="127" y="220"/>
                    <a:pt x="130" y="221"/>
                  </a:cubicBezTo>
                  <a:cubicBezTo>
                    <a:pt x="136" y="224"/>
                    <a:pt x="134" y="231"/>
                    <a:pt x="145" y="233"/>
                  </a:cubicBezTo>
                  <a:cubicBezTo>
                    <a:pt x="153" y="237"/>
                    <a:pt x="166" y="220"/>
                    <a:pt x="173" y="215"/>
                  </a:cubicBezTo>
                  <a:cubicBezTo>
                    <a:pt x="178" y="216"/>
                    <a:pt x="189" y="218"/>
                    <a:pt x="193" y="221"/>
                  </a:cubicBezTo>
                  <a:cubicBezTo>
                    <a:pt x="198" y="224"/>
                    <a:pt x="190" y="249"/>
                    <a:pt x="202" y="251"/>
                  </a:cubicBezTo>
                  <a:cubicBezTo>
                    <a:pt x="224" y="262"/>
                    <a:pt x="198" y="256"/>
                    <a:pt x="236" y="257"/>
                  </a:cubicBezTo>
                  <a:cubicBezTo>
                    <a:pt x="274" y="255"/>
                    <a:pt x="241" y="262"/>
                    <a:pt x="256" y="241"/>
                  </a:cubicBezTo>
                  <a:cubicBezTo>
                    <a:pt x="262" y="241"/>
                    <a:pt x="266" y="233"/>
                    <a:pt x="268" y="233"/>
                  </a:cubicBezTo>
                  <a:cubicBezTo>
                    <a:pt x="271" y="230"/>
                    <a:pt x="277" y="234"/>
                    <a:pt x="277" y="230"/>
                  </a:cubicBezTo>
                  <a:cubicBezTo>
                    <a:pt x="277" y="226"/>
                    <a:pt x="273" y="213"/>
                    <a:pt x="269" y="208"/>
                  </a:cubicBezTo>
                  <a:cubicBezTo>
                    <a:pt x="268" y="201"/>
                    <a:pt x="258" y="204"/>
                    <a:pt x="253" y="199"/>
                  </a:cubicBezTo>
                  <a:cubicBezTo>
                    <a:pt x="248" y="186"/>
                    <a:pt x="247" y="198"/>
                    <a:pt x="248" y="176"/>
                  </a:cubicBezTo>
                  <a:cubicBezTo>
                    <a:pt x="247" y="170"/>
                    <a:pt x="252" y="168"/>
                    <a:pt x="251" y="164"/>
                  </a:cubicBezTo>
                  <a:cubicBezTo>
                    <a:pt x="250" y="159"/>
                    <a:pt x="245" y="152"/>
                    <a:pt x="243" y="146"/>
                  </a:cubicBezTo>
                  <a:cubicBezTo>
                    <a:pt x="237" y="138"/>
                    <a:pt x="238" y="136"/>
                    <a:pt x="239" y="127"/>
                  </a:cubicBezTo>
                  <a:cubicBezTo>
                    <a:pt x="239" y="117"/>
                    <a:pt x="249" y="91"/>
                    <a:pt x="247" y="80"/>
                  </a:cubicBezTo>
                  <a:cubicBezTo>
                    <a:pt x="245" y="69"/>
                    <a:pt x="233" y="66"/>
                    <a:pt x="227" y="61"/>
                  </a:cubicBezTo>
                  <a:cubicBezTo>
                    <a:pt x="223" y="54"/>
                    <a:pt x="218" y="50"/>
                    <a:pt x="209" y="49"/>
                  </a:cubicBezTo>
                  <a:cubicBezTo>
                    <a:pt x="202" y="46"/>
                    <a:pt x="192" y="41"/>
                    <a:pt x="185" y="40"/>
                  </a:cubicBezTo>
                  <a:cubicBezTo>
                    <a:pt x="177" y="38"/>
                    <a:pt x="171" y="37"/>
                    <a:pt x="165" y="38"/>
                  </a:cubicBezTo>
                  <a:cubicBezTo>
                    <a:pt x="159" y="39"/>
                    <a:pt x="152" y="42"/>
                    <a:pt x="146" y="44"/>
                  </a:cubicBezTo>
                  <a:cubicBezTo>
                    <a:pt x="141" y="48"/>
                    <a:pt x="135" y="51"/>
                    <a:pt x="128" y="52"/>
                  </a:cubicBezTo>
                  <a:cubicBezTo>
                    <a:pt x="120" y="53"/>
                    <a:pt x="106" y="63"/>
                    <a:pt x="97" y="61"/>
                  </a:cubicBezTo>
                  <a:cubicBezTo>
                    <a:pt x="88" y="59"/>
                    <a:pt x="80" y="48"/>
                    <a:pt x="73" y="41"/>
                  </a:cubicBezTo>
                  <a:cubicBezTo>
                    <a:pt x="69" y="35"/>
                    <a:pt x="57" y="24"/>
                    <a:pt x="53" y="19"/>
                  </a:cubicBezTo>
                  <a:cubicBezTo>
                    <a:pt x="48" y="13"/>
                    <a:pt x="50" y="11"/>
                    <a:pt x="43" y="8"/>
                  </a:cubicBezTo>
                  <a:cubicBezTo>
                    <a:pt x="38" y="11"/>
                    <a:pt x="36" y="6"/>
                    <a:pt x="31" y="10"/>
                  </a:cubicBezTo>
                  <a:cubicBezTo>
                    <a:pt x="27" y="4"/>
                    <a:pt x="24" y="11"/>
                    <a:pt x="17" y="8"/>
                  </a:cubicBezTo>
                  <a:cubicBezTo>
                    <a:pt x="11" y="0"/>
                    <a:pt x="12" y="9"/>
                    <a:pt x="5" y="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08" name="Freeform 530"/>
            <p:cNvSpPr>
              <a:spLocks/>
            </p:cNvSpPr>
            <p:nvPr>
              <p:custDataLst>
                <p:tags r:id="rId76"/>
              </p:custDataLst>
            </p:nvPr>
          </p:nvSpPr>
          <p:spPr bwMode="gray">
            <a:xfrm>
              <a:off x="3296053" y="2588895"/>
              <a:ext cx="143804" cy="138845"/>
            </a:xfrm>
            <a:custGeom>
              <a:avLst/>
              <a:gdLst>
                <a:gd name="T0" fmla="*/ 92 w 149"/>
                <a:gd name="T1" fmla="*/ 3 h 144"/>
                <a:gd name="T2" fmla="*/ 76 w 149"/>
                <a:gd name="T3" fmla="*/ 8 h 144"/>
                <a:gd name="T4" fmla="*/ 49 w 149"/>
                <a:gd name="T5" fmla="*/ 5 h 144"/>
                <a:gd name="T6" fmla="*/ 41 w 149"/>
                <a:gd name="T7" fmla="*/ 40 h 144"/>
                <a:gd name="T8" fmla="*/ 32 w 149"/>
                <a:gd name="T9" fmla="*/ 51 h 144"/>
                <a:gd name="T10" fmla="*/ 22 w 149"/>
                <a:gd name="T11" fmla="*/ 66 h 144"/>
                <a:gd name="T12" fmla="*/ 7 w 149"/>
                <a:gd name="T13" fmla="*/ 71 h 144"/>
                <a:gd name="T14" fmla="*/ 20 w 149"/>
                <a:gd name="T15" fmla="*/ 95 h 144"/>
                <a:gd name="T16" fmla="*/ 34 w 149"/>
                <a:gd name="T17" fmla="*/ 95 h 144"/>
                <a:gd name="T18" fmla="*/ 49 w 149"/>
                <a:gd name="T19" fmla="*/ 102 h 144"/>
                <a:gd name="T20" fmla="*/ 58 w 149"/>
                <a:gd name="T21" fmla="*/ 107 h 144"/>
                <a:gd name="T22" fmla="*/ 71 w 149"/>
                <a:gd name="T23" fmla="*/ 117 h 144"/>
                <a:gd name="T24" fmla="*/ 83 w 149"/>
                <a:gd name="T25" fmla="*/ 131 h 144"/>
                <a:gd name="T26" fmla="*/ 97 w 149"/>
                <a:gd name="T27" fmla="*/ 134 h 144"/>
                <a:gd name="T28" fmla="*/ 110 w 149"/>
                <a:gd name="T29" fmla="*/ 143 h 144"/>
                <a:gd name="T30" fmla="*/ 128 w 149"/>
                <a:gd name="T31" fmla="*/ 140 h 144"/>
                <a:gd name="T32" fmla="*/ 146 w 149"/>
                <a:gd name="T33" fmla="*/ 125 h 144"/>
                <a:gd name="T34" fmla="*/ 147 w 149"/>
                <a:gd name="T35" fmla="*/ 114 h 144"/>
                <a:gd name="T36" fmla="*/ 145 w 149"/>
                <a:gd name="T37" fmla="*/ 93 h 144"/>
                <a:gd name="T38" fmla="*/ 122 w 149"/>
                <a:gd name="T39" fmla="*/ 71 h 144"/>
                <a:gd name="T40" fmla="*/ 110 w 149"/>
                <a:gd name="T41" fmla="*/ 59 h 144"/>
                <a:gd name="T42" fmla="*/ 119 w 149"/>
                <a:gd name="T43" fmla="*/ 45 h 144"/>
                <a:gd name="T44" fmla="*/ 119 w 149"/>
                <a:gd name="T45" fmla="*/ 35 h 144"/>
                <a:gd name="T46" fmla="*/ 121 w 149"/>
                <a:gd name="T47" fmla="*/ 23 h 144"/>
                <a:gd name="T48" fmla="*/ 113 w 149"/>
                <a:gd name="T49" fmla="*/ 18 h 144"/>
                <a:gd name="T50" fmla="*/ 103 w 149"/>
                <a:gd name="T51" fmla="*/ 14 h 144"/>
                <a:gd name="T52" fmla="*/ 95 w 149"/>
                <a:gd name="T53" fmla="*/ 6 h 144"/>
                <a:gd name="T54" fmla="*/ 92 w 149"/>
                <a:gd name="T55" fmla="*/ 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9" h="144">
                  <a:moveTo>
                    <a:pt x="92" y="3"/>
                  </a:moveTo>
                  <a:cubicBezTo>
                    <a:pt x="89" y="2"/>
                    <a:pt x="83" y="8"/>
                    <a:pt x="76" y="8"/>
                  </a:cubicBezTo>
                  <a:cubicBezTo>
                    <a:pt x="69" y="8"/>
                    <a:pt x="55" y="0"/>
                    <a:pt x="49" y="5"/>
                  </a:cubicBezTo>
                  <a:cubicBezTo>
                    <a:pt x="41" y="12"/>
                    <a:pt x="44" y="32"/>
                    <a:pt x="41" y="40"/>
                  </a:cubicBezTo>
                  <a:cubicBezTo>
                    <a:pt x="38" y="48"/>
                    <a:pt x="35" y="47"/>
                    <a:pt x="32" y="51"/>
                  </a:cubicBezTo>
                  <a:cubicBezTo>
                    <a:pt x="28" y="55"/>
                    <a:pt x="26" y="63"/>
                    <a:pt x="22" y="66"/>
                  </a:cubicBezTo>
                  <a:cubicBezTo>
                    <a:pt x="18" y="69"/>
                    <a:pt x="7" y="66"/>
                    <a:pt x="7" y="71"/>
                  </a:cubicBezTo>
                  <a:cubicBezTo>
                    <a:pt x="0" y="85"/>
                    <a:pt x="8" y="93"/>
                    <a:pt x="20" y="95"/>
                  </a:cubicBezTo>
                  <a:cubicBezTo>
                    <a:pt x="24" y="100"/>
                    <a:pt x="29" y="94"/>
                    <a:pt x="34" y="95"/>
                  </a:cubicBezTo>
                  <a:cubicBezTo>
                    <a:pt x="39" y="96"/>
                    <a:pt x="45" y="100"/>
                    <a:pt x="49" y="102"/>
                  </a:cubicBezTo>
                  <a:cubicBezTo>
                    <a:pt x="53" y="104"/>
                    <a:pt x="54" y="105"/>
                    <a:pt x="58" y="107"/>
                  </a:cubicBezTo>
                  <a:cubicBezTo>
                    <a:pt x="61" y="110"/>
                    <a:pt x="67" y="113"/>
                    <a:pt x="71" y="117"/>
                  </a:cubicBezTo>
                  <a:cubicBezTo>
                    <a:pt x="75" y="121"/>
                    <a:pt x="79" y="128"/>
                    <a:pt x="83" y="131"/>
                  </a:cubicBezTo>
                  <a:cubicBezTo>
                    <a:pt x="89" y="135"/>
                    <a:pt x="90" y="133"/>
                    <a:pt x="97" y="134"/>
                  </a:cubicBezTo>
                  <a:cubicBezTo>
                    <a:pt x="102" y="135"/>
                    <a:pt x="105" y="142"/>
                    <a:pt x="110" y="143"/>
                  </a:cubicBezTo>
                  <a:cubicBezTo>
                    <a:pt x="115" y="144"/>
                    <a:pt x="122" y="143"/>
                    <a:pt x="128" y="140"/>
                  </a:cubicBezTo>
                  <a:cubicBezTo>
                    <a:pt x="134" y="137"/>
                    <a:pt x="147" y="136"/>
                    <a:pt x="146" y="125"/>
                  </a:cubicBezTo>
                  <a:cubicBezTo>
                    <a:pt x="149" y="121"/>
                    <a:pt x="147" y="119"/>
                    <a:pt x="147" y="114"/>
                  </a:cubicBezTo>
                  <a:cubicBezTo>
                    <a:pt x="147" y="109"/>
                    <a:pt x="149" y="100"/>
                    <a:pt x="145" y="93"/>
                  </a:cubicBezTo>
                  <a:cubicBezTo>
                    <a:pt x="141" y="86"/>
                    <a:pt x="128" y="77"/>
                    <a:pt x="122" y="71"/>
                  </a:cubicBezTo>
                  <a:cubicBezTo>
                    <a:pt x="118" y="65"/>
                    <a:pt x="114" y="64"/>
                    <a:pt x="110" y="59"/>
                  </a:cubicBezTo>
                  <a:cubicBezTo>
                    <a:pt x="108" y="54"/>
                    <a:pt x="118" y="49"/>
                    <a:pt x="119" y="45"/>
                  </a:cubicBezTo>
                  <a:cubicBezTo>
                    <a:pt x="120" y="41"/>
                    <a:pt x="119" y="39"/>
                    <a:pt x="119" y="35"/>
                  </a:cubicBezTo>
                  <a:cubicBezTo>
                    <a:pt x="120" y="29"/>
                    <a:pt x="124" y="26"/>
                    <a:pt x="121" y="23"/>
                  </a:cubicBezTo>
                  <a:cubicBezTo>
                    <a:pt x="120" y="20"/>
                    <a:pt x="116" y="20"/>
                    <a:pt x="113" y="18"/>
                  </a:cubicBezTo>
                  <a:cubicBezTo>
                    <a:pt x="110" y="16"/>
                    <a:pt x="106" y="16"/>
                    <a:pt x="103" y="14"/>
                  </a:cubicBezTo>
                  <a:cubicBezTo>
                    <a:pt x="99" y="7"/>
                    <a:pt x="102" y="11"/>
                    <a:pt x="95" y="6"/>
                  </a:cubicBezTo>
                  <a:cubicBezTo>
                    <a:pt x="90" y="3"/>
                    <a:pt x="89" y="3"/>
                    <a:pt x="92" y="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09" name="Freeform 531"/>
            <p:cNvSpPr>
              <a:spLocks/>
            </p:cNvSpPr>
            <p:nvPr>
              <p:custDataLst>
                <p:tags r:id="rId77"/>
              </p:custDataLst>
            </p:nvPr>
          </p:nvSpPr>
          <p:spPr bwMode="gray">
            <a:xfrm>
              <a:off x="2910262" y="3110556"/>
              <a:ext cx="103142" cy="126944"/>
            </a:xfrm>
            <a:custGeom>
              <a:avLst/>
              <a:gdLst>
                <a:gd name="T0" fmla="*/ 67 w 107"/>
                <a:gd name="T1" fmla="*/ 14 h 131"/>
                <a:gd name="T2" fmla="*/ 70 w 107"/>
                <a:gd name="T3" fmla="*/ 16 h 131"/>
                <a:gd name="T4" fmla="*/ 86 w 107"/>
                <a:gd name="T5" fmla="*/ 1 h 131"/>
                <a:gd name="T6" fmla="*/ 103 w 107"/>
                <a:gd name="T7" fmla="*/ 2 h 131"/>
                <a:gd name="T8" fmla="*/ 106 w 107"/>
                <a:gd name="T9" fmla="*/ 29 h 131"/>
                <a:gd name="T10" fmla="*/ 98 w 107"/>
                <a:gd name="T11" fmla="*/ 43 h 131"/>
                <a:gd name="T12" fmla="*/ 100 w 107"/>
                <a:gd name="T13" fmla="*/ 64 h 131"/>
                <a:gd name="T14" fmla="*/ 86 w 107"/>
                <a:gd name="T15" fmla="*/ 73 h 131"/>
                <a:gd name="T16" fmla="*/ 77 w 107"/>
                <a:gd name="T17" fmla="*/ 86 h 131"/>
                <a:gd name="T18" fmla="*/ 71 w 107"/>
                <a:gd name="T19" fmla="*/ 101 h 131"/>
                <a:gd name="T20" fmla="*/ 65 w 107"/>
                <a:gd name="T21" fmla="*/ 113 h 131"/>
                <a:gd name="T22" fmla="*/ 50 w 107"/>
                <a:gd name="T23" fmla="*/ 119 h 131"/>
                <a:gd name="T24" fmla="*/ 39 w 107"/>
                <a:gd name="T25" fmla="*/ 119 h 131"/>
                <a:gd name="T26" fmla="*/ 25 w 107"/>
                <a:gd name="T27" fmla="*/ 121 h 131"/>
                <a:gd name="T28" fmla="*/ 11 w 107"/>
                <a:gd name="T29" fmla="*/ 130 h 131"/>
                <a:gd name="T30" fmla="*/ 1 w 107"/>
                <a:gd name="T31" fmla="*/ 115 h 131"/>
                <a:gd name="T32" fmla="*/ 16 w 107"/>
                <a:gd name="T33" fmla="*/ 103 h 131"/>
                <a:gd name="T34" fmla="*/ 16 w 107"/>
                <a:gd name="T35" fmla="*/ 88 h 131"/>
                <a:gd name="T36" fmla="*/ 26 w 107"/>
                <a:gd name="T37" fmla="*/ 80 h 131"/>
                <a:gd name="T38" fmla="*/ 49 w 107"/>
                <a:gd name="T39" fmla="*/ 85 h 131"/>
                <a:gd name="T40" fmla="*/ 53 w 107"/>
                <a:gd name="T41" fmla="*/ 71 h 131"/>
                <a:gd name="T42" fmla="*/ 46 w 107"/>
                <a:gd name="T43" fmla="*/ 50 h 131"/>
                <a:gd name="T44" fmla="*/ 47 w 107"/>
                <a:gd name="T45" fmla="*/ 37 h 131"/>
                <a:gd name="T46" fmla="*/ 35 w 107"/>
                <a:gd name="T47" fmla="*/ 37 h 131"/>
                <a:gd name="T48" fmla="*/ 28 w 107"/>
                <a:gd name="T49" fmla="*/ 20 h 131"/>
                <a:gd name="T50" fmla="*/ 58 w 107"/>
                <a:gd name="T51" fmla="*/ 22 h 131"/>
                <a:gd name="T52" fmla="*/ 73 w 107"/>
                <a:gd name="T53" fmla="*/ 1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131">
                  <a:moveTo>
                    <a:pt x="67" y="14"/>
                  </a:moveTo>
                  <a:cubicBezTo>
                    <a:pt x="76" y="18"/>
                    <a:pt x="67" y="23"/>
                    <a:pt x="70" y="16"/>
                  </a:cubicBezTo>
                  <a:cubicBezTo>
                    <a:pt x="67" y="7"/>
                    <a:pt x="76" y="2"/>
                    <a:pt x="86" y="1"/>
                  </a:cubicBezTo>
                  <a:cubicBezTo>
                    <a:pt x="92" y="1"/>
                    <a:pt x="98" y="0"/>
                    <a:pt x="103" y="2"/>
                  </a:cubicBezTo>
                  <a:cubicBezTo>
                    <a:pt x="106" y="6"/>
                    <a:pt x="107" y="22"/>
                    <a:pt x="106" y="29"/>
                  </a:cubicBezTo>
                  <a:cubicBezTo>
                    <a:pt x="105" y="36"/>
                    <a:pt x="99" y="37"/>
                    <a:pt x="98" y="43"/>
                  </a:cubicBezTo>
                  <a:cubicBezTo>
                    <a:pt x="97" y="53"/>
                    <a:pt x="102" y="59"/>
                    <a:pt x="100" y="64"/>
                  </a:cubicBezTo>
                  <a:cubicBezTo>
                    <a:pt x="98" y="69"/>
                    <a:pt x="90" y="69"/>
                    <a:pt x="86" y="73"/>
                  </a:cubicBezTo>
                  <a:cubicBezTo>
                    <a:pt x="85" y="81"/>
                    <a:pt x="81" y="80"/>
                    <a:pt x="77" y="86"/>
                  </a:cubicBezTo>
                  <a:cubicBezTo>
                    <a:pt x="75" y="92"/>
                    <a:pt x="73" y="97"/>
                    <a:pt x="71" y="101"/>
                  </a:cubicBezTo>
                  <a:cubicBezTo>
                    <a:pt x="69" y="105"/>
                    <a:pt x="68" y="110"/>
                    <a:pt x="65" y="113"/>
                  </a:cubicBezTo>
                  <a:cubicBezTo>
                    <a:pt x="60" y="117"/>
                    <a:pt x="56" y="118"/>
                    <a:pt x="50" y="119"/>
                  </a:cubicBezTo>
                  <a:cubicBezTo>
                    <a:pt x="46" y="120"/>
                    <a:pt x="43" y="119"/>
                    <a:pt x="39" y="119"/>
                  </a:cubicBezTo>
                  <a:cubicBezTo>
                    <a:pt x="35" y="119"/>
                    <a:pt x="30" y="119"/>
                    <a:pt x="25" y="121"/>
                  </a:cubicBezTo>
                  <a:cubicBezTo>
                    <a:pt x="19" y="121"/>
                    <a:pt x="15" y="131"/>
                    <a:pt x="11" y="130"/>
                  </a:cubicBezTo>
                  <a:cubicBezTo>
                    <a:pt x="7" y="129"/>
                    <a:pt x="0" y="119"/>
                    <a:pt x="1" y="115"/>
                  </a:cubicBezTo>
                  <a:cubicBezTo>
                    <a:pt x="0" y="109"/>
                    <a:pt x="14" y="107"/>
                    <a:pt x="16" y="103"/>
                  </a:cubicBezTo>
                  <a:cubicBezTo>
                    <a:pt x="18" y="99"/>
                    <a:pt x="14" y="92"/>
                    <a:pt x="16" y="88"/>
                  </a:cubicBezTo>
                  <a:cubicBezTo>
                    <a:pt x="18" y="84"/>
                    <a:pt x="21" y="80"/>
                    <a:pt x="26" y="80"/>
                  </a:cubicBezTo>
                  <a:cubicBezTo>
                    <a:pt x="31" y="80"/>
                    <a:pt x="45" y="86"/>
                    <a:pt x="49" y="85"/>
                  </a:cubicBezTo>
                  <a:cubicBezTo>
                    <a:pt x="53" y="84"/>
                    <a:pt x="53" y="77"/>
                    <a:pt x="53" y="71"/>
                  </a:cubicBezTo>
                  <a:cubicBezTo>
                    <a:pt x="53" y="65"/>
                    <a:pt x="47" y="56"/>
                    <a:pt x="46" y="50"/>
                  </a:cubicBezTo>
                  <a:cubicBezTo>
                    <a:pt x="45" y="44"/>
                    <a:pt x="49" y="39"/>
                    <a:pt x="47" y="37"/>
                  </a:cubicBezTo>
                  <a:cubicBezTo>
                    <a:pt x="45" y="35"/>
                    <a:pt x="38" y="40"/>
                    <a:pt x="35" y="37"/>
                  </a:cubicBezTo>
                  <a:cubicBezTo>
                    <a:pt x="32" y="34"/>
                    <a:pt x="24" y="22"/>
                    <a:pt x="28" y="20"/>
                  </a:cubicBezTo>
                  <a:cubicBezTo>
                    <a:pt x="32" y="18"/>
                    <a:pt x="51" y="23"/>
                    <a:pt x="58" y="22"/>
                  </a:cubicBezTo>
                  <a:cubicBezTo>
                    <a:pt x="65" y="21"/>
                    <a:pt x="70" y="13"/>
                    <a:pt x="73" y="11"/>
                  </a:cubicBez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10" name="Freeform 532"/>
            <p:cNvSpPr>
              <a:spLocks/>
            </p:cNvSpPr>
            <p:nvPr>
              <p:custDataLst>
                <p:tags r:id="rId78"/>
              </p:custDataLst>
            </p:nvPr>
          </p:nvSpPr>
          <p:spPr bwMode="gray">
            <a:xfrm>
              <a:off x="2881501" y="3130391"/>
              <a:ext cx="80332" cy="92233"/>
            </a:xfrm>
            <a:custGeom>
              <a:avLst/>
              <a:gdLst>
                <a:gd name="T0" fmla="*/ 4 w 83"/>
                <a:gd name="T1" fmla="*/ 24 h 96"/>
                <a:gd name="T2" fmla="*/ 32 w 83"/>
                <a:gd name="T3" fmla="*/ 17 h 96"/>
                <a:gd name="T4" fmla="*/ 37 w 83"/>
                <a:gd name="T5" fmla="*/ 0 h 96"/>
                <a:gd name="T6" fmla="*/ 55 w 83"/>
                <a:gd name="T7" fmla="*/ 2 h 96"/>
                <a:gd name="T8" fmla="*/ 65 w 83"/>
                <a:gd name="T9" fmla="*/ 17 h 96"/>
                <a:gd name="T10" fmla="*/ 80 w 83"/>
                <a:gd name="T11" fmla="*/ 21 h 96"/>
                <a:gd name="T12" fmla="*/ 79 w 83"/>
                <a:gd name="T13" fmla="*/ 26 h 96"/>
                <a:gd name="T14" fmla="*/ 77 w 83"/>
                <a:gd name="T15" fmla="*/ 32 h 96"/>
                <a:gd name="T16" fmla="*/ 77 w 83"/>
                <a:gd name="T17" fmla="*/ 41 h 96"/>
                <a:gd name="T18" fmla="*/ 81 w 83"/>
                <a:gd name="T19" fmla="*/ 49 h 96"/>
                <a:gd name="T20" fmla="*/ 79 w 83"/>
                <a:gd name="T21" fmla="*/ 65 h 96"/>
                <a:gd name="T22" fmla="*/ 56 w 83"/>
                <a:gd name="T23" fmla="*/ 59 h 96"/>
                <a:gd name="T24" fmla="*/ 49 w 83"/>
                <a:gd name="T25" fmla="*/ 69 h 96"/>
                <a:gd name="T26" fmla="*/ 29 w 83"/>
                <a:gd name="T27" fmla="*/ 96 h 96"/>
                <a:gd name="T28" fmla="*/ 8 w 83"/>
                <a:gd name="T29" fmla="*/ 77 h 96"/>
                <a:gd name="T30" fmla="*/ 4 w 83"/>
                <a:gd name="T31"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3" h="96">
                  <a:moveTo>
                    <a:pt x="4" y="24"/>
                  </a:moveTo>
                  <a:cubicBezTo>
                    <a:pt x="13" y="24"/>
                    <a:pt x="24" y="22"/>
                    <a:pt x="32" y="17"/>
                  </a:cubicBezTo>
                  <a:cubicBezTo>
                    <a:pt x="37" y="14"/>
                    <a:pt x="37" y="0"/>
                    <a:pt x="37" y="0"/>
                  </a:cubicBezTo>
                  <a:cubicBezTo>
                    <a:pt x="44" y="1"/>
                    <a:pt x="49" y="0"/>
                    <a:pt x="55" y="2"/>
                  </a:cubicBezTo>
                  <a:cubicBezTo>
                    <a:pt x="60" y="3"/>
                    <a:pt x="59" y="14"/>
                    <a:pt x="65" y="17"/>
                  </a:cubicBezTo>
                  <a:cubicBezTo>
                    <a:pt x="72" y="14"/>
                    <a:pt x="76" y="15"/>
                    <a:pt x="80" y="21"/>
                  </a:cubicBezTo>
                  <a:cubicBezTo>
                    <a:pt x="80" y="23"/>
                    <a:pt x="80" y="25"/>
                    <a:pt x="79" y="26"/>
                  </a:cubicBezTo>
                  <a:cubicBezTo>
                    <a:pt x="77" y="27"/>
                    <a:pt x="78" y="30"/>
                    <a:pt x="77" y="32"/>
                  </a:cubicBezTo>
                  <a:cubicBezTo>
                    <a:pt x="77" y="34"/>
                    <a:pt x="78" y="35"/>
                    <a:pt x="77" y="41"/>
                  </a:cubicBezTo>
                  <a:cubicBezTo>
                    <a:pt x="78" y="44"/>
                    <a:pt x="81" y="45"/>
                    <a:pt x="81" y="49"/>
                  </a:cubicBezTo>
                  <a:cubicBezTo>
                    <a:pt x="81" y="53"/>
                    <a:pt x="83" y="63"/>
                    <a:pt x="79" y="65"/>
                  </a:cubicBezTo>
                  <a:cubicBezTo>
                    <a:pt x="69" y="64"/>
                    <a:pt x="62" y="67"/>
                    <a:pt x="56" y="59"/>
                  </a:cubicBezTo>
                  <a:cubicBezTo>
                    <a:pt x="46" y="60"/>
                    <a:pt x="55" y="61"/>
                    <a:pt x="49" y="69"/>
                  </a:cubicBezTo>
                  <a:cubicBezTo>
                    <a:pt x="51" y="79"/>
                    <a:pt x="38" y="89"/>
                    <a:pt x="29" y="96"/>
                  </a:cubicBezTo>
                  <a:cubicBezTo>
                    <a:pt x="20" y="93"/>
                    <a:pt x="16" y="83"/>
                    <a:pt x="8" y="77"/>
                  </a:cubicBezTo>
                  <a:cubicBezTo>
                    <a:pt x="4" y="65"/>
                    <a:pt x="0" y="34"/>
                    <a:pt x="4" y="2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11" name="Freeform 536"/>
            <p:cNvSpPr>
              <a:spLocks/>
            </p:cNvSpPr>
            <p:nvPr>
              <p:custDataLst>
                <p:tags r:id="rId79"/>
              </p:custDataLst>
            </p:nvPr>
          </p:nvSpPr>
          <p:spPr bwMode="gray">
            <a:xfrm>
              <a:off x="3187953" y="3312873"/>
              <a:ext cx="154713" cy="240996"/>
            </a:xfrm>
            <a:custGeom>
              <a:avLst/>
              <a:gdLst>
                <a:gd name="T0" fmla="*/ 38 w 161"/>
                <a:gd name="T1" fmla="*/ 237 h 250"/>
                <a:gd name="T2" fmla="*/ 63 w 161"/>
                <a:gd name="T3" fmla="*/ 221 h 250"/>
                <a:gd name="T4" fmla="*/ 77 w 161"/>
                <a:gd name="T5" fmla="*/ 204 h 250"/>
                <a:gd name="T6" fmla="*/ 75 w 161"/>
                <a:gd name="T7" fmla="*/ 173 h 250"/>
                <a:gd name="T8" fmla="*/ 65 w 161"/>
                <a:gd name="T9" fmla="*/ 150 h 250"/>
                <a:gd name="T10" fmla="*/ 77 w 161"/>
                <a:gd name="T11" fmla="*/ 134 h 250"/>
                <a:gd name="T12" fmla="*/ 87 w 161"/>
                <a:gd name="T13" fmla="*/ 123 h 250"/>
                <a:gd name="T14" fmla="*/ 96 w 161"/>
                <a:gd name="T15" fmla="*/ 116 h 250"/>
                <a:gd name="T16" fmla="*/ 134 w 161"/>
                <a:gd name="T17" fmla="*/ 102 h 250"/>
                <a:gd name="T18" fmla="*/ 149 w 161"/>
                <a:gd name="T19" fmla="*/ 71 h 250"/>
                <a:gd name="T20" fmla="*/ 140 w 161"/>
                <a:gd name="T21" fmla="*/ 0 h 250"/>
                <a:gd name="T22" fmla="*/ 120 w 161"/>
                <a:gd name="T23" fmla="*/ 15 h 250"/>
                <a:gd name="T24" fmla="*/ 99 w 161"/>
                <a:gd name="T25" fmla="*/ 23 h 250"/>
                <a:gd name="T26" fmla="*/ 65 w 161"/>
                <a:gd name="T27" fmla="*/ 24 h 250"/>
                <a:gd name="T28" fmla="*/ 68 w 161"/>
                <a:gd name="T29" fmla="*/ 47 h 250"/>
                <a:gd name="T30" fmla="*/ 74 w 161"/>
                <a:gd name="T31" fmla="*/ 62 h 250"/>
                <a:gd name="T32" fmla="*/ 71 w 161"/>
                <a:gd name="T33" fmla="*/ 99 h 250"/>
                <a:gd name="T34" fmla="*/ 57 w 161"/>
                <a:gd name="T35" fmla="*/ 86 h 250"/>
                <a:gd name="T36" fmla="*/ 45 w 161"/>
                <a:gd name="T37" fmla="*/ 63 h 250"/>
                <a:gd name="T38" fmla="*/ 32 w 161"/>
                <a:gd name="T39" fmla="*/ 54 h 250"/>
                <a:gd name="T40" fmla="*/ 18 w 161"/>
                <a:gd name="T41" fmla="*/ 63 h 250"/>
                <a:gd name="T42" fmla="*/ 5 w 161"/>
                <a:gd name="T43" fmla="*/ 72 h 250"/>
                <a:gd name="T44" fmla="*/ 8 w 161"/>
                <a:gd name="T45" fmla="*/ 84 h 250"/>
                <a:gd name="T46" fmla="*/ 17 w 161"/>
                <a:gd name="T47" fmla="*/ 87 h 250"/>
                <a:gd name="T48" fmla="*/ 35 w 161"/>
                <a:gd name="T49" fmla="*/ 99 h 250"/>
                <a:gd name="T50" fmla="*/ 35 w 161"/>
                <a:gd name="T51" fmla="*/ 138 h 250"/>
                <a:gd name="T52" fmla="*/ 30 w 161"/>
                <a:gd name="T53" fmla="*/ 158 h 250"/>
                <a:gd name="T54" fmla="*/ 27 w 161"/>
                <a:gd name="T55" fmla="*/ 174 h 250"/>
                <a:gd name="T56" fmla="*/ 6 w 161"/>
                <a:gd name="T57" fmla="*/ 189 h 250"/>
                <a:gd name="T58" fmla="*/ 17 w 161"/>
                <a:gd name="T59" fmla="*/ 206 h 250"/>
                <a:gd name="T60" fmla="*/ 24 w 161"/>
                <a:gd name="T61" fmla="*/ 230 h 250"/>
                <a:gd name="T62" fmla="*/ 29 w 161"/>
                <a:gd name="T63" fmla="*/ 249 h 250"/>
                <a:gd name="T64" fmla="*/ 38 w 161"/>
                <a:gd name="T65" fmla="*/ 23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50">
                  <a:moveTo>
                    <a:pt x="38" y="237"/>
                  </a:moveTo>
                  <a:cubicBezTo>
                    <a:pt x="40" y="223"/>
                    <a:pt x="51" y="222"/>
                    <a:pt x="63" y="221"/>
                  </a:cubicBezTo>
                  <a:cubicBezTo>
                    <a:pt x="70" y="218"/>
                    <a:pt x="73" y="211"/>
                    <a:pt x="77" y="204"/>
                  </a:cubicBezTo>
                  <a:cubicBezTo>
                    <a:pt x="79" y="194"/>
                    <a:pt x="80" y="183"/>
                    <a:pt x="75" y="173"/>
                  </a:cubicBezTo>
                  <a:cubicBezTo>
                    <a:pt x="73" y="164"/>
                    <a:pt x="70" y="158"/>
                    <a:pt x="65" y="150"/>
                  </a:cubicBezTo>
                  <a:cubicBezTo>
                    <a:pt x="66" y="135"/>
                    <a:pt x="65" y="136"/>
                    <a:pt x="77" y="134"/>
                  </a:cubicBezTo>
                  <a:cubicBezTo>
                    <a:pt x="87" y="129"/>
                    <a:pt x="82" y="129"/>
                    <a:pt x="87" y="123"/>
                  </a:cubicBezTo>
                  <a:cubicBezTo>
                    <a:pt x="89" y="120"/>
                    <a:pt x="96" y="116"/>
                    <a:pt x="96" y="116"/>
                  </a:cubicBezTo>
                  <a:cubicBezTo>
                    <a:pt x="104" y="102"/>
                    <a:pt x="119" y="104"/>
                    <a:pt x="134" y="102"/>
                  </a:cubicBezTo>
                  <a:cubicBezTo>
                    <a:pt x="135" y="89"/>
                    <a:pt x="143" y="82"/>
                    <a:pt x="149" y="71"/>
                  </a:cubicBezTo>
                  <a:cubicBezTo>
                    <a:pt x="148" y="50"/>
                    <a:pt x="161" y="15"/>
                    <a:pt x="140" y="0"/>
                  </a:cubicBezTo>
                  <a:cubicBezTo>
                    <a:pt x="134" y="7"/>
                    <a:pt x="129" y="14"/>
                    <a:pt x="120" y="15"/>
                  </a:cubicBezTo>
                  <a:cubicBezTo>
                    <a:pt x="107" y="13"/>
                    <a:pt x="109" y="22"/>
                    <a:pt x="99" y="23"/>
                  </a:cubicBezTo>
                  <a:cubicBezTo>
                    <a:pt x="88" y="24"/>
                    <a:pt x="76" y="24"/>
                    <a:pt x="65" y="24"/>
                  </a:cubicBezTo>
                  <a:cubicBezTo>
                    <a:pt x="62" y="33"/>
                    <a:pt x="59" y="42"/>
                    <a:pt x="68" y="47"/>
                  </a:cubicBezTo>
                  <a:cubicBezTo>
                    <a:pt x="72" y="52"/>
                    <a:pt x="72" y="56"/>
                    <a:pt x="74" y="62"/>
                  </a:cubicBezTo>
                  <a:cubicBezTo>
                    <a:pt x="76" y="74"/>
                    <a:pt x="83" y="90"/>
                    <a:pt x="71" y="99"/>
                  </a:cubicBezTo>
                  <a:cubicBezTo>
                    <a:pt x="60" y="97"/>
                    <a:pt x="61" y="94"/>
                    <a:pt x="57" y="86"/>
                  </a:cubicBezTo>
                  <a:cubicBezTo>
                    <a:pt x="56" y="62"/>
                    <a:pt x="60" y="68"/>
                    <a:pt x="45" y="63"/>
                  </a:cubicBezTo>
                  <a:cubicBezTo>
                    <a:pt x="41" y="58"/>
                    <a:pt x="38" y="56"/>
                    <a:pt x="32" y="54"/>
                  </a:cubicBezTo>
                  <a:cubicBezTo>
                    <a:pt x="28" y="61"/>
                    <a:pt x="26" y="62"/>
                    <a:pt x="18" y="63"/>
                  </a:cubicBezTo>
                  <a:cubicBezTo>
                    <a:pt x="14" y="70"/>
                    <a:pt x="11" y="68"/>
                    <a:pt x="5" y="72"/>
                  </a:cubicBezTo>
                  <a:cubicBezTo>
                    <a:pt x="1" y="78"/>
                    <a:pt x="0" y="82"/>
                    <a:pt x="8" y="84"/>
                  </a:cubicBezTo>
                  <a:cubicBezTo>
                    <a:pt x="11" y="85"/>
                    <a:pt x="14" y="85"/>
                    <a:pt x="17" y="87"/>
                  </a:cubicBezTo>
                  <a:cubicBezTo>
                    <a:pt x="24" y="92"/>
                    <a:pt x="25" y="97"/>
                    <a:pt x="35" y="99"/>
                  </a:cubicBezTo>
                  <a:cubicBezTo>
                    <a:pt x="38" y="107"/>
                    <a:pt x="36" y="128"/>
                    <a:pt x="35" y="138"/>
                  </a:cubicBezTo>
                  <a:cubicBezTo>
                    <a:pt x="34" y="148"/>
                    <a:pt x="31" y="152"/>
                    <a:pt x="30" y="158"/>
                  </a:cubicBezTo>
                  <a:cubicBezTo>
                    <a:pt x="29" y="165"/>
                    <a:pt x="33" y="170"/>
                    <a:pt x="27" y="174"/>
                  </a:cubicBezTo>
                  <a:cubicBezTo>
                    <a:pt x="24" y="182"/>
                    <a:pt x="13" y="185"/>
                    <a:pt x="6" y="189"/>
                  </a:cubicBezTo>
                  <a:cubicBezTo>
                    <a:pt x="8" y="194"/>
                    <a:pt x="15" y="201"/>
                    <a:pt x="17" y="206"/>
                  </a:cubicBezTo>
                  <a:cubicBezTo>
                    <a:pt x="18" y="222"/>
                    <a:pt x="16" y="220"/>
                    <a:pt x="24" y="230"/>
                  </a:cubicBezTo>
                  <a:cubicBezTo>
                    <a:pt x="26" y="243"/>
                    <a:pt x="18" y="247"/>
                    <a:pt x="29" y="249"/>
                  </a:cubicBezTo>
                  <a:cubicBezTo>
                    <a:pt x="31" y="250"/>
                    <a:pt x="32" y="242"/>
                    <a:pt x="38" y="237"/>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12" name="Freeform 537"/>
            <p:cNvSpPr>
              <a:spLocks/>
            </p:cNvSpPr>
            <p:nvPr>
              <p:custDataLst>
                <p:tags r:id="rId80"/>
              </p:custDataLst>
            </p:nvPr>
          </p:nvSpPr>
          <p:spPr bwMode="gray">
            <a:xfrm>
              <a:off x="3163158" y="3198822"/>
              <a:ext cx="28761" cy="29753"/>
            </a:xfrm>
            <a:custGeom>
              <a:avLst/>
              <a:gdLst>
                <a:gd name="T0" fmla="*/ 25 w 29"/>
                <a:gd name="T1" fmla="*/ 0 h 31"/>
                <a:gd name="T2" fmla="*/ 3 w 29"/>
                <a:gd name="T3" fmla="*/ 7 h 31"/>
                <a:gd name="T4" fmla="*/ 4 w 29"/>
                <a:gd name="T5" fmla="*/ 28 h 31"/>
                <a:gd name="T6" fmla="*/ 18 w 29"/>
                <a:gd name="T7" fmla="*/ 25 h 31"/>
                <a:gd name="T8" fmla="*/ 27 w 29"/>
                <a:gd name="T9" fmla="*/ 18 h 31"/>
                <a:gd name="T10" fmla="*/ 25 w 29"/>
                <a:gd name="T11" fmla="*/ 7 h 31"/>
                <a:gd name="T12" fmla="*/ 25 w 2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29" h="31">
                  <a:moveTo>
                    <a:pt x="25" y="0"/>
                  </a:moveTo>
                  <a:cubicBezTo>
                    <a:pt x="16" y="1"/>
                    <a:pt x="9" y="0"/>
                    <a:pt x="3" y="7"/>
                  </a:cubicBezTo>
                  <a:cubicBezTo>
                    <a:pt x="0" y="11"/>
                    <a:pt x="2" y="25"/>
                    <a:pt x="4" y="28"/>
                  </a:cubicBezTo>
                  <a:cubicBezTo>
                    <a:pt x="6" y="31"/>
                    <a:pt x="14" y="27"/>
                    <a:pt x="18" y="25"/>
                  </a:cubicBezTo>
                  <a:cubicBezTo>
                    <a:pt x="21" y="23"/>
                    <a:pt x="26" y="21"/>
                    <a:pt x="27" y="18"/>
                  </a:cubicBezTo>
                  <a:cubicBezTo>
                    <a:pt x="28" y="15"/>
                    <a:pt x="25" y="10"/>
                    <a:pt x="25" y="7"/>
                  </a:cubicBezTo>
                  <a:cubicBezTo>
                    <a:pt x="25" y="4"/>
                    <a:pt x="29" y="0"/>
                    <a:pt x="25"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13" name="Freeform 538"/>
            <p:cNvSpPr>
              <a:spLocks/>
            </p:cNvSpPr>
            <p:nvPr>
              <p:custDataLst>
                <p:tags r:id="rId81"/>
              </p:custDataLst>
            </p:nvPr>
          </p:nvSpPr>
          <p:spPr bwMode="gray">
            <a:xfrm>
              <a:off x="3165142" y="3177995"/>
              <a:ext cx="163639" cy="160664"/>
            </a:xfrm>
            <a:custGeom>
              <a:avLst/>
              <a:gdLst>
                <a:gd name="T0" fmla="*/ 10 w 169"/>
                <a:gd name="T1" fmla="*/ 2 h 167"/>
                <a:gd name="T2" fmla="*/ 53 w 169"/>
                <a:gd name="T3" fmla="*/ 2 h 167"/>
                <a:gd name="T4" fmla="*/ 77 w 169"/>
                <a:gd name="T5" fmla="*/ 5 h 167"/>
                <a:gd name="T6" fmla="*/ 103 w 169"/>
                <a:gd name="T7" fmla="*/ 13 h 167"/>
                <a:gd name="T8" fmla="*/ 128 w 169"/>
                <a:gd name="T9" fmla="*/ 37 h 167"/>
                <a:gd name="T10" fmla="*/ 149 w 169"/>
                <a:gd name="T11" fmla="*/ 49 h 167"/>
                <a:gd name="T12" fmla="*/ 154 w 169"/>
                <a:gd name="T13" fmla="*/ 106 h 167"/>
                <a:gd name="T14" fmla="*/ 157 w 169"/>
                <a:gd name="T15" fmla="*/ 122 h 167"/>
                <a:gd name="T16" fmla="*/ 155 w 169"/>
                <a:gd name="T17" fmla="*/ 151 h 167"/>
                <a:gd name="T18" fmla="*/ 136 w 169"/>
                <a:gd name="T19" fmla="*/ 155 h 167"/>
                <a:gd name="T20" fmla="*/ 124 w 169"/>
                <a:gd name="T21" fmla="*/ 163 h 167"/>
                <a:gd name="T22" fmla="*/ 106 w 169"/>
                <a:gd name="T23" fmla="*/ 164 h 167"/>
                <a:gd name="T24" fmla="*/ 89 w 169"/>
                <a:gd name="T25" fmla="*/ 160 h 167"/>
                <a:gd name="T26" fmla="*/ 38 w 169"/>
                <a:gd name="T27" fmla="*/ 121 h 167"/>
                <a:gd name="T28" fmla="*/ 20 w 169"/>
                <a:gd name="T29" fmla="*/ 109 h 167"/>
                <a:gd name="T30" fmla="*/ 23 w 169"/>
                <a:gd name="T31" fmla="*/ 92 h 167"/>
                <a:gd name="T32" fmla="*/ 10 w 169"/>
                <a:gd name="T33" fmla="*/ 85 h 167"/>
                <a:gd name="T34" fmla="*/ 1 w 169"/>
                <a:gd name="T35" fmla="*/ 73 h 167"/>
                <a:gd name="T36" fmla="*/ 2 w 169"/>
                <a:gd name="T37" fmla="*/ 53 h 167"/>
                <a:gd name="T38" fmla="*/ 12 w 169"/>
                <a:gd name="T39" fmla="*/ 52 h 167"/>
                <a:gd name="T40" fmla="*/ 26 w 169"/>
                <a:gd name="T41" fmla="*/ 38 h 167"/>
                <a:gd name="T42" fmla="*/ 23 w 169"/>
                <a:gd name="T43" fmla="*/ 23 h 167"/>
                <a:gd name="T44" fmla="*/ 25 w 169"/>
                <a:gd name="T45" fmla="*/ 13 h 167"/>
                <a:gd name="T46" fmla="*/ 10 w 169"/>
                <a:gd name="T47" fmla="*/ 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67">
                  <a:moveTo>
                    <a:pt x="10" y="2"/>
                  </a:moveTo>
                  <a:cubicBezTo>
                    <a:pt x="15" y="0"/>
                    <a:pt x="38" y="0"/>
                    <a:pt x="53" y="2"/>
                  </a:cubicBezTo>
                  <a:cubicBezTo>
                    <a:pt x="64" y="2"/>
                    <a:pt x="69" y="3"/>
                    <a:pt x="77" y="5"/>
                  </a:cubicBezTo>
                  <a:cubicBezTo>
                    <a:pt x="85" y="7"/>
                    <a:pt x="95" y="8"/>
                    <a:pt x="103" y="13"/>
                  </a:cubicBezTo>
                  <a:cubicBezTo>
                    <a:pt x="113" y="20"/>
                    <a:pt x="117" y="32"/>
                    <a:pt x="128" y="37"/>
                  </a:cubicBezTo>
                  <a:cubicBezTo>
                    <a:pt x="136" y="48"/>
                    <a:pt x="136" y="45"/>
                    <a:pt x="149" y="49"/>
                  </a:cubicBezTo>
                  <a:cubicBezTo>
                    <a:pt x="138" y="64"/>
                    <a:pt x="147" y="89"/>
                    <a:pt x="154" y="106"/>
                  </a:cubicBezTo>
                  <a:cubicBezTo>
                    <a:pt x="155" y="113"/>
                    <a:pt x="153" y="117"/>
                    <a:pt x="157" y="122"/>
                  </a:cubicBezTo>
                  <a:cubicBezTo>
                    <a:pt x="159" y="134"/>
                    <a:pt x="169" y="149"/>
                    <a:pt x="155" y="151"/>
                  </a:cubicBezTo>
                  <a:cubicBezTo>
                    <a:pt x="152" y="157"/>
                    <a:pt x="141" y="153"/>
                    <a:pt x="136" y="155"/>
                  </a:cubicBezTo>
                  <a:cubicBezTo>
                    <a:pt x="131" y="157"/>
                    <a:pt x="129" y="162"/>
                    <a:pt x="124" y="163"/>
                  </a:cubicBezTo>
                  <a:cubicBezTo>
                    <a:pt x="119" y="164"/>
                    <a:pt x="112" y="164"/>
                    <a:pt x="106" y="164"/>
                  </a:cubicBezTo>
                  <a:cubicBezTo>
                    <a:pt x="100" y="167"/>
                    <a:pt x="95" y="161"/>
                    <a:pt x="89" y="160"/>
                  </a:cubicBezTo>
                  <a:cubicBezTo>
                    <a:pt x="87" y="131"/>
                    <a:pt x="64" y="122"/>
                    <a:pt x="38" y="121"/>
                  </a:cubicBezTo>
                  <a:cubicBezTo>
                    <a:pt x="32" y="117"/>
                    <a:pt x="26" y="113"/>
                    <a:pt x="20" y="109"/>
                  </a:cubicBezTo>
                  <a:cubicBezTo>
                    <a:pt x="17" y="105"/>
                    <a:pt x="25" y="96"/>
                    <a:pt x="23" y="92"/>
                  </a:cubicBezTo>
                  <a:cubicBezTo>
                    <a:pt x="21" y="88"/>
                    <a:pt x="14" y="88"/>
                    <a:pt x="10" y="85"/>
                  </a:cubicBezTo>
                  <a:cubicBezTo>
                    <a:pt x="8" y="78"/>
                    <a:pt x="2" y="78"/>
                    <a:pt x="1" y="73"/>
                  </a:cubicBezTo>
                  <a:cubicBezTo>
                    <a:pt x="0" y="68"/>
                    <a:pt x="0" y="56"/>
                    <a:pt x="2" y="53"/>
                  </a:cubicBezTo>
                  <a:cubicBezTo>
                    <a:pt x="4" y="50"/>
                    <a:pt x="8" y="54"/>
                    <a:pt x="12" y="52"/>
                  </a:cubicBezTo>
                  <a:cubicBezTo>
                    <a:pt x="16" y="50"/>
                    <a:pt x="24" y="43"/>
                    <a:pt x="26" y="38"/>
                  </a:cubicBezTo>
                  <a:cubicBezTo>
                    <a:pt x="25" y="32"/>
                    <a:pt x="26" y="29"/>
                    <a:pt x="23" y="23"/>
                  </a:cubicBezTo>
                  <a:cubicBezTo>
                    <a:pt x="25" y="20"/>
                    <a:pt x="24" y="16"/>
                    <a:pt x="25" y="13"/>
                  </a:cubicBezTo>
                  <a:cubicBezTo>
                    <a:pt x="29" y="2"/>
                    <a:pt x="15" y="3"/>
                    <a:pt x="10" y="2"/>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14" name="Freeform 547"/>
            <p:cNvSpPr>
              <a:spLocks/>
            </p:cNvSpPr>
            <p:nvPr>
              <p:custDataLst>
                <p:tags r:id="rId82"/>
              </p:custDataLst>
            </p:nvPr>
          </p:nvSpPr>
          <p:spPr bwMode="gray">
            <a:xfrm>
              <a:off x="3167125" y="3179979"/>
              <a:ext cx="30745" cy="23802"/>
            </a:xfrm>
            <a:custGeom>
              <a:avLst/>
              <a:gdLst>
                <a:gd name="T0" fmla="*/ 11 w 32"/>
                <a:gd name="T1" fmla="*/ 2 h 25"/>
                <a:gd name="T2" fmla="*/ 21 w 32"/>
                <a:gd name="T3" fmla="*/ 14 h 25"/>
                <a:gd name="T4" fmla="*/ 0 w 32"/>
                <a:gd name="T5" fmla="*/ 24 h 25"/>
                <a:gd name="T6" fmla="*/ 6 w 32"/>
                <a:gd name="T7" fmla="*/ 8 h 25"/>
                <a:gd name="T8" fmla="*/ 11 w 32"/>
                <a:gd name="T9" fmla="*/ 2 h 25"/>
              </a:gdLst>
              <a:ahLst/>
              <a:cxnLst>
                <a:cxn ang="0">
                  <a:pos x="T0" y="T1"/>
                </a:cxn>
                <a:cxn ang="0">
                  <a:pos x="T2" y="T3"/>
                </a:cxn>
                <a:cxn ang="0">
                  <a:pos x="T4" y="T5"/>
                </a:cxn>
                <a:cxn ang="0">
                  <a:pos x="T6" y="T7"/>
                </a:cxn>
                <a:cxn ang="0">
                  <a:pos x="T8" y="T9"/>
                </a:cxn>
              </a:cxnLst>
              <a:rect l="0" t="0" r="r" b="b"/>
              <a:pathLst>
                <a:path w="32" h="25">
                  <a:moveTo>
                    <a:pt x="11" y="2"/>
                  </a:moveTo>
                  <a:cubicBezTo>
                    <a:pt x="23" y="0"/>
                    <a:pt x="32" y="10"/>
                    <a:pt x="21" y="14"/>
                  </a:cubicBezTo>
                  <a:cubicBezTo>
                    <a:pt x="16" y="21"/>
                    <a:pt x="8" y="25"/>
                    <a:pt x="0" y="24"/>
                  </a:cubicBezTo>
                  <a:cubicBezTo>
                    <a:pt x="1" y="16"/>
                    <a:pt x="0" y="13"/>
                    <a:pt x="6" y="8"/>
                  </a:cubicBezTo>
                  <a:cubicBezTo>
                    <a:pt x="9" y="2"/>
                    <a:pt x="7" y="2"/>
                    <a:pt x="11" y="2"/>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15" name="Freeform 548"/>
            <p:cNvSpPr>
              <a:spLocks/>
            </p:cNvSpPr>
            <p:nvPr>
              <p:custDataLst>
                <p:tags r:id="rId83"/>
              </p:custDataLst>
            </p:nvPr>
          </p:nvSpPr>
          <p:spPr bwMode="gray">
            <a:xfrm>
              <a:off x="3218696" y="3300972"/>
              <a:ext cx="45621" cy="107109"/>
            </a:xfrm>
            <a:custGeom>
              <a:avLst/>
              <a:gdLst>
                <a:gd name="T0" fmla="*/ 7 w 47"/>
                <a:gd name="T1" fmla="*/ 0 h 111"/>
                <a:gd name="T2" fmla="*/ 33 w 47"/>
                <a:gd name="T3" fmla="*/ 20 h 111"/>
                <a:gd name="T4" fmla="*/ 34 w 47"/>
                <a:gd name="T5" fmla="*/ 33 h 111"/>
                <a:gd name="T6" fmla="*/ 31 w 47"/>
                <a:gd name="T7" fmla="*/ 54 h 111"/>
                <a:gd name="T8" fmla="*/ 45 w 47"/>
                <a:gd name="T9" fmla="*/ 78 h 111"/>
                <a:gd name="T10" fmla="*/ 45 w 47"/>
                <a:gd name="T11" fmla="*/ 101 h 111"/>
                <a:gd name="T12" fmla="*/ 30 w 47"/>
                <a:gd name="T13" fmla="*/ 108 h 111"/>
                <a:gd name="T14" fmla="*/ 24 w 47"/>
                <a:gd name="T15" fmla="*/ 80 h 111"/>
                <a:gd name="T16" fmla="*/ 9 w 47"/>
                <a:gd name="T17" fmla="*/ 68 h 111"/>
                <a:gd name="T18" fmla="*/ 1 w 47"/>
                <a:gd name="T19" fmla="*/ 56 h 111"/>
                <a:gd name="T20" fmla="*/ 12 w 47"/>
                <a:gd name="T21" fmla="*/ 35 h 111"/>
                <a:gd name="T22" fmla="*/ 7 w 47"/>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111">
                  <a:moveTo>
                    <a:pt x="7" y="0"/>
                  </a:moveTo>
                  <a:cubicBezTo>
                    <a:pt x="21" y="2"/>
                    <a:pt x="28" y="6"/>
                    <a:pt x="33" y="20"/>
                  </a:cubicBezTo>
                  <a:cubicBezTo>
                    <a:pt x="37" y="26"/>
                    <a:pt x="34" y="27"/>
                    <a:pt x="34" y="33"/>
                  </a:cubicBezTo>
                  <a:cubicBezTo>
                    <a:pt x="34" y="39"/>
                    <a:pt x="29" y="47"/>
                    <a:pt x="31" y="54"/>
                  </a:cubicBezTo>
                  <a:cubicBezTo>
                    <a:pt x="35" y="60"/>
                    <a:pt x="43" y="71"/>
                    <a:pt x="45" y="78"/>
                  </a:cubicBezTo>
                  <a:cubicBezTo>
                    <a:pt x="47" y="86"/>
                    <a:pt x="47" y="96"/>
                    <a:pt x="45" y="101"/>
                  </a:cubicBezTo>
                  <a:cubicBezTo>
                    <a:pt x="43" y="106"/>
                    <a:pt x="33" y="111"/>
                    <a:pt x="30" y="108"/>
                  </a:cubicBezTo>
                  <a:cubicBezTo>
                    <a:pt x="26" y="100"/>
                    <a:pt x="26" y="88"/>
                    <a:pt x="24" y="80"/>
                  </a:cubicBezTo>
                  <a:cubicBezTo>
                    <a:pt x="22" y="73"/>
                    <a:pt x="14" y="72"/>
                    <a:pt x="9" y="68"/>
                  </a:cubicBezTo>
                  <a:cubicBezTo>
                    <a:pt x="6" y="63"/>
                    <a:pt x="2" y="62"/>
                    <a:pt x="1" y="56"/>
                  </a:cubicBezTo>
                  <a:cubicBezTo>
                    <a:pt x="0" y="50"/>
                    <a:pt x="11" y="44"/>
                    <a:pt x="12" y="35"/>
                  </a:cubicBezTo>
                  <a:cubicBezTo>
                    <a:pt x="13" y="26"/>
                    <a:pt x="8" y="7"/>
                    <a:pt x="7"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16" name="Freeform 549"/>
            <p:cNvSpPr>
              <a:spLocks/>
            </p:cNvSpPr>
            <p:nvPr>
              <p:custDataLst>
                <p:tags r:id="rId84"/>
              </p:custDataLst>
            </p:nvPr>
          </p:nvSpPr>
          <p:spPr bwMode="gray">
            <a:xfrm>
              <a:off x="2862658" y="2587903"/>
              <a:ext cx="57522" cy="108101"/>
            </a:xfrm>
            <a:custGeom>
              <a:avLst/>
              <a:gdLst>
                <a:gd name="T0" fmla="*/ 19 w 60"/>
                <a:gd name="T1" fmla="*/ 9 h 112"/>
                <a:gd name="T2" fmla="*/ 39 w 60"/>
                <a:gd name="T3" fmla="*/ 4 h 112"/>
                <a:gd name="T4" fmla="*/ 48 w 60"/>
                <a:gd name="T5" fmla="*/ 34 h 112"/>
                <a:gd name="T6" fmla="*/ 37 w 60"/>
                <a:gd name="T7" fmla="*/ 51 h 112"/>
                <a:gd name="T8" fmla="*/ 51 w 60"/>
                <a:gd name="T9" fmla="*/ 73 h 112"/>
                <a:gd name="T10" fmla="*/ 54 w 60"/>
                <a:gd name="T11" fmla="*/ 90 h 112"/>
                <a:gd name="T12" fmla="*/ 41 w 60"/>
                <a:gd name="T13" fmla="*/ 99 h 112"/>
                <a:gd name="T14" fmla="*/ 34 w 60"/>
                <a:gd name="T15" fmla="*/ 103 h 112"/>
                <a:gd name="T16" fmla="*/ 27 w 60"/>
                <a:gd name="T17" fmla="*/ 109 h 112"/>
                <a:gd name="T18" fmla="*/ 7 w 60"/>
                <a:gd name="T19" fmla="*/ 87 h 112"/>
                <a:gd name="T20" fmla="*/ 0 w 60"/>
                <a:gd name="T21" fmla="*/ 73 h 112"/>
                <a:gd name="T22" fmla="*/ 9 w 60"/>
                <a:gd name="T23" fmla="*/ 34 h 112"/>
                <a:gd name="T24" fmla="*/ 19 w 60"/>
                <a:gd name="T25" fmla="*/ 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12">
                  <a:moveTo>
                    <a:pt x="19" y="9"/>
                  </a:moveTo>
                  <a:cubicBezTo>
                    <a:pt x="24" y="0"/>
                    <a:pt x="29" y="3"/>
                    <a:pt x="39" y="4"/>
                  </a:cubicBezTo>
                  <a:cubicBezTo>
                    <a:pt x="49" y="12"/>
                    <a:pt x="43" y="23"/>
                    <a:pt x="48" y="34"/>
                  </a:cubicBezTo>
                  <a:cubicBezTo>
                    <a:pt x="50" y="44"/>
                    <a:pt x="47" y="48"/>
                    <a:pt x="37" y="51"/>
                  </a:cubicBezTo>
                  <a:cubicBezTo>
                    <a:pt x="35" y="64"/>
                    <a:pt x="38" y="70"/>
                    <a:pt x="51" y="73"/>
                  </a:cubicBezTo>
                  <a:cubicBezTo>
                    <a:pt x="55" y="80"/>
                    <a:pt x="60" y="86"/>
                    <a:pt x="54" y="90"/>
                  </a:cubicBezTo>
                  <a:cubicBezTo>
                    <a:pt x="52" y="94"/>
                    <a:pt x="44" y="97"/>
                    <a:pt x="41" y="99"/>
                  </a:cubicBezTo>
                  <a:cubicBezTo>
                    <a:pt x="38" y="101"/>
                    <a:pt x="36" y="101"/>
                    <a:pt x="34" y="103"/>
                  </a:cubicBezTo>
                  <a:cubicBezTo>
                    <a:pt x="32" y="105"/>
                    <a:pt x="32" y="112"/>
                    <a:pt x="27" y="109"/>
                  </a:cubicBezTo>
                  <a:cubicBezTo>
                    <a:pt x="25" y="100"/>
                    <a:pt x="15" y="92"/>
                    <a:pt x="7" y="87"/>
                  </a:cubicBezTo>
                  <a:cubicBezTo>
                    <a:pt x="4" y="82"/>
                    <a:pt x="1" y="79"/>
                    <a:pt x="0" y="73"/>
                  </a:cubicBezTo>
                  <a:cubicBezTo>
                    <a:pt x="1" y="61"/>
                    <a:pt x="3" y="45"/>
                    <a:pt x="9" y="34"/>
                  </a:cubicBezTo>
                  <a:cubicBezTo>
                    <a:pt x="9" y="28"/>
                    <a:pt x="8" y="9"/>
                    <a:pt x="19" y="9"/>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17" name="Freeform 553"/>
            <p:cNvSpPr>
              <a:spLocks/>
            </p:cNvSpPr>
            <p:nvPr>
              <p:custDataLst>
                <p:tags r:id="rId85"/>
              </p:custDataLst>
            </p:nvPr>
          </p:nvSpPr>
          <p:spPr bwMode="gray">
            <a:xfrm>
              <a:off x="2945965" y="2225914"/>
              <a:ext cx="149755" cy="122977"/>
            </a:xfrm>
            <a:custGeom>
              <a:avLst/>
              <a:gdLst>
                <a:gd name="T0" fmla="*/ 0 w 155"/>
                <a:gd name="T1" fmla="*/ 18 h 128"/>
                <a:gd name="T2" fmla="*/ 33 w 155"/>
                <a:gd name="T3" fmla="*/ 15 h 128"/>
                <a:gd name="T4" fmla="*/ 54 w 155"/>
                <a:gd name="T5" fmla="*/ 0 h 128"/>
                <a:gd name="T6" fmla="*/ 87 w 155"/>
                <a:gd name="T7" fmla="*/ 4 h 128"/>
                <a:gd name="T8" fmla="*/ 96 w 155"/>
                <a:gd name="T9" fmla="*/ 16 h 128"/>
                <a:gd name="T10" fmla="*/ 120 w 155"/>
                <a:gd name="T11" fmla="*/ 15 h 128"/>
                <a:gd name="T12" fmla="*/ 147 w 155"/>
                <a:gd name="T13" fmla="*/ 19 h 128"/>
                <a:gd name="T14" fmla="*/ 153 w 155"/>
                <a:gd name="T15" fmla="*/ 39 h 128"/>
                <a:gd name="T16" fmla="*/ 145 w 155"/>
                <a:gd name="T17" fmla="*/ 57 h 128"/>
                <a:gd name="T18" fmla="*/ 150 w 155"/>
                <a:gd name="T19" fmla="*/ 76 h 128"/>
                <a:gd name="T20" fmla="*/ 153 w 155"/>
                <a:gd name="T21" fmla="*/ 99 h 128"/>
                <a:gd name="T22" fmla="*/ 136 w 155"/>
                <a:gd name="T23" fmla="*/ 118 h 128"/>
                <a:gd name="T24" fmla="*/ 123 w 155"/>
                <a:gd name="T25" fmla="*/ 124 h 128"/>
                <a:gd name="T26" fmla="*/ 94 w 155"/>
                <a:gd name="T27" fmla="*/ 127 h 128"/>
                <a:gd name="T28" fmla="*/ 73 w 155"/>
                <a:gd name="T29" fmla="*/ 121 h 128"/>
                <a:gd name="T30" fmla="*/ 39 w 155"/>
                <a:gd name="T31" fmla="*/ 96 h 128"/>
                <a:gd name="T32" fmla="*/ 12 w 155"/>
                <a:gd name="T33" fmla="*/ 88 h 128"/>
                <a:gd name="T34" fmla="*/ 10 w 155"/>
                <a:gd name="T35" fmla="*/ 52 h 128"/>
                <a:gd name="T36" fmla="*/ 0 w 155"/>
                <a:gd name="T37" fmla="*/ 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128">
                  <a:moveTo>
                    <a:pt x="0" y="18"/>
                  </a:moveTo>
                  <a:cubicBezTo>
                    <a:pt x="5" y="17"/>
                    <a:pt x="33" y="15"/>
                    <a:pt x="33" y="15"/>
                  </a:cubicBezTo>
                  <a:cubicBezTo>
                    <a:pt x="42" y="10"/>
                    <a:pt x="42" y="2"/>
                    <a:pt x="54" y="0"/>
                  </a:cubicBezTo>
                  <a:cubicBezTo>
                    <a:pt x="78" y="1"/>
                    <a:pt x="63" y="0"/>
                    <a:pt x="87" y="4"/>
                  </a:cubicBezTo>
                  <a:cubicBezTo>
                    <a:pt x="91" y="5"/>
                    <a:pt x="96" y="16"/>
                    <a:pt x="96" y="16"/>
                  </a:cubicBezTo>
                  <a:cubicBezTo>
                    <a:pt x="100" y="18"/>
                    <a:pt x="112" y="15"/>
                    <a:pt x="120" y="15"/>
                  </a:cubicBezTo>
                  <a:cubicBezTo>
                    <a:pt x="128" y="15"/>
                    <a:pt x="142" y="15"/>
                    <a:pt x="147" y="19"/>
                  </a:cubicBezTo>
                  <a:cubicBezTo>
                    <a:pt x="153" y="23"/>
                    <a:pt x="153" y="33"/>
                    <a:pt x="153" y="39"/>
                  </a:cubicBezTo>
                  <a:cubicBezTo>
                    <a:pt x="153" y="45"/>
                    <a:pt x="145" y="51"/>
                    <a:pt x="145" y="57"/>
                  </a:cubicBezTo>
                  <a:cubicBezTo>
                    <a:pt x="148" y="73"/>
                    <a:pt x="146" y="67"/>
                    <a:pt x="150" y="76"/>
                  </a:cubicBezTo>
                  <a:cubicBezTo>
                    <a:pt x="151" y="83"/>
                    <a:pt x="155" y="92"/>
                    <a:pt x="153" y="99"/>
                  </a:cubicBezTo>
                  <a:cubicBezTo>
                    <a:pt x="151" y="106"/>
                    <a:pt x="141" y="114"/>
                    <a:pt x="136" y="118"/>
                  </a:cubicBezTo>
                  <a:cubicBezTo>
                    <a:pt x="131" y="120"/>
                    <a:pt x="127" y="121"/>
                    <a:pt x="123" y="124"/>
                  </a:cubicBezTo>
                  <a:cubicBezTo>
                    <a:pt x="117" y="125"/>
                    <a:pt x="102" y="128"/>
                    <a:pt x="94" y="127"/>
                  </a:cubicBezTo>
                  <a:cubicBezTo>
                    <a:pt x="86" y="126"/>
                    <a:pt x="82" y="126"/>
                    <a:pt x="73" y="121"/>
                  </a:cubicBezTo>
                  <a:cubicBezTo>
                    <a:pt x="61" y="120"/>
                    <a:pt x="52" y="99"/>
                    <a:pt x="39" y="96"/>
                  </a:cubicBezTo>
                  <a:cubicBezTo>
                    <a:pt x="28" y="88"/>
                    <a:pt x="25" y="92"/>
                    <a:pt x="12" y="88"/>
                  </a:cubicBezTo>
                  <a:cubicBezTo>
                    <a:pt x="6" y="80"/>
                    <a:pt x="11" y="64"/>
                    <a:pt x="10" y="52"/>
                  </a:cubicBezTo>
                  <a:cubicBezTo>
                    <a:pt x="8" y="40"/>
                    <a:pt x="1" y="25"/>
                    <a:pt x="0" y="18"/>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grpSp>
          <p:nvGrpSpPr>
            <p:cNvPr id="118" name="Group 554"/>
            <p:cNvGrpSpPr>
              <a:grpSpLocks/>
            </p:cNvGrpSpPr>
            <p:nvPr>
              <p:custDataLst>
                <p:tags r:id="rId86"/>
              </p:custDataLst>
            </p:nvPr>
          </p:nvGrpSpPr>
          <p:grpSpPr bwMode="auto">
            <a:xfrm>
              <a:off x="2861666" y="2148557"/>
              <a:ext cx="110085" cy="97192"/>
              <a:chOff x="441" y="1788"/>
              <a:chExt cx="114" cy="101"/>
            </a:xfrm>
            <a:solidFill>
              <a:schemeClr val="bg1"/>
            </a:solidFill>
          </p:grpSpPr>
          <p:sp>
            <p:nvSpPr>
              <p:cNvPr id="221" name="Freeform 555"/>
              <p:cNvSpPr>
                <a:spLocks/>
              </p:cNvSpPr>
              <p:nvPr>
                <p:custDataLst>
                  <p:tags r:id="rId177"/>
                </p:custDataLst>
              </p:nvPr>
            </p:nvSpPr>
            <p:spPr bwMode="gray">
              <a:xfrm>
                <a:off x="441" y="1788"/>
                <a:ext cx="71" cy="101"/>
              </a:xfrm>
              <a:custGeom>
                <a:avLst/>
                <a:gdLst>
                  <a:gd name="T0" fmla="*/ 9 w 71"/>
                  <a:gd name="T1" fmla="*/ 78 h 101"/>
                  <a:gd name="T2" fmla="*/ 7 w 71"/>
                  <a:gd name="T3" fmla="*/ 62 h 101"/>
                  <a:gd name="T4" fmla="*/ 3 w 71"/>
                  <a:gd name="T5" fmla="*/ 50 h 101"/>
                  <a:gd name="T6" fmla="*/ 23 w 71"/>
                  <a:gd name="T7" fmla="*/ 20 h 101"/>
                  <a:gd name="T8" fmla="*/ 35 w 71"/>
                  <a:gd name="T9" fmla="*/ 0 h 101"/>
                  <a:gd name="T10" fmla="*/ 49 w 71"/>
                  <a:gd name="T11" fmla="*/ 14 h 101"/>
                  <a:gd name="T12" fmla="*/ 43 w 71"/>
                  <a:gd name="T13" fmla="*/ 36 h 101"/>
                  <a:gd name="T14" fmla="*/ 45 w 71"/>
                  <a:gd name="T15" fmla="*/ 50 h 101"/>
                  <a:gd name="T16" fmla="*/ 67 w 71"/>
                  <a:gd name="T17" fmla="*/ 44 h 101"/>
                  <a:gd name="T18" fmla="*/ 63 w 71"/>
                  <a:gd name="T19" fmla="*/ 80 h 101"/>
                  <a:gd name="T20" fmla="*/ 45 w 71"/>
                  <a:gd name="T21" fmla="*/ 70 h 101"/>
                  <a:gd name="T22" fmla="*/ 31 w 71"/>
                  <a:gd name="T23" fmla="*/ 84 h 101"/>
                  <a:gd name="T24" fmla="*/ 22 w 71"/>
                  <a:gd name="T25" fmla="*/ 87 h 101"/>
                  <a:gd name="T26" fmla="*/ 23 w 71"/>
                  <a:gd name="T27" fmla="*/ 100 h 101"/>
                  <a:gd name="T28" fmla="*/ 9 w 71"/>
                  <a:gd name="T29" fmla="*/ 6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101">
                    <a:moveTo>
                      <a:pt x="9" y="78"/>
                    </a:moveTo>
                    <a:cubicBezTo>
                      <a:pt x="8" y="73"/>
                      <a:pt x="8" y="67"/>
                      <a:pt x="7" y="62"/>
                    </a:cubicBezTo>
                    <a:cubicBezTo>
                      <a:pt x="6" y="58"/>
                      <a:pt x="3" y="50"/>
                      <a:pt x="3" y="50"/>
                    </a:cubicBezTo>
                    <a:cubicBezTo>
                      <a:pt x="5" y="28"/>
                      <a:pt x="0" y="23"/>
                      <a:pt x="23" y="20"/>
                    </a:cubicBezTo>
                    <a:cubicBezTo>
                      <a:pt x="30" y="13"/>
                      <a:pt x="33" y="9"/>
                      <a:pt x="35" y="0"/>
                    </a:cubicBezTo>
                    <a:cubicBezTo>
                      <a:pt x="41" y="2"/>
                      <a:pt x="49" y="14"/>
                      <a:pt x="49" y="14"/>
                    </a:cubicBezTo>
                    <a:cubicBezTo>
                      <a:pt x="47" y="25"/>
                      <a:pt x="40" y="28"/>
                      <a:pt x="43" y="36"/>
                    </a:cubicBezTo>
                    <a:cubicBezTo>
                      <a:pt x="38" y="50"/>
                      <a:pt x="35" y="47"/>
                      <a:pt x="45" y="50"/>
                    </a:cubicBezTo>
                    <a:cubicBezTo>
                      <a:pt x="61" y="45"/>
                      <a:pt x="42" y="40"/>
                      <a:pt x="67" y="44"/>
                    </a:cubicBezTo>
                    <a:cubicBezTo>
                      <a:pt x="71" y="55"/>
                      <a:pt x="65" y="69"/>
                      <a:pt x="63" y="80"/>
                    </a:cubicBezTo>
                    <a:cubicBezTo>
                      <a:pt x="48" y="75"/>
                      <a:pt x="54" y="79"/>
                      <a:pt x="45" y="70"/>
                    </a:cubicBezTo>
                    <a:cubicBezTo>
                      <a:pt x="40" y="85"/>
                      <a:pt x="45" y="81"/>
                      <a:pt x="31" y="84"/>
                    </a:cubicBezTo>
                    <a:cubicBezTo>
                      <a:pt x="29" y="86"/>
                      <a:pt x="23" y="84"/>
                      <a:pt x="22" y="87"/>
                    </a:cubicBezTo>
                    <a:cubicBezTo>
                      <a:pt x="20" y="90"/>
                      <a:pt x="26" y="101"/>
                      <a:pt x="23" y="100"/>
                    </a:cubicBezTo>
                    <a:cubicBezTo>
                      <a:pt x="11" y="98"/>
                      <a:pt x="9" y="69"/>
                      <a:pt x="9" y="62"/>
                    </a:cubicBezTo>
                  </a:path>
                </a:pathLst>
              </a:custGeom>
              <a:grp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22" name="Freeform 556"/>
              <p:cNvSpPr>
                <a:spLocks/>
              </p:cNvSpPr>
              <p:nvPr>
                <p:custDataLst>
                  <p:tags r:id="rId178"/>
                </p:custDataLst>
              </p:nvPr>
            </p:nvSpPr>
            <p:spPr bwMode="gray">
              <a:xfrm>
                <a:off x="542" y="1852"/>
                <a:ext cx="13" cy="11"/>
              </a:xfrm>
              <a:custGeom>
                <a:avLst/>
                <a:gdLst>
                  <a:gd name="T0" fmla="*/ 0 w 13"/>
                  <a:gd name="T1" fmla="*/ 1 h 11"/>
                  <a:gd name="T2" fmla="*/ 0 w 13"/>
                  <a:gd name="T3" fmla="*/ 8 h 11"/>
                  <a:gd name="T4" fmla="*/ 0 w 13"/>
                  <a:gd name="T5" fmla="*/ 1 h 11"/>
                </a:gdLst>
                <a:ahLst/>
                <a:cxnLst>
                  <a:cxn ang="0">
                    <a:pos x="T0" y="T1"/>
                  </a:cxn>
                  <a:cxn ang="0">
                    <a:pos x="T2" y="T3"/>
                  </a:cxn>
                  <a:cxn ang="0">
                    <a:pos x="T4" y="T5"/>
                  </a:cxn>
                </a:cxnLst>
                <a:rect l="0" t="0" r="r" b="b"/>
                <a:pathLst>
                  <a:path w="13" h="11">
                    <a:moveTo>
                      <a:pt x="0" y="1"/>
                    </a:moveTo>
                    <a:cubicBezTo>
                      <a:pt x="12" y="2"/>
                      <a:pt x="13" y="11"/>
                      <a:pt x="0" y="8"/>
                    </a:cubicBezTo>
                    <a:cubicBezTo>
                      <a:pt x="2" y="0"/>
                      <a:pt x="4" y="1"/>
                      <a:pt x="0" y="1"/>
                    </a:cubicBezTo>
                    <a:close/>
                  </a:path>
                </a:pathLst>
              </a:custGeom>
              <a:grp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grpSp>
        <p:sp>
          <p:nvSpPr>
            <p:cNvPr id="119" name="Freeform 557"/>
            <p:cNvSpPr>
              <a:spLocks/>
            </p:cNvSpPr>
            <p:nvPr>
              <p:custDataLst>
                <p:tags r:id="rId87"/>
              </p:custDataLst>
            </p:nvPr>
          </p:nvSpPr>
          <p:spPr bwMode="gray">
            <a:xfrm>
              <a:off x="3020346" y="2125747"/>
              <a:ext cx="6943" cy="10910"/>
            </a:xfrm>
            <a:custGeom>
              <a:avLst/>
              <a:gdLst>
                <a:gd name="T0" fmla="*/ 7 w 7"/>
                <a:gd name="T1" fmla="*/ 0 h 12"/>
                <a:gd name="T2" fmla="*/ 5 w 7"/>
                <a:gd name="T3" fmla="*/ 9 h 12"/>
                <a:gd name="T4" fmla="*/ 7 w 7"/>
                <a:gd name="T5" fmla="*/ 0 h 12"/>
              </a:gdLst>
              <a:ahLst/>
              <a:cxnLst>
                <a:cxn ang="0">
                  <a:pos x="T0" y="T1"/>
                </a:cxn>
                <a:cxn ang="0">
                  <a:pos x="T2" y="T3"/>
                </a:cxn>
                <a:cxn ang="0">
                  <a:pos x="T4" y="T5"/>
                </a:cxn>
              </a:cxnLst>
              <a:rect l="0" t="0" r="r" b="b"/>
              <a:pathLst>
                <a:path w="7" h="12">
                  <a:moveTo>
                    <a:pt x="7" y="0"/>
                  </a:moveTo>
                  <a:cubicBezTo>
                    <a:pt x="6" y="3"/>
                    <a:pt x="7" y="7"/>
                    <a:pt x="5" y="9"/>
                  </a:cubicBezTo>
                  <a:cubicBezTo>
                    <a:pt x="2" y="12"/>
                    <a:pt x="0" y="0"/>
                    <a:pt x="7"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20" name="Freeform 558"/>
            <p:cNvSpPr>
              <a:spLocks/>
            </p:cNvSpPr>
            <p:nvPr>
              <p:custDataLst>
                <p:tags r:id="rId88"/>
              </p:custDataLst>
            </p:nvPr>
          </p:nvSpPr>
          <p:spPr bwMode="gray">
            <a:xfrm>
              <a:off x="3617381" y="2561126"/>
              <a:ext cx="158680" cy="161656"/>
            </a:xfrm>
            <a:custGeom>
              <a:avLst/>
              <a:gdLst>
                <a:gd name="T0" fmla="*/ 165 w 165"/>
                <a:gd name="T1" fmla="*/ 37 h 168"/>
                <a:gd name="T2" fmla="*/ 159 w 165"/>
                <a:gd name="T3" fmla="*/ 45 h 168"/>
                <a:gd name="T4" fmla="*/ 159 w 165"/>
                <a:gd name="T5" fmla="*/ 70 h 168"/>
                <a:gd name="T6" fmla="*/ 159 w 165"/>
                <a:gd name="T7" fmla="*/ 81 h 168"/>
                <a:gd name="T8" fmla="*/ 147 w 165"/>
                <a:gd name="T9" fmla="*/ 85 h 168"/>
                <a:gd name="T10" fmla="*/ 133 w 165"/>
                <a:gd name="T11" fmla="*/ 85 h 168"/>
                <a:gd name="T12" fmla="*/ 144 w 165"/>
                <a:gd name="T13" fmla="*/ 96 h 168"/>
                <a:gd name="T14" fmla="*/ 132 w 165"/>
                <a:gd name="T15" fmla="*/ 103 h 168"/>
                <a:gd name="T16" fmla="*/ 130 w 165"/>
                <a:gd name="T17" fmla="*/ 123 h 168"/>
                <a:gd name="T18" fmla="*/ 112 w 165"/>
                <a:gd name="T19" fmla="*/ 127 h 168"/>
                <a:gd name="T20" fmla="*/ 84 w 165"/>
                <a:gd name="T21" fmla="*/ 138 h 168"/>
                <a:gd name="T22" fmla="*/ 84 w 165"/>
                <a:gd name="T23" fmla="*/ 157 h 168"/>
                <a:gd name="T24" fmla="*/ 70 w 165"/>
                <a:gd name="T25" fmla="*/ 163 h 168"/>
                <a:gd name="T26" fmla="*/ 58 w 165"/>
                <a:gd name="T27" fmla="*/ 160 h 168"/>
                <a:gd name="T28" fmla="*/ 48 w 165"/>
                <a:gd name="T29" fmla="*/ 166 h 168"/>
                <a:gd name="T30" fmla="*/ 7 w 165"/>
                <a:gd name="T31" fmla="*/ 165 h 168"/>
                <a:gd name="T32" fmla="*/ 14 w 165"/>
                <a:gd name="T33" fmla="*/ 149 h 168"/>
                <a:gd name="T34" fmla="*/ 10 w 165"/>
                <a:gd name="T35" fmla="*/ 134 h 168"/>
                <a:gd name="T36" fmla="*/ 10 w 165"/>
                <a:gd name="T37" fmla="*/ 127 h 168"/>
                <a:gd name="T38" fmla="*/ 0 w 165"/>
                <a:gd name="T39" fmla="*/ 120 h 168"/>
                <a:gd name="T40" fmla="*/ 7 w 165"/>
                <a:gd name="T41" fmla="*/ 88 h 168"/>
                <a:gd name="T42" fmla="*/ 10 w 165"/>
                <a:gd name="T43" fmla="*/ 79 h 168"/>
                <a:gd name="T44" fmla="*/ 10 w 165"/>
                <a:gd name="T45" fmla="*/ 73 h 168"/>
                <a:gd name="T46" fmla="*/ 9 w 165"/>
                <a:gd name="T47" fmla="*/ 58 h 168"/>
                <a:gd name="T48" fmla="*/ 25 w 165"/>
                <a:gd name="T49" fmla="*/ 61 h 168"/>
                <a:gd name="T50" fmla="*/ 35 w 165"/>
                <a:gd name="T51" fmla="*/ 67 h 168"/>
                <a:gd name="T52" fmla="*/ 46 w 165"/>
                <a:gd name="T53" fmla="*/ 55 h 168"/>
                <a:gd name="T54" fmla="*/ 58 w 165"/>
                <a:gd name="T55" fmla="*/ 50 h 168"/>
                <a:gd name="T56" fmla="*/ 67 w 165"/>
                <a:gd name="T57" fmla="*/ 28 h 168"/>
                <a:gd name="T58" fmla="*/ 79 w 165"/>
                <a:gd name="T59" fmla="*/ 21 h 168"/>
                <a:gd name="T60" fmla="*/ 94 w 165"/>
                <a:gd name="T61" fmla="*/ 32 h 168"/>
                <a:gd name="T62" fmla="*/ 112 w 165"/>
                <a:gd name="T63" fmla="*/ 28 h 168"/>
                <a:gd name="T64" fmla="*/ 136 w 165"/>
                <a:gd name="T65" fmla="*/ 28 h 168"/>
                <a:gd name="T66" fmla="*/ 149 w 165"/>
                <a:gd name="T67" fmla="*/ 16 h 168"/>
                <a:gd name="T68" fmla="*/ 153 w 165"/>
                <a:gd name="T69" fmla="*/ 1 h 168"/>
                <a:gd name="T70" fmla="*/ 162 w 165"/>
                <a:gd name="T71" fmla="*/ 9 h 168"/>
                <a:gd name="T72" fmla="*/ 165 w 165"/>
                <a:gd name="T73" fmla="*/ 3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5" h="168">
                  <a:moveTo>
                    <a:pt x="165" y="37"/>
                  </a:moveTo>
                  <a:cubicBezTo>
                    <a:pt x="165" y="43"/>
                    <a:pt x="160" y="40"/>
                    <a:pt x="159" y="45"/>
                  </a:cubicBezTo>
                  <a:cubicBezTo>
                    <a:pt x="158" y="50"/>
                    <a:pt x="159" y="64"/>
                    <a:pt x="159" y="70"/>
                  </a:cubicBezTo>
                  <a:cubicBezTo>
                    <a:pt x="159" y="76"/>
                    <a:pt x="161" y="78"/>
                    <a:pt x="159" y="81"/>
                  </a:cubicBezTo>
                  <a:cubicBezTo>
                    <a:pt x="157" y="84"/>
                    <a:pt x="151" y="84"/>
                    <a:pt x="147" y="85"/>
                  </a:cubicBezTo>
                  <a:cubicBezTo>
                    <a:pt x="143" y="86"/>
                    <a:pt x="133" y="83"/>
                    <a:pt x="133" y="85"/>
                  </a:cubicBezTo>
                  <a:cubicBezTo>
                    <a:pt x="133" y="87"/>
                    <a:pt x="144" y="93"/>
                    <a:pt x="144" y="96"/>
                  </a:cubicBezTo>
                  <a:cubicBezTo>
                    <a:pt x="144" y="99"/>
                    <a:pt x="134" y="99"/>
                    <a:pt x="132" y="103"/>
                  </a:cubicBezTo>
                  <a:cubicBezTo>
                    <a:pt x="130" y="107"/>
                    <a:pt x="133" y="119"/>
                    <a:pt x="130" y="123"/>
                  </a:cubicBezTo>
                  <a:cubicBezTo>
                    <a:pt x="127" y="127"/>
                    <a:pt x="120" y="124"/>
                    <a:pt x="112" y="127"/>
                  </a:cubicBezTo>
                  <a:cubicBezTo>
                    <a:pt x="104" y="130"/>
                    <a:pt x="89" y="133"/>
                    <a:pt x="84" y="138"/>
                  </a:cubicBezTo>
                  <a:cubicBezTo>
                    <a:pt x="79" y="143"/>
                    <a:pt x="86" y="153"/>
                    <a:pt x="84" y="157"/>
                  </a:cubicBezTo>
                  <a:cubicBezTo>
                    <a:pt x="82" y="161"/>
                    <a:pt x="74" y="163"/>
                    <a:pt x="70" y="163"/>
                  </a:cubicBezTo>
                  <a:cubicBezTo>
                    <a:pt x="66" y="163"/>
                    <a:pt x="62" y="159"/>
                    <a:pt x="58" y="160"/>
                  </a:cubicBezTo>
                  <a:cubicBezTo>
                    <a:pt x="54" y="161"/>
                    <a:pt x="56" y="165"/>
                    <a:pt x="48" y="166"/>
                  </a:cubicBezTo>
                  <a:cubicBezTo>
                    <a:pt x="40" y="167"/>
                    <a:pt x="13" y="168"/>
                    <a:pt x="7" y="165"/>
                  </a:cubicBezTo>
                  <a:cubicBezTo>
                    <a:pt x="1" y="162"/>
                    <a:pt x="14" y="154"/>
                    <a:pt x="14" y="149"/>
                  </a:cubicBezTo>
                  <a:cubicBezTo>
                    <a:pt x="14" y="144"/>
                    <a:pt x="11" y="138"/>
                    <a:pt x="10" y="134"/>
                  </a:cubicBezTo>
                  <a:cubicBezTo>
                    <a:pt x="9" y="130"/>
                    <a:pt x="12" y="129"/>
                    <a:pt x="10" y="127"/>
                  </a:cubicBezTo>
                  <a:cubicBezTo>
                    <a:pt x="8" y="125"/>
                    <a:pt x="0" y="126"/>
                    <a:pt x="0" y="120"/>
                  </a:cubicBezTo>
                  <a:cubicBezTo>
                    <a:pt x="0" y="114"/>
                    <a:pt x="5" y="95"/>
                    <a:pt x="7" y="88"/>
                  </a:cubicBezTo>
                  <a:cubicBezTo>
                    <a:pt x="9" y="81"/>
                    <a:pt x="10" y="81"/>
                    <a:pt x="10" y="79"/>
                  </a:cubicBezTo>
                  <a:cubicBezTo>
                    <a:pt x="10" y="77"/>
                    <a:pt x="10" y="76"/>
                    <a:pt x="10" y="73"/>
                  </a:cubicBezTo>
                  <a:cubicBezTo>
                    <a:pt x="10" y="70"/>
                    <a:pt x="6" y="60"/>
                    <a:pt x="9" y="58"/>
                  </a:cubicBezTo>
                  <a:cubicBezTo>
                    <a:pt x="12" y="56"/>
                    <a:pt x="21" y="60"/>
                    <a:pt x="25" y="61"/>
                  </a:cubicBezTo>
                  <a:cubicBezTo>
                    <a:pt x="29" y="62"/>
                    <a:pt x="32" y="68"/>
                    <a:pt x="35" y="67"/>
                  </a:cubicBezTo>
                  <a:cubicBezTo>
                    <a:pt x="38" y="66"/>
                    <a:pt x="42" y="58"/>
                    <a:pt x="46" y="55"/>
                  </a:cubicBezTo>
                  <a:cubicBezTo>
                    <a:pt x="50" y="52"/>
                    <a:pt x="55" y="54"/>
                    <a:pt x="58" y="50"/>
                  </a:cubicBezTo>
                  <a:cubicBezTo>
                    <a:pt x="61" y="46"/>
                    <a:pt x="64" y="33"/>
                    <a:pt x="67" y="28"/>
                  </a:cubicBezTo>
                  <a:cubicBezTo>
                    <a:pt x="70" y="23"/>
                    <a:pt x="75" y="20"/>
                    <a:pt x="79" y="21"/>
                  </a:cubicBezTo>
                  <a:cubicBezTo>
                    <a:pt x="83" y="22"/>
                    <a:pt x="89" y="31"/>
                    <a:pt x="94" y="32"/>
                  </a:cubicBezTo>
                  <a:cubicBezTo>
                    <a:pt x="99" y="33"/>
                    <a:pt x="105" y="29"/>
                    <a:pt x="112" y="28"/>
                  </a:cubicBezTo>
                  <a:cubicBezTo>
                    <a:pt x="119" y="27"/>
                    <a:pt x="130" y="30"/>
                    <a:pt x="136" y="28"/>
                  </a:cubicBezTo>
                  <a:cubicBezTo>
                    <a:pt x="142" y="26"/>
                    <a:pt x="146" y="20"/>
                    <a:pt x="149" y="16"/>
                  </a:cubicBezTo>
                  <a:cubicBezTo>
                    <a:pt x="152" y="12"/>
                    <a:pt x="151" y="2"/>
                    <a:pt x="153" y="1"/>
                  </a:cubicBezTo>
                  <a:cubicBezTo>
                    <a:pt x="155" y="0"/>
                    <a:pt x="161" y="3"/>
                    <a:pt x="162" y="9"/>
                  </a:cubicBezTo>
                  <a:cubicBezTo>
                    <a:pt x="163" y="15"/>
                    <a:pt x="165" y="31"/>
                    <a:pt x="165" y="37"/>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21" name="Freeform 559"/>
            <p:cNvSpPr>
              <a:spLocks/>
            </p:cNvSpPr>
            <p:nvPr>
              <p:custDataLst>
                <p:tags r:id="rId89"/>
              </p:custDataLst>
            </p:nvPr>
          </p:nvSpPr>
          <p:spPr bwMode="gray">
            <a:xfrm>
              <a:off x="3629282" y="2592862"/>
              <a:ext cx="198350" cy="216202"/>
            </a:xfrm>
            <a:custGeom>
              <a:avLst/>
              <a:gdLst>
                <a:gd name="T0" fmla="*/ 3 w 206"/>
                <a:gd name="T1" fmla="*/ 133 h 224"/>
                <a:gd name="T2" fmla="*/ 6 w 206"/>
                <a:gd name="T3" fmla="*/ 145 h 224"/>
                <a:gd name="T4" fmla="*/ 19 w 206"/>
                <a:gd name="T5" fmla="*/ 150 h 224"/>
                <a:gd name="T6" fmla="*/ 25 w 206"/>
                <a:gd name="T7" fmla="*/ 165 h 224"/>
                <a:gd name="T8" fmla="*/ 28 w 206"/>
                <a:gd name="T9" fmla="*/ 177 h 224"/>
                <a:gd name="T10" fmla="*/ 16 w 206"/>
                <a:gd name="T11" fmla="*/ 178 h 224"/>
                <a:gd name="T12" fmla="*/ 7 w 206"/>
                <a:gd name="T13" fmla="*/ 188 h 224"/>
                <a:gd name="T14" fmla="*/ 7 w 206"/>
                <a:gd name="T15" fmla="*/ 202 h 224"/>
                <a:gd name="T16" fmla="*/ 25 w 206"/>
                <a:gd name="T17" fmla="*/ 199 h 224"/>
                <a:gd name="T18" fmla="*/ 37 w 206"/>
                <a:gd name="T19" fmla="*/ 196 h 224"/>
                <a:gd name="T20" fmla="*/ 55 w 206"/>
                <a:gd name="T21" fmla="*/ 201 h 224"/>
                <a:gd name="T22" fmla="*/ 64 w 206"/>
                <a:gd name="T23" fmla="*/ 190 h 224"/>
                <a:gd name="T24" fmla="*/ 75 w 206"/>
                <a:gd name="T25" fmla="*/ 199 h 224"/>
                <a:gd name="T26" fmla="*/ 88 w 206"/>
                <a:gd name="T27" fmla="*/ 208 h 224"/>
                <a:gd name="T28" fmla="*/ 94 w 206"/>
                <a:gd name="T29" fmla="*/ 222 h 224"/>
                <a:gd name="T30" fmla="*/ 108 w 206"/>
                <a:gd name="T31" fmla="*/ 219 h 224"/>
                <a:gd name="T32" fmla="*/ 143 w 206"/>
                <a:gd name="T33" fmla="*/ 218 h 224"/>
                <a:gd name="T34" fmla="*/ 149 w 206"/>
                <a:gd name="T35" fmla="*/ 206 h 224"/>
                <a:gd name="T36" fmla="*/ 130 w 206"/>
                <a:gd name="T37" fmla="*/ 180 h 224"/>
                <a:gd name="T38" fmla="*/ 123 w 206"/>
                <a:gd name="T39" fmla="*/ 166 h 224"/>
                <a:gd name="T40" fmla="*/ 135 w 206"/>
                <a:gd name="T41" fmla="*/ 161 h 224"/>
                <a:gd name="T42" fmla="*/ 165 w 206"/>
                <a:gd name="T43" fmla="*/ 164 h 224"/>
                <a:gd name="T44" fmla="*/ 165 w 206"/>
                <a:gd name="T45" fmla="*/ 143 h 224"/>
                <a:gd name="T46" fmla="*/ 180 w 206"/>
                <a:gd name="T47" fmla="*/ 130 h 224"/>
                <a:gd name="T48" fmla="*/ 202 w 206"/>
                <a:gd name="T49" fmla="*/ 100 h 224"/>
                <a:gd name="T50" fmla="*/ 204 w 206"/>
                <a:gd name="T51" fmla="*/ 78 h 224"/>
                <a:gd name="T52" fmla="*/ 187 w 206"/>
                <a:gd name="T53" fmla="*/ 66 h 224"/>
                <a:gd name="T54" fmla="*/ 181 w 206"/>
                <a:gd name="T55" fmla="*/ 57 h 224"/>
                <a:gd name="T56" fmla="*/ 180 w 206"/>
                <a:gd name="T57" fmla="*/ 45 h 224"/>
                <a:gd name="T58" fmla="*/ 186 w 206"/>
                <a:gd name="T59" fmla="*/ 30 h 224"/>
                <a:gd name="T60" fmla="*/ 168 w 206"/>
                <a:gd name="T61" fmla="*/ 15 h 224"/>
                <a:gd name="T62" fmla="*/ 165 w 206"/>
                <a:gd name="T63" fmla="*/ 0 h 224"/>
                <a:gd name="T64" fmla="*/ 145 w 206"/>
                <a:gd name="T65" fmla="*/ 16 h 224"/>
                <a:gd name="T66" fmla="*/ 147 w 206"/>
                <a:gd name="T67" fmla="*/ 30 h 224"/>
                <a:gd name="T68" fmla="*/ 147 w 206"/>
                <a:gd name="T69" fmla="*/ 49 h 224"/>
                <a:gd name="T70" fmla="*/ 135 w 206"/>
                <a:gd name="T71" fmla="*/ 51 h 224"/>
                <a:gd name="T72" fmla="*/ 131 w 206"/>
                <a:gd name="T73" fmla="*/ 58 h 224"/>
                <a:gd name="T74" fmla="*/ 121 w 206"/>
                <a:gd name="T75" fmla="*/ 67 h 224"/>
                <a:gd name="T76" fmla="*/ 117 w 206"/>
                <a:gd name="T77" fmla="*/ 88 h 224"/>
                <a:gd name="T78" fmla="*/ 97 w 206"/>
                <a:gd name="T79" fmla="*/ 96 h 224"/>
                <a:gd name="T80" fmla="*/ 76 w 206"/>
                <a:gd name="T81" fmla="*/ 100 h 224"/>
                <a:gd name="T82" fmla="*/ 72 w 206"/>
                <a:gd name="T83" fmla="*/ 117 h 224"/>
                <a:gd name="T84" fmla="*/ 69 w 206"/>
                <a:gd name="T85" fmla="*/ 129 h 224"/>
                <a:gd name="T86" fmla="*/ 58 w 206"/>
                <a:gd name="T87" fmla="*/ 130 h 224"/>
                <a:gd name="T88" fmla="*/ 48 w 206"/>
                <a:gd name="T89" fmla="*/ 129 h 224"/>
                <a:gd name="T90" fmla="*/ 27 w 206"/>
                <a:gd name="T91" fmla="*/ 133 h 224"/>
                <a:gd name="T92" fmla="*/ 3 w 206"/>
                <a:gd name="T93" fmla="*/ 13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224">
                  <a:moveTo>
                    <a:pt x="3" y="133"/>
                  </a:moveTo>
                  <a:cubicBezTo>
                    <a:pt x="0" y="135"/>
                    <a:pt x="3" y="142"/>
                    <a:pt x="6" y="145"/>
                  </a:cubicBezTo>
                  <a:cubicBezTo>
                    <a:pt x="9" y="148"/>
                    <a:pt x="16" y="147"/>
                    <a:pt x="19" y="150"/>
                  </a:cubicBezTo>
                  <a:cubicBezTo>
                    <a:pt x="22" y="153"/>
                    <a:pt x="24" y="161"/>
                    <a:pt x="25" y="165"/>
                  </a:cubicBezTo>
                  <a:cubicBezTo>
                    <a:pt x="26" y="169"/>
                    <a:pt x="29" y="175"/>
                    <a:pt x="28" y="177"/>
                  </a:cubicBezTo>
                  <a:cubicBezTo>
                    <a:pt x="27" y="179"/>
                    <a:pt x="19" y="176"/>
                    <a:pt x="16" y="178"/>
                  </a:cubicBezTo>
                  <a:cubicBezTo>
                    <a:pt x="13" y="180"/>
                    <a:pt x="8" y="184"/>
                    <a:pt x="7" y="188"/>
                  </a:cubicBezTo>
                  <a:cubicBezTo>
                    <a:pt x="6" y="192"/>
                    <a:pt x="4" y="200"/>
                    <a:pt x="7" y="202"/>
                  </a:cubicBezTo>
                  <a:cubicBezTo>
                    <a:pt x="10" y="204"/>
                    <a:pt x="20" y="200"/>
                    <a:pt x="25" y="199"/>
                  </a:cubicBezTo>
                  <a:cubicBezTo>
                    <a:pt x="30" y="198"/>
                    <a:pt x="32" y="196"/>
                    <a:pt x="37" y="196"/>
                  </a:cubicBezTo>
                  <a:cubicBezTo>
                    <a:pt x="42" y="196"/>
                    <a:pt x="51" y="202"/>
                    <a:pt x="55" y="201"/>
                  </a:cubicBezTo>
                  <a:cubicBezTo>
                    <a:pt x="59" y="200"/>
                    <a:pt x="61" y="190"/>
                    <a:pt x="64" y="190"/>
                  </a:cubicBezTo>
                  <a:cubicBezTo>
                    <a:pt x="67" y="190"/>
                    <a:pt x="71" y="196"/>
                    <a:pt x="75" y="199"/>
                  </a:cubicBezTo>
                  <a:cubicBezTo>
                    <a:pt x="79" y="202"/>
                    <a:pt x="85" y="204"/>
                    <a:pt x="88" y="208"/>
                  </a:cubicBezTo>
                  <a:cubicBezTo>
                    <a:pt x="91" y="212"/>
                    <a:pt x="91" y="220"/>
                    <a:pt x="94" y="222"/>
                  </a:cubicBezTo>
                  <a:cubicBezTo>
                    <a:pt x="97" y="224"/>
                    <a:pt x="100" y="220"/>
                    <a:pt x="108" y="219"/>
                  </a:cubicBezTo>
                  <a:cubicBezTo>
                    <a:pt x="116" y="218"/>
                    <a:pt x="136" y="220"/>
                    <a:pt x="143" y="218"/>
                  </a:cubicBezTo>
                  <a:cubicBezTo>
                    <a:pt x="150" y="216"/>
                    <a:pt x="151" y="212"/>
                    <a:pt x="149" y="206"/>
                  </a:cubicBezTo>
                  <a:cubicBezTo>
                    <a:pt x="147" y="200"/>
                    <a:pt x="134" y="187"/>
                    <a:pt x="130" y="180"/>
                  </a:cubicBezTo>
                  <a:cubicBezTo>
                    <a:pt x="126" y="173"/>
                    <a:pt x="122" y="169"/>
                    <a:pt x="123" y="166"/>
                  </a:cubicBezTo>
                  <a:cubicBezTo>
                    <a:pt x="124" y="163"/>
                    <a:pt x="128" y="161"/>
                    <a:pt x="135" y="161"/>
                  </a:cubicBezTo>
                  <a:cubicBezTo>
                    <a:pt x="142" y="161"/>
                    <a:pt x="160" y="167"/>
                    <a:pt x="165" y="164"/>
                  </a:cubicBezTo>
                  <a:cubicBezTo>
                    <a:pt x="170" y="161"/>
                    <a:pt x="163" y="149"/>
                    <a:pt x="165" y="143"/>
                  </a:cubicBezTo>
                  <a:cubicBezTo>
                    <a:pt x="167" y="137"/>
                    <a:pt x="174" y="137"/>
                    <a:pt x="180" y="130"/>
                  </a:cubicBezTo>
                  <a:cubicBezTo>
                    <a:pt x="186" y="123"/>
                    <a:pt x="198" y="109"/>
                    <a:pt x="202" y="100"/>
                  </a:cubicBezTo>
                  <a:cubicBezTo>
                    <a:pt x="206" y="91"/>
                    <a:pt x="206" y="84"/>
                    <a:pt x="204" y="78"/>
                  </a:cubicBezTo>
                  <a:cubicBezTo>
                    <a:pt x="202" y="72"/>
                    <a:pt x="191" y="69"/>
                    <a:pt x="187" y="66"/>
                  </a:cubicBezTo>
                  <a:cubicBezTo>
                    <a:pt x="183" y="63"/>
                    <a:pt x="182" y="60"/>
                    <a:pt x="181" y="57"/>
                  </a:cubicBezTo>
                  <a:cubicBezTo>
                    <a:pt x="180" y="54"/>
                    <a:pt x="179" y="49"/>
                    <a:pt x="180" y="45"/>
                  </a:cubicBezTo>
                  <a:cubicBezTo>
                    <a:pt x="181" y="41"/>
                    <a:pt x="188" y="35"/>
                    <a:pt x="186" y="30"/>
                  </a:cubicBezTo>
                  <a:cubicBezTo>
                    <a:pt x="184" y="25"/>
                    <a:pt x="171" y="20"/>
                    <a:pt x="168" y="15"/>
                  </a:cubicBezTo>
                  <a:cubicBezTo>
                    <a:pt x="165" y="10"/>
                    <a:pt x="169" y="0"/>
                    <a:pt x="165" y="0"/>
                  </a:cubicBezTo>
                  <a:cubicBezTo>
                    <a:pt x="161" y="0"/>
                    <a:pt x="148" y="11"/>
                    <a:pt x="145" y="16"/>
                  </a:cubicBezTo>
                  <a:cubicBezTo>
                    <a:pt x="142" y="21"/>
                    <a:pt x="147" y="25"/>
                    <a:pt x="147" y="30"/>
                  </a:cubicBezTo>
                  <a:cubicBezTo>
                    <a:pt x="147" y="35"/>
                    <a:pt x="149" y="46"/>
                    <a:pt x="147" y="49"/>
                  </a:cubicBezTo>
                  <a:cubicBezTo>
                    <a:pt x="145" y="52"/>
                    <a:pt x="138" y="50"/>
                    <a:pt x="135" y="51"/>
                  </a:cubicBezTo>
                  <a:cubicBezTo>
                    <a:pt x="132" y="52"/>
                    <a:pt x="133" y="55"/>
                    <a:pt x="131" y="58"/>
                  </a:cubicBezTo>
                  <a:cubicBezTo>
                    <a:pt x="129" y="61"/>
                    <a:pt x="123" y="62"/>
                    <a:pt x="121" y="67"/>
                  </a:cubicBezTo>
                  <a:cubicBezTo>
                    <a:pt x="119" y="72"/>
                    <a:pt x="121" y="83"/>
                    <a:pt x="117" y="88"/>
                  </a:cubicBezTo>
                  <a:cubicBezTo>
                    <a:pt x="113" y="93"/>
                    <a:pt x="104" y="94"/>
                    <a:pt x="97" y="96"/>
                  </a:cubicBezTo>
                  <a:cubicBezTo>
                    <a:pt x="90" y="98"/>
                    <a:pt x="80" y="97"/>
                    <a:pt x="76" y="100"/>
                  </a:cubicBezTo>
                  <a:cubicBezTo>
                    <a:pt x="72" y="103"/>
                    <a:pt x="73" y="112"/>
                    <a:pt x="72" y="117"/>
                  </a:cubicBezTo>
                  <a:cubicBezTo>
                    <a:pt x="71" y="122"/>
                    <a:pt x="71" y="127"/>
                    <a:pt x="69" y="129"/>
                  </a:cubicBezTo>
                  <a:cubicBezTo>
                    <a:pt x="67" y="131"/>
                    <a:pt x="61" y="130"/>
                    <a:pt x="58" y="130"/>
                  </a:cubicBezTo>
                  <a:cubicBezTo>
                    <a:pt x="55" y="130"/>
                    <a:pt x="53" y="129"/>
                    <a:pt x="48" y="129"/>
                  </a:cubicBezTo>
                  <a:cubicBezTo>
                    <a:pt x="43" y="129"/>
                    <a:pt x="33" y="132"/>
                    <a:pt x="27" y="133"/>
                  </a:cubicBezTo>
                  <a:cubicBezTo>
                    <a:pt x="21" y="134"/>
                    <a:pt x="6" y="131"/>
                    <a:pt x="3" y="13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22" name="Freeform 560"/>
            <p:cNvSpPr>
              <a:spLocks/>
            </p:cNvSpPr>
            <p:nvPr>
              <p:custDataLst>
                <p:tags r:id="rId90"/>
              </p:custDataLst>
            </p:nvPr>
          </p:nvSpPr>
          <p:spPr bwMode="gray">
            <a:xfrm>
              <a:off x="2899352" y="2355833"/>
              <a:ext cx="96200" cy="59505"/>
            </a:xfrm>
            <a:custGeom>
              <a:avLst/>
              <a:gdLst>
                <a:gd name="T0" fmla="*/ 12 w 100"/>
                <a:gd name="T1" fmla="*/ 37 h 61"/>
                <a:gd name="T2" fmla="*/ 20 w 100"/>
                <a:gd name="T3" fmla="*/ 31 h 61"/>
                <a:gd name="T4" fmla="*/ 30 w 100"/>
                <a:gd name="T5" fmla="*/ 29 h 61"/>
                <a:gd name="T6" fmla="*/ 49 w 100"/>
                <a:gd name="T7" fmla="*/ 7 h 61"/>
                <a:gd name="T8" fmla="*/ 73 w 100"/>
                <a:gd name="T9" fmla="*/ 0 h 61"/>
                <a:gd name="T10" fmla="*/ 92 w 100"/>
                <a:gd name="T11" fmla="*/ 6 h 61"/>
                <a:gd name="T12" fmla="*/ 98 w 100"/>
                <a:gd name="T13" fmla="*/ 21 h 61"/>
                <a:gd name="T14" fmla="*/ 97 w 100"/>
                <a:gd name="T15" fmla="*/ 33 h 61"/>
                <a:gd name="T16" fmla="*/ 91 w 100"/>
                <a:gd name="T17" fmla="*/ 34 h 61"/>
                <a:gd name="T18" fmla="*/ 71 w 100"/>
                <a:gd name="T19" fmla="*/ 52 h 61"/>
                <a:gd name="T20" fmla="*/ 61 w 100"/>
                <a:gd name="T21" fmla="*/ 60 h 61"/>
                <a:gd name="T22" fmla="*/ 34 w 100"/>
                <a:gd name="T23" fmla="*/ 51 h 61"/>
                <a:gd name="T24" fmla="*/ 16 w 100"/>
                <a:gd name="T25" fmla="*/ 51 h 61"/>
                <a:gd name="T26" fmla="*/ 7 w 100"/>
                <a:gd name="T27" fmla="*/ 51 h 61"/>
                <a:gd name="T28" fmla="*/ 2 w 100"/>
                <a:gd name="T29" fmla="*/ 49 h 61"/>
                <a:gd name="T30" fmla="*/ 12 w 100"/>
                <a:gd name="T31" fmla="*/ 3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61">
                  <a:moveTo>
                    <a:pt x="12" y="37"/>
                  </a:moveTo>
                  <a:cubicBezTo>
                    <a:pt x="10" y="34"/>
                    <a:pt x="17" y="32"/>
                    <a:pt x="20" y="31"/>
                  </a:cubicBezTo>
                  <a:cubicBezTo>
                    <a:pt x="23" y="30"/>
                    <a:pt x="25" y="33"/>
                    <a:pt x="30" y="29"/>
                  </a:cubicBezTo>
                  <a:cubicBezTo>
                    <a:pt x="35" y="25"/>
                    <a:pt x="42" y="12"/>
                    <a:pt x="49" y="7"/>
                  </a:cubicBezTo>
                  <a:cubicBezTo>
                    <a:pt x="55" y="2"/>
                    <a:pt x="65" y="2"/>
                    <a:pt x="73" y="0"/>
                  </a:cubicBezTo>
                  <a:cubicBezTo>
                    <a:pt x="80" y="1"/>
                    <a:pt x="85" y="4"/>
                    <a:pt x="92" y="6"/>
                  </a:cubicBezTo>
                  <a:cubicBezTo>
                    <a:pt x="95" y="11"/>
                    <a:pt x="95" y="16"/>
                    <a:pt x="98" y="21"/>
                  </a:cubicBezTo>
                  <a:cubicBezTo>
                    <a:pt x="98" y="25"/>
                    <a:pt x="99" y="29"/>
                    <a:pt x="97" y="33"/>
                  </a:cubicBezTo>
                  <a:cubicBezTo>
                    <a:pt x="96" y="35"/>
                    <a:pt x="92" y="32"/>
                    <a:pt x="91" y="34"/>
                  </a:cubicBezTo>
                  <a:cubicBezTo>
                    <a:pt x="80" y="50"/>
                    <a:pt x="100" y="49"/>
                    <a:pt x="71" y="52"/>
                  </a:cubicBezTo>
                  <a:cubicBezTo>
                    <a:pt x="70" y="59"/>
                    <a:pt x="67" y="57"/>
                    <a:pt x="61" y="60"/>
                  </a:cubicBezTo>
                  <a:cubicBezTo>
                    <a:pt x="53" y="61"/>
                    <a:pt x="44" y="52"/>
                    <a:pt x="34" y="51"/>
                  </a:cubicBezTo>
                  <a:cubicBezTo>
                    <a:pt x="27" y="50"/>
                    <a:pt x="20" y="51"/>
                    <a:pt x="16" y="51"/>
                  </a:cubicBezTo>
                  <a:cubicBezTo>
                    <a:pt x="12" y="51"/>
                    <a:pt x="9" y="51"/>
                    <a:pt x="7" y="51"/>
                  </a:cubicBezTo>
                  <a:cubicBezTo>
                    <a:pt x="7" y="47"/>
                    <a:pt x="0" y="53"/>
                    <a:pt x="2" y="49"/>
                  </a:cubicBezTo>
                  <a:cubicBezTo>
                    <a:pt x="4" y="45"/>
                    <a:pt x="12" y="44"/>
                    <a:pt x="12" y="37"/>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23" name="Freeform 561"/>
            <p:cNvSpPr>
              <a:spLocks/>
            </p:cNvSpPr>
            <p:nvPr>
              <p:custDataLst>
                <p:tags r:id="rId91"/>
              </p:custDataLst>
            </p:nvPr>
          </p:nvSpPr>
          <p:spPr bwMode="gray">
            <a:xfrm>
              <a:off x="2937039" y="2403437"/>
              <a:ext cx="46613" cy="29753"/>
            </a:xfrm>
            <a:custGeom>
              <a:avLst/>
              <a:gdLst>
                <a:gd name="T0" fmla="*/ 46 w 49"/>
                <a:gd name="T1" fmla="*/ 2 h 31"/>
                <a:gd name="T2" fmla="*/ 25 w 49"/>
                <a:gd name="T3" fmla="*/ 12 h 31"/>
                <a:gd name="T4" fmla="*/ 2 w 49"/>
                <a:gd name="T5" fmla="*/ 9 h 31"/>
                <a:gd name="T6" fmla="*/ 17 w 49"/>
                <a:gd name="T7" fmla="*/ 27 h 31"/>
                <a:gd name="T8" fmla="*/ 32 w 49"/>
                <a:gd name="T9" fmla="*/ 27 h 31"/>
                <a:gd name="T10" fmla="*/ 44 w 49"/>
                <a:gd name="T11" fmla="*/ 15 h 31"/>
                <a:gd name="T12" fmla="*/ 46 w 49"/>
                <a:gd name="T13" fmla="*/ 2 h 31"/>
              </a:gdLst>
              <a:ahLst/>
              <a:cxnLst>
                <a:cxn ang="0">
                  <a:pos x="T0" y="T1"/>
                </a:cxn>
                <a:cxn ang="0">
                  <a:pos x="T2" y="T3"/>
                </a:cxn>
                <a:cxn ang="0">
                  <a:pos x="T4" y="T5"/>
                </a:cxn>
                <a:cxn ang="0">
                  <a:pos x="T6" y="T7"/>
                </a:cxn>
                <a:cxn ang="0">
                  <a:pos x="T8" y="T9"/>
                </a:cxn>
                <a:cxn ang="0">
                  <a:pos x="T10" y="T11"/>
                </a:cxn>
                <a:cxn ang="0">
                  <a:pos x="T12" y="T13"/>
                </a:cxn>
              </a:cxnLst>
              <a:rect l="0" t="0" r="r" b="b"/>
              <a:pathLst>
                <a:path w="49" h="31">
                  <a:moveTo>
                    <a:pt x="46" y="2"/>
                  </a:moveTo>
                  <a:cubicBezTo>
                    <a:pt x="43" y="0"/>
                    <a:pt x="32" y="11"/>
                    <a:pt x="25" y="12"/>
                  </a:cubicBezTo>
                  <a:cubicBezTo>
                    <a:pt x="18" y="13"/>
                    <a:pt x="3" y="7"/>
                    <a:pt x="2" y="9"/>
                  </a:cubicBezTo>
                  <a:cubicBezTo>
                    <a:pt x="0" y="19"/>
                    <a:pt x="6" y="26"/>
                    <a:pt x="17" y="27"/>
                  </a:cubicBezTo>
                  <a:cubicBezTo>
                    <a:pt x="22" y="31"/>
                    <a:pt x="25" y="26"/>
                    <a:pt x="32" y="27"/>
                  </a:cubicBezTo>
                  <a:cubicBezTo>
                    <a:pt x="36" y="22"/>
                    <a:pt x="39" y="18"/>
                    <a:pt x="44" y="15"/>
                  </a:cubicBezTo>
                  <a:cubicBezTo>
                    <a:pt x="49" y="8"/>
                    <a:pt x="44" y="16"/>
                    <a:pt x="46" y="2"/>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24" name="Freeform 562"/>
            <p:cNvSpPr>
              <a:spLocks/>
            </p:cNvSpPr>
            <p:nvPr>
              <p:custDataLst>
                <p:tags r:id="rId92"/>
              </p:custDataLst>
            </p:nvPr>
          </p:nvSpPr>
          <p:spPr bwMode="gray">
            <a:xfrm>
              <a:off x="3242499" y="2637491"/>
              <a:ext cx="28761" cy="54547"/>
            </a:xfrm>
            <a:custGeom>
              <a:avLst/>
              <a:gdLst>
                <a:gd name="T0" fmla="*/ 29 w 30"/>
                <a:gd name="T1" fmla="*/ 0 h 56"/>
                <a:gd name="T2" fmla="*/ 15 w 30"/>
                <a:gd name="T3" fmla="*/ 15 h 56"/>
                <a:gd name="T4" fmla="*/ 3 w 30"/>
                <a:gd name="T5" fmla="*/ 35 h 56"/>
                <a:gd name="T6" fmla="*/ 2 w 30"/>
                <a:gd name="T7" fmla="*/ 56 h 56"/>
                <a:gd name="T8" fmla="*/ 20 w 30"/>
                <a:gd name="T9" fmla="*/ 30 h 56"/>
                <a:gd name="T10" fmla="*/ 29 w 30"/>
                <a:gd name="T11" fmla="*/ 17 h 56"/>
                <a:gd name="T12" fmla="*/ 29 w 30"/>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30" h="56">
                  <a:moveTo>
                    <a:pt x="29" y="0"/>
                  </a:moveTo>
                  <a:cubicBezTo>
                    <a:pt x="17" y="3"/>
                    <a:pt x="20" y="6"/>
                    <a:pt x="15" y="15"/>
                  </a:cubicBezTo>
                  <a:cubicBezTo>
                    <a:pt x="13" y="24"/>
                    <a:pt x="12" y="32"/>
                    <a:pt x="3" y="35"/>
                  </a:cubicBezTo>
                  <a:cubicBezTo>
                    <a:pt x="1" y="45"/>
                    <a:pt x="0" y="44"/>
                    <a:pt x="2" y="56"/>
                  </a:cubicBezTo>
                  <a:cubicBezTo>
                    <a:pt x="17" y="52"/>
                    <a:pt x="8" y="37"/>
                    <a:pt x="20" y="30"/>
                  </a:cubicBezTo>
                  <a:cubicBezTo>
                    <a:pt x="23" y="26"/>
                    <a:pt x="26" y="21"/>
                    <a:pt x="29" y="17"/>
                  </a:cubicBezTo>
                  <a:cubicBezTo>
                    <a:pt x="30" y="11"/>
                    <a:pt x="29" y="6"/>
                    <a:pt x="29"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25" name="Freeform 563"/>
            <p:cNvSpPr>
              <a:spLocks/>
            </p:cNvSpPr>
            <p:nvPr>
              <p:custDataLst>
                <p:tags r:id="rId93"/>
              </p:custDataLst>
            </p:nvPr>
          </p:nvSpPr>
          <p:spPr bwMode="gray">
            <a:xfrm>
              <a:off x="3232581" y="2684103"/>
              <a:ext cx="30745" cy="29753"/>
            </a:xfrm>
            <a:custGeom>
              <a:avLst/>
              <a:gdLst>
                <a:gd name="T0" fmla="*/ 22 w 31"/>
                <a:gd name="T1" fmla="*/ 0 h 31"/>
                <a:gd name="T2" fmla="*/ 12 w 31"/>
                <a:gd name="T3" fmla="*/ 29 h 31"/>
                <a:gd name="T4" fmla="*/ 15 w 31"/>
                <a:gd name="T5" fmla="*/ 2 h 31"/>
                <a:gd name="T6" fmla="*/ 22 w 31"/>
                <a:gd name="T7" fmla="*/ 0 h 31"/>
              </a:gdLst>
              <a:ahLst/>
              <a:cxnLst>
                <a:cxn ang="0">
                  <a:pos x="T0" y="T1"/>
                </a:cxn>
                <a:cxn ang="0">
                  <a:pos x="T2" y="T3"/>
                </a:cxn>
                <a:cxn ang="0">
                  <a:pos x="T4" y="T5"/>
                </a:cxn>
                <a:cxn ang="0">
                  <a:pos x="T6" y="T7"/>
                </a:cxn>
              </a:cxnLst>
              <a:rect l="0" t="0" r="r" b="b"/>
              <a:pathLst>
                <a:path w="31" h="31">
                  <a:moveTo>
                    <a:pt x="22" y="0"/>
                  </a:moveTo>
                  <a:cubicBezTo>
                    <a:pt x="24" y="18"/>
                    <a:pt x="31" y="31"/>
                    <a:pt x="12" y="29"/>
                  </a:cubicBezTo>
                  <a:cubicBezTo>
                    <a:pt x="7" y="20"/>
                    <a:pt x="0" y="4"/>
                    <a:pt x="15" y="2"/>
                  </a:cubicBezTo>
                  <a:cubicBezTo>
                    <a:pt x="23" y="3"/>
                    <a:pt x="22" y="5"/>
                    <a:pt x="22"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26" name="Freeform 564"/>
            <p:cNvSpPr>
              <a:spLocks/>
            </p:cNvSpPr>
            <p:nvPr>
              <p:custDataLst>
                <p:tags r:id="rId94"/>
              </p:custDataLst>
            </p:nvPr>
          </p:nvSpPr>
          <p:spPr bwMode="gray">
            <a:xfrm>
              <a:off x="2881501" y="3134358"/>
              <a:ext cx="38679" cy="20827"/>
            </a:xfrm>
            <a:custGeom>
              <a:avLst/>
              <a:gdLst>
                <a:gd name="T0" fmla="*/ 10 w 40"/>
                <a:gd name="T1" fmla="*/ 5 h 22"/>
                <a:gd name="T2" fmla="*/ 2 w 40"/>
                <a:gd name="T3" fmla="*/ 22 h 22"/>
                <a:gd name="T4" fmla="*/ 35 w 40"/>
                <a:gd name="T5" fmla="*/ 14 h 22"/>
                <a:gd name="T6" fmla="*/ 29 w 40"/>
                <a:gd name="T7" fmla="*/ 1 h 22"/>
                <a:gd name="T8" fmla="*/ 10 w 40"/>
                <a:gd name="T9" fmla="*/ 5 h 22"/>
              </a:gdLst>
              <a:ahLst/>
              <a:cxnLst>
                <a:cxn ang="0">
                  <a:pos x="T0" y="T1"/>
                </a:cxn>
                <a:cxn ang="0">
                  <a:pos x="T2" y="T3"/>
                </a:cxn>
                <a:cxn ang="0">
                  <a:pos x="T4" y="T5"/>
                </a:cxn>
                <a:cxn ang="0">
                  <a:pos x="T6" y="T7"/>
                </a:cxn>
                <a:cxn ang="0">
                  <a:pos x="T8" y="T9"/>
                </a:cxn>
              </a:cxnLst>
              <a:rect l="0" t="0" r="r" b="b"/>
              <a:pathLst>
                <a:path w="40" h="22">
                  <a:moveTo>
                    <a:pt x="10" y="5"/>
                  </a:moveTo>
                  <a:cubicBezTo>
                    <a:pt x="6" y="12"/>
                    <a:pt x="0" y="13"/>
                    <a:pt x="2" y="22"/>
                  </a:cubicBezTo>
                  <a:cubicBezTo>
                    <a:pt x="11" y="21"/>
                    <a:pt x="28" y="19"/>
                    <a:pt x="35" y="14"/>
                  </a:cubicBezTo>
                  <a:cubicBezTo>
                    <a:pt x="40" y="11"/>
                    <a:pt x="33" y="2"/>
                    <a:pt x="29" y="1"/>
                  </a:cubicBezTo>
                  <a:cubicBezTo>
                    <a:pt x="25" y="0"/>
                    <a:pt x="14" y="4"/>
                    <a:pt x="10" y="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27" name="Freeform 565"/>
            <p:cNvSpPr>
              <a:spLocks/>
            </p:cNvSpPr>
            <p:nvPr>
              <p:custDataLst>
                <p:tags r:id="rId95"/>
              </p:custDataLst>
            </p:nvPr>
          </p:nvSpPr>
          <p:spPr bwMode="gray">
            <a:xfrm>
              <a:off x="3048115" y="1737972"/>
              <a:ext cx="152730" cy="346122"/>
            </a:xfrm>
            <a:custGeom>
              <a:avLst/>
              <a:gdLst>
                <a:gd name="T0" fmla="*/ 123 w 158"/>
                <a:gd name="T1" fmla="*/ 16 h 358"/>
                <a:gd name="T2" fmla="*/ 117 w 158"/>
                <a:gd name="T3" fmla="*/ 41 h 358"/>
                <a:gd name="T4" fmla="*/ 111 w 158"/>
                <a:gd name="T5" fmla="*/ 49 h 358"/>
                <a:gd name="T6" fmla="*/ 129 w 158"/>
                <a:gd name="T7" fmla="*/ 92 h 358"/>
                <a:gd name="T8" fmla="*/ 129 w 158"/>
                <a:gd name="T9" fmla="*/ 131 h 358"/>
                <a:gd name="T10" fmla="*/ 132 w 158"/>
                <a:gd name="T11" fmla="*/ 154 h 358"/>
                <a:gd name="T12" fmla="*/ 141 w 158"/>
                <a:gd name="T13" fmla="*/ 188 h 358"/>
                <a:gd name="T14" fmla="*/ 143 w 158"/>
                <a:gd name="T15" fmla="*/ 256 h 358"/>
                <a:gd name="T16" fmla="*/ 152 w 158"/>
                <a:gd name="T17" fmla="*/ 271 h 358"/>
                <a:gd name="T18" fmla="*/ 153 w 158"/>
                <a:gd name="T19" fmla="*/ 298 h 358"/>
                <a:gd name="T20" fmla="*/ 140 w 158"/>
                <a:gd name="T21" fmla="*/ 308 h 358"/>
                <a:gd name="T22" fmla="*/ 140 w 158"/>
                <a:gd name="T23" fmla="*/ 323 h 358"/>
                <a:gd name="T24" fmla="*/ 129 w 158"/>
                <a:gd name="T25" fmla="*/ 331 h 358"/>
                <a:gd name="T26" fmla="*/ 111 w 158"/>
                <a:gd name="T27" fmla="*/ 329 h 358"/>
                <a:gd name="T28" fmla="*/ 104 w 158"/>
                <a:gd name="T29" fmla="*/ 346 h 358"/>
                <a:gd name="T30" fmla="*/ 71 w 158"/>
                <a:gd name="T31" fmla="*/ 349 h 358"/>
                <a:gd name="T32" fmla="*/ 54 w 158"/>
                <a:gd name="T33" fmla="*/ 353 h 358"/>
                <a:gd name="T34" fmla="*/ 41 w 158"/>
                <a:gd name="T35" fmla="*/ 358 h 358"/>
                <a:gd name="T36" fmla="*/ 12 w 158"/>
                <a:gd name="T37" fmla="*/ 334 h 358"/>
                <a:gd name="T38" fmla="*/ 5 w 158"/>
                <a:gd name="T39" fmla="*/ 265 h 358"/>
                <a:gd name="T40" fmla="*/ 27 w 158"/>
                <a:gd name="T41" fmla="*/ 247 h 358"/>
                <a:gd name="T42" fmla="*/ 39 w 158"/>
                <a:gd name="T43" fmla="*/ 221 h 358"/>
                <a:gd name="T44" fmla="*/ 53 w 158"/>
                <a:gd name="T45" fmla="*/ 211 h 358"/>
                <a:gd name="T46" fmla="*/ 47 w 158"/>
                <a:gd name="T47" fmla="*/ 175 h 358"/>
                <a:gd name="T48" fmla="*/ 50 w 158"/>
                <a:gd name="T49" fmla="*/ 116 h 358"/>
                <a:gd name="T50" fmla="*/ 42 w 158"/>
                <a:gd name="T51" fmla="*/ 88 h 358"/>
                <a:gd name="T52" fmla="*/ 36 w 158"/>
                <a:gd name="T53" fmla="*/ 76 h 358"/>
                <a:gd name="T54" fmla="*/ 33 w 158"/>
                <a:gd name="T55" fmla="*/ 71 h 358"/>
                <a:gd name="T56" fmla="*/ 24 w 158"/>
                <a:gd name="T57" fmla="*/ 62 h 358"/>
                <a:gd name="T58" fmla="*/ 35 w 158"/>
                <a:gd name="T59" fmla="*/ 55 h 358"/>
                <a:gd name="T60" fmla="*/ 51 w 158"/>
                <a:gd name="T61" fmla="*/ 55 h 358"/>
                <a:gd name="T62" fmla="*/ 66 w 158"/>
                <a:gd name="T63" fmla="*/ 64 h 358"/>
                <a:gd name="T64" fmla="*/ 75 w 158"/>
                <a:gd name="T65" fmla="*/ 38 h 358"/>
                <a:gd name="T66" fmla="*/ 74 w 158"/>
                <a:gd name="T67" fmla="*/ 25 h 358"/>
                <a:gd name="T68" fmla="*/ 77 w 158"/>
                <a:gd name="T69" fmla="*/ 13 h 358"/>
                <a:gd name="T70" fmla="*/ 98 w 158"/>
                <a:gd name="T71" fmla="*/ 10 h 358"/>
                <a:gd name="T72" fmla="*/ 123 w 158"/>
                <a:gd name="T73" fmla="*/ 16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 h="358">
                  <a:moveTo>
                    <a:pt x="123" y="16"/>
                  </a:moveTo>
                  <a:cubicBezTo>
                    <a:pt x="122" y="24"/>
                    <a:pt x="121" y="33"/>
                    <a:pt x="117" y="41"/>
                  </a:cubicBezTo>
                  <a:cubicBezTo>
                    <a:pt x="116" y="44"/>
                    <a:pt x="111" y="46"/>
                    <a:pt x="111" y="49"/>
                  </a:cubicBezTo>
                  <a:cubicBezTo>
                    <a:pt x="109" y="74"/>
                    <a:pt x="119" y="75"/>
                    <a:pt x="129" y="92"/>
                  </a:cubicBezTo>
                  <a:cubicBezTo>
                    <a:pt x="131" y="105"/>
                    <a:pt x="135" y="119"/>
                    <a:pt x="129" y="131"/>
                  </a:cubicBezTo>
                  <a:cubicBezTo>
                    <a:pt x="131" y="138"/>
                    <a:pt x="130" y="147"/>
                    <a:pt x="132" y="154"/>
                  </a:cubicBezTo>
                  <a:cubicBezTo>
                    <a:pt x="133" y="167"/>
                    <a:pt x="140" y="175"/>
                    <a:pt x="141" y="188"/>
                  </a:cubicBezTo>
                  <a:cubicBezTo>
                    <a:pt x="141" y="211"/>
                    <a:pt x="134" y="229"/>
                    <a:pt x="143" y="256"/>
                  </a:cubicBezTo>
                  <a:cubicBezTo>
                    <a:pt x="146" y="262"/>
                    <a:pt x="149" y="263"/>
                    <a:pt x="152" y="271"/>
                  </a:cubicBezTo>
                  <a:cubicBezTo>
                    <a:pt x="153" y="280"/>
                    <a:pt x="158" y="290"/>
                    <a:pt x="153" y="298"/>
                  </a:cubicBezTo>
                  <a:cubicBezTo>
                    <a:pt x="152" y="305"/>
                    <a:pt x="145" y="304"/>
                    <a:pt x="140" y="308"/>
                  </a:cubicBezTo>
                  <a:cubicBezTo>
                    <a:pt x="137" y="311"/>
                    <a:pt x="142" y="319"/>
                    <a:pt x="140" y="323"/>
                  </a:cubicBezTo>
                  <a:cubicBezTo>
                    <a:pt x="138" y="327"/>
                    <a:pt x="134" y="330"/>
                    <a:pt x="129" y="331"/>
                  </a:cubicBezTo>
                  <a:cubicBezTo>
                    <a:pt x="126" y="334"/>
                    <a:pt x="111" y="329"/>
                    <a:pt x="111" y="329"/>
                  </a:cubicBezTo>
                  <a:cubicBezTo>
                    <a:pt x="109" y="337"/>
                    <a:pt x="113" y="345"/>
                    <a:pt x="104" y="346"/>
                  </a:cubicBezTo>
                  <a:cubicBezTo>
                    <a:pt x="93" y="347"/>
                    <a:pt x="71" y="349"/>
                    <a:pt x="71" y="349"/>
                  </a:cubicBezTo>
                  <a:cubicBezTo>
                    <a:pt x="65" y="350"/>
                    <a:pt x="60" y="352"/>
                    <a:pt x="54" y="353"/>
                  </a:cubicBezTo>
                  <a:cubicBezTo>
                    <a:pt x="50" y="355"/>
                    <a:pt x="45" y="356"/>
                    <a:pt x="41" y="358"/>
                  </a:cubicBezTo>
                  <a:cubicBezTo>
                    <a:pt x="29" y="353"/>
                    <a:pt x="22" y="342"/>
                    <a:pt x="12" y="334"/>
                  </a:cubicBezTo>
                  <a:cubicBezTo>
                    <a:pt x="0" y="311"/>
                    <a:pt x="18" y="287"/>
                    <a:pt x="5" y="265"/>
                  </a:cubicBezTo>
                  <a:cubicBezTo>
                    <a:pt x="7" y="254"/>
                    <a:pt x="20" y="254"/>
                    <a:pt x="27" y="247"/>
                  </a:cubicBezTo>
                  <a:cubicBezTo>
                    <a:pt x="32" y="235"/>
                    <a:pt x="29" y="228"/>
                    <a:pt x="39" y="221"/>
                  </a:cubicBezTo>
                  <a:cubicBezTo>
                    <a:pt x="44" y="212"/>
                    <a:pt x="41" y="213"/>
                    <a:pt x="53" y="211"/>
                  </a:cubicBezTo>
                  <a:cubicBezTo>
                    <a:pt x="59" y="201"/>
                    <a:pt x="56" y="182"/>
                    <a:pt x="47" y="175"/>
                  </a:cubicBezTo>
                  <a:cubicBezTo>
                    <a:pt x="46" y="159"/>
                    <a:pt x="51" y="130"/>
                    <a:pt x="50" y="116"/>
                  </a:cubicBezTo>
                  <a:cubicBezTo>
                    <a:pt x="49" y="102"/>
                    <a:pt x="44" y="95"/>
                    <a:pt x="42" y="88"/>
                  </a:cubicBezTo>
                  <a:cubicBezTo>
                    <a:pt x="40" y="81"/>
                    <a:pt x="37" y="79"/>
                    <a:pt x="36" y="76"/>
                  </a:cubicBezTo>
                  <a:cubicBezTo>
                    <a:pt x="35" y="73"/>
                    <a:pt x="35" y="73"/>
                    <a:pt x="33" y="71"/>
                  </a:cubicBezTo>
                  <a:cubicBezTo>
                    <a:pt x="31" y="69"/>
                    <a:pt x="24" y="65"/>
                    <a:pt x="24" y="62"/>
                  </a:cubicBezTo>
                  <a:cubicBezTo>
                    <a:pt x="24" y="59"/>
                    <a:pt x="31" y="56"/>
                    <a:pt x="35" y="55"/>
                  </a:cubicBezTo>
                  <a:cubicBezTo>
                    <a:pt x="39" y="54"/>
                    <a:pt x="46" y="54"/>
                    <a:pt x="51" y="55"/>
                  </a:cubicBezTo>
                  <a:cubicBezTo>
                    <a:pt x="58" y="52"/>
                    <a:pt x="62" y="67"/>
                    <a:pt x="66" y="64"/>
                  </a:cubicBezTo>
                  <a:cubicBezTo>
                    <a:pt x="70" y="61"/>
                    <a:pt x="74" y="45"/>
                    <a:pt x="75" y="38"/>
                  </a:cubicBezTo>
                  <a:cubicBezTo>
                    <a:pt x="76" y="31"/>
                    <a:pt x="74" y="29"/>
                    <a:pt x="74" y="25"/>
                  </a:cubicBezTo>
                  <a:cubicBezTo>
                    <a:pt x="74" y="21"/>
                    <a:pt x="73" y="15"/>
                    <a:pt x="77" y="13"/>
                  </a:cubicBezTo>
                  <a:cubicBezTo>
                    <a:pt x="84" y="11"/>
                    <a:pt x="91" y="11"/>
                    <a:pt x="98" y="10"/>
                  </a:cubicBezTo>
                  <a:cubicBezTo>
                    <a:pt x="112" y="0"/>
                    <a:pt x="112" y="16"/>
                    <a:pt x="123" y="16"/>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28" name="Freeform 568"/>
            <p:cNvSpPr>
              <a:spLocks/>
            </p:cNvSpPr>
            <p:nvPr>
              <p:custDataLst>
                <p:tags r:id="rId96"/>
              </p:custDataLst>
            </p:nvPr>
          </p:nvSpPr>
          <p:spPr bwMode="gray">
            <a:xfrm>
              <a:off x="2916918" y="1785523"/>
              <a:ext cx="180785" cy="413270"/>
            </a:xfrm>
            <a:custGeom>
              <a:avLst/>
              <a:gdLst/>
              <a:ahLst/>
              <a:cxnLst/>
              <a:rect l="l" t="t" r="r" b="b"/>
              <a:pathLst>
                <a:path w="289383" h="661523">
                  <a:moveTo>
                    <a:pt x="176577" y="566539"/>
                  </a:moveTo>
                  <a:cubicBezTo>
                    <a:pt x="179668" y="568855"/>
                    <a:pt x="181213" y="569241"/>
                    <a:pt x="181213" y="570012"/>
                  </a:cubicBezTo>
                  <a:lnTo>
                    <a:pt x="176577" y="575801"/>
                  </a:lnTo>
                  <a:cubicBezTo>
                    <a:pt x="167306" y="581976"/>
                    <a:pt x="164215" y="591238"/>
                    <a:pt x="162670" y="602044"/>
                  </a:cubicBezTo>
                  <a:cubicBezTo>
                    <a:pt x="151853" y="625200"/>
                    <a:pt x="150308" y="634462"/>
                    <a:pt x="148762" y="589695"/>
                  </a:cubicBezTo>
                  <a:cubicBezTo>
                    <a:pt x="151853" y="568083"/>
                    <a:pt x="153398" y="569627"/>
                    <a:pt x="176577" y="566539"/>
                  </a:cubicBezTo>
                  <a:close/>
                  <a:moveTo>
                    <a:pt x="232210" y="0"/>
                  </a:moveTo>
                  <a:cubicBezTo>
                    <a:pt x="231981" y="2115"/>
                    <a:pt x="229867" y="9267"/>
                    <a:pt x="232210" y="9267"/>
                  </a:cubicBezTo>
                  <a:lnTo>
                    <a:pt x="238398" y="18534"/>
                  </a:lnTo>
                  <a:cubicBezTo>
                    <a:pt x="243017" y="27801"/>
                    <a:pt x="244557" y="26256"/>
                    <a:pt x="255393" y="27801"/>
                  </a:cubicBezTo>
                  <a:cubicBezTo>
                    <a:pt x="266200" y="32434"/>
                    <a:pt x="258473" y="46335"/>
                    <a:pt x="269309" y="47879"/>
                  </a:cubicBezTo>
                  <a:cubicBezTo>
                    <a:pt x="270849" y="55602"/>
                    <a:pt x="283195" y="70979"/>
                    <a:pt x="283195" y="70979"/>
                  </a:cubicBezTo>
                  <a:cubicBezTo>
                    <a:pt x="284735" y="80246"/>
                    <a:pt x="289383" y="91057"/>
                    <a:pt x="289383" y="98780"/>
                  </a:cubicBezTo>
                  <a:cubicBezTo>
                    <a:pt x="289383" y="106502"/>
                    <a:pt x="286304" y="114225"/>
                    <a:pt x="284735" y="121947"/>
                  </a:cubicBezTo>
                  <a:cubicBezTo>
                    <a:pt x="283195" y="129669"/>
                    <a:pt x="284735" y="140481"/>
                    <a:pt x="284735" y="148203"/>
                  </a:cubicBezTo>
                  <a:cubicBezTo>
                    <a:pt x="283195" y="157470"/>
                    <a:pt x="281656" y="157470"/>
                    <a:pt x="284735" y="166737"/>
                  </a:cubicBezTo>
                  <a:cubicBezTo>
                    <a:pt x="278576" y="205282"/>
                    <a:pt x="258473" y="171370"/>
                    <a:pt x="232210" y="191448"/>
                  </a:cubicBezTo>
                  <a:cubicBezTo>
                    <a:pt x="222943" y="216093"/>
                    <a:pt x="221403" y="240805"/>
                    <a:pt x="210567" y="265516"/>
                  </a:cubicBezTo>
                  <a:cubicBezTo>
                    <a:pt x="209027" y="277872"/>
                    <a:pt x="209027" y="280961"/>
                    <a:pt x="199760" y="288683"/>
                  </a:cubicBezTo>
                  <a:cubicBezTo>
                    <a:pt x="193572" y="299495"/>
                    <a:pt x="190493" y="301039"/>
                    <a:pt x="178117" y="302584"/>
                  </a:cubicBezTo>
                  <a:cubicBezTo>
                    <a:pt x="170389" y="316484"/>
                    <a:pt x="150315" y="316484"/>
                    <a:pt x="139479" y="330384"/>
                  </a:cubicBezTo>
                  <a:cubicBezTo>
                    <a:pt x="134859" y="344218"/>
                    <a:pt x="137939" y="358118"/>
                    <a:pt x="125592" y="367385"/>
                  </a:cubicBezTo>
                  <a:cubicBezTo>
                    <a:pt x="124052" y="387463"/>
                    <a:pt x="116325" y="422986"/>
                    <a:pt x="130211" y="441520"/>
                  </a:cubicBezTo>
                  <a:cubicBezTo>
                    <a:pt x="131751" y="452331"/>
                    <a:pt x="144127" y="456964"/>
                    <a:pt x="153394" y="463142"/>
                  </a:cubicBezTo>
                  <a:cubicBezTo>
                    <a:pt x="162661" y="481609"/>
                    <a:pt x="161122" y="503232"/>
                    <a:pt x="139479" y="506321"/>
                  </a:cubicBezTo>
                  <a:cubicBezTo>
                    <a:pt x="134859" y="515587"/>
                    <a:pt x="127132" y="532577"/>
                    <a:pt x="120944" y="537210"/>
                  </a:cubicBezTo>
                  <a:cubicBezTo>
                    <a:pt x="114756" y="541844"/>
                    <a:pt x="103949" y="529488"/>
                    <a:pt x="102409" y="532577"/>
                  </a:cubicBezTo>
                  <a:cubicBezTo>
                    <a:pt x="103949" y="541844"/>
                    <a:pt x="107028" y="551111"/>
                    <a:pt x="108597" y="560377"/>
                  </a:cubicBezTo>
                  <a:cubicBezTo>
                    <a:pt x="107028" y="578911"/>
                    <a:pt x="116325" y="585089"/>
                    <a:pt x="103949" y="594356"/>
                  </a:cubicBezTo>
                  <a:lnTo>
                    <a:pt x="101415" y="607430"/>
                  </a:lnTo>
                  <a:cubicBezTo>
                    <a:pt x="101636" y="612558"/>
                    <a:pt x="108597" y="600131"/>
                    <a:pt x="108597" y="626723"/>
                  </a:cubicBezTo>
                  <a:cubicBezTo>
                    <a:pt x="108597" y="645257"/>
                    <a:pt x="60691" y="652979"/>
                    <a:pt x="48316" y="657612"/>
                  </a:cubicBezTo>
                  <a:cubicBezTo>
                    <a:pt x="34400" y="668424"/>
                    <a:pt x="34400" y="654523"/>
                    <a:pt x="29781" y="643712"/>
                  </a:cubicBezTo>
                  <a:cubicBezTo>
                    <a:pt x="28241" y="623634"/>
                    <a:pt x="18945" y="608189"/>
                    <a:pt x="6598" y="592811"/>
                  </a:cubicBezTo>
                  <a:cubicBezTo>
                    <a:pt x="5058" y="585089"/>
                    <a:pt x="1950" y="578911"/>
                    <a:pt x="410" y="571189"/>
                  </a:cubicBezTo>
                  <a:cubicBezTo>
                    <a:pt x="-1130" y="558833"/>
                    <a:pt x="1950" y="527943"/>
                    <a:pt x="5058" y="514043"/>
                  </a:cubicBezTo>
                  <a:cubicBezTo>
                    <a:pt x="8138" y="500143"/>
                    <a:pt x="11246" y="498598"/>
                    <a:pt x="14326" y="492420"/>
                  </a:cubicBezTo>
                  <a:cubicBezTo>
                    <a:pt x="18945" y="486242"/>
                    <a:pt x="20514" y="480064"/>
                    <a:pt x="23593" y="472342"/>
                  </a:cubicBezTo>
                  <a:cubicBezTo>
                    <a:pt x="22053" y="447698"/>
                    <a:pt x="29781" y="416808"/>
                    <a:pt x="6598" y="402908"/>
                  </a:cubicBezTo>
                  <a:cubicBezTo>
                    <a:pt x="5058" y="393641"/>
                    <a:pt x="5058" y="387463"/>
                    <a:pt x="9677" y="379741"/>
                  </a:cubicBezTo>
                  <a:cubicBezTo>
                    <a:pt x="11246" y="345762"/>
                    <a:pt x="410" y="311851"/>
                    <a:pt x="29781" y="293317"/>
                  </a:cubicBezTo>
                  <a:cubicBezTo>
                    <a:pt x="32860" y="279417"/>
                    <a:pt x="48316" y="284050"/>
                    <a:pt x="60691" y="282506"/>
                  </a:cubicBezTo>
                  <a:cubicBezTo>
                    <a:pt x="66850" y="271694"/>
                    <a:pt x="65311" y="270150"/>
                    <a:pt x="56043" y="263972"/>
                  </a:cubicBezTo>
                  <a:cubicBezTo>
                    <a:pt x="54504" y="257794"/>
                    <a:pt x="46776" y="256249"/>
                    <a:pt x="46776" y="251616"/>
                  </a:cubicBezTo>
                  <a:cubicBezTo>
                    <a:pt x="46776" y="246983"/>
                    <a:pt x="49855" y="242349"/>
                    <a:pt x="52964" y="233082"/>
                  </a:cubicBezTo>
                  <a:cubicBezTo>
                    <a:pt x="56043" y="223815"/>
                    <a:pt x="63771" y="202193"/>
                    <a:pt x="66850" y="191448"/>
                  </a:cubicBezTo>
                  <a:cubicBezTo>
                    <a:pt x="69959" y="180637"/>
                    <a:pt x="65311" y="174459"/>
                    <a:pt x="69959" y="168281"/>
                  </a:cubicBezTo>
                  <a:cubicBezTo>
                    <a:pt x="73038" y="160559"/>
                    <a:pt x="79226" y="155925"/>
                    <a:pt x="83874" y="148203"/>
                  </a:cubicBezTo>
                  <a:cubicBezTo>
                    <a:pt x="90033" y="138936"/>
                    <a:pt x="97761" y="134303"/>
                    <a:pt x="102409" y="125036"/>
                  </a:cubicBezTo>
                  <a:cubicBezTo>
                    <a:pt x="103949" y="114225"/>
                    <a:pt x="108597" y="104958"/>
                    <a:pt x="111676" y="94146"/>
                  </a:cubicBezTo>
                  <a:cubicBezTo>
                    <a:pt x="114756" y="81791"/>
                    <a:pt x="114756" y="66346"/>
                    <a:pt x="122484" y="57146"/>
                  </a:cubicBezTo>
                  <a:cubicBezTo>
                    <a:pt x="130211" y="47879"/>
                    <a:pt x="142587" y="47879"/>
                    <a:pt x="154934" y="41701"/>
                  </a:cubicBezTo>
                  <a:lnTo>
                    <a:pt x="165129" y="31373"/>
                  </a:lnTo>
                  <a:cubicBezTo>
                    <a:pt x="166438" y="24133"/>
                    <a:pt x="149922" y="24712"/>
                    <a:pt x="195112" y="20079"/>
                  </a:cubicBezTo>
                  <a:cubicBezTo>
                    <a:pt x="204379" y="13901"/>
                    <a:pt x="204379" y="7723"/>
                    <a:pt x="210567" y="4634"/>
                  </a:cubicBezTo>
                  <a:cubicBezTo>
                    <a:pt x="216755" y="1545"/>
                    <a:pt x="229131" y="0"/>
                    <a:pt x="232210"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29" name="Freeform 573"/>
            <p:cNvSpPr>
              <a:spLocks/>
            </p:cNvSpPr>
            <p:nvPr>
              <p:custDataLst>
                <p:tags r:id="rId97"/>
              </p:custDataLst>
            </p:nvPr>
          </p:nvSpPr>
          <p:spPr bwMode="gray">
            <a:xfrm>
              <a:off x="2815187" y="1125017"/>
              <a:ext cx="381818" cy="1016598"/>
            </a:xfrm>
            <a:custGeom>
              <a:avLst/>
              <a:gdLst/>
              <a:ahLst/>
              <a:cxnLst/>
              <a:rect l="l" t="t" r="r" b="b"/>
              <a:pathLst>
                <a:path w="611177" h="1627272">
                  <a:moveTo>
                    <a:pt x="470007" y="909739"/>
                  </a:moveTo>
                  <a:cubicBezTo>
                    <a:pt x="482168" y="908774"/>
                    <a:pt x="494521" y="909546"/>
                    <a:pt x="503014" y="915720"/>
                  </a:cubicBezTo>
                  <a:cubicBezTo>
                    <a:pt x="503014" y="915720"/>
                    <a:pt x="521544" y="918807"/>
                    <a:pt x="530809" y="920351"/>
                  </a:cubicBezTo>
                  <a:cubicBezTo>
                    <a:pt x="557060" y="923438"/>
                    <a:pt x="564781" y="928068"/>
                    <a:pt x="580222" y="948134"/>
                  </a:cubicBezTo>
                  <a:cubicBezTo>
                    <a:pt x="587943" y="952764"/>
                    <a:pt x="594120" y="954308"/>
                    <a:pt x="598752" y="962025"/>
                  </a:cubicBezTo>
                  <a:cubicBezTo>
                    <a:pt x="608017" y="966655"/>
                    <a:pt x="615738" y="962025"/>
                    <a:pt x="608017" y="974373"/>
                  </a:cubicBezTo>
                  <a:cubicBezTo>
                    <a:pt x="598752" y="975916"/>
                    <a:pt x="592576" y="979003"/>
                    <a:pt x="584855" y="983634"/>
                  </a:cubicBezTo>
                  <a:cubicBezTo>
                    <a:pt x="577134" y="985177"/>
                    <a:pt x="570957" y="988264"/>
                    <a:pt x="563236" y="989808"/>
                  </a:cubicBezTo>
                  <a:cubicBezTo>
                    <a:pt x="570957" y="992895"/>
                    <a:pt x="574818" y="996754"/>
                    <a:pt x="574625" y="1000226"/>
                  </a:cubicBezTo>
                  <a:lnTo>
                    <a:pt x="561692" y="1008330"/>
                  </a:lnTo>
                  <a:cubicBezTo>
                    <a:pt x="557060" y="1005243"/>
                    <a:pt x="546251" y="995982"/>
                    <a:pt x="540074" y="994438"/>
                  </a:cubicBezTo>
                  <a:cubicBezTo>
                    <a:pt x="533897" y="992895"/>
                    <a:pt x="529265" y="994438"/>
                    <a:pt x="521544" y="994438"/>
                  </a:cubicBezTo>
                  <a:cubicBezTo>
                    <a:pt x="513823" y="995982"/>
                    <a:pt x="499926" y="997525"/>
                    <a:pt x="493749" y="1006786"/>
                  </a:cubicBezTo>
                  <a:cubicBezTo>
                    <a:pt x="487572" y="1016047"/>
                    <a:pt x="492205" y="1040743"/>
                    <a:pt x="487572" y="1053091"/>
                  </a:cubicBezTo>
                  <a:cubicBezTo>
                    <a:pt x="486028" y="1065439"/>
                    <a:pt x="475219" y="1079331"/>
                    <a:pt x="470586" y="1080874"/>
                  </a:cubicBezTo>
                  <a:cubicBezTo>
                    <a:pt x="464410" y="1082418"/>
                    <a:pt x="453601" y="1068526"/>
                    <a:pt x="445880" y="1066983"/>
                  </a:cubicBezTo>
                  <a:cubicBezTo>
                    <a:pt x="438159" y="1065439"/>
                    <a:pt x="428894" y="1070070"/>
                    <a:pt x="422717" y="1071613"/>
                  </a:cubicBezTo>
                  <a:cubicBezTo>
                    <a:pt x="416540" y="1073157"/>
                    <a:pt x="414996" y="1080874"/>
                    <a:pt x="408820" y="1076244"/>
                  </a:cubicBezTo>
                  <a:cubicBezTo>
                    <a:pt x="396466" y="1070070"/>
                    <a:pt x="398010" y="1056178"/>
                    <a:pt x="391834" y="1043830"/>
                  </a:cubicBezTo>
                  <a:lnTo>
                    <a:pt x="385657" y="1040743"/>
                  </a:lnTo>
                  <a:cubicBezTo>
                    <a:pt x="384499" y="1043059"/>
                    <a:pt x="391158" y="1064475"/>
                    <a:pt x="388697" y="1067224"/>
                  </a:cubicBezTo>
                  <a:lnTo>
                    <a:pt x="382569" y="1062352"/>
                  </a:lnTo>
                  <a:cubicBezTo>
                    <a:pt x="379480" y="1068526"/>
                    <a:pt x="368671" y="1071613"/>
                    <a:pt x="364039" y="1076244"/>
                  </a:cubicBezTo>
                  <a:cubicBezTo>
                    <a:pt x="359406" y="1080874"/>
                    <a:pt x="357862" y="1087048"/>
                    <a:pt x="353230" y="1087048"/>
                  </a:cubicBezTo>
                  <a:cubicBezTo>
                    <a:pt x="339332" y="1083961"/>
                    <a:pt x="348597" y="1087048"/>
                    <a:pt x="334700" y="1080874"/>
                  </a:cubicBezTo>
                  <a:cubicBezTo>
                    <a:pt x="331611" y="1079331"/>
                    <a:pt x="328523" y="1074700"/>
                    <a:pt x="326979" y="1077787"/>
                  </a:cubicBezTo>
                  <a:cubicBezTo>
                    <a:pt x="323890" y="1083961"/>
                    <a:pt x="326979" y="1091679"/>
                    <a:pt x="325435" y="1099396"/>
                  </a:cubicBezTo>
                  <a:cubicBezTo>
                    <a:pt x="325435" y="1102483"/>
                    <a:pt x="322346" y="1104027"/>
                    <a:pt x="320802" y="1105570"/>
                  </a:cubicBezTo>
                  <a:cubicBezTo>
                    <a:pt x="309993" y="1107114"/>
                    <a:pt x="299184" y="1105570"/>
                    <a:pt x="289919" y="1110201"/>
                  </a:cubicBezTo>
                  <a:cubicBezTo>
                    <a:pt x="282198" y="1119462"/>
                    <a:pt x="279109" y="1144158"/>
                    <a:pt x="274477" y="1156506"/>
                  </a:cubicBezTo>
                  <a:cubicBezTo>
                    <a:pt x="269844" y="1168854"/>
                    <a:pt x="271389" y="1173484"/>
                    <a:pt x="266756" y="1184289"/>
                  </a:cubicBezTo>
                  <a:cubicBezTo>
                    <a:pt x="254403" y="1190463"/>
                    <a:pt x="249770" y="1204354"/>
                    <a:pt x="243594" y="1216702"/>
                  </a:cubicBezTo>
                  <a:cubicBezTo>
                    <a:pt x="237417" y="1227506"/>
                    <a:pt x="234329" y="1233680"/>
                    <a:pt x="229696" y="1244485"/>
                  </a:cubicBezTo>
                  <a:cubicBezTo>
                    <a:pt x="225064" y="1255289"/>
                    <a:pt x="220431" y="1270724"/>
                    <a:pt x="218887" y="1281529"/>
                  </a:cubicBezTo>
                  <a:cubicBezTo>
                    <a:pt x="214254" y="1292333"/>
                    <a:pt x="211166" y="1298507"/>
                    <a:pt x="209622" y="1309312"/>
                  </a:cubicBezTo>
                  <a:cubicBezTo>
                    <a:pt x="209622" y="1317029"/>
                    <a:pt x="220431" y="1323203"/>
                    <a:pt x="220431" y="1327834"/>
                  </a:cubicBezTo>
                  <a:cubicBezTo>
                    <a:pt x="220431" y="1332464"/>
                    <a:pt x="218887" y="1337095"/>
                    <a:pt x="214254" y="1340182"/>
                  </a:cubicBezTo>
                  <a:cubicBezTo>
                    <a:pt x="209622" y="1343269"/>
                    <a:pt x="198813" y="1341725"/>
                    <a:pt x="192636" y="1346356"/>
                  </a:cubicBezTo>
                  <a:cubicBezTo>
                    <a:pt x="186459" y="1350986"/>
                    <a:pt x="180283" y="1360247"/>
                    <a:pt x="177194" y="1371052"/>
                  </a:cubicBezTo>
                  <a:cubicBezTo>
                    <a:pt x="174106" y="1381856"/>
                    <a:pt x="174106" y="1400378"/>
                    <a:pt x="174106" y="1409639"/>
                  </a:cubicBezTo>
                  <a:cubicBezTo>
                    <a:pt x="174106" y="1418900"/>
                    <a:pt x="178738" y="1420444"/>
                    <a:pt x="177194" y="1428161"/>
                  </a:cubicBezTo>
                  <a:cubicBezTo>
                    <a:pt x="174106" y="1435879"/>
                    <a:pt x="172562" y="1443596"/>
                    <a:pt x="169473" y="1451314"/>
                  </a:cubicBezTo>
                  <a:cubicBezTo>
                    <a:pt x="178738" y="1471379"/>
                    <a:pt x="177194" y="1452857"/>
                    <a:pt x="181827" y="1488357"/>
                  </a:cubicBezTo>
                  <a:cubicBezTo>
                    <a:pt x="191092" y="1499162"/>
                    <a:pt x="194180" y="1517684"/>
                    <a:pt x="188003" y="1531575"/>
                  </a:cubicBezTo>
                  <a:cubicBezTo>
                    <a:pt x="175650" y="1540836"/>
                    <a:pt x="178738" y="1559358"/>
                    <a:pt x="167929" y="1571706"/>
                  </a:cubicBezTo>
                  <a:cubicBezTo>
                    <a:pt x="158664" y="1573250"/>
                    <a:pt x="146311" y="1570163"/>
                    <a:pt x="140134" y="1576337"/>
                  </a:cubicBezTo>
                  <a:cubicBezTo>
                    <a:pt x="137132" y="1576337"/>
                    <a:pt x="136075" y="1573095"/>
                    <a:pt x="135502" y="1571706"/>
                  </a:cubicBezTo>
                  <a:cubicBezTo>
                    <a:pt x="135502" y="1574793"/>
                    <a:pt x="140134" y="1593315"/>
                    <a:pt x="137046" y="1594859"/>
                  </a:cubicBezTo>
                  <a:cubicBezTo>
                    <a:pt x="135502" y="1599489"/>
                    <a:pt x="116972" y="1585598"/>
                    <a:pt x="113883" y="1590228"/>
                  </a:cubicBezTo>
                  <a:cubicBezTo>
                    <a:pt x="107707" y="1591772"/>
                    <a:pt x="106163" y="1604120"/>
                    <a:pt x="103074" y="1608750"/>
                  </a:cubicBezTo>
                  <a:cubicBezTo>
                    <a:pt x="99986" y="1613381"/>
                    <a:pt x="103074" y="1621098"/>
                    <a:pt x="93809" y="1622642"/>
                  </a:cubicBezTo>
                  <a:cubicBezTo>
                    <a:pt x="78368" y="1627272"/>
                    <a:pt x="73735" y="1625729"/>
                    <a:pt x="56749" y="1627272"/>
                  </a:cubicBezTo>
                  <a:cubicBezTo>
                    <a:pt x="38219" y="1622642"/>
                    <a:pt x="41307" y="1618011"/>
                    <a:pt x="30498" y="1604120"/>
                  </a:cubicBezTo>
                  <a:cubicBezTo>
                    <a:pt x="24322" y="1596402"/>
                    <a:pt x="22777" y="1594859"/>
                    <a:pt x="19689" y="1585598"/>
                  </a:cubicBezTo>
                  <a:cubicBezTo>
                    <a:pt x="16601" y="1576337"/>
                    <a:pt x="11968" y="1551641"/>
                    <a:pt x="10424" y="1543923"/>
                  </a:cubicBezTo>
                  <a:cubicBezTo>
                    <a:pt x="10424" y="1540836"/>
                    <a:pt x="2703" y="1543923"/>
                    <a:pt x="2703" y="1540836"/>
                  </a:cubicBezTo>
                  <a:cubicBezTo>
                    <a:pt x="-385" y="1526945"/>
                    <a:pt x="1159" y="1513053"/>
                    <a:pt x="1159" y="1499162"/>
                  </a:cubicBezTo>
                  <a:cubicBezTo>
                    <a:pt x="2703" y="1465205"/>
                    <a:pt x="-6562" y="1446683"/>
                    <a:pt x="10424" y="1423531"/>
                  </a:cubicBezTo>
                  <a:cubicBezTo>
                    <a:pt x="28954" y="1414270"/>
                    <a:pt x="76823" y="1384943"/>
                    <a:pt x="86088" y="1367965"/>
                  </a:cubicBezTo>
                  <a:cubicBezTo>
                    <a:pt x="92265" y="1355617"/>
                    <a:pt x="95353" y="1341725"/>
                    <a:pt x="103074" y="1330921"/>
                  </a:cubicBezTo>
                  <a:cubicBezTo>
                    <a:pt x="123148" y="1327834"/>
                    <a:pt x="129325" y="1332464"/>
                    <a:pt x="132413" y="1313942"/>
                  </a:cubicBezTo>
                  <a:cubicBezTo>
                    <a:pt x="137046" y="1304681"/>
                    <a:pt x="141678" y="1295420"/>
                    <a:pt x="144767" y="1286159"/>
                  </a:cubicBezTo>
                  <a:cubicBezTo>
                    <a:pt x="154032" y="1279985"/>
                    <a:pt x="158664" y="1283072"/>
                    <a:pt x="160208" y="1272268"/>
                  </a:cubicBezTo>
                  <a:cubicBezTo>
                    <a:pt x="169473" y="1255289"/>
                    <a:pt x="160208" y="1235224"/>
                    <a:pt x="172562" y="1219789"/>
                  </a:cubicBezTo>
                  <a:cubicBezTo>
                    <a:pt x="189548" y="1213615"/>
                    <a:pt x="197269" y="1192006"/>
                    <a:pt x="200357" y="1175028"/>
                  </a:cubicBezTo>
                  <a:cubicBezTo>
                    <a:pt x="211166" y="1168854"/>
                    <a:pt x="201901" y="1156506"/>
                    <a:pt x="211166" y="1145701"/>
                  </a:cubicBezTo>
                  <a:cubicBezTo>
                    <a:pt x="223519" y="1137984"/>
                    <a:pt x="251314" y="1114831"/>
                    <a:pt x="232784" y="1108657"/>
                  </a:cubicBezTo>
                  <a:cubicBezTo>
                    <a:pt x="217343" y="1116375"/>
                    <a:pt x="211166" y="1130266"/>
                    <a:pt x="191092" y="1141071"/>
                  </a:cubicBezTo>
                  <a:cubicBezTo>
                    <a:pt x="180283" y="1142614"/>
                    <a:pt x="171018" y="1158049"/>
                    <a:pt x="164841" y="1142614"/>
                  </a:cubicBezTo>
                  <a:cubicBezTo>
                    <a:pt x="191092" y="1137984"/>
                    <a:pt x="184915" y="1121005"/>
                    <a:pt x="201901" y="1104027"/>
                  </a:cubicBezTo>
                  <a:cubicBezTo>
                    <a:pt x="214254" y="1099396"/>
                    <a:pt x="208078" y="1091679"/>
                    <a:pt x="215799" y="1080874"/>
                  </a:cubicBezTo>
                  <a:cubicBezTo>
                    <a:pt x="225064" y="1074700"/>
                    <a:pt x="228152" y="1065439"/>
                    <a:pt x="229696" y="1054635"/>
                  </a:cubicBezTo>
                  <a:cubicBezTo>
                    <a:pt x="237417" y="1040743"/>
                    <a:pt x="243594" y="1040743"/>
                    <a:pt x="257491" y="1036113"/>
                  </a:cubicBezTo>
                  <a:cubicBezTo>
                    <a:pt x="262124" y="1043830"/>
                    <a:pt x="263668" y="1048461"/>
                    <a:pt x="271389" y="1054635"/>
                  </a:cubicBezTo>
                  <a:cubicBezTo>
                    <a:pt x="271389" y="1054635"/>
                    <a:pt x="272933" y="1026852"/>
                    <a:pt x="283742" y="1020678"/>
                  </a:cubicBezTo>
                  <a:cubicBezTo>
                    <a:pt x="300728" y="1017591"/>
                    <a:pt x="300728" y="1017591"/>
                    <a:pt x="306904" y="1003699"/>
                  </a:cubicBezTo>
                  <a:cubicBezTo>
                    <a:pt x="320802" y="992895"/>
                    <a:pt x="314625" y="980547"/>
                    <a:pt x="322346" y="966655"/>
                  </a:cubicBezTo>
                  <a:cubicBezTo>
                    <a:pt x="331611" y="965112"/>
                    <a:pt x="340876" y="962025"/>
                    <a:pt x="350141" y="957395"/>
                  </a:cubicBezTo>
                  <a:cubicBezTo>
                    <a:pt x="359406" y="960482"/>
                    <a:pt x="364039" y="965112"/>
                    <a:pt x="373304" y="966655"/>
                  </a:cubicBezTo>
                  <a:cubicBezTo>
                    <a:pt x="385657" y="965112"/>
                    <a:pt x="399555" y="963569"/>
                    <a:pt x="404187" y="952764"/>
                  </a:cubicBezTo>
                  <a:cubicBezTo>
                    <a:pt x="395694" y="951221"/>
                    <a:pt x="392220" y="947748"/>
                    <a:pt x="392606" y="944082"/>
                  </a:cubicBezTo>
                  <a:lnTo>
                    <a:pt x="404187" y="934242"/>
                  </a:lnTo>
                  <a:cubicBezTo>
                    <a:pt x="427350" y="932699"/>
                    <a:pt x="435070" y="935786"/>
                    <a:pt x="438159" y="914177"/>
                  </a:cubicBezTo>
                  <a:cubicBezTo>
                    <a:pt x="445880" y="913405"/>
                    <a:pt x="457847" y="910704"/>
                    <a:pt x="470007" y="909739"/>
                  </a:cubicBezTo>
                  <a:close/>
                  <a:moveTo>
                    <a:pt x="446112" y="0"/>
                  </a:moveTo>
                  <a:lnTo>
                    <a:pt x="454687" y="2416"/>
                  </a:lnTo>
                  <a:cubicBezTo>
                    <a:pt x="458030" y="3285"/>
                    <a:pt x="449600" y="1546"/>
                    <a:pt x="464715" y="15458"/>
                  </a:cubicBezTo>
                  <a:cubicBezTo>
                    <a:pt x="472467" y="23186"/>
                    <a:pt x="492621" y="34006"/>
                    <a:pt x="492621" y="34006"/>
                  </a:cubicBezTo>
                  <a:lnTo>
                    <a:pt x="495406" y="42894"/>
                  </a:lnTo>
                  <a:cubicBezTo>
                    <a:pt x="496206" y="44923"/>
                    <a:pt x="494171" y="31301"/>
                    <a:pt x="517425" y="46372"/>
                  </a:cubicBezTo>
                  <a:cubicBezTo>
                    <a:pt x="520526" y="47918"/>
                    <a:pt x="515875" y="52555"/>
                    <a:pt x="514325" y="55646"/>
                  </a:cubicBezTo>
                  <a:cubicBezTo>
                    <a:pt x="509674" y="72649"/>
                    <a:pt x="514325" y="95835"/>
                    <a:pt x="495721" y="102018"/>
                  </a:cubicBezTo>
                  <a:cubicBezTo>
                    <a:pt x="461615" y="154573"/>
                    <a:pt x="522076" y="143753"/>
                    <a:pt x="446112" y="151481"/>
                  </a:cubicBezTo>
                  <a:cubicBezTo>
                    <a:pt x="427508" y="163847"/>
                    <a:pt x="443011" y="168484"/>
                    <a:pt x="415106" y="163847"/>
                  </a:cubicBezTo>
                  <a:cubicBezTo>
                    <a:pt x="396503" y="151481"/>
                    <a:pt x="379449" y="154573"/>
                    <a:pt x="359295" y="157664"/>
                  </a:cubicBezTo>
                  <a:cubicBezTo>
                    <a:pt x="331390" y="166939"/>
                    <a:pt x="337591" y="160756"/>
                    <a:pt x="349994" y="166939"/>
                  </a:cubicBezTo>
                  <a:lnTo>
                    <a:pt x="360095" y="172518"/>
                  </a:lnTo>
                  <a:cubicBezTo>
                    <a:pt x="363365" y="175054"/>
                    <a:pt x="351156" y="170416"/>
                    <a:pt x="368597" y="176213"/>
                  </a:cubicBezTo>
                  <a:cubicBezTo>
                    <a:pt x="374798" y="193216"/>
                    <a:pt x="365497" y="207127"/>
                    <a:pt x="387201" y="200944"/>
                  </a:cubicBezTo>
                  <a:cubicBezTo>
                    <a:pt x="390301" y="211765"/>
                    <a:pt x="388751" y="224130"/>
                    <a:pt x="393402" y="234950"/>
                  </a:cubicBezTo>
                  <a:cubicBezTo>
                    <a:pt x="396503" y="245770"/>
                    <a:pt x="412005" y="262773"/>
                    <a:pt x="412005" y="262773"/>
                  </a:cubicBezTo>
                  <a:cubicBezTo>
                    <a:pt x="415106" y="279776"/>
                    <a:pt x="435260" y="340060"/>
                    <a:pt x="446112" y="355517"/>
                  </a:cubicBezTo>
                  <a:lnTo>
                    <a:pt x="455874" y="354502"/>
                  </a:lnTo>
                  <a:cubicBezTo>
                    <a:pt x="459871" y="357546"/>
                    <a:pt x="448825" y="370588"/>
                    <a:pt x="443011" y="374065"/>
                  </a:cubicBezTo>
                  <a:cubicBezTo>
                    <a:pt x="435260" y="384886"/>
                    <a:pt x="427508" y="389523"/>
                    <a:pt x="418207" y="398797"/>
                  </a:cubicBezTo>
                  <a:lnTo>
                    <a:pt x="409075" y="395488"/>
                  </a:lnTo>
                  <a:cubicBezTo>
                    <a:pt x="405804" y="393677"/>
                    <a:pt x="416269" y="393387"/>
                    <a:pt x="405804" y="367883"/>
                  </a:cubicBezTo>
                  <a:cubicBezTo>
                    <a:pt x="401153" y="358608"/>
                    <a:pt x="385650" y="363245"/>
                    <a:pt x="374798" y="361700"/>
                  </a:cubicBezTo>
                  <a:cubicBezTo>
                    <a:pt x="373248" y="336968"/>
                    <a:pt x="379449" y="272048"/>
                    <a:pt x="343793" y="259682"/>
                  </a:cubicBezTo>
                  <a:cubicBezTo>
                    <a:pt x="328290" y="264319"/>
                    <a:pt x="326739" y="275139"/>
                    <a:pt x="322088" y="290596"/>
                  </a:cubicBezTo>
                  <a:cubicBezTo>
                    <a:pt x="320538" y="293688"/>
                    <a:pt x="318988" y="299871"/>
                    <a:pt x="318988" y="299871"/>
                  </a:cubicBezTo>
                  <a:cubicBezTo>
                    <a:pt x="314337" y="381794"/>
                    <a:pt x="331390" y="347788"/>
                    <a:pt x="297284" y="370974"/>
                  </a:cubicBezTo>
                  <a:cubicBezTo>
                    <a:pt x="277130" y="401889"/>
                    <a:pt x="315887" y="454443"/>
                    <a:pt x="278680" y="466809"/>
                  </a:cubicBezTo>
                  <a:cubicBezTo>
                    <a:pt x="263177" y="445169"/>
                    <a:pt x="270929" y="452897"/>
                    <a:pt x="256976" y="438986"/>
                  </a:cubicBezTo>
                  <a:cubicBezTo>
                    <a:pt x="252325" y="426620"/>
                    <a:pt x="249225" y="421983"/>
                    <a:pt x="238373" y="414254"/>
                  </a:cubicBezTo>
                  <a:cubicBezTo>
                    <a:pt x="230621" y="403434"/>
                    <a:pt x="224420" y="397251"/>
                    <a:pt x="213568" y="389523"/>
                  </a:cubicBezTo>
                  <a:cubicBezTo>
                    <a:pt x="212018" y="383340"/>
                    <a:pt x="207367" y="377157"/>
                    <a:pt x="213568" y="370974"/>
                  </a:cubicBezTo>
                  <a:cubicBezTo>
                    <a:pt x="218219" y="366337"/>
                    <a:pt x="232171" y="358608"/>
                    <a:pt x="232171" y="358608"/>
                  </a:cubicBezTo>
                  <a:cubicBezTo>
                    <a:pt x="233722" y="353971"/>
                    <a:pt x="238373" y="344697"/>
                    <a:pt x="232171" y="340060"/>
                  </a:cubicBezTo>
                  <a:cubicBezTo>
                    <a:pt x="227521" y="336968"/>
                    <a:pt x="213568" y="333877"/>
                    <a:pt x="213568" y="333877"/>
                  </a:cubicBezTo>
                  <a:cubicBezTo>
                    <a:pt x="196515" y="309145"/>
                    <a:pt x="221319" y="301416"/>
                    <a:pt x="241473" y="296779"/>
                  </a:cubicBezTo>
                  <a:cubicBezTo>
                    <a:pt x="250775" y="281322"/>
                    <a:pt x="255426" y="259682"/>
                    <a:pt x="235272" y="253499"/>
                  </a:cubicBezTo>
                  <a:cubicBezTo>
                    <a:pt x="233722" y="250408"/>
                    <a:pt x="233722" y="242679"/>
                    <a:pt x="232171" y="244225"/>
                  </a:cubicBezTo>
                  <a:cubicBezTo>
                    <a:pt x="213568" y="262773"/>
                    <a:pt x="232171" y="268956"/>
                    <a:pt x="204266" y="287505"/>
                  </a:cubicBezTo>
                  <a:cubicBezTo>
                    <a:pt x="188763" y="284414"/>
                    <a:pt x="184112" y="278231"/>
                    <a:pt x="176361" y="265865"/>
                  </a:cubicBezTo>
                  <a:cubicBezTo>
                    <a:pt x="173260" y="267411"/>
                    <a:pt x="168609" y="265865"/>
                    <a:pt x="167059" y="268956"/>
                  </a:cubicBezTo>
                  <a:cubicBezTo>
                    <a:pt x="165930" y="266714"/>
                    <a:pt x="167059" y="262773"/>
                    <a:pt x="167059" y="262773"/>
                  </a:cubicBezTo>
                  <a:cubicBezTo>
                    <a:pt x="137604" y="253499"/>
                    <a:pt x="129852" y="213310"/>
                    <a:pt x="163959" y="204036"/>
                  </a:cubicBezTo>
                  <a:cubicBezTo>
                    <a:pt x="159308" y="183941"/>
                    <a:pt x="153107" y="159210"/>
                    <a:pt x="136053" y="148390"/>
                  </a:cubicBezTo>
                  <a:cubicBezTo>
                    <a:pt x="139154" y="91198"/>
                    <a:pt x="125201" y="106655"/>
                    <a:pt x="151556" y="86561"/>
                  </a:cubicBezTo>
                  <a:cubicBezTo>
                    <a:pt x="168609" y="92744"/>
                    <a:pt x="191864" y="103564"/>
                    <a:pt x="207367" y="114384"/>
                  </a:cubicBezTo>
                  <a:lnTo>
                    <a:pt x="212130" y="128055"/>
                  </a:lnTo>
                  <a:lnTo>
                    <a:pt x="210467" y="136024"/>
                  </a:lnTo>
                  <a:cubicBezTo>
                    <a:pt x="212018" y="139116"/>
                    <a:pt x="213568" y="148390"/>
                    <a:pt x="216669" y="145298"/>
                  </a:cubicBezTo>
                  <a:cubicBezTo>
                    <a:pt x="217629" y="144341"/>
                    <a:pt x="215018" y="136261"/>
                    <a:pt x="212130" y="128055"/>
                  </a:cubicBezTo>
                  <a:cubicBezTo>
                    <a:pt x="214033" y="113915"/>
                    <a:pt x="216509" y="101041"/>
                    <a:pt x="232171" y="95835"/>
                  </a:cubicBezTo>
                  <a:cubicBezTo>
                    <a:pt x="238373" y="105110"/>
                    <a:pt x="241473" y="114384"/>
                    <a:pt x="247674" y="123658"/>
                  </a:cubicBezTo>
                  <a:cubicBezTo>
                    <a:pt x="249127" y="154076"/>
                    <a:pt x="245135" y="165491"/>
                    <a:pt x="257726" y="184393"/>
                  </a:cubicBezTo>
                  <a:lnTo>
                    <a:pt x="256976" y="197853"/>
                  </a:lnTo>
                  <a:cubicBezTo>
                    <a:pt x="256976" y="200944"/>
                    <a:pt x="261627" y="210219"/>
                    <a:pt x="263177" y="207127"/>
                  </a:cubicBezTo>
                  <a:cubicBezTo>
                    <a:pt x="264728" y="200944"/>
                    <a:pt x="261627" y="194762"/>
                    <a:pt x="260077" y="188579"/>
                  </a:cubicBezTo>
                  <a:cubicBezTo>
                    <a:pt x="259101" y="187217"/>
                    <a:pt x="258205" y="185898"/>
                    <a:pt x="257726" y="184393"/>
                  </a:cubicBezTo>
                  <a:cubicBezTo>
                    <a:pt x="256837" y="170317"/>
                    <a:pt x="258902" y="156262"/>
                    <a:pt x="260077" y="142207"/>
                  </a:cubicBezTo>
                  <a:cubicBezTo>
                    <a:pt x="261627" y="132933"/>
                    <a:pt x="269378" y="114384"/>
                    <a:pt x="269378" y="114384"/>
                  </a:cubicBezTo>
                  <a:cubicBezTo>
                    <a:pt x="264728" y="100472"/>
                    <a:pt x="258526" y="106655"/>
                    <a:pt x="253876" y="92744"/>
                  </a:cubicBezTo>
                  <a:cubicBezTo>
                    <a:pt x="256976" y="77287"/>
                    <a:pt x="264728" y="66466"/>
                    <a:pt x="269378" y="52555"/>
                  </a:cubicBezTo>
                  <a:cubicBezTo>
                    <a:pt x="270929" y="57192"/>
                    <a:pt x="274029" y="68012"/>
                    <a:pt x="278680" y="71104"/>
                  </a:cubicBezTo>
                  <a:cubicBezTo>
                    <a:pt x="286432" y="75741"/>
                    <a:pt x="306586" y="80378"/>
                    <a:pt x="306586" y="80378"/>
                  </a:cubicBezTo>
                  <a:lnTo>
                    <a:pt x="307051" y="91508"/>
                  </a:lnTo>
                  <a:lnTo>
                    <a:pt x="306586" y="98927"/>
                  </a:lnTo>
                  <a:cubicBezTo>
                    <a:pt x="306586" y="102605"/>
                    <a:pt x="307134" y="97529"/>
                    <a:pt x="307051" y="91508"/>
                  </a:cubicBezTo>
                  <a:cubicBezTo>
                    <a:pt x="307043" y="77333"/>
                    <a:pt x="308364" y="63960"/>
                    <a:pt x="309686" y="49464"/>
                  </a:cubicBezTo>
                  <a:cubicBezTo>
                    <a:pt x="309686" y="40189"/>
                    <a:pt x="308136" y="29369"/>
                    <a:pt x="312787" y="21641"/>
                  </a:cubicBezTo>
                  <a:cubicBezTo>
                    <a:pt x="318988" y="12366"/>
                    <a:pt x="332940" y="18549"/>
                    <a:pt x="343793" y="15458"/>
                  </a:cubicBezTo>
                  <a:cubicBezTo>
                    <a:pt x="348443" y="0"/>
                    <a:pt x="353094" y="0"/>
                    <a:pt x="368597" y="3092"/>
                  </a:cubicBezTo>
                  <a:cubicBezTo>
                    <a:pt x="376349" y="24732"/>
                    <a:pt x="368597" y="24732"/>
                    <a:pt x="384100" y="15458"/>
                  </a:cubicBezTo>
                  <a:cubicBezTo>
                    <a:pt x="398053" y="20095"/>
                    <a:pt x="391852" y="26278"/>
                    <a:pt x="405804" y="30915"/>
                  </a:cubicBezTo>
                  <a:cubicBezTo>
                    <a:pt x="416656" y="10820"/>
                    <a:pt x="407355" y="4638"/>
                    <a:pt x="433710" y="9275"/>
                  </a:cubicBezTo>
                  <a:lnTo>
                    <a:pt x="439790" y="24346"/>
                  </a:lnTo>
                  <a:cubicBezTo>
                    <a:pt x="444077" y="31011"/>
                    <a:pt x="443786" y="15071"/>
                    <a:pt x="446112"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30" name="Freeform 581"/>
            <p:cNvSpPr>
              <a:spLocks/>
            </p:cNvSpPr>
            <p:nvPr>
              <p:custDataLst>
                <p:tags r:id="rId98"/>
              </p:custDataLst>
            </p:nvPr>
          </p:nvSpPr>
          <p:spPr bwMode="gray">
            <a:xfrm>
              <a:off x="3062992" y="2093019"/>
              <a:ext cx="103142" cy="81324"/>
            </a:xfrm>
            <a:custGeom>
              <a:avLst/>
              <a:gdLst>
                <a:gd name="T0" fmla="*/ 8 w 107"/>
                <a:gd name="T1" fmla="*/ 26 h 84"/>
                <a:gd name="T2" fmla="*/ 29 w 107"/>
                <a:gd name="T3" fmla="*/ 17 h 84"/>
                <a:gd name="T4" fmla="*/ 47 w 107"/>
                <a:gd name="T5" fmla="*/ 6 h 84"/>
                <a:gd name="T6" fmla="*/ 60 w 107"/>
                <a:gd name="T7" fmla="*/ 0 h 84"/>
                <a:gd name="T8" fmla="*/ 101 w 107"/>
                <a:gd name="T9" fmla="*/ 8 h 84"/>
                <a:gd name="T10" fmla="*/ 92 w 107"/>
                <a:gd name="T11" fmla="*/ 42 h 84"/>
                <a:gd name="T12" fmla="*/ 92 w 107"/>
                <a:gd name="T13" fmla="*/ 59 h 84"/>
                <a:gd name="T14" fmla="*/ 51 w 107"/>
                <a:gd name="T15" fmla="*/ 45 h 84"/>
                <a:gd name="T16" fmla="*/ 38 w 107"/>
                <a:gd name="T17" fmla="*/ 54 h 84"/>
                <a:gd name="T18" fmla="*/ 5 w 107"/>
                <a:gd name="T19" fmla="*/ 63 h 84"/>
                <a:gd name="T20" fmla="*/ 5 w 107"/>
                <a:gd name="T21" fmla="*/ 51 h 84"/>
                <a:gd name="T22" fmla="*/ 8 w 107"/>
                <a:gd name="T23" fmla="*/ 2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84">
                  <a:moveTo>
                    <a:pt x="8" y="26"/>
                  </a:moveTo>
                  <a:cubicBezTo>
                    <a:pt x="16" y="22"/>
                    <a:pt x="19" y="19"/>
                    <a:pt x="29" y="17"/>
                  </a:cubicBezTo>
                  <a:cubicBezTo>
                    <a:pt x="35" y="7"/>
                    <a:pt x="34" y="8"/>
                    <a:pt x="47" y="6"/>
                  </a:cubicBezTo>
                  <a:cubicBezTo>
                    <a:pt x="51" y="3"/>
                    <a:pt x="55" y="2"/>
                    <a:pt x="60" y="0"/>
                  </a:cubicBezTo>
                  <a:cubicBezTo>
                    <a:pt x="74" y="2"/>
                    <a:pt x="88" y="0"/>
                    <a:pt x="101" y="8"/>
                  </a:cubicBezTo>
                  <a:cubicBezTo>
                    <a:pt x="107" y="14"/>
                    <a:pt x="94" y="34"/>
                    <a:pt x="92" y="42"/>
                  </a:cubicBezTo>
                  <a:cubicBezTo>
                    <a:pt x="90" y="51"/>
                    <a:pt x="99" y="59"/>
                    <a:pt x="92" y="59"/>
                  </a:cubicBezTo>
                  <a:cubicBezTo>
                    <a:pt x="54" y="58"/>
                    <a:pt x="71" y="57"/>
                    <a:pt x="51" y="45"/>
                  </a:cubicBezTo>
                  <a:cubicBezTo>
                    <a:pt x="35" y="48"/>
                    <a:pt x="47" y="50"/>
                    <a:pt x="38" y="54"/>
                  </a:cubicBezTo>
                  <a:cubicBezTo>
                    <a:pt x="35" y="84"/>
                    <a:pt x="26" y="66"/>
                    <a:pt x="5" y="63"/>
                  </a:cubicBezTo>
                  <a:cubicBezTo>
                    <a:pt x="0" y="55"/>
                    <a:pt x="1" y="60"/>
                    <a:pt x="5" y="51"/>
                  </a:cubicBezTo>
                  <a:cubicBezTo>
                    <a:pt x="7" y="42"/>
                    <a:pt x="6" y="36"/>
                    <a:pt x="8" y="26"/>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31" name="Freeform 582"/>
            <p:cNvSpPr>
              <a:spLocks/>
            </p:cNvSpPr>
            <p:nvPr>
              <p:custDataLst>
                <p:tags r:id="rId99"/>
              </p:custDataLst>
            </p:nvPr>
          </p:nvSpPr>
          <p:spPr bwMode="gray">
            <a:xfrm>
              <a:off x="2581001" y="2789228"/>
              <a:ext cx="232070" cy="225128"/>
            </a:xfrm>
            <a:custGeom>
              <a:avLst/>
              <a:gdLst>
                <a:gd name="T0" fmla="*/ 1 w 240"/>
                <a:gd name="T1" fmla="*/ 157 h 233"/>
                <a:gd name="T2" fmla="*/ 82 w 240"/>
                <a:gd name="T3" fmla="*/ 158 h 233"/>
                <a:gd name="T4" fmla="*/ 96 w 240"/>
                <a:gd name="T5" fmla="*/ 145 h 233"/>
                <a:gd name="T6" fmla="*/ 85 w 240"/>
                <a:gd name="T7" fmla="*/ 73 h 233"/>
                <a:gd name="T8" fmla="*/ 73 w 240"/>
                <a:gd name="T9" fmla="*/ 25 h 233"/>
                <a:gd name="T10" fmla="*/ 82 w 240"/>
                <a:gd name="T11" fmla="*/ 10 h 233"/>
                <a:gd name="T12" fmla="*/ 99 w 240"/>
                <a:gd name="T13" fmla="*/ 5 h 233"/>
                <a:gd name="T14" fmla="*/ 120 w 240"/>
                <a:gd name="T15" fmla="*/ 14 h 233"/>
                <a:gd name="T16" fmla="*/ 133 w 240"/>
                <a:gd name="T17" fmla="*/ 26 h 233"/>
                <a:gd name="T18" fmla="*/ 147 w 240"/>
                <a:gd name="T19" fmla="*/ 35 h 233"/>
                <a:gd name="T20" fmla="*/ 165 w 240"/>
                <a:gd name="T21" fmla="*/ 47 h 233"/>
                <a:gd name="T22" fmla="*/ 178 w 240"/>
                <a:gd name="T23" fmla="*/ 56 h 233"/>
                <a:gd name="T24" fmla="*/ 186 w 240"/>
                <a:gd name="T25" fmla="*/ 62 h 233"/>
                <a:gd name="T26" fmla="*/ 201 w 240"/>
                <a:gd name="T27" fmla="*/ 79 h 233"/>
                <a:gd name="T28" fmla="*/ 210 w 240"/>
                <a:gd name="T29" fmla="*/ 86 h 233"/>
                <a:gd name="T30" fmla="*/ 235 w 240"/>
                <a:gd name="T31" fmla="*/ 98 h 233"/>
                <a:gd name="T32" fmla="*/ 237 w 240"/>
                <a:gd name="T33" fmla="*/ 119 h 233"/>
                <a:gd name="T34" fmla="*/ 237 w 240"/>
                <a:gd name="T35" fmla="*/ 142 h 233"/>
                <a:gd name="T36" fmla="*/ 226 w 240"/>
                <a:gd name="T37" fmla="*/ 152 h 233"/>
                <a:gd name="T38" fmla="*/ 202 w 240"/>
                <a:gd name="T39" fmla="*/ 155 h 233"/>
                <a:gd name="T40" fmla="*/ 172 w 240"/>
                <a:gd name="T41" fmla="*/ 160 h 233"/>
                <a:gd name="T42" fmla="*/ 148 w 240"/>
                <a:gd name="T43" fmla="*/ 167 h 233"/>
                <a:gd name="T44" fmla="*/ 127 w 240"/>
                <a:gd name="T45" fmla="*/ 181 h 233"/>
                <a:gd name="T46" fmla="*/ 115 w 240"/>
                <a:gd name="T47" fmla="*/ 185 h 233"/>
                <a:gd name="T48" fmla="*/ 102 w 240"/>
                <a:gd name="T49" fmla="*/ 206 h 233"/>
                <a:gd name="T50" fmla="*/ 93 w 240"/>
                <a:gd name="T51" fmla="*/ 233 h 233"/>
                <a:gd name="T52" fmla="*/ 49 w 240"/>
                <a:gd name="T53" fmla="*/ 230 h 233"/>
                <a:gd name="T54" fmla="*/ 28 w 240"/>
                <a:gd name="T55" fmla="*/ 208 h 233"/>
                <a:gd name="T56" fmla="*/ 6 w 240"/>
                <a:gd name="T57" fmla="*/ 202 h 233"/>
                <a:gd name="T58" fmla="*/ 1 w 240"/>
                <a:gd name="T59" fmla="*/ 15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0" h="233">
                  <a:moveTo>
                    <a:pt x="1" y="157"/>
                  </a:moveTo>
                  <a:cubicBezTo>
                    <a:pt x="30" y="160"/>
                    <a:pt x="52" y="159"/>
                    <a:pt x="82" y="158"/>
                  </a:cubicBezTo>
                  <a:cubicBezTo>
                    <a:pt x="90" y="156"/>
                    <a:pt x="92" y="152"/>
                    <a:pt x="96" y="145"/>
                  </a:cubicBezTo>
                  <a:cubicBezTo>
                    <a:pt x="94" y="120"/>
                    <a:pt x="93" y="97"/>
                    <a:pt x="85" y="73"/>
                  </a:cubicBezTo>
                  <a:cubicBezTo>
                    <a:pt x="82" y="58"/>
                    <a:pt x="73" y="35"/>
                    <a:pt x="73" y="25"/>
                  </a:cubicBezTo>
                  <a:cubicBezTo>
                    <a:pt x="73" y="15"/>
                    <a:pt x="78" y="13"/>
                    <a:pt x="82" y="10"/>
                  </a:cubicBezTo>
                  <a:cubicBezTo>
                    <a:pt x="84" y="0"/>
                    <a:pt x="93" y="4"/>
                    <a:pt x="99" y="5"/>
                  </a:cubicBezTo>
                  <a:cubicBezTo>
                    <a:pt x="105" y="6"/>
                    <a:pt x="114" y="11"/>
                    <a:pt x="120" y="14"/>
                  </a:cubicBezTo>
                  <a:cubicBezTo>
                    <a:pt x="121" y="20"/>
                    <a:pt x="127" y="23"/>
                    <a:pt x="133" y="26"/>
                  </a:cubicBezTo>
                  <a:cubicBezTo>
                    <a:pt x="138" y="33"/>
                    <a:pt x="139" y="34"/>
                    <a:pt x="147" y="35"/>
                  </a:cubicBezTo>
                  <a:cubicBezTo>
                    <a:pt x="155" y="38"/>
                    <a:pt x="158" y="43"/>
                    <a:pt x="165" y="47"/>
                  </a:cubicBezTo>
                  <a:cubicBezTo>
                    <a:pt x="169" y="54"/>
                    <a:pt x="172" y="52"/>
                    <a:pt x="178" y="56"/>
                  </a:cubicBezTo>
                  <a:cubicBezTo>
                    <a:pt x="180" y="59"/>
                    <a:pt x="185" y="59"/>
                    <a:pt x="186" y="62"/>
                  </a:cubicBezTo>
                  <a:cubicBezTo>
                    <a:pt x="188" y="66"/>
                    <a:pt x="197" y="75"/>
                    <a:pt x="201" y="79"/>
                  </a:cubicBezTo>
                  <a:cubicBezTo>
                    <a:pt x="205" y="83"/>
                    <a:pt x="204" y="83"/>
                    <a:pt x="210" y="86"/>
                  </a:cubicBezTo>
                  <a:cubicBezTo>
                    <a:pt x="220" y="89"/>
                    <a:pt x="227" y="92"/>
                    <a:pt x="235" y="98"/>
                  </a:cubicBezTo>
                  <a:cubicBezTo>
                    <a:pt x="240" y="104"/>
                    <a:pt x="238" y="110"/>
                    <a:pt x="237" y="119"/>
                  </a:cubicBezTo>
                  <a:cubicBezTo>
                    <a:pt x="237" y="126"/>
                    <a:pt x="239" y="137"/>
                    <a:pt x="237" y="142"/>
                  </a:cubicBezTo>
                  <a:cubicBezTo>
                    <a:pt x="235" y="147"/>
                    <a:pt x="232" y="150"/>
                    <a:pt x="226" y="152"/>
                  </a:cubicBezTo>
                  <a:cubicBezTo>
                    <a:pt x="220" y="162"/>
                    <a:pt x="211" y="154"/>
                    <a:pt x="202" y="155"/>
                  </a:cubicBezTo>
                  <a:cubicBezTo>
                    <a:pt x="193" y="156"/>
                    <a:pt x="181" y="158"/>
                    <a:pt x="172" y="160"/>
                  </a:cubicBezTo>
                  <a:cubicBezTo>
                    <a:pt x="162" y="161"/>
                    <a:pt x="157" y="165"/>
                    <a:pt x="148" y="167"/>
                  </a:cubicBezTo>
                  <a:cubicBezTo>
                    <a:pt x="140" y="171"/>
                    <a:pt x="135" y="179"/>
                    <a:pt x="127" y="181"/>
                  </a:cubicBezTo>
                  <a:cubicBezTo>
                    <a:pt x="122" y="187"/>
                    <a:pt x="123" y="184"/>
                    <a:pt x="115" y="185"/>
                  </a:cubicBezTo>
                  <a:cubicBezTo>
                    <a:pt x="108" y="196"/>
                    <a:pt x="113" y="199"/>
                    <a:pt x="102" y="206"/>
                  </a:cubicBezTo>
                  <a:cubicBezTo>
                    <a:pt x="97" y="213"/>
                    <a:pt x="102" y="229"/>
                    <a:pt x="93" y="233"/>
                  </a:cubicBezTo>
                  <a:cubicBezTo>
                    <a:pt x="81" y="232"/>
                    <a:pt x="61" y="232"/>
                    <a:pt x="49" y="230"/>
                  </a:cubicBezTo>
                  <a:cubicBezTo>
                    <a:pt x="54" y="230"/>
                    <a:pt x="37" y="210"/>
                    <a:pt x="28" y="208"/>
                  </a:cubicBezTo>
                  <a:cubicBezTo>
                    <a:pt x="22" y="205"/>
                    <a:pt x="13" y="203"/>
                    <a:pt x="6" y="202"/>
                  </a:cubicBezTo>
                  <a:cubicBezTo>
                    <a:pt x="0" y="193"/>
                    <a:pt x="2" y="167"/>
                    <a:pt x="1" y="157"/>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32" name="Freeform 583"/>
            <p:cNvSpPr>
              <a:spLocks/>
            </p:cNvSpPr>
            <p:nvPr>
              <p:custDataLst>
                <p:tags r:id="rId100"/>
              </p:custDataLst>
            </p:nvPr>
          </p:nvSpPr>
          <p:spPr bwMode="gray">
            <a:xfrm>
              <a:off x="3110596" y="3382296"/>
              <a:ext cx="117027" cy="113060"/>
            </a:xfrm>
            <a:custGeom>
              <a:avLst/>
              <a:gdLst>
                <a:gd name="T0" fmla="*/ 2 w 121"/>
                <a:gd name="T1" fmla="*/ 42 h 117"/>
                <a:gd name="T2" fmla="*/ 34 w 121"/>
                <a:gd name="T3" fmla="*/ 36 h 117"/>
                <a:gd name="T4" fmla="*/ 49 w 121"/>
                <a:gd name="T5" fmla="*/ 20 h 117"/>
                <a:gd name="T6" fmla="*/ 58 w 121"/>
                <a:gd name="T7" fmla="*/ 11 h 117"/>
                <a:gd name="T8" fmla="*/ 77 w 121"/>
                <a:gd name="T9" fmla="*/ 0 h 117"/>
                <a:gd name="T10" fmla="*/ 92 w 121"/>
                <a:gd name="T11" fmla="*/ 12 h 117"/>
                <a:gd name="T12" fmla="*/ 109 w 121"/>
                <a:gd name="T13" fmla="*/ 21 h 117"/>
                <a:gd name="T14" fmla="*/ 110 w 121"/>
                <a:gd name="T15" fmla="*/ 92 h 117"/>
                <a:gd name="T16" fmla="*/ 101 w 121"/>
                <a:gd name="T17" fmla="*/ 108 h 117"/>
                <a:gd name="T18" fmla="*/ 83 w 121"/>
                <a:gd name="T19" fmla="*/ 114 h 117"/>
                <a:gd name="T20" fmla="*/ 44 w 121"/>
                <a:gd name="T21" fmla="*/ 98 h 117"/>
                <a:gd name="T22" fmla="*/ 32 w 121"/>
                <a:gd name="T23" fmla="*/ 89 h 117"/>
                <a:gd name="T24" fmla="*/ 26 w 121"/>
                <a:gd name="T25" fmla="*/ 78 h 117"/>
                <a:gd name="T26" fmla="*/ 14 w 121"/>
                <a:gd name="T27" fmla="*/ 71 h 117"/>
                <a:gd name="T28" fmla="*/ 6 w 121"/>
                <a:gd name="T29" fmla="*/ 59 h 117"/>
                <a:gd name="T30" fmla="*/ 2 w 121"/>
                <a:gd name="T31" fmla="*/ 51 h 117"/>
                <a:gd name="T32" fmla="*/ 2 w 121"/>
                <a:gd name="T33" fmla="*/ 4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1" h="117">
                  <a:moveTo>
                    <a:pt x="2" y="42"/>
                  </a:moveTo>
                  <a:cubicBezTo>
                    <a:pt x="22" y="41"/>
                    <a:pt x="22" y="43"/>
                    <a:pt x="34" y="36"/>
                  </a:cubicBezTo>
                  <a:cubicBezTo>
                    <a:pt x="27" y="23"/>
                    <a:pt x="39" y="21"/>
                    <a:pt x="49" y="20"/>
                  </a:cubicBezTo>
                  <a:cubicBezTo>
                    <a:pt x="53" y="14"/>
                    <a:pt x="51" y="12"/>
                    <a:pt x="58" y="11"/>
                  </a:cubicBezTo>
                  <a:cubicBezTo>
                    <a:pt x="64" y="8"/>
                    <a:pt x="71" y="3"/>
                    <a:pt x="77" y="0"/>
                  </a:cubicBezTo>
                  <a:cubicBezTo>
                    <a:pt x="88" y="4"/>
                    <a:pt x="80" y="10"/>
                    <a:pt x="92" y="12"/>
                  </a:cubicBezTo>
                  <a:cubicBezTo>
                    <a:pt x="99" y="15"/>
                    <a:pt x="101" y="19"/>
                    <a:pt x="109" y="21"/>
                  </a:cubicBezTo>
                  <a:cubicBezTo>
                    <a:pt x="120" y="40"/>
                    <a:pt x="121" y="71"/>
                    <a:pt x="110" y="92"/>
                  </a:cubicBezTo>
                  <a:cubicBezTo>
                    <a:pt x="109" y="99"/>
                    <a:pt x="108" y="107"/>
                    <a:pt x="101" y="108"/>
                  </a:cubicBezTo>
                  <a:cubicBezTo>
                    <a:pt x="95" y="117"/>
                    <a:pt x="95" y="116"/>
                    <a:pt x="83" y="114"/>
                  </a:cubicBezTo>
                  <a:cubicBezTo>
                    <a:pt x="79" y="111"/>
                    <a:pt x="50" y="99"/>
                    <a:pt x="44" y="98"/>
                  </a:cubicBezTo>
                  <a:cubicBezTo>
                    <a:pt x="39" y="95"/>
                    <a:pt x="35" y="94"/>
                    <a:pt x="32" y="89"/>
                  </a:cubicBezTo>
                  <a:cubicBezTo>
                    <a:pt x="29" y="85"/>
                    <a:pt x="29" y="81"/>
                    <a:pt x="26" y="78"/>
                  </a:cubicBezTo>
                  <a:cubicBezTo>
                    <a:pt x="23" y="75"/>
                    <a:pt x="17" y="74"/>
                    <a:pt x="14" y="71"/>
                  </a:cubicBezTo>
                  <a:cubicBezTo>
                    <a:pt x="9" y="66"/>
                    <a:pt x="8" y="62"/>
                    <a:pt x="6" y="59"/>
                  </a:cubicBezTo>
                  <a:cubicBezTo>
                    <a:pt x="4" y="56"/>
                    <a:pt x="3" y="54"/>
                    <a:pt x="2" y="51"/>
                  </a:cubicBezTo>
                  <a:cubicBezTo>
                    <a:pt x="1" y="44"/>
                    <a:pt x="0" y="47"/>
                    <a:pt x="2" y="42"/>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33" name="Freeform 584"/>
            <p:cNvSpPr>
              <a:spLocks/>
            </p:cNvSpPr>
            <p:nvPr>
              <p:custDataLst>
                <p:tags r:id="rId101"/>
              </p:custDataLst>
            </p:nvPr>
          </p:nvSpPr>
          <p:spPr bwMode="gray">
            <a:xfrm>
              <a:off x="3370435" y="2513522"/>
              <a:ext cx="40662" cy="37687"/>
            </a:xfrm>
            <a:custGeom>
              <a:avLst/>
              <a:gdLst>
                <a:gd name="T0" fmla="*/ 0 w 42"/>
                <a:gd name="T1" fmla="*/ 3 h 39"/>
                <a:gd name="T2" fmla="*/ 23 w 42"/>
                <a:gd name="T3" fmla="*/ 0 h 39"/>
                <a:gd name="T4" fmla="*/ 31 w 42"/>
                <a:gd name="T5" fmla="*/ 16 h 39"/>
                <a:gd name="T6" fmla="*/ 36 w 42"/>
                <a:gd name="T7" fmla="*/ 27 h 39"/>
                <a:gd name="T8" fmla="*/ 42 w 42"/>
                <a:gd name="T9" fmla="*/ 38 h 39"/>
                <a:gd name="T10" fmla="*/ 27 w 42"/>
                <a:gd name="T11" fmla="*/ 33 h 39"/>
                <a:gd name="T12" fmla="*/ 18 w 42"/>
                <a:gd name="T13" fmla="*/ 39 h 39"/>
                <a:gd name="T14" fmla="*/ 2 w 42"/>
                <a:gd name="T15" fmla="*/ 17 h 39"/>
                <a:gd name="T16" fmla="*/ 0 w 42"/>
                <a:gd name="T1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9">
                  <a:moveTo>
                    <a:pt x="0" y="3"/>
                  </a:moveTo>
                  <a:lnTo>
                    <a:pt x="23" y="0"/>
                  </a:lnTo>
                  <a:lnTo>
                    <a:pt x="31" y="16"/>
                  </a:lnTo>
                  <a:lnTo>
                    <a:pt x="36" y="27"/>
                  </a:lnTo>
                  <a:lnTo>
                    <a:pt x="42" y="38"/>
                  </a:lnTo>
                  <a:lnTo>
                    <a:pt x="27" y="33"/>
                  </a:lnTo>
                  <a:lnTo>
                    <a:pt x="18" y="39"/>
                  </a:lnTo>
                  <a:lnTo>
                    <a:pt x="2" y="17"/>
                  </a:lnTo>
                  <a:lnTo>
                    <a:pt x="0" y="3"/>
                  </a:ln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34" name="Freeform 590"/>
            <p:cNvSpPr>
              <a:spLocks/>
            </p:cNvSpPr>
            <p:nvPr>
              <p:custDataLst>
                <p:tags r:id="rId102"/>
              </p:custDataLst>
            </p:nvPr>
          </p:nvSpPr>
          <p:spPr bwMode="gray">
            <a:xfrm>
              <a:off x="3348618" y="2987578"/>
              <a:ext cx="28761" cy="30745"/>
            </a:xfrm>
            <a:custGeom>
              <a:avLst/>
              <a:gdLst>
                <a:gd name="T0" fmla="*/ 11 w 30"/>
                <a:gd name="T1" fmla="*/ 9 h 32"/>
                <a:gd name="T2" fmla="*/ 24 w 30"/>
                <a:gd name="T3" fmla="*/ 0 h 32"/>
                <a:gd name="T4" fmla="*/ 15 w 30"/>
                <a:gd name="T5" fmla="*/ 20 h 32"/>
                <a:gd name="T6" fmla="*/ 11 w 30"/>
                <a:gd name="T7" fmla="*/ 9 h 32"/>
              </a:gdLst>
              <a:ahLst/>
              <a:cxnLst>
                <a:cxn ang="0">
                  <a:pos x="T0" y="T1"/>
                </a:cxn>
                <a:cxn ang="0">
                  <a:pos x="T2" y="T3"/>
                </a:cxn>
                <a:cxn ang="0">
                  <a:pos x="T4" y="T5"/>
                </a:cxn>
                <a:cxn ang="0">
                  <a:pos x="T6" y="T7"/>
                </a:cxn>
              </a:cxnLst>
              <a:rect l="0" t="0" r="r" b="b"/>
              <a:pathLst>
                <a:path w="30" h="32">
                  <a:moveTo>
                    <a:pt x="11" y="9"/>
                  </a:moveTo>
                  <a:cubicBezTo>
                    <a:pt x="12" y="0"/>
                    <a:pt x="16" y="3"/>
                    <a:pt x="24" y="0"/>
                  </a:cubicBezTo>
                  <a:cubicBezTo>
                    <a:pt x="29" y="13"/>
                    <a:pt x="30" y="32"/>
                    <a:pt x="15" y="20"/>
                  </a:cubicBezTo>
                  <a:cubicBezTo>
                    <a:pt x="11" y="14"/>
                    <a:pt x="0" y="7"/>
                    <a:pt x="11" y="9"/>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35" name="Freeform 591"/>
            <p:cNvSpPr>
              <a:spLocks/>
            </p:cNvSpPr>
            <p:nvPr>
              <p:custDataLst>
                <p:tags r:id="rId103"/>
              </p:custDataLst>
            </p:nvPr>
          </p:nvSpPr>
          <p:spPr bwMode="gray">
            <a:xfrm>
              <a:off x="3398204" y="2700963"/>
              <a:ext cx="28761" cy="30745"/>
            </a:xfrm>
            <a:custGeom>
              <a:avLst/>
              <a:gdLst>
                <a:gd name="T0" fmla="*/ 11 w 30"/>
                <a:gd name="T1" fmla="*/ 9 h 32"/>
                <a:gd name="T2" fmla="*/ 24 w 30"/>
                <a:gd name="T3" fmla="*/ 0 h 32"/>
                <a:gd name="T4" fmla="*/ 15 w 30"/>
                <a:gd name="T5" fmla="*/ 20 h 32"/>
                <a:gd name="T6" fmla="*/ 11 w 30"/>
                <a:gd name="T7" fmla="*/ 9 h 32"/>
              </a:gdLst>
              <a:ahLst/>
              <a:cxnLst>
                <a:cxn ang="0">
                  <a:pos x="T0" y="T1"/>
                </a:cxn>
                <a:cxn ang="0">
                  <a:pos x="T2" y="T3"/>
                </a:cxn>
                <a:cxn ang="0">
                  <a:pos x="T4" y="T5"/>
                </a:cxn>
                <a:cxn ang="0">
                  <a:pos x="T6" y="T7"/>
                </a:cxn>
              </a:cxnLst>
              <a:rect l="0" t="0" r="r" b="b"/>
              <a:pathLst>
                <a:path w="30" h="32">
                  <a:moveTo>
                    <a:pt x="11" y="9"/>
                  </a:moveTo>
                  <a:cubicBezTo>
                    <a:pt x="12" y="0"/>
                    <a:pt x="16" y="3"/>
                    <a:pt x="24" y="0"/>
                  </a:cubicBezTo>
                  <a:cubicBezTo>
                    <a:pt x="29" y="13"/>
                    <a:pt x="30" y="32"/>
                    <a:pt x="15" y="20"/>
                  </a:cubicBezTo>
                  <a:cubicBezTo>
                    <a:pt x="11" y="14"/>
                    <a:pt x="0" y="7"/>
                    <a:pt x="11" y="9"/>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36" name="Freeform 592"/>
            <p:cNvSpPr>
              <a:spLocks/>
            </p:cNvSpPr>
            <p:nvPr>
              <p:custDataLst>
                <p:tags r:id="rId104"/>
              </p:custDataLst>
            </p:nvPr>
          </p:nvSpPr>
          <p:spPr bwMode="gray">
            <a:xfrm>
              <a:off x="3754242" y="2480794"/>
              <a:ext cx="121986" cy="69423"/>
            </a:xfrm>
            <a:custGeom>
              <a:avLst/>
              <a:gdLst>
                <a:gd name="T0" fmla="*/ 10 w 126"/>
                <a:gd name="T1" fmla="*/ 15 h 72"/>
                <a:gd name="T2" fmla="*/ 22 w 126"/>
                <a:gd name="T3" fmla="*/ 7 h 72"/>
                <a:gd name="T4" fmla="*/ 40 w 126"/>
                <a:gd name="T5" fmla="*/ 15 h 72"/>
                <a:gd name="T6" fmla="*/ 48 w 126"/>
                <a:gd name="T7" fmla="*/ 7 h 72"/>
                <a:gd name="T8" fmla="*/ 58 w 126"/>
                <a:gd name="T9" fmla="*/ 0 h 72"/>
                <a:gd name="T10" fmla="*/ 84 w 126"/>
                <a:gd name="T11" fmla="*/ 9 h 72"/>
                <a:gd name="T12" fmla="*/ 108 w 126"/>
                <a:gd name="T13" fmla="*/ 6 h 72"/>
                <a:gd name="T14" fmla="*/ 124 w 126"/>
                <a:gd name="T15" fmla="*/ 9 h 72"/>
                <a:gd name="T16" fmla="*/ 126 w 126"/>
                <a:gd name="T17" fmla="*/ 19 h 72"/>
                <a:gd name="T18" fmla="*/ 108 w 126"/>
                <a:gd name="T19" fmla="*/ 39 h 72"/>
                <a:gd name="T20" fmla="*/ 85 w 126"/>
                <a:gd name="T21" fmla="*/ 52 h 72"/>
                <a:gd name="T22" fmla="*/ 73 w 126"/>
                <a:gd name="T23" fmla="*/ 55 h 72"/>
                <a:gd name="T24" fmla="*/ 52 w 126"/>
                <a:gd name="T25" fmla="*/ 60 h 72"/>
                <a:gd name="T26" fmla="*/ 51 w 126"/>
                <a:gd name="T27" fmla="*/ 72 h 72"/>
                <a:gd name="T28" fmla="*/ 9 w 126"/>
                <a:gd name="T29" fmla="*/ 70 h 72"/>
                <a:gd name="T30" fmla="*/ 0 w 126"/>
                <a:gd name="T31" fmla="*/ 51 h 72"/>
                <a:gd name="T32" fmla="*/ 25 w 126"/>
                <a:gd name="T33" fmla="*/ 51 h 72"/>
                <a:gd name="T34" fmla="*/ 34 w 126"/>
                <a:gd name="T35" fmla="*/ 36 h 72"/>
                <a:gd name="T36" fmla="*/ 28 w 126"/>
                <a:gd name="T37" fmla="*/ 28 h 72"/>
                <a:gd name="T38" fmla="*/ 22 w 126"/>
                <a:gd name="T39"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72">
                  <a:moveTo>
                    <a:pt x="10" y="15"/>
                  </a:moveTo>
                  <a:lnTo>
                    <a:pt x="22" y="7"/>
                  </a:lnTo>
                  <a:lnTo>
                    <a:pt x="40" y="15"/>
                  </a:lnTo>
                  <a:lnTo>
                    <a:pt x="48" y="7"/>
                  </a:lnTo>
                  <a:lnTo>
                    <a:pt x="58" y="0"/>
                  </a:lnTo>
                  <a:lnTo>
                    <a:pt x="84" y="9"/>
                  </a:lnTo>
                  <a:lnTo>
                    <a:pt x="108" y="6"/>
                  </a:lnTo>
                  <a:lnTo>
                    <a:pt x="124" y="9"/>
                  </a:lnTo>
                  <a:lnTo>
                    <a:pt x="126" y="19"/>
                  </a:lnTo>
                  <a:lnTo>
                    <a:pt x="108" y="39"/>
                  </a:lnTo>
                  <a:lnTo>
                    <a:pt x="85" y="52"/>
                  </a:lnTo>
                  <a:lnTo>
                    <a:pt x="73" y="55"/>
                  </a:lnTo>
                  <a:lnTo>
                    <a:pt x="52" y="60"/>
                  </a:lnTo>
                  <a:lnTo>
                    <a:pt x="51" y="72"/>
                  </a:lnTo>
                  <a:lnTo>
                    <a:pt x="9" y="70"/>
                  </a:lnTo>
                  <a:lnTo>
                    <a:pt x="0" y="51"/>
                  </a:lnTo>
                  <a:lnTo>
                    <a:pt x="25" y="51"/>
                  </a:lnTo>
                  <a:lnTo>
                    <a:pt x="34" y="36"/>
                  </a:lnTo>
                  <a:lnTo>
                    <a:pt x="28" y="28"/>
                  </a:lnTo>
                  <a:lnTo>
                    <a:pt x="22" y="25"/>
                  </a:ln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37" name="Freeform 593"/>
            <p:cNvSpPr>
              <a:spLocks/>
            </p:cNvSpPr>
            <p:nvPr>
              <p:custDataLst>
                <p:tags r:id="rId105"/>
              </p:custDataLst>
            </p:nvPr>
          </p:nvSpPr>
          <p:spPr bwMode="gray">
            <a:xfrm>
              <a:off x="3896063" y="2708897"/>
              <a:ext cx="122977" cy="66448"/>
            </a:xfrm>
            <a:custGeom>
              <a:avLst/>
              <a:gdLst>
                <a:gd name="T0" fmla="*/ 17 w 127"/>
                <a:gd name="T1" fmla="*/ 1 h 69"/>
                <a:gd name="T2" fmla="*/ 8 w 127"/>
                <a:gd name="T3" fmla="*/ 16 h 69"/>
                <a:gd name="T4" fmla="*/ 2 w 127"/>
                <a:gd name="T5" fmla="*/ 25 h 69"/>
                <a:gd name="T6" fmla="*/ 20 w 127"/>
                <a:gd name="T7" fmla="*/ 29 h 69"/>
                <a:gd name="T8" fmla="*/ 29 w 127"/>
                <a:gd name="T9" fmla="*/ 38 h 69"/>
                <a:gd name="T10" fmla="*/ 42 w 127"/>
                <a:gd name="T11" fmla="*/ 41 h 69"/>
                <a:gd name="T12" fmla="*/ 64 w 127"/>
                <a:gd name="T13" fmla="*/ 53 h 69"/>
                <a:gd name="T14" fmla="*/ 80 w 127"/>
                <a:gd name="T15" fmla="*/ 61 h 69"/>
                <a:gd name="T16" fmla="*/ 92 w 127"/>
                <a:gd name="T17" fmla="*/ 59 h 69"/>
                <a:gd name="T18" fmla="*/ 117 w 127"/>
                <a:gd name="T19" fmla="*/ 67 h 69"/>
                <a:gd name="T20" fmla="*/ 123 w 127"/>
                <a:gd name="T21" fmla="*/ 47 h 69"/>
                <a:gd name="T22" fmla="*/ 125 w 127"/>
                <a:gd name="T23" fmla="*/ 37 h 69"/>
                <a:gd name="T24" fmla="*/ 111 w 127"/>
                <a:gd name="T25" fmla="*/ 37 h 69"/>
                <a:gd name="T26" fmla="*/ 93 w 127"/>
                <a:gd name="T27" fmla="*/ 29 h 69"/>
                <a:gd name="T28" fmla="*/ 71 w 127"/>
                <a:gd name="T29" fmla="*/ 19 h 69"/>
                <a:gd name="T30" fmla="*/ 54 w 127"/>
                <a:gd name="T31" fmla="*/ 11 h 69"/>
                <a:gd name="T32" fmla="*/ 33 w 127"/>
                <a:gd name="T33" fmla="*/ 2 h 69"/>
                <a:gd name="T34" fmla="*/ 17 w 127"/>
                <a:gd name="T35"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7" h="69">
                  <a:moveTo>
                    <a:pt x="17" y="1"/>
                  </a:moveTo>
                  <a:cubicBezTo>
                    <a:pt x="12" y="4"/>
                    <a:pt x="10" y="12"/>
                    <a:pt x="8" y="16"/>
                  </a:cubicBezTo>
                  <a:cubicBezTo>
                    <a:pt x="6" y="20"/>
                    <a:pt x="0" y="23"/>
                    <a:pt x="2" y="25"/>
                  </a:cubicBezTo>
                  <a:cubicBezTo>
                    <a:pt x="4" y="27"/>
                    <a:pt x="16" y="27"/>
                    <a:pt x="20" y="29"/>
                  </a:cubicBezTo>
                  <a:cubicBezTo>
                    <a:pt x="24" y="31"/>
                    <a:pt x="25" y="36"/>
                    <a:pt x="29" y="38"/>
                  </a:cubicBezTo>
                  <a:cubicBezTo>
                    <a:pt x="33" y="40"/>
                    <a:pt x="36" y="39"/>
                    <a:pt x="42" y="41"/>
                  </a:cubicBezTo>
                  <a:cubicBezTo>
                    <a:pt x="48" y="43"/>
                    <a:pt x="58" y="50"/>
                    <a:pt x="64" y="53"/>
                  </a:cubicBezTo>
                  <a:cubicBezTo>
                    <a:pt x="70" y="56"/>
                    <a:pt x="75" y="60"/>
                    <a:pt x="80" y="61"/>
                  </a:cubicBezTo>
                  <a:cubicBezTo>
                    <a:pt x="85" y="62"/>
                    <a:pt x="86" y="58"/>
                    <a:pt x="92" y="59"/>
                  </a:cubicBezTo>
                  <a:cubicBezTo>
                    <a:pt x="98" y="60"/>
                    <a:pt x="112" y="69"/>
                    <a:pt x="117" y="67"/>
                  </a:cubicBezTo>
                  <a:cubicBezTo>
                    <a:pt x="122" y="65"/>
                    <a:pt x="122" y="52"/>
                    <a:pt x="123" y="47"/>
                  </a:cubicBezTo>
                  <a:cubicBezTo>
                    <a:pt x="124" y="42"/>
                    <a:pt x="127" y="39"/>
                    <a:pt x="125" y="37"/>
                  </a:cubicBezTo>
                  <a:cubicBezTo>
                    <a:pt x="123" y="35"/>
                    <a:pt x="116" y="38"/>
                    <a:pt x="111" y="37"/>
                  </a:cubicBezTo>
                  <a:cubicBezTo>
                    <a:pt x="106" y="36"/>
                    <a:pt x="100" y="32"/>
                    <a:pt x="93" y="29"/>
                  </a:cubicBezTo>
                  <a:cubicBezTo>
                    <a:pt x="86" y="26"/>
                    <a:pt x="77" y="22"/>
                    <a:pt x="71" y="19"/>
                  </a:cubicBezTo>
                  <a:cubicBezTo>
                    <a:pt x="65" y="16"/>
                    <a:pt x="60" y="14"/>
                    <a:pt x="54" y="11"/>
                  </a:cubicBezTo>
                  <a:cubicBezTo>
                    <a:pt x="48" y="8"/>
                    <a:pt x="39" y="4"/>
                    <a:pt x="33" y="2"/>
                  </a:cubicBezTo>
                  <a:cubicBezTo>
                    <a:pt x="27" y="0"/>
                    <a:pt x="20" y="1"/>
                    <a:pt x="17" y="1"/>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38" name="Freeform 594"/>
            <p:cNvSpPr>
              <a:spLocks/>
            </p:cNvSpPr>
            <p:nvPr>
              <p:custDataLst>
                <p:tags r:id="rId106"/>
              </p:custDataLst>
            </p:nvPr>
          </p:nvSpPr>
          <p:spPr bwMode="gray">
            <a:xfrm>
              <a:off x="3799863" y="2252691"/>
              <a:ext cx="893569" cy="642655"/>
            </a:xfrm>
            <a:custGeom>
              <a:avLst/>
              <a:gdLst>
                <a:gd name="T0" fmla="*/ 637 w 926"/>
                <a:gd name="T1" fmla="*/ 140 h 666"/>
                <a:gd name="T2" fmla="*/ 682 w 926"/>
                <a:gd name="T3" fmla="*/ 137 h 666"/>
                <a:gd name="T4" fmla="*/ 642 w 926"/>
                <a:gd name="T5" fmla="*/ 170 h 666"/>
                <a:gd name="T6" fmla="*/ 603 w 926"/>
                <a:gd name="T7" fmla="*/ 201 h 666"/>
                <a:gd name="T8" fmla="*/ 571 w 926"/>
                <a:gd name="T9" fmla="*/ 213 h 666"/>
                <a:gd name="T10" fmla="*/ 531 w 926"/>
                <a:gd name="T11" fmla="*/ 243 h 666"/>
                <a:gd name="T12" fmla="*/ 474 w 926"/>
                <a:gd name="T13" fmla="*/ 264 h 666"/>
                <a:gd name="T14" fmla="*/ 418 w 926"/>
                <a:gd name="T15" fmla="*/ 243 h 666"/>
                <a:gd name="T16" fmla="*/ 331 w 926"/>
                <a:gd name="T17" fmla="*/ 219 h 666"/>
                <a:gd name="T18" fmla="*/ 294 w 926"/>
                <a:gd name="T19" fmla="*/ 197 h 666"/>
                <a:gd name="T20" fmla="*/ 268 w 926"/>
                <a:gd name="T21" fmla="*/ 155 h 666"/>
                <a:gd name="T22" fmla="*/ 232 w 926"/>
                <a:gd name="T23" fmla="*/ 117 h 666"/>
                <a:gd name="T24" fmla="*/ 195 w 926"/>
                <a:gd name="T25" fmla="*/ 156 h 666"/>
                <a:gd name="T26" fmla="*/ 141 w 926"/>
                <a:gd name="T27" fmla="*/ 179 h 666"/>
                <a:gd name="T28" fmla="*/ 111 w 926"/>
                <a:gd name="T29" fmla="*/ 194 h 666"/>
                <a:gd name="T30" fmla="*/ 120 w 926"/>
                <a:gd name="T31" fmla="*/ 249 h 666"/>
                <a:gd name="T32" fmla="*/ 70 w 926"/>
                <a:gd name="T33" fmla="*/ 272 h 666"/>
                <a:gd name="T34" fmla="*/ 25 w 926"/>
                <a:gd name="T35" fmla="*/ 287 h 666"/>
                <a:gd name="T36" fmla="*/ 16 w 926"/>
                <a:gd name="T37" fmla="*/ 327 h 666"/>
                <a:gd name="T38" fmla="*/ 64 w 926"/>
                <a:gd name="T39" fmla="*/ 374 h 666"/>
                <a:gd name="T40" fmla="*/ 103 w 926"/>
                <a:gd name="T41" fmla="*/ 396 h 666"/>
                <a:gd name="T42" fmla="*/ 87 w 926"/>
                <a:gd name="T43" fmla="*/ 437 h 666"/>
                <a:gd name="T44" fmla="*/ 129 w 926"/>
                <a:gd name="T45" fmla="*/ 474 h 666"/>
                <a:gd name="T46" fmla="*/ 227 w 926"/>
                <a:gd name="T47" fmla="*/ 503 h 666"/>
                <a:gd name="T48" fmla="*/ 298 w 926"/>
                <a:gd name="T49" fmla="*/ 498 h 666"/>
                <a:gd name="T50" fmla="*/ 367 w 926"/>
                <a:gd name="T51" fmla="*/ 498 h 666"/>
                <a:gd name="T52" fmla="*/ 369 w 926"/>
                <a:gd name="T53" fmla="*/ 578 h 666"/>
                <a:gd name="T54" fmla="*/ 405 w 926"/>
                <a:gd name="T55" fmla="*/ 615 h 666"/>
                <a:gd name="T56" fmla="*/ 459 w 926"/>
                <a:gd name="T57" fmla="*/ 600 h 666"/>
                <a:gd name="T58" fmla="*/ 514 w 926"/>
                <a:gd name="T59" fmla="*/ 618 h 666"/>
                <a:gd name="T60" fmla="*/ 532 w 926"/>
                <a:gd name="T61" fmla="*/ 665 h 666"/>
                <a:gd name="T62" fmla="*/ 568 w 926"/>
                <a:gd name="T63" fmla="*/ 624 h 666"/>
                <a:gd name="T64" fmla="*/ 607 w 926"/>
                <a:gd name="T65" fmla="*/ 606 h 666"/>
                <a:gd name="T66" fmla="*/ 696 w 926"/>
                <a:gd name="T67" fmla="*/ 537 h 666"/>
                <a:gd name="T68" fmla="*/ 724 w 926"/>
                <a:gd name="T69" fmla="*/ 456 h 666"/>
                <a:gd name="T70" fmla="*/ 690 w 926"/>
                <a:gd name="T71" fmla="*/ 392 h 666"/>
                <a:gd name="T72" fmla="*/ 700 w 926"/>
                <a:gd name="T73" fmla="*/ 347 h 666"/>
                <a:gd name="T74" fmla="*/ 660 w 926"/>
                <a:gd name="T75" fmla="*/ 314 h 666"/>
                <a:gd name="T76" fmla="*/ 729 w 926"/>
                <a:gd name="T77" fmla="*/ 279 h 666"/>
                <a:gd name="T78" fmla="*/ 747 w 926"/>
                <a:gd name="T79" fmla="*/ 296 h 666"/>
                <a:gd name="T80" fmla="*/ 795 w 926"/>
                <a:gd name="T81" fmla="*/ 264 h 666"/>
                <a:gd name="T82" fmla="*/ 841 w 926"/>
                <a:gd name="T83" fmla="*/ 236 h 666"/>
                <a:gd name="T84" fmla="*/ 868 w 926"/>
                <a:gd name="T85" fmla="*/ 197 h 666"/>
                <a:gd name="T86" fmla="*/ 915 w 926"/>
                <a:gd name="T87" fmla="*/ 153 h 666"/>
                <a:gd name="T88" fmla="*/ 858 w 926"/>
                <a:gd name="T89" fmla="*/ 128 h 666"/>
                <a:gd name="T90" fmla="*/ 807 w 926"/>
                <a:gd name="T91" fmla="*/ 59 h 666"/>
                <a:gd name="T92" fmla="*/ 700 w 926"/>
                <a:gd name="T93" fmla="*/ 14 h 666"/>
                <a:gd name="T94" fmla="*/ 691 w 926"/>
                <a:gd name="T95" fmla="*/ 87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6" h="666">
                  <a:moveTo>
                    <a:pt x="640" y="99"/>
                  </a:moveTo>
                  <a:cubicBezTo>
                    <a:pt x="637" y="101"/>
                    <a:pt x="635" y="112"/>
                    <a:pt x="634" y="116"/>
                  </a:cubicBezTo>
                  <a:cubicBezTo>
                    <a:pt x="633" y="120"/>
                    <a:pt x="636" y="122"/>
                    <a:pt x="636" y="126"/>
                  </a:cubicBezTo>
                  <a:cubicBezTo>
                    <a:pt x="636" y="130"/>
                    <a:pt x="636" y="139"/>
                    <a:pt x="637" y="140"/>
                  </a:cubicBezTo>
                  <a:cubicBezTo>
                    <a:pt x="638" y="141"/>
                    <a:pt x="641" y="132"/>
                    <a:pt x="645" y="132"/>
                  </a:cubicBezTo>
                  <a:cubicBezTo>
                    <a:pt x="649" y="132"/>
                    <a:pt x="657" y="142"/>
                    <a:pt x="661" y="141"/>
                  </a:cubicBezTo>
                  <a:cubicBezTo>
                    <a:pt x="665" y="140"/>
                    <a:pt x="667" y="129"/>
                    <a:pt x="670" y="128"/>
                  </a:cubicBezTo>
                  <a:cubicBezTo>
                    <a:pt x="673" y="127"/>
                    <a:pt x="679" y="132"/>
                    <a:pt x="682" y="137"/>
                  </a:cubicBezTo>
                  <a:cubicBezTo>
                    <a:pt x="685" y="142"/>
                    <a:pt x="694" y="154"/>
                    <a:pt x="691" y="158"/>
                  </a:cubicBezTo>
                  <a:cubicBezTo>
                    <a:pt x="688" y="162"/>
                    <a:pt x="672" y="160"/>
                    <a:pt x="666" y="161"/>
                  </a:cubicBezTo>
                  <a:cubicBezTo>
                    <a:pt x="660" y="162"/>
                    <a:pt x="658" y="163"/>
                    <a:pt x="654" y="164"/>
                  </a:cubicBezTo>
                  <a:cubicBezTo>
                    <a:pt x="650" y="165"/>
                    <a:pt x="645" y="167"/>
                    <a:pt x="642" y="170"/>
                  </a:cubicBezTo>
                  <a:cubicBezTo>
                    <a:pt x="639" y="173"/>
                    <a:pt x="638" y="182"/>
                    <a:pt x="634" y="185"/>
                  </a:cubicBezTo>
                  <a:cubicBezTo>
                    <a:pt x="630" y="188"/>
                    <a:pt x="624" y="185"/>
                    <a:pt x="621" y="186"/>
                  </a:cubicBezTo>
                  <a:cubicBezTo>
                    <a:pt x="618" y="187"/>
                    <a:pt x="616" y="192"/>
                    <a:pt x="613" y="194"/>
                  </a:cubicBezTo>
                  <a:cubicBezTo>
                    <a:pt x="610" y="196"/>
                    <a:pt x="607" y="201"/>
                    <a:pt x="603" y="201"/>
                  </a:cubicBezTo>
                  <a:cubicBezTo>
                    <a:pt x="599" y="201"/>
                    <a:pt x="593" y="196"/>
                    <a:pt x="589" y="195"/>
                  </a:cubicBezTo>
                  <a:cubicBezTo>
                    <a:pt x="585" y="194"/>
                    <a:pt x="579" y="191"/>
                    <a:pt x="576" y="192"/>
                  </a:cubicBezTo>
                  <a:cubicBezTo>
                    <a:pt x="573" y="193"/>
                    <a:pt x="571" y="197"/>
                    <a:pt x="570" y="200"/>
                  </a:cubicBezTo>
                  <a:cubicBezTo>
                    <a:pt x="569" y="203"/>
                    <a:pt x="571" y="208"/>
                    <a:pt x="571" y="213"/>
                  </a:cubicBezTo>
                  <a:cubicBezTo>
                    <a:pt x="571" y="218"/>
                    <a:pt x="570" y="224"/>
                    <a:pt x="568" y="228"/>
                  </a:cubicBezTo>
                  <a:cubicBezTo>
                    <a:pt x="566" y="232"/>
                    <a:pt x="563" y="233"/>
                    <a:pt x="559" y="236"/>
                  </a:cubicBezTo>
                  <a:cubicBezTo>
                    <a:pt x="555" y="239"/>
                    <a:pt x="549" y="245"/>
                    <a:pt x="544" y="246"/>
                  </a:cubicBezTo>
                  <a:cubicBezTo>
                    <a:pt x="539" y="247"/>
                    <a:pt x="536" y="242"/>
                    <a:pt x="531" y="243"/>
                  </a:cubicBezTo>
                  <a:cubicBezTo>
                    <a:pt x="526" y="244"/>
                    <a:pt x="521" y="248"/>
                    <a:pt x="516" y="249"/>
                  </a:cubicBezTo>
                  <a:cubicBezTo>
                    <a:pt x="511" y="250"/>
                    <a:pt x="503" y="248"/>
                    <a:pt x="498" y="249"/>
                  </a:cubicBezTo>
                  <a:cubicBezTo>
                    <a:pt x="493" y="250"/>
                    <a:pt x="490" y="252"/>
                    <a:pt x="486" y="255"/>
                  </a:cubicBezTo>
                  <a:cubicBezTo>
                    <a:pt x="482" y="258"/>
                    <a:pt x="479" y="263"/>
                    <a:pt x="474" y="264"/>
                  </a:cubicBezTo>
                  <a:cubicBezTo>
                    <a:pt x="469" y="265"/>
                    <a:pt x="462" y="262"/>
                    <a:pt x="457" y="261"/>
                  </a:cubicBezTo>
                  <a:cubicBezTo>
                    <a:pt x="452" y="260"/>
                    <a:pt x="448" y="257"/>
                    <a:pt x="444" y="255"/>
                  </a:cubicBezTo>
                  <a:cubicBezTo>
                    <a:pt x="440" y="253"/>
                    <a:pt x="439" y="248"/>
                    <a:pt x="435" y="246"/>
                  </a:cubicBezTo>
                  <a:cubicBezTo>
                    <a:pt x="431" y="244"/>
                    <a:pt x="424" y="243"/>
                    <a:pt x="418" y="243"/>
                  </a:cubicBezTo>
                  <a:cubicBezTo>
                    <a:pt x="412" y="243"/>
                    <a:pt x="409" y="243"/>
                    <a:pt x="400" y="243"/>
                  </a:cubicBezTo>
                  <a:cubicBezTo>
                    <a:pt x="391" y="243"/>
                    <a:pt x="372" y="244"/>
                    <a:pt x="364" y="243"/>
                  </a:cubicBezTo>
                  <a:cubicBezTo>
                    <a:pt x="356" y="242"/>
                    <a:pt x="357" y="243"/>
                    <a:pt x="352" y="239"/>
                  </a:cubicBezTo>
                  <a:cubicBezTo>
                    <a:pt x="347" y="235"/>
                    <a:pt x="334" y="224"/>
                    <a:pt x="331" y="219"/>
                  </a:cubicBezTo>
                  <a:cubicBezTo>
                    <a:pt x="328" y="214"/>
                    <a:pt x="336" y="208"/>
                    <a:pt x="334" y="206"/>
                  </a:cubicBezTo>
                  <a:cubicBezTo>
                    <a:pt x="332" y="204"/>
                    <a:pt x="324" y="208"/>
                    <a:pt x="321" y="206"/>
                  </a:cubicBezTo>
                  <a:cubicBezTo>
                    <a:pt x="318" y="204"/>
                    <a:pt x="316" y="196"/>
                    <a:pt x="312" y="195"/>
                  </a:cubicBezTo>
                  <a:cubicBezTo>
                    <a:pt x="308" y="194"/>
                    <a:pt x="299" y="198"/>
                    <a:pt x="294" y="197"/>
                  </a:cubicBezTo>
                  <a:cubicBezTo>
                    <a:pt x="289" y="196"/>
                    <a:pt x="286" y="192"/>
                    <a:pt x="282" y="191"/>
                  </a:cubicBezTo>
                  <a:cubicBezTo>
                    <a:pt x="278" y="190"/>
                    <a:pt x="272" y="194"/>
                    <a:pt x="270" y="191"/>
                  </a:cubicBezTo>
                  <a:cubicBezTo>
                    <a:pt x="268" y="188"/>
                    <a:pt x="267" y="179"/>
                    <a:pt x="267" y="173"/>
                  </a:cubicBezTo>
                  <a:cubicBezTo>
                    <a:pt x="267" y="167"/>
                    <a:pt x="269" y="160"/>
                    <a:pt x="268" y="155"/>
                  </a:cubicBezTo>
                  <a:cubicBezTo>
                    <a:pt x="267" y="150"/>
                    <a:pt x="264" y="147"/>
                    <a:pt x="261" y="143"/>
                  </a:cubicBezTo>
                  <a:cubicBezTo>
                    <a:pt x="258" y="139"/>
                    <a:pt x="256" y="131"/>
                    <a:pt x="252" y="129"/>
                  </a:cubicBezTo>
                  <a:cubicBezTo>
                    <a:pt x="248" y="127"/>
                    <a:pt x="241" y="131"/>
                    <a:pt x="238" y="129"/>
                  </a:cubicBezTo>
                  <a:cubicBezTo>
                    <a:pt x="235" y="127"/>
                    <a:pt x="234" y="120"/>
                    <a:pt x="232" y="117"/>
                  </a:cubicBezTo>
                  <a:cubicBezTo>
                    <a:pt x="230" y="114"/>
                    <a:pt x="227" y="108"/>
                    <a:pt x="223" y="108"/>
                  </a:cubicBezTo>
                  <a:cubicBezTo>
                    <a:pt x="219" y="108"/>
                    <a:pt x="215" y="117"/>
                    <a:pt x="210" y="120"/>
                  </a:cubicBezTo>
                  <a:cubicBezTo>
                    <a:pt x="205" y="123"/>
                    <a:pt x="194" y="119"/>
                    <a:pt x="192" y="125"/>
                  </a:cubicBezTo>
                  <a:cubicBezTo>
                    <a:pt x="190" y="131"/>
                    <a:pt x="197" y="152"/>
                    <a:pt x="195" y="156"/>
                  </a:cubicBezTo>
                  <a:cubicBezTo>
                    <a:pt x="193" y="160"/>
                    <a:pt x="186" y="150"/>
                    <a:pt x="180" y="149"/>
                  </a:cubicBezTo>
                  <a:cubicBezTo>
                    <a:pt x="174" y="148"/>
                    <a:pt x="165" y="149"/>
                    <a:pt x="160" y="150"/>
                  </a:cubicBezTo>
                  <a:cubicBezTo>
                    <a:pt x="155" y="151"/>
                    <a:pt x="151" y="148"/>
                    <a:pt x="148" y="153"/>
                  </a:cubicBezTo>
                  <a:cubicBezTo>
                    <a:pt x="145" y="158"/>
                    <a:pt x="142" y="171"/>
                    <a:pt x="141" y="179"/>
                  </a:cubicBezTo>
                  <a:cubicBezTo>
                    <a:pt x="140" y="187"/>
                    <a:pt x="146" y="202"/>
                    <a:pt x="145" y="203"/>
                  </a:cubicBezTo>
                  <a:cubicBezTo>
                    <a:pt x="144" y="204"/>
                    <a:pt x="138" y="188"/>
                    <a:pt x="136" y="186"/>
                  </a:cubicBezTo>
                  <a:cubicBezTo>
                    <a:pt x="134" y="184"/>
                    <a:pt x="136" y="188"/>
                    <a:pt x="132" y="189"/>
                  </a:cubicBezTo>
                  <a:cubicBezTo>
                    <a:pt x="128" y="190"/>
                    <a:pt x="115" y="192"/>
                    <a:pt x="111" y="194"/>
                  </a:cubicBezTo>
                  <a:cubicBezTo>
                    <a:pt x="107" y="196"/>
                    <a:pt x="107" y="198"/>
                    <a:pt x="108" y="204"/>
                  </a:cubicBezTo>
                  <a:cubicBezTo>
                    <a:pt x="109" y="210"/>
                    <a:pt x="118" y="228"/>
                    <a:pt x="118" y="233"/>
                  </a:cubicBezTo>
                  <a:cubicBezTo>
                    <a:pt x="118" y="238"/>
                    <a:pt x="109" y="234"/>
                    <a:pt x="109" y="237"/>
                  </a:cubicBezTo>
                  <a:cubicBezTo>
                    <a:pt x="109" y="240"/>
                    <a:pt x="120" y="246"/>
                    <a:pt x="120" y="249"/>
                  </a:cubicBezTo>
                  <a:cubicBezTo>
                    <a:pt x="120" y="252"/>
                    <a:pt x="116" y="256"/>
                    <a:pt x="111" y="258"/>
                  </a:cubicBezTo>
                  <a:cubicBezTo>
                    <a:pt x="106" y="260"/>
                    <a:pt x="96" y="262"/>
                    <a:pt x="91" y="264"/>
                  </a:cubicBezTo>
                  <a:cubicBezTo>
                    <a:pt x="86" y="266"/>
                    <a:pt x="84" y="268"/>
                    <a:pt x="81" y="269"/>
                  </a:cubicBezTo>
                  <a:cubicBezTo>
                    <a:pt x="78" y="270"/>
                    <a:pt x="74" y="271"/>
                    <a:pt x="70" y="272"/>
                  </a:cubicBezTo>
                  <a:cubicBezTo>
                    <a:pt x="66" y="273"/>
                    <a:pt x="61" y="273"/>
                    <a:pt x="57" y="276"/>
                  </a:cubicBezTo>
                  <a:cubicBezTo>
                    <a:pt x="53" y="279"/>
                    <a:pt x="51" y="288"/>
                    <a:pt x="48" y="290"/>
                  </a:cubicBezTo>
                  <a:cubicBezTo>
                    <a:pt x="45" y="292"/>
                    <a:pt x="40" y="287"/>
                    <a:pt x="36" y="287"/>
                  </a:cubicBezTo>
                  <a:cubicBezTo>
                    <a:pt x="32" y="287"/>
                    <a:pt x="30" y="285"/>
                    <a:pt x="25" y="287"/>
                  </a:cubicBezTo>
                  <a:cubicBezTo>
                    <a:pt x="20" y="289"/>
                    <a:pt x="6" y="295"/>
                    <a:pt x="3" y="299"/>
                  </a:cubicBezTo>
                  <a:cubicBezTo>
                    <a:pt x="0" y="303"/>
                    <a:pt x="7" y="307"/>
                    <a:pt x="7" y="311"/>
                  </a:cubicBezTo>
                  <a:cubicBezTo>
                    <a:pt x="7" y="315"/>
                    <a:pt x="2" y="318"/>
                    <a:pt x="4" y="321"/>
                  </a:cubicBezTo>
                  <a:cubicBezTo>
                    <a:pt x="6" y="324"/>
                    <a:pt x="12" y="325"/>
                    <a:pt x="16" y="327"/>
                  </a:cubicBezTo>
                  <a:cubicBezTo>
                    <a:pt x="20" y="329"/>
                    <a:pt x="27" y="330"/>
                    <a:pt x="30" y="335"/>
                  </a:cubicBezTo>
                  <a:cubicBezTo>
                    <a:pt x="33" y="340"/>
                    <a:pt x="33" y="351"/>
                    <a:pt x="37" y="356"/>
                  </a:cubicBezTo>
                  <a:cubicBezTo>
                    <a:pt x="41" y="361"/>
                    <a:pt x="51" y="360"/>
                    <a:pt x="55" y="363"/>
                  </a:cubicBezTo>
                  <a:cubicBezTo>
                    <a:pt x="59" y="366"/>
                    <a:pt x="58" y="373"/>
                    <a:pt x="64" y="374"/>
                  </a:cubicBezTo>
                  <a:cubicBezTo>
                    <a:pt x="70" y="375"/>
                    <a:pt x="84" y="372"/>
                    <a:pt x="89" y="371"/>
                  </a:cubicBezTo>
                  <a:cubicBezTo>
                    <a:pt x="94" y="370"/>
                    <a:pt x="94" y="365"/>
                    <a:pt x="97" y="366"/>
                  </a:cubicBezTo>
                  <a:cubicBezTo>
                    <a:pt x="100" y="367"/>
                    <a:pt x="105" y="375"/>
                    <a:pt x="106" y="380"/>
                  </a:cubicBezTo>
                  <a:cubicBezTo>
                    <a:pt x="107" y="385"/>
                    <a:pt x="105" y="391"/>
                    <a:pt x="103" y="396"/>
                  </a:cubicBezTo>
                  <a:cubicBezTo>
                    <a:pt x="101" y="401"/>
                    <a:pt x="92" y="409"/>
                    <a:pt x="91" y="413"/>
                  </a:cubicBezTo>
                  <a:cubicBezTo>
                    <a:pt x="90" y="417"/>
                    <a:pt x="96" y="416"/>
                    <a:pt x="97" y="419"/>
                  </a:cubicBezTo>
                  <a:cubicBezTo>
                    <a:pt x="98" y="422"/>
                    <a:pt x="101" y="426"/>
                    <a:pt x="99" y="429"/>
                  </a:cubicBezTo>
                  <a:cubicBezTo>
                    <a:pt x="97" y="432"/>
                    <a:pt x="88" y="433"/>
                    <a:pt x="87" y="437"/>
                  </a:cubicBezTo>
                  <a:cubicBezTo>
                    <a:pt x="86" y="441"/>
                    <a:pt x="88" y="448"/>
                    <a:pt x="90" y="452"/>
                  </a:cubicBezTo>
                  <a:cubicBezTo>
                    <a:pt x="92" y="456"/>
                    <a:pt x="94" y="458"/>
                    <a:pt x="99" y="462"/>
                  </a:cubicBezTo>
                  <a:cubicBezTo>
                    <a:pt x="104" y="466"/>
                    <a:pt x="113" y="471"/>
                    <a:pt x="118" y="473"/>
                  </a:cubicBezTo>
                  <a:cubicBezTo>
                    <a:pt x="123" y="475"/>
                    <a:pt x="124" y="472"/>
                    <a:pt x="129" y="474"/>
                  </a:cubicBezTo>
                  <a:cubicBezTo>
                    <a:pt x="134" y="476"/>
                    <a:pt x="136" y="478"/>
                    <a:pt x="148" y="483"/>
                  </a:cubicBezTo>
                  <a:cubicBezTo>
                    <a:pt x="160" y="488"/>
                    <a:pt x="192" y="500"/>
                    <a:pt x="203" y="504"/>
                  </a:cubicBezTo>
                  <a:cubicBezTo>
                    <a:pt x="214" y="508"/>
                    <a:pt x="213" y="510"/>
                    <a:pt x="217" y="510"/>
                  </a:cubicBezTo>
                  <a:cubicBezTo>
                    <a:pt x="221" y="510"/>
                    <a:pt x="222" y="504"/>
                    <a:pt x="227" y="503"/>
                  </a:cubicBezTo>
                  <a:cubicBezTo>
                    <a:pt x="232" y="502"/>
                    <a:pt x="242" y="506"/>
                    <a:pt x="249" y="506"/>
                  </a:cubicBezTo>
                  <a:cubicBezTo>
                    <a:pt x="256" y="506"/>
                    <a:pt x="263" y="504"/>
                    <a:pt x="268" y="506"/>
                  </a:cubicBezTo>
                  <a:cubicBezTo>
                    <a:pt x="273" y="508"/>
                    <a:pt x="274" y="517"/>
                    <a:pt x="279" y="516"/>
                  </a:cubicBezTo>
                  <a:cubicBezTo>
                    <a:pt x="284" y="515"/>
                    <a:pt x="291" y="502"/>
                    <a:pt x="298" y="498"/>
                  </a:cubicBezTo>
                  <a:cubicBezTo>
                    <a:pt x="305" y="494"/>
                    <a:pt x="314" y="494"/>
                    <a:pt x="319" y="492"/>
                  </a:cubicBezTo>
                  <a:cubicBezTo>
                    <a:pt x="324" y="490"/>
                    <a:pt x="324" y="488"/>
                    <a:pt x="328" y="488"/>
                  </a:cubicBezTo>
                  <a:cubicBezTo>
                    <a:pt x="332" y="488"/>
                    <a:pt x="339" y="490"/>
                    <a:pt x="345" y="492"/>
                  </a:cubicBezTo>
                  <a:cubicBezTo>
                    <a:pt x="351" y="494"/>
                    <a:pt x="361" y="494"/>
                    <a:pt x="367" y="498"/>
                  </a:cubicBezTo>
                  <a:cubicBezTo>
                    <a:pt x="373" y="502"/>
                    <a:pt x="378" y="508"/>
                    <a:pt x="381" y="516"/>
                  </a:cubicBezTo>
                  <a:cubicBezTo>
                    <a:pt x="384" y="524"/>
                    <a:pt x="386" y="539"/>
                    <a:pt x="384" y="546"/>
                  </a:cubicBezTo>
                  <a:cubicBezTo>
                    <a:pt x="382" y="553"/>
                    <a:pt x="371" y="556"/>
                    <a:pt x="369" y="561"/>
                  </a:cubicBezTo>
                  <a:cubicBezTo>
                    <a:pt x="367" y="566"/>
                    <a:pt x="367" y="576"/>
                    <a:pt x="369" y="578"/>
                  </a:cubicBezTo>
                  <a:cubicBezTo>
                    <a:pt x="371" y="580"/>
                    <a:pt x="376" y="571"/>
                    <a:pt x="379" y="573"/>
                  </a:cubicBezTo>
                  <a:cubicBezTo>
                    <a:pt x="382" y="575"/>
                    <a:pt x="385" y="586"/>
                    <a:pt x="388" y="590"/>
                  </a:cubicBezTo>
                  <a:cubicBezTo>
                    <a:pt x="391" y="594"/>
                    <a:pt x="391" y="595"/>
                    <a:pt x="394" y="599"/>
                  </a:cubicBezTo>
                  <a:cubicBezTo>
                    <a:pt x="397" y="603"/>
                    <a:pt x="401" y="612"/>
                    <a:pt x="405" y="615"/>
                  </a:cubicBezTo>
                  <a:cubicBezTo>
                    <a:pt x="409" y="618"/>
                    <a:pt x="415" y="618"/>
                    <a:pt x="420" y="615"/>
                  </a:cubicBezTo>
                  <a:cubicBezTo>
                    <a:pt x="425" y="612"/>
                    <a:pt x="431" y="600"/>
                    <a:pt x="435" y="596"/>
                  </a:cubicBezTo>
                  <a:cubicBezTo>
                    <a:pt x="439" y="592"/>
                    <a:pt x="440" y="589"/>
                    <a:pt x="444" y="590"/>
                  </a:cubicBezTo>
                  <a:cubicBezTo>
                    <a:pt x="448" y="591"/>
                    <a:pt x="453" y="600"/>
                    <a:pt x="459" y="600"/>
                  </a:cubicBezTo>
                  <a:cubicBezTo>
                    <a:pt x="465" y="600"/>
                    <a:pt x="474" y="589"/>
                    <a:pt x="480" y="588"/>
                  </a:cubicBezTo>
                  <a:cubicBezTo>
                    <a:pt x="486" y="587"/>
                    <a:pt x="490" y="591"/>
                    <a:pt x="495" y="594"/>
                  </a:cubicBezTo>
                  <a:cubicBezTo>
                    <a:pt x="500" y="597"/>
                    <a:pt x="505" y="604"/>
                    <a:pt x="508" y="608"/>
                  </a:cubicBezTo>
                  <a:cubicBezTo>
                    <a:pt x="511" y="612"/>
                    <a:pt x="511" y="616"/>
                    <a:pt x="514" y="618"/>
                  </a:cubicBezTo>
                  <a:cubicBezTo>
                    <a:pt x="517" y="620"/>
                    <a:pt x="524" y="618"/>
                    <a:pt x="529" y="621"/>
                  </a:cubicBezTo>
                  <a:cubicBezTo>
                    <a:pt x="534" y="624"/>
                    <a:pt x="543" y="633"/>
                    <a:pt x="543" y="638"/>
                  </a:cubicBezTo>
                  <a:cubicBezTo>
                    <a:pt x="543" y="643"/>
                    <a:pt x="533" y="650"/>
                    <a:pt x="531" y="654"/>
                  </a:cubicBezTo>
                  <a:cubicBezTo>
                    <a:pt x="529" y="658"/>
                    <a:pt x="529" y="664"/>
                    <a:pt x="532" y="665"/>
                  </a:cubicBezTo>
                  <a:cubicBezTo>
                    <a:pt x="535" y="666"/>
                    <a:pt x="543" y="663"/>
                    <a:pt x="547" y="663"/>
                  </a:cubicBezTo>
                  <a:cubicBezTo>
                    <a:pt x="551" y="663"/>
                    <a:pt x="552" y="666"/>
                    <a:pt x="555" y="662"/>
                  </a:cubicBezTo>
                  <a:cubicBezTo>
                    <a:pt x="558" y="658"/>
                    <a:pt x="565" y="642"/>
                    <a:pt x="567" y="636"/>
                  </a:cubicBezTo>
                  <a:cubicBezTo>
                    <a:pt x="569" y="630"/>
                    <a:pt x="564" y="627"/>
                    <a:pt x="568" y="624"/>
                  </a:cubicBezTo>
                  <a:cubicBezTo>
                    <a:pt x="572" y="621"/>
                    <a:pt x="584" y="619"/>
                    <a:pt x="589" y="615"/>
                  </a:cubicBezTo>
                  <a:cubicBezTo>
                    <a:pt x="594" y="611"/>
                    <a:pt x="595" y="604"/>
                    <a:pt x="597" y="600"/>
                  </a:cubicBezTo>
                  <a:cubicBezTo>
                    <a:pt x="599" y="596"/>
                    <a:pt x="599" y="589"/>
                    <a:pt x="601" y="590"/>
                  </a:cubicBezTo>
                  <a:cubicBezTo>
                    <a:pt x="603" y="591"/>
                    <a:pt x="603" y="605"/>
                    <a:pt x="607" y="606"/>
                  </a:cubicBezTo>
                  <a:cubicBezTo>
                    <a:pt x="611" y="607"/>
                    <a:pt x="616" y="599"/>
                    <a:pt x="624" y="596"/>
                  </a:cubicBezTo>
                  <a:cubicBezTo>
                    <a:pt x="632" y="593"/>
                    <a:pt x="644" y="592"/>
                    <a:pt x="654" y="585"/>
                  </a:cubicBezTo>
                  <a:cubicBezTo>
                    <a:pt x="664" y="578"/>
                    <a:pt x="677" y="565"/>
                    <a:pt x="684" y="557"/>
                  </a:cubicBezTo>
                  <a:cubicBezTo>
                    <a:pt x="691" y="549"/>
                    <a:pt x="690" y="546"/>
                    <a:pt x="696" y="537"/>
                  </a:cubicBezTo>
                  <a:cubicBezTo>
                    <a:pt x="702" y="528"/>
                    <a:pt x="712" y="515"/>
                    <a:pt x="718" y="503"/>
                  </a:cubicBezTo>
                  <a:cubicBezTo>
                    <a:pt x="724" y="491"/>
                    <a:pt x="735" y="472"/>
                    <a:pt x="733" y="467"/>
                  </a:cubicBezTo>
                  <a:cubicBezTo>
                    <a:pt x="731" y="462"/>
                    <a:pt x="709" y="475"/>
                    <a:pt x="708" y="473"/>
                  </a:cubicBezTo>
                  <a:cubicBezTo>
                    <a:pt x="707" y="471"/>
                    <a:pt x="723" y="461"/>
                    <a:pt x="724" y="456"/>
                  </a:cubicBezTo>
                  <a:cubicBezTo>
                    <a:pt x="725" y="451"/>
                    <a:pt x="718" y="450"/>
                    <a:pt x="715" y="444"/>
                  </a:cubicBezTo>
                  <a:cubicBezTo>
                    <a:pt x="712" y="438"/>
                    <a:pt x="710" y="423"/>
                    <a:pt x="708" y="417"/>
                  </a:cubicBezTo>
                  <a:cubicBezTo>
                    <a:pt x="706" y="411"/>
                    <a:pt x="705" y="411"/>
                    <a:pt x="702" y="407"/>
                  </a:cubicBezTo>
                  <a:cubicBezTo>
                    <a:pt x="699" y="403"/>
                    <a:pt x="690" y="399"/>
                    <a:pt x="690" y="392"/>
                  </a:cubicBezTo>
                  <a:cubicBezTo>
                    <a:pt x="690" y="385"/>
                    <a:pt x="698" y="373"/>
                    <a:pt x="705" y="365"/>
                  </a:cubicBezTo>
                  <a:cubicBezTo>
                    <a:pt x="712" y="357"/>
                    <a:pt x="732" y="350"/>
                    <a:pt x="733" y="345"/>
                  </a:cubicBezTo>
                  <a:cubicBezTo>
                    <a:pt x="734" y="340"/>
                    <a:pt x="719" y="336"/>
                    <a:pt x="714" y="336"/>
                  </a:cubicBezTo>
                  <a:cubicBezTo>
                    <a:pt x="709" y="336"/>
                    <a:pt x="704" y="345"/>
                    <a:pt x="700" y="347"/>
                  </a:cubicBezTo>
                  <a:cubicBezTo>
                    <a:pt x="696" y="349"/>
                    <a:pt x="690" y="354"/>
                    <a:pt x="687" y="351"/>
                  </a:cubicBezTo>
                  <a:cubicBezTo>
                    <a:pt x="684" y="348"/>
                    <a:pt x="685" y="334"/>
                    <a:pt x="682" y="330"/>
                  </a:cubicBezTo>
                  <a:cubicBezTo>
                    <a:pt x="679" y="326"/>
                    <a:pt x="670" y="329"/>
                    <a:pt x="666" y="326"/>
                  </a:cubicBezTo>
                  <a:cubicBezTo>
                    <a:pt x="662" y="323"/>
                    <a:pt x="657" y="316"/>
                    <a:pt x="660" y="314"/>
                  </a:cubicBezTo>
                  <a:cubicBezTo>
                    <a:pt x="663" y="312"/>
                    <a:pt x="677" y="315"/>
                    <a:pt x="684" y="311"/>
                  </a:cubicBezTo>
                  <a:cubicBezTo>
                    <a:pt x="691" y="307"/>
                    <a:pt x="699" y="295"/>
                    <a:pt x="703" y="290"/>
                  </a:cubicBezTo>
                  <a:cubicBezTo>
                    <a:pt x="707" y="285"/>
                    <a:pt x="705" y="283"/>
                    <a:pt x="709" y="281"/>
                  </a:cubicBezTo>
                  <a:cubicBezTo>
                    <a:pt x="713" y="279"/>
                    <a:pt x="726" y="276"/>
                    <a:pt x="729" y="279"/>
                  </a:cubicBezTo>
                  <a:cubicBezTo>
                    <a:pt x="732" y="282"/>
                    <a:pt x="729" y="290"/>
                    <a:pt x="727" y="296"/>
                  </a:cubicBezTo>
                  <a:cubicBezTo>
                    <a:pt x="725" y="302"/>
                    <a:pt x="716" y="316"/>
                    <a:pt x="718" y="317"/>
                  </a:cubicBezTo>
                  <a:cubicBezTo>
                    <a:pt x="720" y="318"/>
                    <a:pt x="736" y="308"/>
                    <a:pt x="741" y="305"/>
                  </a:cubicBezTo>
                  <a:cubicBezTo>
                    <a:pt x="746" y="302"/>
                    <a:pt x="744" y="297"/>
                    <a:pt x="747" y="296"/>
                  </a:cubicBezTo>
                  <a:cubicBezTo>
                    <a:pt x="750" y="295"/>
                    <a:pt x="756" y="297"/>
                    <a:pt x="760" y="296"/>
                  </a:cubicBezTo>
                  <a:cubicBezTo>
                    <a:pt x="764" y="295"/>
                    <a:pt x="766" y="291"/>
                    <a:pt x="769" y="288"/>
                  </a:cubicBezTo>
                  <a:cubicBezTo>
                    <a:pt x="772" y="285"/>
                    <a:pt x="776" y="279"/>
                    <a:pt x="780" y="275"/>
                  </a:cubicBezTo>
                  <a:cubicBezTo>
                    <a:pt x="784" y="271"/>
                    <a:pt x="790" y="266"/>
                    <a:pt x="795" y="264"/>
                  </a:cubicBezTo>
                  <a:cubicBezTo>
                    <a:pt x="800" y="262"/>
                    <a:pt x="806" y="266"/>
                    <a:pt x="810" y="264"/>
                  </a:cubicBezTo>
                  <a:cubicBezTo>
                    <a:pt x="814" y="262"/>
                    <a:pt x="813" y="257"/>
                    <a:pt x="817" y="255"/>
                  </a:cubicBezTo>
                  <a:cubicBezTo>
                    <a:pt x="821" y="253"/>
                    <a:pt x="830" y="254"/>
                    <a:pt x="834" y="251"/>
                  </a:cubicBezTo>
                  <a:cubicBezTo>
                    <a:pt x="838" y="248"/>
                    <a:pt x="837" y="238"/>
                    <a:pt x="841" y="236"/>
                  </a:cubicBezTo>
                  <a:cubicBezTo>
                    <a:pt x="845" y="234"/>
                    <a:pt x="854" y="238"/>
                    <a:pt x="858" y="236"/>
                  </a:cubicBezTo>
                  <a:cubicBezTo>
                    <a:pt x="862" y="234"/>
                    <a:pt x="863" y="231"/>
                    <a:pt x="864" y="227"/>
                  </a:cubicBezTo>
                  <a:cubicBezTo>
                    <a:pt x="865" y="223"/>
                    <a:pt x="863" y="215"/>
                    <a:pt x="864" y="210"/>
                  </a:cubicBezTo>
                  <a:cubicBezTo>
                    <a:pt x="865" y="205"/>
                    <a:pt x="866" y="199"/>
                    <a:pt x="868" y="197"/>
                  </a:cubicBezTo>
                  <a:cubicBezTo>
                    <a:pt x="870" y="195"/>
                    <a:pt x="875" y="195"/>
                    <a:pt x="879" y="195"/>
                  </a:cubicBezTo>
                  <a:cubicBezTo>
                    <a:pt x="883" y="195"/>
                    <a:pt x="890" y="199"/>
                    <a:pt x="895" y="195"/>
                  </a:cubicBezTo>
                  <a:cubicBezTo>
                    <a:pt x="900" y="191"/>
                    <a:pt x="906" y="178"/>
                    <a:pt x="909" y="171"/>
                  </a:cubicBezTo>
                  <a:cubicBezTo>
                    <a:pt x="912" y="164"/>
                    <a:pt x="913" y="160"/>
                    <a:pt x="915" y="153"/>
                  </a:cubicBezTo>
                  <a:cubicBezTo>
                    <a:pt x="917" y="146"/>
                    <a:pt x="926" y="130"/>
                    <a:pt x="922" y="128"/>
                  </a:cubicBezTo>
                  <a:cubicBezTo>
                    <a:pt x="918" y="126"/>
                    <a:pt x="900" y="136"/>
                    <a:pt x="892" y="140"/>
                  </a:cubicBezTo>
                  <a:cubicBezTo>
                    <a:pt x="884" y="144"/>
                    <a:pt x="877" y="152"/>
                    <a:pt x="871" y="150"/>
                  </a:cubicBezTo>
                  <a:cubicBezTo>
                    <a:pt x="865" y="148"/>
                    <a:pt x="861" y="134"/>
                    <a:pt x="858" y="128"/>
                  </a:cubicBezTo>
                  <a:cubicBezTo>
                    <a:pt x="855" y="122"/>
                    <a:pt x="857" y="116"/>
                    <a:pt x="852" y="113"/>
                  </a:cubicBezTo>
                  <a:cubicBezTo>
                    <a:pt x="847" y="110"/>
                    <a:pt x="834" y="112"/>
                    <a:pt x="828" y="107"/>
                  </a:cubicBezTo>
                  <a:cubicBezTo>
                    <a:pt x="822" y="102"/>
                    <a:pt x="818" y="91"/>
                    <a:pt x="814" y="83"/>
                  </a:cubicBezTo>
                  <a:cubicBezTo>
                    <a:pt x="810" y="75"/>
                    <a:pt x="811" y="67"/>
                    <a:pt x="807" y="59"/>
                  </a:cubicBezTo>
                  <a:cubicBezTo>
                    <a:pt x="803" y="51"/>
                    <a:pt x="796" y="43"/>
                    <a:pt x="792" y="35"/>
                  </a:cubicBezTo>
                  <a:cubicBezTo>
                    <a:pt x="788" y="27"/>
                    <a:pt x="790" y="17"/>
                    <a:pt x="783" y="11"/>
                  </a:cubicBezTo>
                  <a:cubicBezTo>
                    <a:pt x="776" y="5"/>
                    <a:pt x="761" y="0"/>
                    <a:pt x="747" y="0"/>
                  </a:cubicBezTo>
                  <a:cubicBezTo>
                    <a:pt x="733" y="0"/>
                    <a:pt x="706" y="7"/>
                    <a:pt x="700" y="14"/>
                  </a:cubicBezTo>
                  <a:cubicBezTo>
                    <a:pt x="694" y="21"/>
                    <a:pt x="708" y="36"/>
                    <a:pt x="708" y="45"/>
                  </a:cubicBezTo>
                  <a:cubicBezTo>
                    <a:pt x="708" y="54"/>
                    <a:pt x="702" y="61"/>
                    <a:pt x="700" y="66"/>
                  </a:cubicBezTo>
                  <a:cubicBezTo>
                    <a:pt x="698" y="71"/>
                    <a:pt x="695" y="71"/>
                    <a:pt x="694" y="74"/>
                  </a:cubicBezTo>
                  <a:cubicBezTo>
                    <a:pt x="693" y="77"/>
                    <a:pt x="694" y="83"/>
                    <a:pt x="691" y="87"/>
                  </a:cubicBezTo>
                  <a:cubicBezTo>
                    <a:pt x="688" y="91"/>
                    <a:pt x="685" y="96"/>
                    <a:pt x="679" y="98"/>
                  </a:cubicBezTo>
                  <a:cubicBezTo>
                    <a:pt x="673" y="100"/>
                    <a:pt x="661" y="100"/>
                    <a:pt x="655" y="101"/>
                  </a:cubicBezTo>
                  <a:cubicBezTo>
                    <a:pt x="649" y="102"/>
                    <a:pt x="643" y="97"/>
                    <a:pt x="640" y="99"/>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39" name="Freeform 595"/>
            <p:cNvSpPr>
              <a:spLocks/>
            </p:cNvSpPr>
            <p:nvPr>
              <p:custDataLst>
                <p:tags r:id="rId107"/>
              </p:custDataLst>
            </p:nvPr>
          </p:nvSpPr>
          <p:spPr bwMode="gray">
            <a:xfrm>
              <a:off x="4017057" y="2299303"/>
              <a:ext cx="455214" cy="210251"/>
            </a:xfrm>
            <a:custGeom>
              <a:avLst/>
              <a:gdLst>
                <a:gd name="T0" fmla="*/ 4 w 472"/>
                <a:gd name="T1" fmla="*/ 66 h 218"/>
                <a:gd name="T2" fmla="*/ 7 w 472"/>
                <a:gd name="T3" fmla="*/ 78 h 218"/>
                <a:gd name="T4" fmla="*/ 28 w 472"/>
                <a:gd name="T5" fmla="*/ 81 h 218"/>
                <a:gd name="T6" fmla="*/ 45 w 472"/>
                <a:gd name="T7" fmla="*/ 113 h 218"/>
                <a:gd name="T8" fmla="*/ 43 w 472"/>
                <a:gd name="T9" fmla="*/ 123 h 218"/>
                <a:gd name="T10" fmla="*/ 40 w 472"/>
                <a:gd name="T11" fmla="*/ 141 h 218"/>
                <a:gd name="T12" fmla="*/ 57 w 472"/>
                <a:gd name="T13" fmla="*/ 147 h 218"/>
                <a:gd name="T14" fmla="*/ 88 w 472"/>
                <a:gd name="T15" fmla="*/ 149 h 218"/>
                <a:gd name="T16" fmla="*/ 103 w 472"/>
                <a:gd name="T17" fmla="*/ 161 h 218"/>
                <a:gd name="T18" fmla="*/ 118 w 472"/>
                <a:gd name="T19" fmla="*/ 185 h 218"/>
                <a:gd name="T20" fmla="*/ 133 w 472"/>
                <a:gd name="T21" fmla="*/ 197 h 218"/>
                <a:gd name="T22" fmla="*/ 156 w 472"/>
                <a:gd name="T23" fmla="*/ 197 h 218"/>
                <a:gd name="T24" fmla="*/ 199 w 472"/>
                <a:gd name="T25" fmla="*/ 197 h 218"/>
                <a:gd name="T26" fmla="*/ 238 w 472"/>
                <a:gd name="T27" fmla="*/ 215 h 218"/>
                <a:gd name="T28" fmla="*/ 252 w 472"/>
                <a:gd name="T29" fmla="*/ 213 h 218"/>
                <a:gd name="T30" fmla="*/ 271 w 472"/>
                <a:gd name="T31" fmla="*/ 204 h 218"/>
                <a:gd name="T32" fmla="*/ 282 w 472"/>
                <a:gd name="T33" fmla="*/ 200 h 218"/>
                <a:gd name="T34" fmla="*/ 297 w 472"/>
                <a:gd name="T35" fmla="*/ 200 h 218"/>
                <a:gd name="T36" fmla="*/ 322 w 472"/>
                <a:gd name="T37" fmla="*/ 195 h 218"/>
                <a:gd name="T38" fmla="*/ 342 w 472"/>
                <a:gd name="T39" fmla="*/ 183 h 218"/>
                <a:gd name="T40" fmla="*/ 349 w 472"/>
                <a:gd name="T41" fmla="*/ 168 h 218"/>
                <a:gd name="T42" fmla="*/ 349 w 472"/>
                <a:gd name="T43" fmla="*/ 150 h 218"/>
                <a:gd name="T44" fmla="*/ 354 w 472"/>
                <a:gd name="T45" fmla="*/ 141 h 218"/>
                <a:gd name="T46" fmla="*/ 385 w 472"/>
                <a:gd name="T47" fmla="*/ 153 h 218"/>
                <a:gd name="T48" fmla="*/ 393 w 472"/>
                <a:gd name="T49" fmla="*/ 144 h 218"/>
                <a:gd name="T50" fmla="*/ 400 w 472"/>
                <a:gd name="T51" fmla="*/ 135 h 218"/>
                <a:gd name="T52" fmla="*/ 417 w 472"/>
                <a:gd name="T53" fmla="*/ 131 h 218"/>
                <a:gd name="T54" fmla="*/ 430 w 472"/>
                <a:gd name="T55" fmla="*/ 113 h 218"/>
                <a:gd name="T56" fmla="*/ 469 w 472"/>
                <a:gd name="T57" fmla="*/ 110 h 218"/>
                <a:gd name="T58" fmla="*/ 451 w 472"/>
                <a:gd name="T59" fmla="*/ 81 h 218"/>
                <a:gd name="T60" fmla="*/ 436 w 472"/>
                <a:gd name="T61" fmla="*/ 90 h 218"/>
                <a:gd name="T62" fmla="*/ 420 w 472"/>
                <a:gd name="T63" fmla="*/ 83 h 218"/>
                <a:gd name="T64" fmla="*/ 412 w 472"/>
                <a:gd name="T65" fmla="*/ 92 h 218"/>
                <a:gd name="T66" fmla="*/ 415 w 472"/>
                <a:gd name="T67" fmla="*/ 78 h 218"/>
                <a:gd name="T68" fmla="*/ 408 w 472"/>
                <a:gd name="T69" fmla="*/ 66 h 218"/>
                <a:gd name="T70" fmla="*/ 418 w 472"/>
                <a:gd name="T71" fmla="*/ 47 h 218"/>
                <a:gd name="T72" fmla="*/ 403 w 472"/>
                <a:gd name="T73" fmla="*/ 47 h 218"/>
                <a:gd name="T74" fmla="*/ 391 w 472"/>
                <a:gd name="T75" fmla="*/ 44 h 218"/>
                <a:gd name="T76" fmla="*/ 352 w 472"/>
                <a:gd name="T77" fmla="*/ 65 h 218"/>
                <a:gd name="T78" fmla="*/ 334 w 472"/>
                <a:gd name="T79" fmla="*/ 66 h 218"/>
                <a:gd name="T80" fmla="*/ 316 w 472"/>
                <a:gd name="T81" fmla="*/ 69 h 218"/>
                <a:gd name="T82" fmla="*/ 303 w 472"/>
                <a:gd name="T83" fmla="*/ 66 h 218"/>
                <a:gd name="T84" fmla="*/ 294 w 472"/>
                <a:gd name="T85" fmla="*/ 56 h 218"/>
                <a:gd name="T86" fmla="*/ 286 w 472"/>
                <a:gd name="T87" fmla="*/ 44 h 218"/>
                <a:gd name="T88" fmla="*/ 267 w 472"/>
                <a:gd name="T89" fmla="*/ 38 h 218"/>
                <a:gd name="T90" fmla="*/ 226 w 472"/>
                <a:gd name="T91" fmla="*/ 41 h 218"/>
                <a:gd name="T92" fmla="*/ 207 w 472"/>
                <a:gd name="T93" fmla="*/ 17 h 218"/>
                <a:gd name="T94" fmla="*/ 162 w 472"/>
                <a:gd name="T95" fmla="*/ 3 h 218"/>
                <a:gd name="T96" fmla="*/ 148 w 472"/>
                <a:gd name="T97" fmla="*/ 35 h 218"/>
                <a:gd name="T98" fmla="*/ 147 w 472"/>
                <a:gd name="T99" fmla="*/ 48 h 218"/>
                <a:gd name="T100" fmla="*/ 142 w 472"/>
                <a:gd name="T101" fmla="*/ 48 h 218"/>
                <a:gd name="T102" fmla="*/ 136 w 472"/>
                <a:gd name="T103" fmla="*/ 56 h 218"/>
                <a:gd name="T104" fmla="*/ 112 w 472"/>
                <a:gd name="T105" fmla="*/ 53 h 218"/>
                <a:gd name="T106" fmla="*/ 100 w 472"/>
                <a:gd name="T107" fmla="*/ 47 h 218"/>
                <a:gd name="T108" fmla="*/ 85 w 472"/>
                <a:gd name="T109" fmla="*/ 36 h 218"/>
                <a:gd name="T110" fmla="*/ 73 w 472"/>
                <a:gd name="T111" fmla="*/ 30 h 218"/>
                <a:gd name="T112" fmla="*/ 55 w 472"/>
                <a:gd name="T113" fmla="*/ 29 h 218"/>
                <a:gd name="T114" fmla="*/ 42 w 472"/>
                <a:gd name="T115" fmla="*/ 37 h 218"/>
                <a:gd name="T116" fmla="*/ 33 w 472"/>
                <a:gd name="T117" fmla="*/ 47 h 218"/>
                <a:gd name="T118" fmla="*/ 16 w 472"/>
                <a:gd name="T119" fmla="*/ 54 h 218"/>
                <a:gd name="T120" fmla="*/ 4 w 472"/>
                <a:gd name="T121" fmla="*/ 6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2" h="218">
                  <a:moveTo>
                    <a:pt x="4" y="66"/>
                  </a:moveTo>
                  <a:cubicBezTo>
                    <a:pt x="0" y="71"/>
                    <a:pt x="3" y="76"/>
                    <a:pt x="7" y="78"/>
                  </a:cubicBezTo>
                  <a:cubicBezTo>
                    <a:pt x="11" y="80"/>
                    <a:pt x="22" y="75"/>
                    <a:pt x="28" y="81"/>
                  </a:cubicBezTo>
                  <a:cubicBezTo>
                    <a:pt x="34" y="87"/>
                    <a:pt x="43" y="106"/>
                    <a:pt x="45" y="113"/>
                  </a:cubicBezTo>
                  <a:cubicBezTo>
                    <a:pt x="47" y="120"/>
                    <a:pt x="44" y="118"/>
                    <a:pt x="43" y="123"/>
                  </a:cubicBezTo>
                  <a:cubicBezTo>
                    <a:pt x="42" y="128"/>
                    <a:pt x="38" y="137"/>
                    <a:pt x="40" y="141"/>
                  </a:cubicBezTo>
                  <a:cubicBezTo>
                    <a:pt x="42" y="145"/>
                    <a:pt x="49" y="146"/>
                    <a:pt x="57" y="147"/>
                  </a:cubicBezTo>
                  <a:cubicBezTo>
                    <a:pt x="65" y="148"/>
                    <a:pt x="80" y="147"/>
                    <a:pt x="88" y="149"/>
                  </a:cubicBezTo>
                  <a:cubicBezTo>
                    <a:pt x="96" y="151"/>
                    <a:pt x="98" y="155"/>
                    <a:pt x="103" y="161"/>
                  </a:cubicBezTo>
                  <a:cubicBezTo>
                    <a:pt x="108" y="167"/>
                    <a:pt x="113" y="179"/>
                    <a:pt x="118" y="185"/>
                  </a:cubicBezTo>
                  <a:cubicBezTo>
                    <a:pt x="123" y="191"/>
                    <a:pt x="127" y="195"/>
                    <a:pt x="133" y="197"/>
                  </a:cubicBezTo>
                  <a:cubicBezTo>
                    <a:pt x="139" y="199"/>
                    <a:pt x="145" y="197"/>
                    <a:pt x="156" y="197"/>
                  </a:cubicBezTo>
                  <a:cubicBezTo>
                    <a:pt x="167" y="197"/>
                    <a:pt x="185" y="194"/>
                    <a:pt x="199" y="197"/>
                  </a:cubicBezTo>
                  <a:cubicBezTo>
                    <a:pt x="213" y="200"/>
                    <a:pt x="229" y="212"/>
                    <a:pt x="238" y="215"/>
                  </a:cubicBezTo>
                  <a:cubicBezTo>
                    <a:pt x="247" y="218"/>
                    <a:pt x="247" y="215"/>
                    <a:pt x="252" y="213"/>
                  </a:cubicBezTo>
                  <a:cubicBezTo>
                    <a:pt x="257" y="211"/>
                    <a:pt x="266" y="206"/>
                    <a:pt x="271" y="204"/>
                  </a:cubicBezTo>
                  <a:cubicBezTo>
                    <a:pt x="276" y="202"/>
                    <a:pt x="278" y="201"/>
                    <a:pt x="282" y="200"/>
                  </a:cubicBezTo>
                  <a:cubicBezTo>
                    <a:pt x="286" y="199"/>
                    <a:pt x="290" y="201"/>
                    <a:pt x="297" y="200"/>
                  </a:cubicBezTo>
                  <a:cubicBezTo>
                    <a:pt x="304" y="199"/>
                    <a:pt x="315" y="198"/>
                    <a:pt x="322" y="195"/>
                  </a:cubicBezTo>
                  <a:cubicBezTo>
                    <a:pt x="329" y="192"/>
                    <a:pt x="338" y="187"/>
                    <a:pt x="342" y="183"/>
                  </a:cubicBezTo>
                  <a:cubicBezTo>
                    <a:pt x="346" y="179"/>
                    <a:pt x="348" y="173"/>
                    <a:pt x="349" y="168"/>
                  </a:cubicBezTo>
                  <a:cubicBezTo>
                    <a:pt x="350" y="163"/>
                    <a:pt x="348" y="154"/>
                    <a:pt x="349" y="150"/>
                  </a:cubicBezTo>
                  <a:cubicBezTo>
                    <a:pt x="350" y="146"/>
                    <a:pt x="348" y="140"/>
                    <a:pt x="354" y="141"/>
                  </a:cubicBezTo>
                  <a:cubicBezTo>
                    <a:pt x="360" y="142"/>
                    <a:pt x="379" y="153"/>
                    <a:pt x="385" y="153"/>
                  </a:cubicBezTo>
                  <a:cubicBezTo>
                    <a:pt x="391" y="153"/>
                    <a:pt x="391" y="147"/>
                    <a:pt x="393" y="144"/>
                  </a:cubicBezTo>
                  <a:cubicBezTo>
                    <a:pt x="395" y="141"/>
                    <a:pt x="396" y="137"/>
                    <a:pt x="400" y="135"/>
                  </a:cubicBezTo>
                  <a:cubicBezTo>
                    <a:pt x="404" y="133"/>
                    <a:pt x="412" y="135"/>
                    <a:pt x="417" y="131"/>
                  </a:cubicBezTo>
                  <a:cubicBezTo>
                    <a:pt x="422" y="127"/>
                    <a:pt x="421" y="116"/>
                    <a:pt x="430" y="113"/>
                  </a:cubicBezTo>
                  <a:cubicBezTo>
                    <a:pt x="439" y="110"/>
                    <a:pt x="466" y="115"/>
                    <a:pt x="469" y="110"/>
                  </a:cubicBezTo>
                  <a:cubicBezTo>
                    <a:pt x="472" y="105"/>
                    <a:pt x="456" y="84"/>
                    <a:pt x="451" y="81"/>
                  </a:cubicBezTo>
                  <a:cubicBezTo>
                    <a:pt x="446" y="78"/>
                    <a:pt x="441" y="90"/>
                    <a:pt x="436" y="90"/>
                  </a:cubicBezTo>
                  <a:cubicBezTo>
                    <a:pt x="431" y="90"/>
                    <a:pt x="424" y="83"/>
                    <a:pt x="420" y="83"/>
                  </a:cubicBezTo>
                  <a:cubicBezTo>
                    <a:pt x="416" y="83"/>
                    <a:pt x="413" y="93"/>
                    <a:pt x="412" y="92"/>
                  </a:cubicBezTo>
                  <a:cubicBezTo>
                    <a:pt x="411" y="91"/>
                    <a:pt x="416" y="82"/>
                    <a:pt x="415" y="78"/>
                  </a:cubicBezTo>
                  <a:cubicBezTo>
                    <a:pt x="414" y="74"/>
                    <a:pt x="408" y="71"/>
                    <a:pt x="408" y="66"/>
                  </a:cubicBezTo>
                  <a:cubicBezTo>
                    <a:pt x="408" y="61"/>
                    <a:pt x="419" y="50"/>
                    <a:pt x="418" y="47"/>
                  </a:cubicBezTo>
                  <a:cubicBezTo>
                    <a:pt x="417" y="44"/>
                    <a:pt x="407" y="47"/>
                    <a:pt x="403" y="47"/>
                  </a:cubicBezTo>
                  <a:cubicBezTo>
                    <a:pt x="399" y="47"/>
                    <a:pt x="399" y="41"/>
                    <a:pt x="391" y="44"/>
                  </a:cubicBezTo>
                  <a:cubicBezTo>
                    <a:pt x="383" y="47"/>
                    <a:pt x="361" y="61"/>
                    <a:pt x="352" y="65"/>
                  </a:cubicBezTo>
                  <a:cubicBezTo>
                    <a:pt x="343" y="69"/>
                    <a:pt x="340" y="65"/>
                    <a:pt x="334" y="66"/>
                  </a:cubicBezTo>
                  <a:cubicBezTo>
                    <a:pt x="328" y="67"/>
                    <a:pt x="321" y="69"/>
                    <a:pt x="316" y="69"/>
                  </a:cubicBezTo>
                  <a:cubicBezTo>
                    <a:pt x="311" y="69"/>
                    <a:pt x="307" y="68"/>
                    <a:pt x="303" y="66"/>
                  </a:cubicBezTo>
                  <a:cubicBezTo>
                    <a:pt x="299" y="64"/>
                    <a:pt x="297" y="60"/>
                    <a:pt x="294" y="56"/>
                  </a:cubicBezTo>
                  <a:cubicBezTo>
                    <a:pt x="291" y="52"/>
                    <a:pt x="290" y="47"/>
                    <a:pt x="286" y="44"/>
                  </a:cubicBezTo>
                  <a:cubicBezTo>
                    <a:pt x="282" y="41"/>
                    <a:pt x="277" y="38"/>
                    <a:pt x="267" y="38"/>
                  </a:cubicBezTo>
                  <a:cubicBezTo>
                    <a:pt x="257" y="38"/>
                    <a:pt x="236" y="44"/>
                    <a:pt x="226" y="41"/>
                  </a:cubicBezTo>
                  <a:cubicBezTo>
                    <a:pt x="216" y="38"/>
                    <a:pt x="218" y="23"/>
                    <a:pt x="207" y="17"/>
                  </a:cubicBezTo>
                  <a:cubicBezTo>
                    <a:pt x="196" y="11"/>
                    <a:pt x="172" y="0"/>
                    <a:pt x="162" y="3"/>
                  </a:cubicBezTo>
                  <a:cubicBezTo>
                    <a:pt x="152" y="6"/>
                    <a:pt x="150" y="28"/>
                    <a:pt x="148" y="35"/>
                  </a:cubicBezTo>
                  <a:cubicBezTo>
                    <a:pt x="146" y="42"/>
                    <a:pt x="148" y="46"/>
                    <a:pt x="147" y="48"/>
                  </a:cubicBezTo>
                  <a:cubicBezTo>
                    <a:pt x="146" y="50"/>
                    <a:pt x="144" y="47"/>
                    <a:pt x="142" y="48"/>
                  </a:cubicBezTo>
                  <a:cubicBezTo>
                    <a:pt x="140" y="49"/>
                    <a:pt x="141" y="55"/>
                    <a:pt x="136" y="56"/>
                  </a:cubicBezTo>
                  <a:cubicBezTo>
                    <a:pt x="131" y="57"/>
                    <a:pt x="118" y="54"/>
                    <a:pt x="112" y="53"/>
                  </a:cubicBezTo>
                  <a:cubicBezTo>
                    <a:pt x="106" y="52"/>
                    <a:pt x="104" y="50"/>
                    <a:pt x="100" y="47"/>
                  </a:cubicBezTo>
                  <a:cubicBezTo>
                    <a:pt x="96" y="44"/>
                    <a:pt x="89" y="39"/>
                    <a:pt x="85" y="36"/>
                  </a:cubicBezTo>
                  <a:cubicBezTo>
                    <a:pt x="81" y="33"/>
                    <a:pt x="78" y="31"/>
                    <a:pt x="73" y="30"/>
                  </a:cubicBezTo>
                  <a:cubicBezTo>
                    <a:pt x="68" y="29"/>
                    <a:pt x="60" y="28"/>
                    <a:pt x="55" y="29"/>
                  </a:cubicBezTo>
                  <a:cubicBezTo>
                    <a:pt x="50" y="30"/>
                    <a:pt x="46" y="34"/>
                    <a:pt x="42" y="37"/>
                  </a:cubicBezTo>
                  <a:cubicBezTo>
                    <a:pt x="38" y="40"/>
                    <a:pt x="37" y="44"/>
                    <a:pt x="33" y="47"/>
                  </a:cubicBezTo>
                  <a:cubicBezTo>
                    <a:pt x="29" y="50"/>
                    <a:pt x="21" y="51"/>
                    <a:pt x="16" y="54"/>
                  </a:cubicBezTo>
                  <a:cubicBezTo>
                    <a:pt x="11" y="57"/>
                    <a:pt x="6" y="64"/>
                    <a:pt x="4" y="66"/>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40" name="Freeform 596"/>
            <p:cNvSpPr>
              <a:spLocks/>
            </p:cNvSpPr>
            <p:nvPr>
              <p:custDataLst>
                <p:tags r:id="rId108"/>
              </p:custDataLst>
            </p:nvPr>
          </p:nvSpPr>
          <p:spPr bwMode="gray">
            <a:xfrm>
              <a:off x="4011106" y="2765426"/>
              <a:ext cx="64464" cy="82316"/>
            </a:xfrm>
            <a:custGeom>
              <a:avLst/>
              <a:gdLst>
                <a:gd name="T0" fmla="*/ 39 w 65"/>
                <a:gd name="T1" fmla="*/ 79 h 83"/>
                <a:gd name="T2" fmla="*/ 50 w 65"/>
                <a:gd name="T3" fmla="*/ 49 h 83"/>
                <a:gd name="T4" fmla="*/ 65 w 65"/>
                <a:gd name="T5" fmla="*/ 41 h 83"/>
                <a:gd name="T6" fmla="*/ 56 w 65"/>
                <a:gd name="T7" fmla="*/ 28 h 83"/>
                <a:gd name="T8" fmla="*/ 27 w 65"/>
                <a:gd name="T9" fmla="*/ 23 h 83"/>
                <a:gd name="T10" fmla="*/ 18 w 65"/>
                <a:gd name="T11" fmla="*/ 3 h 83"/>
                <a:gd name="T12" fmla="*/ 5 w 65"/>
                <a:gd name="T13" fmla="*/ 3 h 83"/>
                <a:gd name="T14" fmla="*/ 15 w 65"/>
                <a:gd name="T15" fmla="*/ 18 h 83"/>
                <a:gd name="T16" fmla="*/ 4 w 65"/>
                <a:gd name="T17" fmla="*/ 35 h 83"/>
                <a:gd name="T18" fmla="*/ 15 w 65"/>
                <a:gd name="T19" fmla="*/ 40 h 83"/>
                <a:gd name="T20" fmla="*/ 20 w 65"/>
                <a:gd name="T21" fmla="*/ 73 h 83"/>
                <a:gd name="T22" fmla="*/ 24 w 65"/>
                <a:gd name="T23" fmla="*/ 81 h 83"/>
                <a:gd name="T24" fmla="*/ 36 w 65"/>
                <a:gd name="T25" fmla="*/ 75 h 83"/>
                <a:gd name="T26" fmla="*/ 33 w 65"/>
                <a:gd name="T27" fmla="*/ 79 h 83"/>
                <a:gd name="T28" fmla="*/ 39 w 65"/>
                <a:gd name="T29" fmla="*/ 7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3">
                  <a:moveTo>
                    <a:pt x="39" y="79"/>
                  </a:moveTo>
                  <a:cubicBezTo>
                    <a:pt x="42" y="37"/>
                    <a:pt x="35" y="61"/>
                    <a:pt x="50" y="49"/>
                  </a:cubicBezTo>
                  <a:cubicBezTo>
                    <a:pt x="53" y="41"/>
                    <a:pt x="58" y="44"/>
                    <a:pt x="65" y="41"/>
                  </a:cubicBezTo>
                  <a:cubicBezTo>
                    <a:pt x="64" y="33"/>
                    <a:pt x="65" y="29"/>
                    <a:pt x="56" y="28"/>
                  </a:cubicBezTo>
                  <a:cubicBezTo>
                    <a:pt x="47" y="24"/>
                    <a:pt x="39" y="24"/>
                    <a:pt x="27" y="23"/>
                  </a:cubicBezTo>
                  <a:cubicBezTo>
                    <a:pt x="20" y="19"/>
                    <a:pt x="22" y="6"/>
                    <a:pt x="18" y="3"/>
                  </a:cubicBezTo>
                  <a:cubicBezTo>
                    <a:pt x="14" y="0"/>
                    <a:pt x="5" y="1"/>
                    <a:pt x="5" y="3"/>
                  </a:cubicBezTo>
                  <a:cubicBezTo>
                    <a:pt x="0" y="10"/>
                    <a:pt x="8" y="17"/>
                    <a:pt x="15" y="18"/>
                  </a:cubicBezTo>
                  <a:cubicBezTo>
                    <a:pt x="13" y="30"/>
                    <a:pt x="14" y="29"/>
                    <a:pt x="4" y="35"/>
                  </a:cubicBezTo>
                  <a:cubicBezTo>
                    <a:pt x="7" y="37"/>
                    <a:pt x="14" y="36"/>
                    <a:pt x="15" y="40"/>
                  </a:cubicBezTo>
                  <a:cubicBezTo>
                    <a:pt x="19" y="51"/>
                    <a:pt x="15" y="63"/>
                    <a:pt x="20" y="73"/>
                  </a:cubicBezTo>
                  <a:cubicBezTo>
                    <a:pt x="20" y="77"/>
                    <a:pt x="21" y="79"/>
                    <a:pt x="24" y="81"/>
                  </a:cubicBezTo>
                  <a:cubicBezTo>
                    <a:pt x="25" y="83"/>
                    <a:pt x="34" y="75"/>
                    <a:pt x="36" y="75"/>
                  </a:cubicBezTo>
                  <a:cubicBezTo>
                    <a:pt x="37" y="75"/>
                    <a:pt x="33" y="78"/>
                    <a:pt x="33" y="79"/>
                  </a:cubicBezTo>
                  <a:cubicBezTo>
                    <a:pt x="33" y="80"/>
                    <a:pt x="38" y="79"/>
                    <a:pt x="39" y="79"/>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41" name="Freeform 597"/>
            <p:cNvSpPr>
              <a:spLocks/>
            </p:cNvSpPr>
            <p:nvPr>
              <p:custDataLst>
                <p:tags r:id="rId109"/>
              </p:custDataLst>
            </p:nvPr>
          </p:nvSpPr>
          <p:spPr bwMode="gray">
            <a:xfrm>
              <a:off x="4030941" y="2737657"/>
              <a:ext cx="44629" cy="27769"/>
            </a:xfrm>
            <a:custGeom>
              <a:avLst/>
              <a:gdLst>
                <a:gd name="T0" fmla="*/ 4 w 47"/>
                <a:gd name="T1" fmla="*/ 26 h 29"/>
                <a:gd name="T2" fmla="*/ 28 w 47"/>
                <a:gd name="T3" fmla="*/ 26 h 29"/>
                <a:gd name="T4" fmla="*/ 43 w 47"/>
                <a:gd name="T5" fmla="*/ 26 h 29"/>
                <a:gd name="T6" fmla="*/ 46 w 47"/>
                <a:gd name="T7" fmla="*/ 16 h 29"/>
                <a:gd name="T8" fmla="*/ 38 w 47"/>
                <a:gd name="T9" fmla="*/ 16 h 29"/>
                <a:gd name="T10" fmla="*/ 29 w 47"/>
                <a:gd name="T11" fmla="*/ 2 h 29"/>
                <a:gd name="T12" fmla="*/ 16 w 47"/>
                <a:gd name="T13" fmla="*/ 2 h 29"/>
                <a:gd name="T14" fmla="*/ 2 w 47"/>
                <a:gd name="T15" fmla="*/ 10 h 29"/>
                <a:gd name="T16" fmla="*/ 4 w 47"/>
                <a:gd name="T17"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9">
                  <a:moveTo>
                    <a:pt x="4" y="26"/>
                  </a:moveTo>
                  <a:cubicBezTo>
                    <a:pt x="9" y="29"/>
                    <a:pt x="22" y="26"/>
                    <a:pt x="28" y="26"/>
                  </a:cubicBezTo>
                  <a:cubicBezTo>
                    <a:pt x="34" y="26"/>
                    <a:pt x="40" y="28"/>
                    <a:pt x="43" y="26"/>
                  </a:cubicBezTo>
                  <a:cubicBezTo>
                    <a:pt x="46" y="24"/>
                    <a:pt x="47" y="18"/>
                    <a:pt x="46" y="16"/>
                  </a:cubicBezTo>
                  <a:cubicBezTo>
                    <a:pt x="45" y="14"/>
                    <a:pt x="41" y="18"/>
                    <a:pt x="38" y="16"/>
                  </a:cubicBezTo>
                  <a:cubicBezTo>
                    <a:pt x="35" y="14"/>
                    <a:pt x="33" y="4"/>
                    <a:pt x="29" y="2"/>
                  </a:cubicBezTo>
                  <a:cubicBezTo>
                    <a:pt x="25" y="0"/>
                    <a:pt x="20" y="1"/>
                    <a:pt x="16" y="2"/>
                  </a:cubicBezTo>
                  <a:cubicBezTo>
                    <a:pt x="12" y="3"/>
                    <a:pt x="4" y="6"/>
                    <a:pt x="2" y="10"/>
                  </a:cubicBezTo>
                  <a:cubicBezTo>
                    <a:pt x="0" y="14"/>
                    <a:pt x="4" y="23"/>
                    <a:pt x="4" y="26"/>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42" name="Freeform 598"/>
            <p:cNvSpPr>
              <a:spLocks/>
            </p:cNvSpPr>
            <p:nvPr>
              <p:custDataLst>
                <p:tags r:id="rId110"/>
              </p:custDataLst>
            </p:nvPr>
          </p:nvSpPr>
          <p:spPr bwMode="gray">
            <a:xfrm>
              <a:off x="4072595" y="2741624"/>
              <a:ext cx="120002" cy="193392"/>
            </a:xfrm>
            <a:custGeom>
              <a:avLst/>
              <a:gdLst>
                <a:gd name="T0" fmla="*/ 2 w 124"/>
                <a:gd name="T1" fmla="*/ 106 h 201"/>
                <a:gd name="T2" fmla="*/ 6 w 124"/>
                <a:gd name="T3" fmla="*/ 117 h 201"/>
                <a:gd name="T4" fmla="*/ 24 w 124"/>
                <a:gd name="T5" fmla="*/ 141 h 201"/>
                <a:gd name="T6" fmla="*/ 33 w 124"/>
                <a:gd name="T7" fmla="*/ 153 h 201"/>
                <a:gd name="T8" fmla="*/ 36 w 124"/>
                <a:gd name="T9" fmla="*/ 192 h 201"/>
                <a:gd name="T10" fmla="*/ 65 w 124"/>
                <a:gd name="T11" fmla="*/ 183 h 201"/>
                <a:gd name="T12" fmla="*/ 71 w 124"/>
                <a:gd name="T13" fmla="*/ 175 h 201"/>
                <a:gd name="T14" fmla="*/ 80 w 124"/>
                <a:gd name="T15" fmla="*/ 183 h 201"/>
                <a:gd name="T16" fmla="*/ 86 w 124"/>
                <a:gd name="T17" fmla="*/ 199 h 201"/>
                <a:gd name="T18" fmla="*/ 98 w 124"/>
                <a:gd name="T19" fmla="*/ 195 h 201"/>
                <a:gd name="T20" fmla="*/ 86 w 124"/>
                <a:gd name="T21" fmla="*/ 175 h 201"/>
                <a:gd name="T22" fmla="*/ 81 w 124"/>
                <a:gd name="T23" fmla="*/ 165 h 201"/>
                <a:gd name="T24" fmla="*/ 83 w 124"/>
                <a:gd name="T25" fmla="*/ 145 h 201"/>
                <a:gd name="T26" fmla="*/ 90 w 124"/>
                <a:gd name="T27" fmla="*/ 132 h 201"/>
                <a:gd name="T28" fmla="*/ 105 w 124"/>
                <a:gd name="T29" fmla="*/ 132 h 201"/>
                <a:gd name="T30" fmla="*/ 116 w 124"/>
                <a:gd name="T31" fmla="*/ 123 h 201"/>
                <a:gd name="T32" fmla="*/ 122 w 124"/>
                <a:gd name="T33" fmla="*/ 114 h 201"/>
                <a:gd name="T34" fmla="*/ 105 w 124"/>
                <a:gd name="T35" fmla="*/ 84 h 201"/>
                <a:gd name="T36" fmla="*/ 98 w 124"/>
                <a:gd name="T37" fmla="*/ 70 h 201"/>
                <a:gd name="T38" fmla="*/ 86 w 124"/>
                <a:gd name="T39" fmla="*/ 72 h 201"/>
                <a:gd name="T40" fmla="*/ 83 w 124"/>
                <a:gd name="T41" fmla="*/ 57 h 201"/>
                <a:gd name="T42" fmla="*/ 98 w 124"/>
                <a:gd name="T43" fmla="*/ 40 h 201"/>
                <a:gd name="T44" fmla="*/ 99 w 124"/>
                <a:gd name="T45" fmla="*/ 16 h 201"/>
                <a:gd name="T46" fmla="*/ 89 w 124"/>
                <a:gd name="T47" fmla="*/ 0 h 201"/>
                <a:gd name="T48" fmla="*/ 60 w 124"/>
                <a:gd name="T49" fmla="*/ 19 h 201"/>
                <a:gd name="T50" fmla="*/ 47 w 124"/>
                <a:gd name="T51" fmla="*/ 21 h 201"/>
                <a:gd name="T52" fmla="*/ 47 w 124"/>
                <a:gd name="T53" fmla="*/ 46 h 201"/>
                <a:gd name="T54" fmla="*/ 33 w 124"/>
                <a:gd name="T55" fmla="*/ 75 h 201"/>
                <a:gd name="T56" fmla="*/ 18 w 124"/>
                <a:gd name="T57" fmla="*/ 70 h 201"/>
                <a:gd name="T58" fmla="*/ 21 w 124"/>
                <a:gd name="T59" fmla="*/ 97 h 201"/>
                <a:gd name="T60" fmla="*/ 2 w 124"/>
                <a:gd name="T61" fmla="*/ 10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4" h="201">
                  <a:moveTo>
                    <a:pt x="2" y="106"/>
                  </a:moveTo>
                  <a:cubicBezTo>
                    <a:pt x="0" y="109"/>
                    <a:pt x="2" y="111"/>
                    <a:pt x="6" y="117"/>
                  </a:cubicBezTo>
                  <a:cubicBezTo>
                    <a:pt x="10" y="123"/>
                    <a:pt x="19" y="135"/>
                    <a:pt x="24" y="141"/>
                  </a:cubicBezTo>
                  <a:cubicBezTo>
                    <a:pt x="29" y="147"/>
                    <a:pt x="31" y="145"/>
                    <a:pt x="33" y="153"/>
                  </a:cubicBezTo>
                  <a:cubicBezTo>
                    <a:pt x="35" y="161"/>
                    <a:pt x="31" y="187"/>
                    <a:pt x="36" y="192"/>
                  </a:cubicBezTo>
                  <a:cubicBezTo>
                    <a:pt x="41" y="197"/>
                    <a:pt x="59" y="186"/>
                    <a:pt x="65" y="183"/>
                  </a:cubicBezTo>
                  <a:cubicBezTo>
                    <a:pt x="71" y="180"/>
                    <a:pt x="69" y="175"/>
                    <a:pt x="71" y="175"/>
                  </a:cubicBezTo>
                  <a:cubicBezTo>
                    <a:pt x="73" y="175"/>
                    <a:pt x="77" y="179"/>
                    <a:pt x="80" y="183"/>
                  </a:cubicBezTo>
                  <a:cubicBezTo>
                    <a:pt x="83" y="187"/>
                    <a:pt x="83" y="197"/>
                    <a:pt x="86" y="199"/>
                  </a:cubicBezTo>
                  <a:cubicBezTo>
                    <a:pt x="89" y="201"/>
                    <a:pt x="98" y="199"/>
                    <a:pt x="98" y="195"/>
                  </a:cubicBezTo>
                  <a:cubicBezTo>
                    <a:pt x="98" y="191"/>
                    <a:pt x="89" y="180"/>
                    <a:pt x="86" y="175"/>
                  </a:cubicBezTo>
                  <a:cubicBezTo>
                    <a:pt x="83" y="170"/>
                    <a:pt x="81" y="170"/>
                    <a:pt x="81" y="165"/>
                  </a:cubicBezTo>
                  <a:cubicBezTo>
                    <a:pt x="81" y="160"/>
                    <a:pt x="82" y="150"/>
                    <a:pt x="83" y="145"/>
                  </a:cubicBezTo>
                  <a:cubicBezTo>
                    <a:pt x="84" y="140"/>
                    <a:pt x="86" y="134"/>
                    <a:pt x="90" y="132"/>
                  </a:cubicBezTo>
                  <a:cubicBezTo>
                    <a:pt x="94" y="130"/>
                    <a:pt x="101" y="133"/>
                    <a:pt x="105" y="132"/>
                  </a:cubicBezTo>
                  <a:cubicBezTo>
                    <a:pt x="109" y="131"/>
                    <a:pt x="113" y="126"/>
                    <a:pt x="116" y="123"/>
                  </a:cubicBezTo>
                  <a:cubicBezTo>
                    <a:pt x="119" y="120"/>
                    <a:pt x="124" y="120"/>
                    <a:pt x="122" y="114"/>
                  </a:cubicBezTo>
                  <a:cubicBezTo>
                    <a:pt x="120" y="108"/>
                    <a:pt x="109" y="91"/>
                    <a:pt x="105" y="84"/>
                  </a:cubicBezTo>
                  <a:cubicBezTo>
                    <a:pt x="101" y="77"/>
                    <a:pt x="101" y="72"/>
                    <a:pt x="98" y="70"/>
                  </a:cubicBezTo>
                  <a:cubicBezTo>
                    <a:pt x="95" y="68"/>
                    <a:pt x="88" y="74"/>
                    <a:pt x="86" y="72"/>
                  </a:cubicBezTo>
                  <a:cubicBezTo>
                    <a:pt x="84" y="70"/>
                    <a:pt x="81" y="62"/>
                    <a:pt x="83" y="57"/>
                  </a:cubicBezTo>
                  <a:cubicBezTo>
                    <a:pt x="85" y="52"/>
                    <a:pt x="95" y="47"/>
                    <a:pt x="98" y="40"/>
                  </a:cubicBezTo>
                  <a:cubicBezTo>
                    <a:pt x="101" y="33"/>
                    <a:pt x="100" y="23"/>
                    <a:pt x="99" y="16"/>
                  </a:cubicBezTo>
                  <a:cubicBezTo>
                    <a:pt x="98" y="9"/>
                    <a:pt x="95" y="0"/>
                    <a:pt x="89" y="0"/>
                  </a:cubicBezTo>
                  <a:cubicBezTo>
                    <a:pt x="83" y="0"/>
                    <a:pt x="67" y="16"/>
                    <a:pt x="60" y="19"/>
                  </a:cubicBezTo>
                  <a:cubicBezTo>
                    <a:pt x="53" y="22"/>
                    <a:pt x="49" y="17"/>
                    <a:pt x="47" y="21"/>
                  </a:cubicBezTo>
                  <a:cubicBezTo>
                    <a:pt x="45" y="25"/>
                    <a:pt x="49" y="37"/>
                    <a:pt x="47" y="46"/>
                  </a:cubicBezTo>
                  <a:cubicBezTo>
                    <a:pt x="45" y="55"/>
                    <a:pt x="38" y="71"/>
                    <a:pt x="33" y="75"/>
                  </a:cubicBezTo>
                  <a:cubicBezTo>
                    <a:pt x="28" y="79"/>
                    <a:pt x="20" y="66"/>
                    <a:pt x="18" y="70"/>
                  </a:cubicBezTo>
                  <a:cubicBezTo>
                    <a:pt x="16" y="74"/>
                    <a:pt x="23" y="91"/>
                    <a:pt x="21" y="97"/>
                  </a:cubicBezTo>
                  <a:cubicBezTo>
                    <a:pt x="19" y="103"/>
                    <a:pt x="4" y="103"/>
                    <a:pt x="2" y="106"/>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43" name="Freeform 599"/>
            <p:cNvSpPr>
              <a:spLocks/>
            </p:cNvSpPr>
            <p:nvPr>
              <p:custDataLst>
                <p:tags r:id="rId111"/>
              </p:custDataLst>
            </p:nvPr>
          </p:nvSpPr>
          <p:spPr bwMode="gray">
            <a:xfrm>
              <a:off x="3896063" y="3025265"/>
              <a:ext cx="28761" cy="54547"/>
            </a:xfrm>
            <a:custGeom>
              <a:avLst/>
              <a:gdLst>
                <a:gd name="T0" fmla="*/ 6 w 30"/>
                <a:gd name="T1" fmla="*/ 52 h 57"/>
                <a:gd name="T2" fmla="*/ 29 w 30"/>
                <a:gd name="T3" fmla="*/ 43 h 57"/>
                <a:gd name="T4" fmla="*/ 24 w 30"/>
                <a:gd name="T5" fmla="*/ 22 h 57"/>
                <a:gd name="T6" fmla="*/ 17 w 30"/>
                <a:gd name="T7" fmla="*/ 7 h 57"/>
                <a:gd name="T8" fmla="*/ 6 w 30"/>
                <a:gd name="T9" fmla="*/ 3 h 57"/>
                <a:gd name="T10" fmla="*/ 0 w 30"/>
                <a:gd name="T11" fmla="*/ 27 h 57"/>
                <a:gd name="T12" fmla="*/ 2 w 30"/>
                <a:gd name="T13" fmla="*/ 51 h 57"/>
                <a:gd name="T14" fmla="*/ 6 w 30"/>
                <a:gd name="T15" fmla="*/ 52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57">
                  <a:moveTo>
                    <a:pt x="6" y="52"/>
                  </a:moveTo>
                  <a:cubicBezTo>
                    <a:pt x="18" y="57"/>
                    <a:pt x="23" y="53"/>
                    <a:pt x="29" y="43"/>
                  </a:cubicBezTo>
                  <a:cubicBezTo>
                    <a:pt x="30" y="34"/>
                    <a:pt x="29" y="30"/>
                    <a:pt x="24" y="22"/>
                  </a:cubicBezTo>
                  <a:cubicBezTo>
                    <a:pt x="27" y="0"/>
                    <a:pt x="27" y="15"/>
                    <a:pt x="17" y="7"/>
                  </a:cubicBezTo>
                  <a:cubicBezTo>
                    <a:pt x="14" y="1"/>
                    <a:pt x="12" y="0"/>
                    <a:pt x="6" y="3"/>
                  </a:cubicBezTo>
                  <a:cubicBezTo>
                    <a:pt x="1" y="10"/>
                    <a:pt x="3" y="19"/>
                    <a:pt x="0" y="27"/>
                  </a:cubicBezTo>
                  <a:cubicBezTo>
                    <a:pt x="1" y="35"/>
                    <a:pt x="0" y="43"/>
                    <a:pt x="2" y="51"/>
                  </a:cubicBezTo>
                  <a:cubicBezTo>
                    <a:pt x="2" y="52"/>
                    <a:pt x="6" y="53"/>
                    <a:pt x="6" y="52"/>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44" name="Freeform 601"/>
            <p:cNvSpPr>
              <a:spLocks/>
            </p:cNvSpPr>
            <p:nvPr>
              <p:custDataLst>
                <p:tags r:id="rId112"/>
              </p:custDataLst>
            </p:nvPr>
          </p:nvSpPr>
          <p:spPr bwMode="gray">
            <a:xfrm>
              <a:off x="3734537" y="2593436"/>
              <a:ext cx="422410" cy="473424"/>
            </a:xfrm>
            <a:custGeom>
              <a:avLst/>
              <a:gdLst/>
              <a:ahLst/>
              <a:cxnLst/>
              <a:rect l="l" t="t" r="r" b="b"/>
              <a:pathLst>
                <a:path w="676153" h="757812">
                  <a:moveTo>
                    <a:pt x="574188" y="719349"/>
                  </a:moveTo>
                  <a:cubicBezTo>
                    <a:pt x="577276" y="737897"/>
                    <a:pt x="578821" y="737897"/>
                    <a:pt x="586542" y="751807"/>
                  </a:cubicBezTo>
                  <a:cubicBezTo>
                    <a:pt x="581909" y="761081"/>
                    <a:pt x="577276" y="757990"/>
                    <a:pt x="568010" y="753353"/>
                  </a:cubicBezTo>
                  <a:cubicBezTo>
                    <a:pt x="571099" y="728623"/>
                    <a:pt x="552567" y="736351"/>
                    <a:pt x="574188" y="719349"/>
                  </a:cubicBezTo>
                  <a:close/>
                  <a:moveTo>
                    <a:pt x="551022" y="693073"/>
                  </a:moveTo>
                  <a:cubicBezTo>
                    <a:pt x="555655" y="694619"/>
                    <a:pt x="560288" y="693073"/>
                    <a:pt x="563377" y="696165"/>
                  </a:cubicBezTo>
                  <a:cubicBezTo>
                    <a:pt x="566466" y="700802"/>
                    <a:pt x="552567" y="706984"/>
                    <a:pt x="549478" y="702347"/>
                  </a:cubicBezTo>
                  <a:cubicBezTo>
                    <a:pt x="547934" y="699256"/>
                    <a:pt x="551022" y="696165"/>
                    <a:pt x="551022" y="693073"/>
                  </a:cubicBezTo>
                  <a:close/>
                  <a:moveTo>
                    <a:pt x="553725" y="665445"/>
                  </a:moveTo>
                  <a:cubicBezTo>
                    <a:pt x="556814" y="666797"/>
                    <a:pt x="557972" y="670661"/>
                    <a:pt x="555656" y="677616"/>
                  </a:cubicBezTo>
                  <a:cubicBezTo>
                    <a:pt x="549479" y="676071"/>
                    <a:pt x="540213" y="668343"/>
                    <a:pt x="540213" y="668343"/>
                  </a:cubicBezTo>
                  <a:cubicBezTo>
                    <a:pt x="545618" y="665251"/>
                    <a:pt x="550637" y="664092"/>
                    <a:pt x="553725" y="665445"/>
                  </a:cubicBezTo>
                  <a:close/>
                  <a:moveTo>
                    <a:pt x="555656" y="600335"/>
                  </a:moveTo>
                  <a:cubicBezTo>
                    <a:pt x="575732" y="614246"/>
                    <a:pt x="584998" y="643613"/>
                    <a:pt x="555656" y="649795"/>
                  </a:cubicBezTo>
                  <a:cubicBezTo>
                    <a:pt x="543302" y="640521"/>
                    <a:pt x="546390" y="631248"/>
                    <a:pt x="549479" y="617337"/>
                  </a:cubicBezTo>
                  <a:cubicBezTo>
                    <a:pt x="544846" y="608063"/>
                    <a:pt x="546390" y="604972"/>
                    <a:pt x="555656" y="600335"/>
                  </a:cubicBezTo>
                  <a:close/>
                  <a:moveTo>
                    <a:pt x="564922" y="577150"/>
                  </a:moveTo>
                  <a:lnTo>
                    <a:pt x="573995" y="581594"/>
                  </a:lnTo>
                  <a:cubicBezTo>
                    <a:pt x="574960" y="582560"/>
                    <a:pt x="574960" y="584105"/>
                    <a:pt x="577276" y="589515"/>
                  </a:cubicBezTo>
                  <a:lnTo>
                    <a:pt x="572089" y="593886"/>
                  </a:lnTo>
                  <a:cubicBezTo>
                    <a:pt x="568397" y="593959"/>
                    <a:pt x="568397" y="582946"/>
                    <a:pt x="564922" y="577150"/>
                  </a:cubicBezTo>
                  <a:close/>
                  <a:moveTo>
                    <a:pt x="462993" y="229418"/>
                  </a:moveTo>
                  <a:cubicBezTo>
                    <a:pt x="467624" y="226276"/>
                    <a:pt x="475320" y="243257"/>
                    <a:pt x="476886" y="255675"/>
                  </a:cubicBezTo>
                  <a:lnTo>
                    <a:pt x="475550" y="274409"/>
                  </a:lnTo>
                  <a:cubicBezTo>
                    <a:pt x="466839" y="274523"/>
                    <a:pt x="458349" y="274740"/>
                    <a:pt x="451843" y="275222"/>
                  </a:cubicBezTo>
                  <a:cubicBezTo>
                    <a:pt x="452047" y="274924"/>
                    <a:pt x="452107" y="274584"/>
                    <a:pt x="452164" y="274228"/>
                  </a:cubicBezTo>
                  <a:cubicBezTo>
                    <a:pt x="453731" y="264952"/>
                    <a:pt x="458362" y="232485"/>
                    <a:pt x="462993" y="229418"/>
                  </a:cubicBezTo>
                  <a:close/>
                  <a:moveTo>
                    <a:pt x="628213" y="210865"/>
                  </a:moveTo>
                  <a:cubicBezTo>
                    <a:pt x="640608" y="213932"/>
                    <a:pt x="674592" y="226276"/>
                    <a:pt x="676090" y="233981"/>
                  </a:cubicBezTo>
                  <a:cubicBezTo>
                    <a:pt x="677657" y="241761"/>
                    <a:pt x="649870" y="252534"/>
                    <a:pt x="642106" y="257172"/>
                  </a:cubicBezTo>
                  <a:cubicBezTo>
                    <a:pt x="634411" y="261810"/>
                    <a:pt x="632844" y="261810"/>
                    <a:pt x="628213" y="264952"/>
                  </a:cubicBezTo>
                  <a:cubicBezTo>
                    <a:pt x="623582" y="268019"/>
                    <a:pt x="612822" y="269590"/>
                    <a:pt x="611255" y="274228"/>
                  </a:cubicBezTo>
                  <a:cubicBezTo>
                    <a:pt x="609689" y="278866"/>
                    <a:pt x="617453" y="288143"/>
                    <a:pt x="615886" y="297419"/>
                  </a:cubicBezTo>
                  <a:cubicBezTo>
                    <a:pt x="614320" y="306695"/>
                    <a:pt x="609689" y="323677"/>
                    <a:pt x="605058" y="331382"/>
                  </a:cubicBezTo>
                  <a:cubicBezTo>
                    <a:pt x="600427" y="339087"/>
                    <a:pt x="594298" y="343725"/>
                    <a:pt x="588100" y="345296"/>
                  </a:cubicBezTo>
                  <a:cubicBezTo>
                    <a:pt x="581903" y="346867"/>
                    <a:pt x="571074" y="331382"/>
                    <a:pt x="569576" y="339087"/>
                  </a:cubicBezTo>
                  <a:cubicBezTo>
                    <a:pt x="568009" y="346867"/>
                    <a:pt x="577272" y="379334"/>
                    <a:pt x="577272" y="390107"/>
                  </a:cubicBezTo>
                  <a:cubicBezTo>
                    <a:pt x="577272" y="400954"/>
                    <a:pt x="571074" y="397887"/>
                    <a:pt x="566443" y="400954"/>
                  </a:cubicBezTo>
                  <a:cubicBezTo>
                    <a:pt x="561812" y="404021"/>
                    <a:pt x="549485" y="408660"/>
                    <a:pt x="546420" y="404021"/>
                  </a:cubicBezTo>
                  <a:cubicBezTo>
                    <a:pt x="543287" y="399383"/>
                    <a:pt x="549485" y="377763"/>
                    <a:pt x="546420" y="373125"/>
                  </a:cubicBezTo>
                  <a:cubicBezTo>
                    <a:pt x="543287" y="368487"/>
                    <a:pt x="532459" y="371554"/>
                    <a:pt x="526329" y="373125"/>
                  </a:cubicBezTo>
                  <a:cubicBezTo>
                    <a:pt x="520132" y="374696"/>
                    <a:pt x="510870" y="387040"/>
                    <a:pt x="507805" y="387040"/>
                  </a:cubicBezTo>
                  <a:cubicBezTo>
                    <a:pt x="504672" y="387040"/>
                    <a:pt x="504672" y="377763"/>
                    <a:pt x="507805" y="371554"/>
                  </a:cubicBezTo>
                  <a:cubicBezTo>
                    <a:pt x="510870" y="365420"/>
                    <a:pt x="521698" y="353002"/>
                    <a:pt x="527828" y="348364"/>
                  </a:cubicBezTo>
                  <a:cubicBezTo>
                    <a:pt x="534025" y="343725"/>
                    <a:pt x="540223" y="343725"/>
                    <a:pt x="543287" y="339087"/>
                  </a:cubicBezTo>
                  <a:cubicBezTo>
                    <a:pt x="546420" y="334449"/>
                    <a:pt x="551051" y="325248"/>
                    <a:pt x="546420" y="320610"/>
                  </a:cubicBezTo>
                  <a:cubicBezTo>
                    <a:pt x="541789" y="315971"/>
                    <a:pt x="524763" y="314400"/>
                    <a:pt x="513935" y="311333"/>
                  </a:cubicBezTo>
                  <a:cubicBezTo>
                    <a:pt x="503174" y="308191"/>
                    <a:pt x="483083" y="311333"/>
                    <a:pt x="476886" y="302057"/>
                  </a:cubicBezTo>
                  <a:cubicBezTo>
                    <a:pt x="473142" y="296452"/>
                    <a:pt x="474494" y="285195"/>
                    <a:pt x="475550" y="274409"/>
                  </a:cubicBezTo>
                  <a:lnTo>
                    <a:pt x="507805" y="274228"/>
                  </a:lnTo>
                  <a:cubicBezTo>
                    <a:pt x="524763" y="274228"/>
                    <a:pt x="540223" y="277295"/>
                    <a:pt x="546420" y="274228"/>
                  </a:cubicBezTo>
                  <a:cubicBezTo>
                    <a:pt x="552549" y="271086"/>
                    <a:pt x="546420" y="261810"/>
                    <a:pt x="546420" y="255675"/>
                  </a:cubicBezTo>
                  <a:cubicBezTo>
                    <a:pt x="546420" y="249466"/>
                    <a:pt x="546420" y="243257"/>
                    <a:pt x="549485" y="238619"/>
                  </a:cubicBezTo>
                  <a:cubicBezTo>
                    <a:pt x="552549" y="233981"/>
                    <a:pt x="555682" y="227847"/>
                    <a:pt x="563378" y="224779"/>
                  </a:cubicBezTo>
                  <a:cubicBezTo>
                    <a:pt x="571074" y="221637"/>
                    <a:pt x="586534" y="216999"/>
                    <a:pt x="597362" y="215503"/>
                  </a:cubicBezTo>
                  <a:cubicBezTo>
                    <a:pt x="608191" y="213932"/>
                    <a:pt x="615886" y="207723"/>
                    <a:pt x="628213" y="210865"/>
                  </a:cubicBezTo>
                  <a:close/>
                  <a:moveTo>
                    <a:pt x="148370" y="250"/>
                  </a:moveTo>
                  <a:cubicBezTo>
                    <a:pt x="148762" y="633"/>
                    <a:pt x="148762" y="1400"/>
                    <a:pt x="151077" y="2148"/>
                  </a:cubicBezTo>
                  <a:lnTo>
                    <a:pt x="171100" y="6786"/>
                  </a:lnTo>
                  <a:cubicBezTo>
                    <a:pt x="177297" y="9928"/>
                    <a:pt x="186559" y="14567"/>
                    <a:pt x="192757" y="19205"/>
                  </a:cubicBezTo>
                  <a:cubicBezTo>
                    <a:pt x="198954" y="23843"/>
                    <a:pt x="202019" y="31548"/>
                    <a:pt x="206650" y="33119"/>
                  </a:cubicBezTo>
                  <a:cubicBezTo>
                    <a:pt x="211281" y="34615"/>
                    <a:pt x="217478" y="31548"/>
                    <a:pt x="225174" y="29977"/>
                  </a:cubicBezTo>
                  <a:cubicBezTo>
                    <a:pt x="232870" y="28481"/>
                    <a:pt x="246763" y="16063"/>
                    <a:pt x="254527" y="20701"/>
                  </a:cubicBezTo>
                  <a:cubicBezTo>
                    <a:pt x="262223" y="25339"/>
                    <a:pt x="268420" y="48530"/>
                    <a:pt x="268420" y="57806"/>
                  </a:cubicBezTo>
                  <a:cubicBezTo>
                    <a:pt x="268420" y="67082"/>
                    <a:pt x="256093" y="68653"/>
                    <a:pt x="252961" y="74788"/>
                  </a:cubicBezTo>
                  <a:cubicBezTo>
                    <a:pt x="249896" y="80997"/>
                    <a:pt x="248330" y="88702"/>
                    <a:pt x="248330" y="94911"/>
                  </a:cubicBezTo>
                  <a:cubicBezTo>
                    <a:pt x="248330" y="101120"/>
                    <a:pt x="259158" y="108826"/>
                    <a:pt x="257592" y="113464"/>
                  </a:cubicBezTo>
                  <a:cubicBezTo>
                    <a:pt x="256093" y="118102"/>
                    <a:pt x="246763" y="118102"/>
                    <a:pt x="243698" y="122740"/>
                  </a:cubicBezTo>
                  <a:cubicBezTo>
                    <a:pt x="240634" y="127378"/>
                    <a:pt x="236003" y="133587"/>
                    <a:pt x="239067" y="141293"/>
                  </a:cubicBezTo>
                  <a:cubicBezTo>
                    <a:pt x="242132" y="148998"/>
                    <a:pt x="251394" y="161342"/>
                    <a:pt x="259158" y="167551"/>
                  </a:cubicBezTo>
                  <a:cubicBezTo>
                    <a:pt x="266854" y="173760"/>
                    <a:pt x="285378" y="172189"/>
                    <a:pt x="286944" y="181465"/>
                  </a:cubicBezTo>
                  <a:cubicBezTo>
                    <a:pt x="288511" y="190741"/>
                    <a:pt x="268420" y="212361"/>
                    <a:pt x="268420" y="220141"/>
                  </a:cubicBezTo>
                  <a:cubicBezTo>
                    <a:pt x="268420" y="227847"/>
                    <a:pt x="280747" y="226276"/>
                    <a:pt x="286944" y="229418"/>
                  </a:cubicBezTo>
                  <a:cubicBezTo>
                    <a:pt x="293142" y="232485"/>
                    <a:pt x="302404" y="237123"/>
                    <a:pt x="308533" y="241761"/>
                  </a:cubicBezTo>
                  <a:cubicBezTo>
                    <a:pt x="314731" y="246399"/>
                    <a:pt x="320928" y="249466"/>
                    <a:pt x="327126" y="252534"/>
                  </a:cubicBezTo>
                  <a:cubicBezTo>
                    <a:pt x="333255" y="255675"/>
                    <a:pt x="342517" y="258743"/>
                    <a:pt x="351779" y="261810"/>
                  </a:cubicBezTo>
                  <a:cubicBezTo>
                    <a:pt x="361041" y="264952"/>
                    <a:pt x="371870" y="272657"/>
                    <a:pt x="379634" y="275724"/>
                  </a:cubicBezTo>
                  <a:cubicBezTo>
                    <a:pt x="387329" y="278866"/>
                    <a:pt x="388896" y="277295"/>
                    <a:pt x="396592" y="278866"/>
                  </a:cubicBezTo>
                  <a:cubicBezTo>
                    <a:pt x="404287" y="280362"/>
                    <a:pt x="422880" y="285001"/>
                    <a:pt x="430575" y="285001"/>
                  </a:cubicBezTo>
                  <a:cubicBezTo>
                    <a:pt x="438271" y="285001"/>
                    <a:pt x="432142" y="277295"/>
                    <a:pt x="444469" y="275724"/>
                  </a:cubicBezTo>
                  <a:cubicBezTo>
                    <a:pt x="446429" y="275486"/>
                    <a:pt x="448937" y="275286"/>
                    <a:pt x="451843" y="275222"/>
                  </a:cubicBezTo>
                  <a:cubicBezTo>
                    <a:pt x="450433" y="283397"/>
                    <a:pt x="447593" y="282229"/>
                    <a:pt x="449100" y="289639"/>
                  </a:cubicBezTo>
                  <a:cubicBezTo>
                    <a:pt x="450666" y="297419"/>
                    <a:pt x="462993" y="311333"/>
                    <a:pt x="462993" y="317468"/>
                  </a:cubicBezTo>
                  <a:cubicBezTo>
                    <a:pt x="462993" y="323677"/>
                    <a:pt x="447533" y="326744"/>
                    <a:pt x="447533" y="329811"/>
                  </a:cubicBezTo>
                  <a:cubicBezTo>
                    <a:pt x="447533" y="332953"/>
                    <a:pt x="461426" y="336020"/>
                    <a:pt x="466058" y="339087"/>
                  </a:cubicBezTo>
                  <a:cubicBezTo>
                    <a:pt x="470689" y="342229"/>
                    <a:pt x="472255" y="343725"/>
                    <a:pt x="472255" y="353002"/>
                  </a:cubicBezTo>
                  <a:cubicBezTo>
                    <a:pt x="472255" y="362278"/>
                    <a:pt x="472255" y="387040"/>
                    <a:pt x="467624" y="394745"/>
                  </a:cubicBezTo>
                  <a:cubicBezTo>
                    <a:pt x="462993" y="402525"/>
                    <a:pt x="446035" y="396316"/>
                    <a:pt x="439838" y="400954"/>
                  </a:cubicBezTo>
                  <a:cubicBezTo>
                    <a:pt x="433640" y="405592"/>
                    <a:pt x="435206" y="421003"/>
                    <a:pt x="429009" y="427212"/>
                  </a:cubicBezTo>
                  <a:cubicBezTo>
                    <a:pt x="422880" y="433421"/>
                    <a:pt x="415116" y="436488"/>
                    <a:pt x="405854" y="442698"/>
                  </a:cubicBezTo>
                  <a:cubicBezTo>
                    <a:pt x="396592" y="448832"/>
                    <a:pt x="376501" y="453470"/>
                    <a:pt x="368805" y="461250"/>
                  </a:cubicBezTo>
                  <a:cubicBezTo>
                    <a:pt x="361041" y="468955"/>
                    <a:pt x="364174" y="479803"/>
                    <a:pt x="356410" y="487508"/>
                  </a:cubicBezTo>
                  <a:cubicBezTo>
                    <a:pt x="348715" y="495213"/>
                    <a:pt x="330190" y="499852"/>
                    <a:pt x="323993" y="507632"/>
                  </a:cubicBezTo>
                  <a:cubicBezTo>
                    <a:pt x="317864" y="515337"/>
                    <a:pt x="322495" y="529251"/>
                    <a:pt x="317864" y="533890"/>
                  </a:cubicBezTo>
                  <a:cubicBezTo>
                    <a:pt x="313232" y="538528"/>
                    <a:pt x="307035" y="530748"/>
                    <a:pt x="299271" y="533890"/>
                  </a:cubicBezTo>
                  <a:cubicBezTo>
                    <a:pt x="291575" y="536957"/>
                    <a:pt x="276116" y="543166"/>
                    <a:pt x="271485" y="552442"/>
                  </a:cubicBezTo>
                  <a:cubicBezTo>
                    <a:pt x="266854" y="561718"/>
                    <a:pt x="271485" y="572491"/>
                    <a:pt x="271485" y="586406"/>
                  </a:cubicBezTo>
                  <a:cubicBezTo>
                    <a:pt x="271485" y="600320"/>
                    <a:pt x="274618" y="620444"/>
                    <a:pt x="271485" y="635854"/>
                  </a:cubicBezTo>
                  <a:cubicBezTo>
                    <a:pt x="268420" y="651340"/>
                    <a:pt x="257592" y="668321"/>
                    <a:pt x="249896" y="682236"/>
                  </a:cubicBezTo>
                  <a:cubicBezTo>
                    <a:pt x="242132" y="696150"/>
                    <a:pt x="234436" y="708494"/>
                    <a:pt x="226741" y="716274"/>
                  </a:cubicBezTo>
                  <a:cubicBezTo>
                    <a:pt x="220918" y="722053"/>
                    <a:pt x="218619" y="736542"/>
                    <a:pt x="211312" y="734305"/>
                  </a:cubicBezTo>
                  <a:lnTo>
                    <a:pt x="202019" y="725550"/>
                  </a:lnTo>
                  <a:cubicBezTo>
                    <a:pt x="186559" y="703856"/>
                    <a:pt x="151077" y="626578"/>
                    <a:pt x="134051" y="581767"/>
                  </a:cubicBezTo>
                  <a:cubicBezTo>
                    <a:pt x="117093" y="536957"/>
                    <a:pt x="107831" y="482870"/>
                    <a:pt x="100067" y="451974"/>
                  </a:cubicBezTo>
                  <a:cubicBezTo>
                    <a:pt x="92372" y="421003"/>
                    <a:pt x="97003" y="404021"/>
                    <a:pt x="90805" y="399383"/>
                  </a:cubicBezTo>
                  <a:cubicBezTo>
                    <a:pt x="84676" y="394745"/>
                    <a:pt x="73847" y="425641"/>
                    <a:pt x="63019" y="427212"/>
                  </a:cubicBezTo>
                  <a:cubicBezTo>
                    <a:pt x="52190" y="428783"/>
                    <a:pt x="27537" y="414869"/>
                    <a:pt x="21339" y="408660"/>
                  </a:cubicBezTo>
                  <a:cubicBezTo>
                    <a:pt x="15142" y="402525"/>
                    <a:pt x="16708" y="391678"/>
                    <a:pt x="21339" y="387040"/>
                  </a:cubicBezTo>
                  <a:cubicBezTo>
                    <a:pt x="25970" y="382402"/>
                    <a:pt x="52190" y="379334"/>
                    <a:pt x="49126" y="377763"/>
                  </a:cubicBezTo>
                  <a:cubicBezTo>
                    <a:pt x="46061" y="376193"/>
                    <a:pt x="12077" y="377763"/>
                    <a:pt x="4313" y="373125"/>
                  </a:cubicBezTo>
                  <a:cubicBezTo>
                    <a:pt x="-3382" y="368487"/>
                    <a:pt x="1249" y="357640"/>
                    <a:pt x="2815" y="353002"/>
                  </a:cubicBezTo>
                  <a:lnTo>
                    <a:pt x="18207" y="340658"/>
                  </a:lnTo>
                  <a:cubicBezTo>
                    <a:pt x="25970" y="339087"/>
                    <a:pt x="42928" y="342229"/>
                    <a:pt x="50692" y="340658"/>
                  </a:cubicBezTo>
                  <a:cubicBezTo>
                    <a:pt x="58388" y="339087"/>
                    <a:pt x="61453" y="334449"/>
                    <a:pt x="63019" y="329811"/>
                  </a:cubicBezTo>
                  <a:lnTo>
                    <a:pt x="63019" y="311333"/>
                  </a:lnTo>
                  <a:cubicBezTo>
                    <a:pt x="61453" y="306695"/>
                    <a:pt x="52190" y="308191"/>
                    <a:pt x="49126" y="303553"/>
                  </a:cubicBezTo>
                  <a:cubicBezTo>
                    <a:pt x="46061" y="298915"/>
                    <a:pt x="44495" y="286572"/>
                    <a:pt x="39864" y="280362"/>
                  </a:cubicBezTo>
                  <a:cubicBezTo>
                    <a:pt x="35233" y="274228"/>
                    <a:pt x="19773" y="266448"/>
                    <a:pt x="21339" y="261810"/>
                  </a:cubicBezTo>
                  <a:cubicBezTo>
                    <a:pt x="22838" y="257172"/>
                    <a:pt x="44495" y="252534"/>
                    <a:pt x="53757" y="251037"/>
                  </a:cubicBezTo>
                  <a:cubicBezTo>
                    <a:pt x="63019" y="249466"/>
                    <a:pt x="73847" y="257172"/>
                    <a:pt x="81543" y="251037"/>
                  </a:cubicBezTo>
                  <a:cubicBezTo>
                    <a:pt x="89307" y="244828"/>
                    <a:pt x="86174" y="227847"/>
                    <a:pt x="95436" y="215503"/>
                  </a:cubicBezTo>
                  <a:cubicBezTo>
                    <a:pt x="104698" y="203085"/>
                    <a:pt x="127854" y="187674"/>
                    <a:pt x="137116" y="173760"/>
                  </a:cubicBezTo>
                  <a:cubicBezTo>
                    <a:pt x="146446" y="159845"/>
                    <a:pt x="157207" y="138226"/>
                    <a:pt x="155708" y="127378"/>
                  </a:cubicBezTo>
                  <a:cubicBezTo>
                    <a:pt x="154142" y="116531"/>
                    <a:pt x="130987" y="121169"/>
                    <a:pt x="124789" y="111893"/>
                  </a:cubicBezTo>
                  <a:cubicBezTo>
                    <a:pt x="118592" y="102617"/>
                    <a:pt x="118592" y="80997"/>
                    <a:pt x="117093" y="74788"/>
                  </a:cubicBezTo>
                  <a:cubicBezTo>
                    <a:pt x="115943" y="70284"/>
                    <a:pt x="112297" y="72393"/>
                    <a:pt x="110896" y="71721"/>
                  </a:cubicBezTo>
                  <a:cubicBezTo>
                    <a:pt x="112462" y="68653"/>
                    <a:pt x="121724" y="56235"/>
                    <a:pt x="123223" y="51597"/>
                  </a:cubicBezTo>
                  <a:cubicBezTo>
                    <a:pt x="124789" y="46959"/>
                    <a:pt x="123223" y="45463"/>
                    <a:pt x="118592" y="42395"/>
                  </a:cubicBezTo>
                  <a:cubicBezTo>
                    <a:pt x="113961" y="39254"/>
                    <a:pt x="98569" y="33119"/>
                    <a:pt x="95436" y="28481"/>
                  </a:cubicBezTo>
                  <a:cubicBezTo>
                    <a:pt x="92372" y="23843"/>
                    <a:pt x="95436" y="14567"/>
                    <a:pt x="100067" y="9928"/>
                  </a:cubicBezTo>
                  <a:cubicBezTo>
                    <a:pt x="104698" y="5290"/>
                    <a:pt x="120158" y="3719"/>
                    <a:pt x="123223" y="2148"/>
                  </a:cubicBezTo>
                  <a:lnTo>
                    <a:pt x="120374" y="5011"/>
                  </a:lnTo>
                  <a:cubicBezTo>
                    <a:pt x="112239" y="6642"/>
                    <a:pt x="104549" y="8451"/>
                    <a:pt x="101634" y="9928"/>
                  </a:cubicBezTo>
                  <a:cubicBezTo>
                    <a:pt x="95436" y="12996"/>
                    <a:pt x="101634" y="20701"/>
                    <a:pt x="101634" y="23843"/>
                  </a:cubicBezTo>
                  <a:lnTo>
                    <a:pt x="120374" y="5011"/>
                  </a:lnTo>
                  <a:cubicBezTo>
                    <a:pt x="129524" y="3119"/>
                    <a:pt x="139237" y="1445"/>
                    <a:pt x="143313" y="652"/>
                  </a:cubicBezTo>
                  <a:cubicBezTo>
                    <a:pt x="147195" y="-133"/>
                    <a:pt x="147979" y="-133"/>
                    <a:pt x="148370" y="25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45" name="Freeform 616"/>
            <p:cNvSpPr>
              <a:spLocks/>
            </p:cNvSpPr>
            <p:nvPr>
              <p:custDataLst>
                <p:tags r:id="rId113"/>
              </p:custDataLst>
            </p:nvPr>
          </p:nvSpPr>
          <p:spPr bwMode="gray">
            <a:xfrm>
              <a:off x="4145985" y="2862618"/>
              <a:ext cx="120994" cy="221161"/>
            </a:xfrm>
            <a:custGeom>
              <a:avLst/>
              <a:gdLst>
                <a:gd name="T0" fmla="*/ 65 w 125"/>
                <a:gd name="T1" fmla="*/ 217 h 229"/>
                <a:gd name="T2" fmla="*/ 50 w 125"/>
                <a:gd name="T3" fmla="*/ 208 h 229"/>
                <a:gd name="T4" fmla="*/ 46 w 125"/>
                <a:gd name="T5" fmla="*/ 192 h 229"/>
                <a:gd name="T6" fmla="*/ 43 w 125"/>
                <a:gd name="T7" fmla="*/ 180 h 229"/>
                <a:gd name="T8" fmla="*/ 46 w 125"/>
                <a:gd name="T9" fmla="*/ 168 h 229"/>
                <a:gd name="T10" fmla="*/ 34 w 125"/>
                <a:gd name="T11" fmla="*/ 171 h 229"/>
                <a:gd name="T12" fmla="*/ 28 w 125"/>
                <a:gd name="T13" fmla="*/ 157 h 229"/>
                <a:gd name="T14" fmla="*/ 41 w 125"/>
                <a:gd name="T15" fmla="*/ 142 h 229"/>
                <a:gd name="T16" fmla="*/ 43 w 125"/>
                <a:gd name="T17" fmla="*/ 127 h 229"/>
                <a:gd name="T18" fmla="*/ 44 w 125"/>
                <a:gd name="T19" fmla="*/ 112 h 229"/>
                <a:gd name="T20" fmla="*/ 53 w 125"/>
                <a:gd name="T21" fmla="*/ 108 h 229"/>
                <a:gd name="T22" fmla="*/ 58 w 125"/>
                <a:gd name="T23" fmla="*/ 124 h 229"/>
                <a:gd name="T24" fmla="*/ 71 w 125"/>
                <a:gd name="T25" fmla="*/ 126 h 229"/>
                <a:gd name="T26" fmla="*/ 82 w 125"/>
                <a:gd name="T27" fmla="*/ 139 h 229"/>
                <a:gd name="T28" fmla="*/ 91 w 125"/>
                <a:gd name="T29" fmla="*/ 153 h 229"/>
                <a:gd name="T30" fmla="*/ 101 w 125"/>
                <a:gd name="T31" fmla="*/ 157 h 229"/>
                <a:gd name="T32" fmla="*/ 112 w 125"/>
                <a:gd name="T33" fmla="*/ 159 h 229"/>
                <a:gd name="T34" fmla="*/ 100 w 125"/>
                <a:gd name="T35" fmla="*/ 147 h 229"/>
                <a:gd name="T36" fmla="*/ 83 w 125"/>
                <a:gd name="T37" fmla="*/ 126 h 229"/>
                <a:gd name="T38" fmla="*/ 83 w 125"/>
                <a:gd name="T39" fmla="*/ 100 h 229"/>
                <a:gd name="T40" fmla="*/ 106 w 125"/>
                <a:gd name="T41" fmla="*/ 99 h 229"/>
                <a:gd name="T42" fmla="*/ 122 w 125"/>
                <a:gd name="T43" fmla="*/ 94 h 229"/>
                <a:gd name="T44" fmla="*/ 124 w 125"/>
                <a:gd name="T45" fmla="*/ 73 h 229"/>
                <a:gd name="T46" fmla="*/ 113 w 125"/>
                <a:gd name="T47" fmla="*/ 63 h 229"/>
                <a:gd name="T48" fmla="*/ 115 w 125"/>
                <a:gd name="T49" fmla="*/ 46 h 229"/>
                <a:gd name="T50" fmla="*/ 97 w 125"/>
                <a:gd name="T51" fmla="*/ 33 h 229"/>
                <a:gd name="T52" fmla="*/ 83 w 125"/>
                <a:gd name="T53" fmla="*/ 39 h 229"/>
                <a:gd name="T54" fmla="*/ 68 w 125"/>
                <a:gd name="T55" fmla="*/ 36 h 229"/>
                <a:gd name="T56" fmla="*/ 58 w 125"/>
                <a:gd name="T57" fmla="*/ 46 h 229"/>
                <a:gd name="T58" fmla="*/ 62 w 125"/>
                <a:gd name="T59" fmla="*/ 19 h 229"/>
                <a:gd name="T60" fmla="*/ 50 w 125"/>
                <a:gd name="T61" fmla="*/ 9 h 229"/>
                <a:gd name="T62" fmla="*/ 43 w 125"/>
                <a:gd name="T63" fmla="*/ 0 h 229"/>
                <a:gd name="T64" fmla="*/ 17 w 125"/>
                <a:gd name="T65" fmla="*/ 7 h 229"/>
                <a:gd name="T66" fmla="*/ 5 w 125"/>
                <a:gd name="T67" fmla="*/ 18 h 229"/>
                <a:gd name="T68" fmla="*/ 5 w 125"/>
                <a:gd name="T69" fmla="*/ 37 h 229"/>
                <a:gd name="T70" fmla="*/ 17 w 125"/>
                <a:gd name="T71" fmla="*/ 57 h 229"/>
                <a:gd name="T72" fmla="*/ 16 w 125"/>
                <a:gd name="T73" fmla="*/ 73 h 229"/>
                <a:gd name="T74" fmla="*/ 3 w 125"/>
                <a:gd name="T75" fmla="*/ 63 h 229"/>
                <a:gd name="T76" fmla="*/ 1 w 125"/>
                <a:gd name="T77" fmla="*/ 57 h 229"/>
                <a:gd name="T78" fmla="*/ 7 w 125"/>
                <a:gd name="T79" fmla="*/ 90 h 229"/>
                <a:gd name="T80" fmla="*/ 8 w 125"/>
                <a:gd name="T81" fmla="*/ 100 h 229"/>
                <a:gd name="T82" fmla="*/ 17 w 125"/>
                <a:gd name="T83" fmla="*/ 111 h 229"/>
                <a:gd name="T84" fmla="*/ 5 w 125"/>
                <a:gd name="T85" fmla="*/ 117 h 229"/>
                <a:gd name="T86" fmla="*/ 2 w 125"/>
                <a:gd name="T87" fmla="*/ 124 h 229"/>
                <a:gd name="T88" fmla="*/ 14 w 125"/>
                <a:gd name="T89" fmla="*/ 150 h 229"/>
                <a:gd name="T90" fmla="*/ 14 w 125"/>
                <a:gd name="T91" fmla="*/ 163 h 229"/>
                <a:gd name="T92" fmla="*/ 25 w 125"/>
                <a:gd name="T93" fmla="*/ 192 h 229"/>
                <a:gd name="T94" fmla="*/ 38 w 125"/>
                <a:gd name="T95" fmla="*/ 213 h 229"/>
                <a:gd name="T96" fmla="*/ 58 w 125"/>
                <a:gd name="T97" fmla="*/ 229 h 229"/>
                <a:gd name="T98" fmla="*/ 65 w 125"/>
                <a:gd name="T9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5" h="229">
                  <a:moveTo>
                    <a:pt x="65" y="217"/>
                  </a:moveTo>
                  <a:cubicBezTo>
                    <a:pt x="64" y="214"/>
                    <a:pt x="53" y="212"/>
                    <a:pt x="50" y="208"/>
                  </a:cubicBezTo>
                  <a:cubicBezTo>
                    <a:pt x="47" y="204"/>
                    <a:pt x="47" y="197"/>
                    <a:pt x="46" y="192"/>
                  </a:cubicBezTo>
                  <a:cubicBezTo>
                    <a:pt x="45" y="187"/>
                    <a:pt x="43" y="184"/>
                    <a:pt x="43" y="180"/>
                  </a:cubicBezTo>
                  <a:cubicBezTo>
                    <a:pt x="43" y="176"/>
                    <a:pt x="47" y="169"/>
                    <a:pt x="46" y="168"/>
                  </a:cubicBezTo>
                  <a:cubicBezTo>
                    <a:pt x="45" y="167"/>
                    <a:pt x="37" y="173"/>
                    <a:pt x="34" y="171"/>
                  </a:cubicBezTo>
                  <a:cubicBezTo>
                    <a:pt x="31" y="169"/>
                    <a:pt x="27" y="162"/>
                    <a:pt x="28" y="157"/>
                  </a:cubicBezTo>
                  <a:cubicBezTo>
                    <a:pt x="29" y="152"/>
                    <a:pt x="39" y="147"/>
                    <a:pt x="41" y="142"/>
                  </a:cubicBezTo>
                  <a:cubicBezTo>
                    <a:pt x="43" y="137"/>
                    <a:pt x="43" y="132"/>
                    <a:pt x="43" y="127"/>
                  </a:cubicBezTo>
                  <a:cubicBezTo>
                    <a:pt x="43" y="122"/>
                    <a:pt x="42" y="115"/>
                    <a:pt x="44" y="112"/>
                  </a:cubicBezTo>
                  <a:cubicBezTo>
                    <a:pt x="46" y="109"/>
                    <a:pt x="51" y="106"/>
                    <a:pt x="53" y="108"/>
                  </a:cubicBezTo>
                  <a:cubicBezTo>
                    <a:pt x="55" y="110"/>
                    <a:pt x="55" y="121"/>
                    <a:pt x="58" y="124"/>
                  </a:cubicBezTo>
                  <a:cubicBezTo>
                    <a:pt x="61" y="127"/>
                    <a:pt x="67" y="124"/>
                    <a:pt x="71" y="126"/>
                  </a:cubicBezTo>
                  <a:cubicBezTo>
                    <a:pt x="75" y="128"/>
                    <a:pt x="79" y="134"/>
                    <a:pt x="82" y="139"/>
                  </a:cubicBezTo>
                  <a:cubicBezTo>
                    <a:pt x="85" y="144"/>
                    <a:pt x="88" y="150"/>
                    <a:pt x="91" y="153"/>
                  </a:cubicBezTo>
                  <a:cubicBezTo>
                    <a:pt x="94" y="156"/>
                    <a:pt x="97" y="156"/>
                    <a:pt x="101" y="157"/>
                  </a:cubicBezTo>
                  <a:cubicBezTo>
                    <a:pt x="105" y="158"/>
                    <a:pt x="112" y="161"/>
                    <a:pt x="112" y="159"/>
                  </a:cubicBezTo>
                  <a:cubicBezTo>
                    <a:pt x="112" y="157"/>
                    <a:pt x="105" y="152"/>
                    <a:pt x="100" y="147"/>
                  </a:cubicBezTo>
                  <a:cubicBezTo>
                    <a:pt x="95" y="142"/>
                    <a:pt x="86" y="134"/>
                    <a:pt x="83" y="126"/>
                  </a:cubicBezTo>
                  <a:cubicBezTo>
                    <a:pt x="80" y="118"/>
                    <a:pt x="79" y="104"/>
                    <a:pt x="83" y="100"/>
                  </a:cubicBezTo>
                  <a:cubicBezTo>
                    <a:pt x="87" y="96"/>
                    <a:pt x="100" y="100"/>
                    <a:pt x="106" y="99"/>
                  </a:cubicBezTo>
                  <a:cubicBezTo>
                    <a:pt x="112" y="98"/>
                    <a:pt x="119" y="98"/>
                    <a:pt x="122" y="94"/>
                  </a:cubicBezTo>
                  <a:cubicBezTo>
                    <a:pt x="125" y="90"/>
                    <a:pt x="125" y="78"/>
                    <a:pt x="124" y="73"/>
                  </a:cubicBezTo>
                  <a:cubicBezTo>
                    <a:pt x="123" y="68"/>
                    <a:pt x="114" y="67"/>
                    <a:pt x="113" y="63"/>
                  </a:cubicBezTo>
                  <a:cubicBezTo>
                    <a:pt x="112" y="59"/>
                    <a:pt x="118" y="51"/>
                    <a:pt x="115" y="46"/>
                  </a:cubicBezTo>
                  <a:cubicBezTo>
                    <a:pt x="112" y="41"/>
                    <a:pt x="102" y="34"/>
                    <a:pt x="97" y="33"/>
                  </a:cubicBezTo>
                  <a:cubicBezTo>
                    <a:pt x="92" y="32"/>
                    <a:pt x="88" y="39"/>
                    <a:pt x="83" y="39"/>
                  </a:cubicBezTo>
                  <a:cubicBezTo>
                    <a:pt x="78" y="39"/>
                    <a:pt x="72" y="35"/>
                    <a:pt x="68" y="36"/>
                  </a:cubicBezTo>
                  <a:cubicBezTo>
                    <a:pt x="64" y="37"/>
                    <a:pt x="59" y="49"/>
                    <a:pt x="58" y="46"/>
                  </a:cubicBezTo>
                  <a:cubicBezTo>
                    <a:pt x="57" y="43"/>
                    <a:pt x="63" y="25"/>
                    <a:pt x="62" y="19"/>
                  </a:cubicBezTo>
                  <a:cubicBezTo>
                    <a:pt x="61" y="13"/>
                    <a:pt x="53" y="12"/>
                    <a:pt x="50" y="9"/>
                  </a:cubicBezTo>
                  <a:cubicBezTo>
                    <a:pt x="47" y="6"/>
                    <a:pt x="48" y="0"/>
                    <a:pt x="43" y="0"/>
                  </a:cubicBezTo>
                  <a:cubicBezTo>
                    <a:pt x="38" y="0"/>
                    <a:pt x="23" y="4"/>
                    <a:pt x="17" y="7"/>
                  </a:cubicBezTo>
                  <a:cubicBezTo>
                    <a:pt x="11" y="10"/>
                    <a:pt x="7" y="13"/>
                    <a:pt x="5" y="18"/>
                  </a:cubicBezTo>
                  <a:cubicBezTo>
                    <a:pt x="3" y="23"/>
                    <a:pt x="3" y="30"/>
                    <a:pt x="5" y="37"/>
                  </a:cubicBezTo>
                  <a:cubicBezTo>
                    <a:pt x="7" y="44"/>
                    <a:pt x="15" y="51"/>
                    <a:pt x="17" y="57"/>
                  </a:cubicBezTo>
                  <a:cubicBezTo>
                    <a:pt x="19" y="63"/>
                    <a:pt x="18" y="72"/>
                    <a:pt x="16" y="73"/>
                  </a:cubicBezTo>
                  <a:cubicBezTo>
                    <a:pt x="14" y="74"/>
                    <a:pt x="5" y="66"/>
                    <a:pt x="3" y="63"/>
                  </a:cubicBezTo>
                  <a:cubicBezTo>
                    <a:pt x="1" y="60"/>
                    <a:pt x="0" y="53"/>
                    <a:pt x="1" y="57"/>
                  </a:cubicBezTo>
                  <a:cubicBezTo>
                    <a:pt x="2" y="61"/>
                    <a:pt x="6" y="83"/>
                    <a:pt x="7" y="90"/>
                  </a:cubicBezTo>
                  <a:cubicBezTo>
                    <a:pt x="8" y="97"/>
                    <a:pt x="6" y="97"/>
                    <a:pt x="8" y="100"/>
                  </a:cubicBezTo>
                  <a:cubicBezTo>
                    <a:pt x="10" y="103"/>
                    <a:pt x="17" y="108"/>
                    <a:pt x="17" y="111"/>
                  </a:cubicBezTo>
                  <a:cubicBezTo>
                    <a:pt x="17" y="114"/>
                    <a:pt x="7" y="115"/>
                    <a:pt x="5" y="117"/>
                  </a:cubicBezTo>
                  <a:cubicBezTo>
                    <a:pt x="3" y="119"/>
                    <a:pt x="1" y="119"/>
                    <a:pt x="2" y="124"/>
                  </a:cubicBezTo>
                  <a:cubicBezTo>
                    <a:pt x="3" y="129"/>
                    <a:pt x="12" y="144"/>
                    <a:pt x="14" y="150"/>
                  </a:cubicBezTo>
                  <a:cubicBezTo>
                    <a:pt x="16" y="156"/>
                    <a:pt x="12" y="156"/>
                    <a:pt x="14" y="163"/>
                  </a:cubicBezTo>
                  <a:cubicBezTo>
                    <a:pt x="16" y="170"/>
                    <a:pt x="21" y="184"/>
                    <a:pt x="25" y="192"/>
                  </a:cubicBezTo>
                  <a:cubicBezTo>
                    <a:pt x="29" y="200"/>
                    <a:pt x="33" y="207"/>
                    <a:pt x="38" y="213"/>
                  </a:cubicBezTo>
                  <a:cubicBezTo>
                    <a:pt x="43" y="219"/>
                    <a:pt x="53" y="229"/>
                    <a:pt x="58" y="229"/>
                  </a:cubicBezTo>
                  <a:cubicBezTo>
                    <a:pt x="63" y="229"/>
                    <a:pt x="66" y="220"/>
                    <a:pt x="65" y="217"/>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46" name="Freeform 617"/>
            <p:cNvSpPr>
              <a:spLocks/>
            </p:cNvSpPr>
            <p:nvPr>
              <p:custDataLst>
                <p:tags r:id="rId114"/>
              </p:custDataLst>
            </p:nvPr>
          </p:nvSpPr>
          <p:spPr bwMode="gray">
            <a:xfrm>
              <a:off x="4219374" y="2816006"/>
              <a:ext cx="105126" cy="226119"/>
            </a:xfrm>
            <a:custGeom>
              <a:avLst/>
              <a:gdLst>
                <a:gd name="T0" fmla="*/ 33 w 109"/>
                <a:gd name="T1" fmla="*/ 202 h 235"/>
                <a:gd name="T2" fmla="*/ 49 w 109"/>
                <a:gd name="T3" fmla="*/ 187 h 235"/>
                <a:gd name="T4" fmla="*/ 75 w 109"/>
                <a:gd name="T5" fmla="*/ 176 h 235"/>
                <a:gd name="T6" fmla="*/ 75 w 109"/>
                <a:gd name="T7" fmla="*/ 148 h 235"/>
                <a:gd name="T8" fmla="*/ 54 w 109"/>
                <a:gd name="T9" fmla="*/ 143 h 235"/>
                <a:gd name="T10" fmla="*/ 76 w 109"/>
                <a:gd name="T11" fmla="*/ 139 h 235"/>
                <a:gd name="T12" fmla="*/ 64 w 109"/>
                <a:gd name="T13" fmla="*/ 110 h 235"/>
                <a:gd name="T14" fmla="*/ 45 w 109"/>
                <a:gd name="T15" fmla="*/ 86 h 235"/>
                <a:gd name="T16" fmla="*/ 25 w 109"/>
                <a:gd name="T17" fmla="*/ 70 h 235"/>
                <a:gd name="T18" fmla="*/ 39 w 109"/>
                <a:gd name="T19" fmla="*/ 53 h 235"/>
                <a:gd name="T20" fmla="*/ 27 w 109"/>
                <a:gd name="T21" fmla="*/ 45 h 235"/>
                <a:gd name="T22" fmla="*/ 20 w 109"/>
                <a:gd name="T23" fmla="*/ 38 h 235"/>
                <a:gd name="T24" fmla="*/ 6 w 109"/>
                <a:gd name="T25" fmla="*/ 28 h 235"/>
                <a:gd name="T26" fmla="*/ 0 w 109"/>
                <a:gd name="T27" fmla="*/ 16 h 235"/>
                <a:gd name="T28" fmla="*/ 6 w 109"/>
                <a:gd name="T29" fmla="*/ 7 h 235"/>
                <a:gd name="T30" fmla="*/ 19 w 109"/>
                <a:gd name="T31" fmla="*/ 16 h 235"/>
                <a:gd name="T32" fmla="*/ 34 w 109"/>
                <a:gd name="T33" fmla="*/ 10 h 235"/>
                <a:gd name="T34" fmla="*/ 45 w 109"/>
                <a:gd name="T35" fmla="*/ 4 h 235"/>
                <a:gd name="T36" fmla="*/ 81 w 109"/>
                <a:gd name="T37" fmla="*/ 32 h 235"/>
                <a:gd name="T38" fmla="*/ 63 w 109"/>
                <a:gd name="T39" fmla="*/ 49 h 235"/>
                <a:gd name="T40" fmla="*/ 51 w 109"/>
                <a:gd name="T41" fmla="*/ 65 h 235"/>
                <a:gd name="T42" fmla="*/ 55 w 109"/>
                <a:gd name="T43" fmla="*/ 82 h 235"/>
                <a:gd name="T44" fmla="*/ 79 w 109"/>
                <a:gd name="T45" fmla="*/ 110 h 235"/>
                <a:gd name="T46" fmla="*/ 94 w 109"/>
                <a:gd name="T47" fmla="*/ 130 h 235"/>
                <a:gd name="T48" fmla="*/ 105 w 109"/>
                <a:gd name="T49" fmla="*/ 154 h 235"/>
                <a:gd name="T50" fmla="*/ 105 w 109"/>
                <a:gd name="T51" fmla="*/ 193 h 235"/>
                <a:gd name="T52" fmla="*/ 81 w 109"/>
                <a:gd name="T53" fmla="*/ 197 h 235"/>
                <a:gd name="T54" fmla="*/ 64 w 109"/>
                <a:gd name="T55" fmla="*/ 209 h 235"/>
                <a:gd name="T56" fmla="*/ 61 w 109"/>
                <a:gd name="T57" fmla="*/ 221 h 235"/>
                <a:gd name="T58" fmla="*/ 43 w 109"/>
                <a:gd name="T59" fmla="*/ 235 h 235"/>
                <a:gd name="T60" fmla="*/ 36 w 109"/>
                <a:gd name="T61" fmla="*/ 220 h 235"/>
                <a:gd name="T62" fmla="*/ 33 w 109"/>
                <a:gd name="T63" fmla="*/ 20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9" h="235">
                  <a:moveTo>
                    <a:pt x="33" y="202"/>
                  </a:moveTo>
                  <a:cubicBezTo>
                    <a:pt x="35" y="197"/>
                    <a:pt x="42" y="191"/>
                    <a:pt x="49" y="187"/>
                  </a:cubicBezTo>
                  <a:cubicBezTo>
                    <a:pt x="56" y="183"/>
                    <a:pt x="71" y="182"/>
                    <a:pt x="75" y="176"/>
                  </a:cubicBezTo>
                  <a:cubicBezTo>
                    <a:pt x="79" y="170"/>
                    <a:pt x="78" y="153"/>
                    <a:pt x="75" y="148"/>
                  </a:cubicBezTo>
                  <a:cubicBezTo>
                    <a:pt x="72" y="143"/>
                    <a:pt x="54" y="144"/>
                    <a:pt x="54" y="143"/>
                  </a:cubicBezTo>
                  <a:cubicBezTo>
                    <a:pt x="54" y="142"/>
                    <a:pt x="74" y="144"/>
                    <a:pt x="76" y="139"/>
                  </a:cubicBezTo>
                  <a:cubicBezTo>
                    <a:pt x="78" y="134"/>
                    <a:pt x="69" y="119"/>
                    <a:pt x="64" y="110"/>
                  </a:cubicBezTo>
                  <a:cubicBezTo>
                    <a:pt x="59" y="101"/>
                    <a:pt x="51" y="93"/>
                    <a:pt x="45" y="86"/>
                  </a:cubicBezTo>
                  <a:cubicBezTo>
                    <a:pt x="39" y="79"/>
                    <a:pt x="26" y="75"/>
                    <a:pt x="25" y="70"/>
                  </a:cubicBezTo>
                  <a:cubicBezTo>
                    <a:pt x="24" y="65"/>
                    <a:pt x="39" y="57"/>
                    <a:pt x="39" y="53"/>
                  </a:cubicBezTo>
                  <a:cubicBezTo>
                    <a:pt x="39" y="49"/>
                    <a:pt x="30" y="47"/>
                    <a:pt x="27" y="45"/>
                  </a:cubicBezTo>
                  <a:cubicBezTo>
                    <a:pt x="24" y="43"/>
                    <a:pt x="23" y="41"/>
                    <a:pt x="20" y="38"/>
                  </a:cubicBezTo>
                  <a:cubicBezTo>
                    <a:pt x="17" y="35"/>
                    <a:pt x="9" y="32"/>
                    <a:pt x="6" y="28"/>
                  </a:cubicBezTo>
                  <a:cubicBezTo>
                    <a:pt x="3" y="24"/>
                    <a:pt x="0" y="19"/>
                    <a:pt x="0" y="16"/>
                  </a:cubicBezTo>
                  <a:cubicBezTo>
                    <a:pt x="0" y="13"/>
                    <a:pt x="3" y="7"/>
                    <a:pt x="6" y="7"/>
                  </a:cubicBezTo>
                  <a:cubicBezTo>
                    <a:pt x="9" y="7"/>
                    <a:pt x="14" y="15"/>
                    <a:pt x="19" y="16"/>
                  </a:cubicBezTo>
                  <a:cubicBezTo>
                    <a:pt x="24" y="17"/>
                    <a:pt x="30" y="12"/>
                    <a:pt x="34" y="10"/>
                  </a:cubicBezTo>
                  <a:cubicBezTo>
                    <a:pt x="38" y="8"/>
                    <a:pt x="37" y="0"/>
                    <a:pt x="45" y="4"/>
                  </a:cubicBezTo>
                  <a:cubicBezTo>
                    <a:pt x="53" y="8"/>
                    <a:pt x="78" y="25"/>
                    <a:pt x="81" y="32"/>
                  </a:cubicBezTo>
                  <a:cubicBezTo>
                    <a:pt x="84" y="39"/>
                    <a:pt x="68" y="43"/>
                    <a:pt x="63" y="49"/>
                  </a:cubicBezTo>
                  <a:cubicBezTo>
                    <a:pt x="58" y="55"/>
                    <a:pt x="52" y="60"/>
                    <a:pt x="51" y="65"/>
                  </a:cubicBezTo>
                  <a:cubicBezTo>
                    <a:pt x="50" y="70"/>
                    <a:pt x="50" y="75"/>
                    <a:pt x="55" y="82"/>
                  </a:cubicBezTo>
                  <a:cubicBezTo>
                    <a:pt x="60" y="89"/>
                    <a:pt x="72" y="102"/>
                    <a:pt x="79" y="110"/>
                  </a:cubicBezTo>
                  <a:cubicBezTo>
                    <a:pt x="86" y="118"/>
                    <a:pt x="90" y="123"/>
                    <a:pt x="94" y="130"/>
                  </a:cubicBezTo>
                  <a:cubicBezTo>
                    <a:pt x="98" y="137"/>
                    <a:pt x="103" y="144"/>
                    <a:pt x="105" y="154"/>
                  </a:cubicBezTo>
                  <a:cubicBezTo>
                    <a:pt x="107" y="164"/>
                    <a:pt x="109" y="186"/>
                    <a:pt x="105" y="193"/>
                  </a:cubicBezTo>
                  <a:cubicBezTo>
                    <a:pt x="101" y="200"/>
                    <a:pt x="88" y="194"/>
                    <a:pt x="81" y="197"/>
                  </a:cubicBezTo>
                  <a:cubicBezTo>
                    <a:pt x="74" y="200"/>
                    <a:pt x="67" y="205"/>
                    <a:pt x="64" y="209"/>
                  </a:cubicBezTo>
                  <a:cubicBezTo>
                    <a:pt x="61" y="213"/>
                    <a:pt x="65" y="217"/>
                    <a:pt x="61" y="221"/>
                  </a:cubicBezTo>
                  <a:cubicBezTo>
                    <a:pt x="57" y="225"/>
                    <a:pt x="47" y="235"/>
                    <a:pt x="43" y="235"/>
                  </a:cubicBezTo>
                  <a:cubicBezTo>
                    <a:pt x="39" y="235"/>
                    <a:pt x="37" y="225"/>
                    <a:pt x="36" y="220"/>
                  </a:cubicBezTo>
                  <a:cubicBezTo>
                    <a:pt x="35" y="215"/>
                    <a:pt x="31" y="207"/>
                    <a:pt x="33" y="202"/>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48" name="Freeform 633"/>
            <p:cNvSpPr>
              <a:spLocks/>
            </p:cNvSpPr>
            <p:nvPr>
              <p:custDataLst>
                <p:tags r:id="rId115"/>
              </p:custDataLst>
            </p:nvPr>
          </p:nvSpPr>
          <p:spPr bwMode="gray">
            <a:xfrm>
              <a:off x="4466319" y="2855676"/>
              <a:ext cx="107109" cy="225128"/>
            </a:xfrm>
            <a:custGeom>
              <a:avLst/>
              <a:gdLst/>
              <a:ahLst/>
              <a:cxnLst/>
              <a:rect l="l" t="t" r="r" b="b"/>
              <a:pathLst>
                <a:path w="171450" h="360363">
                  <a:moveTo>
                    <a:pt x="80593" y="262595"/>
                  </a:moveTo>
                  <a:lnTo>
                    <a:pt x="80319" y="263313"/>
                  </a:lnTo>
                  <a:cubicBezTo>
                    <a:pt x="74971" y="264545"/>
                    <a:pt x="76197" y="263917"/>
                    <a:pt x="80593" y="262595"/>
                  </a:cubicBezTo>
                  <a:close/>
                  <a:moveTo>
                    <a:pt x="51744" y="45901"/>
                  </a:moveTo>
                  <a:cubicBezTo>
                    <a:pt x="55992" y="45515"/>
                    <a:pt x="59467" y="46672"/>
                    <a:pt x="64873" y="52069"/>
                  </a:cubicBezTo>
                  <a:cubicBezTo>
                    <a:pt x="66418" y="62862"/>
                    <a:pt x="66418" y="72114"/>
                    <a:pt x="61784" y="81365"/>
                  </a:cubicBezTo>
                  <a:cubicBezTo>
                    <a:pt x="69507" y="99868"/>
                    <a:pt x="67962" y="112204"/>
                    <a:pt x="47883" y="116830"/>
                  </a:cubicBezTo>
                  <a:cubicBezTo>
                    <a:pt x="30892" y="138417"/>
                    <a:pt x="46338" y="139959"/>
                    <a:pt x="69507" y="141500"/>
                  </a:cubicBezTo>
                  <a:cubicBezTo>
                    <a:pt x="75685" y="169255"/>
                    <a:pt x="75685" y="163087"/>
                    <a:pt x="112756" y="164629"/>
                  </a:cubicBezTo>
                  <a:cubicBezTo>
                    <a:pt x="108122" y="187758"/>
                    <a:pt x="115845" y="195468"/>
                    <a:pt x="135925" y="204720"/>
                  </a:cubicBezTo>
                  <a:cubicBezTo>
                    <a:pt x="139014" y="229390"/>
                    <a:pt x="142103" y="232474"/>
                    <a:pt x="152915" y="250977"/>
                  </a:cubicBezTo>
                  <a:cubicBezTo>
                    <a:pt x="154460" y="281816"/>
                    <a:pt x="154460" y="294151"/>
                    <a:pt x="171450" y="317280"/>
                  </a:cubicBezTo>
                  <a:cubicBezTo>
                    <a:pt x="149826" y="331158"/>
                    <a:pt x="168361" y="341951"/>
                    <a:pt x="135925" y="345035"/>
                  </a:cubicBezTo>
                  <a:lnTo>
                    <a:pt x="131291" y="360069"/>
                  </a:lnTo>
                  <a:cubicBezTo>
                    <a:pt x="128974" y="361225"/>
                    <a:pt x="125112" y="358912"/>
                    <a:pt x="117389" y="354287"/>
                  </a:cubicBezTo>
                  <a:cubicBezTo>
                    <a:pt x="109666" y="343493"/>
                    <a:pt x="100399" y="335784"/>
                    <a:pt x="94221" y="321906"/>
                  </a:cubicBezTo>
                  <a:cubicBezTo>
                    <a:pt x="94221" y="306487"/>
                    <a:pt x="118934" y="267939"/>
                    <a:pt x="117389" y="258687"/>
                  </a:cubicBezTo>
                  <a:cubicBezTo>
                    <a:pt x="117131" y="252616"/>
                    <a:pt x="90607" y="259480"/>
                    <a:pt x="80593" y="262595"/>
                  </a:cubicBezTo>
                  <a:cubicBezTo>
                    <a:pt x="96504" y="254860"/>
                    <a:pt x="58776" y="219961"/>
                    <a:pt x="66418" y="203178"/>
                  </a:cubicBezTo>
                  <a:cubicBezTo>
                    <a:pt x="57150" y="193926"/>
                    <a:pt x="30892" y="209345"/>
                    <a:pt x="24713" y="206262"/>
                  </a:cubicBezTo>
                  <a:cubicBezTo>
                    <a:pt x="32436" y="201636"/>
                    <a:pt x="38615" y="201636"/>
                    <a:pt x="29347" y="187758"/>
                  </a:cubicBezTo>
                  <a:cubicBezTo>
                    <a:pt x="26258" y="183133"/>
                    <a:pt x="15446" y="176965"/>
                    <a:pt x="15446" y="176965"/>
                  </a:cubicBezTo>
                  <a:cubicBezTo>
                    <a:pt x="20079" y="150752"/>
                    <a:pt x="12357" y="143042"/>
                    <a:pt x="0" y="122997"/>
                  </a:cubicBezTo>
                  <a:cubicBezTo>
                    <a:pt x="4634" y="113746"/>
                    <a:pt x="9267" y="110662"/>
                    <a:pt x="13901" y="102952"/>
                  </a:cubicBezTo>
                  <a:cubicBezTo>
                    <a:pt x="13901" y="90617"/>
                    <a:pt x="12357" y="78281"/>
                    <a:pt x="15446" y="67488"/>
                  </a:cubicBezTo>
                  <a:cubicBezTo>
                    <a:pt x="16990" y="59778"/>
                    <a:pt x="33981" y="58236"/>
                    <a:pt x="33981" y="48985"/>
                  </a:cubicBezTo>
                  <a:cubicBezTo>
                    <a:pt x="42476" y="48214"/>
                    <a:pt x="47496" y="46286"/>
                    <a:pt x="51744" y="45901"/>
                  </a:cubicBezTo>
                  <a:close/>
                  <a:moveTo>
                    <a:pt x="51753" y="0"/>
                  </a:moveTo>
                  <a:cubicBezTo>
                    <a:pt x="56198" y="12212"/>
                    <a:pt x="50272" y="21371"/>
                    <a:pt x="65088" y="25950"/>
                  </a:cubicBezTo>
                  <a:cubicBezTo>
                    <a:pt x="54717" y="39688"/>
                    <a:pt x="50272" y="25950"/>
                    <a:pt x="42863" y="16791"/>
                  </a:cubicBezTo>
                  <a:cubicBezTo>
                    <a:pt x="45826" y="1527"/>
                    <a:pt x="42863" y="7632"/>
                    <a:pt x="51753"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49" name="Freeform 635"/>
            <p:cNvSpPr>
              <a:spLocks/>
            </p:cNvSpPr>
            <p:nvPr>
              <p:custDataLst>
                <p:tags r:id="rId116"/>
              </p:custDataLst>
            </p:nvPr>
          </p:nvSpPr>
          <p:spPr bwMode="gray">
            <a:xfrm>
              <a:off x="4535743" y="2483769"/>
              <a:ext cx="87274" cy="91241"/>
            </a:xfrm>
            <a:custGeom>
              <a:avLst/>
              <a:gdLst>
                <a:gd name="T0" fmla="*/ 1 w 91"/>
                <a:gd name="T1" fmla="*/ 61 h 95"/>
                <a:gd name="T2" fmla="*/ 12 w 91"/>
                <a:gd name="T3" fmla="*/ 63 h 95"/>
                <a:gd name="T4" fmla="*/ 9 w 91"/>
                <a:gd name="T5" fmla="*/ 84 h 95"/>
                <a:gd name="T6" fmla="*/ 4 w 91"/>
                <a:gd name="T7" fmla="*/ 94 h 95"/>
                <a:gd name="T8" fmla="*/ 24 w 91"/>
                <a:gd name="T9" fmla="*/ 90 h 95"/>
                <a:gd name="T10" fmla="*/ 51 w 91"/>
                <a:gd name="T11" fmla="*/ 69 h 95"/>
                <a:gd name="T12" fmla="*/ 58 w 91"/>
                <a:gd name="T13" fmla="*/ 52 h 95"/>
                <a:gd name="T14" fmla="*/ 79 w 91"/>
                <a:gd name="T15" fmla="*/ 37 h 95"/>
                <a:gd name="T16" fmla="*/ 91 w 91"/>
                <a:gd name="T17" fmla="*/ 13 h 95"/>
                <a:gd name="T18" fmla="*/ 78 w 91"/>
                <a:gd name="T19" fmla="*/ 1 h 95"/>
                <a:gd name="T20" fmla="*/ 72 w 91"/>
                <a:gd name="T21" fmla="*/ 9 h 95"/>
                <a:gd name="T22" fmla="*/ 55 w 91"/>
                <a:gd name="T23" fmla="*/ 13 h 95"/>
                <a:gd name="T24" fmla="*/ 46 w 91"/>
                <a:gd name="T25" fmla="*/ 24 h 95"/>
                <a:gd name="T26" fmla="*/ 31 w 91"/>
                <a:gd name="T27" fmla="*/ 28 h 95"/>
                <a:gd name="T28" fmla="*/ 6 w 91"/>
                <a:gd name="T29" fmla="*/ 46 h 95"/>
                <a:gd name="T30" fmla="*/ 1 w 91"/>
                <a:gd name="T31" fmla="*/ 6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95">
                  <a:moveTo>
                    <a:pt x="1" y="61"/>
                  </a:moveTo>
                  <a:cubicBezTo>
                    <a:pt x="2" y="64"/>
                    <a:pt x="11" y="59"/>
                    <a:pt x="12" y="63"/>
                  </a:cubicBezTo>
                  <a:cubicBezTo>
                    <a:pt x="13" y="67"/>
                    <a:pt x="10" y="79"/>
                    <a:pt x="9" y="84"/>
                  </a:cubicBezTo>
                  <a:cubicBezTo>
                    <a:pt x="8" y="89"/>
                    <a:pt x="2" y="93"/>
                    <a:pt x="4" y="94"/>
                  </a:cubicBezTo>
                  <a:cubicBezTo>
                    <a:pt x="6" y="95"/>
                    <a:pt x="16" y="94"/>
                    <a:pt x="24" y="90"/>
                  </a:cubicBezTo>
                  <a:cubicBezTo>
                    <a:pt x="32" y="86"/>
                    <a:pt x="45" y="75"/>
                    <a:pt x="51" y="69"/>
                  </a:cubicBezTo>
                  <a:cubicBezTo>
                    <a:pt x="57" y="63"/>
                    <a:pt x="53" y="57"/>
                    <a:pt x="58" y="52"/>
                  </a:cubicBezTo>
                  <a:cubicBezTo>
                    <a:pt x="63" y="47"/>
                    <a:pt x="74" y="43"/>
                    <a:pt x="79" y="37"/>
                  </a:cubicBezTo>
                  <a:cubicBezTo>
                    <a:pt x="84" y="31"/>
                    <a:pt x="91" y="19"/>
                    <a:pt x="91" y="13"/>
                  </a:cubicBezTo>
                  <a:cubicBezTo>
                    <a:pt x="91" y="7"/>
                    <a:pt x="81" y="2"/>
                    <a:pt x="78" y="1"/>
                  </a:cubicBezTo>
                  <a:cubicBezTo>
                    <a:pt x="75" y="0"/>
                    <a:pt x="76" y="7"/>
                    <a:pt x="72" y="9"/>
                  </a:cubicBezTo>
                  <a:cubicBezTo>
                    <a:pt x="68" y="11"/>
                    <a:pt x="59" y="10"/>
                    <a:pt x="55" y="13"/>
                  </a:cubicBezTo>
                  <a:cubicBezTo>
                    <a:pt x="51" y="16"/>
                    <a:pt x="50" y="21"/>
                    <a:pt x="46" y="24"/>
                  </a:cubicBezTo>
                  <a:cubicBezTo>
                    <a:pt x="42" y="27"/>
                    <a:pt x="38" y="24"/>
                    <a:pt x="31" y="28"/>
                  </a:cubicBezTo>
                  <a:cubicBezTo>
                    <a:pt x="24" y="32"/>
                    <a:pt x="11" y="42"/>
                    <a:pt x="6" y="46"/>
                  </a:cubicBezTo>
                  <a:cubicBezTo>
                    <a:pt x="1" y="50"/>
                    <a:pt x="0" y="58"/>
                    <a:pt x="1" y="61"/>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50" name="Freeform 637"/>
            <p:cNvSpPr>
              <a:spLocks/>
            </p:cNvSpPr>
            <p:nvPr>
              <p:custDataLst>
                <p:tags r:id="rId117"/>
              </p:custDataLst>
            </p:nvPr>
          </p:nvSpPr>
          <p:spPr bwMode="gray">
            <a:xfrm>
              <a:off x="4543677" y="2550217"/>
              <a:ext cx="67439" cy="93225"/>
            </a:xfrm>
            <a:custGeom>
              <a:avLst/>
              <a:gdLst>
                <a:gd name="T0" fmla="*/ 0 w 69"/>
                <a:gd name="T1" fmla="*/ 24 h 97"/>
                <a:gd name="T2" fmla="*/ 24 w 69"/>
                <a:gd name="T3" fmla="*/ 15 h 97"/>
                <a:gd name="T4" fmla="*/ 39 w 69"/>
                <a:gd name="T5" fmla="*/ 0 h 97"/>
                <a:gd name="T6" fmla="*/ 58 w 69"/>
                <a:gd name="T7" fmla="*/ 21 h 97"/>
                <a:gd name="T8" fmla="*/ 69 w 69"/>
                <a:gd name="T9" fmla="*/ 45 h 97"/>
                <a:gd name="T10" fmla="*/ 34 w 69"/>
                <a:gd name="T11" fmla="*/ 87 h 97"/>
                <a:gd name="T12" fmla="*/ 22 w 69"/>
                <a:gd name="T13" fmla="*/ 94 h 97"/>
                <a:gd name="T14" fmla="*/ 21 w 69"/>
                <a:gd name="T15" fmla="*/ 54 h 97"/>
                <a:gd name="T16" fmla="*/ 7 w 69"/>
                <a:gd name="T17" fmla="*/ 30 h 97"/>
                <a:gd name="T18" fmla="*/ 0 w 69"/>
                <a:gd name="T19" fmla="*/ 2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97">
                  <a:moveTo>
                    <a:pt x="0" y="24"/>
                  </a:moveTo>
                  <a:cubicBezTo>
                    <a:pt x="19" y="21"/>
                    <a:pt x="11" y="25"/>
                    <a:pt x="24" y="15"/>
                  </a:cubicBezTo>
                  <a:cubicBezTo>
                    <a:pt x="32" y="9"/>
                    <a:pt x="28" y="2"/>
                    <a:pt x="39" y="0"/>
                  </a:cubicBezTo>
                  <a:cubicBezTo>
                    <a:pt x="49" y="2"/>
                    <a:pt x="48" y="16"/>
                    <a:pt x="58" y="21"/>
                  </a:cubicBezTo>
                  <a:cubicBezTo>
                    <a:pt x="64" y="28"/>
                    <a:pt x="64" y="37"/>
                    <a:pt x="69" y="45"/>
                  </a:cubicBezTo>
                  <a:cubicBezTo>
                    <a:pt x="66" y="74"/>
                    <a:pt x="65" y="83"/>
                    <a:pt x="34" y="87"/>
                  </a:cubicBezTo>
                  <a:cubicBezTo>
                    <a:pt x="26" y="91"/>
                    <a:pt x="30" y="97"/>
                    <a:pt x="22" y="94"/>
                  </a:cubicBezTo>
                  <a:cubicBezTo>
                    <a:pt x="20" y="81"/>
                    <a:pt x="13" y="69"/>
                    <a:pt x="21" y="54"/>
                  </a:cubicBezTo>
                  <a:cubicBezTo>
                    <a:pt x="19" y="42"/>
                    <a:pt x="20" y="33"/>
                    <a:pt x="7" y="30"/>
                  </a:cubicBezTo>
                  <a:cubicBezTo>
                    <a:pt x="2" y="26"/>
                    <a:pt x="4" y="28"/>
                    <a:pt x="0" y="2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51" name="Freeform 638"/>
            <p:cNvSpPr>
              <a:spLocks/>
            </p:cNvSpPr>
            <p:nvPr>
              <p:custDataLst>
                <p:tags r:id="rId118"/>
              </p:custDataLst>
            </p:nvPr>
          </p:nvSpPr>
          <p:spPr bwMode="gray">
            <a:xfrm>
              <a:off x="4221358" y="2949892"/>
              <a:ext cx="74382" cy="65456"/>
            </a:xfrm>
            <a:custGeom>
              <a:avLst/>
              <a:gdLst>
                <a:gd name="T0" fmla="*/ 47 w 77"/>
                <a:gd name="T1" fmla="*/ 3 h 68"/>
                <a:gd name="T2" fmla="*/ 76 w 77"/>
                <a:gd name="T3" fmla="*/ 10 h 68"/>
                <a:gd name="T4" fmla="*/ 68 w 77"/>
                <a:gd name="T5" fmla="*/ 37 h 68"/>
                <a:gd name="T6" fmla="*/ 56 w 77"/>
                <a:gd name="T7" fmla="*/ 46 h 68"/>
                <a:gd name="T8" fmla="*/ 44 w 77"/>
                <a:gd name="T9" fmla="*/ 48 h 68"/>
                <a:gd name="T10" fmla="*/ 35 w 77"/>
                <a:gd name="T11" fmla="*/ 61 h 68"/>
                <a:gd name="T12" fmla="*/ 23 w 77"/>
                <a:gd name="T13" fmla="*/ 61 h 68"/>
                <a:gd name="T14" fmla="*/ 8 w 77"/>
                <a:gd name="T15" fmla="*/ 39 h 68"/>
                <a:gd name="T16" fmla="*/ 44 w 77"/>
                <a:gd name="T17" fmla="*/ 7 h 68"/>
                <a:gd name="T18" fmla="*/ 47 w 77"/>
                <a:gd name="T19" fmla="*/ 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68">
                  <a:moveTo>
                    <a:pt x="47" y="3"/>
                  </a:moveTo>
                  <a:cubicBezTo>
                    <a:pt x="57" y="5"/>
                    <a:pt x="67" y="3"/>
                    <a:pt x="76" y="10"/>
                  </a:cubicBezTo>
                  <a:cubicBezTo>
                    <a:pt x="75" y="20"/>
                    <a:pt x="77" y="32"/>
                    <a:pt x="68" y="37"/>
                  </a:cubicBezTo>
                  <a:cubicBezTo>
                    <a:pt x="64" y="43"/>
                    <a:pt x="63" y="45"/>
                    <a:pt x="56" y="46"/>
                  </a:cubicBezTo>
                  <a:cubicBezTo>
                    <a:pt x="52" y="49"/>
                    <a:pt x="47" y="46"/>
                    <a:pt x="44" y="48"/>
                  </a:cubicBezTo>
                  <a:cubicBezTo>
                    <a:pt x="41" y="50"/>
                    <a:pt x="38" y="59"/>
                    <a:pt x="35" y="61"/>
                  </a:cubicBezTo>
                  <a:cubicBezTo>
                    <a:pt x="31" y="68"/>
                    <a:pt x="30" y="65"/>
                    <a:pt x="23" y="61"/>
                  </a:cubicBezTo>
                  <a:cubicBezTo>
                    <a:pt x="18" y="54"/>
                    <a:pt x="13" y="46"/>
                    <a:pt x="8" y="39"/>
                  </a:cubicBezTo>
                  <a:cubicBezTo>
                    <a:pt x="0" y="0"/>
                    <a:pt x="1" y="10"/>
                    <a:pt x="44" y="7"/>
                  </a:cubicBezTo>
                  <a:cubicBezTo>
                    <a:pt x="50" y="4"/>
                    <a:pt x="51" y="5"/>
                    <a:pt x="47" y="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52" name="Freeform 639"/>
            <p:cNvSpPr>
              <a:spLocks/>
            </p:cNvSpPr>
            <p:nvPr>
              <p:custDataLst>
                <p:tags r:id="rId119"/>
              </p:custDataLst>
            </p:nvPr>
          </p:nvSpPr>
          <p:spPr bwMode="gray">
            <a:xfrm>
              <a:off x="4182679" y="2833858"/>
              <a:ext cx="111076" cy="122977"/>
            </a:xfrm>
            <a:custGeom>
              <a:avLst/>
              <a:gdLst>
                <a:gd name="T0" fmla="*/ 11 w 115"/>
                <a:gd name="T1" fmla="*/ 15 h 127"/>
                <a:gd name="T2" fmla="*/ 35 w 115"/>
                <a:gd name="T3" fmla="*/ 6 h 127"/>
                <a:gd name="T4" fmla="*/ 38 w 115"/>
                <a:gd name="T5" fmla="*/ 1 h 127"/>
                <a:gd name="T6" fmla="*/ 44 w 115"/>
                <a:gd name="T7" fmla="*/ 9 h 127"/>
                <a:gd name="T8" fmla="*/ 65 w 115"/>
                <a:gd name="T9" fmla="*/ 22 h 127"/>
                <a:gd name="T10" fmla="*/ 75 w 115"/>
                <a:gd name="T11" fmla="*/ 33 h 127"/>
                <a:gd name="T12" fmla="*/ 63 w 115"/>
                <a:gd name="T13" fmla="*/ 48 h 127"/>
                <a:gd name="T14" fmla="*/ 89 w 115"/>
                <a:gd name="T15" fmla="*/ 70 h 127"/>
                <a:gd name="T16" fmla="*/ 96 w 115"/>
                <a:gd name="T17" fmla="*/ 85 h 127"/>
                <a:gd name="T18" fmla="*/ 108 w 115"/>
                <a:gd name="T19" fmla="*/ 99 h 127"/>
                <a:gd name="T20" fmla="*/ 115 w 115"/>
                <a:gd name="T21" fmla="*/ 111 h 127"/>
                <a:gd name="T22" fmla="*/ 110 w 115"/>
                <a:gd name="T23" fmla="*/ 124 h 127"/>
                <a:gd name="T24" fmla="*/ 90 w 115"/>
                <a:gd name="T25" fmla="*/ 123 h 127"/>
                <a:gd name="T26" fmla="*/ 83 w 115"/>
                <a:gd name="T27" fmla="*/ 103 h 127"/>
                <a:gd name="T28" fmla="*/ 75 w 115"/>
                <a:gd name="T29" fmla="*/ 73 h 127"/>
                <a:gd name="T30" fmla="*/ 59 w 115"/>
                <a:gd name="T31" fmla="*/ 61 h 127"/>
                <a:gd name="T32" fmla="*/ 44 w 115"/>
                <a:gd name="T33" fmla="*/ 69 h 127"/>
                <a:gd name="T34" fmla="*/ 24 w 115"/>
                <a:gd name="T35" fmla="*/ 69 h 127"/>
                <a:gd name="T36" fmla="*/ 27 w 115"/>
                <a:gd name="T37" fmla="*/ 51 h 127"/>
                <a:gd name="T38" fmla="*/ 9 w 115"/>
                <a:gd name="T39" fmla="*/ 36 h 127"/>
                <a:gd name="T40" fmla="*/ 8 w 115"/>
                <a:gd name="T41" fmla="*/ 25 h 127"/>
                <a:gd name="T42" fmla="*/ 11 w 115"/>
                <a:gd name="T43" fmla="*/ 1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5" h="127">
                  <a:moveTo>
                    <a:pt x="11" y="15"/>
                  </a:moveTo>
                  <a:cubicBezTo>
                    <a:pt x="31" y="11"/>
                    <a:pt x="23" y="8"/>
                    <a:pt x="35" y="6"/>
                  </a:cubicBezTo>
                  <a:cubicBezTo>
                    <a:pt x="36" y="4"/>
                    <a:pt x="36" y="2"/>
                    <a:pt x="38" y="1"/>
                  </a:cubicBezTo>
                  <a:cubicBezTo>
                    <a:pt x="42" y="0"/>
                    <a:pt x="43" y="8"/>
                    <a:pt x="44" y="9"/>
                  </a:cubicBezTo>
                  <a:cubicBezTo>
                    <a:pt x="49" y="16"/>
                    <a:pt x="57" y="20"/>
                    <a:pt x="65" y="22"/>
                  </a:cubicBezTo>
                  <a:cubicBezTo>
                    <a:pt x="71" y="27"/>
                    <a:pt x="74" y="25"/>
                    <a:pt x="75" y="33"/>
                  </a:cubicBezTo>
                  <a:cubicBezTo>
                    <a:pt x="73" y="43"/>
                    <a:pt x="71" y="43"/>
                    <a:pt x="63" y="48"/>
                  </a:cubicBezTo>
                  <a:cubicBezTo>
                    <a:pt x="69" y="59"/>
                    <a:pt x="76" y="67"/>
                    <a:pt x="89" y="70"/>
                  </a:cubicBezTo>
                  <a:cubicBezTo>
                    <a:pt x="94" y="76"/>
                    <a:pt x="93" y="80"/>
                    <a:pt x="96" y="85"/>
                  </a:cubicBezTo>
                  <a:cubicBezTo>
                    <a:pt x="99" y="90"/>
                    <a:pt x="105" y="95"/>
                    <a:pt x="108" y="99"/>
                  </a:cubicBezTo>
                  <a:cubicBezTo>
                    <a:pt x="110" y="103"/>
                    <a:pt x="115" y="107"/>
                    <a:pt x="115" y="111"/>
                  </a:cubicBezTo>
                  <a:cubicBezTo>
                    <a:pt x="115" y="115"/>
                    <a:pt x="114" y="122"/>
                    <a:pt x="110" y="124"/>
                  </a:cubicBezTo>
                  <a:cubicBezTo>
                    <a:pt x="103" y="124"/>
                    <a:pt x="95" y="127"/>
                    <a:pt x="90" y="123"/>
                  </a:cubicBezTo>
                  <a:cubicBezTo>
                    <a:pt x="81" y="117"/>
                    <a:pt x="94" y="108"/>
                    <a:pt x="83" y="103"/>
                  </a:cubicBezTo>
                  <a:cubicBezTo>
                    <a:pt x="74" y="91"/>
                    <a:pt x="80" y="92"/>
                    <a:pt x="75" y="73"/>
                  </a:cubicBezTo>
                  <a:cubicBezTo>
                    <a:pt x="74" y="68"/>
                    <a:pt x="63" y="64"/>
                    <a:pt x="59" y="61"/>
                  </a:cubicBezTo>
                  <a:cubicBezTo>
                    <a:pt x="54" y="60"/>
                    <a:pt x="50" y="68"/>
                    <a:pt x="44" y="69"/>
                  </a:cubicBezTo>
                  <a:cubicBezTo>
                    <a:pt x="38" y="70"/>
                    <a:pt x="27" y="72"/>
                    <a:pt x="24" y="69"/>
                  </a:cubicBezTo>
                  <a:cubicBezTo>
                    <a:pt x="17" y="68"/>
                    <a:pt x="29" y="56"/>
                    <a:pt x="27" y="51"/>
                  </a:cubicBezTo>
                  <a:cubicBezTo>
                    <a:pt x="25" y="46"/>
                    <a:pt x="12" y="40"/>
                    <a:pt x="9" y="36"/>
                  </a:cubicBezTo>
                  <a:cubicBezTo>
                    <a:pt x="5" y="30"/>
                    <a:pt x="0" y="28"/>
                    <a:pt x="8" y="25"/>
                  </a:cubicBezTo>
                  <a:cubicBezTo>
                    <a:pt x="9" y="18"/>
                    <a:pt x="8" y="21"/>
                    <a:pt x="11" y="1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53" name="Freeform 640"/>
            <p:cNvSpPr>
              <a:spLocks/>
            </p:cNvSpPr>
            <p:nvPr>
              <p:custDataLst>
                <p:tags r:id="rId120"/>
              </p:custDataLst>
            </p:nvPr>
          </p:nvSpPr>
          <p:spPr bwMode="gray">
            <a:xfrm>
              <a:off x="4386980" y="3093696"/>
              <a:ext cx="15868" cy="16860"/>
            </a:xfrm>
            <a:custGeom>
              <a:avLst/>
              <a:gdLst>
                <a:gd name="T0" fmla="*/ 0 w 17"/>
                <a:gd name="T1" fmla="*/ 9 h 18"/>
                <a:gd name="T2" fmla="*/ 14 w 17"/>
                <a:gd name="T3" fmla="*/ 13 h 18"/>
                <a:gd name="T4" fmla="*/ 6 w 17"/>
                <a:gd name="T5" fmla="*/ 3 h 18"/>
                <a:gd name="T6" fmla="*/ 0 w 17"/>
                <a:gd name="T7" fmla="*/ 9 h 18"/>
              </a:gdLst>
              <a:ahLst/>
              <a:cxnLst>
                <a:cxn ang="0">
                  <a:pos x="T0" y="T1"/>
                </a:cxn>
                <a:cxn ang="0">
                  <a:pos x="T2" y="T3"/>
                </a:cxn>
                <a:cxn ang="0">
                  <a:pos x="T4" y="T5"/>
                </a:cxn>
                <a:cxn ang="0">
                  <a:pos x="T6" y="T7"/>
                </a:cxn>
              </a:cxnLst>
              <a:rect l="0" t="0" r="r" b="b"/>
              <a:pathLst>
                <a:path w="17" h="18">
                  <a:moveTo>
                    <a:pt x="0" y="9"/>
                  </a:moveTo>
                  <a:cubicBezTo>
                    <a:pt x="3" y="18"/>
                    <a:pt x="6" y="18"/>
                    <a:pt x="14" y="13"/>
                  </a:cubicBezTo>
                  <a:cubicBezTo>
                    <a:pt x="17" y="3"/>
                    <a:pt x="17" y="0"/>
                    <a:pt x="6" y="3"/>
                  </a:cubicBezTo>
                  <a:cubicBezTo>
                    <a:pt x="2" y="10"/>
                    <a:pt x="4" y="9"/>
                    <a:pt x="0" y="9"/>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54" name="Freeform 641"/>
            <p:cNvSpPr>
              <a:spLocks/>
            </p:cNvSpPr>
            <p:nvPr>
              <p:custDataLst>
                <p:tags r:id="rId121"/>
              </p:custDataLst>
            </p:nvPr>
          </p:nvSpPr>
          <p:spPr bwMode="gray">
            <a:xfrm>
              <a:off x="4459378" y="2790221"/>
              <a:ext cx="47604" cy="56530"/>
            </a:xfrm>
            <a:custGeom>
              <a:avLst/>
              <a:gdLst>
                <a:gd name="T0" fmla="*/ 4 w 50"/>
                <a:gd name="T1" fmla="*/ 24 h 58"/>
                <a:gd name="T2" fmla="*/ 16 w 50"/>
                <a:gd name="T3" fmla="*/ 22 h 58"/>
                <a:gd name="T4" fmla="*/ 22 w 50"/>
                <a:gd name="T5" fmla="*/ 12 h 58"/>
                <a:gd name="T6" fmla="*/ 37 w 50"/>
                <a:gd name="T7" fmla="*/ 0 h 58"/>
                <a:gd name="T8" fmla="*/ 38 w 50"/>
                <a:gd name="T9" fmla="*/ 22 h 58"/>
                <a:gd name="T10" fmla="*/ 25 w 50"/>
                <a:gd name="T11" fmla="*/ 39 h 58"/>
                <a:gd name="T12" fmla="*/ 17 w 50"/>
                <a:gd name="T13" fmla="*/ 46 h 58"/>
                <a:gd name="T14" fmla="*/ 4 w 50"/>
                <a:gd name="T15" fmla="*/ 30 h 58"/>
                <a:gd name="T16" fmla="*/ 4 w 50"/>
                <a:gd name="T17"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8">
                  <a:moveTo>
                    <a:pt x="4" y="24"/>
                  </a:moveTo>
                  <a:cubicBezTo>
                    <a:pt x="8" y="23"/>
                    <a:pt x="13" y="25"/>
                    <a:pt x="16" y="22"/>
                  </a:cubicBezTo>
                  <a:cubicBezTo>
                    <a:pt x="32" y="8"/>
                    <a:pt x="6" y="15"/>
                    <a:pt x="22" y="12"/>
                  </a:cubicBezTo>
                  <a:cubicBezTo>
                    <a:pt x="29" y="7"/>
                    <a:pt x="28" y="2"/>
                    <a:pt x="37" y="0"/>
                  </a:cubicBezTo>
                  <a:cubicBezTo>
                    <a:pt x="50" y="2"/>
                    <a:pt x="44" y="14"/>
                    <a:pt x="38" y="22"/>
                  </a:cubicBezTo>
                  <a:cubicBezTo>
                    <a:pt x="34" y="40"/>
                    <a:pt x="40" y="36"/>
                    <a:pt x="25" y="39"/>
                  </a:cubicBezTo>
                  <a:cubicBezTo>
                    <a:pt x="24" y="45"/>
                    <a:pt x="22" y="58"/>
                    <a:pt x="17" y="46"/>
                  </a:cubicBezTo>
                  <a:cubicBezTo>
                    <a:pt x="15" y="37"/>
                    <a:pt x="11" y="35"/>
                    <a:pt x="4" y="30"/>
                  </a:cubicBezTo>
                  <a:cubicBezTo>
                    <a:pt x="2" y="24"/>
                    <a:pt x="0" y="26"/>
                    <a:pt x="4" y="2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55" name="Freeform 674"/>
            <p:cNvSpPr>
              <a:spLocks/>
            </p:cNvSpPr>
            <p:nvPr>
              <p:custDataLst>
                <p:tags r:id="rId122"/>
              </p:custDataLst>
            </p:nvPr>
          </p:nvSpPr>
          <p:spPr bwMode="gray">
            <a:xfrm>
              <a:off x="4962542" y="3312562"/>
              <a:ext cx="29927" cy="23122"/>
            </a:xfrm>
            <a:custGeom>
              <a:avLst/>
              <a:gdLst>
                <a:gd name="T0" fmla="*/ 1 w 31"/>
                <a:gd name="T1" fmla="*/ 0 h 24"/>
                <a:gd name="T2" fmla="*/ 12 w 31"/>
                <a:gd name="T3" fmla="*/ 3 h 24"/>
                <a:gd name="T4" fmla="*/ 31 w 31"/>
                <a:gd name="T5" fmla="*/ 14 h 24"/>
                <a:gd name="T6" fmla="*/ 3 w 31"/>
                <a:gd name="T7" fmla="*/ 14 h 24"/>
                <a:gd name="T8" fmla="*/ 1 w 31"/>
                <a:gd name="T9" fmla="*/ 0 h 24"/>
              </a:gdLst>
              <a:ahLst/>
              <a:cxnLst>
                <a:cxn ang="0">
                  <a:pos x="T0" y="T1"/>
                </a:cxn>
                <a:cxn ang="0">
                  <a:pos x="T2" y="T3"/>
                </a:cxn>
                <a:cxn ang="0">
                  <a:pos x="T4" y="T5"/>
                </a:cxn>
                <a:cxn ang="0">
                  <a:pos x="T6" y="T7"/>
                </a:cxn>
                <a:cxn ang="0">
                  <a:pos x="T8" y="T9"/>
                </a:cxn>
              </a:cxnLst>
              <a:rect l="0" t="0" r="r" b="b"/>
              <a:pathLst>
                <a:path w="31" h="24">
                  <a:moveTo>
                    <a:pt x="1" y="0"/>
                  </a:moveTo>
                  <a:cubicBezTo>
                    <a:pt x="5" y="1"/>
                    <a:pt x="9" y="1"/>
                    <a:pt x="12" y="3"/>
                  </a:cubicBezTo>
                  <a:cubicBezTo>
                    <a:pt x="25" y="11"/>
                    <a:pt x="8" y="10"/>
                    <a:pt x="31" y="14"/>
                  </a:cubicBezTo>
                  <a:cubicBezTo>
                    <a:pt x="24" y="24"/>
                    <a:pt x="12" y="16"/>
                    <a:pt x="3" y="14"/>
                  </a:cubicBezTo>
                  <a:cubicBezTo>
                    <a:pt x="0" y="7"/>
                    <a:pt x="4" y="7"/>
                    <a:pt x="1"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56" name="Freeform 675"/>
            <p:cNvSpPr>
              <a:spLocks/>
            </p:cNvSpPr>
            <p:nvPr>
              <p:custDataLst>
                <p:tags r:id="rId123"/>
              </p:custDataLst>
            </p:nvPr>
          </p:nvSpPr>
          <p:spPr bwMode="gray">
            <a:xfrm>
              <a:off x="4793598" y="3200806"/>
              <a:ext cx="141913" cy="122354"/>
            </a:xfrm>
            <a:custGeom>
              <a:avLst/>
              <a:gdLst>
                <a:gd name="T0" fmla="*/ 0 w 123"/>
                <a:gd name="T1" fmla="*/ 80 h 106"/>
                <a:gd name="T2" fmla="*/ 0 w 123"/>
                <a:gd name="T3" fmla="*/ 33 h 106"/>
                <a:gd name="T4" fmla="*/ 0 w 123"/>
                <a:gd name="T5" fmla="*/ 0 h 106"/>
                <a:gd name="T6" fmla="*/ 32 w 123"/>
                <a:gd name="T7" fmla="*/ 9 h 106"/>
                <a:gd name="T8" fmla="*/ 57 w 123"/>
                <a:gd name="T9" fmla="*/ 25 h 106"/>
                <a:gd name="T10" fmla="*/ 57 w 123"/>
                <a:gd name="T11" fmla="*/ 33 h 106"/>
                <a:gd name="T12" fmla="*/ 88 w 123"/>
                <a:gd name="T13" fmla="*/ 49 h 106"/>
                <a:gd name="T14" fmla="*/ 72 w 123"/>
                <a:gd name="T15" fmla="*/ 57 h 106"/>
                <a:gd name="T16" fmla="*/ 81 w 123"/>
                <a:gd name="T17" fmla="*/ 57 h 106"/>
                <a:gd name="T18" fmla="*/ 88 w 123"/>
                <a:gd name="T19" fmla="*/ 65 h 106"/>
                <a:gd name="T20" fmla="*/ 97 w 123"/>
                <a:gd name="T21" fmla="*/ 80 h 106"/>
                <a:gd name="T22" fmla="*/ 104 w 123"/>
                <a:gd name="T23" fmla="*/ 80 h 106"/>
                <a:gd name="T24" fmla="*/ 104 w 123"/>
                <a:gd name="T25" fmla="*/ 90 h 106"/>
                <a:gd name="T26" fmla="*/ 122 w 123"/>
                <a:gd name="T27" fmla="*/ 99 h 106"/>
                <a:gd name="T28" fmla="*/ 122 w 123"/>
                <a:gd name="T29" fmla="*/ 105 h 106"/>
                <a:gd name="T30" fmla="*/ 81 w 123"/>
                <a:gd name="T31" fmla="*/ 99 h 106"/>
                <a:gd name="T32" fmla="*/ 63 w 123"/>
                <a:gd name="T33" fmla="*/ 65 h 106"/>
                <a:gd name="T34" fmla="*/ 47 w 123"/>
                <a:gd name="T35" fmla="*/ 65 h 106"/>
                <a:gd name="T36" fmla="*/ 40 w 123"/>
                <a:gd name="T37" fmla="*/ 65 h 106"/>
                <a:gd name="T38" fmla="*/ 23 w 123"/>
                <a:gd name="T39" fmla="*/ 74 h 106"/>
                <a:gd name="T40" fmla="*/ 32 w 123"/>
                <a:gd name="T41" fmla="*/ 80 h 106"/>
                <a:gd name="T42" fmla="*/ 15 w 123"/>
                <a:gd name="T43" fmla="*/ 80 h 106"/>
                <a:gd name="T44" fmla="*/ 0 w 123"/>
                <a:gd name="T45" fmla="*/ 8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57" name="Freeform 676"/>
            <p:cNvSpPr>
              <a:spLocks/>
            </p:cNvSpPr>
            <p:nvPr>
              <p:custDataLst>
                <p:tags r:id="rId124"/>
              </p:custDataLst>
            </p:nvPr>
          </p:nvSpPr>
          <p:spPr bwMode="gray">
            <a:xfrm>
              <a:off x="4895930" y="3219111"/>
              <a:ext cx="65647" cy="38537"/>
            </a:xfrm>
            <a:custGeom>
              <a:avLst/>
              <a:gdLst>
                <a:gd name="T0" fmla="*/ 0 w 57"/>
                <a:gd name="T1" fmla="*/ 16 h 33"/>
                <a:gd name="T2" fmla="*/ 16 w 57"/>
                <a:gd name="T3" fmla="*/ 32 h 33"/>
                <a:gd name="T4" fmla="*/ 34 w 57"/>
                <a:gd name="T5" fmla="*/ 32 h 33"/>
                <a:gd name="T6" fmla="*/ 49 w 57"/>
                <a:gd name="T7" fmla="*/ 23 h 33"/>
                <a:gd name="T8" fmla="*/ 56 w 57"/>
                <a:gd name="T9" fmla="*/ 8 h 33"/>
                <a:gd name="T10" fmla="*/ 56 w 57"/>
                <a:gd name="T11" fmla="*/ 0 h 33"/>
                <a:gd name="T12" fmla="*/ 49 w 57"/>
                <a:gd name="T13" fmla="*/ 0 h 33"/>
                <a:gd name="T14" fmla="*/ 49 w 57"/>
                <a:gd name="T15" fmla="*/ 16 h 33"/>
                <a:gd name="T16" fmla="*/ 41 w 57"/>
                <a:gd name="T17" fmla="*/ 16 h 33"/>
                <a:gd name="T18" fmla="*/ 34 w 57"/>
                <a:gd name="T19" fmla="*/ 16 h 33"/>
                <a:gd name="T20" fmla="*/ 0 w 57"/>
                <a:gd name="T21"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58" name="Freeform 677"/>
            <p:cNvSpPr>
              <a:spLocks/>
            </p:cNvSpPr>
            <p:nvPr>
              <p:custDataLst>
                <p:tags r:id="rId125"/>
              </p:custDataLst>
            </p:nvPr>
          </p:nvSpPr>
          <p:spPr bwMode="gray">
            <a:xfrm>
              <a:off x="4943234" y="3211403"/>
              <a:ext cx="28962" cy="19268"/>
            </a:xfrm>
            <a:custGeom>
              <a:avLst/>
              <a:gdLst>
                <a:gd name="T0" fmla="*/ 0 w 25"/>
                <a:gd name="T1" fmla="*/ 0 h 17"/>
                <a:gd name="T2" fmla="*/ 15 w 25"/>
                <a:gd name="T3" fmla="*/ 8 h 17"/>
                <a:gd name="T4" fmla="*/ 24 w 25"/>
                <a:gd name="T5" fmla="*/ 16 h 17"/>
                <a:gd name="T6" fmla="*/ 24 w 25"/>
                <a:gd name="T7" fmla="*/ 8 h 17"/>
                <a:gd name="T8" fmla="*/ 0 w 25"/>
                <a:gd name="T9" fmla="*/ 0 h 17"/>
              </a:gdLst>
              <a:ahLst/>
              <a:cxnLst>
                <a:cxn ang="0">
                  <a:pos x="T0" y="T1"/>
                </a:cxn>
                <a:cxn ang="0">
                  <a:pos x="T2" y="T3"/>
                </a:cxn>
                <a:cxn ang="0">
                  <a:pos x="T4" y="T5"/>
                </a:cxn>
                <a:cxn ang="0">
                  <a:pos x="T6" y="T7"/>
                </a:cxn>
                <a:cxn ang="0">
                  <a:pos x="T8" y="T9"/>
                </a:cxn>
              </a:cxnLst>
              <a:rect l="0" t="0" r="r" b="b"/>
              <a:pathLst>
                <a:path w="25" h="17">
                  <a:moveTo>
                    <a:pt x="0" y="0"/>
                  </a:moveTo>
                  <a:lnTo>
                    <a:pt x="15" y="8"/>
                  </a:lnTo>
                  <a:lnTo>
                    <a:pt x="24" y="16"/>
                  </a:lnTo>
                  <a:lnTo>
                    <a:pt x="24" y="8"/>
                  </a:lnTo>
                  <a:lnTo>
                    <a:pt x="0" y="0"/>
                  </a:ln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grpSp>
          <p:nvGrpSpPr>
            <p:cNvPr id="161" name="Group 160"/>
            <p:cNvGrpSpPr/>
            <p:nvPr/>
          </p:nvGrpSpPr>
          <p:grpSpPr>
            <a:xfrm>
              <a:off x="4191605" y="3057993"/>
              <a:ext cx="281513" cy="85291"/>
              <a:chOff x="6637338" y="4348163"/>
              <a:chExt cx="450618" cy="136525"/>
            </a:xfrm>
            <a:solidFill>
              <a:schemeClr val="bg1"/>
            </a:solidFill>
          </p:grpSpPr>
          <p:sp>
            <p:nvSpPr>
              <p:cNvPr id="219" name="Freeform 682"/>
              <p:cNvSpPr>
                <a:spLocks/>
              </p:cNvSpPr>
              <p:nvPr>
                <p:custDataLst>
                  <p:tags r:id="rId175"/>
                </p:custDataLst>
              </p:nvPr>
            </p:nvSpPr>
            <p:spPr bwMode="gray">
              <a:xfrm>
                <a:off x="6637338" y="4348163"/>
                <a:ext cx="94194" cy="136525"/>
              </a:xfrm>
              <a:custGeom>
                <a:avLst/>
                <a:gdLst>
                  <a:gd name="T0" fmla="*/ 24 w 50"/>
                  <a:gd name="T1" fmla="*/ 9 h 75"/>
                  <a:gd name="T2" fmla="*/ 18 w 50"/>
                  <a:gd name="T3" fmla="*/ 18 h 75"/>
                  <a:gd name="T4" fmla="*/ 9 w 50"/>
                  <a:gd name="T5" fmla="*/ 9 h 75"/>
                  <a:gd name="T6" fmla="*/ 0 w 50"/>
                  <a:gd name="T7" fmla="*/ 0 h 75"/>
                  <a:gd name="T8" fmla="*/ 0 w 50"/>
                  <a:gd name="T9" fmla="*/ 9 h 75"/>
                  <a:gd name="T10" fmla="*/ 0 w 50"/>
                  <a:gd name="T11" fmla="*/ 34 h 75"/>
                  <a:gd name="T12" fmla="*/ 18 w 50"/>
                  <a:gd name="T13" fmla="*/ 50 h 75"/>
                  <a:gd name="T14" fmla="*/ 43 w 50"/>
                  <a:gd name="T15" fmla="*/ 74 h 75"/>
                  <a:gd name="T16" fmla="*/ 49 w 50"/>
                  <a:gd name="T17" fmla="*/ 74 h 75"/>
                  <a:gd name="T18" fmla="*/ 43 w 50"/>
                  <a:gd name="T19" fmla="*/ 50 h 75"/>
                  <a:gd name="T20" fmla="*/ 43 w 50"/>
                  <a:gd name="T21" fmla="*/ 25 h 75"/>
                  <a:gd name="T22" fmla="*/ 24 w 50"/>
                  <a:gd name="T23" fmla="*/ 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20" name="Freeform 683"/>
              <p:cNvSpPr>
                <a:spLocks/>
              </p:cNvSpPr>
              <p:nvPr>
                <p:custDataLst>
                  <p:tags r:id="rId176"/>
                </p:custDataLst>
              </p:nvPr>
            </p:nvSpPr>
            <p:spPr bwMode="gray">
              <a:xfrm>
                <a:off x="6850431" y="4348163"/>
                <a:ext cx="237525" cy="134709"/>
              </a:xfrm>
              <a:custGeom>
                <a:avLst/>
                <a:gdLst>
                  <a:gd name="T0" fmla="*/ 71 w 131"/>
                  <a:gd name="T1" fmla="*/ 25 h 75"/>
                  <a:gd name="T2" fmla="*/ 80 w 131"/>
                  <a:gd name="T3" fmla="*/ 25 h 75"/>
                  <a:gd name="T4" fmla="*/ 71 w 131"/>
                  <a:gd name="T5" fmla="*/ 34 h 75"/>
                  <a:gd name="T6" fmla="*/ 65 w 131"/>
                  <a:gd name="T7" fmla="*/ 34 h 75"/>
                  <a:gd name="T8" fmla="*/ 56 w 131"/>
                  <a:gd name="T9" fmla="*/ 34 h 75"/>
                  <a:gd name="T10" fmla="*/ 40 w 131"/>
                  <a:gd name="T11" fmla="*/ 50 h 75"/>
                  <a:gd name="T12" fmla="*/ 25 w 131"/>
                  <a:gd name="T13" fmla="*/ 50 h 75"/>
                  <a:gd name="T14" fmla="*/ 25 w 131"/>
                  <a:gd name="T15" fmla="*/ 65 h 75"/>
                  <a:gd name="T16" fmla="*/ 0 w 131"/>
                  <a:gd name="T17" fmla="*/ 65 h 75"/>
                  <a:gd name="T18" fmla="*/ 15 w 131"/>
                  <a:gd name="T19" fmla="*/ 74 h 75"/>
                  <a:gd name="T20" fmla="*/ 31 w 131"/>
                  <a:gd name="T21" fmla="*/ 74 h 75"/>
                  <a:gd name="T22" fmla="*/ 40 w 131"/>
                  <a:gd name="T23" fmla="*/ 65 h 75"/>
                  <a:gd name="T24" fmla="*/ 56 w 131"/>
                  <a:gd name="T25" fmla="*/ 74 h 75"/>
                  <a:gd name="T26" fmla="*/ 65 w 131"/>
                  <a:gd name="T27" fmla="*/ 65 h 75"/>
                  <a:gd name="T28" fmla="*/ 89 w 131"/>
                  <a:gd name="T29" fmla="*/ 34 h 75"/>
                  <a:gd name="T30" fmla="*/ 112 w 131"/>
                  <a:gd name="T31" fmla="*/ 34 h 75"/>
                  <a:gd name="T32" fmla="*/ 120 w 131"/>
                  <a:gd name="T33" fmla="*/ 34 h 75"/>
                  <a:gd name="T34" fmla="*/ 112 w 131"/>
                  <a:gd name="T35" fmla="*/ 25 h 75"/>
                  <a:gd name="T36" fmla="*/ 130 w 131"/>
                  <a:gd name="T37" fmla="*/ 25 h 75"/>
                  <a:gd name="T38" fmla="*/ 105 w 131"/>
                  <a:gd name="T39" fmla="*/ 18 h 75"/>
                  <a:gd name="T40" fmla="*/ 105 w 131"/>
                  <a:gd name="T41" fmla="*/ 9 h 75"/>
                  <a:gd name="T42" fmla="*/ 96 w 131"/>
                  <a:gd name="T43" fmla="*/ 0 h 75"/>
                  <a:gd name="T44" fmla="*/ 80 w 131"/>
                  <a:gd name="T45" fmla="*/ 18 h 75"/>
                  <a:gd name="T46" fmla="*/ 71 w 131"/>
                  <a:gd name="T47" fmla="*/ 25 h 75"/>
                  <a:gd name="connsiteX0" fmla="*/ 5420 w 9924"/>
                  <a:gd name="connsiteY0" fmla="*/ 3333 h 9867"/>
                  <a:gd name="connsiteX1" fmla="*/ 6107 w 9924"/>
                  <a:gd name="connsiteY1" fmla="*/ 3333 h 9867"/>
                  <a:gd name="connsiteX2" fmla="*/ 5420 w 9924"/>
                  <a:gd name="connsiteY2" fmla="*/ 4533 h 9867"/>
                  <a:gd name="connsiteX3" fmla="*/ 4962 w 9924"/>
                  <a:gd name="connsiteY3" fmla="*/ 4533 h 9867"/>
                  <a:gd name="connsiteX4" fmla="*/ 4275 w 9924"/>
                  <a:gd name="connsiteY4" fmla="*/ 4533 h 9867"/>
                  <a:gd name="connsiteX5" fmla="*/ 3053 w 9924"/>
                  <a:gd name="connsiteY5" fmla="*/ 6667 h 9867"/>
                  <a:gd name="connsiteX6" fmla="*/ 1908 w 9924"/>
                  <a:gd name="connsiteY6" fmla="*/ 6667 h 9867"/>
                  <a:gd name="connsiteX7" fmla="*/ 1908 w 9924"/>
                  <a:gd name="connsiteY7" fmla="*/ 8667 h 9867"/>
                  <a:gd name="connsiteX8" fmla="*/ 0 w 9924"/>
                  <a:gd name="connsiteY8" fmla="*/ 8667 h 9867"/>
                  <a:gd name="connsiteX9" fmla="*/ 1145 w 9924"/>
                  <a:gd name="connsiteY9" fmla="*/ 9867 h 9867"/>
                  <a:gd name="connsiteX10" fmla="*/ 2366 w 9924"/>
                  <a:gd name="connsiteY10" fmla="*/ 9867 h 9867"/>
                  <a:gd name="connsiteX11" fmla="*/ 3053 w 9924"/>
                  <a:gd name="connsiteY11" fmla="*/ 8667 h 9867"/>
                  <a:gd name="connsiteX12" fmla="*/ 4275 w 9924"/>
                  <a:gd name="connsiteY12" fmla="*/ 9867 h 9867"/>
                  <a:gd name="connsiteX13" fmla="*/ 4962 w 9924"/>
                  <a:gd name="connsiteY13" fmla="*/ 8667 h 9867"/>
                  <a:gd name="connsiteX14" fmla="*/ 6794 w 9924"/>
                  <a:gd name="connsiteY14" fmla="*/ 4533 h 9867"/>
                  <a:gd name="connsiteX15" fmla="*/ 8550 w 9924"/>
                  <a:gd name="connsiteY15" fmla="*/ 4533 h 9867"/>
                  <a:gd name="connsiteX16" fmla="*/ 9160 w 9924"/>
                  <a:gd name="connsiteY16" fmla="*/ 4533 h 9867"/>
                  <a:gd name="connsiteX17" fmla="*/ 8550 w 9924"/>
                  <a:gd name="connsiteY17" fmla="*/ 3333 h 9867"/>
                  <a:gd name="connsiteX18" fmla="*/ 9924 w 9924"/>
                  <a:gd name="connsiteY18" fmla="*/ 3333 h 9867"/>
                  <a:gd name="connsiteX19" fmla="*/ 8015 w 9924"/>
                  <a:gd name="connsiteY19" fmla="*/ 2400 h 9867"/>
                  <a:gd name="connsiteX20" fmla="*/ 8015 w 9924"/>
                  <a:gd name="connsiteY20" fmla="*/ 1200 h 9867"/>
                  <a:gd name="connsiteX21" fmla="*/ 7328 w 9924"/>
                  <a:gd name="connsiteY21" fmla="*/ 0 h 9867"/>
                  <a:gd name="connsiteX22" fmla="*/ 6107 w 9924"/>
                  <a:gd name="connsiteY22" fmla="*/ 2400 h 9867"/>
                  <a:gd name="connsiteX23" fmla="*/ 5420 w 9924"/>
                  <a:gd name="connsiteY23" fmla="*/ 3333 h 9867"/>
                  <a:gd name="connsiteX24" fmla="*/ 5420 w 9924"/>
                  <a:gd name="connsiteY24" fmla="*/ 3333 h 9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924" h="9867">
                    <a:moveTo>
                      <a:pt x="5420" y="3333"/>
                    </a:moveTo>
                    <a:lnTo>
                      <a:pt x="6107" y="3333"/>
                    </a:lnTo>
                    <a:lnTo>
                      <a:pt x="5420" y="4533"/>
                    </a:lnTo>
                    <a:lnTo>
                      <a:pt x="4962" y="4533"/>
                    </a:lnTo>
                    <a:lnTo>
                      <a:pt x="4275" y="4533"/>
                    </a:lnTo>
                    <a:lnTo>
                      <a:pt x="3053" y="6667"/>
                    </a:lnTo>
                    <a:lnTo>
                      <a:pt x="1908" y="6667"/>
                    </a:lnTo>
                    <a:lnTo>
                      <a:pt x="1908" y="8667"/>
                    </a:lnTo>
                    <a:lnTo>
                      <a:pt x="0" y="8667"/>
                    </a:lnTo>
                    <a:lnTo>
                      <a:pt x="1145" y="9867"/>
                    </a:lnTo>
                    <a:lnTo>
                      <a:pt x="2366" y="9867"/>
                    </a:lnTo>
                    <a:lnTo>
                      <a:pt x="3053" y="8667"/>
                    </a:lnTo>
                    <a:lnTo>
                      <a:pt x="4275" y="9867"/>
                    </a:lnTo>
                    <a:lnTo>
                      <a:pt x="4962" y="8667"/>
                    </a:lnTo>
                    <a:lnTo>
                      <a:pt x="6794" y="4533"/>
                    </a:lnTo>
                    <a:lnTo>
                      <a:pt x="8550" y="4533"/>
                    </a:lnTo>
                    <a:lnTo>
                      <a:pt x="9160" y="4533"/>
                    </a:lnTo>
                    <a:lnTo>
                      <a:pt x="8550" y="3333"/>
                    </a:lnTo>
                    <a:lnTo>
                      <a:pt x="9924" y="3333"/>
                    </a:lnTo>
                    <a:lnTo>
                      <a:pt x="8015" y="2400"/>
                    </a:lnTo>
                    <a:lnTo>
                      <a:pt x="8015" y="1200"/>
                    </a:lnTo>
                    <a:lnTo>
                      <a:pt x="7328" y="0"/>
                    </a:lnTo>
                    <a:lnTo>
                      <a:pt x="6107" y="2400"/>
                    </a:lnTo>
                    <a:lnTo>
                      <a:pt x="5420" y="3333"/>
                    </a:lnTo>
                    <a:lnTo>
                      <a:pt x="5420" y="3333"/>
                    </a:lnTo>
                    <a:close/>
                  </a:path>
                </a:pathLst>
              </a:custGeom>
              <a:grp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grpSp>
        <p:sp>
          <p:nvSpPr>
            <p:cNvPr id="162" name="Freeform 684"/>
            <p:cNvSpPr>
              <a:spLocks/>
            </p:cNvSpPr>
            <p:nvPr>
              <p:custDataLst>
                <p:tags r:id="rId126"/>
              </p:custDataLst>
            </p:nvPr>
          </p:nvSpPr>
          <p:spPr bwMode="gray">
            <a:xfrm>
              <a:off x="4389363" y="3086100"/>
              <a:ext cx="28940" cy="19384"/>
            </a:xfrm>
            <a:custGeom>
              <a:avLst/>
              <a:gdLst>
                <a:gd name="T0" fmla="*/ 0 w 25"/>
                <a:gd name="T1" fmla="*/ 16 h 17"/>
                <a:gd name="T2" fmla="*/ 9 w 25"/>
                <a:gd name="T3" fmla="*/ 16 h 17"/>
                <a:gd name="T4" fmla="*/ 15 w 25"/>
                <a:gd name="T5" fmla="*/ 16 h 17"/>
                <a:gd name="T6" fmla="*/ 24 w 25"/>
                <a:gd name="T7" fmla="*/ 0 h 17"/>
                <a:gd name="T8" fmla="*/ 15 w 25"/>
                <a:gd name="T9" fmla="*/ 0 h 17"/>
                <a:gd name="T10" fmla="*/ 0 w 25"/>
                <a:gd name="T11" fmla="*/ 16 h 17"/>
              </a:gdLst>
              <a:ahLst/>
              <a:cxnLst>
                <a:cxn ang="0">
                  <a:pos x="T0" y="T1"/>
                </a:cxn>
                <a:cxn ang="0">
                  <a:pos x="T2" y="T3"/>
                </a:cxn>
                <a:cxn ang="0">
                  <a:pos x="T4" y="T5"/>
                </a:cxn>
                <a:cxn ang="0">
                  <a:pos x="T6" y="T7"/>
                </a:cxn>
                <a:cxn ang="0">
                  <a:pos x="T8" y="T9"/>
                </a:cxn>
                <a:cxn ang="0">
                  <a:pos x="T10" y="T11"/>
                </a:cxn>
              </a:cxnLst>
              <a:rect l="0" t="0" r="r" b="b"/>
              <a:pathLst>
                <a:path w="25" h="17">
                  <a:moveTo>
                    <a:pt x="0" y="16"/>
                  </a:moveTo>
                  <a:lnTo>
                    <a:pt x="9" y="16"/>
                  </a:lnTo>
                  <a:lnTo>
                    <a:pt x="15" y="16"/>
                  </a:lnTo>
                  <a:lnTo>
                    <a:pt x="24" y="0"/>
                  </a:lnTo>
                  <a:lnTo>
                    <a:pt x="15" y="0"/>
                  </a:lnTo>
                  <a:lnTo>
                    <a:pt x="0" y="16"/>
                  </a:ln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63" name="Oval 685"/>
            <p:cNvSpPr>
              <a:spLocks noChangeArrowheads="1"/>
            </p:cNvSpPr>
            <p:nvPr>
              <p:custDataLst>
                <p:tags r:id="rId127"/>
              </p:custDataLst>
            </p:nvPr>
          </p:nvSpPr>
          <p:spPr bwMode="gray">
            <a:xfrm>
              <a:off x="4232122" y="3123900"/>
              <a:ext cx="16400" cy="16477"/>
            </a:xfrm>
            <a:prstGeom prst="ellipse">
              <a:avLst/>
            </a:pr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grpSp>
          <p:nvGrpSpPr>
            <p:cNvPr id="164" name="Group 720"/>
            <p:cNvGrpSpPr>
              <a:grpSpLocks/>
            </p:cNvGrpSpPr>
            <p:nvPr>
              <p:custDataLst>
                <p:tags r:id="rId128"/>
              </p:custDataLst>
            </p:nvPr>
          </p:nvGrpSpPr>
          <p:grpSpPr bwMode="auto">
            <a:xfrm>
              <a:off x="3408121" y="2219963"/>
              <a:ext cx="606952" cy="301492"/>
              <a:chOff x="1007" y="1862"/>
              <a:chExt cx="629" cy="312"/>
            </a:xfrm>
            <a:solidFill>
              <a:schemeClr val="bg1"/>
            </a:solidFill>
          </p:grpSpPr>
          <p:sp>
            <p:nvSpPr>
              <p:cNvPr id="217" name="Freeform 721"/>
              <p:cNvSpPr>
                <a:spLocks/>
              </p:cNvSpPr>
              <p:nvPr>
                <p:custDataLst>
                  <p:tags r:id="rId173"/>
                </p:custDataLst>
              </p:nvPr>
            </p:nvSpPr>
            <p:spPr bwMode="gray">
              <a:xfrm>
                <a:off x="1280" y="1862"/>
                <a:ext cx="356" cy="312"/>
              </a:xfrm>
              <a:custGeom>
                <a:avLst/>
                <a:gdLst>
                  <a:gd name="T0" fmla="*/ 0 w 356"/>
                  <a:gd name="T1" fmla="*/ 25 h 312"/>
                  <a:gd name="T2" fmla="*/ 75 w 356"/>
                  <a:gd name="T3" fmla="*/ 0 h 312"/>
                  <a:gd name="T4" fmla="*/ 99 w 356"/>
                  <a:gd name="T5" fmla="*/ 27 h 312"/>
                  <a:gd name="T6" fmla="*/ 114 w 356"/>
                  <a:gd name="T7" fmla="*/ 12 h 312"/>
                  <a:gd name="T8" fmla="*/ 154 w 356"/>
                  <a:gd name="T9" fmla="*/ 40 h 312"/>
                  <a:gd name="T10" fmla="*/ 160 w 356"/>
                  <a:gd name="T11" fmla="*/ 42 h 312"/>
                  <a:gd name="T12" fmla="*/ 187 w 356"/>
                  <a:gd name="T13" fmla="*/ 30 h 312"/>
                  <a:gd name="T14" fmla="*/ 191 w 356"/>
                  <a:gd name="T15" fmla="*/ 28 h 312"/>
                  <a:gd name="T16" fmla="*/ 196 w 356"/>
                  <a:gd name="T17" fmla="*/ 42 h 312"/>
                  <a:gd name="T18" fmla="*/ 214 w 356"/>
                  <a:gd name="T19" fmla="*/ 54 h 312"/>
                  <a:gd name="T20" fmla="*/ 226 w 356"/>
                  <a:gd name="T21" fmla="*/ 70 h 312"/>
                  <a:gd name="T22" fmla="*/ 233 w 356"/>
                  <a:gd name="T23" fmla="*/ 85 h 312"/>
                  <a:gd name="T24" fmla="*/ 232 w 356"/>
                  <a:gd name="T25" fmla="*/ 100 h 312"/>
                  <a:gd name="T26" fmla="*/ 236 w 356"/>
                  <a:gd name="T27" fmla="*/ 103 h 312"/>
                  <a:gd name="T28" fmla="*/ 248 w 356"/>
                  <a:gd name="T29" fmla="*/ 108 h 312"/>
                  <a:gd name="T30" fmla="*/ 265 w 356"/>
                  <a:gd name="T31" fmla="*/ 105 h 312"/>
                  <a:gd name="T32" fmla="*/ 277 w 356"/>
                  <a:gd name="T33" fmla="*/ 112 h 312"/>
                  <a:gd name="T34" fmla="*/ 287 w 356"/>
                  <a:gd name="T35" fmla="*/ 108 h 312"/>
                  <a:gd name="T36" fmla="*/ 302 w 356"/>
                  <a:gd name="T37" fmla="*/ 114 h 312"/>
                  <a:gd name="T38" fmla="*/ 320 w 356"/>
                  <a:gd name="T39" fmla="*/ 130 h 312"/>
                  <a:gd name="T40" fmla="*/ 353 w 356"/>
                  <a:gd name="T41" fmla="*/ 138 h 312"/>
                  <a:gd name="T42" fmla="*/ 340 w 356"/>
                  <a:gd name="T43" fmla="*/ 152 h 312"/>
                  <a:gd name="T44" fmla="*/ 329 w 356"/>
                  <a:gd name="T45" fmla="*/ 157 h 312"/>
                  <a:gd name="T46" fmla="*/ 328 w 356"/>
                  <a:gd name="T47" fmla="*/ 175 h 312"/>
                  <a:gd name="T48" fmla="*/ 323 w 356"/>
                  <a:gd name="T49" fmla="*/ 195 h 312"/>
                  <a:gd name="T50" fmla="*/ 319 w 356"/>
                  <a:gd name="T51" fmla="*/ 192 h 312"/>
                  <a:gd name="T52" fmla="*/ 305 w 356"/>
                  <a:gd name="T53" fmla="*/ 183 h 312"/>
                  <a:gd name="T54" fmla="*/ 281 w 356"/>
                  <a:gd name="T55" fmla="*/ 195 h 312"/>
                  <a:gd name="T56" fmla="*/ 274 w 356"/>
                  <a:gd name="T57" fmla="*/ 214 h 312"/>
                  <a:gd name="T58" fmla="*/ 278 w 356"/>
                  <a:gd name="T59" fmla="*/ 234 h 312"/>
                  <a:gd name="T60" fmla="*/ 268 w 356"/>
                  <a:gd name="T61" fmla="*/ 226 h 312"/>
                  <a:gd name="T62" fmla="*/ 241 w 356"/>
                  <a:gd name="T63" fmla="*/ 232 h 312"/>
                  <a:gd name="T64" fmla="*/ 247 w 356"/>
                  <a:gd name="T65" fmla="*/ 261 h 312"/>
                  <a:gd name="T66" fmla="*/ 245 w 356"/>
                  <a:gd name="T67" fmla="*/ 274 h 312"/>
                  <a:gd name="T68" fmla="*/ 254 w 356"/>
                  <a:gd name="T69" fmla="*/ 283 h 312"/>
                  <a:gd name="T70" fmla="*/ 242 w 356"/>
                  <a:gd name="T71" fmla="*/ 287 h 312"/>
                  <a:gd name="T72" fmla="*/ 196 w 356"/>
                  <a:gd name="T73" fmla="*/ 309 h 312"/>
                  <a:gd name="T74" fmla="*/ 208 w 356"/>
                  <a:gd name="T75" fmla="*/ 282 h 312"/>
                  <a:gd name="T76" fmla="*/ 172 w 356"/>
                  <a:gd name="T77" fmla="*/ 279 h 312"/>
                  <a:gd name="T78" fmla="*/ 144 w 356"/>
                  <a:gd name="T79" fmla="*/ 270 h 312"/>
                  <a:gd name="T80" fmla="*/ 124 w 356"/>
                  <a:gd name="T81" fmla="*/ 283 h 312"/>
                  <a:gd name="T82" fmla="*/ 109 w 356"/>
                  <a:gd name="T83" fmla="*/ 279 h 312"/>
                  <a:gd name="T84" fmla="*/ 79 w 356"/>
                  <a:gd name="T85" fmla="*/ 292 h 312"/>
                  <a:gd name="T86" fmla="*/ 51 w 356"/>
                  <a:gd name="T87"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12">
                    <a:moveTo>
                      <a:pt x="0" y="25"/>
                    </a:moveTo>
                    <a:cubicBezTo>
                      <a:pt x="10" y="28"/>
                      <a:pt x="59" y="0"/>
                      <a:pt x="75" y="0"/>
                    </a:cubicBezTo>
                    <a:cubicBezTo>
                      <a:pt x="91" y="0"/>
                      <a:pt x="92" y="25"/>
                      <a:pt x="99" y="27"/>
                    </a:cubicBezTo>
                    <a:cubicBezTo>
                      <a:pt x="106" y="29"/>
                      <a:pt x="105" y="10"/>
                      <a:pt x="114" y="12"/>
                    </a:cubicBezTo>
                    <a:cubicBezTo>
                      <a:pt x="123" y="14"/>
                      <a:pt x="146" y="35"/>
                      <a:pt x="154" y="40"/>
                    </a:cubicBezTo>
                    <a:cubicBezTo>
                      <a:pt x="162" y="45"/>
                      <a:pt x="155" y="44"/>
                      <a:pt x="160" y="42"/>
                    </a:cubicBezTo>
                    <a:cubicBezTo>
                      <a:pt x="166" y="32"/>
                      <a:pt x="176" y="31"/>
                      <a:pt x="187" y="30"/>
                    </a:cubicBezTo>
                    <a:cubicBezTo>
                      <a:pt x="188" y="29"/>
                      <a:pt x="190" y="27"/>
                      <a:pt x="191" y="28"/>
                    </a:cubicBezTo>
                    <a:cubicBezTo>
                      <a:pt x="194" y="29"/>
                      <a:pt x="195" y="41"/>
                      <a:pt x="196" y="42"/>
                    </a:cubicBezTo>
                    <a:cubicBezTo>
                      <a:pt x="198" y="46"/>
                      <a:pt x="210" y="52"/>
                      <a:pt x="214" y="54"/>
                    </a:cubicBezTo>
                    <a:cubicBezTo>
                      <a:pt x="218" y="60"/>
                      <a:pt x="222" y="64"/>
                      <a:pt x="226" y="70"/>
                    </a:cubicBezTo>
                    <a:cubicBezTo>
                      <a:pt x="228" y="76"/>
                      <a:pt x="232" y="80"/>
                      <a:pt x="233" y="85"/>
                    </a:cubicBezTo>
                    <a:cubicBezTo>
                      <a:pt x="234" y="90"/>
                      <a:pt x="231" y="97"/>
                      <a:pt x="232" y="100"/>
                    </a:cubicBezTo>
                    <a:cubicBezTo>
                      <a:pt x="233" y="106"/>
                      <a:pt x="233" y="102"/>
                      <a:pt x="236" y="103"/>
                    </a:cubicBezTo>
                    <a:cubicBezTo>
                      <a:pt x="239" y="104"/>
                      <a:pt x="243" y="108"/>
                      <a:pt x="248" y="108"/>
                    </a:cubicBezTo>
                    <a:cubicBezTo>
                      <a:pt x="254" y="104"/>
                      <a:pt x="258" y="106"/>
                      <a:pt x="265" y="105"/>
                    </a:cubicBezTo>
                    <a:cubicBezTo>
                      <a:pt x="269" y="110"/>
                      <a:pt x="271" y="111"/>
                      <a:pt x="277" y="112"/>
                    </a:cubicBezTo>
                    <a:cubicBezTo>
                      <a:pt x="281" y="111"/>
                      <a:pt x="283" y="108"/>
                      <a:pt x="287" y="108"/>
                    </a:cubicBezTo>
                    <a:cubicBezTo>
                      <a:pt x="291" y="108"/>
                      <a:pt x="299" y="111"/>
                      <a:pt x="302" y="114"/>
                    </a:cubicBezTo>
                    <a:cubicBezTo>
                      <a:pt x="306" y="120"/>
                      <a:pt x="314" y="127"/>
                      <a:pt x="320" y="130"/>
                    </a:cubicBezTo>
                    <a:cubicBezTo>
                      <a:pt x="329" y="141"/>
                      <a:pt x="338" y="136"/>
                      <a:pt x="353" y="138"/>
                    </a:cubicBezTo>
                    <a:cubicBezTo>
                      <a:pt x="356" y="142"/>
                      <a:pt x="344" y="149"/>
                      <a:pt x="340" y="152"/>
                    </a:cubicBezTo>
                    <a:cubicBezTo>
                      <a:pt x="336" y="155"/>
                      <a:pt x="331" y="153"/>
                      <a:pt x="329" y="157"/>
                    </a:cubicBezTo>
                    <a:cubicBezTo>
                      <a:pt x="325" y="162"/>
                      <a:pt x="329" y="169"/>
                      <a:pt x="328" y="175"/>
                    </a:cubicBezTo>
                    <a:cubicBezTo>
                      <a:pt x="327" y="181"/>
                      <a:pt x="324" y="192"/>
                      <a:pt x="323" y="195"/>
                    </a:cubicBezTo>
                    <a:cubicBezTo>
                      <a:pt x="323" y="197"/>
                      <a:pt x="320" y="193"/>
                      <a:pt x="319" y="192"/>
                    </a:cubicBezTo>
                    <a:cubicBezTo>
                      <a:pt x="314" y="189"/>
                      <a:pt x="310" y="186"/>
                      <a:pt x="305" y="183"/>
                    </a:cubicBezTo>
                    <a:cubicBezTo>
                      <a:pt x="287" y="186"/>
                      <a:pt x="286" y="182"/>
                      <a:pt x="281" y="195"/>
                    </a:cubicBezTo>
                    <a:cubicBezTo>
                      <a:pt x="277" y="200"/>
                      <a:pt x="275" y="207"/>
                      <a:pt x="274" y="214"/>
                    </a:cubicBezTo>
                    <a:cubicBezTo>
                      <a:pt x="274" y="220"/>
                      <a:pt x="279" y="232"/>
                      <a:pt x="278" y="234"/>
                    </a:cubicBezTo>
                    <a:cubicBezTo>
                      <a:pt x="274" y="230"/>
                      <a:pt x="273" y="229"/>
                      <a:pt x="268" y="226"/>
                    </a:cubicBezTo>
                    <a:cubicBezTo>
                      <a:pt x="263" y="226"/>
                      <a:pt x="244" y="226"/>
                      <a:pt x="241" y="232"/>
                    </a:cubicBezTo>
                    <a:cubicBezTo>
                      <a:pt x="238" y="238"/>
                      <a:pt x="246" y="254"/>
                      <a:pt x="247" y="261"/>
                    </a:cubicBezTo>
                    <a:cubicBezTo>
                      <a:pt x="246" y="265"/>
                      <a:pt x="244" y="270"/>
                      <a:pt x="245" y="274"/>
                    </a:cubicBezTo>
                    <a:cubicBezTo>
                      <a:pt x="246" y="278"/>
                      <a:pt x="254" y="283"/>
                      <a:pt x="254" y="283"/>
                    </a:cubicBezTo>
                    <a:cubicBezTo>
                      <a:pt x="254" y="285"/>
                      <a:pt x="248" y="284"/>
                      <a:pt x="242" y="287"/>
                    </a:cubicBezTo>
                    <a:cubicBezTo>
                      <a:pt x="232" y="291"/>
                      <a:pt x="202" y="310"/>
                      <a:pt x="196" y="309"/>
                    </a:cubicBezTo>
                    <a:cubicBezTo>
                      <a:pt x="190" y="308"/>
                      <a:pt x="212" y="287"/>
                      <a:pt x="208" y="282"/>
                    </a:cubicBezTo>
                    <a:cubicBezTo>
                      <a:pt x="204" y="277"/>
                      <a:pt x="183" y="281"/>
                      <a:pt x="172" y="279"/>
                    </a:cubicBezTo>
                    <a:cubicBezTo>
                      <a:pt x="161" y="277"/>
                      <a:pt x="152" y="269"/>
                      <a:pt x="144" y="270"/>
                    </a:cubicBezTo>
                    <a:cubicBezTo>
                      <a:pt x="136" y="271"/>
                      <a:pt x="130" y="282"/>
                      <a:pt x="124" y="283"/>
                    </a:cubicBezTo>
                    <a:cubicBezTo>
                      <a:pt x="118" y="284"/>
                      <a:pt x="116" y="278"/>
                      <a:pt x="109" y="279"/>
                    </a:cubicBezTo>
                    <a:cubicBezTo>
                      <a:pt x="102" y="280"/>
                      <a:pt x="89" y="287"/>
                      <a:pt x="79" y="292"/>
                    </a:cubicBezTo>
                    <a:cubicBezTo>
                      <a:pt x="69" y="297"/>
                      <a:pt x="57" y="308"/>
                      <a:pt x="51" y="312"/>
                    </a:cubicBezTo>
                  </a:path>
                </a:pathLst>
              </a:custGeom>
              <a:grp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18" name="Freeform 722"/>
              <p:cNvSpPr>
                <a:spLocks/>
              </p:cNvSpPr>
              <p:nvPr>
                <p:custDataLst>
                  <p:tags r:id="rId174"/>
                </p:custDataLst>
              </p:nvPr>
            </p:nvSpPr>
            <p:spPr bwMode="gray">
              <a:xfrm>
                <a:off x="1007" y="1864"/>
                <a:ext cx="339" cy="308"/>
              </a:xfrm>
              <a:custGeom>
                <a:avLst/>
                <a:gdLst>
                  <a:gd name="T0" fmla="*/ 339 w 339"/>
                  <a:gd name="T1" fmla="*/ 0 h 308"/>
                  <a:gd name="T2" fmla="*/ 273 w 339"/>
                  <a:gd name="T3" fmla="*/ 23 h 308"/>
                  <a:gd name="T4" fmla="*/ 252 w 339"/>
                  <a:gd name="T5" fmla="*/ 31 h 308"/>
                  <a:gd name="T6" fmla="*/ 233 w 339"/>
                  <a:gd name="T7" fmla="*/ 34 h 308"/>
                  <a:gd name="T8" fmla="*/ 226 w 339"/>
                  <a:gd name="T9" fmla="*/ 55 h 308"/>
                  <a:gd name="T10" fmla="*/ 216 w 339"/>
                  <a:gd name="T11" fmla="*/ 74 h 308"/>
                  <a:gd name="T12" fmla="*/ 221 w 339"/>
                  <a:gd name="T13" fmla="*/ 92 h 308"/>
                  <a:gd name="T14" fmla="*/ 228 w 339"/>
                  <a:gd name="T15" fmla="*/ 103 h 308"/>
                  <a:gd name="T16" fmla="*/ 221 w 339"/>
                  <a:gd name="T17" fmla="*/ 112 h 308"/>
                  <a:gd name="T18" fmla="*/ 194 w 339"/>
                  <a:gd name="T19" fmla="*/ 109 h 308"/>
                  <a:gd name="T20" fmla="*/ 180 w 339"/>
                  <a:gd name="T21" fmla="*/ 101 h 308"/>
                  <a:gd name="T22" fmla="*/ 164 w 339"/>
                  <a:gd name="T23" fmla="*/ 100 h 308"/>
                  <a:gd name="T24" fmla="*/ 147 w 339"/>
                  <a:gd name="T25" fmla="*/ 110 h 308"/>
                  <a:gd name="T26" fmla="*/ 101 w 339"/>
                  <a:gd name="T27" fmla="*/ 86 h 308"/>
                  <a:gd name="T28" fmla="*/ 66 w 339"/>
                  <a:gd name="T29" fmla="*/ 88 h 308"/>
                  <a:gd name="T30" fmla="*/ 54 w 339"/>
                  <a:gd name="T31" fmla="*/ 97 h 308"/>
                  <a:gd name="T32" fmla="*/ 36 w 339"/>
                  <a:gd name="T33" fmla="*/ 116 h 308"/>
                  <a:gd name="T34" fmla="*/ 23 w 339"/>
                  <a:gd name="T35" fmla="*/ 118 h 308"/>
                  <a:gd name="T36" fmla="*/ 12 w 339"/>
                  <a:gd name="T37" fmla="*/ 142 h 308"/>
                  <a:gd name="T38" fmla="*/ 5 w 339"/>
                  <a:gd name="T39" fmla="*/ 155 h 308"/>
                  <a:gd name="T40" fmla="*/ 12 w 339"/>
                  <a:gd name="T41" fmla="*/ 173 h 308"/>
                  <a:gd name="T42" fmla="*/ 26 w 339"/>
                  <a:gd name="T43" fmla="*/ 181 h 308"/>
                  <a:gd name="T44" fmla="*/ 41 w 339"/>
                  <a:gd name="T45" fmla="*/ 202 h 308"/>
                  <a:gd name="T46" fmla="*/ 47 w 339"/>
                  <a:gd name="T47" fmla="*/ 211 h 308"/>
                  <a:gd name="T48" fmla="*/ 48 w 339"/>
                  <a:gd name="T49" fmla="*/ 206 h 308"/>
                  <a:gd name="T50" fmla="*/ 57 w 339"/>
                  <a:gd name="T51" fmla="*/ 200 h 308"/>
                  <a:gd name="T52" fmla="*/ 89 w 339"/>
                  <a:gd name="T53" fmla="*/ 197 h 308"/>
                  <a:gd name="T54" fmla="*/ 108 w 339"/>
                  <a:gd name="T55" fmla="*/ 211 h 308"/>
                  <a:gd name="T56" fmla="*/ 108 w 339"/>
                  <a:gd name="T57" fmla="*/ 221 h 308"/>
                  <a:gd name="T58" fmla="*/ 125 w 339"/>
                  <a:gd name="T59" fmla="*/ 227 h 308"/>
                  <a:gd name="T60" fmla="*/ 113 w 339"/>
                  <a:gd name="T61" fmla="*/ 247 h 308"/>
                  <a:gd name="T62" fmla="*/ 99 w 339"/>
                  <a:gd name="T63" fmla="*/ 233 h 308"/>
                  <a:gd name="T64" fmla="*/ 87 w 339"/>
                  <a:gd name="T65" fmla="*/ 238 h 308"/>
                  <a:gd name="T66" fmla="*/ 74 w 339"/>
                  <a:gd name="T67" fmla="*/ 248 h 308"/>
                  <a:gd name="T68" fmla="*/ 77 w 339"/>
                  <a:gd name="T69" fmla="*/ 265 h 308"/>
                  <a:gd name="T70" fmla="*/ 87 w 339"/>
                  <a:gd name="T71" fmla="*/ 279 h 308"/>
                  <a:gd name="T72" fmla="*/ 102 w 339"/>
                  <a:gd name="T73" fmla="*/ 295 h 308"/>
                  <a:gd name="T74" fmla="*/ 134 w 339"/>
                  <a:gd name="T75" fmla="*/ 293 h 308"/>
                  <a:gd name="T76" fmla="*/ 152 w 339"/>
                  <a:gd name="T77" fmla="*/ 302 h 308"/>
                  <a:gd name="T78" fmla="*/ 153 w 339"/>
                  <a:gd name="T79" fmla="*/ 242 h 308"/>
                  <a:gd name="T80" fmla="*/ 170 w 339"/>
                  <a:gd name="T81" fmla="*/ 235 h 308"/>
                  <a:gd name="T82" fmla="*/ 188 w 339"/>
                  <a:gd name="T83" fmla="*/ 226 h 308"/>
                  <a:gd name="T84" fmla="*/ 206 w 339"/>
                  <a:gd name="T85" fmla="*/ 230 h 308"/>
                  <a:gd name="T86" fmla="*/ 230 w 339"/>
                  <a:gd name="T87" fmla="*/ 253 h 308"/>
                  <a:gd name="T88" fmla="*/ 254 w 339"/>
                  <a:gd name="T89" fmla="*/ 269 h 308"/>
                  <a:gd name="T90" fmla="*/ 287 w 339"/>
                  <a:gd name="T91" fmla="*/ 269 h 308"/>
                  <a:gd name="T92" fmla="*/ 303 w 339"/>
                  <a:gd name="T93" fmla="*/ 287 h 308"/>
                  <a:gd name="T94" fmla="*/ 321 w 339"/>
                  <a:gd name="T95"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9" h="308">
                    <a:moveTo>
                      <a:pt x="339" y="0"/>
                    </a:moveTo>
                    <a:cubicBezTo>
                      <a:pt x="328" y="3"/>
                      <a:pt x="287" y="18"/>
                      <a:pt x="273" y="23"/>
                    </a:cubicBezTo>
                    <a:cubicBezTo>
                      <a:pt x="262" y="26"/>
                      <a:pt x="259" y="29"/>
                      <a:pt x="252" y="31"/>
                    </a:cubicBezTo>
                    <a:cubicBezTo>
                      <a:pt x="245" y="33"/>
                      <a:pt x="237" y="30"/>
                      <a:pt x="233" y="34"/>
                    </a:cubicBezTo>
                    <a:cubicBezTo>
                      <a:pt x="225" y="39"/>
                      <a:pt x="229" y="48"/>
                      <a:pt x="226" y="55"/>
                    </a:cubicBezTo>
                    <a:cubicBezTo>
                      <a:pt x="223" y="62"/>
                      <a:pt x="217" y="68"/>
                      <a:pt x="216" y="74"/>
                    </a:cubicBezTo>
                    <a:cubicBezTo>
                      <a:pt x="211" y="82"/>
                      <a:pt x="216" y="85"/>
                      <a:pt x="221" y="92"/>
                    </a:cubicBezTo>
                    <a:cubicBezTo>
                      <a:pt x="223" y="101"/>
                      <a:pt x="226" y="94"/>
                      <a:pt x="228" y="103"/>
                    </a:cubicBezTo>
                    <a:cubicBezTo>
                      <a:pt x="227" y="105"/>
                      <a:pt x="225" y="112"/>
                      <a:pt x="221" y="112"/>
                    </a:cubicBezTo>
                    <a:cubicBezTo>
                      <a:pt x="212" y="112"/>
                      <a:pt x="194" y="109"/>
                      <a:pt x="194" y="109"/>
                    </a:cubicBezTo>
                    <a:cubicBezTo>
                      <a:pt x="189" y="107"/>
                      <a:pt x="185" y="104"/>
                      <a:pt x="180" y="101"/>
                    </a:cubicBezTo>
                    <a:cubicBezTo>
                      <a:pt x="175" y="100"/>
                      <a:pt x="169" y="99"/>
                      <a:pt x="164" y="100"/>
                    </a:cubicBezTo>
                    <a:cubicBezTo>
                      <a:pt x="159" y="101"/>
                      <a:pt x="157" y="112"/>
                      <a:pt x="147" y="110"/>
                    </a:cubicBezTo>
                    <a:cubicBezTo>
                      <a:pt x="133" y="108"/>
                      <a:pt x="114" y="90"/>
                      <a:pt x="101" y="86"/>
                    </a:cubicBezTo>
                    <a:cubicBezTo>
                      <a:pt x="88" y="82"/>
                      <a:pt x="74" y="86"/>
                      <a:pt x="66" y="88"/>
                    </a:cubicBezTo>
                    <a:cubicBezTo>
                      <a:pt x="62" y="93"/>
                      <a:pt x="59" y="94"/>
                      <a:pt x="54" y="97"/>
                    </a:cubicBezTo>
                    <a:cubicBezTo>
                      <a:pt x="53" y="105"/>
                      <a:pt x="43" y="112"/>
                      <a:pt x="36" y="116"/>
                    </a:cubicBezTo>
                    <a:cubicBezTo>
                      <a:pt x="35" y="127"/>
                      <a:pt x="32" y="122"/>
                      <a:pt x="23" y="118"/>
                    </a:cubicBezTo>
                    <a:cubicBezTo>
                      <a:pt x="17" y="112"/>
                      <a:pt x="18" y="136"/>
                      <a:pt x="12" y="142"/>
                    </a:cubicBezTo>
                    <a:cubicBezTo>
                      <a:pt x="11" y="149"/>
                      <a:pt x="10" y="151"/>
                      <a:pt x="5" y="155"/>
                    </a:cubicBezTo>
                    <a:cubicBezTo>
                      <a:pt x="0" y="164"/>
                      <a:pt x="2" y="172"/>
                      <a:pt x="12" y="173"/>
                    </a:cubicBezTo>
                    <a:cubicBezTo>
                      <a:pt x="17" y="175"/>
                      <a:pt x="21" y="178"/>
                      <a:pt x="26" y="181"/>
                    </a:cubicBezTo>
                    <a:cubicBezTo>
                      <a:pt x="32" y="189"/>
                      <a:pt x="31" y="198"/>
                      <a:pt x="41" y="202"/>
                    </a:cubicBezTo>
                    <a:cubicBezTo>
                      <a:pt x="41" y="204"/>
                      <a:pt x="41" y="213"/>
                      <a:pt x="47" y="211"/>
                    </a:cubicBezTo>
                    <a:cubicBezTo>
                      <a:pt x="49" y="210"/>
                      <a:pt x="47" y="207"/>
                      <a:pt x="48" y="206"/>
                    </a:cubicBezTo>
                    <a:cubicBezTo>
                      <a:pt x="50" y="203"/>
                      <a:pt x="54" y="201"/>
                      <a:pt x="57" y="200"/>
                    </a:cubicBezTo>
                    <a:cubicBezTo>
                      <a:pt x="67" y="196"/>
                      <a:pt x="78" y="198"/>
                      <a:pt x="89" y="197"/>
                    </a:cubicBezTo>
                    <a:cubicBezTo>
                      <a:pt x="103" y="195"/>
                      <a:pt x="102" y="200"/>
                      <a:pt x="108" y="211"/>
                    </a:cubicBezTo>
                    <a:cubicBezTo>
                      <a:pt x="113" y="214"/>
                      <a:pt x="105" y="218"/>
                      <a:pt x="108" y="221"/>
                    </a:cubicBezTo>
                    <a:cubicBezTo>
                      <a:pt x="111" y="224"/>
                      <a:pt x="124" y="223"/>
                      <a:pt x="125" y="227"/>
                    </a:cubicBezTo>
                    <a:cubicBezTo>
                      <a:pt x="123" y="236"/>
                      <a:pt x="121" y="243"/>
                      <a:pt x="113" y="247"/>
                    </a:cubicBezTo>
                    <a:cubicBezTo>
                      <a:pt x="106" y="243"/>
                      <a:pt x="108" y="236"/>
                      <a:pt x="99" y="233"/>
                    </a:cubicBezTo>
                    <a:cubicBezTo>
                      <a:pt x="78" y="238"/>
                      <a:pt x="95" y="228"/>
                      <a:pt x="87" y="238"/>
                    </a:cubicBezTo>
                    <a:cubicBezTo>
                      <a:pt x="85" y="241"/>
                      <a:pt x="74" y="248"/>
                      <a:pt x="74" y="248"/>
                    </a:cubicBezTo>
                    <a:cubicBezTo>
                      <a:pt x="70" y="255"/>
                      <a:pt x="66" y="263"/>
                      <a:pt x="77" y="265"/>
                    </a:cubicBezTo>
                    <a:cubicBezTo>
                      <a:pt x="79" y="270"/>
                      <a:pt x="83" y="274"/>
                      <a:pt x="87" y="279"/>
                    </a:cubicBezTo>
                    <a:cubicBezTo>
                      <a:pt x="91" y="284"/>
                      <a:pt x="94" y="293"/>
                      <a:pt x="102" y="295"/>
                    </a:cubicBezTo>
                    <a:cubicBezTo>
                      <a:pt x="113" y="290"/>
                      <a:pt x="120" y="292"/>
                      <a:pt x="134" y="293"/>
                    </a:cubicBezTo>
                    <a:cubicBezTo>
                      <a:pt x="140" y="296"/>
                      <a:pt x="146" y="298"/>
                      <a:pt x="152" y="302"/>
                    </a:cubicBezTo>
                    <a:cubicBezTo>
                      <a:pt x="156" y="293"/>
                      <a:pt x="150" y="253"/>
                      <a:pt x="153" y="242"/>
                    </a:cubicBezTo>
                    <a:cubicBezTo>
                      <a:pt x="156" y="231"/>
                      <a:pt x="164" y="238"/>
                      <a:pt x="170" y="235"/>
                    </a:cubicBezTo>
                    <a:cubicBezTo>
                      <a:pt x="176" y="231"/>
                      <a:pt x="181" y="227"/>
                      <a:pt x="188" y="226"/>
                    </a:cubicBezTo>
                    <a:cubicBezTo>
                      <a:pt x="194" y="227"/>
                      <a:pt x="200" y="229"/>
                      <a:pt x="206" y="230"/>
                    </a:cubicBezTo>
                    <a:cubicBezTo>
                      <a:pt x="217" y="238"/>
                      <a:pt x="214" y="250"/>
                      <a:pt x="230" y="253"/>
                    </a:cubicBezTo>
                    <a:cubicBezTo>
                      <a:pt x="238" y="258"/>
                      <a:pt x="245" y="267"/>
                      <a:pt x="254" y="269"/>
                    </a:cubicBezTo>
                    <a:cubicBezTo>
                      <a:pt x="263" y="272"/>
                      <a:pt x="279" y="266"/>
                      <a:pt x="287" y="269"/>
                    </a:cubicBezTo>
                    <a:cubicBezTo>
                      <a:pt x="295" y="274"/>
                      <a:pt x="295" y="282"/>
                      <a:pt x="303" y="287"/>
                    </a:cubicBezTo>
                    <a:cubicBezTo>
                      <a:pt x="304" y="300"/>
                      <a:pt x="310" y="301"/>
                      <a:pt x="321" y="308"/>
                    </a:cubicBezTo>
                  </a:path>
                </a:pathLst>
              </a:custGeom>
              <a:grp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grpSp>
        <p:sp>
          <p:nvSpPr>
            <p:cNvPr id="165" name="Freeform 731"/>
            <p:cNvSpPr>
              <a:spLocks/>
            </p:cNvSpPr>
            <p:nvPr/>
          </p:nvSpPr>
          <p:spPr bwMode="gray">
            <a:xfrm>
              <a:off x="4379046" y="3312145"/>
              <a:ext cx="580608" cy="516439"/>
            </a:xfrm>
            <a:custGeom>
              <a:avLst/>
              <a:gdLst/>
              <a:ahLst/>
              <a:cxnLst/>
              <a:rect l="l" t="t" r="r" b="b"/>
              <a:pathLst>
                <a:path w="929381" h="826666">
                  <a:moveTo>
                    <a:pt x="693000" y="752265"/>
                  </a:moveTo>
                  <a:cubicBezTo>
                    <a:pt x="698193" y="754676"/>
                    <a:pt x="703711" y="759499"/>
                    <a:pt x="709229" y="760532"/>
                  </a:cubicBezTo>
                  <a:cubicBezTo>
                    <a:pt x="711826" y="761910"/>
                    <a:pt x="717993" y="762599"/>
                    <a:pt x="717993" y="762599"/>
                  </a:cubicBezTo>
                  <a:cubicBezTo>
                    <a:pt x="721239" y="764321"/>
                    <a:pt x="725459" y="763976"/>
                    <a:pt x="729029" y="764665"/>
                  </a:cubicBezTo>
                  <a:cubicBezTo>
                    <a:pt x="734547" y="767076"/>
                    <a:pt x="739741" y="765354"/>
                    <a:pt x="746233" y="765354"/>
                  </a:cubicBezTo>
                  <a:cubicBezTo>
                    <a:pt x="747856" y="764321"/>
                    <a:pt x="749154" y="763632"/>
                    <a:pt x="751102" y="763288"/>
                  </a:cubicBezTo>
                  <a:cubicBezTo>
                    <a:pt x="753049" y="761565"/>
                    <a:pt x="756295" y="759843"/>
                    <a:pt x="758892" y="759154"/>
                  </a:cubicBezTo>
                  <a:cubicBezTo>
                    <a:pt x="762138" y="757432"/>
                    <a:pt x="766033" y="758121"/>
                    <a:pt x="769603" y="758465"/>
                  </a:cubicBezTo>
                  <a:cubicBezTo>
                    <a:pt x="770577" y="763288"/>
                    <a:pt x="771226" y="768110"/>
                    <a:pt x="768954" y="772932"/>
                  </a:cubicBezTo>
                  <a:cubicBezTo>
                    <a:pt x="768305" y="776721"/>
                    <a:pt x="768305" y="780510"/>
                    <a:pt x="767007" y="783955"/>
                  </a:cubicBezTo>
                  <a:cubicBezTo>
                    <a:pt x="766682" y="786710"/>
                    <a:pt x="765059" y="788777"/>
                    <a:pt x="763111" y="790499"/>
                  </a:cubicBezTo>
                  <a:cubicBezTo>
                    <a:pt x="761813" y="792910"/>
                    <a:pt x="761489" y="795321"/>
                    <a:pt x="760190" y="797732"/>
                  </a:cubicBezTo>
                  <a:cubicBezTo>
                    <a:pt x="759866" y="799799"/>
                    <a:pt x="758892" y="800833"/>
                    <a:pt x="758243" y="802555"/>
                  </a:cubicBezTo>
                  <a:cubicBezTo>
                    <a:pt x="757593" y="805655"/>
                    <a:pt x="758892" y="809444"/>
                    <a:pt x="755321" y="810133"/>
                  </a:cubicBezTo>
                  <a:cubicBezTo>
                    <a:pt x="752238" y="811338"/>
                    <a:pt x="750777" y="810994"/>
                    <a:pt x="745584" y="811855"/>
                  </a:cubicBezTo>
                  <a:lnTo>
                    <a:pt x="740390" y="815988"/>
                  </a:lnTo>
                  <a:cubicBezTo>
                    <a:pt x="739416" y="817022"/>
                    <a:pt x="739416" y="816677"/>
                    <a:pt x="737793" y="818055"/>
                  </a:cubicBezTo>
                  <a:cubicBezTo>
                    <a:pt x="736170" y="819433"/>
                    <a:pt x="735521" y="822188"/>
                    <a:pt x="733574" y="823566"/>
                  </a:cubicBezTo>
                  <a:cubicBezTo>
                    <a:pt x="732600" y="825633"/>
                    <a:pt x="732275" y="826322"/>
                    <a:pt x="730003" y="826666"/>
                  </a:cubicBezTo>
                  <a:cubicBezTo>
                    <a:pt x="719292" y="826322"/>
                    <a:pt x="720915" y="826666"/>
                    <a:pt x="714423" y="822533"/>
                  </a:cubicBezTo>
                  <a:cubicBezTo>
                    <a:pt x="712800" y="820122"/>
                    <a:pt x="711826" y="818744"/>
                    <a:pt x="709554" y="817366"/>
                  </a:cubicBezTo>
                  <a:cubicBezTo>
                    <a:pt x="707931" y="814955"/>
                    <a:pt x="707606" y="813577"/>
                    <a:pt x="704685" y="812888"/>
                  </a:cubicBezTo>
                  <a:cubicBezTo>
                    <a:pt x="702088" y="810822"/>
                    <a:pt x="699167" y="806344"/>
                    <a:pt x="697869" y="802899"/>
                  </a:cubicBezTo>
                  <a:cubicBezTo>
                    <a:pt x="697544" y="799455"/>
                    <a:pt x="696570" y="794977"/>
                    <a:pt x="700465" y="794288"/>
                  </a:cubicBezTo>
                  <a:cubicBezTo>
                    <a:pt x="702413" y="793255"/>
                    <a:pt x="701764" y="792221"/>
                    <a:pt x="700790" y="790155"/>
                  </a:cubicBezTo>
                  <a:cubicBezTo>
                    <a:pt x="700465" y="787743"/>
                    <a:pt x="699167" y="785677"/>
                    <a:pt x="697544" y="783955"/>
                  </a:cubicBezTo>
                  <a:cubicBezTo>
                    <a:pt x="696570" y="781543"/>
                    <a:pt x="695272" y="779821"/>
                    <a:pt x="693974" y="777754"/>
                  </a:cubicBezTo>
                  <a:cubicBezTo>
                    <a:pt x="693649" y="775343"/>
                    <a:pt x="693000" y="774999"/>
                    <a:pt x="691052" y="773965"/>
                  </a:cubicBezTo>
                  <a:cubicBezTo>
                    <a:pt x="690728" y="771554"/>
                    <a:pt x="690403" y="770865"/>
                    <a:pt x="688780" y="769488"/>
                  </a:cubicBezTo>
                  <a:cubicBezTo>
                    <a:pt x="687806" y="767076"/>
                    <a:pt x="687482" y="764665"/>
                    <a:pt x="687157" y="762254"/>
                  </a:cubicBezTo>
                  <a:cubicBezTo>
                    <a:pt x="687806" y="758465"/>
                    <a:pt x="687157" y="756054"/>
                    <a:pt x="689754" y="753987"/>
                  </a:cubicBezTo>
                  <a:cubicBezTo>
                    <a:pt x="691052" y="751576"/>
                    <a:pt x="690079" y="752265"/>
                    <a:pt x="693000" y="752265"/>
                  </a:cubicBezTo>
                  <a:close/>
                  <a:moveTo>
                    <a:pt x="0" y="395068"/>
                  </a:moveTo>
                  <a:cubicBezTo>
                    <a:pt x="1289" y="397376"/>
                    <a:pt x="2498" y="399747"/>
                    <a:pt x="3038" y="402448"/>
                  </a:cubicBezTo>
                  <a:cubicBezTo>
                    <a:pt x="891" y="400847"/>
                    <a:pt x="184" y="395850"/>
                    <a:pt x="0" y="395068"/>
                  </a:cubicBezTo>
                  <a:close/>
                  <a:moveTo>
                    <a:pt x="681396" y="758"/>
                  </a:moveTo>
                  <a:cubicBezTo>
                    <a:pt x="682613" y="-1223"/>
                    <a:pt x="686183" y="672"/>
                    <a:pt x="694623" y="6528"/>
                  </a:cubicBezTo>
                  <a:cubicBezTo>
                    <a:pt x="698193" y="12383"/>
                    <a:pt x="697869" y="15828"/>
                    <a:pt x="704036" y="18239"/>
                  </a:cubicBezTo>
                  <a:cubicBezTo>
                    <a:pt x="705984" y="38217"/>
                    <a:pt x="704036" y="29606"/>
                    <a:pt x="708905" y="44762"/>
                  </a:cubicBezTo>
                  <a:cubicBezTo>
                    <a:pt x="710528" y="49584"/>
                    <a:pt x="713449" y="59573"/>
                    <a:pt x="713449" y="59573"/>
                  </a:cubicBezTo>
                  <a:cubicBezTo>
                    <a:pt x="715072" y="70940"/>
                    <a:pt x="713774" y="91607"/>
                    <a:pt x="725784" y="96085"/>
                  </a:cubicBezTo>
                  <a:cubicBezTo>
                    <a:pt x="736820" y="91951"/>
                    <a:pt x="731951" y="88163"/>
                    <a:pt x="740065" y="90918"/>
                  </a:cubicBezTo>
                  <a:cubicBezTo>
                    <a:pt x="743636" y="97118"/>
                    <a:pt x="747206" y="96429"/>
                    <a:pt x="750777" y="102629"/>
                  </a:cubicBezTo>
                  <a:cubicBezTo>
                    <a:pt x="751426" y="108485"/>
                    <a:pt x="751426" y="114685"/>
                    <a:pt x="752400" y="120541"/>
                  </a:cubicBezTo>
                  <a:cubicBezTo>
                    <a:pt x="753049" y="123985"/>
                    <a:pt x="755646" y="130530"/>
                    <a:pt x="755646" y="130530"/>
                  </a:cubicBezTo>
                  <a:cubicBezTo>
                    <a:pt x="756295" y="136386"/>
                    <a:pt x="758892" y="146719"/>
                    <a:pt x="760839" y="152575"/>
                  </a:cubicBezTo>
                  <a:cubicBezTo>
                    <a:pt x="762787" y="158431"/>
                    <a:pt x="766357" y="162908"/>
                    <a:pt x="767980" y="167042"/>
                  </a:cubicBezTo>
                  <a:cubicBezTo>
                    <a:pt x="768954" y="170486"/>
                    <a:pt x="771226" y="173586"/>
                    <a:pt x="771226" y="177031"/>
                  </a:cubicBezTo>
                  <a:cubicBezTo>
                    <a:pt x="771551" y="187364"/>
                    <a:pt x="770577" y="198042"/>
                    <a:pt x="772524" y="208376"/>
                  </a:cubicBezTo>
                  <a:cubicBezTo>
                    <a:pt x="772849" y="210443"/>
                    <a:pt x="775770" y="210443"/>
                    <a:pt x="777393" y="211476"/>
                  </a:cubicBezTo>
                  <a:cubicBezTo>
                    <a:pt x="784859" y="216643"/>
                    <a:pt x="792649" y="218710"/>
                    <a:pt x="800764" y="221465"/>
                  </a:cubicBezTo>
                  <a:cubicBezTo>
                    <a:pt x="803685" y="223876"/>
                    <a:pt x="807580" y="225254"/>
                    <a:pt x="810177" y="228010"/>
                  </a:cubicBezTo>
                  <a:lnTo>
                    <a:pt x="813098" y="233133"/>
                  </a:lnTo>
                  <a:cubicBezTo>
                    <a:pt x="812855" y="233435"/>
                    <a:pt x="812936" y="233176"/>
                    <a:pt x="817967" y="234899"/>
                  </a:cubicBezTo>
                  <a:cubicBezTo>
                    <a:pt x="821538" y="240754"/>
                    <a:pt x="824134" y="242821"/>
                    <a:pt x="830302" y="244543"/>
                  </a:cubicBezTo>
                  <a:cubicBezTo>
                    <a:pt x="837118" y="249710"/>
                    <a:pt x="834521" y="251432"/>
                    <a:pt x="830302" y="257977"/>
                  </a:cubicBezTo>
                  <a:cubicBezTo>
                    <a:pt x="834846" y="262799"/>
                    <a:pt x="837442" y="267622"/>
                    <a:pt x="842636" y="271066"/>
                  </a:cubicBezTo>
                  <a:cubicBezTo>
                    <a:pt x="843610" y="282089"/>
                    <a:pt x="840364" y="293800"/>
                    <a:pt x="850426" y="297589"/>
                  </a:cubicBezTo>
                  <a:cubicBezTo>
                    <a:pt x="859190" y="294489"/>
                    <a:pt x="862761" y="300000"/>
                    <a:pt x="870875" y="302411"/>
                  </a:cubicBezTo>
                  <a:cubicBezTo>
                    <a:pt x="875744" y="305167"/>
                    <a:pt x="869901" y="315500"/>
                    <a:pt x="876718" y="325489"/>
                  </a:cubicBezTo>
                  <a:cubicBezTo>
                    <a:pt x="883534" y="335478"/>
                    <a:pt x="904957" y="354423"/>
                    <a:pt x="911449" y="362001"/>
                  </a:cubicBezTo>
                  <a:cubicBezTo>
                    <a:pt x="917616" y="369235"/>
                    <a:pt x="912423" y="360968"/>
                    <a:pt x="915020" y="370957"/>
                  </a:cubicBezTo>
                  <a:cubicBezTo>
                    <a:pt x="917941" y="370268"/>
                    <a:pt x="928328" y="356490"/>
                    <a:pt x="929301" y="358212"/>
                  </a:cubicBezTo>
                  <a:cubicBezTo>
                    <a:pt x="930275" y="359934"/>
                    <a:pt x="922160" y="371301"/>
                    <a:pt x="920538" y="381290"/>
                  </a:cubicBezTo>
                  <a:cubicBezTo>
                    <a:pt x="918915" y="391280"/>
                    <a:pt x="918590" y="406091"/>
                    <a:pt x="919564" y="417458"/>
                  </a:cubicBezTo>
                  <a:cubicBezTo>
                    <a:pt x="920538" y="428825"/>
                    <a:pt x="926380" y="437092"/>
                    <a:pt x="925406" y="450181"/>
                  </a:cubicBezTo>
                  <a:cubicBezTo>
                    <a:pt x="924108" y="463270"/>
                    <a:pt x="914046" y="483248"/>
                    <a:pt x="912747" y="495993"/>
                  </a:cubicBezTo>
                  <a:cubicBezTo>
                    <a:pt x="908528" y="509426"/>
                    <a:pt x="903983" y="523549"/>
                    <a:pt x="900413" y="530782"/>
                  </a:cubicBezTo>
                  <a:cubicBezTo>
                    <a:pt x="897816" y="534227"/>
                    <a:pt x="893921" y="535949"/>
                    <a:pt x="891000" y="539049"/>
                  </a:cubicBezTo>
                  <a:cubicBezTo>
                    <a:pt x="888728" y="545594"/>
                    <a:pt x="890675" y="551105"/>
                    <a:pt x="884833" y="553516"/>
                  </a:cubicBezTo>
                  <a:cubicBezTo>
                    <a:pt x="880613" y="560061"/>
                    <a:pt x="871849" y="562127"/>
                    <a:pt x="867629" y="568672"/>
                  </a:cubicBezTo>
                  <a:cubicBezTo>
                    <a:pt x="865357" y="576250"/>
                    <a:pt x="863734" y="576250"/>
                    <a:pt x="857242" y="578661"/>
                  </a:cubicBezTo>
                  <a:cubicBezTo>
                    <a:pt x="854321" y="582105"/>
                    <a:pt x="854970" y="587272"/>
                    <a:pt x="852698" y="592095"/>
                  </a:cubicBezTo>
                  <a:cubicBezTo>
                    <a:pt x="850426" y="596917"/>
                    <a:pt x="847505" y="601739"/>
                    <a:pt x="844259" y="606906"/>
                  </a:cubicBezTo>
                  <a:cubicBezTo>
                    <a:pt x="841987" y="614139"/>
                    <a:pt x="841013" y="620684"/>
                    <a:pt x="833547" y="623440"/>
                  </a:cubicBezTo>
                  <a:cubicBezTo>
                    <a:pt x="830626" y="627573"/>
                    <a:pt x="828354" y="623095"/>
                    <a:pt x="825757" y="631706"/>
                  </a:cubicBezTo>
                  <a:cubicBezTo>
                    <a:pt x="823810" y="639629"/>
                    <a:pt x="823161" y="667529"/>
                    <a:pt x="817967" y="676141"/>
                  </a:cubicBezTo>
                  <a:cubicBezTo>
                    <a:pt x="816020" y="684063"/>
                    <a:pt x="798167" y="683719"/>
                    <a:pt x="794597" y="684407"/>
                  </a:cubicBezTo>
                  <a:cubicBezTo>
                    <a:pt x="787131" y="686819"/>
                    <a:pt x="777069" y="684063"/>
                    <a:pt x="769603" y="686819"/>
                  </a:cubicBezTo>
                  <a:cubicBezTo>
                    <a:pt x="762138" y="689574"/>
                    <a:pt x="755321" y="697152"/>
                    <a:pt x="749154" y="700941"/>
                  </a:cubicBezTo>
                  <a:cubicBezTo>
                    <a:pt x="741688" y="706452"/>
                    <a:pt x="742662" y="707141"/>
                    <a:pt x="732924" y="710586"/>
                  </a:cubicBezTo>
                  <a:cubicBezTo>
                    <a:pt x="727731" y="710930"/>
                    <a:pt x="722862" y="706108"/>
                    <a:pt x="717993" y="702663"/>
                  </a:cubicBezTo>
                  <a:lnTo>
                    <a:pt x="710406" y="693923"/>
                  </a:lnTo>
                  <a:cubicBezTo>
                    <a:pt x="709310" y="692760"/>
                    <a:pt x="708418" y="692330"/>
                    <a:pt x="704036" y="689574"/>
                  </a:cubicBezTo>
                  <a:cubicBezTo>
                    <a:pt x="698031" y="691361"/>
                    <a:pt x="704360" y="689488"/>
                    <a:pt x="694623" y="694397"/>
                  </a:cubicBezTo>
                  <a:cubicBezTo>
                    <a:pt x="688131" y="697497"/>
                    <a:pt x="672551" y="706797"/>
                    <a:pt x="665085" y="707486"/>
                  </a:cubicBezTo>
                  <a:cubicBezTo>
                    <a:pt x="655347" y="705419"/>
                    <a:pt x="660541" y="707486"/>
                    <a:pt x="649505" y="699219"/>
                  </a:cubicBezTo>
                  <a:cubicBezTo>
                    <a:pt x="639443" y="696119"/>
                    <a:pt x="646584" y="697841"/>
                    <a:pt x="627757" y="696119"/>
                  </a:cubicBezTo>
                  <a:cubicBezTo>
                    <a:pt x="621915" y="691641"/>
                    <a:pt x="615747" y="690263"/>
                    <a:pt x="608931" y="687852"/>
                  </a:cubicBezTo>
                  <a:cubicBezTo>
                    <a:pt x="602439" y="683030"/>
                    <a:pt x="600816" y="675107"/>
                    <a:pt x="593351" y="673041"/>
                  </a:cubicBezTo>
                  <a:lnTo>
                    <a:pt x="590683" y="668638"/>
                  </a:lnTo>
                  <a:cubicBezTo>
                    <a:pt x="589496" y="666604"/>
                    <a:pt x="592052" y="669510"/>
                    <a:pt x="592052" y="657885"/>
                  </a:cubicBezTo>
                  <a:cubicBezTo>
                    <a:pt x="592052" y="646518"/>
                    <a:pt x="582964" y="633773"/>
                    <a:pt x="573226" y="629984"/>
                  </a:cubicBezTo>
                  <a:cubicBezTo>
                    <a:pt x="572252" y="628262"/>
                    <a:pt x="571928" y="625506"/>
                    <a:pt x="569980" y="624817"/>
                  </a:cubicBezTo>
                  <a:cubicBezTo>
                    <a:pt x="566085" y="623095"/>
                    <a:pt x="561216" y="630673"/>
                    <a:pt x="557646" y="628262"/>
                  </a:cubicBezTo>
                  <a:cubicBezTo>
                    <a:pt x="555049" y="626540"/>
                    <a:pt x="561866" y="617584"/>
                    <a:pt x="565436" y="615173"/>
                  </a:cubicBezTo>
                  <a:cubicBezTo>
                    <a:pt x="564138" y="606906"/>
                    <a:pt x="561866" y="602773"/>
                    <a:pt x="559269" y="595195"/>
                  </a:cubicBezTo>
                  <a:cubicBezTo>
                    <a:pt x="558295" y="596917"/>
                    <a:pt x="557321" y="598639"/>
                    <a:pt x="556023" y="600017"/>
                  </a:cubicBezTo>
                  <a:cubicBezTo>
                    <a:pt x="554725" y="601050"/>
                    <a:pt x="552452" y="600361"/>
                    <a:pt x="551479" y="601739"/>
                  </a:cubicBezTo>
                  <a:cubicBezTo>
                    <a:pt x="544013" y="610006"/>
                    <a:pt x="556348" y="604839"/>
                    <a:pt x="545311" y="608284"/>
                  </a:cubicBezTo>
                  <a:lnTo>
                    <a:pt x="543689" y="616551"/>
                  </a:lnTo>
                  <a:lnTo>
                    <a:pt x="532693" y="617928"/>
                  </a:lnTo>
                  <a:cubicBezTo>
                    <a:pt x="530948" y="616378"/>
                    <a:pt x="530543" y="613278"/>
                    <a:pt x="529731" y="610006"/>
                  </a:cubicBezTo>
                  <a:cubicBezTo>
                    <a:pt x="534275" y="608284"/>
                    <a:pt x="541092" y="611384"/>
                    <a:pt x="543689" y="606906"/>
                  </a:cubicBezTo>
                  <a:cubicBezTo>
                    <a:pt x="546934" y="603806"/>
                    <a:pt x="543039" y="599328"/>
                    <a:pt x="545636" y="591750"/>
                  </a:cubicBezTo>
                  <a:cubicBezTo>
                    <a:pt x="547259" y="586583"/>
                    <a:pt x="552128" y="581072"/>
                    <a:pt x="554400" y="576250"/>
                  </a:cubicBezTo>
                  <a:lnTo>
                    <a:pt x="559269" y="562127"/>
                  </a:lnTo>
                  <a:lnTo>
                    <a:pt x="556469" y="552354"/>
                  </a:lnTo>
                  <a:cubicBezTo>
                    <a:pt x="555861" y="551708"/>
                    <a:pt x="554887" y="553516"/>
                    <a:pt x="551479" y="557305"/>
                  </a:cubicBezTo>
                  <a:lnTo>
                    <a:pt x="548801" y="566045"/>
                  </a:lnTo>
                  <a:cubicBezTo>
                    <a:pt x="548233" y="567208"/>
                    <a:pt x="547259" y="567638"/>
                    <a:pt x="543689" y="570394"/>
                  </a:cubicBezTo>
                  <a:cubicBezTo>
                    <a:pt x="541092" y="577628"/>
                    <a:pt x="538495" y="576939"/>
                    <a:pt x="532652" y="580383"/>
                  </a:cubicBezTo>
                  <a:cubicBezTo>
                    <a:pt x="529407" y="582450"/>
                    <a:pt x="523239" y="586928"/>
                    <a:pt x="523239" y="586928"/>
                  </a:cubicBezTo>
                  <a:cubicBezTo>
                    <a:pt x="516423" y="597606"/>
                    <a:pt x="518046" y="596917"/>
                    <a:pt x="507659" y="600017"/>
                  </a:cubicBezTo>
                  <a:cubicBezTo>
                    <a:pt x="503115" y="608284"/>
                    <a:pt x="500193" y="608628"/>
                    <a:pt x="493702" y="601739"/>
                  </a:cubicBezTo>
                  <a:cubicBezTo>
                    <a:pt x="490780" y="587617"/>
                    <a:pt x="490780" y="572116"/>
                    <a:pt x="476498" y="566950"/>
                  </a:cubicBezTo>
                  <a:cubicBezTo>
                    <a:pt x="471305" y="561438"/>
                    <a:pt x="468059" y="559716"/>
                    <a:pt x="470331" y="552138"/>
                  </a:cubicBezTo>
                  <a:cubicBezTo>
                    <a:pt x="466761" y="541805"/>
                    <a:pt x="470656" y="548349"/>
                    <a:pt x="453128" y="545594"/>
                  </a:cubicBezTo>
                  <a:cubicBezTo>
                    <a:pt x="447934" y="543871"/>
                    <a:pt x="445013" y="538705"/>
                    <a:pt x="439820" y="537327"/>
                  </a:cubicBezTo>
                  <a:cubicBezTo>
                    <a:pt x="434626" y="535949"/>
                    <a:pt x="426836" y="539394"/>
                    <a:pt x="421967" y="537327"/>
                  </a:cubicBezTo>
                  <a:cubicBezTo>
                    <a:pt x="419046" y="532504"/>
                    <a:pt x="409633" y="525615"/>
                    <a:pt x="409633" y="525615"/>
                  </a:cubicBezTo>
                  <a:cubicBezTo>
                    <a:pt x="390482" y="526304"/>
                    <a:pt x="369708" y="521138"/>
                    <a:pt x="351856" y="529060"/>
                  </a:cubicBezTo>
                  <a:cubicBezTo>
                    <a:pt x="348610" y="530438"/>
                    <a:pt x="346338" y="534227"/>
                    <a:pt x="342767" y="535605"/>
                  </a:cubicBezTo>
                  <a:cubicBezTo>
                    <a:pt x="339521" y="536638"/>
                    <a:pt x="336600" y="538016"/>
                    <a:pt x="333354" y="539049"/>
                  </a:cubicBezTo>
                  <a:cubicBezTo>
                    <a:pt x="320046" y="543871"/>
                    <a:pt x="291157" y="545594"/>
                    <a:pt x="291157" y="545594"/>
                  </a:cubicBezTo>
                  <a:cubicBezTo>
                    <a:pt x="283367" y="548349"/>
                    <a:pt x="273954" y="550416"/>
                    <a:pt x="267462" y="555927"/>
                  </a:cubicBezTo>
                  <a:cubicBezTo>
                    <a:pt x="259348" y="560061"/>
                    <a:pt x="249935" y="558338"/>
                    <a:pt x="243767" y="563161"/>
                  </a:cubicBezTo>
                  <a:cubicBezTo>
                    <a:pt x="242469" y="565227"/>
                    <a:pt x="234030" y="583139"/>
                    <a:pt x="230459" y="585206"/>
                  </a:cubicBezTo>
                  <a:cubicBezTo>
                    <a:pt x="214879" y="588994"/>
                    <a:pt x="167813" y="583139"/>
                    <a:pt x="149312" y="585206"/>
                  </a:cubicBezTo>
                  <a:cubicBezTo>
                    <a:pt x="132758" y="585894"/>
                    <a:pt x="136003" y="596228"/>
                    <a:pt x="131135" y="598295"/>
                  </a:cubicBezTo>
                  <a:cubicBezTo>
                    <a:pt x="126266" y="600361"/>
                    <a:pt x="124967" y="596228"/>
                    <a:pt x="119774" y="598639"/>
                  </a:cubicBezTo>
                  <a:cubicBezTo>
                    <a:pt x="114256" y="599672"/>
                    <a:pt x="109062" y="611039"/>
                    <a:pt x="99649" y="613451"/>
                  </a:cubicBezTo>
                  <a:cubicBezTo>
                    <a:pt x="90236" y="615862"/>
                    <a:pt x="72059" y="614828"/>
                    <a:pt x="63620" y="613451"/>
                  </a:cubicBezTo>
                  <a:cubicBezTo>
                    <a:pt x="53233" y="605873"/>
                    <a:pt x="58102" y="608284"/>
                    <a:pt x="49663" y="605184"/>
                  </a:cubicBezTo>
                  <a:cubicBezTo>
                    <a:pt x="45443" y="597606"/>
                    <a:pt x="42522" y="596917"/>
                    <a:pt x="34082" y="595195"/>
                  </a:cubicBezTo>
                  <a:cubicBezTo>
                    <a:pt x="33108" y="592095"/>
                    <a:pt x="28564" y="583483"/>
                    <a:pt x="32459" y="580383"/>
                  </a:cubicBezTo>
                  <a:cubicBezTo>
                    <a:pt x="36679" y="577283"/>
                    <a:pt x="42197" y="576594"/>
                    <a:pt x="46741" y="573839"/>
                  </a:cubicBezTo>
                  <a:lnTo>
                    <a:pt x="51285" y="563850"/>
                  </a:lnTo>
                  <a:cubicBezTo>
                    <a:pt x="50961" y="560405"/>
                    <a:pt x="48040" y="553860"/>
                    <a:pt x="48040" y="553860"/>
                  </a:cubicBezTo>
                  <a:cubicBezTo>
                    <a:pt x="50961" y="545594"/>
                    <a:pt x="52584" y="537327"/>
                    <a:pt x="49663" y="529060"/>
                  </a:cubicBezTo>
                  <a:cubicBezTo>
                    <a:pt x="47390" y="522515"/>
                    <a:pt x="45118" y="519071"/>
                    <a:pt x="40249" y="514249"/>
                  </a:cubicBezTo>
                  <a:cubicBezTo>
                    <a:pt x="39276" y="510804"/>
                    <a:pt x="36679" y="507704"/>
                    <a:pt x="35705" y="504260"/>
                  </a:cubicBezTo>
                  <a:cubicBezTo>
                    <a:pt x="32784" y="491170"/>
                    <a:pt x="35056" y="477392"/>
                    <a:pt x="31161" y="464648"/>
                  </a:cubicBezTo>
                  <a:cubicBezTo>
                    <a:pt x="28889" y="456725"/>
                    <a:pt x="22722" y="452247"/>
                    <a:pt x="20125" y="444669"/>
                  </a:cubicBezTo>
                  <a:cubicBezTo>
                    <a:pt x="17853" y="437436"/>
                    <a:pt x="16554" y="431236"/>
                    <a:pt x="12335" y="425036"/>
                  </a:cubicBezTo>
                  <a:lnTo>
                    <a:pt x="3038" y="402448"/>
                  </a:lnTo>
                  <a:cubicBezTo>
                    <a:pt x="4103" y="404214"/>
                    <a:pt x="6140" y="403877"/>
                    <a:pt x="9089" y="398513"/>
                  </a:cubicBezTo>
                  <a:cubicBezTo>
                    <a:pt x="10712" y="395757"/>
                    <a:pt x="8115" y="391968"/>
                    <a:pt x="7790" y="388524"/>
                  </a:cubicBezTo>
                  <a:cubicBezTo>
                    <a:pt x="11584" y="383572"/>
                    <a:pt x="12497" y="393002"/>
                    <a:pt x="13958" y="395068"/>
                  </a:cubicBezTo>
                  <a:cubicBezTo>
                    <a:pt x="14931" y="396446"/>
                    <a:pt x="16879" y="396102"/>
                    <a:pt x="18502" y="396791"/>
                  </a:cubicBezTo>
                  <a:cubicBezTo>
                    <a:pt x="28889" y="393002"/>
                    <a:pt x="23371" y="382668"/>
                    <a:pt x="18502" y="375435"/>
                  </a:cubicBezTo>
                  <a:cubicBezTo>
                    <a:pt x="16230" y="368546"/>
                    <a:pt x="13308" y="369235"/>
                    <a:pt x="7790" y="365446"/>
                  </a:cubicBezTo>
                  <a:cubicBezTo>
                    <a:pt x="7141" y="363723"/>
                    <a:pt x="6492" y="362001"/>
                    <a:pt x="6167" y="360279"/>
                  </a:cubicBezTo>
                  <a:cubicBezTo>
                    <a:pt x="5518" y="358212"/>
                    <a:pt x="5194" y="355801"/>
                    <a:pt x="4545" y="353734"/>
                  </a:cubicBezTo>
                  <a:cubicBezTo>
                    <a:pt x="3571" y="350290"/>
                    <a:pt x="1299" y="343745"/>
                    <a:pt x="1299" y="343745"/>
                  </a:cubicBezTo>
                  <a:cubicBezTo>
                    <a:pt x="2597" y="333067"/>
                    <a:pt x="5843" y="329278"/>
                    <a:pt x="11036" y="321011"/>
                  </a:cubicBezTo>
                  <a:cubicBezTo>
                    <a:pt x="13958" y="309989"/>
                    <a:pt x="8764" y="285189"/>
                    <a:pt x="20125" y="281055"/>
                  </a:cubicBezTo>
                  <a:cubicBezTo>
                    <a:pt x="17528" y="289666"/>
                    <a:pt x="12335" y="297244"/>
                    <a:pt x="23371" y="301033"/>
                  </a:cubicBezTo>
                  <a:cubicBezTo>
                    <a:pt x="29538" y="290011"/>
                    <a:pt x="33758" y="284155"/>
                    <a:pt x="44469" y="276577"/>
                  </a:cubicBezTo>
                  <a:cubicBezTo>
                    <a:pt x="49663" y="271066"/>
                    <a:pt x="51285" y="270377"/>
                    <a:pt x="54531" y="267966"/>
                  </a:cubicBezTo>
                  <a:cubicBezTo>
                    <a:pt x="57777" y="265899"/>
                    <a:pt x="63620" y="261077"/>
                    <a:pt x="63620" y="261077"/>
                  </a:cubicBezTo>
                  <a:cubicBezTo>
                    <a:pt x="65892" y="254532"/>
                    <a:pt x="70436" y="255566"/>
                    <a:pt x="76603" y="253844"/>
                  </a:cubicBezTo>
                  <a:cubicBezTo>
                    <a:pt x="83744" y="248332"/>
                    <a:pt x="88289" y="248332"/>
                    <a:pt x="96403" y="251432"/>
                  </a:cubicBezTo>
                  <a:cubicBezTo>
                    <a:pt x="99974" y="250743"/>
                    <a:pt x="103869" y="250743"/>
                    <a:pt x="107440" y="249710"/>
                  </a:cubicBezTo>
                  <a:cubicBezTo>
                    <a:pt x="109062" y="249021"/>
                    <a:pt x="110685" y="247643"/>
                    <a:pt x="111984" y="246266"/>
                  </a:cubicBezTo>
                  <a:cubicBezTo>
                    <a:pt x="113282" y="244888"/>
                    <a:pt x="113607" y="242132"/>
                    <a:pt x="115230" y="241443"/>
                  </a:cubicBezTo>
                  <a:cubicBezTo>
                    <a:pt x="120099" y="239721"/>
                    <a:pt x="125617" y="240410"/>
                    <a:pt x="130810" y="239721"/>
                  </a:cubicBezTo>
                  <a:cubicBezTo>
                    <a:pt x="136003" y="238343"/>
                    <a:pt x="140223" y="236277"/>
                    <a:pt x="146715" y="235243"/>
                  </a:cubicBezTo>
                  <a:cubicBezTo>
                    <a:pt x="153207" y="234210"/>
                    <a:pt x="163269" y="235243"/>
                    <a:pt x="169761" y="233176"/>
                  </a:cubicBezTo>
                  <a:cubicBezTo>
                    <a:pt x="178849" y="230421"/>
                    <a:pt x="181121" y="226976"/>
                    <a:pt x="185341" y="223187"/>
                  </a:cubicBezTo>
                  <a:cubicBezTo>
                    <a:pt x="190535" y="219398"/>
                    <a:pt x="192482" y="216298"/>
                    <a:pt x="194754" y="210098"/>
                  </a:cubicBezTo>
                  <a:cubicBezTo>
                    <a:pt x="198325" y="206309"/>
                    <a:pt x="198974" y="198731"/>
                    <a:pt x="202220" y="195287"/>
                  </a:cubicBezTo>
                  <a:cubicBezTo>
                    <a:pt x="205466" y="191842"/>
                    <a:pt x="213580" y="194598"/>
                    <a:pt x="214879" y="190120"/>
                  </a:cubicBezTo>
                  <a:cubicBezTo>
                    <a:pt x="216502" y="186331"/>
                    <a:pt x="209361" y="172897"/>
                    <a:pt x="210659" y="167386"/>
                  </a:cubicBezTo>
                  <a:cubicBezTo>
                    <a:pt x="211958" y="161875"/>
                    <a:pt x="218774" y="158431"/>
                    <a:pt x="222669" y="157053"/>
                  </a:cubicBezTo>
                  <a:lnTo>
                    <a:pt x="228390" y="147753"/>
                  </a:lnTo>
                  <a:cubicBezTo>
                    <a:pt x="230378" y="148355"/>
                    <a:pt x="232407" y="152230"/>
                    <a:pt x="234354" y="158086"/>
                  </a:cubicBezTo>
                  <a:cubicBezTo>
                    <a:pt x="235977" y="162908"/>
                    <a:pt x="240521" y="170486"/>
                    <a:pt x="242144" y="175309"/>
                  </a:cubicBezTo>
                  <a:cubicBezTo>
                    <a:pt x="244741" y="177720"/>
                    <a:pt x="244741" y="173242"/>
                    <a:pt x="246039" y="171175"/>
                  </a:cubicBezTo>
                  <a:cubicBezTo>
                    <a:pt x="247338" y="169109"/>
                    <a:pt x="249935" y="167042"/>
                    <a:pt x="249285" y="163597"/>
                  </a:cubicBezTo>
                  <a:cubicBezTo>
                    <a:pt x="254479" y="154986"/>
                    <a:pt x="249610" y="154986"/>
                    <a:pt x="242794" y="150508"/>
                  </a:cubicBezTo>
                  <a:lnTo>
                    <a:pt x="244391" y="143937"/>
                  </a:lnTo>
                  <a:cubicBezTo>
                    <a:pt x="245472" y="141143"/>
                    <a:pt x="246689" y="147408"/>
                    <a:pt x="263243" y="142241"/>
                  </a:cubicBezTo>
                  <a:cubicBezTo>
                    <a:pt x="268112" y="140864"/>
                    <a:pt x="269410" y="127430"/>
                    <a:pt x="269410" y="127430"/>
                  </a:cubicBezTo>
                  <a:lnTo>
                    <a:pt x="266164" y="122263"/>
                  </a:lnTo>
                  <a:cubicBezTo>
                    <a:pt x="267787" y="119852"/>
                    <a:pt x="271357" y="121574"/>
                    <a:pt x="273954" y="120541"/>
                  </a:cubicBezTo>
                  <a:cubicBezTo>
                    <a:pt x="275577" y="119852"/>
                    <a:pt x="277200" y="118474"/>
                    <a:pt x="278823" y="117441"/>
                  </a:cubicBezTo>
                  <a:cubicBezTo>
                    <a:pt x="280121" y="116752"/>
                    <a:pt x="281744" y="116408"/>
                    <a:pt x="283367" y="115719"/>
                  </a:cubicBezTo>
                  <a:cubicBezTo>
                    <a:pt x="284666" y="111585"/>
                    <a:pt x="284341" y="106418"/>
                    <a:pt x="286613" y="102629"/>
                  </a:cubicBezTo>
                  <a:cubicBezTo>
                    <a:pt x="288561" y="99529"/>
                    <a:pt x="293105" y="99529"/>
                    <a:pt x="296026" y="97463"/>
                  </a:cubicBezTo>
                  <a:cubicBezTo>
                    <a:pt x="298298" y="88851"/>
                    <a:pt x="304466" y="88507"/>
                    <a:pt x="311607" y="86096"/>
                  </a:cubicBezTo>
                  <a:cubicBezTo>
                    <a:pt x="314528" y="85062"/>
                    <a:pt x="320695" y="82651"/>
                    <a:pt x="320695" y="82651"/>
                  </a:cubicBezTo>
                  <a:cubicBezTo>
                    <a:pt x="325564" y="75418"/>
                    <a:pt x="324266" y="79896"/>
                    <a:pt x="331407" y="82651"/>
                  </a:cubicBezTo>
                  <a:cubicBezTo>
                    <a:pt x="339197" y="94363"/>
                    <a:pt x="351531" y="101252"/>
                    <a:pt x="364515" y="105730"/>
                  </a:cubicBezTo>
                  <a:cubicBezTo>
                    <a:pt x="372305" y="109518"/>
                    <a:pt x="381069" y="108830"/>
                    <a:pt x="384315" y="106074"/>
                  </a:cubicBezTo>
                  <a:cubicBezTo>
                    <a:pt x="387236" y="104352"/>
                    <a:pt x="382043" y="97807"/>
                    <a:pt x="382043" y="95052"/>
                  </a:cubicBezTo>
                  <a:cubicBezTo>
                    <a:pt x="382043" y="92296"/>
                    <a:pt x="383341" y="90918"/>
                    <a:pt x="384639" y="89196"/>
                  </a:cubicBezTo>
                  <a:cubicBezTo>
                    <a:pt x="385938" y="85751"/>
                    <a:pt x="385938" y="87474"/>
                    <a:pt x="389184" y="84374"/>
                  </a:cubicBezTo>
                  <a:lnTo>
                    <a:pt x="393728" y="73351"/>
                  </a:lnTo>
                  <a:cubicBezTo>
                    <a:pt x="396000" y="71284"/>
                    <a:pt x="401518" y="73351"/>
                    <a:pt x="403466" y="70940"/>
                  </a:cubicBezTo>
                  <a:lnTo>
                    <a:pt x="398840" y="61037"/>
                  </a:lnTo>
                  <a:cubicBezTo>
                    <a:pt x="398272" y="59659"/>
                    <a:pt x="399733" y="59401"/>
                    <a:pt x="406387" y="57851"/>
                  </a:cubicBezTo>
                  <a:cubicBezTo>
                    <a:pt x="409633" y="52684"/>
                    <a:pt x="415800" y="44762"/>
                    <a:pt x="420669" y="43039"/>
                  </a:cubicBezTo>
                  <a:cubicBezTo>
                    <a:pt x="422941" y="39250"/>
                    <a:pt x="422616" y="37184"/>
                    <a:pt x="427810" y="37873"/>
                  </a:cubicBezTo>
                  <a:lnTo>
                    <a:pt x="435600" y="42006"/>
                  </a:lnTo>
                  <a:cubicBezTo>
                    <a:pt x="442416" y="41317"/>
                    <a:pt x="453777" y="41317"/>
                    <a:pt x="459620" y="37873"/>
                  </a:cubicBezTo>
                  <a:cubicBezTo>
                    <a:pt x="462216" y="36150"/>
                    <a:pt x="460269" y="30639"/>
                    <a:pt x="457997" y="28228"/>
                  </a:cubicBezTo>
                  <a:cubicBezTo>
                    <a:pt x="455725" y="25817"/>
                    <a:pt x="451830" y="27195"/>
                    <a:pt x="448584" y="26506"/>
                  </a:cubicBezTo>
                  <a:lnTo>
                    <a:pt x="441630" y="20171"/>
                  </a:lnTo>
                  <a:cubicBezTo>
                    <a:pt x="438785" y="15763"/>
                    <a:pt x="447123" y="16344"/>
                    <a:pt x="456374" y="14794"/>
                  </a:cubicBezTo>
                  <a:cubicBezTo>
                    <a:pt x="461243" y="15828"/>
                    <a:pt x="467085" y="14794"/>
                    <a:pt x="470331" y="18239"/>
                  </a:cubicBezTo>
                  <a:cubicBezTo>
                    <a:pt x="472786" y="24181"/>
                    <a:pt x="466517" y="21081"/>
                    <a:pt x="476498" y="26506"/>
                  </a:cubicBezTo>
                  <a:cubicBezTo>
                    <a:pt x="481692" y="28572"/>
                    <a:pt x="489482" y="35806"/>
                    <a:pt x="498895" y="36839"/>
                  </a:cubicBezTo>
                  <a:cubicBezTo>
                    <a:pt x="506361" y="38906"/>
                    <a:pt x="515125" y="40628"/>
                    <a:pt x="520643" y="39939"/>
                  </a:cubicBezTo>
                  <a:cubicBezTo>
                    <a:pt x="526161" y="39250"/>
                    <a:pt x="529082" y="33739"/>
                    <a:pt x="532652" y="33050"/>
                  </a:cubicBezTo>
                  <a:cubicBezTo>
                    <a:pt x="536223" y="31673"/>
                    <a:pt x="537846" y="35461"/>
                    <a:pt x="541741" y="35806"/>
                  </a:cubicBezTo>
                  <a:cubicBezTo>
                    <a:pt x="545636" y="36150"/>
                    <a:pt x="554075" y="32361"/>
                    <a:pt x="556023" y="34773"/>
                  </a:cubicBezTo>
                  <a:cubicBezTo>
                    <a:pt x="559918" y="37528"/>
                    <a:pt x="555049" y="44762"/>
                    <a:pt x="554400" y="49584"/>
                  </a:cubicBezTo>
                  <a:cubicBezTo>
                    <a:pt x="553102" y="57851"/>
                    <a:pt x="551479" y="64740"/>
                    <a:pt x="545311" y="69562"/>
                  </a:cubicBezTo>
                  <a:lnTo>
                    <a:pt x="546823" y="76430"/>
                  </a:lnTo>
                  <a:cubicBezTo>
                    <a:pt x="548253" y="80047"/>
                    <a:pt x="549775" y="76107"/>
                    <a:pt x="554400" y="84374"/>
                  </a:cubicBezTo>
                  <a:cubicBezTo>
                    <a:pt x="554075" y="87818"/>
                    <a:pt x="555374" y="91951"/>
                    <a:pt x="553102" y="94363"/>
                  </a:cubicBezTo>
                  <a:cubicBezTo>
                    <a:pt x="546610" y="101252"/>
                    <a:pt x="545961" y="88163"/>
                    <a:pt x="545311" y="87474"/>
                  </a:cubicBezTo>
                  <a:cubicBezTo>
                    <a:pt x="544013" y="85751"/>
                    <a:pt x="542066" y="85407"/>
                    <a:pt x="540443" y="84374"/>
                  </a:cubicBezTo>
                  <a:cubicBezTo>
                    <a:pt x="535898" y="89196"/>
                    <a:pt x="531354" y="90918"/>
                    <a:pt x="529731" y="97463"/>
                  </a:cubicBezTo>
                  <a:cubicBezTo>
                    <a:pt x="528108" y="100907"/>
                    <a:pt x="524213" y="103663"/>
                    <a:pt x="524538" y="106418"/>
                  </a:cubicBezTo>
                  <a:cubicBezTo>
                    <a:pt x="524862" y="109174"/>
                    <a:pt x="527459" y="110896"/>
                    <a:pt x="531030" y="113996"/>
                  </a:cubicBezTo>
                  <a:cubicBezTo>
                    <a:pt x="532652" y="120196"/>
                    <a:pt x="545311" y="125708"/>
                    <a:pt x="545311" y="125708"/>
                  </a:cubicBezTo>
                  <a:cubicBezTo>
                    <a:pt x="550829" y="130186"/>
                    <a:pt x="555049" y="132941"/>
                    <a:pt x="565436" y="137419"/>
                  </a:cubicBezTo>
                  <a:cubicBezTo>
                    <a:pt x="572902" y="142241"/>
                    <a:pt x="582964" y="150508"/>
                    <a:pt x="590429" y="153953"/>
                  </a:cubicBezTo>
                  <a:cubicBezTo>
                    <a:pt x="597895" y="157397"/>
                    <a:pt x="606984" y="156364"/>
                    <a:pt x="610554" y="158775"/>
                  </a:cubicBezTo>
                  <a:cubicBezTo>
                    <a:pt x="611852" y="159808"/>
                    <a:pt x="610879" y="166697"/>
                    <a:pt x="612177" y="168075"/>
                  </a:cubicBezTo>
                  <a:cubicBezTo>
                    <a:pt x="614449" y="170486"/>
                    <a:pt x="616721" y="167042"/>
                    <a:pt x="618344" y="170142"/>
                  </a:cubicBezTo>
                  <a:cubicBezTo>
                    <a:pt x="621266" y="175998"/>
                    <a:pt x="621266" y="174964"/>
                    <a:pt x="626134" y="178409"/>
                  </a:cubicBezTo>
                  <a:cubicBezTo>
                    <a:pt x="637170" y="177720"/>
                    <a:pt x="647557" y="181509"/>
                    <a:pt x="651128" y="170142"/>
                  </a:cubicBezTo>
                  <a:cubicBezTo>
                    <a:pt x="652426" y="160497"/>
                    <a:pt x="655347" y="150164"/>
                    <a:pt x="660866" y="142241"/>
                  </a:cubicBezTo>
                  <a:cubicBezTo>
                    <a:pt x="664111" y="128119"/>
                    <a:pt x="664761" y="137075"/>
                    <a:pt x="667357" y="113307"/>
                  </a:cubicBezTo>
                  <a:cubicBezTo>
                    <a:pt x="668006" y="107107"/>
                    <a:pt x="666708" y="100907"/>
                    <a:pt x="666708" y="100907"/>
                  </a:cubicBezTo>
                  <a:cubicBezTo>
                    <a:pt x="668980" y="68529"/>
                    <a:pt x="665734" y="85062"/>
                    <a:pt x="669954" y="70940"/>
                  </a:cubicBezTo>
                  <a:cubicBezTo>
                    <a:pt x="671252" y="66118"/>
                    <a:pt x="674498" y="56129"/>
                    <a:pt x="674498" y="56129"/>
                  </a:cubicBezTo>
                  <a:cubicBezTo>
                    <a:pt x="675147" y="48551"/>
                    <a:pt x="674823" y="40628"/>
                    <a:pt x="676121" y="33050"/>
                  </a:cubicBezTo>
                  <a:cubicBezTo>
                    <a:pt x="677095" y="27884"/>
                    <a:pt x="682288" y="18239"/>
                    <a:pt x="682288" y="18239"/>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66" name="Freeform 737"/>
            <p:cNvSpPr>
              <a:spLocks/>
            </p:cNvSpPr>
            <p:nvPr>
              <p:custDataLst>
                <p:tags r:id="rId129"/>
              </p:custDataLst>
            </p:nvPr>
          </p:nvSpPr>
          <p:spPr bwMode="gray">
            <a:xfrm>
              <a:off x="4599573" y="2427383"/>
              <a:ext cx="228737" cy="278842"/>
            </a:xfrm>
            <a:custGeom>
              <a:avLst/>
              <a:gdLst/>
              <a:ahLst/>
              <a:cxnLst/>
              <a:rect l="l" t="t" r="r" b="b"/>
              <a:pathLst>
                <a:path w="366140" h="446343">
                  <a:moveTo>
                    <a:pt x="278678" y="132903"/>
                  </a:moveTo>
                  <a:cubicBezTo>
                    <a:pt x="281307" y="132784"/>
                    <a:pt x="283589" y="133643"/>
                    <a:pt x="285177" y="135934"/>
                  </a:cubicBezTo>
                  <a:cubicBezTo>
                    <a:pt x="291527" y="145098"/>
                    <a:pt x="294702" y="187863"/>
                    <a:pt x="296289" y="203136"/>
                  </a:cubicBezTo>
                  <a:cubicBezTo>
                    <a:pt x="297877" y="218409"/>
                    <a:pt x="299464" y="215354"/>
                    <a:pt x="296289" y="224518"/>
                  </a:cubicBezTo>
                  <a:cubicBezTo>
                    <a:pt x="293114" y="233682"/>
                    <a:pt x="286764" y="242846"/>
                    <a:pt x="282002" y="256592"/>
                  </a:cubicBezTo>
                  <a:cubicBezTo>
                    <a:pt x="275652" y="270338"/>
                    <a:pt x="269302" y="299356"/>
                    <a:pt x="262952" y="310048"/>
                  </a:cubicBezTo>
                  <a:cubicBezTo>
                    <a:pt x="256602" y="320739"/>
                    <a:pt x="250252" y="316157"/>
                    <a:pt x="243902" y="320739"/>
                  </a:cubicBezTo>
                  <a:cubicBezTo>
                    <a:pt x="237552" y="325321"/>
                    <a:pt x="228027" y="332957"/>
                    <a:pt x="226439" y="337539"/>
                  </a:cubicBezTo>
                  <a:cubicBezTo>
                    <a:pt x="224852" y="342121"/>
                    <a:pt x="239139" y="352812"/>
                    <a:pt x="235964" y="352812"/>
                  </a:cubicBezTo>
                  <a:cubicBezTo>
                    <a:pt x="232789" y="352812"/>
                    <a:pt x="218502" y="337539"/>
                    <a:pt x="210564" y="334485"/>
                  </a:cubicBezTo>
                  <a:cubicBezTo>
                    <a:pt x="202627" y="331430"/>
                    <a:pt x="189927" y="331430"/>
                    <a:pt x="183577" y="332957"/>
                  </a:cubicBezTo>
                  <a:cubicBezTo>
                    <a:pt x="177227" y="334485"/>
                    <a:pt x="172464" y="340594"/>
                    <a:pt x="167702" y="346703"/>
                  </a:cubicBezTo>
                  <a:cubicBezTo>
                    <a:pt x="162939" y="352812"/>
                    <a:pt x="161352" y="363504"/>
                    <a:pt x="155002" y="366558"/>
                  </a:cubicBezTo>
                  <a:cubicBezTo>
                    <a:pt x="148652" y="369613"/>
                    <a:pt x="137539" y="369613"/>
                    <a:pt x="129602" y="369613"/>
                  </a:cubicBezTo>
                  <a:cubicBezTo>
                    <a:pt x="121664" y="369613"/>
                    <a:pt x="113727" y="363504"/>
                    <a:pt x="105789" y="365031"/>
                  </a:cubicBezTo>
                  <a:cubicBezTo>
                    <a:pt x="97852" y="366558"/>
                    <a:pt x="93089" y="374195"/>
                    <a:pt x="85152" y="380304"/>
                  </a:cubicBezTo>
                  <a:cubicBezTo>
                    <a:pt x="77214" y="386413"/>
                    <a:pt x="62927" y="392523"/>
                    <a:pt x="56577" y="401686"/>
                  </a:cubicBezTo>
                  <a:cubicBezTo>
                    <a:pt x="50227" y="412378"/>
                    <a:pt x="50227" y="442924"/>
                    <a:pt x="42289" y="445979"/>
                  </a:cubicBezTo>
                  <a:cubicBezTo>
                    <a:pt x="34352" y="449033"/>
                    <a:pt x="10539" y="432233"/>
                    <a:pt x="4189" y="420014"/>
                  </a:cubicBezTo>
                  <a:cubicBezTo>
                    <a:pt x="-2161" y="407796"/>
                    <a:pt x="-573" y="386413"/>
                    <a:pt x="4189" y="374195"/>
                  </a:cubicBezTo>
                  <a:cubicBezTo>
                    <a:pt x="8952" y="361976"/>
                    <a:pt x="23239" y="351285"/>
                    <a:pt x="32764" y="343649"/>
                  </a:cubicBezTo>
                  <a:cubicBezTo>
                    <a:pt x="42289" y="336012"/>
                    <a:pt x="53402" y="337539"/>
                    <a:pt x="61339" y="332957"/>
                  </a:cubicBezTo>
                  <a:cubicBezTo>
                    <a:pt x="69277" y="328375"/>
                    <a:pt x="70864" y="314630"/>
                    <a:pt x="85152" y="311575"/>
                  </a:cubicBezTo>
                  <a:cubicBezTo>
                    <a:pt x="97852" y="308520"/>
                    <a:pt x="135952" y="314630"/>
                    <a:pt x="150239" y="310048"/>
                  </a:cubicBezTo>
                  <a:cubicBezTo>
                    <a:pt x="164527" y="305466"/>
                    <a:pt x="170877" y="294775"/>
                    <a:pt x="174052" y="288665"/>
                  </a:cubicBezTo>
                  <a:cubicBezTo>
                    <a:pt x="177227" y="281029"/>
                    <a:pt x="167702" y="264228"/>
                    <a:pt x="174052" y="261174"/>
                  </a:cubicBezTo>
                  <a:cubicBezTo>
                    <a:pt x="180402" y="258119"/>
                    <a:pt x="199452" y="270338"/>
                    <a:pt x="207389" y="267283"/>
                  </a:cubicBezTo>
                  <a:cubicBezTo>
                    <a:pt x="215327" y="264228"/>
                    <a:pt x="213739" y="244373"/>
                    <a:pt x="220089" y="238264"/>
                  </a:cubicBezTo>
                  <a:cubicBezTo>
                    <a:pt x="226439" y="232155"/>
                    <a:pt x="240727" y="242846"/>
                    <a:pt x="245489" y="233682"/>
                  </a:cubicBezTo>
                  <a:cubicBezTo>
                    <a:pt x="250252" y="224518"/>
                    <a:pt x="247077" y="198554"/>
                    <a:pt x="248664" y="184808"/>
                  </a:cubicBezTo>
                  <a:cubicBezTo>
                    <a:pt x="250252" y="172590"/>
                    <a:pt x="248664" y="155789"/>
                    <a:pt x="255014" y="148153"/>
                  </a:cubicBezTo>
                  <a:cubicBezTo>
                    <a:pt x="259777" y="142425"/>
                    <a:pt x="270790" y="133261"/>
                    <a:pt x="278678" y="132903"/>
                  </a:cubicBezTo>
                  <a:close/>
                  <a:moveTo>
                    <a:pt x="266560" y="2495"/>
                  </a:moveTo>
                  <a:lnTo>
                    <a:pt x="264539" y="2723"/>
                  </a:lnTo>
                  <a:cubicBezTo>
                    <a:pt x="263055" y="2723"/>
                    <a:pt x="264193" y="2574"/>
                    <a:pt x="266560" y="2495"/>
                  </a:cubicBezTo>
                  <a:close/>
                  <a:moveTo>
                    <a:pt x="285177" y="425"/>
                  </a:moveTo>
                  <a:cubicBezTo>
                    <a:pt x="294702" y="-341"/>
                    <a:pt x="305021" y="-341"/>
                    <a:pt x="310577" y="2723"/>
                  </a:cubicBezTo>
                  <a:cubicBezTo>
                    <a:pt x="321690" y="8852"/>
                    <a:pt x="324865" y="34898"/>
                    <a:pt x="334390" y="41027"/>
                  </a:cubicBezTo>
                  <a:cubicBezTo>
                    <a:pt x="343915" y="47155"/>
                    <a:pt x="361377" y="33366"/>
                    <a:pt x="366140" y="36430"/>
                  </a:cubicBezTo>
                  <a:cubicBezTo>
                    <a:pt x="370902" y="39494"/>
                    <a:pt x="370902" y="53284"/>
                    <a:pt x="366140" y="60944"/>
                  </a:cubicBezTo>
                  <a:cubicBezTo>
                    <a:pt x="361377" y="68605"/>
                    <a:pt x="347090" y="77798"/>
                    <a:pt x="339152" y="83926"/>
                  </a:cubicBezTo>
                  <a:cubicBezTo>
                    <a:pt x="331215" y="90055"/>
                    <a:pt x="329627" y="97715"/>
                    <a:pt x="320102" y="97715"/>
                  </a:cubicBezTo>
                  <a:cubicBezTo>
                    <a:pt x="310577" y="97715"/>
                    <a:pt x="283589" y="85458"/>
                    <a:pt x="277239" y="88523"/>
                  </a:cubicBezTo>
                  <a:cubicBezTo>
                    <a:pt x="272477" y="91587"/>
                    <a:pt x="285177" y="106908"/>
                    <a:pt x="280414" y="113037"/>
                  </a:cubicBezTo>
                  <a:cubicBezTo>
                    <a:pt x="275652" y="119165"/>
                    <a:pt x="258189" y="128358"/>
                    <a:pt x="250252" y="125294"/>
                  </a:cubicBezTo>
                  <a:cubicBezTo>
                    <a:pt x="242314" y="122229"/>
                    <a:pt x="232789" y="105376"/>
                    <a:pt x="234377" y="94651"/>
                  </a:cubicBezTo>
                  <a:cubicBezTo>
                    <a:pt x="235964" y="83926"/>
                    <a:pt x="255014" y="74733"/>
                    <a:pt x="262952" y="62476"/>
                  </a:cubicBezTo>
                  <a:cubicBezTo>
                    <a:pt x="270889" y="50219"/>
                    <a:pt x="278827" y="31834"/>
                    <a:pt x="282002" y="22641"/>
                  </a:cubicBezTo>
                  <a:cubicBezTo>
                    <a:pt x="285177" y="13448"/>
                    <a:pt x="288352" y="7320"/>
                    <a:pt x="285177" y="4256"/>
                  </a:cubicBezTo>
                  <a:cubicBezTo>
                    <a:pt x="282992" y="2147"/>
                    <a:pt x="271782" y="2215"/>
                    <a:pt x="266560" y="2495"/>
                  </a:cubicBezTo>
                  <a:cubicBezTo>
                    <a:pt x="270296" y="2164"/>
                    <a:pt x="277477" y="1044"/>
                    <a:pt x="285177" y="42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67" name="Freeform 824"/>
            <p:cNvSpPr>
              <a:spLocks/>
            </p:cNvSpPr>
            <p:nvPr>
              <p:custDataLst>
                <p:tags r:id="rId130"/>
              </p:custDataLst>
            </p:nvPr>
          </p:nvSpPr>
          <p:spPr bwMode="gray">
            <a:xfrm>
              <a:off x="1696358" y="2996505"/>
              <a:ext cx="194383" cy="154713"/>
            </a:xfrm>
            <a:custGeom>
              <a:avLst/>
              <a:gdLst>
                <a:gd name="T0" fmla="*/ 18 w 200"/>
                <a:gd name="T1" fmla="*/ 4 h 160"/>
                <a:gd name="T2" fmla="*/ 16 w 200"/>
                <a:gd name="T3" fmla="*/ 25 h 160"/>
                <a:gd name="T4" fmla="*/ 30 w 200"/>
                <a:gd name="T5" fmla="*/ 36 h 160"/>
                <a:gd name="T6" fmla="*/ 31 w 200"/>
                <a:gd name="T7" fmla="*/ 13 h 160"/>
                <a:gd name="T8" fmla="*/ 51 w 200"/>
                <a:gd name="T9" fmla="*/ 9 h 160"/>
                <a:gd name="T10" fmla="*/ 69 w 200"/>
                <a:gd name="T11" fmla="*/ 3 h 160"/>
                <a:gd name="T12" fmla="*/ 93 w 200"/>
                <a:gd name="T13" fmla="*/ 16 h 160"/>
                <a:gd name="T14" fmla="*/ 117 w 200"/>
                <a:gd name="T15" fmla="*/ 21 h 160"/>
                <a:gd name="T16" fmla="*/ 133 w 200"/>
                <a:gd name="T17" fmla="*/ 12 h 160"/>
                <a:gd name="T18" fmla="*/ 154 w 200"/>
                <a:gd name="T19" fmla="*/ 18 h 160"/>
                <a:gd name="T20" fmla="*/ 174 w 200"/>
                <a:gd name="T21" fmla="*/ 27 h 160"/>
                <a:gd name="T22" fmla="*/ 186 w 200"/>
                <a:gd name="T23" fmla="*/ 37 h 160"/>
                <a:gd name="T24" fmla="*/ 189 w 200"/>
                <a:gd name="T25" fmla="*/ 57 h 160"/>
                <a:gd name="T26" fmla="*/ 181 w 200"/>
                <a:gd name="T27" fmla="*/ 72 h 160"/>
                <a:gd name="T28" fmla="*/ 178 w 200"/>
                <a:gd name="T29" fmla="*/ 87 h 160"/>
                <a:gd name="T30" fmla="*/ 175 w 200"/>
                <a:gd name="T31" fmla="*/ 100 h 160"/>
                <a:gd name="T32" fmla="*/ 162 w 200"/>
                <a:gd name="T33" fmla="*/ 115 h 160"/>
                <a:gd name="T34" fmla="*/ 135 w 200"/>
                <a:gd name="T35" fmla="*/ 120 h 160"/>
                <a:gd name="T36" fmla="*/ 135 w 200"/>
                <a:gd name="T37" fmla="*/ 135 h 160"/>
                <a:gd name="T38" fmla="*/ 129 w 200"/>
                <a:gd name="T39" fmla="*/ 151 h 160"/>
                <a:gd name="T40" fmla="*/ 124 w 200"/>
                <a:gd name="T41" fmla="*/ 157 h 160"/>
                <a:gd name="T42" fmla="*/ 106 w 200"/>
                <a:gd name="T43" fmla="*/ 159 h 160"/>
                <a:gd name="T44" fmla="*/ 82 w 200"/>
                <a:gd name="T45" fmla="*/ 148 h 160"/>
                <a:gd name="T46" fmla="*/ 84 w 200"/>
                <a:gd name="T47" fmla="*/ 136 h 160"/>
                <a:gd name="T48" fmla="*/ 82 w 200"/>
                <a:gd name="T49" fmla="*/ 87 h 160"/>
                <a:gd name="T50" fmla="*/ 61 w 200"/>
                <a:gd name="T51" fmla="*/ 82 h 160"/>
                <a:gd name="T52" fmla="*/ 43 w 200"/>
                <a:gd name="T53" fmla="*/ 73 h 160"/>
                <a:gd name="T54" fmla="*/ 30 w 200"/>
                <a:gd name="T55" fmla="*/ 63 h 160"/>
                <a:gd name="T56" fmla="*/ 18 w 200"/>
                <a:gd name="T57" fmla="*/ 57 h 160"/>
                <a:gd name="T58" fmla="*/ 6 w 200"/>
                <a:gd name="T59" fmla="*/ 37 h 160"/>
                <a:gd name="T60" fmla="*/ 0 w 200"/>
                <a:gd name="T61" fmla="*/ 22 h 160"/>
                <a:gd name="T62" fmla="*/ 15 w 200"/>
                <a:gd name="T63" fmla="*/ 6 h 160"/>
                <a:gd name="T64" fmla="*/ 24 w 200"/>
                <a:gd name="T65" fmla="*/ 1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160">
                  <a:moveTo>
                    <a:pt x="18" y="4"/>
                  </a:moveTo>
                  <a:cubicBezTo>
                    <a:pt x="23" y="12"/>
                    <a:pt x="31" y="23"/>
                    <a:pt x="16" y="25"/>
                  </a:cubicBezTo>
                  <a:cubicBezTo>
                    <a:pt x="13" y="39"/>
                    <a:pt x="15" y="37"/>
                    <a:pt x="30" y="36"/>
                  </a:cubicBezTo>
                  <a:cubicBezTo>
                    <a:pt x="30" y="28"/>
                    <a:pt x="27" y="20"/>
                    <a:pt x="31" y="13"/>
                  </a:cubicBezTo>
                  <a:cubicBezTo>
                    <a:pt x="35" y="7"/>
                    <a:pt x="51" y="9"/>
                    <a:pt x="51" y="9"/>
                  </a:cubicBezTo>
                  <a:cubicBezTo>
                    <a:pt x="59" y="3"/>
                    <a:pt x="57" y="0"/>
                    <a:pt x="69" y="3"/>
                  </a:cubicBezTo>
                  <a:cubicBezTo>
                    <a:pt x="71" y="22"/>
                    <a:pt x="73" y="18"/>
                    <a:pt x="93" y="16"/>
                  </a:cubicBezTo>
                  <a:cubicBezTo>
                    <a:pt x="111" y="20"/>
                    <a:pt x="103" y="18"/>
                    <a:pt x="117" y="21"/>
                  </a:cubicBezTo>
                  <a:cubicBezTo>
                    <a:pt x="127" y="19"/>
                    <a:pt x="126" y="17"/>
                    <a:pt x="133" y="12"/>
                  </a:cubicBezTo>
                  <a:cubicBezTo>
                    <a:pt x="143" y="13"/>
                    <a:pt x="147" y="12"/>
                    <a:pt x="154" y="18"/>
                  </a:cubicBezTo>
                  <a:cubicBezTo>
                    <a:pt x="158" y="26"/>
                    <a:pt x="166" y="25"/>
                    <a:pt x="174" y="27"/>
                  </a:cubicBezTo>
                  <a:cubicBezTo>
                    <a:pt x="175" y="35"/>
                    <a:pt x="178" y="36"/>
                    <a:pt x="186" y="37"/>
                  </a:cubicBezTo>
                  <a:cubicBezTo>
                    <a:pt x="196" y="42"/>
                    <a:pt x="200" y="55"/>
                    <a:pt x="189" y="57"/>
                  </a:cubicBezTo>
                  <a:cubicBezTo>
                    <a:pt x="188" y="75"/>
                    <a:pt x="189" y="62"/>
                    <a:pt x="181" y="72"/>
                  </a:cubicBezTo>
                  <a:cubicBezTo>
                    <a:pt x="179" y="77"/>
                    <a:pt x="179" y="82"/>
                    <a:pt x="178" y="87"/>
                  </a:cubicBezTo>
                  <a:cubicBezTo>
                    <a:pt x="177" y="92"/>
                    <a:pt x="178" y="95"/>
                    <a:pt x="175" y="100"/>
                  </a:cubicBezTo>
                  <a:cubicBezTo>
                    <a:pt x="172" y="105"/>
                    <a:pt x="169" y="112"/>
                    <a:pt x="162" y="115"/>
                  </a:cubicBezTo>
                  <a:cubicBezTo>
                    <a:pt x="152" y="115"/>
                    <a:pt x="146" y="116"/>
                    <a:pt x="135" y="120"/>
                  </a:cubicBezTo>
                  <a:cubicBezTo>
                    <a:pt x="136" y="126"/>
                    <a:pt x="132" y="129"/>
                    <a:pt x="135" y="135"/>
                  </a:cubicBezTo>
                  <a:cubicBezTo>
                    <a:pt x="134" y="140"/>
                    <a:pt x="131" y="148"/>
                    <a:pt x="129" y="151"/>
                  </a:cubicBezTo>
                  <a:cubicBezTo>
                    <a:pt x="127" y="154"/>
                    <a:pt x="128" y="156"/>
                    <a:pt x="124" y="157"/>
                  </a:cubicBezTo>
                  <a:cubicBezTo>
                    <a:pt x="120" y="158"/>
                    <a:pt x="113" y="160"/>
                    <a:pt x="106" y="159"/>
                  </a:cubicBezTo>
                  <a:cubicBezTo>
                    <a:pt x="99" y="158"/>
                    <a:pt x="86" y="152"/>
                    <a:pt x="82" y="148"/>
                  </a:cubicBezTo>
                  <a:cubicBezTo>
                    <a:pt x="78" y="144"/>
                    <a:pt x="84" y="146"/>
                    <a:pt x="84" y="136"/>
                  </a:cubicBezTo>
                  <a:cubicBezTo>
                    <a:pt x="81" y="125"/>
                    <a:pt x="86" y="96"/>
                    <a:pt x="82" y="87"/>
                  </a:cubicBezTo>
                  <a:cubicBezTo>
                    <a:pt x="78" y="78"/>
                    <a:pt x="67" y="84"/>
                    <a:pt x="61" y="82"/>
                  </a:cubicBezTo>
                  <a:cubicBezTo>
                    <a:pt x="55" y="78"/>
                    <a:pt x="49" y="77"/>
                    <a:pt x="43" y="73"/>
                  </a:cubicBezTo>
                  <a:cubicBezTo>
                    <a:pt x="37" y="69"/>
                    <a:pt x="37" y="64"/>
                    <a:pt x="30" y="63"/>
                  </a:cubicBezTo>
                  <a:cubicBezTo>
                    <a:pt x="23" y="60"/>
                    <a:pt x="25" y="61"/>
                    <a:pt x="18" y="57"/>
                  </a:cubicBezTo>
                  <a:cubicBezTo>
                    <a:pt x="15" y="52"/>
                    <a:pt x="11" y="40"/>
                    <a:pt x="6" y="37"/>
                  </a:cubicBezTo>
                  <a:cubicBezTo>
                    <a:pt x="3" y="32"/>
                    <a:pt x="1" y="28"/>
                    <a:pt x="0" y="22"/>
                  </a:cubicBezTo>
                  <a:cubicBezTo>
                    <a:pt x="2" y="13"/>
                    <a:pt x="6" y="8"/>
                    <a:pt x="15" y="6"/>
                  </a:cubicBezTo>
                  <a:cubicBezTo>
                    <a:pt x="16" y="16"/>
                    <a:pt x="14" y="13"/>
                    <a:pt x="24" y="13"/>
                  </a:cubicBez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68" name="Freeform 825"/>
            <p:cNvSpPr>
              <a:spLocks/>
            </p:cNvSpPr>
            <p:nvPr>
              <p:custDataLst>
                <p:tags r:id="rId131"/>
              </p:custDataLst>
            </p:nvPr>
          </p:nvSpPr>
          <p:spPr bwMode="gray">
            <a:xfrm>
              <a:off x="1952230" y="3069894"/>
              <a:ext cx="63472" cy="58514"/>
            </a:xfrm>
            <a:custGeom>
              <a:avLst/>
              <a:gdLst>
                <a:gd name="T0" fmla="*/ 15 w 65"/>
                <a:gd name="T1" fmla="*/ 56 h 61"/>
                <a:gd name="T2" fmla="*/ 57 w 65"/>
                <a:gd name="T3" fmla="*/ 45 h 61"/>
                <a:gd name="T4" fmla="*/ 36 w 65"/>
                <a:gd name="T5" fmla="*/ 12 h 61"/>
                <a:gd name="T6" fmla="*/ 15 w 65"/>
                <a:gd name="T7" fmla="*/ 56 h 61"/>
              </a:gdLst>
              <a:ahLst/>
              <a:cxnLst>
                <a:cxn ang="0">
                  <a:pos x="T0" y="T1"/>
                </a:cxn>
                <a:cxn ang="0">
                  <a:pos x="T2" y="T3"/>
                </a:cxn>
                <a:cxn ang="0">
                  <a:pos x="T4" y="T5"/>
                </a:cxn>
                <a:cxn ang="0">
                  <a:pos x="T6" y="T7"/>
                </a:cxn>
              </a:cxnLst>
              <a:rect l="0" t="0" r="r" b="b"/>
              <a:pathLst>
                <a:path w="65" h="61">
                  <a:moveTo>
                    <a:pt x="15" y="56"/>
                  </a:moveTo>
                  <a:cubicBezTo>
                    <a:pt x="56" y="54"/>
                    <a:pt x="36" y="61"/>
                    <a:pt x="57" y="45"/>
                  </a:cubicBezTo>
                  <a:cubicBezTo>
                    <a:pt x="65" y="29"/>
                    <a:pt x="46" y="20"/>
                    <a:pt x="36" y="12"/>
                  </a:cubicBezTo>
                  <a:cubicBezTo>
                    <a:pt x="0" y="16"/>
                    <a:pt x="15" y="0"/>
                    <a:pt x="15" y="56"/>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69" name="Freeform 826"/>
            <p:cNvSpPr>
              <a:spLocks/>
            </p:cNvSpPr>
            <p:nvPr>
              <p:custDataLst>
                <p:tags r:id="rId132"/>
              </p:custDataLst>
            </p:nvPr>
          </p:nvSpPr>
          <p:spPr bwMode="gray">
            <a:xfrm>
              <a:off x="1912560" y="3075845"/>
              <a:ext cx="55538" cy="60497"/>
            </a:xfrm>
            <a:custGeom>
              <a:avLst/>
              <a:gdLst>
                <a:gd name="T0" fmla="*/ 9 w 57"/>
                <a:gd name="T1" fmla="*/ 0 h 63"/>
                <a:gd name="T2" fmla="*/ 36 w 57"/>
                <a:gd name="T3" fmla="*/ 5 h 63"/>
                <a:gd name="T4" fmla="*/ 51 w 57"/>
                <a:gd name="T5" fmla="*/ 8 h 63"/>
                <a:gd name="T6" fmla="*/ 57 w 57"/>
                <a:gd name="T7" fmla="*/ 35 h 63"/>
                <a:gd name="T8" fmla="*/ 29 w 57"/>
                <a:gd name="T9" fmla="*/ 54 h 63"/>
                <a:gd name="T10" fmla="*/ 17 w 57"/>
                <a:gd name="T11" fmla="*/ 54 h 63"/>
                <a:gd name="T12" fmla="*/ 8 w 57"/>
                <a:gd name="T13" fmla="*/ 39 h 63"/>
                <a:gd name="T14" fmla="*/ 3 w 57"/>
                <a:gd name="T15" fmla="*/ 38 h 63"/>
                <a:gd name="T16" fmla="*/ 14 w 57"/>
                <a:gd name="T17" fmla="*/ 17 h 63"/>
                <a:gd name="T18" fmla="*/ 9 w 57"/>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63">
                  <a:moveTo>
                    <a:pt x="9" y="0"/>
                  </a:moveTo>
                  <a:cubicBezTo>
                    <a:pt x="22" y="1"/>
                    <a:pt x="26" y="2"/>
                    <a:pt x="36" y="5"/>
                  </a:cubicBezTo>
                  <a:cubicBezTo>
                    <a:pt x="41" y="6"/>
                    <a:pt x="51" y="8"/>
                    <a:pt x="51" y="8"/>
                  </a:cubicBezTo>
                  <a:cubicBezTo>
                    <a:pt x="57" y="16"/>
                    <a:pt x="55" y="26"/>
                    <a:pt x="57" y="35"/>
                  </a:cubicBezTo>
                  <a:cubicBezTo>
                    <a:pt x="55" y="55"/>
                    <a:pt x="49" y="53"/>
                    <a:pt x="29" y="54"/>
                  </a:cubicBezTo>
                  <a:cubicBezTo>
                    <a:pt x="24" y="63"/>
                    <a:pt x="27" y="55"/>
                    <a:pt x="17" y="54"/>
                  </a:cubicBezTo>
                  <a:cubicBezTo>
                    <a:pt x="17" y="47"/>
                    <a:pt x="10" y="45"/>
                    <a:pt x="8" y="39"/>
                  </a:cubicBezTo>
                  <a:cubicBezTo>
                    <a:pt x="8" y="37"/>
                    <a:pt x="4" y="40"/>
                    <a:pt x="3" y="38"/>
                  </a:cubicBezTo>
                  <a:cubicBezTo>
                    <a:pt x="0" y="29"/>
                    <a:pt x="15" y="24"/>
                    <a:pt x="14" y="17"/>
                  </a:cubicBezTo>
                  <a:cubicBezTo>
                    <a:pt x="13" y="11"/>
                    <a:pt x="11" y="6"/>
                    <a:pt x="9"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70" name="Freeform 827"/>
            <p:cNvSpPr>
              <a:spLocks/>
            </p:cNvSpPr>
            <p:nvPr>
              <p:custDataLst>
                <p:tags r:id="rId133"/>
              </p:custDataLst>
            </p:nvPr>
          </p:nvSpPr>
          <p:spPr bwMode="gray">
            <a:xfrm>
              <a:off x="1859005" y="3033199"/>
              <a:ext cx="73390" cy="112068"/>
            </a:xfrm>
            <a:custGeom>
              <a:avLst/>
              <a:gdLst>
                <a:gd name="T0" fmla="*/ 24 w 76"/>
                <a:gd name="T1" fmla="*/ 13 h 116"/>
                <a:gd name="T2" fmla="*/ 13 w 76"/>
                <a:gd name="T3" fmla="*/ 35 h 116"/>
                <a:gd name="T4" fmla="*/ 13 w 76"/>
                <a:gd name="T5" fmla="*/ 67 h 116"/>
                <a:gd name="T6" fmla="*/ 22 w 76"/>
                <a:gd name="T7" fmla="*/ 70 h 116"/>
                <a:gd name="T8" fmla="*/ 24 w 76"/>
                <a:gd name="T9" fmla="*/ 83 h 116"/>
                <a:gd name="T10" fmla="*/ 30 w 76"/>
                <a:gd name="T11" fmla="*/ 97 h 116"/>
                <a:gd name="T12" fmla="*/ 36 w 76"/>
                <a:gd name="T13" fmla="*/ 110 h 116"/>
                <a:gd name="T14" fmla="*/ 45 w 76"/>
                <a:gd name="T15" fmla="*/ 115 h 116"/>
                <a:gd name="T16" fmla="*/ 63 w 76"/>
                <a:gd name="T17" fmla="*/ 110 h 116"/>
                <a:gd name="T18" fmla="*/ 70 w 76"/>
                <a:gd name="T19" fmla="*/ 101 h 116"/>
                <a:gd name="T20" fmla="*/ 61 w 76"/>
                <a:gd name="T21" fmla="*/ 82 h 116"/>
                <a:gd name="T22" fmla="*/ 66 w 76"/>
                <a:gd name="T23" fmla="*/ 65 h 116"/>
                <a:gd name="T24" fmla="*/ 49 w 76"/>
                <a:gd name="T25" fmla="*/ 28 h 116"/>
                <a:gd name="T26" fmla="*/ 33 w 76"/>
                <a:gd name="T27" fmla="*/ 13 h 116"/>
                <a:gd name="T28" fmla="*/ 21 w 76"/>
                <a:gd name="T29"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16">
                  <a:moveTo>
                    <a:pt x="24" y="13"/>
                  </a:moveTo>
                  <a:cubicBezTo>
                    <a:pt x="20" y="21"/>
                    <a:pt x="20" y="31"/>
                    <a:pt x="13" y="35"/>
                  </a:cubicBezTo>
                  <a:cubicBezTo>
                    <a:pt x="7" y="45"/>
                    <a:pt x="0" y="63"/>
                    <a:pt x="13" y="67"/>
                  </a:cubicBezTo>
                  <a:cubicBezTo>
                    <a:pt x="18" y="70"/>
                    <a:pt x="19" y="65"/>
                    <a:pt x="22" y="70"/>
                  </a:cubicBezTo>
                  <a:cubicBezTo>
                    <a:pt x="20" y="75"/>
                    <a:pt x="27" y="78"/>
                    <a:pt x="24" y="83"/>
                  </a:cubicBezTo>
                  <a:cubicBezTo>
                    <a:pt x="25" y="88"/>
                    <a:pt x="28" y="93"/>
                    <a:pt x="30" y="97"/>
                  </a:cubicBezTo>
                  <a:cubicBezTo>
                    <a:pt x="32" y="101"/>
                    <a:pt x="33" y="107"/>
                    <a:pt x="36" y="110"/>
                  </a:cubicBezTo>
                  <a:cubicBezTo>
                    <a:pt x="37" y="116"/>
                    <a:pt x="39" y="112"/>
                    <a:pt x="45" y="115"/>
                  </a:cubicBezTo>
                  <a:cubicBezTo>
                    <a:pt x="54" y="113"/>
                    <a:pt x="56" y="113"/>
                    <a:pt x="63" y="110"/>
                  </a:cubicBezTo>
                  <a:cubicBezTo>
                    <a:pt x="66" y="106"/>
                    <a:pt x="67" y="105"/>
                    <a:pt x="70" y="101"/>
                  </a:cubicBezTo>
                  <a:cubicBezTo>
                    <a:pt x="72" y="93"/>
                    <a:pt x="68" y="87"/>
                    <a:pt x="61" y="82"/>
                  </a:cubicBezTo>
                  <a:cubicBezTo>
                    <a:pt x="57" y="75"/>
                    <a:pt x="59" y="70"/>
                    <a:pt x="66" y="65"/>
                  </a:cubicBezTo>
                  <a:cubicBezTo>
                    <a:pt x="76" y="49"/>
                    <a:pt x="63" y="36"/>
                    <a:pt x="49" y="28"/>
                  </a:cubicBezTo>
                  <a:cubicBezTo>
                    <a:pt x="45" y="21"/>
                    <a:pt x="40" y="18"/>
                    <a:pt x="33" y="13"/>
                  </a:cubicBezTo>
                  <a:cubicBezTo>
                    <a:pt x="25" y="0"/>
                    <a:pt x="26" y="18"/>
                    <a:pt x="21" y="23"/>
                  </a:cubicBez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71" name="Freeform 828"/>
            <p:cNvSpPr>
              <a:spLocks/>
            </p:cNvSpPr>
            <p:nvPr>
              <p:custDataLst>
                <p:tags r:id="rId134"/>
              </p:custDataLst>
            </p:nvPr>
          </p:nvSpPr>
          <p:spPr bwMode="gray">
            <a:xfrm>
              <a:off x="1574372" y="3021298"/>
              <a:ext cx="65456" cy="37687"/>
            </a:xfrm>
            <a:custGeom>
              <a:avLst/>
              <a:gdLst>
                <a:gd name="T0" fmla="*/ 10 w 67"/>
                <a:gd name="T1" fmla="*/ 16 h 39"/>
                <a:gd name="T2" fmla="*/ 30 w 67"/>
                <a:gd name="T3" fmla="*/ 2 h 39"/>
                <a:gd name="T4" fmla="*/ 45 w 67"/>
                <a:gd name="T5" fmla="*/ 4 h 39"/>
                <a:gd name="T6" fmla="*/ 58 w 67"/>
                <a:gd name="T7" fmla="*/ 13 h 39"/>
                <a:gd name="T8" fmla="*/ 67 w 67"/>
                <a:gd name="T9" fmla="*/ 20 h 39"/>
                <a:gd name="T10" fmla="*/ 58 w 67"/>
                <a:gd name="T11" fmla="*/ 34 h 39"/>
                <a:gd name="T12" fmla="*/ 39 w 67"/>
                <a:gd name="T13" fmla="*/ 17 h 39"/>
                <a:gd name="T14" fmla="*/ 22 w 67"/>
                <a:gd name="T15" fmla="*/ 25 h 39"/>
                <a:gd name="T16" fmla="*/ 22 w 67"/>
                <a:gd name="T17" fmla="*/ 37 h 39"/>
                <a:gd name="T18" fmla="*/ 3 w 67"/>
                <a:gd name="T19" fmla="*/ 35 h 39"/>
                <a:gd name="T20" fmla="*/ 6 w 67"/>
                <a:gd name="T21" fmla="*/ 19 h 39"/>
                <a:gd name="T22" fmla="*/ 10 w 67"/>
                <a:gd name="T23" fmla="*/ 1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39">
                  <a:moveTo>
                    <a:pt x="10" y="16"/>
                  </a:moveTo>
                  <a:cubicBezTo>
                    <a:pt x="13" y="10"/>
                    <a:pt x="24" y="4"/>
                    <a:pt x="30" y="2"/>
                  </a:cubicBezTo>
                  <a:cubicBezTo>
                    <a:pt x="36" y="0"/>
                    <a:pt x="40" y="2"/>
                    <a:pt x="45" y="4"/>
                  </a:cubicBezTo>
                  <a:cubicBezTo>
                    <a:pt x="50" y="6"/>
                    <a:pt x="54" y="10"/>
                    <a:pt x="58" y="13"/>
                  </a:cubicBezTo>
                  <a:cubicBezTo>
                    <a:pt x="62" y="16"/>
                    <a:pt x="67" y="17"/>
                    <a:pt x="67" y="20"/>
                  </a:cubicBezTo>
                  <a:cubicBezTo>
                    <a:pt x="67" y="23"/>
                    <a:pt x="63" y="34"/>
                    <a:pt x="58" y="34"/>
                  </a:cubicBezTo>
                  <a:cubicBezTo>
                    <a:pt x="53" y="34"/>
                    <a:pt x="45" y="18"/>
                    <a:pt x="39" y="17"/>
                  </a:cubicBezTo>
                  <a:cubicBezTo>
                    <a:pt x="33" y="16"/>
                    <a:pt x="25" y="22"/>
                    <a:pt x="22" y="25"/>
                  </a:cubicBezTo>
                  <a:cubicBezTo>
                    <a:pt x="19" y="28"/>
                    <a:pt x="25" y="35"/>
                    <a:pt x="22" y="37"/>
                  </a:cubicBezTo>
                  <a:cubicBezTo>
                    <a:pt x="19" y="39"/>
                    <a:pt x="6" y="38"/>
                    <a:pt x="3" y="35"/>
                  </a:cubicBezTo>
                  <a:cubicBezTo>
                    <a:pt x="0" y="32"/>
                    <a:pt x="5" y="22"/>
                    <a:pt x="6" y="19"/>
                  </a:cubicBezTo>
                  <a:cubicBezTo>
                    <a:pt x="7" y="16"/>
                    <a:pt x="9" y="17"/>
                    <a:pt x="10" y="16"/>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72" name="Freeform 829"/>
            <p:cNvSpPr>
              <a:spLocks/>
            </p:cNvSpPr>
            <p:nvPr>
              <p:custDataLst>
                <p:tags r:id="rId135"/>
              </p:custDataLst>
            </p:nvPr>
          </p:nvSpPr>
          <p:spPr bwMode="gray">
            <a:xfrm>
              <a:off x="1608092" y="2992538"/>
              <a:ext cx="171573" cy="213227"/>
            </a:xfrm>
            <a:custGeom>
              <a:avLst/>
              <a:gdLst>
                <a:gd name="T0" fmla="*/ 34 w 177"/>
                <a:gd name="T1" fmla="*/ 55 h 220"/>
                <a:gd name="T2" fmla="*/ 52 w 177"/>
                <a:gd name="T3" fmla="*/ 41 h 220"/>
                <a:gd name="T4" fmla="*/ 85 w 177"/>
                <a:gd name="T5" fmla="*/ 10 h 220"/>
                <a:gd name="T6" fmla="*/ 101 w 177"/>
                <a:gd name="T7" fmla="*/ 4 h 220"/>
                <a:gd name="T8" fmla="*/ 97 w 177"/>
                <a:gd name="T9" fmla="*/ 32 h 220"/>
                <a:gd name="T10" fmla="*/ 110 w 177"/>
                <a:gd name="T11" fmla="*/ 58 h 220"/>
                <a:gd name="T12" fmla="*/ 111 w 177"/>
                <a:gd name="T13" fmla="*/ 67 h 220"/>
                <a:gd name="T14" fmla="*/ 124 w 177"/>
                <a:gd name="T15" fmla="*/ 68 h 220"/>
                <a:gd name="T16" fmla="*/ 152 w 177"/>
                <a:gd name="T17" fmla="*/ 88 h 220"/>
                <a:gd name="T18" fmla="*/ 172 w 177"/>
                <a:gd name="T19" fmla="*/ 85 h 220"/>
                <a:gd name="T20" fmla="*/ 172 w 177"/>
                <a:gd name="T21" fmla="*/ 152 h 220"/>
                <a:gd name="T22" fmla="*/ 143 w 177"/>
                <a:gd name="T23" fmla="*/ 158 h 220"/>
                <a:gd name="T24" fmla="*/ 142 w 177"/>
                <a:gd name="T25" fmla="*/ 184 h 220"/>
                <a:gd name="T26" fmla="*/ 124 w 177"/>
                <a:gd name="T27" fmla="*/ 215 h 220"/>
                <a:gd name="T28" fmla="*/ 100 w 177"/>
                <a:gd name="T29" fmla="*/ 215 h 220"/>
                <a:gd name="T30" fmla="*/ 88 w 177"/>
                <a:gd name="T31" fmla="*/ 205 h 220"/>
                <a:gd name="T32" fmla="*/ 65 w 177"/>
                <a:gd name="T33" fmla="*/ 184 h 220"/>
                <a:gd name="T34" fmla="*/ 44 w 177"/>
                <a:gd name="T35" fmla="*/ 175 h 220"/>
                <a:gd name="T36" fmla="*/ 32 w 177"/>
                <a:gd name="T37" fmla="*/ 166 h 220"/>
                <a:gd name="T38" fmla="*/ 5 w 177"/>
                <a:gd name="T39" fmla="*/ 160 h 220"/>
                <a:gd name="T40" fmla="*/ 10 w 177"/>
                <a:gd name="T41" fmla="*/ 143 h 220"/>
                <a:gd name="T42" fmla="*/ 22 w 177"/>
                <a:gd name="T43" fmla="*/ 127 h 220"/>
                <a:gd name="T44" fmla="*/ 31 w 177"/>
                <a:gd name="T45" fmla="*/ 107 h 220"/>
                <a:gd name="T46" fmla="*/ 29 w 177"/>
                <a:gd name="T47" fmla="*/ 91 h 220"/>
                <a:gd name="T48" fmla="*/ 28 w 177"/>
                <a:gd name="T49" fmla="*/ 61 h 220"/>
                <a:gd name="T50" fmla="*/ 34 w 177"/>
                <a:gd name="T51" fmla="*/ 5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7" h="220">
                  <a:moveTo>
                    <a:pt x="34" y="55"/>
                  </a:moveTo>
                  <a:cubicBezTo>
                    <a:pt x="41" y="52"/>
                    <a:pt x="45" y="45"/>
                    <a:pt x="52" y="41"/>
                  </a:cubicBezTo>
                  <a:cubicBezTo>
                    <a:pt x="57" y="10"/>
                    <a:pt x="56" y="16"/>
                    <a:pt x="85" y="10"/>
                  </a:cubicBezTo>
                  <a:cubicBezTo>
                    <a:pt x="93" y="4"/>
                    <a:pt x="99" y="0"/>
                    <a:pt x="101" y="4"/>
                  </a:cubicBezTo>
                  <a:cubicBezTo>
                    <a:pt x="96" y="14"/>
                    <a:pt x="107" y="27"/>
                    <a:pt x="97" y="32"/>
                  </a:cubicBezTo>
                  <a:cubicBezTo>
                    <a:pt x="92" y="41"/>
                    <a:pt x="107" y="49"/>
                    <a:pt x="110" y="58"/>
                  </a:cubicBezTo>
                  <a:cubicBezTo>
                    <a:pt x="118" y="68"/>
                    <a:pt x="109" y="65"/>
                    <a:pt x="111" y="67"/>
                  </a:cubicBezTo>
                  <a:cubicBezTo>
                    <a:pt x="113" y="69"/>
                    <a:pt x="117" y="65"/>
                    <a:pt x="124" y="68"/>
                  </a:cubicBezTo>
                  <a:cubicBezTo>
                    <a:pt x="132" y="72"/>
                    <a:pt x="144" y="86"/>
                    <a:pt x="152" y="88"/>
                  </a:cubicBezTo>
                  <a:cubicBezTo>
                    <a:pt x="159" y="89"/>
                    <a:pt x="172" y="85"/>
                    <a:pt x="172" y="85"/>
                  </a:cubicBezTo>
                  <a:cubicBezTo>
                    <a:pt x="176" y="96"/>
                    <a:pt x="177" y="140"/>
                    <a:pt x="172" y="152"/>
                  </a:cubicBezTo>
                  <a:cubicBezTo>
                    <a:pt x="167" y="164"/>
                    <a:pt x="148" y="153"/>
                    <a:pt x="143" y="158"/>
                  </a:cubicBezTo>
                  <a:cubicBezTo>
                    <a:pt x="142" y="170"/>
                    <a:pt x="135" y="173"/>
                    <a:pt x="142" y="184"/>
                  </a:cubicBezTo>
                  <a:cubicBezTo>
                    <a:pt x="140" y="213"/>
                    <a:pt x="148" y="219"/>
                    <a:pt x="124" y="215"/>
                  </a:cubicBezTo>
                  <a:cubicBezTo>
                    <a:pt x="117" y="211"/>
                    <a:pt x="100" y="215"/>
                    <a:pt x="100" y="215"/>
                  </a:cubicBezTo>
                  <a:cubicBezTo>
                    <a:pt x="91" y="220"/>
                    <a:pt x="95" y="210"/>
                    <a:pt x="88" y="205"/>
                  </a:cubicBezTo>
                  <a:cubicBezTo>
                    <a:pt x="85" y="197"/>
                    <a:pt x="72" y="188"/>
                    <a:pt x="65" y="184"/>
                  </a:cubicBezTo>
                  <a:cubicBezTo>
                    <a:pt x="61" y="177"/>
                    <a:pt x="52" y="177"/>
                    <a:pt x="44" y="175"/>
                  </a:cubicBezTo>
                  <a:cubicBezTo>
                    <a:pt x="39" y="171"/>
                    <a:pt x="39" y="167"/>
                    <a:pt x="32" y="166"/>
                  </a:cubicBezTo>
                  <a:cubicBezTo>
                    <a:pt x="24" y="162"/>
                    <a:pt x="14" y="162"/>
                    <a:pt x="5" y="160"/>
                  </a:cubicBezTo>
                  <a:cubicBezTo>
                    <a:pt x="3" y="151"/>
                    <a:pt x="0" y="148"/>
                    <a:pt x="10" y="143"/>
                  </a:cubicBezTo>
                  <a:cubicBezTo>
                    <a:pt x="14" y="137"/>
                    <a:pt x="19" y="134"/>
                    <a:pt x="22" y="127"/>
                  </a:cubicBezTo>
                  <a:cubicBezTo>
                    <a:pt x="23" y="120"/>
                    <a:pt x="28" y="114"/>
                    <a:pt x="31" y="107"/>
                  </a:cubicBezTo>
                  <a:cubicBezTo>
                    <a:pt x="32" y="101"/>
                    <a:pt x="32" y="97"/>
                    <a:pt x="29" y="91"/>
                  </a:cubicBezTo>
                  <a:cubicBezTo>
                    <a:pt x="28" y="82"/>
                    <a:pt x="25" y="70"/>
                    <a:pt x="28" y="61"/>
                  </a:cubicBezTo>
                  <a:cubicBezTo>
                    <a:pt x="29" y="58"/>
                    <a:pt x="35" y="52"/>
                    <a:pt x="34" y="5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73" name="Freeform 830"/>
            <p:cNvSpPr>
              <a:spLocks/>
            </p:cNvSpPr>
            <p:nvPr>
              <p:custDataLst>
                <p:tags r:id="rId136"/>
              </p:custDataLst>
            </p:nvPr>
          </p:nvSpPr>
          <p:spPr bwMode="gray">
            <a:xfrm>
              <a:off x="1740987" y="3297997"/>
              <a:ext cx="179507" cy="195375"/>
            </a:xfrm>
            <a:custGeom>
              <a:avLst/>
              <a:gdLst>
                <a:gd name="T0" fmla="*/ 0 w 185"/>
                <a:gd name="T1" fmla="*/ 25 h 203"/>
                <a:gd name="T2" fmla="*/ 26 w 185"/>
                <a:gd name="T3" fmla="*/ 21 h 203"/>
                <a:gd name="T4" fmla="*/ 41 w 185"/>
                <a:gd name="T5" fmla="*/ 18 h 203"/>
                <a:gd name="T6" fmla="*/ 46 w 185"/>
                <a:gd name="T7" fmla="*/ 13 h 203"/>
                <a:gd name="T8" fmla="*/ 60 w 185"/>
                <a:gd name="T9" fmla="*/ 3 h 203"/>
                <a:gd name="T10" fmla="*/ 71 w 185"/>
                <a:gd name="T11" fmla="*/ 33 h 203"/>
                <a:gd name="T12" fmla="*/ 86 w 185"/>
                <a:gd name="T13" fmla="*/ 52 h 203"/>
                <a:gd name="T14" fmla="*/ 105 w 185"/>
                <a:gd name="T15" fmla="*/ 61 h 203"/>
                <a:gd name="T16" fmla="*/ 123 w 185"/>
                <a:gd name="T17" fmla="*/ 61 h 203"/>
                <a:gd name="T18" fmla="*/ 138 w 185"/>
                <a:gd name="T19" fmla="*/ 69 h 203"/>
                <a:gd name="T20" fmla="*/ 143 w 185"/>
                <a:gd name="T21" fmla="*/ 99 h 203"/>
                <a:gd name="T22" fmla="*/ 161 w 185"/>
                <a:gd name="T23" fmla="*/ 102 h 203"/>
                <a:gd name="T24" fmla="*/ 170 w 185"/>
                <a:gd name="T25" fmla="*/ 106 h 203"/>
                <a:gd name="T26" fmla="*/ 183 w 185"/>
                <a:gd name="T27" fmla="*/ 133 h 203"/>
                <a:gd name="T28" fmla="*/ 174 w 185"/>
                <a:gd name="T29" fmla="*/ 160 h 203"/>
                <a:gd name="T30" fmla="*/ 119 w 185"/>
                <a:gd name="T31" fmla="*/ 163 h 203"/>
                <a:gd name="T32" fmla="*/ 101 w 185"/>
                <a:gd name="T33" fmla="*/ 198 h 203"/>
                <a:gd name="T34" fmla="*/ 79 w 185"/>
                <a:gd name="T35" fmla="*/ 196 h 203"/>
                <a:gd name="T36" fmla="*/ 58 w 185"/>
                <a:gd name="T37" fmla="*/ 195 h 203"/>
                <a:gd name="T38" fmla="*/ 44 w 185"/>
                <a:gd name="T39" fmla="*/ 196 h 203"/>
                <a:gd name="T40" fmla="*/ 21 w 185"/>
                <a:gd name="T41" fmla="*/ 186 h 203"/>
                <a:gd name="T42" fmla="*/ 17 w 185"/>
                <a:gd name="T43" fmla="*/ 172 h 203"/>
                <a:gd name="T44" fmla="*/ 15 w 185"/>
                <a:gd name="T45" fmla="*/ 137 h 203"/>
                <a:gd name="T46" fmla="*/ 9 w 185"/>
                <a:gd name="T47" fmla="*/ 117 h 203"/>
                <a:gd name="T48" fmla="*/ 12 w 185"/>
                <a:gd name="T49" fmla="*/ 91 h 203"/>
                <a:gd name="T50" fmla="*/ 15 w 185"/>
                <a:gd name="T51" fmla="*/ 66 h 203"/>
                <a:gd name="T52" fmla="*/ 15 w 185"/>
                <a:gd name="T53" fmla="*/ 45 h 203"/>
                <a:gd name="T54" fmla="*/ 8 w 185"/>
                <a:gd name="T55" fmla="*/ 3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5" h="203">
                  <a:moveTo>
                    <a:pt x="0" y="25"/>
                  </a:moveTo>
                  <a:cubicBezTo>
                    <a:pt x="11" y="24"/>
                    <a:pt x="16" y="23"/>
                    <a:pt x="26" y="21"/>
                  </a:cubicBezTo>
                  <a:cubicBezTo>
                    <a:pt x="31" y="20"/>
                    <a:pt x="41" y="18"/>
                    <a:pt x="41" y="18"/>
                  </a:cubicBezTo>
                  <a:cubicBezTo>
                    <a:pt x="44" y="17"/>
                    <a:pt x="43" y="15"/>
                    <a:pt x="46" y="13"/>
                  </a:cubicBezTo>
                  <a:cubicBezTo>
                    <a:pt x="49" y="11"/>
                    <a:pt x="56" y="0"/>
                    <a:pt x="60" y="3"/>
                  </a:cubicBezTo>
                  <a:cubicBezTo>
                    <a:pt x="64" y="6"/>
                    <a:pt x="67" y="25"/>
                    <a:pt x="71" y="33"/>
                  </a:cubicBezTo>
                  <a:cubicBezTo>
                    <a:pt x="75" y="41"/>
                    <a:pt x="80" y="47"/>
                    <a:pt x="86" y="52"/>
                  </a:cubicBezTo>
                  <a:cubicBezTo>
                    <a:pt x="95" y="57"/>
                    <a:pt x="95" y="60"/>
                    <a:pt x="105" y="61"/>
                  </a:cubicBezTo>
                  <a:cubicBezTo>
                    <a:pt x="111" y="63"/>
                    <a:pt x="118" y="60"/>
                    <a:pt x="123" y="61"/>
                  </a:cubicBezTo>
                  <a:cubicBezTo>
                    <a:pt x="128" y="62"/>
                    <a:pt x="135" y="63"/>
                    <a:pt x="138" y="69"/>
                  </a:cubicBezTo>
                  <a:cubicBezTo>
                    <a:pt x="142" y="76"/>
                    <a:pt x="136" y="96"/>
                    <a:pt x="143" y="99"/>
                  </a:cubicBezTo>
                  <a:cubicBezTo>
                    <a:pt x="149" y="101"/>
                    <a:pt x="161" y="102"/>
                    <a:pt x="161" y="102"/>
                  </a:cubicBezTo>
                  <a:cubicBezTo>
                    <a:pt x="164" y="104"/>
                    <a:pt x="168" y="104"/>
                    <a:pt x="170" y="106"/>
                  </a:cubicBezTo>
                  <a:cubicBezTo>
                    <a:pt x="174" y="111"/>
                    <a:pt x="182" y="124"/>
                    <a:pt x="183" y="133"/>
                  </a:cubicBezTo>
                  <a:cubicBezTo>
                    <a:pt x="184" y="142"/>
                    <a:pt x="185" y="155"/>
                    <a:pt x="174" y="160"/>
                  </a:cubicBezTo>
                  <a:cubicBezTo>
                    <a:pt x="158" y="159"/>
                    <a:pt x="132" y="153"/>
                    <a:pt x="119" y="163"/>
                  </a:cubicBezTo>
                  <a:cubicBezTo>
                    <a:pt x="114" y="176"/>
                    <a:pt x="114" y="192"/>
                    <a:pt x="101" y="198"/>
                  </a:cubicBezTo>
                  <a:cubicBezTo>
                    <a:pt x="94" y="203"/>
                    <a:pt x="88" y="196"/>
                    <a:pt x="79" y="196"/>
                  </a:cubicBezTo>
                  <a:cubicBezTo>
                    <a:pt x="72" y="196"/>
                    <a:pt x="64" y="195"/>
                    <a:pt x="58" y="195"/>
                  </a:cubicBezTo>
                  <a:cubicBezTo>
                    <a:pt x="52" y="195"/>
                    <a:pt x="50" y="197"/>
                    <a:pt x="44" y="196"/>
                  </a:cubicBezTo>
                  <a:cubicBezTo>
                    <a:pt x="34" y="194"/>
                    <a:pt x="26" y="190"/>
                    <a:pt x="21" y="186"/>
                  </a:cubicBezTo>
                  <a:cubicBezTo>
                    <a:pt x="20" y="181"/>
                    <a:pt x="18" y="177"/>
                    <a:pt x="17" y="172"/>
                  </a:cubicBezTo>
                  <a:cubicBezTo>
                    <a:pt x="16" y="164"/>
                    <a:pt x="16" y="146"/>
                    <a:pt x="15" y="137"/>
                  </a:cubicBezTo>
                  <a:cubicBezTo>
                    <a:pt x="14" y="128"/>
                    <a:pt x="9" y="125"/>
                    <a:pt x="9" y="117"/>
                  </a:cubicBezTo>
                  <a:cubicBezTo>
                    <a:pt x="8" y="105"/>
                    <a:pt x="11" y="99"/>
                    <a:pt x="12" y="91"/>
                  </a:cubicBezTo>
                  <a:cubicBezTo>
                    <a:pt x="13" y="83"/>
                    <a:pt x="15" y="74"/>
                    <a:pt x="15" y="66"/>
                  </a:cubicBezTo>
                  <a:cubicBezTo>
                    <a:pt x="15" y="54"/>
                    <a:pt x="16" y="51"/>
                    <a:pt x="15" y="45"/>
                  </a:cubicBezTo>
                  <a:cubicBezTo>
                    <a:pt x="14" y="39"/>
                    <a:pt x="9" y="34"/>
                    <a:pt x="8" y="31"/>
                  </a:cubicBez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74" name="Freeform 831"/>
            <p:cNvSpPr>
              <a:spLocks/>
            </p:cNvSpPr>
            <p:nvPr>
              <p:custDataLst>
                <p:tags r:id="rId137"/>
              </p:custDataLst>
            </p:nvPr>
          </p:nvSpPr>
          <p:spPr bwMode="gray">
            <a:xfrm>
              <a:off x="1686441" y="3097664"/>
              <a:ext cx="566290" cy="584142"/>
            </a:xfrm>
            <a:custGeom>
              <a:avLst/>
              <a:gdLst>
                <a:gd name="T0" fmla="*/ 313 w 584"/>
                <a:gd name="T1" fmla="*/ 582 h 604"/>
                <a:gd name="T2" fmla="*/ 346 w 584"/>
                <a:gd name="T3" fmla="*/ 550 h 604"/>
                <a:gd name="T4" fmla="*/ 376 w 584"/>
                <a:gd name="T5" fmla="*/ 502 h 604"/>
                <a:gd name="T6" fmla="*/ 400 w 584"/>
                <a:gd name="T7" fmla="*/ 442 h 604"/>
                <a:gd name="T8" fmla="*/ 445 w 584"/>
                <a:gd name="T9" fmla="*/ 418 h 604"/>
                <a:gd name="T10" fmla="*/ 487 w 584"/>
                <a:gd name="T11" fmla="*/ 399 h 604"/>
                <a:gd name="T12" fmla="*/ 508 w 584"/>
                <a:gd name="T13" fmla="*/ 345 h 604"/>
                <a:gd name="T14" fmla="*/ 518 w 584"/>
                <a:gd name="T15" fmla="*/ 315 h 604"/>
                <a:gd name="T16" fmla="*/ 550 w 584"/>
                <a:gd name="T17" fmla="*/ 235 h 604"/>
                <a:gd name="T18" fmla="*/ 575 w 584"/>
                <a:gd name="T19" fmla="*/ 189 h 604"/>
                <a:gd name="T20" fmla="*/ 515 w 584"/>
                <a:gd name="T21" fmla="*/ 123 h 604"/>
                <a:gd name="T22" fmla="*/ 446 w 584"/>
                <a:gd name="T23" fmla="*/ 105 h 604"/>
                <a:gd name="T24" fmla="*/ 371 w 584"/>
                <a:gd name="T25" fmla="*/ 75 h 604"/>
                <a:gd name="T26" fmla="*/ 346 w 584"/>
                <a:gd name="T27" fmla="*/ 45 h 604"/>
                <a:gd name="T28" fmla="*/ 331 w 584"/>
                <a:gd name="T29" fmla="*/ 10 h 604"/>
                <a:gd name="T30" fmla="*/ 305 w 584"/>
                <a:gd name="T31" fmla="*/ 27 h 604"/>
                <a:gd name="T32" fmla="*/ 274 w 584"/>
                <a:gd name="T33" fmla="*/ 28 h 604"/>
                <a:gd name="T34" fmla="*/ 238 w 584"/>
                <a:gd name="T35" fmla="*/ 43 h 604"/>
                <a:gd name="T36" fmla="*/ 208 w 584"/>
                <a:gd name="T37" fmla="*/ 33 h 604"/>
                <a:gd name="T38" fmla="*/ 191 w 584"/>
                <a:gd name="T39" fmla="*/ 0 h 604"/>
                <a:gd name="T40" fmla="*/ 143 w 584"/>
                <a:gd name="T41" fmla="*/ 12 h 604"/>
                <a:gd name="T42" fmla="*/ 140 w 584"/>
                <a:gd name="T43" fmla="*/ 45 h 604"/>
                <a:gd name="T44" fmla="*/ 113 w 584"/>
                <a:gd name="T45" fmla="*/ 55 h 604"/>
                <a:gd name="T46" fmla="*/ 59 w 584"/>
                <a:gd name="T47" fmla="*/ 54 h 604"/>
                <a:gd name="T48" fmla="*/ 56 w 584"/>
                <a:gd name="T49" fmla="*/ 121 h 604"/>
                <a:gd name="T50" fmla="*/ 17 w 584"/>
                <a:gd name="T51" fmla="*/ 141 h 604"/>
                <a:gd name="T52" fmla="*/ 4 w 584"/>
                <a:gd name="T53" fmla="*/ 177 h 604"/>
                <a:gd name="T54" fmla="*/ 31 w 584"/>
                <a:gd name="T55" fmla="*/ 216 h 604"/>
                <a:gd name="T56" fmla="*/ 91 w 584"/>
                <a:gd name="T57" fmla="*/ 229 h 604"/>
                <a:gd name="T58" fmla="*/ 121 w 584"/>
                <a:gd name="T59" fmla="*/ 216 h 604"/>
                <a:gd name="T60" fmla="*/ 157 w 584"/>
                <a:gd name="T61" fmla="*/ 267 h 604"/>
                <a:gd name="T62" fmla="*/ 184 w 584"/>
                <a:gd name="T63" fmla="*/ 268 h 604"/>
                <a:gd name="T64" fmla="*/ 221 w 584"/>
                <a:gd name="T65" fmla="*/ 312 h 604"/>
                <a:gd name="T66" fmla="*/ 235 w 584"/>
                <a:gd name="T67" fmla="*/ 330 h 604"/>
                <a:gd name="T68" fmla="*/ 232 w 584"/>
                <a:gd name="T69" fmla="*/ 369 h 604"/>
                <a:gd name="T70" fmla="*/ 275 w 584"/>
                <a:gd name="T71" fmla="*/ 412 h 604"/>
                <a:gd name="T72" fmla="*/ 281 w 584"/>
                <a:gd name="T73" fmla="*/ 430 h 604"/>
                <a:gd name="T74" fmla="*/ 298 w 584"/>
                <a:gd name="T75" fmla="*/ 450 h 604"/>
                <a:gd name="T76" fmla="*/ 256 w 584"/>
                <a:gd name="T77" fmla="*/ 517 h 604"/>
                <a:gd name="T78" fmla="*/ 289 w 584"/>
                <a:gd name="T79" fmla="*/ 56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4" h="604">
                  <a:moveTo>
                    <a:pt x="305" y="604"/>
                  </a:moveTo>
                  <a:cubicBezTo>
                    <a:pt x="310" y="598"/>
                    <a:pt x="310" y="589"/>
                    <a:pt x="313" y="582"/>
                  </a:cubicBezTo>
                  <a:cubicBezTo>
                    <a:pt x="315" y="571"/>
                    <a:pt x="324" y="571"/>
                    <a:pt x="334" y="570"/>
                  </a:cubicBezTo>
                  <a:cubicBezTo>
                    <a:pt x="341" y="565"/>
                    <a:pt x="341" y="557"/>
                    <a:pt x="346" y="550"/>
                  </a:cubicBezTo>
                  <a:cubicBezTo>
                    <a:pt x="346" y="543"/>
                    <a:pt x="349" y="541"/>
                    <a:pt x="350" y="534"/>
                  </a:cubicBezTo>
                  <a:cubicBezTo>
                    <a:pt x="352" y="519"/>
                    <a:pt x="371" y="515"/>
                    <a:pt x="376" y="502"/>
                  </a:cubicBezTo>
                  <a:cubicBezTo>
                    <a:pt x="374" y="482"/>
                    <a:pt x="372" y="466"/>
                    <a:pt x="388" y="453"/>
                  </a:cubicBezTo>
                  <a:cubicBezTo>
                    <a:pt x="391" y="447"/>
                    <a:pt x="394" y="445"/>
                    <a:pt x="400" y="442"/>
                  </a:cubicBezTo>
                  <a:cubicBezTo>
                    <a:pt x="405" y="437"/>
                    <a:pt x="415" y="433"/>
                    <a:pt x="422" y="429"/>
                  </a:cubicBezTo>
                  <a:cubicBezTo>
                    <a:pt x="429" y="425"/>
                    <a:pt x="437" y="419"/>
                    <a:pt x="445" y="418"/>
                  </a:cubicBezTo>
                  <a:cubicBezTo>
                    <a:pt x="453" y="417"/>
                    <a:pt x="462" y="428"/>
                    <a:pt x="469" y="424"/>
                  </a:cubicBezTo>
                  <a:cubicBezTo>
                    <a:pt x="471" y="413"/>
                    <a:pt x="478" y="405"/>
                    <a:pt x="487" y="399"/>
                  </a:cubicBezTo>
                  <a:cubicBezTo>
                    <a:pt x="490" y="394"/>
                    <a:pt x="493" y="391"/>
                    <a:pt x="494" y="385"/>
                  </a:cubicBezTo>
                  <a:cubicBezTo>
                    <a:pt x="496" y="368"/>
                    <a:pt x="494" y="355"/>
                    <a:pt x="508" y="345"/>
                  </a:cubicBezTo>
                  <a:cubicBezTo>
                    <a:pt x="510" y="336"/>
                    <a:pt x="516" y="332"/>
                    <a:pt x="523" y="328"/>
                  </a:cubicBezTo>
                  <a:cubicBezTo>
                    <a:pt x="528" y="321"/>
                    <a:pt x="522" y="321"/>
                    <a:pt x="518" y="315"/>
                  </a:cubicBezTo>
                  <a:cubicBezTo>
                    <a:pt x="515" y="298"/>
                    <a:pt x="507" y="272"/>
                    <a:pt x="523" y="262"/>
                  </a:cubicBezTo>
                  <a:cubicBezTo>
                    <a:pt x="532" y="249"/>
                    <a:pt x="535" y="244"/>
                    <a:pt x="550" y="235"/>
                  </a:cubicBezTo>
                  <a:cubicBezTo>
                    <a:pt x="553" y="231"/>
                    <a:pt x="556" y="226"/>
                    <a:pt x="559" y="222"/>
                  </a:cubicBezTo>
                  <a:cubicBezTo>
                    <a:pt x="560" y="214"/>
                    <a:pt x="565" y="191"/>
                    <a:pt x="575" y="189"/>
                  </a:cubicBezTo>
                  <a:cubicBezTo>
                    <a:pt x="584" y="174"/>
                    <a:pt x="576" y="151"/>
                    <a:pt x="556" y="145"/>
                  </a:cubicBezTo>
                  <a:cubicBezTo>
                    <a:pt x="542" y="137"/>
                    <a:pt x="531" y="126"/>
                    <a:pt x="515" y="123"/>
                  </a:cubicBezTo>
                  <a:cubicBezTo>
                    <a:pt x="492" y="111"/>
                    <a:pt x="498" y="112"/>
                    <a:pt x="460" y="111"/>
                  </a:cubicBezTo>
                  <a:cubicBezTo>
                    <a:pt x="455" y="109"/>
                    <a:pt x="452" y="106"/>
                    <a:pt x="446" y="105"/>
                  </a:cubicBezTo>
                  <a:cubicBezTo>
                    <a:pt x="440" y="102"/>
                    <a:pt x="435" y="97"/>
                    <a:pt x="428" y="96"/>
                  </a:cubicBezTo>
                  <a:cubicBezTo>
                    <a:pt x="413" y="77"/>
                    <a:pt x="397" y="76"/>
                    <a:pt x="371" y="75"/>
                  </a:cubicBezTo>
                  <a:cubicBezTo>
                    <a:pt x="363" y="69"/>
                    <a:pt x="358" y="67"/>
                    <a:pt x="353" y="57"/>
                  </a:cubicBezTo>
                  <a:cubicBezTo>
                    <a:pt x="352" y="51"/>
                    <a:pt x="351" y="49"/>
                    <a:pt x="346" y="45"/>
                  </a:cubicBezTo>
                  <a:cubicBezTo>
                    <a:pt x="343" y="37"/>
                    <a:pt x="336" y="32"/>
                    <a:pt x="332" y="24"/>
                  </a:cubicBezTo>
                  <a:cubicBezTo>
                    <a:pt x="332" y="19"/>
                    <a:pt x="333" y="14"/>
                    <a:pt x="331" y="10"/>
                  </a:cubicBezTo>
                  <a:cubicBezTo>
                    <a:pt x="331" y="9"/>
                    <a:pt x="326" y="19"/>
                    <a:pt x="326" y="19"/>
                  </a:cubicBezTo>
                  <a:cubicBezTo>
                    <a:pt x="323" y="25"/>
                    <a:pt x="311" y="24"/>
                    <a:pt x="305" y="27"/>
                  </a:cubicBezTo>
                  <a:cubicBezTo>
                    <a:pt x="299" y="29"/>
                    <a:pt x="294" y="27"/>
                    <a:pt x="289" y="27"/>
                  </a:cubicBezTo>
                  <a:cubicBezTo>
                    <a:pt x="284" y="27"/>
                    <a:pt x="281" y="27"/>
                    <a:pt x="274" y="28"/>
                  </a:cubicBezTo>
                  <a:cubicBezTo>
                    <a:pt x="267" y="29"/>
                    <a:pt x="254" y="34"/>
                    <a:pt x="248" y="36"/>
                  </a:cubicBezTo>
                  <a:cubicBezTo>
                    <a:pt x="243" y="40"/>
                    <a:pt x="244" y="42"/>
                    <a:pt x="238" y="43"/>
                  </a:cubicBezTo>
                  <a:cubicBezTo>
                    <a:pt x="233" y="45"/>
                    <a:pt x="225" y="49"/>
                    <a:pt x="220" y="51"/>
                  </a:cubicBezTo>
                  <a:cubicBezTo>
                    <a:pt x="214" y="45"/>
                    <a:pt x="215" y="38"/>
                    <a:pt x="208" y="33"/>
                  </a:cubicBezTo>
                  <a:cubicBezTo>
                    <a:pt x="205" y="26"/>
                    <a:pt x="208" y="17"/>
                    <a:pt x="205" y="12"/>
                  </a:cubicBezTo>
                  <a:cubicBezTo>
                    <a:pt x="202" y="7"/>
                    <a:pt x="196" y="1"/>
                    <a:pt x="191" y="0"/>
                  </a:cubicBezTo>
                  <a:cubicBezTo>
                    <a:pt x="184" y="1"/>
                    <a:pt x="182" y="4"/>
                    <a:pt x="176" y="7"/>
                  </a:cubicBezTo>
                  <a:cubicBezTo>
                    <a:pt x="166" y="11"/>
                    <a:pt x="152" y="11"/>
                    <a:pt x="143" y="12"/>
                  </a:cubicBezTo>
                  <a:cubicBezTo>
                    <a:pt x="137" y="15"/>
                    <a:pt x="143" y="25"/>
                    <a:pt x="143" y="30"/>
                  </a:cubicBezTo>
                  <a:cubicBezTo>
                    <a:pt x="143" y="35"/>
                    <a:pt x="142" y="41"/>
                    <a:pt x="140" y="45"/>
                  </a:cubicBezTo>
                  <a:cubicBezTo>
                    <a:pt x="138" y="49"/>
                    <a:pt x="132" y="50"/>
                    <a:pt x="128" y="52"/>
                  </a:cubicBezTo>
                  <a:cubicBezTo>
                    <a:pt x="122" y="57"/>
                    <a:pt x="120" y="57"/>
                    <a:pt x="113" y="55"/>
                  </a:cubicBezTo>
                  <a:cubicBezTo>
                    <a:pt x="108" y="51"/>
                    <a:pt x="103" y="49"/>
                    <a:pt x="98" y="46"/>
                  </a:cubicBezTo>
                  <a:cubicBezTo>
                    <a:pt x="66" y="48"/>
                    <a:pt x="75" y="44"/>
                    <a:pt x="59" y="54"/>
                  </a:cubicBezTo>
                  <a:cubicBezTo>
                    <a:pt x="53" y="61"/>
                    <a:pt x="59" y="77"/>
                    <a:pt x="59" y="88"/>
                  </a:cubicBezTo>
                  <a:cubicBezTo>
                    <a:pt x="59" y="99"/>
                    <a:pt x="60" y="114"/>
                    <a:pt x="56" y="121"/>
                  </a:cubicBezTo>
                  <a:cubicBezTo>
                    <a:pt x="53" y="136"/>
                    <a:pt x="40" y="129"/>
                    <a:pt x="35" y="133"/>
                  </a:cubicBezTo>
                  <a:cubicBezTo>
                    <a:pt x="29" y="136"/>
                    <a:pt x="21" y="137"/>
                    <a:pt x="17" y="141"/>
                  </a:cubicBezTo>
                  <a:cubicBezTo>
                    <a:pt x="13" y="146"/>
                    <a:pt x="11" y="150"/>
                    <a:pt x="10" y="156"/>
                  </a:cubicBezTo>
                  <a:cubicBezTo>
                    <a:pt x="8" y="162"/>
                    <a:pt x="5" y="170"/>
                    <a:pt x="4" y="177"/>
                  </a:cubicBezTo>
                  <a:cubicBezTo>
                    <a:pt x="3" y="183"/>
                    <a:pt x="0" y="193"/>
                    <a:pt x="5" y="199"/>
                  </a:cubicBezTo>
                  <a:cubicBezTo>
                    <a:pt x="9" y="205"/>
                    <a:pt x="23" y="211"/>
                    <a:pt x="31" y="216"/>
                  </a:cubicBezTo>
                  <a:cubicBezTo>
                    <a:pt x="38" y="221"/>
                    <a:pt x="44" y="229"/>
                    <a:pt x="53" y="231"/>
                  </a:cubicBezTo>
                  <a:cubicBezTo>
                    <a:pt x="64" y="230"/>
                    <a:pt x="81" y="231"/>
                    <a:pt x="91" y="229"/>
                  </a:cubicBezTo>
                  <a:cubicBezTo>
                    <a:pt x="100" y="224"/>
                    <a:pt x="99" y="214"/>
                    <a:pt x="109" y="213"/>
                  </a:cubicBezTo>
                  <a:cubicBezTo>
                    <a:pt x="111" y="213"/>
                    <a:pt x="119" y="212"/>
                    <a:pt x="121" y="216"/>
                  </a:cubicBezTo>
                  <a:cubicBezTo>
                    <a:pt x="127" y="226"/>
                    <a:pt x="125" y="245"/>
                    <a:pt x="136" y="252"/>
                  </a:cubicBezTo>
                  <a:cubicBezTo>
                    <a:pt x="141" y="260"/>
                    <a:pt x="151" y="264"/>
                    <a:pt x="157" y="267"/>
                  </a:cubicBezTo>
                  <a:cubicBezTo>
                    <a:pt x="163" y="270"/>
                    <a:pt x="168" y="268"/>
                    <a:pt x="172" y="268"/>
                  </a:cubicBezTo>
                  <a:cubicBezTo>
                    <a:pt x="176" y="270"/>
                    <a:pt x="180" y="266"/>
                    <a:pt x="184" y="268"/>
                  </a:cubicBezTo>
                  <a:cubicBezTo>
                    <a:pt x="188" y="270"/>
                    <a:pt x="193" y="277"/>
                    <a:pt x="193" y="277"/>
                  </a:cubicBezTo>
                  <a:cubicBezTo>
                    <a:pt x="195" y="313"/>
                    <a:pt x="189" y="309"/>
                    <a:pt x="221" y="312"/>
                  </a:cubicBezTo>
                  <a:cubicBezTo>
                    <a:pt x="228" y="320"/>
                    <a:pt x="230" y="321"/>
                    <a:pt x="232" y="324"/>
                  </a:cubicBezTo>
                  <a:cubicBezTo>
                    <a:pt x="234" y="327"/>
                    <a:pt x="234" y="324"/>
                    <a:pt x="235" y="330"/>
                  </a:cubicBezTo>
                  <a:cubicBezTo>
                    <a:pt x="238" y="337"/>
                    <a:pt x="236" y="352"/>
                    <a:pt x="236" y="358"/>
                  </a:cubicBezTo>
                  <a:cubicBezTo>
                    <a:pt x="236" y="364"/>
                    <a:pt x="231" y="361"/>
                    <a:pt x="232" y="369"/>
                  </a:cubicBezTo>
                  <a:cubicBezTo>
                    <a:pt x="234" y="400"/>
                    <a:pt x="224" y="406"/>
                    <a:pt x="245" y="409"/>
                  </a:cubicBezTo>
                  <a:cubicBezTo>
                    <a:pt x="254" y="413"/>
                    <a:pt x="266" y="407"/>
                    <a:pt x="275" y="412"/>
                  </a:cubicBezTo>
                  <a:cubicBezTo>
                    <a:pt x="279" y="415"/>
                    <a:pt x="275" y="422"/>
                    <a:pt x="277" y="427"/>
                  </a:cubicBezTo>
                  <a:cubicBezTo>
                    <a:pt x="278" y="429"/>
                    <a:pt x="279" y="429"/>
                    <a:pt x="281" y="430"/>
                  </a:cubicBezTo>
                  <a:cubicBezTo>
                    <a:pt x="284" y="431"/>
                    <a:pt x="286" y="431"/>
                    <a:pt x="289" y="432"/>
                  </a:cubicBezTo>
                  <a:cubicBezTo>
                    <a:pt x="290" y="435"/>
                    <a:pt x="298" y="442"/>
                    <a:pt x="298" y="450"/>
                  </a:cubicBezTo>
                  <a:cubicBezTo>
                    <a:pt x="298" y="458"/>
                    <a:pt x="294" y="467"/>
                    <a:pt x="287" y="478"/>
                  </a:cubicBezTo>
                  <a:cubicBezTo>
                    <a:pt x="281" y="486"/>
                    <a:pt x="264" y="506"/>
                    <a:pt x="256" y="517"/>
                  </a:cubicBezTo>
                  <a:cubicBezTo>
                    <a:pt x="255" y="523"/>
                    <a:pt x="250" y="526"/>
                    <a:pt x="253" y="532"/>
                  </a:cubicBezTo>
                  <a:cubicBezTo>
                    <a:pt x="254" y="535"/>
                    <a:pt x="284" y="561"/>
                    <a:pt x="289" y="564"/>
                  </a:cubicBezTo>
                  <a:cubicBezTo>
                    <a:pt x="293" y="569"/>
                    <a:pt x="298" y="572"/>
                    <a:pt x="302" y="577"/>
                  </a:cubicBez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75" name="Freeform 832"/>
            <p:cNvSpPr>
              <a:spLocks/>
            </p:cNvSpPr>
            <p:nvPr>
              <p:custDataLst>
                <p:tags r:id="rId138"/>
              </p:custDataLst>
            </p:nvPr>
          </p:nvSpPr>
          <p:spPr bwMode="gray">
            <a:xfrm>
              <a:off x="1573381" y="3160144"/>
              <a:ext cx="183474" cy="270748"/>
            </a:xfrm>
            <a:custGeom>
              <a:avLst/>
              <a:gdLst>
                <a:gd name="T0" fmla="*/ 20 w 189"/>
                <a:gd name="T1" fmla="*/ 66 h 280"/>
                <a:gd name="T2" fmla="*/ 17 w 189"/>
                <a:gd name="T3" fmla="*/ 98 h 280"/>
                <a:gd name="T4" fmla="*/ 31 w 189"/>
                <a:gd name="T5" fmla="*/ 113 h 280"/>
                <a:gd name="T6" fmla="*/ 40 w 189"/>
                <a:gd name="T7" fmla="*/ 126 h 280"/>
                <a:gd name="T8" fmla="*/ 52 w 189"/>
                <a:gd name="T9" fmla="*/ 156 h 280"/>
                <a:gd name="T10" fmla="*/ 58 w 189"/>
                <a:gd name="T11" fmla="*/ 177 h 280"/>
                <a:gd name="T12" fmla="*/ 79 w 189"/>
                <a:gd name="T13" fmla="*/ 195 h 280"/>
                <a:gd name="T14" fmla="*/ 85 w 189"/>
                <a:gd name="T15" fmla="*/ 213 h 280"/>
                <a:gd name="T16" fmla="*/ 109 w 189"/>
                <a:gd name="T17" fmla="*/ 240 h 280"/>
                <a:gd name="T18" fmla="*/ 124 w 189"/>
                <a:gd name="T19" fmla="*/ 246 h 280"/>
                <a:gd name="T20" fmla="*/ 148 w 189"/>
                <a:gd name="T21" fmla="*/ 258 h 280"/>
                <a:gd name="T22" fmla="*/ 163 w 189"/>
                <a:gd name="T23" fmla="*/ 270 h 280"/>
                <a:gd name="T24" fmla="*/ 182 w 189"/>
                <a:gd name="T25" fmla="*/ 255 h 280"/>
                <a:gd name="T26" fmla="*/ 187 w 189"/>
                <a:gd name="T27" fmla="*/ 185 h 280"/>
                <a:gd name="T28" fmla="*/ 167 w 189"/>
                <a:gd name="T29" fmla="*/ 168 h 280"/>
                <a:gd name="T30" fmla="*/ 142 w 189"/>
                <a:gd name="T31" fmla="*/ 150 h 280"/>
                <a:gd name="T32" fmla="*/ 130 w 189"/>
                <a:gd name="T33" fmla="*/ 143 h 280"/>
                <a:gd name="T34" fmla="*/ 119 w 189"/>
                <a:gd name="T35" fmla="*/ 129 h 280"/>
                <a:gd name="T36" fmla="*/ 127 w 189"/>
                <a:gd name="T37" fmla="*/ 96 h 280"/>
                <a:gd name="T38" fmla="*/ 142 w 189"/>
                <a:gd name="T39" fmla="*/ 74 h 280"/>
                <a:gd name="T40" fmla="*/ 163 w 189"/>
                <a:gd name="T41" fmla="*/ 68 h 280"/>
                <a:gd name="T42" fmla="*/ 175 w 189"/>
                <a:gd name="T43" fmla="*/ 53 h 280"/>
                <a:gd name="T44" fmla="*/ 136 w 189"/>
                <a:gd name="T45" fmla="*/ 42 h 280"/>
                <a:gd name="T46" fmla="*/ 104 w 189"/>
                <a:gd name="T47" fmla="*/ 12 h 280"/>
                <a:gd name="T48" fmla="*/ 82 w 189"/>
                <a:gd name="T49" fmla="*/ 0 h 280"/>
                <a:gd name="T50" fmla="*/ 94 w 189"/>
                <a:gd name="T51" fmla="*/ 21 h 280"/>
                <a:gd name="T52" fmla="*/ 80 w 189"/>
                <a:gd name="T53" fmla="*/ 39 h 280"/>
                <a:gd name="T54" fmla="*/ 62 w 189"/>
                <a:gd name="T55" fmla="*/ 44 h 280"/>
                <a:gd name="T56" fmla="*/ 50 w 189"/>
                <a:gd name="T57" fmla="*/ 54 h 280"/>
                <a:gd name="T58" fmla="*/ 38 w 189"/>
                <a:gd name="T59" fmla="*/ 78 h 280"/>
                <a:gd name="T60" fmla="*/ 14 w 189"/>
                <a:gd name="T61" fmla="*/ 66 h 280"/>
                <a:gd name="T62" fmla="*/ 20 w 189"/>
                <a:gd name="T63" fmla="*/ 6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9" h="280">
                  <a:moveTo>
                    <a:pt x="20" y="66"/>
                  </a:moveTo>
                  <a:cubicBezTo>
                    <a:pt x="0" y="56"/>
                    <a:pt x="6" y="92"/>
                    <a:pt x="17" y="98"/>
                  </a:cubicBezTo>
                  <a:cubicBezTo>
                    <a:pt x="21" y="103"/>
                    <a:pt x="26" y="110"/>
                    <a:pt x="31" y="113"/>
                  </a:cubicBezTo>
                  <a:cubicBezTo>
                    <a:pt x="39" y="123"/>
                    <a:pt x="36" y="119"/>
                    <a:pt x="40" y="126"/>
                  </a:cubicBezTo>
                  <a:cubicBezTo>
                    <a:pt x="42" y="138"/>
                    <a:pt x="43" y="147"/>
                    <a:pt x="52" y="156"/>
                  </a:cubicBezTo>
                  <a:cubicBezTo>
                    <a:pt x="53" y="166"/>
                    <a:pt x="52" y="170"/>
                    <a:pt x="58" y="177"/>
                  </a:cubicBezTo>
                  <a:cubicBezTo>
                    <a:pt x="60" y="190"/>
                    <a:pt x="66" y="193"/>
                    <a:pt x="79" y="195"/>
                  </a:cubicBezTo>
                  <a:cubicBezTo>
                    <a:pt x="80" y="201"/>
                    <a:pt x="82" y="207"/>
                    <a:pt x="85" y="213"/>
                  </a:cubicBezTo>
                  <a:cubicBezTo>
                    <a:pt x="87" y="227"/>
                    <a:pt x="95" y="237"/>
                    <a:pt x="109" y="240"/>
                  </a:cubicBezTo>
                  <a:cubicBezTo>
                    <a:pt x="114" y="244"/>
                    <a:pt x="118" y="245"/>
                    <a:pt x="124" y="246"/>
                  </a:cubicBezTo>
                  <a:cubicBezTo>
                    <a:pt x="130" y="251"/>
                    <a:pt x="140" y="256"/>
                    <a:pt x="148" y="258"/>
                  </a:cubicBezTo>
                  <a:cubicBezTo>
                    <a:pt x="155" y="263"/>
                    <a:pt x="154" y="268"/>
                    <a:pt x="163" y="270"/>
                  </a:cubicBezTo>
                  <a:cubicBezTo>
                    <a:pt x="176" y="280"/>
                    <a:pt x="180" y="265"/>
                    <a:pt x="182" y="255"/>
                  </a:cubicBezTo>
                  <a:cubicBezTo>
                    <a:pt x="186" y="241"/>
                    <a:pt x="189" y="199"/>
                    <a:pt x="187" y="185"/>
                  </a:cubicBezTo>
                  <a:cubicBezTo>
                    <a:pt x="185" y="171"/>
                    <a:pt x="174" y="174"/>
                    <a:pt x="167" y="168"/>
                  </a:cubicBezTo>
                  <a:cubicBezTo>
                    <a:pt x="160" y="151"/>
                    <a:pt x="150" y="157"/>
                    <a:pt x="142" y="150"/>
                  </a:cubicBezTo>
                  <a:cubicBezTo>
                    <a:pt x="136" y="145"/>
                    <a:pt x="134" y="146"/>
                    <a:pt x="130" y="143"/>
                  </a:cubicBezTo>
                  <a:cubicBezTo>
                    <a:pt x="126" y="140"/>
                    <a:pt x="119" y="137"/>
                    <a:pt x="119" y="129"/>
                  </a:cubicBezTo>
                  <a:cubicBezTo>
                    <a:pt x="117" y="115"/>
                    <a:pt x="120" y="108"/>
                    <a:pt x="127" y="96"/>
                  </a:cubicBezTo>
                  <a:cubicBezTo>
                    <a:pt x="128" y="83"/>
                    <a:pt x="128" y="76"/>
                    <a:pt x="142" y="74"/>
                  </a:cubicBezTo>
                  <a:cubicBezTo>
                    <a:pt x="149" y="72"/>
                    <a:pt x="156" y="69"/>
                    <a:pt x="163" y="68"/>
                  </a:cubicBezTo>
                  <a:cubicBezTo>
                    <a:pt x="169" y="65"/>
                    <a:pt x="172" y="59"/>
                    <a:pt x="175" y="53"/>
                  </a:cubicBezTo>
                  <a:cubicBezTo>
                    <a:pt x="169" y="38"/>
                    <a:pt x="149" y="43"/>
                    <a:pt x="136" y="42"/>
                  </a:cubicBezTo>
                  <a:cubicBezTo>
                    <a:pt x="124" y="35"/>
                    <a:pt x="117" y="20"/>
                    <a:pt x="104" y="12"/>
                  </a:cubicBezTo>
                  <a:cubicBezTo>
                    <a:pt x="100" y="7"/>
                    <a:pt x="87" y="4"/>
                    <a:pt x="82" y="0"/>
                  </a:cubicBezTo>
                  <a:cubicBezTo>
                    <a:pt x="79" y="2"/>
                    <a:pt x="94" y="15"/>
                    <a:pt x="94" y="21"/>
                  </a:cubicBezTo>
                  <a:cubicBezTo>
                    <a:pt x="94" y="27"/>
                    <a:pt x="85" y="35"/>
                    <a:pt x="80" y="39"/>
                  </a:cubicBezTo>
                  <a:cubicBezTo>
                    <a:pt x="74" y="42"/>
                    <a:pt x="68" y="42"/>
                    <a:pt x="62" y="44"/>
                  </a:cubicBezTo>
                  <a:cubicBezTo>
                    <a:pt x="57" y="47"/>
                    <a:pt x="55" y="51"/>
                    <a:pt x="50" y="54"/>
                  </a:cubicBezTo>
                  <a:cubicBezTo>
                    <a:pt x="48" y="62"/>
                    <a:pt x="45" y="77"/>
                    <a:pt x="38" y="78"/>
                  </a:cubicBezTo>
                  <a:cubicBezTo>
                    <a:pt x="35" y="77"/>
                    <a:pt x="14" y="67"/>
                    <a:pt x="14" y="66"/>
                  </a:cubicBezTo>
                  <a:cubicBezTo>
                    <a:pt x="15" y="64"/>
                    <a:pt x="18" y="66"/>
                    <a:pt x="20" y="66"/>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76" name="Freeform 833"/>
            <p:cNvSpPr>
              <a:spLocks/>
            </p:cNvSpPr>
            <p:nvPr>
              <p:custDataLst>
                <p:tags r:id="rId139"/>
              </p:custDataLst>
            </p:nvPr>
          </p:nvSpPr>
          <p:spPr bwMode="gray">
            <a:xfrm>
              <a:off x="1580323" y="3148243"/>
              <a:ext cx="81324" cy="90250"/>
            </a:xfrm>
            <a:custGeom>
              <a:avLst/>
              <a:gdLst>
                <a:gd name="T0" fmla="*/ 30 w 84"/>
                <a:gd name="T1" fmla="*/ 0 h 94"/>
                <a:gd name="T2" fmla="*/ 12 w 84"/>
                <a:gd name="T3" fmla="*/ 18 h 94"/>
                <a:gd name="T4" fmla="*/ 4 w 84"/>
                <a:gd name="T5" fmla="*/ 38 h 94"/>
                <a:gd name="T6" fmla="*/ 19 w 84"/>
                <a:gd name="T7" fmla="*/ 51 h 94"/>
                <a:gd name="T8" fmla="*/ 16 w 84"/>
                <a:gd name="T9" fmla="*/ 74 h 94"/>
                <a:gd name="T10" fmla="*/ 19 w 84"/>
                <a:gd name="T11" fmla="*/ 84 h 94"/>
                <a:gd name="T12" fmla="*/ 36 w 84"/>
                <a:gd name="T13" fmla="*/ 87 h 94"/>
                <a:gd name="T14" fmla="*/ 42 w 84"/>
                <a:gd name="T15" fmla="*/ 72 h 94"/>
                <a:gd name="T16" fmla="*/ 72 w 84"/>
                <a:gd name="T17" fmla="*/ 50 h 94"/>
                <a:gd name="T18" fmla="*/ 84 w 84"/>
                <a:gd name="T19" fmla="*/ 35 h 94"/>
                <a:gd name="T20" fmla="*/ 51 w 84"/>
                <a:gd name="T21" fmla="*/ 0 h 94"/>
                <a:gd name="T22" fmla="*/ 30 w 84"/>
                <a:gd name="T2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94">
                  <a:moveTo>
                    <a:pt x="30" y="0"/>
                  </a:moveTo>
                  <a:cubicBezTo>
                    <a:pt x="20" y="4"/>
                    <a:pt x="20" y="12"/>
                    <a:pt x="12" y="18"/>
                  </a:cubicBezTo>
                  <a:cubicBezTo>
                    <a:pt x="9" y="25"/>
                    <a:pt x="7" y="31"/>
                    <a:pt x="4" y="38"/>
                  </a:cubicBezTo>
                  <a:cubicBezTo>
                    <a:pt x="0" y="61"/>
                    <a:pt x="4" y="62"/>
                    <a:pt x="19" y="51"/>
                  </a:cubicBezTo>
                  <a:cubicBezTo>
                    <a:pt x="22" y="59"/>
                    <a:pt x="20" y="67"/>
                    <a:pt x="16" y="74"/>
                  </a:cubicBezTo>
                  <a:cubicBezTo>
                    <a:pt x="14" y="84"/>
                    <a:pt x="12" y="79"/>
                    <a:pt x="19" y="84"/>
                  </a:cubicBezTo>
                  <a:cubicBezTo>
                    <a:pt x="21" y="89"/>
                    <a:pt x="27" y="94"/>
                    <a:pt x="36" y="87"/>
                  </a:cubicBezTo>
                  <a:cubicBezTo>
                    <a:pt x="37" y="87"/>
                    <a:pt x="41" y="74"/>
                    <a:pt x="42" y="72"/>
                  </a:cubicBezTo>
                  <a:cubicBezTo>
                    <a:pt x="49" y="62"/>
                    <a:pt x="60" y="52"/>
                    <a:pt x="72" y="50"/>
                  </a:cubicBezTo>
                  <a:cubicBezTo>
                    <a:pt x="79" y="47"/>
                    <a:pt x="80" y="41"/>
                    <a:pt x="84" y="35"/>
                  </a:cubicBezTo>
                  <a:cubicBezTo>
                    <a:pt x="81" y="17"/>
                    <a:pt x="66" y="8"/>
                    <a:pt x="51" y="0"/>
                  </a:cubicBezTo>
                  <a:cubicBezTo>
                    <a:pt x="47" y="1"/>
                    <a:pt x="32" y="6"/>
                    <a:pt x="30"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77" name="Freeform 834"/>
            <p:cNvSpPr>
              <a:spLocks/>
            </p:cNvSpPr>
            <p:nvPr>
              <p:custDataLst>
                <p:tags r:id="rId140"/>
              </p:custDataLst>
            </p:nvPr>
          </p:nvSpPr>
          <p:spPr bwMode="gray">
            <a:xfrm>
              <a:off x="1907601" y="3608415"/>
              <a:ext cx="79340" cy="82316"/>
            </a:xfrm>
            <a:custGeom>
              <a:avLst/>
              <a:gdLst>
                <a:gd name="T0" fmla="*/ 23 w 82"/>
                <a:gd name="T1" fmla="*/ 0 h 84"/>
                <a:gd name="T2" fmla="*/ 59 w 82"/>
                <a:gd name="T3" fmla="*/ 30 h 84"/>
                <a:gd name="T4" fmla="*/ 67 w 82"/>
                <a:gd name="T5" fmla="*/ 38 h 84"/>
                <a:gd name="T6" fmla="*/ 76 w 82"/>
                <a:gd name="T7" fmla="*/ 51 h 84"/>
                <a:gd name="T8" fmla="*/ 58 w 82"/>
                <a:gd name="T9" fmla="*/ 84 h 84"/>
                <a:gd name="T10" fmla="*/ 26 w 82"/>
                <a:gd name="T11" fmla="*/ 83 h 84"/>
                <a:gd name="T12" fmla="*/ 5 w 82"/>
                <a:gd name="T13" fmla="*/ 74 h 84"/>
                <a:gd name="T14" fmla="*/ 2 w 82"/>
                <a:gd name="T15" fmla="*/ 48 h 84"/>
                <a:gd name="T16" fmla="*/ 4 w 82"/>
                <a:gd name="T17" fmla="*/ 20 h 84"/>
                <a:gd name="T18" fmla="*/ 23 w 82"/>
                <a:gd name="T1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4">
                  <a:moveTo>
                    <a:pt x="23" y="0"/>
                  </a:moveTo>
                  <a:cubicBezTo>
                    <a:pt x="31" y="10"/>
                    <a:pt x="48" y="23"/>
                    <a:pt x="59" y="30"/>
                  </a:cubicBezTo>
                  <a:cubicBezTo>
                    <a:pt x="64" y="36"/>
                    <a:pt x="61" y="34"/>
                    <a:pt x="67" y="38"/>
                  </a:cubicBezTo>
                  <a:cubicBezTo>
                    <a:pt x="71" y="45"/>
                    <a:pt x="72" y="44"/>
                    <a:pt x="76" y="51"/>
                  </a:cubicBezTo>
                  <a:cubicBezTo>
                    <a:pt x="80" y="77"/>
                    <a:pt x="82" y="82"/>
                    <a:pt x="58" y="84"/>
                  </a:cubicBezTo>
                  <a:cubicBezTo>
                    <a:pt x="47" y="84"/>
                    <a:pt x="37" y="84"/>
                    <a:pt x="26" y="83"/>
                  </a:cubicBezTo>
                  <a:cubicBezTo>
                    <a:pt x="19" y="82"/>
                    <a:pt x="13" y="75"/>
                    <a:pt x="5" y="74"/>
                  </a:cubicBezTo>
                  <a:cubicBezTo>
                    <a:pt x="0" y="67"/>
                    <a:pt x="2" y="57"/>
                    <a:pt x="2" y="48"/>
                  </a:cubicBezTo>
                  <a:cubicBezTo>
                    <a:pt x="2" y="39"/>
                    <a:pt x="1" y="28"/>
                    <a:pt x="4" y="20"/>
                  </a:cubicBezTo>
                  <a:cubicBezTo>
                    <a:pt x="7" y="12"/>
                    <a:pt x="20" y="4"/>
                    <a:pt x="23"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78" name="Freeform 836"/>
            <p:cNvSpPr>
              <a:spLocks/>
            </p:cNvSpPr>
            <p:nvPr>
              <p:custDataLst>
                <p:tags r:id="rId141"/>
              </p:custDataLst>
            </p:nvPr>
          </p:nvSpPr>
          <p:spPr bwMode="gray">
            <a:xfrm>
              <a:off x="1420651" y="2896338"/>
              <a:ext cx="55538" cy="67439"/>
            </a:xfrm>
            <a:custGeom>
              <a:avLst/>
              <a:gdLst>
                <a:gd name="T0" fmla="*/ 1 w 57"/>
                <a:gd name="T1" fmla="*/ 58 h 69"/>
                <a:gd name="T2" fmla="*/ 15 w 57"/>
                <a:gd name="T3" fmla="*/ 68 h 69"/>
                <a:gd name="T4" fmla="*/ 34 w 57"/>
                <a:gd name="T5" fmla="*/ 65 h 69"/>
                <a:gd name="T6" fmla="*/ 52 w 57"/>
                <a:gd name="T7" fmla="*/ 49 h 69"/>
                <a:gd name="T8" fmla="*/ 46 w 57"/>
                <a:gd name="T9" fmla="*/ 40 h 69"/>
                <a:gd name="T10" fmla="*/ 52 w 57"/>
                <a:gd name="T11" fmla="*/ 20 h 69"/>
                <a:gd name="T12" fmla="*/ 57 w 57"/>
                <a:gd name="T13" fmla="*/ 2 h 69"/>
                <a:gd name="T14" fmla="*/ 49 w 57"/>
                <a:gd name="T15" fmla="*/ 7 h 69"/>
                <a:gd name="T16" fmla="*/ 25 w 57"/>
                <a:gd name="T17" fmla="*/ 7 h 69"/>
                <a:gd name="T18" fmla="*/ 27 w 57"/>
                <a:gd name="T19" fmla="*/ 22 h 69"/>
                <a:gd name="T20" fmla="*/ 37 w 57"/>
                <a:gd name="T21" fmla="*/ 34 h 69"/>
                <a:gd name="T22" fmla="*/ 15 w 57"/>
                <a:gd name="T23" fmla="*/ 35 h 69"/>
                <a:gd name="T24" fmla="*/ 6 w 57"/>
                <a:gd name="T25" fmla="*/ 46 h 69"/>
                <a:gd name="T26" fmla="*/ 1 w 57"/>
                <a:gd name="T2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9">
                  <a:moveTo>
                    <a:pt x="1" y="58"/>
                  </a:moveTo>
                  <a:cubicBezTo>
                    <a:pt x="2" y="62"/>
                    <a:pt x="10" y="67"/>
                    <a:pt x="15" y="68"/>
                  </a:cubicBezTo>
                  <a:cubicBezTo>
                    <a:pt x="20" y="69"/>
                    <a:pt x="28" y="68"/>
                    <a:pt x="34" y="65"/>
                  </a:cubicBezTo>
                  <a:cubicBezTo>
                    <a:pt x="40" y="62"/>
                    <a:pt x="50" y="53"/>
                    <a:pt x="52" y="49"/>
                  </a:cubicBezTo>
                  <a:cubicBezTo>
                    <a:pt x="54" y="45"/>
                    <a:pt x="46" y="45"/>
                    <a:pt x="46" y="40"/>
                  </a:cubicBezTo>
                  <a:cubicBezTo>
                    <a:pt x="46" y="35"/>
                    <a:pt x="50" y="26"/>
                    <a:pt x="52" y="20"/>
                  </a:cubicBezTo>
                  <a:cubicBezTo>
                    <a:pt x="54" y="14"/>
                    <a:pt x="57" y="4"/>
                    <a:pt x="57" y="2"/>
                  </a:cubicBezTo>
                  <a:cubicBezTo>
                    <a:pt x="57" y="0"/>
                    <a:pt x="54" y="6"/>
                    <a:pt x="49" y="7"/>
                  </a:cubicBezTo>
                  <a:cubicBezTo>
                    <a:pt x="44" y="8"/>
                    <a:pt x="29" y="5"/>
                    <a:pt x="25" y="7"/>
                  </a:cubicBezTo>
                  <a:cubicBezTo>
                    <a:pt x="21" y="9"/>
                    <a:pt x="25" y="18"/>
                    <a:pt x="27" y="22"/>
                  </a:cubicBezTo>
                  <a:cubicBezTo>
                    <a:pt x="29" y="26"/>
                    <a:pt x="39" y="32"/>
                    <a:pt x="37" y="34"/>
                  </a:cubicBezTo>
                  <a:cubicBezTo>
                    <a:pt x="35" y="36"/>
                    <a:pt x="20" y="33"/>
                    <a:pt x="15" y="35"/>
                  </a:cubicBezTo>
                  <a:cubicBezTo>
                    <a:pt x="10" y="37"/>
                    <a:pt x="8" y="42"/>
                    <a:pt x="6" y="46"/>
                  </a:cubicBezTo>
                  <a:cubicBezTo>
                    <a:pt x="4" y="50"/>
                    <a:pt x="0" y="54"/>
                    <a:pt x="1" y="58"/>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79" name="Freeform 837"/>
            <p:cNvSpPr>
              <a:spLocks/>
            </p:cNvSpPr>
            <p:nvPr>
              <p:custDataLst>
                <p:tags r:id="rId142"/>
              </p:custDataLst>
            </p:nvPr>
          </p:nvSpPr>
          <p:spPr bwMode="gray">
            <a:xfrm>
              <a:off x="1467263" y="2924107"/>
              <a:ext cx="86283" cy="50580"/>
            </a:xfrm>
            <a:custGeom>
              <a:avLst/>
              <a:gdLst>
                <a:gd name="T0" fmla="*/ 3 w 89"/>
                <a:gd name="T1" fmla="*/ 34 h 53"/>
                <a:gd name="T2" fmla="*/ 18 w 89"/>
                <a:gd name="T3" fmla="*/ 42 h 53"/>
                <a:gd name="T4" fmla="*/ 25 w 89"/>
                <a:gd name="T5" fmla="*/ 52 h 53"/>
                <a:gd name="T6" fmla="*/ 46 w 89"/>
                <a:gd name="T7" fmla="*/ 39 h 53"/>
                <a:gd name="T8" fmla="*/ 66 w 89"/>
                <a:gd name="T9" fmla="*/ 30 h 53"/>
                <a:gd name="T10" fmla="*/ 87 w 89"/>
                <a:gd name="T11" fmla="*/ 28 h 53"/>
                <a:gd name="T12" fmla="*/ 78 w 89"/>
                <a:gd name="T13" fmla="*/ 7 h 53"/>
                <a:gd name="T14" fmla="*/ 63 w 89"/>
                <a:gd name="T15" fmla="*/ 7 h 53"/>
                <a:gd name="T16" fmla="*/ 40 w 89"/>
                <a:gd name="T17" fmla="*/ 1 h 53"/>
                <a:gd name="T18" fmla="*/ 24 w 89"/>
                <a:gd name="T19" fmla="*/ 12 h 53"/>
                <a:gd name="T20" fmla="*/ 9 w 89"/>
                <a:gd name="T21" fmla="*/ 12 h 53"/>
                <a:gd name="T22" fmla="*/ 1 w 89"/>
                <a:gd name="T23" fmla="*/ 22 h 53"/>
                <a:gd name="T24" fmla="*/ 3 w 8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53">
                  <a:moveTo>
                    <a:pt x="3" y="34"/>
                  </a:moveTo>
                  <a:cubicBezTo>
                    <a:pt x="6" y="37"/>
                    <a:pt x="14" y="39"/>
                    <a:pt x="18" y="42"/>
                  </a:cubicBezTo>
                  <a:cubicBezTo>
                    <a:pt x="22" y="45"/>
                    <a:pt x="20" y="53"/>
                    <a:pt x="25" y="52"/>
                  </a:cubicBezTo>
                  <a:cubicBezTo>
                    <a:pt x="30" y="51"/>
                    <a:pt x="39" y="43"/>
                    <a:pt x="46" y="39"/>
                  </a:cubicBezTo>
                  <a:cubicBezTo>
                    <a:pt x="53" y="35"/>
                    <a:pt x="59" y="32"/>
                    <a:pt x="66" y="30"/>
                  </a:cubicBezTo>
                  <a:cubicBezTo>
                    <a:pt x="73" y="28"/>
                    <a:pt x="85" y="32"/>
                    <a:pt x="87" y="28"/>
                  </a:cubicBezTo>
                  <a:cubicBezTo>
                    <a:pt x="89" y="24"/>
                    <a:pt x="82" y="10"/>
                    <a:pt x="78" y="7"/>
                  </a:cubicBezTo>
                  <a:cubicBezTo>
                    <a:pt x="74" y="4"/>
                    <a:pt x="69" y="8"/>
                    <a:pt x="63" y="7"/>
                  </a:cubicBezTo>
                  <a:cubicBezTo>
                    <a:pt x="57" y="6"/>
                    <a:pt x="46" y="0"/>
                    <a:pt x="40" y="1"/>
                  </a:cubicBezTo>
                  <a:cubicBezTo>
                    <a:pt x="34" y="2"/>
                    <a:pt x="29" y="10"/>
                    <a:pt x="24" y="12"/>
                  </a:cubicBezTo>
                  <a:cubicBezTo>
                    <a:pt x="19" y="14"/>
                    <a:pt x="13" y="10"/>
                    <a:pt x="9" y="12"/>
                  </a:cubicBezTo>
                  <a:cubicBezTo>
                    <a:pt x="5" y="14"/>
                    <a:pt x="2" y="18"/>
                    <a:pt x="1" y="22"/>
                  </a:cubicBezTo>
                  <a:cubicBezTo>
                    <a:pt x="0" y="26"/>
                    <a:pt x="1" y="30"/>
                    <a:pt x="3" y="3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80" name="Freeform 838"/>
            <p:cNvSpPr>
              <a:spLocks/>
            </p:cNvSpPr>
            <p:nvPr>
              <p:custDataLst>
                <p:tags r:id="rId143"/>
              </p:custDataLst>
            </p:nvPr>
          </p:nvSpPr>
          <p:spPr bwMode="gray">
            <a:xfrm>
              <a:off x="1445445" y="2955843"/>
              <a:ext cx="48596" cy="32728"/>
            </a:xfrm>
            <a:custGeom>
              <a:avLst/>
              <a:gdLst>
                <a:gd name="T0" fmla="*/ 13 w 50"/>
                <a:gd name="T1" fmla="*/ 0 h 34"/>
                <a:gd name="T2" fmla="*/ 1 w 50"/>
                <a:gd name="T3" fmla="*/ 16 h 34"/>
                <a:gd name="T4" fmla="*/ 10 w 50"/>
                <a:gd name="T5" fmla="*/ 24 h 34"/>
                <a:gd name="T6" fmla="*/ 32 w 50"/>
                <a:gd name="T7" fmla="*/ 27 h 34"/>
                <a:gd name="T8" fmla="*/ 44 w 50"/>
                <a:gd name="T9" fmla="*/ 33 h 34"/>
                <a:gd name="T10" fmla="*/ 49 w 50"/>
                <a:gd name="T11" fmla="*/ 22 h 34"/>
                <a:gd name="T12" fmla="*/ 38 w 50"/>
                <a:gd name="T13" fmla="*/ 12 h 34"/>
                <a:gd name="T14" fmla="*/ 31 w 50"/>
                <a:gd name="T15" fmla="*/ 3 h 34"/>
                <a:gd name="T16" fmla="*/ 15 w 50"/>
                <a:gd name="T17" fmla="*/ 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4">
                  <a:moveTo>
                    <a:pt x="13" y="0"/>
                  </a:moveTo>
                  <a:cubicBezTo>
                    <a:pt x="11" y="3"/>
                    <a:pt x="2" y="12"/>
                    <a:pt x="1" y="16"/>
                  </a:cubicBezTo>
                  <a:cubicBezTo>
                    <a:pt x="0" y="20"/>
                    <a:pt x="5" y="22"/>
                    <a:pt x="10" y="24"/>
                  </a:cubicBezTo>
                  <a:cubicBezTo>
                    <a:pt x="15" y="26"/>
                    <a:pt x="26" y="26"/>
                    <a:pt x="32" y="27"/>
                  </a:cubicBezTo>
                  <a:cubicBezTo>
                    <a:pt x="38" y="28"/>
                    <a:pt x="41" y="34"/>
                    <a:pt x="44" y="33"/>
                  </a:cubicBezTo>
                  <a:cubicBezTo>
                    <a:pt x="47" y="32"/>
                    <a:pt x="50" y="26"/>
                    <a:pt x="49" y="22"/>
                  </a:cubicBezTo>
                  <a:cubicBezTo>
                    <a:pt x="48" y="18"/>
                    <a:pt x="41" y="15"/>
                    <a:pt x="38" y="12"/>
                  </a:cubicBezTo>
                  <a:cubicBezTo>
                    <a:pt x="35" y="9"/>
                    <a:pt x="35" y="5"/>
                    <a:pt x="31" y="3"/>
                  </a:cubicBezTo>
                  <a:cubicBezTo>
                    <a:pt x="27" y="1"/>
                    <a:pt x="18" y="2"/>
                    <a:pt x="15" y="1"/>
                  </a:cubicBez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81" name="Freeform 839"/>
            <p:cNvSpPr>
              <a:spLocks/>
            </p:cNvSpPr>
            <p:nvPr>
              <p:custDataLst>
                <p:tags r:id="rId144"/>
              </p:custDataLst>
            </p:nvPr>
          </p:nvSpPr>
          <p:spPr bwMode="gray">
            <a:xfrm>
              <a:off x="1488090" y="2948901"/>
              <a:ext cx="65456" cy="64464"/>
            </a:xfrm>
            <a:custGeom>
              <a:avLst/>
              <a:gdLst>
                <a:gd name="T0" fmla="*/ 3 w 67"/>
                <a:gd name="T1" fmla="*/ 35 h 67"/>
                <a:gd name="T2" fmla="*/ 18 w 67"/>
                <a:gd name="T3" fmla="*/ 50 h 67"/>
                <a:gd name="T4" fmla="*/ 26 w 67"/>
                <a:gd name="T5" fmla="*/ 58 h 67"/>
                <a:gd name="T6" fmla="*/ 26 w 67"/>
                <a:gd name="T7" fmla="*/ 55 h 67"/>
                <a:gd name="T8" fmla="*/ 42 w 67"/>
                <a:gd name="T9" fmla="*/ 65 h 67"/>
                <a:gd name="T10" fmla="*/ 60 w 67"/>
                <a:gd name="T11" fmla="*/ 59 h 67"/>
                <a:gd name="T12" fmla="*/ 62 w 67"/>
                <a:gd name="T13" fmla="*/ 16 h 67"/>
                <a:gd name="T14" fmla="*/ 62 w 67"/>
                <a:gd name="T15" fmla="*/ 1 h 67"/>
                <a:gd name="T16" fmla="*/ 33 w 67"/>
                <a:gd name="T17" fmla="*/ 8 h 67"/>
                <a:gd name="T18" fmla="*/ 3 w 67"/>
                <a:gd name="T19"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 y="35"/>
                  </a:moveTo>
                  <a:cubicBezTo>
                    <a:pt x="0" y="42"/>
                    <a:pt x="14" y="46"/>
                    <a:pt x="18" y="50"/>
                  </a:cubicBezTo>
                  <a:cubicBezTo>
                    <a:pt x="22" y="54"/>
                    <a:pt x="25" y="57"/>
                    <a:pt x="26" y="58"/>
                  </a:cubicBezTo>
                  <a:cubicBezTo>
                    <a:pt x="27" y="59"/>
                    <a:pt x="23" y="54"/>
                    <a:pt x="26" y="55"/>
                  </a:cubicBezTo>
                  <a:cubicBezTo>
                    <a:pt x="29" y="56"/>
                    <a:pt x="36" y="64"/>
                    <a:pt x="42" y="65"/>
                  </a:cubicBezTo>
                  <a:cubicBezTo>
                    <a:pt x="48" y="66"/>
                    <a:pt x="57" y="67"/>
                    <a:pt x="60" y="59"/>
                  </a:cubicBezTo>
                  <a:cubicBezTo>
                    <a:pt x="63" y="51"/>
                    <a:pt x="62" y="26"/>
                    <a:pt x="62" y="16"/>
                  </a:cubicBezTo>
                  <a:cubicBezTo>
                    <a:pt x="62" y="6"/>
                    <a:pt x="67" y="2"/>
                    <a:pt x="62" y="1"/>
                  </a:cubicBezTo>
                  <a:cubicBezTo>
                    <a:pt x="57" y="0"/>
                    <a:pt x="43" y="3"/>
                    <a:pt x="33" y="8"/>
                  </a:cubicBezTo>
                  <a:cubicBezTo>
                    <a:pt x="23" y="13"/>
                    <a:pt x="6" y="28"/>
                    <a:pt x="3" y="3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82" name="Freeform 840"/>
            <p:cNvSpPr>
              <a:spLocks/>
            </p:cNvSpPr>
            <p:nvPr>
              <p:custDataLst>
                <p:tags r:id="rId145"/>
              </p:custDataLst>
            </p:nvPr>
          </p:nvSpPr>
          <p:spPr bwMode="gray">
            <a:xfrm>
              <a:off x="1528752" y="2822948"/>
              <a:ext cx="147771" cy="53555"/>
            </a:xfrm>
            <a:custGeom>
              <a:avLst/>
              <a:gdLst>
                <a:gd name="T0" fmla="*/ 0 w 152"/>
                <a:gd name="T1" fmla="*/ 19 h 56"/>
                <a:gd name="T2" fmla="*/ 12 w 152"/>
                <a:gd name="T3" fmla="*/ 9 h 56"/>
                <a:gd name="T4" fmla="*/ 23 w 152"/>
                <a:gd name="T5" fmla="*/ 0 h 56"/>
                <a:gd name="T6" fmla="*/ 92 w 152"/>
                <a:gd name="T7" fmla="*/ 4 h 56"/>
                <a:gd name="T8" fmla="*/ 110 w 152"/>
                <a:gd name="T9" fmla="*/ 13 h 56"/>
                <a:gd name="T10" fmla="*/ 128 w 152"/>
                <a:gd name="T11" fmla="*/ 21 h 56"/>
                <a:gd name="T12" fmla="*/ 143 w 152"/>
                <a:gd name="T13" fmla="*/ 31 h 56"/>
                <a:gd name="T14" fmla="*/ 152 w 152"/>
                <a:gd name="T15" fmla="*/ 43 h 56"/>
                <a:gd name="T16" fmla="*/ 143 w 152"/>
                <a:gd name="T17" fmla="*/ 54 h 56"/>
                <a:gd name="T18" fmla="*/ 93 w 152"/>
                <a:gd name="T19" fmla="*/ 45 h 56"/>
                <a:gd name="T20" fmla="*/ 51 w 152"/>
                <a:gd name="T21" fmla="*/ 18 h 56"/>
                <a:gd name="T22" fmla="*/ 24 w 152"/>
                <a:gd name="T23" fmla="*/ 28 h 56"/>
                <a:gd name="T24" fmla="*/ 15 w 152"/>
                <a:gd name="T25" fmla="*/ 16 h 56"/>
                <a:gd name="T26" fmla="*/ 0 w 152"/>
                <a:gd name="T27" fmla="*/ 1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56">
                  <a:moveTo>
                    <a:pt x="0" y="19"/>
                  </a:moveTo>
                  <a:cubicBezTo>
                    <a:pt x="5" y="16"/>
                    <a:pt x="7" y="12"/>
                    <a:pt x="12" y="9"/>
                  </a:cubicBezTo>
                  <a:cubicBezTo>
                    <a:pt x="15" y="3"/>
                    <a:pt x="16" y="1"/>
                    <a:pt x="23" y="0"/>
                  </a:cubicBezTo>
                  <a:cubicBezTo>
                    <a:pt x="57" y="1"/>
                    <a:pt x="66" y="2"/>
                    <a:pt x="92" y="4"/>
                  </a:cubicBezTo>
                  <a:cubicBezTo>
                    <a:pt x="98" y="7"/>
                    <a:pt x="104" y="9"/>
                    <a:pt x="110" y="13"/>
                  </a:cubicBezTo>
                  <a:cubicBezTo>
                    <a:pt x="115" y="20"/>
                    <a:pt x="120" y="18"/>
                    <a:pt x="128" y="21"/>
                  </a:cubicBezTo>
                  <a:cubicBezTo>
                    <a:pt x="129" y="29"/>
                    <a:pt x="135" y="29"/>
                    <a:pt x="143" y="31"/>
                  </a:cubicBezTo>
                  <a:cubicBezTo>
                    <a:pt x="148" y="35"/>
                    <a:pt x="149" y="38"/>
                    <a:pt x="152" y="43"/>
                  </a:cubicBezTo>
                  <a:cubicBezTo>
                    <a:pt x="149" y="48"/>
                    <a:pt x="148" y="51"/>
                    <a:pt x="143" y="54"/>
                  </a:cubicBezTo>
                  <a:cubicBezTo>
                    <a:pt x="113" y="52"/>
                    <a:pt x="112" y="56"/>
                    <a:pt x="93" y="45"/>
                  </a:cubicBezTo>
                  <a:cubicBezTo>
                    <a:pt x="89" y="38"/>
                    <a:pt x="61" y="20"/>
                    <a:pt x="51" y="18"/>
                  </a:cubicBezTo>
                  <a:cubicBezTo>
                    <a:pt x="27" y="20"/>
                    <a:pt x="39" y="25"/>
                    <a:pt x="24" y="28"/>
                  </a:cubicBezTo>
                  <a:cubicBezTo>
                    <a:pt x="19" y="24"/>
                    <a:pt x="17" y="22"/>
                    <a:pt x="15" y="16"/>
                  </a:cubicBezTo>
                  <a:cubicBezTo>
                    <a:pt x="11" y="18"/>
                    <a:pt x="3" y="22"/>
                    <a:pt x="0" y="19"/>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83" name="Freeform 841"/>
            <p:cNvSpPr>
              <a:spLocks/>
            </p:cNvSpPr>
            <p:nvPr>
              <p:custDataLst>
                <p:tags r:id="rId146"/>
              </p:custDataLst>
            </p:nvPr>
          </p:nvSpPr>
          <p:spPr bwMode="gray">
            <a:xfrm>
              <a:off x="1609084" y="2758484"/>
              <a:ext cx="117027" cy="96200"/>
            </a:xfrm>
            <a:custGeom>
              <a:avLst/>
              <a:gdLst>
                <a:gd name="T0" fmla="*/ 3 w 121"/>
                <a:gd name="T1" fmla="*/ 3 h 100"/>
                <a:gd name="T2" fmla="*/ 27 w 121"/>
                <a:gd name="T3" fmla="*/ 1 h 100"/>
                <a:gd name="T4" fmla="*/ 34 w 121"/>
                <a:gd name="T5" fmla="*/ 12 h 100"/>
                <a:gd name="T6" fmla="*/ 31 w 121"/>
                <a:gd name="T7" fmla="*/ 34 h 100"/>
                <a:gd name="T8" fmla="*/ 40 w 121"/>
                <a:gd name="T9" fmla="*/ 33 h 100"/>
                <a:gd name="T10" fmla="*/ 45 w 121"/>
                <a:gd name="T11" fmla="*/ 51 h 100"/>
                <a:gd name="T12" fmla="*/ 63 w 121"/>
                <a:gd name="T13" fmla="*/ 57 h 100"/>
                <a:gd name="T14" fmla="*/ 81 w 121"/>
                <a:gd name="T15" fmla="*/ 55 h 100"/>
                <a:gd name="T16" fmla="*/ 76 w 121"/>
                <a:gd name="T17" fmla="*/ 54 h 100"/>
                <a:gd name="T18" fmla="*/ 93 w 121"/>
                <a:gd name="T19" fmla="*/ 76 h 100"/>
                <a:gd name="T20" fmla="*/ 115 w 121"/>
                <a:gd name="T21" fmla="*/ 87 h 100"/>
                <a:gd name="T22" fmla="*/ 109 w 121"/>
                <a:gd name="T23" fmla="*/ 99 h 100"/>
                <a:gd name="T24" fmla="*/ 85 w 121"/>
                <a:gd name="T25" fmla="*/ 76 h 100"/>
                <a:gd name="T26" fmla="*/ 73 w 121"/>
                <a:gd name="T27" fmla="*/ 81 h 100"/>
                <a:gd name="T28" fmla="*/ 42 w 121"/>
                <a:gd name="T29" fmla="*/ 61 h 100"/>
                <a:gd name="T30" fmla="*/ 31 w 121"/>
                <a:gd name="T31" fmla="*/ 43 h 100"/>
                <a:gd name="T32" fmla="*/ 21 w 121"/>
                <a:gd name="T33" fmla="*/ 66 h 100"/>
                <a:gd name="T34" fmla="*/ 9 w 121"/>
                <a:gd name="T35" fmla="*/ 54 h 100"/>
                <a:gd name="T36" fmla="*/ 16 w 121"/>
                <a:gd name="T37" fmla="*/ 28 h 100"/>
                <a:gd name="T38" fmla="*/ 0 w 121"/>
                <a:gd name="T39" fmla="*/ 13 h 100"/>
                <a:gd name="T40" fmla="*/ 3 w 121"/>
                <a:gd name="T41" fmla="*/ 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100">
                  <a:moveTo>
                    <a:pt x="3" y="3"/>
                  </a:moveTo>
                  <a:cubicBezTo>
                    <a:pt x="12" y="2"/>
                    <a:pt x="18" y="0"/>
                    <a:pt x="27" y="1"/>
                  </a:cubicBezTo>
                  <a:cubicBezTo>
                    <a:pt x="32" y="7"/>
                    <a:pt x="37" y="4"/>
                    <a:pt x="34" y="12"/>
                  </a:cubicBezTo>
                  <a:cubicBezTo>
                    <a:pt x="32" y="23"/>
                    <a:pt x="30" y="20"/>
                    <a:pt x="31" y="34"/>
                  </a:cubicBezTo>
                  <a:cubicBezTo>
                    <a:pt x="34" y="34"/>
                    <a:pt x="37" y="33"/>
                    <a:pt x="40" y="33"/>
                  </a:cubicBezTo>
                  <a:cubicBezTo>
                    <a:pt x="54" y="33"/>
                    <a:pt x="58" y="45"/>
                    <a:pt x="45" y="51"/>
                  </a:cubicBezTo>
                  <a:cubicBezTo>
                    <a:pt x="51" y="54"/>
                    <a:pt x="57" y="55"/>
                    <a:pt x="63" y="57"/>
                  </a:cubicBezTo>
                  <a:cubicBezTo>
                    <a:pt x="69" y="56"/>
                    <a:pt x="75" y="56"/>
                    <a:pt x="81" y="55"/>
                  </a:cubicBezTo>
                  <a:cubicBezTo>
                    <a:pt x="83" y="55"/>
                    <a:pt x="77" y="52"/>
                    <a:pt x="76" y="54"/>
                  </a:cubicBezTo>
                  <a:cubicBezTo>
                    <a:pt x="71" y="63"/>
                    <a:pt x="84" y="75"/>
                    <a:pt x="93" y="76"/>
                  </a:cubicBezTo>
                  <a:cubicBezTo>
                    <a:pt x="97" y="83"/>
                    <a:pt x="107" y="83"/>
                    <a:pt x="115" y="87"/>
                  </a:cubicBezTo>
                  <a:cubicBezTo>
                    <a:pt x="121" y="95"/>
                    <a:pt x="120" y="100"/>
                    <a:pt x="109" y="99"/>
                  </a:cubicBezTo>
                  <a:cubicBezTo>
                    <a:pt x="99" y="94"/>
                    <a:pt x="95" y="82"/>
                    <a:pt x="85" y="76"/>
                  </a:cubicBezTo>
                  <a:cubicBezTo>
                    <a:pt x="76" y="79"/>
                    <a:pt x="82" y="86"/>
                    <a:pt x="73" y="81"/>
                  </a:cubicBezTo>
                  <a:cubicBezTo>
                    <a:pt x="65" y="68"/>
                    <a:pt x="56" y="63"/>
                    <a:pt x="42" y="61"/>
                  </a:cubicBezTo>
                  <a:cubicBezTo>
                    <a:pt x="38" y="55"/>
                    <a:pt x="34" y="50"/>
                    <a:pt x="31" y="43"/>
                  </a:cubicBezTo>
                  <a:cubicBezTo>
                    <a:pt x="21" y="46"/>
                    <a:pt x="23" y="55"/>
                    <a:pt x="21" y="66"/>
                  </a:cubicBezTo>
                  <a:cubicBezTo>
                    <a:pt x="18" y="61"/>
                    <a:pt x="9" y="54"/>
                    <a:pt x="9" y="54"/>
                  </a:cubicBezTo>
                  <a:cubicBezTo>
                    <a:pt x="5" y="44"/>
                    <a:pt x="8" y="34"/>
                    <a:pt x="16" y="28"/>
                  </a:cubicBezTo>
                  <a:cubicBezTo>
                    <a:pt x="15" y="14"/>
                    <a:pt x="13" y="16"/>
                    <a:pt x="0" y="13"/>
                  </a:cubicBezTo>
                  <a:cubicBezTo>
                    <a:pt x="1" y="5"/>
                    <a:pt x="0" y="8"/>
                    <a:pt x="3" y="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84" name="Freeform 842"/>
            <p:cNvSpPr>
              <a:spLocks/>
            </p:cNvSpPr>
            <p:nvPr>
              <p:custDataLst>
                <p:tags r:id="rId147"/>
              </p:custDataLst>
            </p:nvPr>
          </p:nvSpPr>
          <p:spPr bwMode="gray">
            <a:xfrm>
              <a:off x="1622968" y="2892371"/>
              <a:ext cx="41654" cy="10910"/>
            </a:xfrm>
            <a:custGeom>
              <a:avLst/>
              <a:gdLst>
                <a:gd name="T0" fmla="*/ 2 w 43"/>
                <a:gd name="T1" fmla="*/ 5 h 11"/>
                <a:gd name="T2" fmla="*/ 22 w 43"/>
                <a:gd name="T3" fmla="*/ 2 h 11"/>
                <a:gd name="T4" fmla="*/ 5 w 43"/>
                <a:gd name="T5" fmla="*/ 6 h 11"/>
                <a:gd name="T6" fmla="*/ 2 w 43"/>
                <a:gd name="T7" fmla="*/ 5 h 11"/>
              </a:gdLst>
              <a:ahLst/>
              <a:cxnLst>
                <a:cxn ang="0">
                  <a:pos x="T0" y="T1"/>
                </a:cxn>
                <a:cxn ang="0">
                  <a:pos x="T2" y="T3"/>
                </a:cxn>
                <a:cxn ang="0">
                  <a:pos x="T4" y="T5"/>
                </a:cxn>
                <a:cxn ang="0">
                  <a:pos x="T6" y="T7"/>
                </a:cxn>
              </a:cxnLst>
              <a:rect l="0" t="0" r="r" b="b"/>
              <a:pathLst>
                <a:path w="43" h="11">
                  <a:moveTo>
                    <a:pt x="2" y="5"/>
                  </a:moveTo>
                  <a:cubicBezTo>
                    <a:pt x="11" y="0"/>
                    <a:pt x="10" y="0"/>
                    <a:pt x="22" y="2"/>
                  </a:cubicBezTo>
                  <a:cubicBezTo>
                    <a:pt x="34" y="11"/>
                    <a:pt x="43" y="9"/>
                    <a:pt x="5" y="6"/>
                  </a:cubicBezTo>
                  <a:cubicBezTo>
                    <a:pt x="0" y="3"/>
                    <a:pt x="0" y="2"/>
                    <a:pt x="2" y="5"/>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85" name="Freeform 843"/>
            <p:cNvSpPr>
              <a:spLocks/>
            </p:cNvSpPr>
            <p:nvPr>
              <p:custDataLst>
                <p:tags r:id="rId148"/>
              </p:custDataLst>
            </p:nvPr>
          </p:nvSpPr>
          <p:spPr bwMode="gray">
            <a:xfrm>
              <a:off x="1713218" y="2866585"/>
              <a:ext cx="61489" cy="39670"/>
            </a:xfrm>
            <a:custGeom>
              <a:avLst/>
              <a:gdLst>
                <a:gd name="T0" fmla="*/ 2 w 64"/>
                <a:gd name="T1" fmla="*/ 3 h 41"/>
                <a:gd name="T2" fmla="*/ 1 w 64"/>
                <a:gd name="T3" fmla="*/ 18 h 41"/>
                <a:gd name="T4" fmla="*/ 11 w 64"/>
                <a:gd name="T5" fmla="*/ 38 h 41"/>
                <a:gd name="T6" fmla="*/ 56 w 64"/>
                <a:gd name="T7" fmla="*/ 36 h 41"/>
                <a:gd name="T8" fmla="*/ 59 w 64"/>
                <a:gd name="T9" fmla="*/ 32 h 41"/>
                <a:gd name="T10" fmla="*/ 32 w 64"/>
                <a:gd name="T11" fmla="*/ 5 h 41"/>
                <a:gd name="T12" fmla="*/ 8 w 64"/>
                <a:gd name="T13" fmla="*/ 2 h 41"/>
              </a:gdLst>
              <a:ahLst/>
              <a:cxnLst>
                <a:cxn ang="0">
                  <a:pos x="T0" y="T1"/>
                </a:cxn>
                <a:cxn ang="0">
                  <a:pos x="T2" y="T3"/>
                </a:cxn>
                <a:cxn ang="0">
                  <a:pos x="T4" y="T5"/>
                </a:cxn>
                <a:cxn ang="0">
                  <a:pos x="T6" y="T7"/>
                </a:cxn>
                <a:cxn ang="0">
                  <a:pos x="T8" y="T9"/>
                </a:cxn>
                <a:cxn ang="0">
                  <a:pos x="T10" y="T11"/>
                </a:cxn>
                <a:cxn ang="0">
                  <a:pos x="T12" y="T13"/>
                </a:cxn>
              </a:cxnLst>
              <a:rect l="0" t="0" r="r" b="b"/>
              <a:pathLst>
                <a:path w="64" h="41">
                  <a:moveTo>
                    <a:pt x="2" y="3"/>
                  </a:moveTo>
                  <a:cubicBezTo>
                    <a:pt x="2" y="5"/>
                    <a:pt x="0" y="12"/>
                    <a:pt x="1" y="18"/>
                  </a:cubicBezTo>
                  <a:cubicBezTo>
                    <a:pt x="2" y="24"/>
                    <a:pt x="2" y="35"/>
                    <a:pt x="11" y="38"/>
                  </a:cubicBezTo>
                  <a:cubicBezTo>
                    <a:pt x="20" y="41"/>
                    <a:pt x="45" y="36"/>
                    <a:pt x="56" y="36"/>
                  </a:cubicBezTo>
                  <a:cubicBezTo>
                    <a:pt x="64" y="35"/>
                    <a:pt x="63" y="37"/>
                    <a:pt x="59" y="32"/>
                  </a:cubicBezTo>
                  <a:cubicBezTo>
                    <a:pt x="47" y="29"/>
                    <a:pt x="40" y="10"/>
                    <a:pt x="32" y="5"/>
                  </a:cubicBezTo>
                  <a:cubicBezTo>
                    <a:pt x="24" y="0"/>
                    <a:pt x="13" y="3"/>
                    <a:pt x="8" y="2"/>
                  </a:cubicBez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86" name="Freeform 844"/>
            <p:cNvSpPr>
              <a:spLocks/>
            </p:cNvSpPr>
            <p:nvPr>
              <p:custDataLst>
                <p:tags r:id="rId149"/>
              </p:custDataLst>
            </p:nvPr>
          </p:nvSpPr>
          <p:spPr bwMode="gray">
            <a:xfrm>
              <a:off x="1654704" y="3419982"/>
              <a:ext cx="166614" cy="720012"/>
            </a:xfrm>
            <a:custGeom>
              <a:avLst/>
              <a:gdLst>
                <a:gd name="T0" fmla="*/ 80 w 172"/>
                <a:gd name="T1" fmla="*/ 87 h 745"/>
                <a:gd name="T2" fmla="*/ 71 w 172"/>
                <a:gd name="T3" fmla="*/ 169 h 745"/>
                <a:gd name="T4" fmla="*/ 65 w 172"/>
                <a:gd name="T5" fmla="*/ 184 h 745"/>
                <a:gd name="T6" fmla="*/ 65 w 172"/>
                <a:gd name="T7" fmla="*/ 217 h 745"/>
                <a:gd name="T8" fmla="*/ 53 w 172"/>
                <a:gd name="T9" fmla="*/ 291 h 745"/>
                <a:gd name="T10" fmla="*/ 34 w 172"/>
                <a:gd name="T11" fmla="*/ 330 h 745"/>
                <a:gd name="T12" fmla="*/ 40 w 172"/>
                <a:gd name="T13" fmla="*/ 370 h 745"/>
                <a:gd name="T14" fmla="*/ 28 w 172"/>
                <a:gd name="T15" fmla="*/ 408 h 745"/>
                <a:gd name="T16" fmla="*/ 8 w 172"/>
                <a:gd name="T17" fmla="*/ 523 h 745"/>
                <a:gd name="T18" fmla="*/ 11 w 172"/>
                <a:gd name="T19" fmla="*/ 616 h 745"/>
                <a:gd name="T20" fmla="*/ 28 w 172"/>
                <a:gd name="T21" fmla="*/ 679 h 745"/>
                <a:gd name="T22" fmla="*/ 52 w 172"/>
                <a:gd name="T23" fmla="*/ 702 h 745"/>
                <a:gd name="T24" fmla="*/ 89 w 172"/>
                <a:gd name="T25" fmla="*/ 721 h 745"/>
                <a:gd name="T26" fmla="*/ 121 w 172"/>
                <a:gd name="T27" fmla="*/ 745 h 745"/>
                <a:gd name="T28" fmla="*/ 151 w 172"/>
                <a:gd name="T29" fmla="*/ 715 h 745"/>
                <a:gd name="T30" fmla="*/ 172 w 172"/>
                <a:gd name="T31" fmla="*/ 711 h 745"/>
                <a:gd name="T32" fmla="*/ 124 w 172"/>
                <a:gd name="T33" fmla="*/ 703 h 745"/>
                <a:gd name="T34" fmla="*/ 98 w 172"/>
                <a:gd name="T35" fmla="*/ 693 h 745"/>
                <a:gd name="T36" fmla="*/ 71 w 172"/>
                <a:gd name="T37" fmla="*/ 651 h 745"/>
                <a:gd name="T38" fmla="*/ 56 w 172"/>
                <a:gd name="T39" fmla="*/ 630 h 745"/>
                <a:gd name="T40" fmla="*/ 43 w 172"/>
                <a:gd name="T41" fmla="*/ 600 h 745"/>
                <a:gd name="T42" fmla="*/ 52 w 172"/>
                <a:gd name="T43" fmla="*/ 570 h 745"/>
                <a:gd name="T44" fmla="*/ 58 w 172"/>
                <a:gd name="T45" fmla="*/ 541 h 745"/>
                <a:gd name="T46" fmla="*/ 70 w 172"/>
                <a:gd name="T47" fmla="*/ 484 h 745"/>
                <a:gd name="T48" fmla="*/ 67 w 172"/>
                <a:gd name="T49" fmla="*/ 456 h 745"/>
                <a:gd name="T50" fmla="*/ 56 w 172"/>
                <a:gd name="T51" fmla="*/ 426 h 745"/>
                <a:gd name="T52" fmla="*/ 62 w 172"/>
                <a:gd name="T53" fmla="*/ 394 h 745"/>
                <a:gd name="T54" fmla="*/ 73 w 172"/>
                <a:gd name="T55" fmla="*/ 342 h 745"/>
                <a:gd name="T56" fmla="*/ 88 w 172"/>
                <a:gd name="T57" fmla="*/ 300 h 745"/>
                <a:gd name="T58" fmla="*/ 89 w 172"/>
                <a:gd name="T59" fmla="*/ 256 h 745"/>
                <a:gd name="T60" fmla="*/ 91 w 172"/>
                <a:gd name="T61" fmla="*/ 186 h 745"/>
                <a:gd name="T62" fmla="*/ 115 w 172"/>
                <a:gd name="T63" fmla="*/ 153 h 745"/>
                <a:gd name="T64" fmla="*/ 116 w 172"/>
                <a:gd name="T65" fmla="*/ 117 h 745"/>
                <a:gd name="T66" fmla="*/ 128 w 172"/>
                <a:gd name="T67" fmla="*/ 96 h 745"/>
                <a:gd name="T68" fmla="*/ 128 w 172"/>
                <a:gd name="T69" fmla="*/ 72 h 745"/>
                <a:gd name="T70" fmla="*/ 103 w 172"/>
                <a:gd name="T71" fmla="*/ 34 h 745"/>
                <a:gd name="T72" fmla="*/ 97 w 172"/>
                <a:gd name="T73" fmla="*/ 0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2" h="745">
                  <a:moveTo>
                    <a:pt x="85" y="10"/>
                  </a:moveTo>
                  <a:cubicBezTo>
                    <a:pt x="84" y="40"/>
                    <a:pt x="98" y="63"/>
                    <a:pt x="80" y="87"/>
                  </a:cubicBezTo>
                  <a:cubicBezTo>
                    <a:pt x="81" y="103"/>
                    <a:pt x="83" y="134"/>
                    <a:pt x="77" y="150"/>
                  </a:cubicBezTo>
                  <a:cubicBezTo>
                    <a:pt x="76" y="156"/>
                    <a:pt x="74" y="163"/>
                    <a:pt x="71" y="169"/>
                  </a:cubicBezTo>
                  <a:cubicBezTo>
                    <a:pt x="71" y="174"/>
                    <a:pt x="73" y="183"/>
                    <a:pt x="71" y="187"/>
                  </a:cubicBezTo>
                  <a:cubicBezTo>
                    <a:pt x="70" y="189"/>
                    <a:pt x="65" y="182"/>
                    <a:pt x="65" y="184"/>
                  </a:cubicBezTo>
                  <a:cubicBezTo>
                    <a:pt x="63" y="193"/>
                    <a:pt x="65" y="202"/>
                    <a:pt x="64" y="211"/>
                  </a:cubicBezTo>
                  <a:cubicBezTo>
                    <a:pt x="64" y="213"/>
                    <a:pt x="66" y="215"/>
                    <a:pt x="65" y="217"/>
                  </a:cubicBezTo>
                  <a:cubicBezTo>
                    <a:pt x="67" y="229"/>
                    <a:pt x="77" y="253"/>
                    <a:pt x="61" y="261"/>
                  </a:cubicBezTo>
                  <a:cubicBezTo>
                    <a:pt x="56" y="270"/>
                    <a:pt x="57" y="281"/>
                    <a:pt x="53" y="291"/>
                  </a:cubicBezTo>
                  <a:cubicBezTo>
                    <a:pt x="52" y="300"/>
                    <a:pt x="48" y="315"/>
                    <a:pt x="41" y="319"/>
                  </a:cubicBezTo>
                  <a:cubicBezTo>
                    <a:pt x="40" y="325"/>
                    <a:pt x="40" y="327"/>
                    <a:pt x="34" y="330"/>
                  </a:cubicBezTo>
                  <a:cubicBezTo>
                    <a:pt x="31" y="335"/>
                    <a:pt x="40" y="346"/>
                    <a:pt x="37" y="351"/>
                  </a:cubicBezTo>
                  <a:cubicBezTo>
                    <a:pt x="35" y="362"/>
                    <a:pt x="35" y="361"/>
                    <a:pt x="40" y="370"/>
                  </a:cubicBezTo>
                  <a:cubicBezTo>
                    <a:pt x="40" y="375"/>
                    <a:pt x="45" y="375"/>
                    <a:pt x="43" y="381"/>
                  </a:cubicBezTo>
                  <a:cubicBezTo>
                    <a:pt x="41" y="387"/>
                    <a:pt x="33" y="392"/>
                    <a:pt x="28" y="408"/>
                  </a:cubicBezTo>
                  <a:cubicBezTo>
                    <a:pt x="14" y="426"/>
                    <a:pt x="29" y="458"/>
                    <a:pt x="14" y="478"/>
                  </a:cubicBezTo>
                  <a:cubicBezTo>
                    <a:pt x="11" y="493"/>
                    <a:pt x="11" y="508"/>
                    <a:pt x="8" y="523"/>
                  </a:cubicBezTo>
                  <a:cubicBezTo>
                    <a:pt x="7" y="537"/>
                    <a:pt x="8" y="552"/>
                    <a:pt x="2" y="565"/>
                  </a:cubicBezTo>
                  <a:cubicBezTo>
                    <a:pt x="3" y="584"/>
                    <a:pt x="0" y="601"/>
                    <a:pt x="11" y="616"/>
                  </a:cubicBezTo>
                  <a:cubicBezTo>
                    <a:pt x="12" y="625"/>
                    <a:pt x="8" y="646"/>
                    <a:pt x="19" y="651"/>
                  </a:cubicBezTo>
                  <a:cubicBezTo>
                    <a:pt x="26" y="661"/>
                    <a:pt x="17" y="672"/>
                    <a:pt x="28" y="679"/>
                  </a:cubicBezTo>
                  <a:cubicBezTo>
                    <a:pt x="31" y="684"/>
                    <a:pt x="34" y="688"/>
                    <a:pt x="37" y="693"/>
                  </a:cubicBezTo>
                  <a:cubicBezTo>
                    <a:pt x="40" y="698"/>
                    <a:pt x="46" y="698"/>
                    <a:pt x="52" y="702"/>
                  </a:cubicBezTo>
                  <a:cubicBezTo>
                    <a:pt x="58" y="706"/>
                    <a:pt x="70" y="712"/>
                    <a:pt x="76" y="715"/>
                  </a:cubicBezTo>
                  <a:cubicBezTo>
                    <a:pt x="81" y="717"/>
                    <a:pt x="85" y="718"/>
                    <a:pt x="89" y="721"/>
                  </a:cubicBezTo>
                  <a:cubicBezTo>
                    <a:pt x="92" y="727"/>
                    <a:pt x="98" y="732"/>
                    <a:pt x="104" y="735"/>
                  </a:cubicBezTo>
                  <a:cubicBezTo>
                    <a:pt x="107" y="742"/>
                    <a:pt x="114" y="744"/>
                    <a:pt x="121" y="745"/>
                  </a:cubicBezTo>
                  <a:cubicBezTo>
                    <a:pt x="130" y="744"/>
                    <a:pt x="135" y="745"/>
                    <a:pt x="137" y="736"/>
                  </a:cubicBezTo>
                  <a:cubicBezTo>
                    <a:pt x="124" y="719"/>
                    <a:pt x="141" y="716"/>
                    <a:pt x="151" y="715"/>
                  </a:cubicBezTo>
                  <a:cubicBezTo>
                    <a:pt x="156" y="711"/>
                    <a:pt x="163" y="713"/>
                    <a:pt x="166" y="712"/>
                  </a:cubicBezTo>
                  <a:cubicBezTo>
                    <a:pt x="168" y="711"/>
                    <a:pt x="170" y="711"/>
                    <a:pt x="172" y="711"/>
                  </a:cubicBezTo>
                  <a:cubicBezTo>
                    <a:pt x="168" y="710"/>
                    <a:pt x="150" y="706"/>
                    <a:pt x="142" y="705"/>
                  </a:cubicBezTo>
                  <a:cubicBezTo>
                    <a:pt x="134" y="704"/>
                    <a:pt x="130" y="703"/>
                    <a:pt x="124" y="703"/>
                  </a:cubicBezTo>
                  <a:cubicBezTo>
                    <a:pt x="119" y="702"/>
                    <a:pt x="111" y="705"/>
                    <a:pt x="107" y="703"/>
                  </a:cubicBezTo>
                  <a:cubicBezTo>
                    <a:pt x="103" y="701"/>
                    <a:pt x="100" y="697"/>
                    <a:pt x="98" y="693"/>
                  </a:cubicBezTo>
                  <a:cubicBezTo>
                    <a:pt x="92" y="689"/>
                    <a:pt x="96" y="688"/>
                    <a:pt x="92" y="681"/>
                  </a:cubicBezTo>
                  <a:cubicBezTo>
                    <a:pt x="88" y="674"/>
                    <a:pt x="77" y="658"/>
                    <a:pt x="71" y="651"/>
                  </a:cubicBezTo>
                  <a:cubicBezTo>
                    <a:pt x="57" y="648"/>
                    <a:pt x="61" y="650"/>
                    <a:pt x="56" y="639"/>
                  </a:cubicBezTo>
                  <a:cubicBezTo>
                    <a:pt x="53" y="634"/>
                    <a:pt x="55" y="634"/>
                    <a:pt x="56" y="630"/>
                  </a:cubicBezTo>
                  <a:cubicBezTo>
                    <a:pt x="57" y="626"/>
                    <a:pt x="63" y="617"/>
                    <a:pt x="61" y="612"/>
                  </a:cubicBezTo>
                  <a:cubicBezTo>
                    <a:pt x="57" y="605"/>
                    <a:pt x="51" y="601"/>
                    <a:pt x="43" y="600"/>
                  </a:cubicBezTo>
                  <a:cubicBezTo>
                    <a:pt x="40" y="596"/>
                    <a:pt x="40" y="593"/>
                    <a:pt x="41" y="588"/>
                  </a:cubicBezTo>
                  <a:cubicBezTo>
                    <a:pt x="42" y="583"/>
                    <a:pt x="50" y="575"/>
                    <a:pt x="52" y="570"/>
                  </a:cubicBezTo>
                  <a:cubicBezTo>
                    <a:pt x="54" y="562"/>
                    <a:pt x="51" y="560"/>
                    <a:pt x="52" y="555"/>
                  </a:cubicBezTo>
                  <a:cubicBezTo>
                    <a:pt x="53" y="550"/>
                    <a:pt x="55" y="549"/>
                    <a:pt x="58" y="541"/>
                  </a:cubicBezTo>
                  <a:cubicBezTo>
                    <a:pt x="60" y="532"/>
                    <a:pt x="66" y="513"/>
                    <a:pt x="68" y="504"/>
                  </a:cubicBezTo>
                  <a:cubicBezTo>
                    <a:pt x="70" y="495"/>
                    <a:pt x="70" y="490"/>
                    <a:pt x="70" y="484"/>
                  </a:cubicBezTo>
                  <a:cubicBezTo>
                    <a:pt x="71" y="478"/>
                    <a:pt x="70" y="472"/>
                    <a:pt x="71" y="466"/>
                  </a:cubicBezTo>
                  <a:cubicBezTo>
                    <a:pt x="63" y="456"/>
                    <a:pt x="71" y="463"/>
                    <a:pt x="67" y="456"/>
                  </a:cubicBezTo>
                  <a:cubicBezTo>
                    <a:pt x="66" y="452"/>
                    <a:pt x="60" y="447"/>
                    <a:pt x="58" y="442"/>
                  </a:cubicBezTo>
                  <a:cubicBezTo>
                    <a:pt x="56" y="437"/>
                    <a:pt x="56" y="431"/>
                    <a:pt x="56" y="426"/>
                  </a:cubicBezTo>
                  <a:cubicBezTo>
                    <a:pt x="55" y="420"/>
                    <a:pt x="55" y="416"/>
                    <a:pt x="58" y="411"/>
                  </a:cubicBezTo>
                  <a:cubicBezTo>
                    <a:pt x="58" y="406"/>
                    <a:pt x="60" y="399"/>
                    <a:pt x="62" y="394"/>
                  </a:cubicBezTo>
                  <a:cubicBezTo>
                    <a:pt x="64" y="389"/>
                    <a:pt x="66" y="387"/>
                    <a:pt x="68" y="378"/>
                  </a:cubicBezTo>
                  <a:cubicBezTo>
                    <a:pt x="69" y="365"/>
                    <a:pt x="71" y="354"/>
                    <a:pt x="73" y="342"/>
                  </a:cubicBezTo>
                  <a:cubicBezTo>
                    <a:pt x="75" y="332"/>
                    <a:pt x="73" y="325"/>
                    <a:pt x="76" y="318"/>
                  </a:cubicBezTo>
                  <a:cubicBezTo>
                    <a:pt x="78" y="311"/>
                    <a:pt x="85" y="307"/>
                    <a:pt x="88" y="300"/>
                  </a:cubicBezTo>
                  <a:cubicBezTo>
                    <a:pt x="90" y="291"/>
                    <a:pt x="95" y="281"/>
                    <a:pt x="95" y="274"/>
                  </a:cubicBezTo>
                  <a:cubicBezTo>
                    <a:pt x="95" y="267"/>
                    <a:pt x="90" y="265"/>
                    <a:pt x="89" y="256"/>
                  </a:cubicBezTo>
                  <a:cubicBezTo>
                    <a:pt x="88" y="247"/>
                    <a:pt x="86" y="234"/>
                    <a:pt x="86" y="222"/>
                  </a:cubicBezTo>
                  <a:cubicBezTo>
                    <a:pt x="87" y="211"/>
                    <a:pt x="86" y="197"/>
                    <a:pt x="91" y="186"/>
                  </a:cubicBezTo>
                  <a:cubicBezTo>
                    <a:pt x="93" y="177"/>
                    <a:pt x="99" y="170"/>
                    <a:pt x="106" y="166"/>
                  </a:cubicBezTo>
                  <a:cubicBezTo>
                    <a:pt x="109" y="162"/>
                    <a:pt x="112" y="157"/>
                    <a:pt x="115" y="153"/>
                  </a:cubicBezTo>
                  <a:cubicBezTo>
                    <a:pt x="116" y="148"/>
                    <a:pt x="113" y="141"/>
                    <a:pt x="113" y="135"/>
                  </a:cubicBezTo>
                  <a:cubicBezTo>
                    <a:pt x="113" y="129"/>
                    <a:pt x="114" y="123"/>
                    <a:pt x="116" y="117"/>
                  </a:cubicBezTo>
                  <a:cubicBezTo>
                    <a:pt x="118" y="111"/>
                    <a:pt x="122" y="103"/>
                    <a:pt x="124" y="100"/>
                  </a:cubicBezTo>
                  <a:cubicBezTo>
                    <a:pt x="125" y="99"/>
                    <a:pt x="127" y="98"/>
                    <a:pt x="128" y="96"/>
                  </a:cubicBezTo>
                  <a:cubicBezTo>
                    <a:pt x="133" y="79"/>
                    <a:pt x="148" y="64"/>
                    <a:pt x="136" y="73"/>
                  </a:cubicBezTo>
                  <a:cubicBezTo>
                    <a:pt x="130" y="69"/>
                    <a:pt x="131" y="78"/>
                    <a:pt x="128" y="72"/>
                  </a:cubicBezTo>
                  <a:cubicBezTo>
                    <a:pt x="127" y="66"/>
                    <a:pt x="114" y="67"/>
                    <a:pt x="110" y="61"/>
                  </a:cubicBezTo>
                  <a:cubicBezTo>
                    <a:pt x="106" y="55"/>
                    <a:pt x="104" y="42"/>
                    <a:pt x="103" y="34"/>
                  </a:cubicBezTo>
                  <a:cubicBezTo>
                    <a:pt x="102" y="26"/>
                    <a:pt x="107" y="21"/>
                    <a:pt x="106" y="15"/>
                  </a:cubicBezTo>
                  <a:cubicBezTo>
                    <a:pt x="103" y="8"/>
                    <a:pt x="105" y="1"/>
                    <a:pt x="97" y="0"/>
                  </a:cubicBezTo>
                  <a:cubicBezTo>
                    <a:pt x="90" y="3"/>
                    <a:pt x="81" y="8"/>
                    <a:pt x="85" y="1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87" name="Freeform 847"/>
            <p:cNvSpPr>
              <a:spLocks/>
            </p:cNvSpPr>
            <p:nvPr>
              <p:custDataLst>
                <p:tags r:id="rId150"/>
              </p:custDataLst>
            </p:nvPr>
          </p:nvSpPr>
          <p:spPr bwMode="gray">
            <a:xfrm>
              <a:off x="1694375" y="795808"/>
              <a:ext cx="880675" cy="1290269"/>
            </a:xfrm>
            <a:custGeom>
              <a:avLst/>
              <a:gdLst>
                <a:gd name="T0" fmla="*/ 117 w 909"/>
                <a:gd name="T1" fmla="*/ 387 h 1335"/>
                <a:gd name="T2" fmla="*/ 111 w 909"/>
                <a:gd name="T3" fmla="*/ 327 h 1335"/>
                <a:gd name="T4" fmla="*/ 177 w 909"/>
                <a:gd name="T5" fmla="*/ 281 h 1335"/>
                <a:gd name="T6" fmla="*/ 211 w 909"/>
                <a:gd name="T7" fmla="*/ 201 h 1335"/>
                <a:gd name="T8" fmla="*/ 293 w 909"/>
                <a:gd name="T9" fmla="*/ 243 h 1335"/>
                <a:gd name="T10" fmla="*/ 339 w 909"/>
                <a:gd name="T11" fmla="*/ 181 h 1335"/>
                <a:gd name="T12" fmla="*/ 377 w 909"/>
                <a:gd name="T13" fmla="*/ 167 h 1335"/>
                <a:gd name="T14" fmla="*/ 385 w 909"/>
                <a:gd name="T15" fmla="*/ 147 h 1335"/>
                <a:gd name="T16" fmla="*/ 421 w 909"/>
                <a:gd name="T17" fmla="*/ 143 h 1335"/>
                <a:gd name="T18" fmla="*/ 471 w 909"/>
                <a:gd name="T19" fmla="*/ 123 h 1335"/>
                <a:gd name="T20" fmla="*/ 483 w 909"/>
                <a:gd name="T21" fmla="*/ 109 h 1335"/>
                <a:gd name="T22" fmla="*/ 411 w 909"/>
                <a:gd name="T23" fmla="*/ 73 h 1335"/>
                <a:gd name="T24" fmla="*/ 459 w 909"/>
                <a:gd name="T25" fmla="*/ 49 h 1335"/>
                <a:gd name="T26" fmla="*/ 543 w 909"/>
                <a:gd name="T27" fmla="*/ 15 h 1335"/>
                <a:gd name="T28" fmla="*/ 697 w 909"/>
                <a:gd name="T29" fmla="*/ 41 h 1335"/>
                <a:gd name="T30" fmla="*/ 549 w 909"/>
                <a:gd name="T31" fmla="*/ 95 h 1335"/>
                <a:gd name="T32" fmla="*/ 673 w 909"/>
                <a:gd name="T33" fmla="*/ 73 h 1335"/>
                <a:gd name="T34" fmla="*/ 717 w 909"/>
                <a:gd name="T35" fmla="*/ 97 h 1335"/>
                <a:gd name="T36" fmla="*/ 759 w 909"/>
                <a:gd name="T37" fmla="*/ 147 h 1335"/>
                <a:gd name="T38" fmla="*/ 707 w 909"/>
                <a:gd name="T39" fmla="*/ 179 h 1335"/>
                <a:gd name="T40" fmla="*/ 611 w 909"/>
                <a:gd name="T41" fmla="*/ 191 h 1335"/>
                <a:gd name="T42" fmla="*/ 713 w 909"/>
                <a:gd name="T43" fmla="*/ 197 h 1335"/>
                <a:gd name="T44" fmla="*/ 729 w 909"/>
                <a:gd name="T45" fmla="*/ 231 h 1335"/>
                <a:gd name="T46" fmla="*/ 743 w 909"/>
                <a:gd name="T47" fmla="*/ 285 h 1335"/>
                <a:gd name="T48" fmla="*/ 761 w 909"/>
                <a:gd name="T49" fmla="*/ 281 h 1335"/>
                <a:gd name="T50" fmla="*/ 805 w 909"/>
                <a:gd name="T51" fmla="*/ 247 h 1335"/>
                <a:gd name="T52" fmla="*/ 823 w 909"/>
                <a:gd name="T53" fmla="*/ 235 h 1335"/>
                <a:gd name="T54" fmla="*/ 805 w 909"/>
                <a:gd name="T55" fmla="*/ 217 h 1335"/>
                <a:gd name="T56" fmla="*/ 901 w 909"/>
                <a:gd name="T57" fmla="*/ 223 h 1335"/>
                <a:gd name="T58" fmla="*/ 789 w 909"/>
                <a:gd name="T59" fmla="*/ 331 h 1335"/>
                <a:gd name="T60" fmla="*/ 839 w 909"/>
                <a:gd name="T61" fmla="*/ 363 h 1335"/>
                <a:gd name="T62" fmla="*/ 819 w 909"/>
                <a:gd name="T63" fmla="*/ 407 h 1335"/>
                <a:gd name="T64" fmla="*/ 799 w 909"/>
                <a:gd name="T65" fmla="*/ 487 h 1335"/>
                <a:gd name="T66" fmla="*/ 761 w 909"/>
                <a:gd name="T67" fmla="*/ 617 h 1335"/>
                <a:gd name="T68" fmla="*/ 797 w 909"/>
                <a:gd name="T69" fmla="*/ 685 h 1335"/>
                <a:gd name="T70" fmla="*/ 795 w 909"/>
                <a:gd name="T71" fmla="*/ 759 h 1335"/>
                <a:gd name="T72" fmla="*/ 761 w 909"/>
                <a:gd name="T73" fmla="*/ 839 h 1335"/>
                <a:gd name="T74" fmla="*/ 761 w 909"/>
                <a:gd name="T75" fmla="*/ 925 h 1335"/>
                <a:gd name="T76" fmla="*/ 705 w 909"/>
                <a:gd name="T77" fmla="*/ 923 h 1335"/>
                <a:gd name="T78" fmla="*/ 695 w 909"/>
                <a:gd name="T79" fmla="*/ 1033 h 1335"/>
                <a:gd name="T80" fmla="*/ 551 w 909"/>
                <a:gd name="T81" fmla="*/ 1145 h 1335"/>
                <a:gd name="T82" fmla="*/ 463 w 909"/>
                <a:gd name="T83" fmla="*/ 1261 h 1335"/>
                <a:gd name="T84" fmla="*/ 373 w 909"/>
                <a:gd name="T85" fmla="*/ 1309 h 1335"/>
                <a:gd name="T86" fmla="*/ 319 w 909"/>
                <a:gd name="T87" fmla="*/ 1227 h 1335"/>
                <a:gd name="T88" fmla="*/ 291 w 909"/>
                <a:gd name="T89" fmla="*/ 1045 h 1335"/>
                <a:gd name="T90" fmla="*/ 309 w 909"/>
                <a:gd name="T91" fmla="*/ 931 h 1335"/>
                <a:gd name="T92" fmla="*/ 239 w 909"/>
                <a:gd name="T93" fmla="*/ 845 h 1335"/>
                <a:gd name="T94" fmla="*/ 211 w 909"/>
                <a:gd name="T95" fmla="*/ 691 h 1335"/>
                <a:gd name="T96" fmla="*/ 71 w 909"/>
                <a:gd name="T97" fmla="*/ 671 h 1335"/>
                <a:gd name="T98" fmla="*/ 31 w 909"/>
                <a:gd name="T99" fmla="*/ 607 h 1335"/>
                <a:gd name="T100" fmla="*/ 93 w 909"/>
                <a:gd name="T101" fmla="*/ 567 h 1335"/>
                <a:gd name="T102" fmla="*/ 49 w 909"/>
                <a:gd name="T103" fmla="*/ 571 h 1335"/>
                <a:gd name="T104" fmla="*/ 43 w 909"/>
                <a:gd name="T105" fmla="*/ 495 h 1335"/>
                <a:gd name="T106" fmla="*/ 111 w 909"/>
                <a:gd name="T107" fmla="*/ 435 h 1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9" h="1335">
                  <a:moveTo>
                    <a:pt x="111" y="451"/>
                  </a:moveTo>
                  <a:cubicBezTo>
                    <a:pt x="113" y="434"/>
                    <a:pt x="113" y="417"/>
                    <a:pt x="123" y="403"/>
                  </a:cubicBezTo>
                  <a:cubicBezTo>
                    <a:pt x="125" y="386"/>
                    <a:pt x="129" y="392"/>
                    <a:pt x="133" y="379"/>
                  </a:cubicBezTo>
                  <a:cubicBezTo>
                    <a:pt x="129" y="366"/>
                    <a:pt x="126" y="384"/>
                    <a:pt x="117" y="387"/>
                  </a:cubicBezTo>
                  <a:cubicBezTo>
                    <a:pt x="112" y="386"/>
                    <a:pt x="107" y="387"/>
                    <a:pt x="103" y="385"/>
                  </a:cubicBezTo>
                  <a:cubicBezTo>
                    <a:pt x="99" y="383"/>
                    <a:pt x="91" y="377"/>
                    <a:pt x="91" y="377"/>
                  </a:cubicBezTo>
                  <a:cubicBezTo>
                    <a:pt x="83" y="366"/>
                    <a:pt x="86" y="364"/>
                    <a:pt x="91" y="353"/>
                  </a:cubicBezTo>
                  <a:cubicBezTo>
                    <a:pt x="100" y="333"/>
                    <a:pt x="86" y="330"/>
                    <a:pt x="111" y="327"/>
                  </a:cubicBezTo>
                  <a:cubicBezTo>
                    <a:pt x="113" y="313"/>
                    <a:pt x="121" y="307"/>
                    <a:pt x="133" y="299"/>
                  </a:cubicBezTo>
                  <a:cubicBezTo>
                    <a:pt x="139" y="290"/>
                    <a:pt x="142" y="308"/>
                    <a:pt x="151" y="311"/>
                  </a:cubicBezTo>
                  <a:cubicBezTo>
                    <a:pt x="156" y="326"/>
                    <a:pt x="150" y="294"/>
                    <a:pt x="151" y="287"/>
                  </a:cubicBezTo>
                  <a:cubicBezTo>
                    <a:pt x="153" y="278"/>
                    <a:pt x="168" y="282"/>
                    <a:pt x="177" y="281"/>
                  </a:cubicBezTo>
                  <a:cubicBezTo>
                    <a:pt x="191" y="259"/>
                    <a:pt x="170" y="230"/>
                    <a:pt x="189" y="211"/>
                  </a:cubicBezTo>
                  <a:cubicBezTo>
                    <a:pt x="205" y="213"/>
                    <a:pt x="206" y="215"/>
                    <a:pt x="219" y="219"/>
                  </a:cubicBezTo>
                  <a:cubicBezTo>
                    <a:pt x="223" y="231"/>
                    <a:pt x="234" y="249"/>
                    <a:pt x="245" y="257"/>
                  </a:cubicBezTo>
                  <a:cubicBezTo>
                    <a:pt x="233" y="229"/>
                    <a:pt x="228" y="212"/>
                    <a:pt x="211" y="201"/>
                  </a:cubicBezTo>
                  <a:cubicBezTo>
                    <a:pt x="198" y="182"/>
                    <a:pt x="216" y="185"/>
                    <a:pt x="235" y="183"/>
                  </a:cubicBezTo>
                  <a:cubicBezTo>
                    <a:pt x="242" y="172"/>
                    <a:pt x="246" y="173"/>
                    <a:pt x="259" y="171"/>
                  </a:cubicBezTo>
                  <a:cubicBezTo>
                    <a:pt x="272" y="167"/>
                    <a:pt x="263" y="162"/>
                    <a:pt x="281" y="165"/>
                  </a:cubicBezTo>
                  <a:cubicBezTo>
                    <a:pt x="297" y="189"/>
                    <a:pt x="264" y="233"/>
                    <a:pt x="293" y="243"/>
                  </a:cubicBezTo>
                  <a:cubicBezTo>
                    <a:pt x="297" y="230"/>
                    <a:pt x="294" y="211"/>
                    <a:pt x="297" y="197"/>
                  </a:cubicBezTo>
                  <a:cubicBezTo>
                    <a:pt x="296" y="189"/>
                    <a:pt x="291" y="164"/>
                    <a:pt x="307" y="169"/>
                  </a:cubicBezTo>
                  <a:cubicBezTo>
                    <a:pt x="313" y="187"/>
                    <a:pt x="326" y="200"/>
                    <a:pt x="345" y="205"/>
                  </a:cubicBezTo>
                  <a:cubicBezTo>
                    <a:pt x="359" y="202"/>
                    <a:pt x="346" y="191"/>
                    <a:pt x="339" y="181"/>
                  </a:cubicBezTo>
                  <a:cubicBezTo>
                    <a:pt x="337" y="171"/>
                    <a:pt x="333" y="166"/>
                    <a:pt x="331" y="155"/>
                  </a:cubicBezTo>
                  <a:cubicBezTo>
                    <a:pt x="332" y="150"/>
                    <a:pt x="330" y="145"/>
                    <a:pt x="333" y="141"/>
                  </a:cubicBezTo>
                  <a:cubicBezTo>
                    <a:pt x="334" y="139"/>
                    <a:pt x="360" y="148"/>
                    <a:pt x="365" y="151"/>
                  </a:cubicBezTo>
                  <a:cubicBezTo>
                    <a:pt x="368" y="159"/>
                    <a:pt x="370" y="162"/>
                    <a:pt x="377" y="167"/>
                  </a:cubicBezTo>
                  <a:cubicBezTo>
                    <a:pt x="382" y="175"/>
                    <a:pt x="390" y="182"/>
                    <a:pt x="399" y="185"/>
                  </a:cubicBezTo>
                  <a:cubicBezTo>
                    <a:pt x="407" y="197"/>
                    <a:pt x="413" y="210"/>
                    <a:pt x="427" y="215"/>
                  </a:cubicBezTo>
                  <a:cubicBezTo>
                    <a:pt x="424" y="200"/>
                    <a:pt x="425" y="186"/>
                    <a:pt x="411" y="177"/>
                  </a:cubicBezTo>
                  <a:cubicBezTo>
                    <a:pt x="404" y="166"/>
                    <a:pt x="396" y="154"/>
                    <a:pt x="385" y="147"/>
                  </a:cubicBezTo>
                  <a:cubicBezTo>
                    <a:pt x="376" y="134"/>
                    <a:pt x="374" y="127"/>
                    <a:pt x="389" y="117"/>
                  </a:cubicBezTo>
                  <a:cubicBezTo>
                    <a:pt x="395" y="118"/>
                    <a:pt x="404" y="117"/>
                    <a:pt x="409" y="123"/>
                  </a:cubicBezTo>
                  <a:cubicBezTo>
                    <a:pt x="418" y="134"/>
                    <a:pt x="422" y="162"/>
                    <a:pt x="437" y="167"/>
                  </a:cubicBezTo>
                  <a:cubicBezTo>
                    <a:pt x="432" y="157"/>
                    <a:pt x="431" y="149"/>
                    <a:pt x="421" y="143"/>
                  </a:cubicBezTo>
                  <a:cubicBezTo>
                    <a:pt x="419" y="136"/>
                    <a:pt x="413" y="132"/>
                    <a:pt x="411" y="125"/>
                  </a:cubicBezTo>
                  <a:cubicBezTo>
                    <a:pt x="410" y="121"/>
                    <a:pt x="407" y="113"/>
                    <a:pt x="407" y="113"/>
                  </a:cubicBezTo>
                  <a:cubicBezTo>
                    <a:pt x="424" y="107"/>
                    <a:pt x="435" y="111"/>
                    <a:pt x="453" y="113"/>
                  </a:cubicBezTo>
                  <a:cubicBezTo>
                    <a:pt x="460" y="115"/>
                    <a:pt x="471" y="123"/>
                    <a:pt x="471" y="123"/>
                  </a:cubicBezTo>
                  <a:cubicBezTo>
                    <a:pt x="467" y="139"/>
                    <a:pt x="468" y="119"/>
                    <a:pt x="459" y="113"/>
                  </a:cubicBezTo>
                  <a:cubicBezTo>
                    <a:pt x="458" y="109"/>
                    <a:pt x="451" y="100"/>
                    <a:pt x="455" y="101"/>
                  </a:cubicBezTo>
                  <a:cubicBezTo>
                    <a:pt x="469" y="104"/>
                    <a:pt x="462" y="102"/>
                    <a:pt x="477" y="107"/>
                  </a:cubicBezTo>
                  <a:cubicBezTo>
                    <a:pt x="479" y="108"/>
                    <a:pt x="483" y="109"/>
                    <a:pt x="483" y="109"/>
                  </a:cubicBezTo>
                  <a:cubicBezTo>
                    <a:pt x="484" y="111"/>
                    <a:pt x="489" y="114"/>
                    <a:pt x="487" y="115"/>
                  </a:cubicBezTo>
                  <a:cubicBezTo>
                    <a:pt x="481" y="119"/>
                    <a:pt x="464" y="101"/>
                    <a:pt x="461" y="99"/>
                  </a:cubicBezTo>
                  <a:cubicBezTo>
                    <a:pt x="451" y="92"/>
                    <a:pt x="446" y="94"/>
                    <a:pt x="431" y="93"/>
                  </a:cubicBezTo>
                  <a:cubicBezTo>
                    <a:pt x="426" y="86"/>
                    <a:pt x="418" y="78"/>
                    <a:pt x="411" y="73"/>
                  </a:cubicBezTo>
                  <a:cubicBezTo>
                    <a:pt x="400" y="57"/>
                    <a:pt x="416" y="62"/>
                    <a:pt x="431" y="63"/>
                  </a:cubicBezTo>
                  <a:cubicBezTo>
                    <a:pt x="433" y="64"/>
                    <a:pt x="437" y="67"/>
                    <a:pt x="437" y="65"/>
                  </a:cubicBezTo>
                  <a:cubicBezTo>
                    <a:pt x="438" y="61"/>
                    <a:pt x="433" y="53"/>
                    <a:pt x="433" y="53"/>
                  </a:cubicBezTo>
                  <a:cubicBezTo>
                    <a:pt x="441" y="50"/>
                    <a:pt x="451" y="52"/>
                    <a:pt x="459" y="49"/>
                  </a:cubicBezTo>
                  <a:cubicBezTo>
                    <a:pt x="461" y="48"/>
                    <a:pt x="459" y="44"/>
                    <a:pt x="461" y="43"/>
                  </a:cubicBezTo>
                  <a:cubicBezTo>
                    <a:pt x="467" y="41"/>
                    <a:pt x="473" y="42"/>
                    <a:pt x="479" y="41"/>
                  </a:cubicBezTo>
                  <a:cubicBezTo>
                    <a:pt x="488" y="38"/>
                    <a:pt x="493" y="35"/>
                    <a:pt x="503" y="33"/>
                  </a:cubicBezTo>
                  <a:cubicBezTo>
                    <a:pt x="515" y="25"/>
                    <a:pt x="529" y="18"/>
                    <a:pt x="543" y="15"/>
                  </a:cubicBezTo>
                  <a:cubicBezTo>
                    <a:pt x="560" y="4"/>
                    <a:pt x="587" y="5"/>
                    <a:pt x="607" y="3"/>
                  </a:cubicBezTo>
                  <a:cubicBezTo>
                    <a:pt x="616" y="0"/>
                    <a:pt x="622" y="3"/>
                    <a:pt x="631" y="5"/>
                  </a:cubicBezTo>
                  <a:cubicBezTo>
                    <a:pt x="648" y="17"/>
                    <a:pt x="670" y="20"/>
                    <a:pt x="687" y="31"/>
                  </a:cubicBezTo>
                  <a:cubicBezTo>
                    <a:pt x="690" y="35"/>
                    <a:pt x="695" y="37"/>
                    <a:pt x="697" y="41"/>
                  </a:cubicBezTo>
                  <a:cubicBezTo>
                    <a:pt x="701" y="51"/>
                    <a:pt x="677" y="57"/>
                    <a:pt x="671" y="59"/>
                  </a:cubicBezTo>
                  <a:cubicBezTo>
                    <a:pt x="655" y="64"/>
                    <a:pt x="631" y="62"/>
                    <a:pt x="619" y="63"/>
                  </a:cubicBezTo>
                  <a:cubicBezTo>
                    <a:pt x="600" y="67"/>
                    <a:pt x="585" y="79"/>
                    <a:pt x="567" y="85"/>
                  </a:cubicBezTo>
                  <a:cubicBezTo>
                    <a:pt x="562" y="93"/>
                    <a:pt x="558" y="93"/>
                    <a:pt x="549" y="95"/>
                  </a:cubicBezTo>
                  <a:cubicBezTo>
                    <a:pt x="556" y="105"/>
                    <a:pt x="556" y="96"/>
                    <a:pt x="563" y="89"/>
                  </a:cubicBezTo>
                  <a:cubicBezTo>
                    <a:pt x="597" y="94"/>
                    <a:pt x="563" y="106"/>
                    <a:pt x="585" y="121"/>
                  </a:cubicBezTo>
                  <a:cubicBezTo>
                    <a:pt x="596" y="87"/>
                    <a:pt x="581" y="91"/>
                    <a:pt x="621" y="87"/>
                  </a:cubicBezTo>
                  <a:cubicBezTo>
                    <a:pt x="627" y="70"/>
                    <a:pt x="673" y="73"/>
                    <a:pt x="673" y="73"/>
                  </a:cubicBezTo>
                  <a:cubicBezTo>
                    <a:pt x="689" y="70"/>
                    <a:pt x="690" y="69"/>
                    <a:pt x="709" y="71"/>
                  </a:cubicBezTo>
                  <a:cubicBezTo>
                    <a:pt x="708" y="78"/>
                    <a:pt x="708" y="86"/>
                    <a:pt x="707" y="93"/>
                  </a:cubicBezTo>
                  <a:cubicBezTo>
                    <a:pt x="707" y="96"/>
                    <a:pt x="703" y="100"/>
                    <a:pt x="705" y="103"/>
                  </a:cubicBezTo>
                  <a:cubicBezTo>
                    <a:pt x="707" y="107"/>
                    <a:pt x="713" y="98"/>
                    <a:pt x="717" y="97"/>
                  </a:cubicBezTo>
                  <a:cubicBezTo>
                    <a:pt x="722" y="98"/>
                    <a:pt x="729" y="96"/>
                    <a:pt x="733" y="99"/>
                  </a:cubicBezTo>
                  <a:cubicBezTo>
                    <a:pt x="744" y="106"/>
                    <a:pt x="726" y="115"/>
                    <a:pt x="741" y="105"/>
                  </a:cubicBezTo>
                  <a:cubicBezTo>
                    <a:pt x="749" y="108"/>
                    <a:pt x="754" y="113"/>
                    <a:pt x="761" y="117"/>
                  </a:cubicBezTo>
                  <a:cubicBezTo>
                    <a:pt x="760" y="127"/>
                    <a:pt x="762" y="137"/>
                    <a:pt x="759" y="147"/>
                  </a:cubicBezTo>
                  <a:cubicBezTo>
                    <a:pt x="758" y="150"/>
                    <a:pt x="753" y="147"/>
                    <a:pt x="751" y="149"/>
                  </a:cubicBezTo>
                  <a:cubicBezTo>
                    <a:pt x="737" y="166"/>
                    <a:pt x="763" y="163"/>
                    <a:pt x="731" y="167"/>
                  </a:cubicBezTo>
                  <a:cubicBezTo>
                    <a:pt x="727" y="168"/>
                    <a:pt x="723" y="170"/>
                    <a:pt x="719" y="171"/>
                  </a:cubicBezTo>
                  <a:cubicBezTo>
                    <a:pt x="714" y="173"/>
                    <a:pt x="707" y="179"/>
                    <a:pt x="707" y="179"/>
                  </a:cubicBezTo>
                  <a:cubicBezTo>
                    <a:pt x="681" y="175"/>
                    <a:pt x="685" y="175"/>
                    <a:pt x="647" y="177"/>
                  </a:cubicBezTo>
                  <a:cubicBezTo>
                    <a:pt x="643" y="178"/>
                    <a:pt x="639" y="179"/>
                    <a:pt x="635" y="181"/>
                  </a:cubicBezTo>
                  <a:cubicBezTo>
                    <a:pt x="633" y="182"/>
                    <a:pt x="631" y="184"/>
                    <a:pt x="629" y="185"/>
                  </a:cubicBezTo>
                  <a:cubicBezTo>
                    <a:pt x="623" y="188"/>
                    <a:pt x="611" y="191"/>
                    <a:pt x="611" y="191"/>
                  </a:cubicBezTo>
                  <a:cubicBezTo>
                    <a:pt x="603" y="203"/>
                    <a:pt x="611" y="217"/>
                    <a:pt x="595" y="221"/>
                  </a:cubicBezTo>
                  <a:cubicBezTo>
                    <a:pt x="598" y="231"/>
                    <a:pt x="601" y="224"/>
                    <a:pt x="609" y="221"/>
                  </a:cubicBezTo>
                  <a:cubicBezTo>
                    <a:pt x="626" y="204"/>
                    <a:pt x="645" y="195"/>
                    <a:pt x="669" y="193"/>
                  </a:cubicBezTo>
                  <a:cubicBezTo>
                    <a:pt x="687" y="187"/>
                    <a:pt x="694" y="196"/>
                    <a:pt x="713" y="197"/>
                  </a:cubicBezTo>
                  <a:cubicBezTo>
                    <a:pt x="722" y="225"/>
                    <a:pt x="708" y="221"/>
                    <a:pt x="693" y="231"/>
                  </a:cubicBezTo>
                  <a:cubicBezTo>
                    <a:pt x="690" y="235"/>
                    <a:pt x="686" y="245"/>
                    <a:pt x="691" y="245"/>
                  </a:cubicBezTo>
                  <a:cubicBezTo>
                    <a:pt x="691" y="245"/>
                    <a:pt x="706" y="235"/>
                    <a:pt x="709" y="233"/>
                  </a:cubicBezTo>
                  <a:cubicBezTo>
                    <a:pt x="715" y="229"/>
                    <a:pt x="722" y="232"/>
                    <a:pt x="729" y="231"/>
                  </a:cubicBezTo>
                  <a:cubicBezTo>
                    <a:pt x="739" y="221"/>
                    <a:pt x="738" y="206"/>
                    <a:pt x="745" y="199"/>
                  </a:cubicBezTo>
                  <a:cubicBezTo>
                    <a:pt x="748" y="195"/>
                    <a:pt x="757" y="191"/>
                    <a:pt x="757" y="191"/>
                  </a:cubicBezTo>
                  <a:cubicBezTo>
                    <a:pt x="784" y="200"/>
                    <a:pt x="767" y="251"/>
                    <a:pt x="765" y="265"/>
                  </a:cubicBezTo>
                  <a:cubicBezTo>
                    <a:pt x="764" y="275"/>
                    <a:pt x="743" y="285"/>
                    <a:pt x="743" y="285"/>
                  </a:cubicBezTo>
                  <a:cubicBezTo>
                    <a:pt x="735" y="298"/>
                    <a:pt x="742" y="312"/>
                    <a:pt x="729" y="321"/>
                  </a:cubicBezTo>
                  <a:cubicBezTo>
                    <a:pt x="726" y="331"/>
                    <a:pt x="724" y="338"/>
                    <a:pt x="737" y="335"/>
                  </a:cubicBezTo>
                  <a:cubicBezTo>
                    <a:pt x="744" y="328"/>
                    <a:pt x="748" y="326"/>
                    <a:pt x="745" y="317"/>
                  </a:cubicBezTo>
                  <a:cubicBezTo>
                    <a:pt x="750" y="303"/>
                    <a:pt x="753" y="293"/>
                    <a:pt x="761" y="281"/>
                  </a:cubicBezTo>
                  <a:cubicBezTo>
                    <a:pt x="764" y="277"/>
                    <a:pt x="773" y="273"/>
                    <a:pt x="773" y="273"/>
                  </a:cubicBezTo>
                  <a:cubicBezTo>
                    <a:pt x="777" y="262"/>
                    <a:pt x="781" y="253"/>
                    <a:pt x="785" y="243"/>
                  </a:cubicBezTo>
                  <a:cubicBezTo>
                    <a:pt x="787" y="239"/>
                    <a:pt x="785" y="232"/>
                    <a:pt x="789" y="231"/>
                  </a:cubicBezTo>
                  <a:cubicBezTo>
                    <a:pt x="793" y="230"/>
                    <a:pt x="805" y="247"/>
                    <a:pt x="805" y="247"/>
                  </a:cubicBezTo>
                  <a:cubicBezTo>
                    <a:pt x="815" y="262"/>
                    <a:pt x="808" y="237"/>
                    <a:pt x="821" y="245"/>
                  </a:cubicBezTo>
                  <a:cubicBezTo>
                    <a:pt x="825" y="244"/>
                    <a:pt x="826" y="254"/>
                    <a:pt x="829" y="251"/>
                  </a:cubicBezTo>
                  <a:cubicBezTo>
                    <a:pt x="831" y="249"/>
                    <a:pt x="827" y="243"/>
                    <a:pt x="825" y="241"/>
                  </a:cubicBezTo>
                  <a:cubicBezTo>
                    <a:pt x="823" y="240"/>
                    <a:pt x="824" y="236"/>
                    <a:pt x="823" y="235"/>
                  </a:cubicBezTo>
                  <a:cubicBezTo>
                    <a:pt x="822" y="234"/>
                    <a:pt x="819" y="234"/>
                    <a:pt x="817" y="233"/>
                  </a:cubicBezTo>
                  <a:cubicBezTo>
                    <a:pt x="811" y="227"/>
                    <a:pt x="818" y="220"/>
                    <a:pt x="811" y="215"/>
                  </a:cubicBezTo>
                  <a:cubicBezTo>
                    <a:pt x="805" y="205"/>
                    <a:pt x="794" y="198"/>
                    <a:pt x="797" y="187"/>
                  </a:cubicBezTo>
                  <a:cubicBezTo>
                    <a:pt x="803" y="195"/>
                    <a:pt x="798" y="212"/>
                    <a:pt x="805" y="217"/>
                  </a:cubicBezTo>
                  <a:cubicBezTo>
                    <a:pt x="808" y="219"/>
                    <a:pt x="824" y="225"/>
                    <a:pt x="829" y="227"/>
                  </a:cubicBezTo>
                  <a:cubicBezTo>
                    <a:pt x="841" y="223"/>
                    <a:pt x="845" y="213"/>
                    <a:pt x="857" y="209"/>
                  </a:cubicBezTo>
                  <a:cubicBezTo>
                    <a:pt x="882" y="211"/>
                    <a:pt x="871" y="207"/>
                    <a:pt x="889" y="219"/>
                  </a:cubicBezTo>
                  <a:cubicBezTo>
                    <a:pt x="893" y="221"/>
                    <a:pt x="901" y="223"/>
                    <a:pt x="901" y="223"/>
                  </a:cubicBezTo>
                  <a:cubicBezTo>
                    <a:pt x="905" y="234"/>
                    <a:pt x="902" y="245"/>
                    <a:pt x="909" y="255"/>
                  </a:cubicBezTo>
                  <a:cubicBezTo>
                    <a:pt x="901" y="260"/>
                    <a:pt x="891" y="265"/>
                    <a:pt x="887" y="275"/>
                  </a:cubicBezTo>
                  <a:cubicBezTo>
                    <a:pt x="879" y="293"/>
                    <a:pt x="892" y="304"/>
                    <a:pt x="871" y="307"/>
                  </a:cubicBezTo>
                  <a:cubicBezTo>
                    <a:pt x="867" y="352"/>
                    <a:pt x="828" y="329"/>
                    <a:pt x="789" y="331"/>
                  </a:cubicBezTo>
                  <a:cubicBezTo>
                    <a:pt x="787" y="333"/>
                    <a:pt x="765" y="354"/>
                    <a:pt x="781" y="343"/>
                  </a:cubicBezTo>
                  <a:cubicBezTo>
                    <a:pt x="788" y="332"/>
                    <a:pt x="792" y="335"/>
                    <a:pt x="805" y="337"/>
                  </a:cubicBezTo>
                  <a:cubicBezTo>
                    <a:pt x="815" y="344"/>
                    <a:pt x="835" y="323"/>
                    <a:pt x="845" y="331"/>
                  </a:cubicBezTo>
                  <a:cubicBezTo>
                    <a:pt x="847" y="331"/>
                    <a:pt x="841" y="357"/>
                    <a:pt x="839" y="363"/>
                  </a:cubicBezTo>
                  <a:cubicBezTo>
                    <a:pt x="834" y="377"/>
                    <a:pt x="810" y="366"/>
                    <a:pt x="795" y="367"/>
                  </a:cubicBezTo>
                  <a:cubicBezTo>
                    <a:pt x="787" y="372"/>
                    <a:pt x="784" y="375"/>
                    <a:pt x="793" y="381"/>
                  </a:cubicBezTo>
                  <a:cubicBezTo>
                    <a:pt x="797" y="386"/>
                    <a:pt x="825" y="381"/>
                    <a:pt x="829" y="385"/>
                  </a:cubicBezTo>
                  <a:cubicBezTo>
                    <a:pt x="833" y="389"/>
                    <a:pt x="824" y="404"/>
                    <a:pt x="819" y="407"/>
                  </a:cubicBezTo>
                  <a:cubicBezTo>
                    <a:pt x="813" y="406"/>
                    <a:pt x="807" y="406"/>
                    <a:pt x="801" y="405"/>
                  </a:cubicBezTo>
                  <a:cubicBezTo>
                    <a:pt x="799" y="404"/>
                    <a:pt x="796" y="399"/>
                    <a:pt x="795" y="401"/>
                  </a:cubicBezTo>
                  <a:cubicBezTo>
                    <a:pt x="790" y="417"/>
                    <a:pt x="799" y="422"/>
                    <a:pt x="797" y="439"/>
                  </a:cubicBezTo>
                  <a:cubicBezTo>
                    <a:pt x="799" y="451"/>
                    <a:pt x="793" y="477"/>
                    <a:pt x="799" y="487"/>
                  </a:cubicBezTo>
                  <a:cubicBezTo>
                    <a:pt x="791" y="492"/>
                    <a:pt x="781" y="478"/>
                    <a:pt x="773" y="483"/>
                  </a:cubicBezTo>
                  <a:cubicBezTo>
                    <a:pt x="766" y="494"/>
                    <a:pt x="781" y="524"/>
                    <a:pt x="767" y="529"/>
                  </a:cubicBezTo>
                  <a:cubicBezTo>
                    <a:pt x="753" y="571"/>
                    <a:pt x="777" y="588"/>
                    <a:pt x="811" y="595"/>
                  </a:cubicBezTo>
                  <a:cubicBezTo>
                    <a:pt x="807" y="627"/>
                    <a:pt x="801" y="615"/>
                    <a:pt x="761" y="617"/>
                  </a:cubicBezTo>
                  <a:cubicBezTo>
                    <a:pt x="758" y="627"/>
                    <a:pt x="748" y="629"/>
                    <a:pt x="757" y="635"/>
                  </a:cubicBezTo>
                  <a:cubicBezTo>
                    <a:pt x="764" y="646"/>
                    <a:pt x="775" y="655"/>
                    <a:pt x="787" y="659"/>
                  </a:cubicBezTo>
                  <a:cubicBezTo>
                    <a:pt x="793" y="669"/>
                    <a:pt x="789" y="661"/>
                    <a:pt x="793" y="673"/>
                  </a:cubicBezTo>
                  <a:cubicBezTo>
                    <a:pt x="794" y="677"/>
                    <a:pt x="797" y="685"/>
                    <a:pt x="797" y="685"/>
                  </a:cubicBezTo>
                  <a:cubicBezTo>
                    <a:pt x="795" y="714"/>
                    <a:pt x="802" y="736"/>
                    <a:pt x="773" y="717"/>
                  </a:cubicBezTo>
                  <a:cubicBezTo>
                    <a:pt x="764" y="703"/>
                    <a:pt x="765" y="686"/>
                    <a:pt x="761" y="697"/>
                  </a:cubicBezTo>
                  <a:cubicBezTo>
                    <a:pt x="770" y="725"/>
                    <a:pt x="773" y="742"/>
                    <a:pt x="803" y="747"/>
                  </a:cubicBezTo>
                  <a:cubicBezTo>
                    <a:pt x="796" y="767"/>
                    <a:pt x="807" y="737"/>
                    <a:pt x="795" y="759"/>
                  </a:cubicBezTo>
                  <a:cubicBezTo>
                    <a:pt x="786" y="776"/>
                    <a:pt x="789" y="770"/>
                    <a:pt x="769" y="773"/>
                  </a:cubicBezTo>
                  <a:cubicBezTo>
                    <a:pt x="764" y="789"/>
                    <a:pt x="772" y="794"/>
                    <a:pt x="789" y="797"/>
                  </a:cubicBezTo>
                  <a:cubicBezTo>
                    <a:pt x="782" y="818"/>
                    <a:pt x="749" y="804"/>
                    <a:pt x="731" y="805"/>
                  </a:cubicBezTo>
                  <a:cubicBezTo>
                    <a:pt x="734" y="814"/>
                    <a:pt x="753" y="834"/>
                    <a:pt x="761" y="839"/>
                  </a:cubicBezTo>
                  <a:cubicBezTo>
                    <a:pt x="770" y="853"/>
                    <a:pt x="759" y="852"/>
                    <a:pt x="763" y="863"/>
                  </a:cubicBezTo>
                  <a:cubicBezTo>
                    <a:pt x="762" y="872"/>
                    <a:pt x="761" y="881"/>
                    <a:pt x="761" y="881"/>
                  </a:cubicBezTo>
                  <a:cubicBezTo>
                    <a:pt x="758" y="898"/>
                    <a:pt x="763" y="892"/>
                    <a:pt x="749" y="887"/>
                  </a:cubicBezTo>
                  <a:cubicBezTo>
                    <a:pt x="753" y="900"/>
                    <a:pt x="753" y="913"/>
                    <a:pt x="761" y="925"/>
                  </a:cubicBezTo>
                  <a:cubicBezTo>
                    <a:pt x="763" y="929"/>
                    <a:pt x="765" y="937"/>
                    <a:pt x="765" y="937"/>
                  </a:cubicBezTo>
                  <a:cubicBezTo>
                    <a:pt x="762" y="958"/>
                    <a:pt x="764" y="958"/>
                    <a:pt x="741" y="955"/>
                  </a:cubicBezTo>
                  <a:cubicBezTo>
                    <a:pt x="735" y="951"/>
                    <a:pt x="729" y="945"/>
                    <a:pt x="723" y="941"/>
                  </a:cubicBezTo>
                  <a:cubicBezTo>
                    <a:pt x="720" y="931"/>
                    <a:pt x="715" y="926"/>
                    <a:pt x="705" y="923"/>
                  </a:cubicBezTo>
                  <a:cubicBezTo>
                    <a:pt x="708" y="988"/>
                    <a:pt x="702" y="963"/>
                    <a:pt x="751" y="973"/>
                  </a:cubicBezTo>
                  <a:cubicBezTo>
                    <a:pt x="743" y="978"/>
                    <a:pt x="745" y="983"/>
                    <a:pt x="739" y="989"/>
                  </a:cubicBezTo>
                  <a:cubicBezTo>
                    <a:pt x="730" y="998"/>
                    <a:pt x="726" y="1008"/>
                    <a:pt x="715" y="1015"/>
                  </a:cubicBezTo>
                  <a:cubicBezTo>
                    <a:pt x="712" y="1023"/>
                    <a:pt x="698" y="1025"/>
                    <a:pt x="695" y="1033"/>
                  </a:cubicBezTo>
                  <a:cubicBezTo>
                    <a:pt x="690" y="1049"/>
                    <a:pt x="627" y="1051"/>
                    <a:pt x="621" y="1051"/>
                  </a:cubicBezTo>
                  <a:cubicBezTo>
                    <a:pt x="606" y="1056"/>
                    <a:pt x="612" y="1052"/>
                    <a:pt x="603" y="1061"/>
                  </a:cubicBezTo>
                  <a:cubicBezTo>
                    <a:pt x="601" y="1073"/>
                    <a:pt x="582" y="1110"/>
                    <a:pt x="575" y="1121"/>
                  </a:cubicBezTo>
                  <a:cubicBezTo>
                    <a:pt x="570" y="1129"/>
                    <a:pt x="560" y="1140"/>
                    <a:pt x="551" y="1145"/>
                  </a:cubicBezTo>
                  <a:cubicBezTo>
                    <a:pt x="538" y="1151"/>
                    <a:pt x="529" y="1160"/>
                    <a:pt x="515" y="1165"/>
                  </a:cubicBezTo>
                  <a:cubicBezTo>
                    <a:pt x="508" y="1167"/>
                    <a:pt x="493" y="1171"/>
                    <a:pt x="493" y="1171"/>
                  </a:cubicBezTo>
                  <a:cubicBezTo>
                    <a:pt x="491" y="1194"/>
                    <a:pt x="486" y="1234"/>
                    <a:pt x="463" y="1249"/>
                  </a:cubicBezTo>
                  <a:cubicBezTo>
                    <a:pt x="460" y="1253"/>
                    <a:pt x="465" y="1257"/>
                    <a:pt x="463" y="1261"/>
                  </a:cubicBezTo>
                  <a:cubicBezTo>
                    <a:pt x="461" y="1265"/>
                    <a:pt x="459" y="1273"/>
                    <a:pt x="459" y="1273"/>
                  </a:cubicBezTo>
                  <a:cubicBezTo>
                    <a:pt x="458" y="1293"/>
                    <a:pt x="455" y="1318"/>
                    <a:pt x="443" y="1335"/>
                  </a:cubicBezTo>
                  <a:cubicBezTo>
                    <a:pt x="430" y="1334"/>
                    <a:pt x="416" y="1333"/>
                    <a:pt x="403" y="1329"/>
                  </a:cubicBezTo>
                  <a:cubicBezTo>
                    <a:pt x="394" y="1320"/>
                    <a:pt x="384" y="1315"/>
                    <a:pt x="373" y="1309"/>
                  </a:cubicBezTo>
                  <a:cubicBezTo>
                    <a:pt x="369" y="1307"/>
                    <a:pt x="361" y="1301"/>
                    <a:pt x="361" y="1301"/>
                  </a:cubicBezTo>
                  <a:cubicBezTo>
                    <a:pt x="358" y="1297"/>
                    <a:pt x="353" y="1295"/>
                    <a:pt x="351" y="1291"/>
                  </a:cubicBezTo>
                  <a:cubicBezTo>
                    <a:pt x="345" y="1281"/>
                    <a:pt x="340" y="1266"/>
                    <a:pt x="335" y="1255"/>
                  </a:cubicBezTo>
                  <a:cubicBezTo>
                    <a:pt x="330" y="1245"/>
                    <a:pt x="329" y="1234"/>
                    <a:pt x="319" y="1227"/>
                  </a:cubicBezTo>
                  <a:cubicBezTo>
                    <a:pt x="315" y="1214"/>
                    <a:pt x="317" y="1200"/>
                    <a:pt x="313" y="1187"/>
                  </a:cubicBezTo>
                  <a:cubicBezTo>
                    <a:pt x="312" y="1172"/>
                    <a:pt x="298" y="1167"/>
                    <a:pt x="293" y="1153"/>
                  </a:cubicBezTo>
                  <a:cubicBezTo>
                    <a:pt x="291" y="1147"/>
                    <a:pt x="285" y="1135"/>
                    <a:pt x="285" y="1135"/>
                  </a:cubicBezTo>
                  <a:cubicBezTo>
                    <a:pt x="286" y="1104"/>
                    <a:pt x="281" y="1074"/>
                    <a:pt x="291" y="1045"/>
                  </a:cubicBezTo>
                  <a:cubicBezTo>
                    <a:pt x="293" y="1017"/>
                    <a:pt x="296" y="1012"/>
                    <a:pt x="279" y="995"/>
                  </a:cubicBezTo>
                  <a:cubicBezTo>
                    <a:pt x="273" y="978"/>
                    <a:pt x="266" y="951"/>
                    <a:pt x="285" y="945"/>
                  </a:cubicBezTo>
                  <a:cubicBezTo>
                    <a:pt x="304" y="946"/>
                    <a:pt x="310" y="944"/>
                    <a:pt x="323" y="953"/>
                  </a:cubicBezTo>
                  <a:cubicBezTo>
                    <a:pt x="320" y="944"/>
                    <a:pt x="316" y="936"/>
                    <a:pt x="309" y="931"/>
                  </a:cubicBezTo>
                  <a:cubicBezTo>
                    <a:pt x="302" y="920"/>
                    <a:pt x="292" y="921"/>
                    <a:pt x="281" y="913"/>
                  </a:cubicBezTo>
                  <a:cubicBezTo>
                    <a:pt x="271" y="915"/>
                    <a:pt x="263" y="909"/>
                    <a:pt x="259" y="897"/>
                  </a:cubicBezTo>
                  <a:cubicBezTo>
                    <a:pt x="257" y="879"/>
                    <a:pt x="257" y="878"/>
                    <a:pt x="247" y="863"/>
                  </a:cubicBezTo>
                  <a:cubicBezTo>
                    <a:pt x="243" y="858"/>
                    <a:pt x="239" y="845"/>
                    <a:pt x="239" y="845"/>
                  </a:cubicBezTo>
                  <a:cubicBezTo>
                    <a:pt x="243" y="817"/>
                    <a:pt x="247" y="781"/>
                    <a:pt x="233" y="755"/>
                  </a:cubicBezTo>
                  <a:cubicBezTo>
                    <a:pt x="227" y="745"/>
                    <a:pt x="222" y="735"/>
                    <a:pt x="217" y="725"/>
                  </a:cubicBezTo>
                  <a:cubicBezTo>
                    <a:pt x="215" y="721"/>
                    <a:pt x="213" y="713"/>
                    <a:pt x="213" y="713"/>
                  </a:cubicBezTo>
                  <a:cubicBezTo>
                    <a:pt x="212" y="706"/>
                    <a:pt x="214" y="698"/>
                    <a:pt x="211" y="691"/>
                  </a:cubicBezTo>
                  <a:cubicBezTo>
                    <a:pt x="209" y="687"/>
                    <a:pt x="203" y="686"/>
                    <a:pt x="199" y="683"/>
                  </a:cubicBezTo>
                  <a:cubicBezTo>
                    <a:pt x="184" y="673"/>
                    <a:pt x="168" y="665"/>
                    <a:pt x="151" y="659"/>
                  </a:cubicBezTo>
                  <a:cubicBezTo>
                    <a:pt x="130" y="661"/>
                    <a:pt x="115" y="669"/>
                    <a:pt x="93" y="671"/>
                  </a:cubicBezTo>
                  <a:cubicBezTo>
                    <a:pt x="86" y="681"/>
                    <a:pt x="80" y="677"/>
                    <a:pt x="71" y="671"/>
                  </a:cubicBezTo>
                  <a:cubicBezTo>
                    <a:pt x="66" y="663"/>
                    <a:pt x="59" y="654"/>
                    <a:pt x="51" y="649"/>
                  </a:cubicBezTo>
                  <a:cubicBezTo>
                    <a:pt x="41" y="634"/>
                    <a:pt x="27" y="640"/>
                    <a:pt x="67" y="637"/>
                  </a:cubicBezTo>
                  <a:cubicBezTo>
                    <a:pt x="63" y="626"/>
                    <a:pt x="53" y="616"/>
                    <a:pt x="43" y="611"/>
                  </a:cubicBezTo>
                  <a:cubicBezTo>
                    <a:pt x="39" y="609"/>
                    <a:pt x="31" y="607"/>
                    <a:pt x="31" y="607"/>
                  </a:cubicBezTo>
                  <a:cubicBezTo>
                    <a:pt x="36" y="593"/>
                    <a:pt x="53" y="598"/>
                    <a:pt x="67" y="597"/>
                  </a:cubicBezTo>
                  <a:cubicBezTo>
                    <a:pt x="75" y="594"/>
                    <a:pt x="83" y="593"/>
                    <a:pt x="91" y="591"/>
                  </a:cubicBezTo>
                  <a:cubicBezTo>
                    <a:pt x="93" y="589"/>
                    <a:pt x="97" y="583"/>
                    <a:pt x="97" y="579"/>
                  </a:cubicBezTo>
                  <a:cubicBezTo>
                    <a:pt x="97" y="575"/>
                    <a:pt x="93" y="567"/>
                    <a:pt x="93" y="567"/>
                  </a:cubicBezTo>
                  <a:cubicBezTo>
                    <a:pt x="73" y="572"/>
                    <a:pt x="82" y="572"/>
                    <a:pt x="65" y="569"/>
                  </a:cubicBezTo>
                  <a:cubicBezTo>
                    <a:pt x="51" y="578"/>
                    <a:pt x="58" y="575"/>
                    <a:pt x="47" y="579"/>
                  </a:cubicBezTo>
                  <a:cubicBezTo>
                    <a:pt x="40" y="578"/>
                    <a:pt x="30" y="582"/>
                    <a:pt x="25" y="577"/>
                  </a:cubicBezTo>
                  <a:cubicBezTo>
                    <a:pt x="19" y="571"/>
                    <a:pt x="49" y="571"/>
                    <a:pt x="49" y="571"/>
                  </a:cubicBezTo>
                  <a:cubicBezTo>
                    <a:pt x="47" y="562"/>
                    <a:pt x="46" y="558"/>
                    <a:pt x="37" y="555"/>
                  </a:cubicBezTo>
                  <a:cubicBezTo>
                    <a:pt x="31" y="549"/>
                    <a:pt x="23" y="542"/>
                    <a:pt x="15" y="539"/>
                  </a:cubicBezTo>
                  <a:cubicBezTo>
                    <a:pt x="12" y="535"/>
                    <a:pt x="6" y="534"/>
                    <a:pt x="5" y="529"/>
                  </a:cubicBezTo>
                  <a:cubicBezTo>
                    <a:pt x="0" y="495"/>
                    <a:pt x="16" y="497"/>
                    <a:pt x="43" y="495"/>
                  </a:cubicBezTo>
                  <a:cubicBezTo>
                    <a:pt x="53" y="488"/>
                    <a:pt x="47" y="480"/>
                    <a:pt x="57" y="473"/>
                  </a:cubicBezTo>
                  <a:cubicBezTo>
                    <a:pt x="66" y="460"/>
                    <a:pt x="76" y="464"/>
                    <a:pt x="93" y="463"/>
                  </a:cubicBezTo>
                  <a:cubicBezTo>
                    <a:pt x="100" y="459"/>
                    <a:pt x="102" y="453"/>
                    <a:pt x="109" y="449"/>
                  </a:cubicBezTo>
                  <a:cubicBezTo>
                    <a:pt x="112" y="440"/>
                    <a:pt x="111" y="445"/>
                    <a:pt x="111" y="435"/>
                  </a:cubicBez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88" name="Freeform 848"/>
            <p:cNvSpPr>
              <a:spLocks/>
            </p:cNvSpPr>
            <p:nvPr>
              <p:custDataLst>
                <p:tags r:id="rId151"/>
              </p:custDataLst>
            </p:nvPr>
          </p:nvSpPr>
          <p:spPr bwMode="gray">
            <a:xfrm>
              <a:off x="2390970" y="1872508"/>
              <a:ext cx="163734" cy="109244"/>
            </a:xfrm>
            <a:custGeom>
              <a:avLst/>
              <a:gdLst>
                <a:gd name="T0" fmla="*/ 32 w 169"/>
                <a:gd name="T1" fmla="*/ 1 h 113"/>
                <a:gd name="T2" fmla="*/ 50 w 169"/>
                <a:gd name="T3" fmla="*/ 17 h 113"/>
                <a:gd name="T4" fmla="*/ 60 w 169"/>
                <a:gd name="T5" fmla="*/ 31 h 113"/>
                <a:gd name="T6" fmla="*/ 72 w 169"/>
                <a:gd name="T7" fmla="*/ 25 h 113"/>
                <a:gd name="T8" fmla="*/ 114 w 169"/>
                <a:gd name="T9" fmla="*/ 13 h 113"/>
                <a:gd name="T10" fmla="*/ 152 w 169"/>
                <a:gd name="T11" fmla="*/ 11 h 113"/>
                <a:gd name="T12" fmla="*/ 148 w 169"/>
                <a:gd name="T13" fmla="*/ 23 h 113"/>
                <a:gd name="T14" fmla="*/ 166 w 169"/>
                <a:gd name="T15" fmla="*/ 45 h 113"/>
                <a:gd name="T16" fmla="*/ 158 w 169"/>
                <a:gd name="T17" fmla="*/ 67 h 113"/>
                <a:gd name="T18" fmla="*/ 134 w 169"/>
                <a:gd name="T19" fmla="*/ 87 h 113"/>
                <a:gd name="T20" fmla="*/ 116 w 169"/>
                <a:gd name="T21" fmla="*/ 95 h 113"/>
                <a:gd name="T22" fmla="*/ 112 w 169"/>
                <a:gd name="T23" fmla="*/ 107 h 113"/>
                <a:gd name="T24" fmla="*/ 94 w 169"/>
                <a:gd name="T25" fmla="*/ 113 h 113"/>
                <a:gd name="T26" fmla="*/ 54 w 169"/>
                <a:gd name="T27" fmla="*/ 97 h 113"/>
                <a:gd name="T28" fmla="*/ 24 w 169"/>
                <a:gd name="T29" fmla="*/ 107 h 113"/>
                <a:gd name="T30" fmla="*/ 38 w 169"/>
                <a:gd name="T31" fmla="*/ 85 h 113"/>
                <a:gd name="T32" fmla="*/ 16 w 169"/>
                <a:gd name="T33" fmla="*/ 69 h 113"/>
                <a:gd name="T34" fmla="*/ 2 w 169"/>
                <a:gd name="T35" fmla="*/ 55 h 113"/>
                <a:gd name="T36" fmla="*/ 26 w 169"/>
                <a:gd name="T37" fmla="*/ 53 h 113"/>
                <a:gd name="T38" fmla="*/ 24 w 169"/>
                <a:gd name="T39" fmla="*/ 47 h 113"/>
                <a:gd name="T40" fmla="*/ 0 w 169"/>
                <a:gd name="T41" fmla="*/ 41 h 113"/>
                <a:gd name="T42" fmla="*/ 4 w 169"/>
                <a:gd name="T43" fmla="*/ 29 h 113"/>
                <a:gd name="T44" fmla="*/ 16 w 169"/>
                <a:gd name="T45" fmla="*/ 21 h 113"/>
                <a:gd name="T46" fmla="*/ 28 w 169"/>
                <a:gd name="T47" fmla="*/ 5 h 113"/>
                <a:gd name="T48" fmla="*/ 32 w 169"/>
                <a:gd name="T49" fmla="*/ 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113">
                  <a:moveTo>
                    <a:pt x="32" y="1"/>
                  </a:moveTo>
                  <a:cubicBezTo>
                    <a:pt x="35" y="6"/>
                    <a:pt x="45" y="15"/>
                    <a:pt x="50" y="17"/>
                  </a:cubicBezTo>
                  <a:cubicBezTo>
                    <a:pt x="53" y="45"/>
                    <a:pt x="50" y="43"/>
                    <a:pt x="60" y="31"/>
                  </a:cubicBezTo>
                  <a:cubicBezTo>
                    <a:pt x="63" y="27"/>
                    <a:pt x="68" y="26"/>
                    <a:pt x="72" y="25"/>
                  </a:cubicBezTo>
                  <a:cubicBezTo>
                    <a:pt x="81" y="11"/>
                    <a:pt x="99" y="14"/>
                    <a:pt x="114" y="13"/>
                  </a:cubicBezTo>
                  <a:cubicBezTo>
                    <a:pt x="126" y="5"/>
                    <a:pt x="131" y="0"/>
                    <a:pt x="152" y="11"/>
                  </a:cubicBezTo>
                  <a:cubicBezTo>
                    <a:pt x="156" y="13"/>
                    <a:pt x="148" y="23"/>
                    <a:pt x="148" y="23"/>
                  </a:cubicBezTo>
                  <a:cubicBezTo>
                    <a:pt x="157" y="29"/>
                    <a:pt x="158" y="37"/>
                    <a:pt x="166" y="45"/>
                  </a:cubicBezTo>
                  <a:cubicBezTo>
                    <a:pt x="169" y="54"/>
                    <a:pt x="168" y="64"/>
                    <a:pt x="158" y="67"/>
                  </a:cubicBezTo>
                  <a:cubicBezTo>
                    <a:pt x="147" y="84"/>
                    <a:pt x="161" y="84"/>
                    <a:pt x="134" y="87"/>
                  </a:cubicBezTo>
                  <a:cubicBezTo>
                    <a:pt x="127" y="89"/>
                    <a:pt x="123" y="93"/>
                    <a:pt x="116" y="95"/>
                  </a:cubicBezTo>
                  <a:cubicBezTo>
                    <a:pt x="115" y="99"/>
                    <a:pt x="113" y="103"/>
                    <a:pt x="112" y="107"/>
                  </a:cubicBezTo>
                  <a:cubicBezTo>
                    <a:pt x="110" y="113"/>
                    <a:pt x="94" y="113"/>
                    <a:pt x="94" y="113"/>
                  </a:cubicBezTo>
                  <a:cubicBezTo>
                    <a:pt x="77" y="111"/>
                    <a:pt x="69" y="102"/>
                    <a:pt x="54" y="97"/>
                  </a:cubicBezTo>
                  <a:cubicBezTo>
                    <a:pt x="26" y="100"/>
                    <a:pt x="41" y="101"/>
                    <a:pt x="24" y="107"/>
                  </a:cubicBezTo>
                  <a:cubicBezTo>
                    <a:pt x="21" y="98"/>
                    <a:pt x="32" y="93"/>
                    <a:pt x="38" y="85"/>
                  </a:cubicBezTo>
                  <a:cubicBezTo>
                    <a:pt x="28" y="79"/>
                    <a:pt x="29" y="72"/>
                    <a:pt x="16" y="69"/>
                  </a:cubicBezTo>
                  <a:cubicBezTo>
                    <a:pt x="9" y="64"/>
                    <a:pt x="9" y="60"/>
                    <a:pt x="2" y="55"/>
                  </a:cubicBezTo>
                  <a:cubicBezTo>
                    <a:pt x="10" y="54"/>
                    <a:pt x="18" y="56"/>
                    <a:pt x="26" y="53"/>
                  </a:cubicBezTo>
                  <a:cubicBezTo>
                    <a:pt x="28" y="52"/>
                    <a:pt x="26" y="48"/>
                    <a:pt x="24" y="47"/>
                  </a:cubicBezTo>
                  <a:cubicBezTo>
                    <a:pt x="17" y="43"/>
                    <a:pt x="0" y="41"/>
                    <a:pt x="0" y="41"/>
                  </a:cubicBezTo>
                  <a:cubicBezTo>
                    <a:pt x="1" y="37"/>
                    <a:pt x="0" y="31"/>
                    <a:pt x="4" y="29"/>
                  </a:cubicBezTo>
                  <a:cubicBezTo>
                    <a:pt x="8" y="26"/>
                    <a:pt x="16" y="21"/>
                    <a:pt x="16" y="21"/>
                  </a:cubicBezTo>
                  <a:cubicBezTo>
                    <a:pt x="19" y="13"/>
                    <a:pt x="21" y="10"/>
                    <a:pt x="28" y="5"/>
                  </a:cubicBezTo>
                  <a:cubicBezTo>
                    <a:pt x="38" y="8"/>
                    <a:pt x="38" y="9"/>
                    <a:pt x="32" y="1"/>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grpSp>
          <p:nvGrpSpPr>
            <p:cNvPr id="189" name="Group 849"/>
            <p:cNvGrpSpPr>
              <a:grpSpLocks/>
            </p:cNvGrpSpPr>
            <p:nvPr>
              <p:custDataLst>
                <p:tags r:id="rId152"/>
              </p:custDataLst>
            </p:nvPr>
          </p:nvGrpSpPr>
          <p:grpSpPr bwMode="auto">
            <a:xfrm>
              <a:off x="1833220" y="2901297"/>
              <a:ext cx="64464" cy="106118"/>
              <a:chOff x="4714" y="2568"/>
              <a:chExt cx="67" cy="110"/>
            </a:xfrm>
            <a:solidFill>
              <a:schemeClr val="bg1"/>
            </a:solidFill>
          </p:grpSpPr>
          <p:sp>
            <p:nvSpPr>
              <p:cNvPr id="211" name="Freeform 850"/>
              <p:cNvSpPr>
                <a:spLocks/>
              </p:cNvSpPr>
              <p:nvPr>
                <p:custDataLst>
                  <p:tags r:id="rId167"/>
                </p:custDataLst>
              </p:nvPr>
            </p:nvSpPr>
            <p:spPr bwMode="gray">
              <a:xfrm>
                <a:off x="4751" y="2668"/>
                <a:ext cx="17" cy="10"/>
              </a:xfrm>
              <a:custGeom>
                <a:avLst/>
                <a:gdLst>
                  <a:gd name="T0" fmla="*/ 0 w 17"/>
                  <a:gd name="T1" fmla="*/ 1 h 10"/>
                  <a:gd name="T2" fmla="*/ 9 w 17"/>
                  <a:gd name="T3" fmla="*/ 2 h 10"/>
                  <a:gd name="T4" fmla="*/ 0 w 17"/>
                  <a:gd name="T5" fmla="*/ 1 h 10"/>
                </a:gdLst>
                <a:ahLst/>
                <a:cxnLst>
                  <a:cxn ang="0">
                    <a:pos x="T0" y="T1"/>
                  </a:cxn>
                  <a:cxn ang="0">
                    <a:pos x="T2" y="T3"/>
                  </a:cxn>
                  <a:cxn ang="0">
                    <a:pos x="T4" y="T5"/>
                  </a:cxn>
                </a:cxnLst>
                <a:rect l="0" t="0" r="r" b="b"/>
                <a:pathLst>
                  <a:path w="17" h="10">
                    <a:moveTo>
                      <a:pt x="0" y="1"/>
                    </a:moveTo>
                    <a:cubicBezTo>
                      <a:pt x="3" y="1"/>
                      <a:pt x="7" y="0"/>
                      <a:pt x="9" y="2"/>
                    </a:cubicBezTo>
                    <a:cubicBezTo>
                      <a:pt x="17" y="8"/>
                      <a:pt x="4" y="10"/>
                      <a:pt x="0" y="1"/>
                    </a:cubicBezTo>
                    <a:close/>
                  </a:path>
                </a:pathLst>
              </a:custGeom>
              <a:grp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12" name="Freeform 851"/>
              <p:cNvSpPr>
                <a:spLocks/>
              </p:cNvSpPr>
              <p:nvPr>
                <p:custDataLst>
                  <p:tags r:id="rId168"/>
                </p:custDataLst>
              </p:nvPr>
            </p:nvSpPr>
            <p:spPr bwMode="gray">
              <a:xfrm>
                <a:off x="4765" y="2640"/>
                <a:ext cx="16" cy="6"/>
              </a:xfrm>
              <a:custGeom>
                <a:avLst/>
                <a:gdLst>
                  <a:gd name="T0" fmla="*/ 4 w 16"/>
                  <a:gd name="T1" fmla="*/ 0 h 6"/>
                  <a:gd name="T2" fmla="*/ 13 w 16"/>
                  <a:gd name="T3" fmla="*/ 2 h 6"/>
                  <a:gd name="T4" fmla="*/ 1 w 16"/>
                  <a:gd name="T5" fmla="*/ 3 h 6"/>
                  <a:gd name="T6" fmla="*/ 4 w 16"/>
                  <a:gd name="T7" fmla="*/ 0 h 6"/>
                </a:gdLst>
                <a:ahLst/>
                <a:cxnLst>
                  <a:cxn ang="0">
                    <a:pos x="T0" y="T1"/>
                  </a:cxn>
                  <a:cxn ang="0">
                    <a:pos x="T2" y="T3"/>
                  </a:cxn>
                  <a:cxn ang="0">
                    <a:pos x="T4" y="T5"/>
                  </a:cxn>
                  <a:cxn ang="0">
                    <a:pos x="T6" y="T7"/>
                  </a:cxn>
                </a:cxnLst>
                <a:rect l="0" t="0" r="r" b="b"/>
                <a:pathLst>
                  <a:path w="16" h="6">
                    <a:moveTo>
                      <a:pt x="4" y="0"/>
                    </a:moveTo>
                    <a:cubicBezTo>
                      <a:pt x="7" y="1"/>
                      <a:pt x="11" y="0"/>
                      <a:pt x="13" y="2"/>
                    </a:cubicBezTo>
                    <a:cubicBezTo>
                      <a:pt x="16" y="5"/>
                      <a:pt x="4" y="6"/>
                      <a:pt x="1" y="3"/>
                    </a:cubicBezTo>
                    <a:cubicBezTo>
                      <a:pt x="0" y="2"/>
                      <a:pt x="3" y="1"/>
                      <a:pt x="4" y="0"/>
                    </a:cubicBezTo>
                    <a:close/>
                  </a:path>
                </a:pathLst>
              </a:custGeom>
              <a:grp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13" name="Freeform 852"/>
              <p:cNvSpPr>
                <a:spLocks/>
              </p:cNvSpPr>
              <p:nvPr>
                <p:custDataLst>
                  <p:tags r:id="rId169"/>
                </p:custDataLst>
              </p:nvPr>
            </p:nvSpPr>
            <p:spPr bwMode="gray">
              <a:xfrm>
                <a:off x="4742" y="2645"/>
                <a:ext cx="12" cy="7"/>
              </a:xfrm>
              <a:custGeom>
                <a:avLst/>
                <a:gdLst>
                  <a:gd name="T0" fmla="*/ 6 w 12"/>
                  <a:gd name="T1" fmla="*/ 3 h 7"/>
                  <a:gd name="T2" fmla="*/ 2 w 12"/>
                  <a:gd name="T3" fmla="*/ 6 h 7"/>
                  <a:gd name="T4" fmla="*/ 11 w 12"/>
                  <a:gd name="T5" fmla="*/ 4 h 7"/>
                  <a:gd name="T6" fmla="*/ 8 w 12"/>
                  <a:gd name="T7" fmla="*/ 0 h 7"/>
                  <a:gd name="T8" fmla="*/ 6 w 12"/>
                  <a:gd name="T9" fmla="*/ 3 h 7"/>
                </a:gdLst>
                <a:ahLst/>
                <a:cxnLst>
                  <a:cxn ang="0">
                    <a:pos x="T0" y="T1"/>
                  </a:cxn>
                  <a:cxn ang="0">
                    <a:pos x="T2" y="T3"/>
                  </a:cxn>
                  <a:cxn ang="0">
                    <a:pos x="T4" y="T5"/>
                  </a:cxn>
                  <a:cxn ang="0">
                    <a:pos x="T6" y="T7"/>
                  </a:cxn>
                  <a:cxn ang="0">
                    <a:pos x="T8" y="T9"/>
                  </a:cxn>
                </a:cxnLst>
                <a:rect l="0" t="0" r="r" b="b"/>
                <a:pathLst>
                  <a:path w="12" h="7">
                    <a:moveTo>
                      <a:pt x="6" y="3"/>
                    </a:moveTo>
                    <a:cubicBezTo>
                      <a:pt x="5" y="4"/>
                      <a:pt x="0" y="6"/>
                      <a:pt x="2" y="6"/>
                    </a:cubicBezTo>
                    <a:cubicBezTo>
                      <a:pt x="5" y="7"/>
                      <a:pt x="9" y="6"/>
                      <a:pt x="11" y="4"/>
                    </a:cubicBezTo>
                    <a:cubicBezTo>
                      <a:pt x="12" y="3"/>
                      <a:pt x="10" y="0"/>
                      <a:pt x="8" y="0"/>
                    </a:cubicBezTo>
                    <a:cubicBezTo>
                      <a:pt x="7" y="0"/>
                      <a:pt x="7" y="2"/>
                      <a:pt x="6" y="3"/>
                    </a:cubicBezTo>
                    <a:close/>
                  </a:path>
                </a:pathLst>
              </a:custGeom>
              <a:grp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14" name="Freeform 853"/>
              <p:cNvSpPr>
                <a:spLocks/>
              </p:cNvSpPr>
              <p:nvPr>
                <p:custDataLst>
                  <p:tags r:id="rId170"/>
                </p:custDataLst>
              </p:nvPr>
            </p:nvSpPr>
            <p:spPr bwMode="gray">
              <a:xfrm>
                <a:off x="4733" y="2652"/>
                <a:ext cx="13" cy="14"/>
              </a:xfrm>
              <a:custGeom>
                <a:avLst/>
                <a:gdLst>
                  <a:gd name="T0" fmla="*/ 5 w 13"/>
                  <a:gd name="T1" fmla="*/ 6 h 14"/>
                  <a:gd name="T2" fmla="*/ 9 w 13"/>
                  <a:gd name="T3" fmla="*/ 14 h 14"/>
                  <a:gd name="T4" fmla="*/ 5 w 13"/>
                  <a:gd name="T5" fmla="*/ 6 h 14"/>
                </a:gdLst>
                <a:ahLst/>
                <a:cxnLst>
                  <a:cxn ang="0">
                    <a:pos x="T0" y="T1"/>
                  </a:cxn>
                  <a:cxn ang="0">
                    <a:pos x="T2" y="T3"/>
                  </a:cxn>
                  <a:cxn ang="0">
                    <a:pos x="T4" y="T5"/>
                  </a:cxn>
                </a:cxnLst>
                <a:rect l="0" t="0" r="r" b="b"/>
                <a:pathLst>
                  <a:path w="13" h="14">
                    <a:moveTo>
                      <a:pt x="5" y="6"/>
                    </a:moveTo>
                    <a:cubicBezTo>
                      <a:pt x="13" y="0"/>
                      <a:pt x="11" y="9"/>
                      <a:pt x="9" y="14"/>
                    </a:cubicBezTo>
                    <a:cubicBezTo>
                      <a:pt x="0" y="11"/>
                      <a:pt x="1" y="14"/>
                      <a:pt x="5" y="6"/>
                    </a:cubicBezTo>
                    <a:close/>
                  </a:path>
                </a:pathLst>
              </a:custGeom>
              <a:grp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15" name="Freeform 854"/>
              <p:cNvSpPr>
                <a:spLocks/>
              </p:cNvSpPr>
              <p:nvPr>
                <p:custDataLst>
                  <p:tags r:id="rId171"/>
                </p:custDataLst>
              </p:nvPr>
            </p:nvSpPr>
            <p:spPr bwMode="gray">
              <a:xfrm>
                <a:off x="4714" y="2568"/>
                <a:ext cx="33" cy="25"/>
              </a:xfrm>
              <a:custGeom>
                <a:avLst/>
                <a:gdLst>
                  <a:gd name="T0" fmla="*/ 3 w 33"/>
                  <a:gd name="T1" fmla="*/ 2 h 25"/>
                  <a:gd name="T2" fmla="*/ 15 w 33"/>
                  <a:gd name="T3" fmla="*/ 3 h 25"/>
                  <a:gd name="T4" fmla="*/ 21 w 33"/>
                  <a:gd name="T5" fmla="*/ 12 h 25"/>
                  <a:gd name="T6" fmla="*/ 33 w 33"/>
                  <a:gd name="T7" fmla="*/ 5 h 25"/>
                  <a:gd name="T8" fmla="*/ 21 w 33"/>
                  <a:gd name="T9" fmla="*/ 21 h 25"/>
                  <a:gd name="T10" fmla="*/ 7 w 33"/>
                  <a:gd name="T11" fmla="*/ 15 h 25"/>
                  <a:gd name="T12" fmla="*/ 3 w 33"/>
                  <a:gd name="T13" fmla="*/ 2 h 25"/>
                </a:gdLst>
                <a:ahLst/>
                <a:cxnLst>
                  <a:cxn ang="0">
                    <a:pos x="T0" y="T1"/>
                  </a:cxn>
                  <a:cxn ang="0">
                    <a:pos x="T2" y="T3"/>
                  </a:cxn>
                  <a:cxn ang="0">
                    <a:pos x="T4" y="T5"/>
                  </a:cxn>
                  <a:cxn ang="0">
                    <a:pos x="T6" y="T7"/>
                  </a:cxn>
                  <a:cxn ang="0">
                    <a:pos x="T8" y="T9"/>
                  </a:cxn>
                  <a:cxn ang="0">
                    <a:pos x="T10" y="T11"/>
                  </a:cxn>
                  <a:cxn ang="0">
                    <a:pos x="T12" y="T13"/>
                  </a:cxn>
                </a:cxnLst>
                <a:rect l="0" t="0" r="r" b="b"/>
                <a:pathLst>
                  <a:path w="33" h="25">
                    <a:moveTo>
                      <a:pt x="3" y="2"/>
                    </a:moveTo>
                    <a:cubicBezTo>
                      <a:pt x="7" y="2"/>
                      <a:pt x="12" y="0"/>
                      <a:pt x="15" y="3"/>
                    </a:cubicBezTo>
                    <a:cubicBezTo>
                      <a:pt x="25" y="12"/>
                      <a:pt x="8" y="17"/>
                      <a:pt x="21" y="12"/>
                    </a:cubicBezTo>
                    <a:cubicBezTo>
                      <a:pt x="22" y="3"/>
                      <a:pt x="25" y="2"/>
                      <a:pt x="33" y="5"/>
                    </a:cubicBezTo>
                    <a:cubicBezTo>
                      <a:pt x="29" y="25"/>
                      <a:pt x="24" y="6"/>
                      <a:pt x="21" y="21"/>
                    </a:cubicBezTo>
                    <a:cubicBezTo>
                      <a:pt x="15" y="20"/>
                      <a:pt x="12" y="17"/>
                      <a:pt x="7" y="15"/>
                    </a:cubicBezTo>
                    <a:cubicBezTo>
                      <a:pt x="2" y="10"/>
                      <a:pt x="0" y="8"/>
                      <a:pt x="3" y="2"/>
                    </a:cubicBezTo>
                    <a:close/>
                  </a:path>
                </a:pathLst>
              </a:custGeom>
              <a:grp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16" name="Freeform 855"/>
              <p:cNvSpPr>
                <a:spLocks/>
              </p:cNvSpPr>
              <p:nvPr>
                <p:custDataLst>
                  <p:tags r:id="rId172"/>
                </p:custDataLst>
              </p:nvPr>
            </p:nvSpPr>
            <p:spPr bwMode="gray">
              <a:xfrm>
                <a:off x="4745" y="2589"/>
                <a:ext cx="20" cy="48"/>
              </a:xfrm>
              <a:custGeom>
                <a:avLst/>
                <a:gdLst>
                  <a:gd name="T0" fmla="*/ 6 w 20"/>
                  <a:gd name="T1" fmla="*/ 0 h 48"/>
                  <a:gd name="T2" fmla="*/ 5 w 20"/>
                  <a:gd name="T3" fmla="*/ 12 h 48"/>
                  <a:gd name="T4" fmla="*/ 9 w 20"/>
                  <a:gd name="T5" fmla="*/ 48 h 48"/>
                  <a:gd name="T6" fmla="*/ 12 w 20"/>
                  <a:gd name="T7" fmla="*/ 32 h 48"/>
                  <a:gd name="T8" fmla="*/ 6 w 20"/>
                  <a:gd name="T9" fmla="*/ 0 h 48"/>
                </a:gdLst>
                <a:ahLst/>
                <a:cxnLst>
                  <a:cxn ang="0">
                    <a:pos x="T0" y="T1"/>
                  </a:cxn>
                  <a:cxn ang="0">
                    <a:pos x="T2" y="T3"/>
                  </a:cxn>
                  <a:cxn ang="0">
                    <a:pos x="T4" y="T5"/>
                  </a:cxn>
                  <a:cxn ang="0">
                    <a:pos x="T6" y="T7"/>
                  </a:cxn>
                  <a:cxn ang="0">
                    <a:pos x="T8" y="T9"/>
                  </a:cxn>
                </a:cxnLst>
                <a:rect l="0" t="0" r="r" b="b"/>
                <a:pathLst>
                  <a:path w="20" h="48">
                    <a:moveTo>
                      <a:pt x="6" y="0"/>
                    </a:moveTo>
                    <a:cubicBezTo>
                      <a:pt x="0" y="3"/>
                      <a:pt x="2" y="6"/>
                      <a:pt x="5" y="12"/>
                    </a:cubicBezTo>
                    <a:cubicBezTo>
                      <a:pt x="7" y="26"/>
                      <a:pt x="8" y="33"/>
                      <a:pt x="9" y="48"/>
                    </a:cubicBezTo>
                    <a:cubicBezTo>
                      <a:pt x="20" y="46"/>
                      <a:pt x="17" y="39"/>
                      <a:pt x="12" y="32"/>
                    </a:cubicBezTo>
                    <a:cubicBezTo>
                      <a:pt x="14" y="12"/>
                      <a:pt x="18" y="12"/>
                      <a:pt x="6" y="0"/>
                    </a:cubicBezTo>
                    <a:close/>
                  </a:path>
                </a:pathLst>
              </a:custGeom>
              <a:grp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grpSp>
        <p:sp>
          <p:nvSpPr>
            <p:cNvPr id="190" name="Freeform 856"/>
            <p:cNvSpPr>
              <a:spLocks/>
            </p:cNvSpPr>
            <p:nvPr>
              <p:custDataLst>
                <p:tags r:id="rId153"/>
              </p:custDataLst>
            </p:nvPr>
          </p:nvSpPr>
          <p:spPr bwMode="gray">
            <a:xfrm>
              <a:off x="1063621" y="2661293"/>
              <a:ext cx="437363" cy="284633"/>
            </a:xfrm>
            <a:custGeom>
              <a:avLst/>
              <a:gdLst>
                <a:gd name="T0" fmla="*/ 9 w 451"/>
                <a:gd name="T1" fmla="*/ 30 h 295"/>
                <a:gd name="T2" fmla="*/ 44 w 451"/>
                <a:gd name="T3" fmla="*/ 74 h 295"/>
                <a:gd name="T4" fmla="*/ 65 w 451"/>
                <a:gd name="T5" fmla="*/ 116 h 295"/>
                <a:gd name="T6" fmla="*/ 81 w 451"/>
                <a:gd name="T7" fmla="*/ 149 h 295"/>
                <a:gd name="T8" fmla="*/ 105 w 451"/>
                <a:gd name="T9" fmla="*/ 170 h 295"/>
                <a:gd name="T10" fmla="*/ 95 w 451"/>
                <a:gd name="T11" fmla="*/ 129 h 295"/>
                <a:gd name="T12" fmla="*/ 66 w 451"/>
                <a:gd name="T13" fmla="*/ 83 h 295"/>
                <a:gd name="T14" fmla="*/ 44 w 451"/>
                <a:gd name="T15" fmla="*/ 51 h 295"/>
                <a:gd name="T16" fmla="*/ 35 w 451"/>
                <a:gd name="T17" fmla="*/ 20 h 295"/>
                <a:gd name="T18" fmla="*/ 65 w 451"/>
                <a:gd name="T19" fmla="*/ 45 h 295"/>
                <a:gd name="T20" fmla="*/ 120 w 451"/>
                <a:gd name="T21" fmla="*/ 116 h 295"/>
                <a:gd name="T22" fmla="*/ 152 w 451"/>
                <a:gd name="T23" fmla="*/ 156 h 295"/>
                <a:gd name="T24" fmla="*/ 171 w 451"/>
                <a:gd name="T25" fmla="*/ 213 h 295"/>
                <a:gd name="T26" fmla="*/ 201 w 451"/>
                <a:gd name="T27" fmla="*/ 237 h 295"/>
                <a:gd name="T28" fmla="*/ 273 w 451"/>
                <a:gd name="T29" fmla="*/ 276 h 295"/>
                <a:gd name="T30" fmla="*/ 327 w 451"/>
                <a:gd name="T31" fmla="*/ 279 h 295"/>
                <a:gd name="T32" fmla="*/ 371 w 451"/>
                <a:gd name="T33" fmla="*/ 294 h 295"/>
                <a:gd name="T34" fmla="*/ 398 w 451"/>
                <a:gd name="T35" fmla="*/ 279 h 295"/>
                <a:gd name="T36" fmla="*/ 387 w 451"/>
                <a:gd name="T37" fmla="*/ 257 h 295"/>
                <a:gd name="T38" fmla="*/ 413 w 451"/>
                <a:gd name="T39" fmla="*/ 251 h 295"/>
                <a:gd name="T40" fmla="*/ 450 w 451"/>
                <a:gd name="T41" fmla="*/ 195 h 295"/>
                <a:gd name="T42" fmla="*/ 411 w 451"/>
                <a:gd name="T43" fmla="*/ 198 h 295"/>
                <a:gd name="T44" fmla="*/ 396 w 451"/>
                <a:gd name="T45" fmla="*/ 221 h 295"/>
                <a:gd name="T46" fmla="*/ 348 w 451"/>
                <a:gd name="T47" fmla="*/ 242 h 295"/>
                <a:gd name="T48" fmla="*/ 315 w 451"/>
                <a:gd name="T49" fmla="*/ 233 h 295"/>
                <a:gd name="T50" fmla="*/ 285 w 451"/>
                <a:gd name="T51" fmla="*/ 167 h 295"/>
                <a:gd name="T52" fmla="*/ 272 w 451"/>
                <a:gd name="T53" fmla="*/ 117 h 295"/>
                <a:gd name="T54" fmla="*/ 249 w 451"/>
                <a:gd name="T55" fmla="*/ 74 h 295"/>
                <a:gd name="T56" fmla="*/ 212 w 451"/>
                <a:gd name="T57" fmla="*/ 65 h 295"/>
                <a:gd name="T58" fmla="*/ 147 w 451"/>
                <a:gd name="T59" fmla="*/ 18 h 295"/>
                <a:gd name="T60" fmla="*/ 116 w 451"/>
                <a:gd name="T61" fmla="*/ 30 h 295"/>
                <a:gd name="T62" fmla="*/ 63 w 451"/>
                <a:gd name="T63" fmla="*/ 21 h 295"/>
                <a:gd name="T64" fmla="*/ 5 w 451"/>
                <a:gd name="T65" fmla="*/ 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1" h="295">
                  <a:moveTo>
                    <a:pt x="5" y="9"/>
                  </a:moveTo>
                  <a:cubicBezTo>
                    <a:pt x="0" y="13"/>
                    <a:pt x="5" y="22"/>
                    <a:pt x="9" y="30"/>
                  </a:cubicBezTo>
                  <a:cubicBezTo>
                    <a:pt x="13" y="38"/>
                    <a:pt x="21" y="50"/>
                    <a:pt x="27" y="57"/>
                  </a:cubicBezTo>
                  <a:cubicBezTo>
                    <a:pt x="33" y="64"/>
                    <a:pt x="41" y="68"/>
                    <a:pt x="44" y="74"/>
                  </a:cubicBezTo>
                  <a:cubicBezTo>
                    <a:pt x="47" y="80"/>
                    <a:pt x="41" y="88"/>
                    <a:pt x="44" y="95"/>
                  </a:cubicBezTo>
                  <a:cubicBezTo>
                    <a:pt x="47" y="102"/>
                    <a:pt x="60" y="110"/>
                    <a:pt x="65" y="116"/>
                  </a:cubicBezTo>
                  <a:cubicBezTo>
                    <a:pt x="70" y="122"/>
                    <a:pt x="72" y="129"/>
                    <a:pt x="75" y="134"/>
                  </a:cubicBezTo>
                  <a:cubicBezTo>
                    <a:pt x="78" y="139"/>
                    <a:pt x="77" y="146"/>
                    <a:pt x="81" y="149"/>
                  </a:cubicBezTo>
                  <a:cubicBezTo>
                    <a:pt x="85" y="152"/>
                    <a:pt x="97" y="150"/>
                    <a:pt x="101" y="153"/>
                  </a:cubicBezTo>
                  <a:cubicBezTo>
                    <a:pt x="105" y="156"/>
                    <a:pt x="103" y="169"/>
                    <a:pt x="105" y="170"/>
                  </a:cubicBezTo>
                  <a:cubicBezTo>
                    <a:pt x="107" y="171"/>
                    <a:pt x="115" y="166"/>
                    <a:pt x="113" y="159"/>
                  </a:cubicBezTo>
                  <a:cubicBezTo>
                    <a:pt x="111" y="152"/>
                    <a:pt x="101" y="138"/>
                    <a:pt x="95" y="129"/>
                  </a:cubicBezTo>
                  <a:cubicBezTo>
                    <a:pt x="89" y="120"/>
                    <a:pt x="82" y="110"/>
                    <a:pt x="77" y="102"/>
                  </a:cubicBezTo>
                  <a:cubicBezTo>
                    <a:pt x="72" y="94"/>
                    <a:pt x="70" y="90"/>
                    <a:pt x="66" y="83"/>
                  </a:cubicBezTo>
                  <a:cubicBezTo>
                    <a:pt x="62" y="76"/>
                    <a:pt x="57" y="67"/>
                    <a:pt x="53" y="62"/>
                  </a:cubicBezTo>
                  <a:cubicBezTo>
                    <a:pt x="49" y="57"/>
                    <a:pt x="47" y="56"/>
                    <a:pt x="44" y="51"/>
                  </a:cubicBezTo>
                  <a:cubicBezTo>
                    <a:pt x="41" y="46"/>
                    <a:pt x="36" y="38"/>
                    <a:pt x="35" y="33"/>
                  </a:cubicBezTo>
                  <a:cubicBezTo>
                    <a:pt x="34" y="28"/>
                    <a:pt x="31" y="21"/>
                    <a:pt x="35" y="20"/>
                  </a:cubicBezTo>
                  <a:cubicBezTo>
                    <a:pt x="39" y="19"/>
                    <a:pt x="54" y="25"/>
                    <a:pt x="59" y="29"/>
                  </a:cubicBezTo>
                  <a:cubicBezTo>
                    <a:pt x="64" y="33"/>
                    <a:pt x="61" y="37"/>
                    <a:pt x="65" y="45"/>
                  </a:cubicBezTo>
                  <a:cubicBezTo>
                    <a:pt x="69" y="53"/>
                    <a:pt x="75" y="68"/>
                    <a:pt x="84" y="80"/>
                  </a:cubicBezTo>
                  <a:cubicBezTo>
                    <a:pt x="93" y="92"/>
                    <a:pt x="114" y="108"/>
                    <a:pt x="120" y="116"/>
                  </a:cubicBezTo>
                  <a:cubicBezTo>
                    <a:pt x="126" y="124"/>
                    <a:pt x="114" y="122"/>
                    <a:pt x="119" y="129"/>
                  </a:cubicBezTo>
                  <a:cubicBezTo>
                    <a:pt x="124" y="136"/>
                    <a:pt x="142" y="145"/>
                    <a:pt x="152" y="156"/>
                  </a:cubicBezTo>
                  <a:cubicBezTo>
                    <a:pt x="162" y="167"/>
                    <a:pt x="174" y="189"/>
                    <a:pt x="177" y="198"/>
                  </a:cubicBezTo>
                  <a:cubicBezTo>
                    <a:pt x="180" y="207"/>
                    <a:pt x="170" y="207"/>
                    <a:pt x="171" y="213"/>
                  </a:cubicBezTo>
                  <a:cubicBezTo>
                    <a:pt x="172" y="219"/>
                    <a:pt x="181" y="233"/>
                    <a:pt x="186" y="237"/>
                  </a:cubicBezTo>
                  <a:cubicBezTo>
                    <a:pt x="191" y="241"/>
                    <a:pt x="194" y="235"/>
                    <a:pt x="201" y="237"/>
                  </a:cubicBezTo>
                  <a:cubicBezTo>
                    <a:pt x="208" y="239"/>
                    <a:pt x="216" y="246"/>
                    <a:pt x="228" y="252"/>
                  </a:cubicBezTo>
                  <a:cubicBezTo>
                    <a:pt x="240" y="258"/>
                    <a:pt x="260" y="271"/>
                    <a:pt x="273" y="276"/>
                  </a:cubicBezTo>
                  <a:cubicBezTo>
                    <a:pt x="286" y="281"/>
                    <a:pt x="296" y="281"/>
                    <a:pt x="305" y="281"/>
                  </a:cubicBezTo>
                  <a:cubicBezTo>
                    <a:pt x="314" y="281"/>
                    <a:pt x="320" y="279"/>
                    <a:pt x="327" y="279"/>
                  </a:cubicBezTo>
                  <a:cubicBezTo>
                    <a:pt x="334" y="279"/>
                    <a:pt x="343" y="279"/>
                    <a:pt x="350" y="282"/>
                  </a:cubicBezTo>
                  <a:cubicBezTo>
                    <a:pt x="357" y="285"/>
                    <a:pt x="366" y="295"/>
                    <a:pt x="371" y="294"/>
                  </a:cubicBezTo>
                  <a:cubicBezTo>
                    <a:pt x="376" y="293"/>
                    <a:pt x="376" y="281"/>
                    <a:pt x="380" y="279"/>
                  </a:cubicBezTo>
                  <a:cubicBezTo>
                    <a:pt x="384" y="277"/>
                    <a:pt x="393" y="279"/>
                    <a:pt x="398" y="279"/>
                  </a:cubicBezTo>
                  <a:cubicBezTo>
                    <a:pt x="403" y="279"/>
                    <a:pt x="410" y="279"/>
                    <a:pt x="408" y="276"/>
                  </a:cubicBezTo>
                  <a:cubicBezTo>
                    <a:pt x="406" y="273"/>
                    <a:pt x="389" y="261"/>
                    <a:pt x="387" y="257"/>
                  </a:cubicBezTo>
                  <a:cubicBezTo>
                    <a:pt x="385" y="253"/>
                    <a:pt x="391" y="253"/>
                    <a:pt x="395" y="252"/>
                  </a:cubicBezTo>
                  <a:cubicBezTo>
                    <a:pt x="399" y="251"/>
                    <a:pt x="407" y="252"/>
                    <a:pt x="413" y="251"/>
                  </a:cubicBezTo>
                  <a:cubicBezTo>
                    <a:pt x="419" y="250"/>
                    <a:pt x="425" y="252"/>
                    <a:pt x="431" y="243"/>
                  </a:cubicBezTo>
                  <a:cubicBezTo>
                    <a:pt x="437" y="234"/>
                    <a:pt x="451" y="204"/>
                    <a:pt x="450" y="195"/>
                  </a:cubicBezTo>
                  <a:cubicBezTo>
                    <a:pt x="449" y="186"/>
                    <a:pt x="431" y="191"/>
                    <a:pt x="425" y="191"/>
                  </a:cubicBezTo>
                  <a:cubicBezTo>
                    <a:pt x="419" y="191"/>
                    <a:pt x="415" y="197"/>
                    <a:pt x="411" y="198"/>
                  </a:cubicBezTo>
                  <a:cubicBezTo>
                    <a:pt x="407" y="199"/>
                    <a:pt x="401" y="194"/>
                    <a:pt x="399" y="198"/>
                  </a:cubicBezTo>
                  <a:cubicBezTo>
                    <a:pt x="397" y="202"/>
                    <a:pt x="399" y="215"/>
                    <a:pt x="396" y="221"/>
                  </a:cubicBezTo>
                  <a:cubicBezTo>
                    <a:pt x="393" y="227"/>
                    <a:pt x="391" y="233"/>
                    <a:pt x="383" y="237"/>
                  </a:cubicBezTo>
                  <a:cubicBezTo>
                    <a:pt x="375" y="241"/>
                    <a:pt x="355" y="241"/>
                    <a:pt x="348" y="242"/>
                  </a:cubicBezTo>
                  <a:cubicBezTo>
                    <a:pt x="341" y="243"/>
                    <a:pt x="343" y="244"/>
                    <a:pt x="338" y="243"/>
                  </a:cubicBezTo>
                  <a:cubicBezTo>
                    <a:pt x="333" y="242"/>
                    <a:pt x="321" y="240"/>
                    <a:pt x="315" y="233"/>
                  </a:cubicBezTo>
                  <a:cubicBezTo>
                    <a:pt x="309" y="226"/>
                    <a:pt x="304" y="211"/>
                    <a:pt x="299" y="200"/>
                  </a:cubicBezTo>
                  <a:cubicBezTo>
                    <a:pt x="294" y="189"/>
                    <a:pt x="286" y="181"/>
                    <a:pt x="285" y="167"/>
                  </a:cubicBezTo>
                  <a:cubicBezTo>
                    <a:pt x="284" y="153"/>
                    <a:pt x="292" y="125"/>
                    <a:pt x="290" y="117"/>
                  </a:cubicBezTo>
                  <a:cubicBezTo>
                    <a:pt x="288" y="109"/>
                    <a:pt x="277" y="119"/>
                    <a:pt x="272" y="117"/>
                  </a:cubicBezTo>
                  <a:cubicBezTo>
                    <a:pt x="267" y="115"/>
                    <a:pt x="262" y="112"/>
                    <a:pt x="258" y="105"/>
                  </a:cubicBezTo>
                  <a:cubicBezTo>
                    <a:pt x="254" y="98"/>
                    <a:pt x="256" y="82"/>
                    <a:pt x="249" y="74"/>
                  </a:cubicBezTo>
                  <a:cubicBezTo>
                    <a:pt x="242" y="66"/>
                    <a:pt x="219" y="55"/>
                    <a:pt x="213" y="54"/>
                  </a:cubicBezTo>
                  <a:cubicBezTo>
                    <a:pt x="207" y="53"/>
                    <a:pt x="216" y="65"/>
                    <a:pt x="212" y="65"/>
                  </a:cubicBezTo>
                  <a:cubicBezTo>
                    <a:pt x="208" y="65"/>
                    <a:pt x="200" y="61"/>
                    <a:pt x="189" y="53"/>
                  </a:cubicBezTo>
                  <a:cubicBezTo>
                    <a:pt x="178" y="45"/>
                    <a:pt x="156" y="23"/>
                    <a:pt x="147" y="18"/>
                  </a:cubicBezTo>
                  <a:cubicBezTo>
                    <a:pt x="138" y="13"/>
                    <a:pt x="140" y="18"/>
                    <a:pt x="135" y="20"/>
                  </a:cubicBezTo>
                  <a:cubicBezTo>
                    <a:pt x="130" y="22"/>
                    <a:pt x="123" y="28"/>
                    <a:pt x="116" y="30"/>
                  </a:cubicBezTo>
                  <a:cubicBezTo>
                    <a:pt x="109" y="32"/>
                    <a:pt x="104" y="35"/>
                    <a:pt x="95" y="33"/>
                  </a:cubicBezTo>
                  <a:cubicBezTo>
                    <a:pt x="86" y="31"/>
                    <a:pt x="73" y="26"/>
                    <a:pt x="63" y="21"/>
                  </a:cubicBezTo>
                  <a:cubicBezTo>
                    <a:pt x="53" y="16"/>
                    <a:pt x="45" y="4"/>
                    <a:pt x="35" y="2"/>
                  </a:cubicBezTo>
                  <a:cubicBezTo>
                    <a:pt x="25" y="0"/>
                    <a:pt x="11" y="8"/>
                    <a:pt x="5" y="9"/>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91" name="Freeform 857"/>
            <p:cNvSpPr>
              <a:spLocks/>
            </p:cNvSpPr>
            <p:nvPr>
              <p:custDataLst>
                <p:tags r:id="rId154"/>
              </p:custDataLst>
            </p:nvPr>
          </p:nvSpPr>
          <p:spPr bwMode="gray">
            <a:xfrm>
              <a:off x="1845121" y="3447751"/>
              <a:ext cx="131903" cy="123969"/>
            </a:xfrm>
            <a:custGeom>
              <a:avLst/>
              <a:gdLst>
                <a:gd name="T0" fmla="*/ 0 w 137"/>
                <a:gd name="T1" fmla="*/ 43 h 128"/>
                <a:gd name="T2" fmla="*/ 6 w 137"/>
                <a:gd name="T3" fmla="*/ 28 h 128"/>
                <a:gd name="T4" fmla="*/ 12 w 137"/>
                <a:gd name="T5" fmla="*/ 10 h 128"/>
                <a:gd name="T6" fmla="*/ 24 w 137"/>
                <a:gd name="T7" fmla="*/ 4 h 128"/>
                <a:gd name="T8" fmla="*/ 35 w 137"/>
                <a:gd name="T9" fmla="*/ 2 h 128"/>
                <a:gd name="T10" fmla="*/ 69 w 137"/>
                <a:gd name="T11" fmla="*/ 5 h 128"/>
                <a:gd name="T12" fmla="*/ 69 w 137"/>
                <a:gd name="T13" fmla="*/ 19 h 128"/>
                <a:gd name="T14" fmla="*/ 70 w 137"/>
                <a:gd name="T15" fmla="*/ 41 h 128"/>
                <a:gd name="T16" fmla="*/ 94 w 137"/>
                <a:gd name="T17" fmla="*/ 47 h 128"/>
                <a:gd name="T18" fmla="*/ 114 w 137"/>
                <a:gd name="T19" fmla="*/ 49 h 128"/>
                <a:gd name="T20" fmla="*/ 115 w 137"/>
                <a:gd name="T21" fmla="*/ 65 h 128"/>
                <a:gd name="T22" fmla="*/ 132 w 137"/>
                <a:gd name="T23" fmla="*/ 76 h 128"/>
                <a:gd name="T24" fmla="*/ 136 w 137"/>
                <a:gd name="T25" fmla="*/ 92 h 128"/>
                <a:gd name="T26" fmla="*/ 126 w 137"/>
                <a:gd name="T27" fmla="*/ 110 h 128"/>
                <a:gd name="T28" fmla="*/ 115 w 137"/>
                <a:gd name="T29" fmla="*/ 127 h 128"/>
                <a:gd name="T30" fmla="*/ 70 w 137"/>
                <a:gd name="T31" fmla="*/ 119 h 128"/>
                <a:gd name="T32" fmla="*/ 76 w 137"/>
                <a:gd name="T33" fmla="*/ 103 h 128"/>
                <a:gd name="T34" fmla="*/ 57 w 137"/>
                <a:gd name="T35" fmla="*/ 86 h 128"/>
                <a:gd name="T36" fmla="*/ 39 w 137"/>
                <a:gd name="T37" fmla="*/ 73 h 128"/>
                <a:gd name="T38" fmla="*/ 15 w 137"/>
                <a:gd name="T39" fmla="*/ 53 h 128"/>
                <a:gd name="T40" fmla="*/ 0 w 137"/>
                <a:gd name="T41" fmla="*/ 4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28">
                  <a:moveTo>
                    <a:pt x="0" y="43"/>
                  </a:moveTo>
                  <a:cubicBezTo>
                    <a:pt x="1" y="38"/>
                    <a:pt x="6" y="28"/>
                    <a:pt x="6" y="28"/>
                  </a:cubicBezTo>
                  <a:cubicBezTo>
                    <a:pt x="8" y="23"/>
                    <a:pt x="9" y="14"/>
                    <a:pt x="12" y="10"/>
                  </a:cubicBezTo>
                  <a:cubicBezTo>
                    <a:pt x="15" y="6"/>
                    <a:pt x="20" y="5"/>
                    <a:pt x="24" y="4"/>
                  </a:cubicBezTo>
                  <a:cubicBezTo>
                    <a:pt x="29" y="0"/>
                    <a:pt x="28" y="2"/>
                    <a:pt x="35" y="2"/>
                  </a:cubicBezTo>
                  <a:cubicBezTo>
                    <a:pt x="42" y="2"/>
                    <a:pt x="63" y="2"/>
                    <a:pt x="69" y="5"/>
                  </a:cubicBezTo>
                  <a:cubicBezTo>
                    <a:pt x="75" y="8"/>
                    <a:pt x="69" y="13"/>
                    <a:pt x="69" y="19"/>
                  </a:cubicBezTo>
                  <a:cubicBezTo>
                    <a:pt x="69" y="25"/>
                    <a:pt x="66" y="36"/>
                    <a:pt x="70" y="41"/>
                  </a:cubicBezTo>
                  <a:cubicBezTo>
                    <a:pt x="74" y="49"/>
                    <a:pt x="87" y="45"/>
                    <a:pt x="94" y="47"/>
                  </a:cubicBezTo>
                  <a:cubicBezTo>
                    <a:pt x="101" y="48"/>
                    <a:pt x="110" y="46"/>
                    <a:pt x="114" y="49"/>
                  </a:cubicBezTo>
                  <a:cubicBezTo>
                    <a:pt x="118" y="51"/>
                    <a:pt x="112" y="61"/>
                    <a:pt x="115" y="65"/>
                  </a:cubicBezTo>
                  <a:cubicBezTo>
                    <a:pt x="118" y="69"/>
                    <a:pt x="129" y="72"/>
                    <a:pt x="132" y="76"/>
                  </a:cubicBezTo>
                  <a:cubicBezTo>
                    <a:pt x="135" y="80"/>
                    <a:pt x="137" y="86"/>
                    <a:pt x="136" y="92"/>
                  </a:cubicBezTo>
                  <a:cubicBezTo>
                    <a:pt x="135" y="98"/>
                    <a:pt x="129" y="104"/>
                    <a:pt x="126" y="110"/>
                  </a:cubicBezTo>
                  <a:cubicBezTo>
                    <a:pt x="123" y="116"/>
                    <a:pt x="124" y="125"/>
                    <a:pt x="115" y="127"/>
                  </a:cubicBezTo>
                  <a:cubicBezTo>
                    <a:pt x="87" y="126"/>
                    <a:pt x="86" y="128"/>
                    <a:pt x="70" y="119"/>
                  </a:cubicBezTo>
                  <a:cubicBezTo>
                    <a:pt x="63" y="115"/>
                    <a:pt x="78" y="108"/>
                    <a:pt x="76" y="103"/>
                  </a:cubicBezTo>
                  <a:cubicBezTo>
                    <a:pt x="74" y="98"/>
                    <a:pt x="63" y="91"/>
                    <a:pt x="57" y="86"/>
                  </a:cubicBezTo>
                  <a:cubicBezTo>
                    <a:pt x="53" y="77"/>
                    <a:pt x="50" y="75"/>
                    <a:pt x="39" y="73"/>
                  </a:cubicBezTo>
                  <a:cubicBezTo>
                    <a:pt x="33" y="67"/>
                    <a:pt x="21" y="58"/>
                    <a:pt x="15" y="53"/>
                  </a:cubicBezTo>
                  <a:cubicBezTo>
                    <a:pt x="9" y="48"/>
                    <a:pt x="3" y="45"/>
                    <a:pt x="0" y="4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92" name="Freeform 858"/>
            <p:cNvSpPr>
              <a:spLocks/>
            </p:cNvSpPr>
            <p:nvPr>
              <p:custDataLst>
                <p:tags r:id="rId155"/>
              </p:custDataLst>
            </p:nvPr>
          </p:nvSpPr>
          <p:spPr bwMode="gray">
            <a:xfrm>
              <a:off x="1463296" y="2901297"/>
              <a:ext cx="17852" cy="37687"/>
            </a:xfrm>
            <a:custGeom>
              <a:avLst/>
              <a:gdLst>
                <a:gd name="T0" fmla="*/ 14 w 19"/>
                <a:gd name="T1" fmla="*/ 0 h 38"/>
                <a:gd name="T2" fmla="*/ 19 w 19"/>
                <a:gd name="T3" fmla="*/ 32 h 38"/>
                <a:gd name="T4" fmla="*/ 5 w 19"/>
                <a:gd name="T5" fmla="*/ 38 h 38"/>
                <a:gd name="T6" fmla="*/ 4 w 19"/>
                <a:gd name="T7" fmla="*/ 23 h 38"/>
                <a:gd name="T8" fmla="*/ 10 w 19"/>
                <a:gd name="T9" fmla="*/ 9 h 38"/>
                <a:gd name="T10" fmla="*/ 14 w 19"/>
                <a:gd name="T11" fmla="*/ 0 h 38"/>
              </a:gdLst>
              <a:ahLst/>
              <a:cxnLst>
                <a:cxn ang="0">
                  <a:pos x="T0" y="T1"/>
                </a:cxn>
                <a:cxn ang="0">
                  <a:pos x="T2" y="T3"/>
                </a:cxn>
                <a:cxn ang="0">
                  <a:pos x="T4" y="T5"/>
                </a:cxn>
                <a:cxn ang="0">
                  <a:pos x="T6" y="T7"/>
                </a:cxn>
                <a:cxn ang="0">
                  <a:pos x="T8" y="T9"/>
                </a:cxn>
                <a:cxn ang="0">
                  <a:pos x="T10" y="T11"/>
                </a:cxn>
              </a:cxnLst>
              <a:rect l="0" t="0" r="r" b="b"/>
              <a:pathLst>
                <a:path w="19" h="38">
                  <a:moveTo>
                    <a:pt x="14" y="0"/>
                  </a:moveTo>
                  <a:cubicBezTo>
                    <a:pt x="18" y="22"/>
                    <a:pt x="16" y="11"/>
                    <a:pt x="19" y="32"/>
                  </a:cubicBezTo>
                  <a:cubicBezTo>
                    <a:pt x="13" y="33"/>
                    <a:pt x="10" y="36"/>
                    <a:pt x="5" y="38"/>
                  </a:cubicBezTo>
                  <a:cubicBezTo>
                    <a:pt x="0" y="32"/>
                    <a:pt x="1" y="30"/>
                    <a:pt x="4" y="23"/>
                  </a:cubicBezTo>
                  <a:cubicBezTo>
                    <a:pt x="5" y="17"/>
                    <a:pt x="7" y="14"/>
                    <a:pt x="10" y="9"/>
                  </a:cubicBezTo>
                  <a:cubicBezTo>
                    <a:pt x="11" y="2"/>
                    <a:pt x="10" y="4"/>
                    <a:pt x="14"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93" name="Freeform 859"/>
            <p:cNvSpPr>
              <a:spLocks/>
            </p:cNvSpPr>
            <p:nvPr>
              <p:custDataLst>
                <p:tags r:id="rId156"/>
              </p:custDataLst>
            </p:nvPr>
          </p:nvSpPr>
          <p:spPr bwMode="gray">
            <a:xfrm>
              <a:off x="1514867" y="3001463"/>
              <a:ext cx="65456" cy="56530"/>
            </a:xfrm>
            <a:custGeom>
              <a:avLst/>
              <a:gdLst>
                <a:gd name="T0" fmla="*/ 5 w 68"/>
                <a:gd name="T1" fmla="*/ 4 h 58"/>
                <a:gd name="T2" fmla="*/ 14 w 68"/>
                <a:gd name="T3" fmla="*/ 15 h 58"/>
                <a:gd name="T4" fmla="*/ 23 w 68"/>
                <a:gd name="T5" fmla="*/ 31 h 58"/>
                <a:gd name="T6" fmla="*/ 33 w 68"/>
                <a:gd name="T7" fmla="*/ 36 h 58"/>
                <a:gd name="T8" fmla="*/ 60 w 68"/>
                <a:gd name="T9" fmla="*/ 51 h 58"/>
                <a:gd name="T10" fmla="*/ 68 w 68"/>
                <a:gd name="T11" fmla="*/ 43 h 58"/>
                <a:gd name="T12" fmla="*/ 51 w 68"/>
                <a:gd name="T13" fmla="*/ 33 h 58"/>
                <a:gd name="T14" fmla="*/ 39 w 68"/>
                <a:gd name="T15" fmla="*/ 24 h 58"/>
                <a:gd name="T16" fmla="*/ 38 w 68"/>
                <a:gd name="T17" fmla="*/ 16 h 58"/>
                <a:gd name="T18" fmla="*/ 5 w 68"/>
                <a:gd name="T19"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58">
                  <a:moveTo>
                    <a:pt x="5" y="4"/>
                  </a:moveTo>
                  <a:cubicBezTo>
                    <a:pt x="0" y="3"/>
                    <a:pt x="11" y="11"/>
                    <a:pt x="14" y="15"/>
                  </a:cubicBezTo>
                  <a:cubicBezTo>
                    <a:pt x="17" y="19"/>
                    <a:pt x="20" y="28"/>
                    <a:pt x="23" y="31"/>
                  </a:cubicBezTo>
                  <a:cubicBezTo>
                    <a:pt x="28" y="33"/>
                    <a:pt x="29" y="33"/>
                    <a:pt x="33" y="36"/>
                  </a:cubicBezTo>
                  <a:cubicBezTo>
                    <a:pt x="36" y="45"/>
                    <a:pt x="52" y="48"/>
                    <a:pt x="60" y="51"/>
                  </a:cubicBezTo>
                  <a:cubicBezTo>
                    <a:pt x="65" y="58"/>
                    <a:pt x="65" y="49"/>
                    <a:pt x="68" y="43"/>
                  </a:cubicBezTo>
                  <a:cubicBezTo>
                    <a:pt x="61" y="39"/>
                    <a:pt x="59" y="35"/>
                    <a:pt x="51" y="33"/>
                  </a:cubicBezTo>
                  <a:cubicBezTo>
                    <a:pt x="47" y="30"/>
                    <a:pt x="41" y="27"/>
                    <a:pt x="39" y="24"/>
                  </a:cubicBezTo>
                  <a:cubicBezTo>
                    <a:pt x="37" y="21"/>
                    <a:pt x="44" y="19"/>
                    <a:pt x="38" y="16"/>
                  </a:cubicBezTo>
                  <a:cubicBezTo>
                    <a:pt x="30" y="0"/>
                    <a:pt x="16" y="15"/>
                    <a:pt x="5" y="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94" name="Freeform 860"/>
            <p:cNvSpPr>
              <a:spLocks/>
            </p:cNvSpPr>
            <p:nvPr>
              <p:custDataLst>
                <p:tags r:id="rId157"/>
              </p:custDataLst>
            </p:nvPr>
          </p:nvSpPr>
          <p:spPr bwMode="gray">
            <a:xfrm>
              <a:off x="1685448" y="2865594"/>
              <a:ext cx="36695" cy="41654"/>
            </a:xfrm>
            <a:custGeom>
              <a:avLst/>
              <a:gdLst>
                <a:gd name="T0" fmla="*/ 15 w 69"/>
                <a:gd name="T1" fmla="*/ 0 h 43"/>
                <a:gd name="T2" fmla="*/ 22 w 69"/>
                <a:gd name="T3" fmla="*/ 12 h 43"/>
                <a:gd name="T4" fmla="*/ 16 w 69"/>
                <a:gd name="T5" fmla="*/ 27 h 43"/>
                <a:gd name="T6" fmla="*/ 0 w 69"/>
                <a:gd name="T7" fmla="*/ 28 h 43"/>
                <a:gd name="T8" fmla="*/ 7 w 69"/>
                <a:gd name="T9" fmla="*/ 37 h 43"/>
                <a:gd name="T10" fmla="*/ 31 w 69"/>
                <a:gd name="T11" fmla="*/ 34 h 43"/>
                <a:gd name="T12" fmla="*/ 46 w 69"/>
                <a:gd name="T13" fmla="*/ 43 h 43"/>
                <a:gd name="T14" fmla="*/ 69 w 69"/>
                <a:gd name="T15" fmla="*/ 37 h 43"/>
                <a:gd name="T16" fmla="*/ 54 w 69"/>
                <a:gd name="T17" fmla="*/ 16 h 43"/>
                <a:gd name="T18" fmla="*/ 60 w 69"/>
                <a:gd name="T19" fmla="*/ 1 h 43"/>
                <a:gd name="T20" fmla="*/ 40 w 69"/>
                <a:gd name="T21" fmla="*/ 4 h 43"/>
                <a:gd name="T22" fmla="*/ 25 w 69"/>
                <a:gd name="T23"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43">
                  <a:moveTo>
                    <a:pt x="15" y="0"/>
                  </a:moveTo>
                  <a:lnTo>
                    <a:pt x="22" y="12"/>
                  </a:lnTo>
                  <a:lnTo>
                    <a:pt x="16" y="27"/>
                  </a:lnTo>
                  <a:lnTo>
                    <a:pt x="0" y="28"/>
                  </a:lnTo>
                  <a:lnTo>
                    <a:pt x="7" y="37"/>
                  </a:lnTo>
                  <a:lnTo>
                    <a:pt x="31" y="34"/>
                  </a:lnTo>
                  <a:lnTo>
                    <a:pt x="46" y="43"/>
                  </a:lnTo>
                  <a:lnTo>
                    <a:pt x="69" y="37"/>
                  </a:lnTo>
                  <a:lnTo>
                    <a:pt x="54" y="16"/>
                  </a:lnTo>
                  <a:lnTo>
                    <a:pt x="60" y="1"/>
                  </a:lnTo>
                  <a:lnTo>
                    <a:pt x="40" y="4"/>
                  </a:lnTo>
                  <a:lnTo>
                    <a:pt x="25" y="4"/>
                  </a:ln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95" name="Freeform 861"/>
            <p:cNvSpPr>
              <a:spLocks/>
            </p:cNvSpPr>
            <p:nvPr>
              <p:custDataLst>
                <p:tags r:id="rId158"/>
              </p:custDataLst>
            </p:nvPr>
          </p:nvSpPr>
          <p:spPr bwMode="gray">
            <a:xfrm>
              <a:off x="1780657" y="2890387"/>
              <a:ext cx="43637" cy="13885"/>
            </a:xfrm>
            <a:custGeom>
              <a:avLst/>
              <a:gdLst>
                <a:gd name="T0" fmla="*/ 0 w 45"/>
                <a:gd name="T1" fmla="*/ 8 h 15"/>
                <a:gd name="T2" fmla="*/ 24 w 45"/>
                <a:gd name="T3" fmla="*/ 8 h 15"/>
                <a:gd name="T4" fmla="*/ 43 w 45"/>
                <a:gd name="T5" fmla="*/ 0 h 15"/>
                <a:gd name="T6" fmla="*/ 45 w 45"/>
                <a:gd name="T7" fmla="*/ 14 h 15"/>
                <a:gd name="T8" fmla="*/ 21 w 45"/>
                <a:gd name="T9" fmla="*/ 15 h 15"/>
                <a:gd name="T10" fmla="*/ 0 w 45"/>
                <a:gd name="T11" fmla="*/ 8 h 15"/>
              </a:gdLst>
              <a:ahLst/>
              <a:cxnLst>
                <a:cxn ang="0">
                  <a:pos x="T0" y="T1"/>
                </a:cxn>
                <a:cxn ang="0">
                  <a:pos x="T2" y="T3"/>
                </a:cxn>
                <a:cxn ang="0">
                  <a:pos x="T4" y="T5"/>
                </a:cxn>
                <a:cxn ang="0">
                  <a:pos x="T6" y="T7"/>
                </a:cxn>
                <a:cxn ang="0">
                  <a:pos x="T8" y="T9"/>
                </a:cxn>
                <a:cxn ang="0">
                  <a:pos x="T10" y="T11"/>
                </a:cxn>
              </a:cxnLst>
              <a:rect l="0" t="0" r="r" b="b"/>
              <a:pathLst>
                <a:path w="45" h="15">
                  <a:moveTo>
                    <a:pt x="0" y="8"/>
                  </a:moveTo>
                  <a:lnTo>
                    <a:pt x="24" y="8"/>
                  </a:lnTo>
                  <a:lnTo>
                    <a:pt x="43" y="0"/>
                  </a:lnTo>
                  <a:lnTo>
                    <a:pt x="45" y="14"/>
                  </a:lnTo>
                  <a:lnTo>
                    <a:pt x="21" y="15"/>
                  </a:lnTo>
                  <a:lnTo>
                    <a:pt x="0" y="8"/>
                  </a:ln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96" name="Freeform 933"/>
            <p:cNvSpPr>
              <a:spLocks/>
            </p:cNvSpPr>
            <p:nvPr>
              <p:custDataLst>
                <p:tags r:id="rId159"/>
              </p:custDataLst>
            </p:nvPr>
          </p:nvSpPr>
          <p:spPr bwMode="gray">
            <a:xfrm>
              <a:off x="3099686" y="2987579"/>
              <a:ext cx="175540" cy="124961"/>
            </a:xfrm>
            <a:custGeom>
              <a:avLst/>
              <a:gdLst>
                <a:gd name="T0" fmla="*/ 177 w 177"/>
                <a:gd name="T1" fmla="*/ 113 h 126"/>
                <a:gd name="T2" fmla="*/ 151 w 177"/>
                <a:gd name="T3" fmla="*/ 111 h 126"/>
                <a:gd name="T4" fmla="*/ 142 w 177"/>
                <a:gd name="T5" fmla="*/ 117 h 126"/>
                <a:gd name="T6" fmla="*/ 134 w 177"/>
                <a:gd name="T7" fmla="*/ 123 h 126"/>
                <a:gd name="T8" fmla="*/ 127 w 177"/>
                <a:gd name="T9" fmla="*/ 122 h 126"/>
                <a:gd name="T10" fmla="*/ 113 w 177"/>
                <a:gd name="T11" fmla="*/ 122 h 126"/>
                <a:gd name="T12" fmla="*/ 110 w 177"/>
                <a:gd name="T13" fmla="*/ 126 h 126"/>
                <a:gd name="T14" fmla="*/ 94 w 177"/>
                <a:gd name="T15" fmla="*/ 125 h 126"/>
                <a:gd name="T16" fmla="*/ 87 w 177"/>
                <a:gd name="T17" fmla="*/ 118 h 126"/>
                <a:gd name="T18" fmla="*/ 74 w 177"/>
                <a:gd name="T19" fmla="*/ 113 h 126"/>
                <a:gd name="T20" fmla="*/ 63 w 177"/>
                <a:gd name="T21" fmla="*/ 115 h 126"/>
                <a:gd name="T22" fmla="*/ 50 w 177"/>
                <a:gd name="T23" fmla="*/ 107 h 126"/>
                <a:gd name="T24" fmla="*/ 49 w 177"/>
                <a:gd name="T25" fmla="*/ 105 h 126"/>
                <a:gd name="T26" fmla="*/ 45 w 177"/>
                <a:gd name="T27" fmla="*/ 102 h 126"/>
                <a:gd name="T28" fmla="*/ 32 w 177"/>
                <a:gd name="T29" fmla="*/ 87 h 126"/>
                <a:gd name="T30" fmla="*/ 29 w 177"/>
                <a:gd name="T31" fmla="*/ 81 h 126"/>
                <a:gd name="T32" fmla="*/ 18 w 177"/>
                <a:gd name="T33" fmla="*/ 73 h 126"/>
                <a:gd name="T34" fmla="*/ 12 w 177"/>
                <a:gd name="T35" fmla="*/ 63 h 126"/>
                <a:gd name="T36" fmla="*/ 3 w 177"/>
                <a:gd name="T37" fmla="*/ 59 h 126"/>
                <a:gd name="T38" fmla="*/ 0 w 177"/>
                <a:gd name="T39" fmla="*/ 57 h 126"/>
                <a:gd name="T40" fmla="*/ 4 w 177"/>
                <a:gd name="T41" fmla="*/ 49 h 126"/>
                <a:gd name="T42" fmla="*/ 9 w 177"/>
                <a:gd name="T43" fmla="*/ 35 h 126"/>
                <a:gd name="T44" fmla="*/ 13 w 177"/>
                <a:gd name="T45" fmla="*/ 30 h 126"/>
                <a:gd name="T46" fmla="*/ 25 w 177"/>
                <a:gd name="T47" fmla="*/ 28 h 126"/>
                <a:gd name="T48" fmla="*/ 35 w 177"/>
                <a:gd name="T49" fmla="*/ 37 h 126"/>
                <a:gd name="T50" fmla="*/ 44 w 177"/>
                <a:gd name="T51" fmla="*/ 38 h 126"/>
                <a:gd name="T52" fmla="*/ 59 w 177"/>
                <a:gd name="T53" fmla="*/ 42 h 126"/>
                <a:gd name="T54" fmla="*/ 69 w 177"/>
                <a:gd name="T55" fmla="*/ 41 h 126"/>
                <a:gd name="T56" fmla="*/ 70 w 177"/>
                <a:gd name="T57" fmla="*/ 39 h 126"/>
                <a:gd name="T58" fmla="*/ 81 w 177"/>
                <a:gd name="T59" fmla="*/ 31 h 126"/>
                <a:gd name="T60" fmla="*/ 87 w 177"/>
                <a:gd name="T61" fmla="*/ 27 h 126"/>
                <a:gd name="T62" fmla="*/ 101 w 177"/>
                <a:gd name="T63" fmla="*/ 37 h 126"/>
                <a:gd name="T64" fmla="*/ 107 w 177"/>
                <a:gd name="T65" fmla="*/ 37 h 126"/>
                <a:gd name="T66" fmla="*/ 116 w 177"/>
                <a:gd name="T67" fmla="*/ 26 h 126"/>
                <a:gd name="T68" fmla="*/ 123 w 177"/>
                <a:gd name="T69" fmla="*/ 20 h 126"/>
                <a:gd name="T70" fmla="*/ 124 w 177"/>
                <a:gd name="T71" fmla="*/ 8 h 126"/>
                <a:gd name="T72" fmla="*/ 119 w 177"/>
                <a:gd name="T73" fmla="*/ 4 h 126"/>
                <a:gd name="T74" fmla="*/ 130 w 177"/>
                <a:gd name="T75" fmla="*/ 0 h 126"/>
                <a:gd name="T76" fmla="*/ 134 w 177"/>
                <a:gd name="T77" fmla="*/ 15 h 126"/>
                <a:gd name="T78" fmla="*/ 141 w 177"/>
                <a:gd name="T79" fmla="*/ 25 h 126"/>
                <a:gd name="T80" fmla="*/ 147 w 177"/>
                <a:gd name="T81" fmla="*/ 41 h 126"/>
                <a:gd name="T82" fmla="*/ 144 w 177"/>
                <a:gd name="T83" fmla="*/ 54 h 126"/>
                <a:gd name="T84" fmla="*/ 136 w 177"/>
                <a:gd name="T85" fmla="*/ 56 h 126"/>
                <a:gd name="T86" fmla="*/ 132 w 177"/>
                <a:gd name="T87" fmla="*/ 63 h 126"/>
                <a:gd name="T88" fmla="*/ 140 w 177"/>
                <a:gd name="T89" fmla="*/ 66 h 126"/>
                <a:gd name="T90" fmla="*/ 153 w 177"/>
                <a:gd name="T91" fmla="*/ 80 h 126"/>
                <a:gd name="T92" fmla="*/ 159 w 177"/>
                <a:gd name="T93" fmla="*/ 85 h 126"/>
                <a:gd name="T94" fmla="*/ 164 w 177"/>
                <a:gd name="T95" fmla="*/ 98 h 126"/>
                <a:gd name="T96" fmla="*/ 166 w 177"/>
                <a:gd name="T97" fmla="*/ 101 h 126"/>
                <a:gd name="T98" fmla="*/ 177 w 177"/>
                <a:gd name="T99" fmla="*/ 11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 h="126">
                  <a:moveTo>
                    <a:pt x="177" y="113"/>
                  </a:moveTo>
                  <a:lnTo>
                    <a:pt x="151" y="111"/>
                  </a:lnTo>
                  <a:cubicBezTo>
                    <a:pt x="148" y="114"/>
                    <a:pt x="145" y="115"/>
                    <a:pt x="142" y="117"/>
                  </a:cubicBezTo>
                  <a:cubicBezTo>
                    <a:pt x="141" y="121"/>
                    <a:pt x="137" y="122"/>
                    <a:pt x="134" y="123"/>
                  </a:cubicBezTo>
                  <a:cubicBezTo>
                    <a:pt x="131" y="121"/>
                    <a:pt x="130" y="122"/>
                    <a:pt x="127" y="122"/>
                  </a:cubicBezTo>
                  <a:cubicBezTo>
                    <a:pt x="124" y="122"/>
                    <a:pt x="116" y="121"/>
                    <a:pt x="113" y="122"/>
                  </a:cubicBezTo>
                  <a:cubicBezTo>
                    <a:pt x="111" y="122"/>
                    <a:pt x="110" y="123"/>
                    <a:pt x="110" y="126"/>
                  </a:cubicBezTo>
                  <a:cubicBezTo>
                    <a:pt x="107" y="126"/>
                    <a:pt x="98" y="126"/>
                    <a:pt x="94" y="125"/>
                  </a:cubicBezTo>
                  <a:cubicBezTo>
                    <a:pt x="94" y="123"/>
                    <a:pt x="89" y="118"/>
                    <a:pt x="87" y="118"/>
                  </a:cubicBezTo>
                  <a:cubicBezTo>
                    <a:pt x="84" y="116"/>
                    <a:pt x="76" y="114"/>
                    <a:pt x="74" y="113"/>
                  </a:cubicBezTo>
                  <a:cubicBezTo>
                    <a:pt x="70" y="112"/>
                    <a:pt x="66" y="115"/>
                    <a:pt x="63" y="115"/>
                  </a:cubicBezTo>
                  <a:cubicBezTo>
                    <a:pt x="59" y="114"/>
                    <a:pt x="52" y="109"/>
                    <a:pt x="50" y="107"/>
                  </a:cubicBezTo>
                  <a:cubicBezTo>
                    <a:pt x="50" y="106"/>
                    <a:pt x="50" y="106"/>
                    <a:pt x="49" y="105"/>
                  </a:cubicBezTo>
                  <a:cubicBezTo>
                    <a:pt x="48" y="105"/>
                    <a:pt x="47" y="104"/>
                    <a:pt x="45" y="102"/>
                  </a:cubicBezTo>
                  <a:cubicBezTo>
                    <a:pt x="42" y="99"/>
                    <a:pt x="35" y="90"/>
                    <a:pt x="32" y="87"/>
                  </a:cubicBezTo>
                  <a:cubicBezTo>
                    <a:pt x="30" y="84"/>
                    <a:pt x="33" y="81"/>
                    <a:pt x="29" y="81"/>
                  </a:cubicBezTo>
                  <a:cubicBezTo>
                    <a:pt x="27" y="79"/>
                    <a:pt x="20" y="75"/>
                    <a:pt x="18" y="73"/>
                  </a:cubicBezTo>
                  <a:cubicBezTo>
                    <a:pt x="15" y="70"/>
                    <a:pt x="14" y="65"/>
                    <a:pt x="12" y="63"/>
                  </a:cubicBezTo>
                  <a:cubicBezTo>
                    <a:pt x="7" y="61"/>
                    <a:pt x="9" y="60"/>
                    <a:pt x="3" y="59"/>
                  </a:cubicBezTo>
                  <a:cubicBezTo>
                    <a:pt x="2" y="58"/>
                    <a:pt x="0" y="59"/>
                    <a:pt x="0" y="57"/>
                  </a:cubicBezTo>
                  <a:cubicBezTo>
                    <a:pt x="0" y="53"/>
                    <a:pt x="1" y="50"/>
                    <a:pt x="4" y="49"/>
                  </a:cubicBezTo>
                  <a:cubicBezTo>
                    <a:pt x="6" y="45"/>
                    <a:pt x="8" y="38"/>
                    <a:pt x="9" y="35"/>
                  </a:cubicBezTo>
                  <a:cubicBezTo>
                    <a:pt x="10" y="32"/>
                    <a:pt x="11" y="32"/>
                    <a:pt x="13" y="30"/>
                  </a:cubicBezTo>
                  <a:cubicBezTo>
                    <a:pt x="16" y="26"/>
                    <a:pt x="18" y="28"/>
                    <a:pt x="25" y="28"/>
                  </a:cubicBezTo>
                  <a:cubicBezTo>
                    <a:pt x="29" y="29"/>
                    <a:pt x="32" y="35"/>
                    <a:pt x="35" y="37"/>
                  </a:cubicBezTo>
                  <a:cubicBezTo>
                    <a:pt x="35" y="42"/>
                    <a:pt x="39" y="39"/>
                    <a:pt x="44" y="38"/>
                  </a:cubicBezTo>
                  <a:cubicBezTo>
                    <a:pt x="48" y="39"/>
                    <a:pt x="55" y="42"/>
                    <a:pt x="59" y="42"/>
                  </a:cubicBezTo>
                  <a:cubicBezTo>
                    <a:pt x="62" y="42"/>
                    <a:pt x="66" y="43"/>
                    <a:pt x="69" y="41"/>
                  </a:cubicBezTo>
                  <a:cubicBezTo>
                    <a:pt x="70" y="40"/>
                    <a:pt x="69" y="39"/>
                    <a:pt x="70" y="39"/>
                  </a:cubicBezTo>
                  <a:cubicBezTo>
                    <a:pt x="72" y="37"/>
                    <a:pt x="78" y="33"/>
                    <a:pt x="81" y="31"/>
                  </a:cubicBezTo>
                  <a:cubicBezTo>
                    <a:pt x="83" y="30"/>
                    <a:pt x="87" y="27"/>
                    <a:pt x="87" y="27"/>
                  </a:cubicBezTo>
                  <a:lnTo>
                    <a:pt x="101" y="37"/>
                  </a:lnTo>
                  <a:lnTo>
                    <a:pt x="107" y="37"/>
                  </a:lnTo>
                  <a:lnTo>
                    <a:pt x="116" y="26"/>
                  </a:lnTo>
                  <a:lnTo>
                    <a:pt x="123" y="20"/>
                  </a:lnTo>
                  <a:lnTo>
                    <a:pt x="124" y="8"/>
                  </a:lnTo>
                  <a:lnTo>
                    <a:pt x="119" y="4"/>
                  </a:lnTo>
                  <a:cubicBezTo>
                    <a:pt x="129" y="4"/>
                    <a:pt x="129" y="6"/>
                    <a:pt x="130" y="0"/>
                  </a:cubicBezTo>
                  <a:cubicBezTo>
                    <a:pt x="136" y="1"/>
                    <a:pt x="132" y="10"/>
                    <a:pt x="134" y="15"/>
                  </a:cubicBezTo>
                  <a:cubicBezTo>
                    <a:pt x="135" y="20"/>
                    <a:pt x="135" y="24"/>
                    <a:pt x="141" y="25"/>
                  </a:cubicBezTo>
                  <a:cubicBezTo>
                    <a:pt x="143" y="29"/>
                    <a:pt x="147" y="36"/>
                    <a:pt x="147" y="41"/>
                  </a:cubicBezTo>
                  <a:cubicBezTo>
                    <a:pt x="147" y="48"/>
                    <a:pt x="151" y="53"/>
                    <a:pt x="144" y="54"/>
                  </a:cubicBezTo>
                  <a:cubicBezTo>
                    <a:pt x="142" y="58"/>
                    <a:pt x="140" y="56"/>
                    <a:pt x="136" y="56"/>
                  </a:cubicBezTo>
                  <a:cubicBezTo>
                    <a:pt x="132" y="57"/>
                    <a:pt x="132" y="59"/>
                    <a:pt x="132" y="63"/>
                  </a:cubicBezTo>
                  <a:cubicBezTo>
                    <a:pt x="133" y="69"/>
                    <a:pt x="131" y="66"/>
                    <a:pt x="140" y="66"/>
                  </a:cubicBezTo>
                  <a:cubicBezTo>
                    <a:pt x="143" y="69"/>
                    <a:pt x="150" y="77"/>
                    <a:pt x="153" y="80"/>
                  </a:cubicBezTo>
                  <a:cubicBezTo>
                    <a:pt x="154" y="82"/>
                    <a:pt x="157" y="82"/>
                    <a:pt x="159" y="85"/>
                  </a:cubicBezTo>
                  <a:cubicBezTo>
                    <a:pt x="161" y="88"/>
                    <a:pt x="163" y="95"/>
                    <a:pt x="164" y="98"/>
                  </a:cubicBezTo>
                  <a:cubicBezTo>
                    <a:pt x="164" y="99"/>
                    <a:pt x="164" y="101"/>
                    <a:pt x="166" y="101"/>
                  </a:cubicBezTo>
                  <a:cubicBezTo>
                    <a:pt x="175" y="102"/>
                    <a:pt x="177" y="113"/>
                    <a:pt x="177" y="11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197" name="Freeform 14"/>
            <p:cNvSpPr>
              <a:spLocks noEditPoints="1"/>
            </p:cNvSpPr>
            <p:nvPr/>
          </p:nvSpPr>
          <p:spPr bwMode="auto">
            <a:xfrm>
              <a:off x="717028" y="853984"/>
              <a:ext cx="1309112" cy="1664159"/>
            </a:xfrm>
            <a:custGeom>
              <a:avLst/>
              <a:gdLst>
                <a:gd name="T0" fmla="*/ 1268 w 1320"/>
                <a:gd name="T1" fmla="*/ 1494 h 1678"/>
                <a:gd name="T2" fmla="*/ 1194 w 1320"/>
                <a:gd name="T3" fmla="*/ 1358 h 1678"/>
                <a:gd name="T4" fmla="*/ 1068 w 1320"/>
                <a:gd name="T5" fmla="*/ 1274 h 1678"/>
                <a:gd name="T6" fmla="*/ 932 w 1320"/>
                <a:gd name="T7" fmla="*/ 1280 h 1678"/>
                <a:gd name="T8" fmla="*/ 750 w 1320"/>
                <a:gd name="T9" fmla="*/ 1316 h 1678"/>
                <a:gd name="T10" fmla="*/ 804 w 1320"/>
                <a:gd name="T11" fmla="*/ 1072 h 1678"/>
                <a:gd name="T12" fmla="*/ 862 w 1320"/>
                <a:gd name="T13" fmla="*/ 1064 h 1678"/>
                <a:gd name="T14" fmla="*/ 924 w 1320"/>
                <a:gd name="T15" fmla="*/ 870 h 1678"/>
                <a:gd name="T16" fmla="*/ 928 w 1320"/>
                <a:gd name="T17" fmla="*/ 1092 h 1678"/>
                <a:gd name="T18" fmla="*/ 1106 w 1320"/>
                <a:gd name="T19" fmla="*/ 1168 h 1678"/>
                <a:gd name="T20" fmla="*/ 1150 w 1320"/>
                <a:gd name="T21" fmla="*/ 1014 h 1678"/>
                <a:gd name="T22" fmla="*/ 998 w 1320"/>
                <a:gd name="T23" fmla="*/ 852 h 1678"/>
                <a:gd name="T24" fmla="*/ 904 w 1320"/>
                <a:gd name="T25" fmla="*/ 790 h 1678"/>
                <a:gd name="T26" fmla="*/ 820 w 1320"/>
                <a:gd name="T27" fmla="*/ 706 h 1678"/>
                <a:gd name="T28" fmla="*/ 796 w 1320"/>
                <a:gd name="T29" fmla="*/ 954 h 1678"/>
                <a:gd name="T30" fmla="*/ 678 w 1320"/>
                <a:gd name="T31" fmla="*/ 976 h 1678"/>
                <a:gd name="T32" fmla="*/ 468 w 1320"/>
                <a:gd name="T33" fmla="*/ 984 h 1678"/>
                <a:gd name="T34" fmla="*/ 538 w 1320"/>
                <a:gd name="T35" fmla="*/ 938 h 1678"/>
                <a:gd name="T36" fmla="*/ 496 w 1320"/>
                <a:gd name="T37" fmla="*/ 798 h 1678"/>
                <a:gd name="T38" fmla="*/ 342 w 1320"/>
                <a:gd name="T39" fmla="*/ 690 h 1678"/>
                <a:gd name="T40" fmla="*/ 270 w 1320"/>
                <a:gd name="T41" fmla="*/ 848 h 1678"/>
                <a:gd name="T42" fmla="*/ 332 w 1320"/>
                <a:gd name="T43" fmla="*/ 862 h 1678"/>
                <a:gd name="T44" fmla="*/ 272 w 1320"/>
                <a:gd name="T45" fmla="*/ 900 h 1678"/>
                <a:gd name="T46" fmla="*/ 128 w 1320"/>
                <a:gd name="T47" fmla="*/ 920 h 1678"/>
                <a:gd name="T48" fmla="*/ 30 w 1320"/>
                <a:gd name="T49" fmla="*/ 1270 h 1678"/>
                <a:gd name="T50" fmla="*/ 788 w 1320"/>
                <a:gd name="T51" fmla="*/ 1534 h 1678"/>
                <a:gd name="T52" fmla="*/ 854 w 1320"/>
                <a:gd name="T53" fmla="*/ 1672 h 1678"/>
                <a:gd name="T54" fmla="*/ 1114 w 1320"/>
                <a:gd name="T55" fmla="*/ 1602 h 1678"/>
                <a:gd name="T56" fmla="*/ 1114 w 1320"/>
                <a:gd name="T57" fmla="*/ 1534 h 1678"/>
                <a:gd name="T58" fmla="*/ 1238 w 1320"/>
                <a:gd name="T59" fmla="*/ 1462 h 1678"/>
                <a:gd name="T60" fmla="*/ 770 w 1320"/>
                <a:gd name="T61" fmla="*/ 1060 h 1678"/>
                <a:gd name="T62" fmla="*/ 662 w 1320"/>
                <a:gd name="T63" fmla="*/ 824 h 1678"/>
                <a:gd name="T64" fmla="*/ 616 w 1320"/>
                <a:gd name="T65" fmla="*/ 826 h 1678"/>
                <a:gd name="T66" fmla="*/ 706 w 1320"/>
                <a:gd name="T67" fmla="*/ 774 h 1678"/>
                <a:gd name="T68" fmla="*/ 984 w 1320"/>
                <a:gd name="T69" fmla="*/ 972 h 1678"/>
                <a:gd name="T70" fmla="*/ 900 w 1320"/>
                <a:gd name="T71" fmla="*/ 1196 h 1678"/>
                <a:gd name="T72" fmla="*/ 320 w 1320"/>
                <a:gd name="T73" fmla="*/ 600 h 1678"/>
                <a:gd name="T74" fmla="*/ 320 w 1320"/>
                <a:gd name="T75" fmla="*/ 516 h 1678"/>
                <a:gd name="T76" fmla="*/ 400 w 1320"/>
                <a:gd name="T77" fmla="*/ 482 h 1678"/>
                <a:gd name="T78" fmla="*/ 412 w 1320"/>
                <a:gd name="T79" fmla="*/ 472 h 1678"/>
                <a:gd name="T80" fmla="*/ 370 w 1320"/>
                <a:gd name="T81" fmla="*/ 486 h 1678"/>
                <a:gd name="T82" fmla="*/ 406 w 1320"/>
                <a:gd name="T83" fmla="*/ 572 h 1678"/>
                <a:gd name="T84" fmla="*/ 400 w 1320"/>
                <a:gd name="T85" fmla="*/ 666 h 1678"/>
                <a:gd name="T86" fmla="*/ 538 w 1320"/>
                <a:gd name="T87" fmla="*/ 646 h 1678"/>
                <a:gd name="T88" fmla="*/ 536 w 1320"/>
                <a:gd name="T89" fmla="*/ 428 h 1678"/>
                <a:gd name="T90" fmla="*/ 580 w 1320"/>
                <a:gd name="T91" fmla="*/ 388 h 1678"/>
                <a:gd name="T92" fmla="*/ 638 w 1320"/>
                <a:gd name="T93" fmla="*/ 436 h 1678"/>
                <a:gd name="T94" fmla="*/ 706 w 1320"/>
                <a:gd name="T95" fmla="*/ 500 h 1678"/>
                <a:gd name="T96" fmla="*/ 674 w 1320"/>
                <a:gd name="T97" fmla="*/ 354 h 1678"/>
                <a:gd name="T98" fmla="*/ 828 w 1320"/>
                <a:gd name="T99" fmla="*/ 480 h 1678"/>
                <a:gd name="T100" fmla="*/ 558 w 1320"/>
                <a:gd name="T101" fmla="*/ 552 h 1678"/>
                <a:gd name="T102" fmla="*/ 704 w 1320"/>
                <a:gd name="T103" fmla="*/ 626 h 1678"/>
                <a:gd name="T104" fmla="*/ 916 w 1320"/>
                <a:gd name="T105" fmla="*/ 640 h 1678"/>
                <a:gd name="T106" fmla="*/ 914 w 1320"/>
                <a:gd name="T107" fmla="*/ 570 h 1678"/>
                <a:gd name="T108" fmla="*/ 966 w 1320"/>
                <a:gd name="T109" fmla="*/ 372 h 1678"/>
                <a:gd name="T110" fmla="*/ 1184 w 1320"/>
                <a:gd name="T111" fmla="*/ 102 h 1678"/>
                <a:gd name="T112" fmla="*/ 1022 w 1320"/>
                <a:gd name="T113" fmla="*/ 8 h 1678"/>
                <a:gd name="T114" fmla="*/ 870 w 1320"/>
                <a:gd name="T115" fmla="*/ 84 h 1678"/>
                <a:gd name="T116" fmla="*/ 776 w 1320"/>
                <a:gd name="T117" fmla="*/ 132 h 1678"/>
                <a:gd name="T118" fmla="*/ 770 w 1320"/>
                <a:gd name="T119" fmla="*/ 226 h 1678"/>
                <a:gd name="T120" fmla="*/ 928 w 1320"/>
                <a:gd name="T121" fmla="*/ 212 h 1678"/>
                <a:gd name="T122" fmla="*/ 870 w 1320"/>
                <a:gd name="T123" fmla="*/ 318 h 1678"/>
                <a:gd name="T124" fmla="*/ 660 w 1320"/>
                <a:gd name="T125" fmla="*/ 294 h 1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0" h="1678">
                  <a:moveTo>
                    <a:pt x="296" y="1552"/>
                  </a:moveTo>
                  <a:lnTo>
                    <a:pt x="294" y="1546"/>
                  </a:lnTo>
                  <a:lnTo>
                    <a:pt x="292" y="1542"/>
                  </a:lnTo>
                  <a:lnTo>
                    <a:pt x="288" y="1538"/>
                  </a:lnTo>
                  <a:lnTo>
                    <a:pt x="286" y="1534"/>
                  </a:lnTo>
                  <a:lnTo>
                    <a:pt x="282" y="1532"/>
                  </a:lnTo>
                  <a:lnTo>
                    <a:pt x="276" y="1526"/>
                  </a:lnTo>
                  <a:lnTo>
                    <a:pt x="270" y="1520"/>
                  </a:lnTo>
                  <a:lnTo>
                    <a:pt x="266" y="1516"/>
                  </a:lnTo>
                  <a:lnTo>
                    <a:pt x="262" y="1512"/>
                  </a:lnTo>
                  <a:lnTo>
                    <a:pt x="260" y="1508"/>
                  </a:lnTo>
                  <a:lnTo>
                    <a:pt x="260" y="1506"/>
                  </a:lnTo>
                  <a:lnTo>
                    <a:pt x="258" y="1502"/>
                  </a:lnTo>
                  <a:lnTo>
                    <a:pt x="258" y="1500"/>
                  </a:lnTo>
                  <a:lnTo>
                    <a:pt x="258" y="1498"/>
                  </a:lnTo>
                  <a:lnTo>
                    <a:pt x="258" y="1496"/>
                  </a:lnTo>
                  <a:lnTo>
                    <a:pt x="258" y="1496"/>
                  </a:lnTo>
                  <a:lnTo>
                    <a:pt x="258" y="1494"/>
                  </a:lnTo>
                  <a:lnTo>
                    <a:pt x="256" y="1492"/>
                  </a:lnTo>
                  <a:lnTo>
                    <a:pt x="250" y="1492"/>
                  </a:lnTo>
                  <a:lnTo>
                    <a:pt x="246" y="1490"/>
                  </a:lnTo>
                  <a:lnTo>
                    <a:pt x="242" y="1488"/>
                  </a:lnTo>
                  <a:lnTo>
                    <a:pt x="238" y="1486"/>
                  </a:lnTo>
                  <a:lnTo>
                    <a:pt x="232" y="1482"/>
                  </a:lnTo>
                  <a:lnTo>
                    <a:pt x="226" y="1478"/>
                  </a:lnTo>
                  <a:lnTo>
                    <a:pt x="218" y="1474"/>
                  </a:lnTo>
                  <a:lnTo>
                    <a:pt x="214" y="1472"/>
                  </a:lnTo>
                  <a:lnTo>
                    <a:pt x="212" y="1470"/>
                  </a:lnTo>
                  <a:lnTo>
                    <a:pt x="206" y="1470"/>
                  </a:lnTo>
                  <a:lnTo>
                    <a:pt x="202" y="1468"/>
                  </a:lnTo>
                  <a:lnTo>
                    <a:pt x="196" y="1468"/>
                  </a:lnTo>
                  <a:lnTo>
                    <a:pt x="190" y="1468"/>
                  </a:lnTo>
                  <a:lnTo>
                    <a:pt x="190" y="1472"/>
                  </a:lnTo>
                  <a:lnTo>
                    <a:pt x="190" y="1472"/>
                  </a:lnTo>
                  <a:lnTo>
                    <a:pt x="190" y="1472"/>
                  </a:lnTo>
                  <a:lnTo>
                    <a:pt x="190" y="1472"/>
                  </a:lnTo>
                  <a:lnTo>
                    <a:pt x="190" y="1472"/>
                  </a:lnTo>
                  <a:lnTo>
                    <a:pt x="188" y="1470"/>
                  </a:lnTo>
                  <a:lnTo>
                    <a:pt x="188" y="1472"/>
                  </a:lnTo>
                  <a:lnTo>
                    <a:pt x="188" y="1472"/>
                  </a:lnTo>
                  <a:lnTo>
                    <a:pt x="186" y="1472"/>
                  </a:lnTo>
                  <a:lnTo>
                    <a:pt x="186" y="1474"/>
                  </a:lnTo>
                  <a:lnTo>
                    <a:pt x="186" y="1474"/>
                  </a:lnTo>
                  <a:lnTo>
                    <a:pt x="186" y="1474"/>
                  </a:lnTo>
                  <a:lnTo>
                    <a:pt x="188" y="1476"/>
                  </a:lnTo>
                  <a:lnTo>
                    <a:pt x="190" y="1480"/>
                  </a:lnTo>
                  <a:lnTo>
                    <a:pt x="190" y="1484"/>
                  </a:lnTo>
                  <a:lnTo>
                    <a:pt x="194" y="1488"/>
                  </a:lnTo>
                  <a:lnTo>
                    <a:pt x="196" y="1490"/>
                  </a:lnTo>
                  <a:lnTo>
                    <a:pt x="200" y="1494"/>
                  </a:lnTo>
                  <a:lnTo>
                    <a:pt x="206" y="1498"/>
                  </a:lnTo>
                  <a:lnTo>
                    <a:pt x="212" y="1502"/>
                  </a:lnTo>
                  <a:lnTo>
                    <a:pt x="216" y="1506"/>
                  </a:lnTo>
                  <a:lnTo>
                    <a:pt x="220" y="1510"/>
                  </a:lnTo>
                  <a:lnTo>
                    <a:pt x="222" y="1512"/>
                  </a:lnTo>
                  <a:lnTo>
                    <a:pt x="222" y="1516"/>
                  </a:lnTo>
                  <a:lnTo>
                    <a:pt x="222" y="1518"/>
                  </a:lnTo>
                  <a:lnTo>
                    <a:pt x="224" y="1520"/>
                  </a:lnTo>
                  <a:lnTo>
                    <a:pt x="224" y="1522"/>
                  </a:lnTo>
                  <a:lnTo>
                    <a:pt x="224" y="1524"/>
                  </a:lnTo>
                  <a:lnTo>
                    <a:pt x="224" y="1524"/>
                  </a:lnTo>
                  <a:lnTo>
                    <a:pt x="224" y="1526"/>
                  </a:lnTo>
                  <a:lnTo>
                    <a:pt x="224" y="1526"/>
                  </a:lnTo>
                  <a:lnTo>
                    <a:pt x="228" y="1526"/>
                  </a:lnTo>
                  <a:lnTo>
                    <a:pt x="232" y="1526"/>
                  </a:lnTo>
                  <a:lnTo>
                    <a:pt x="236" y="1526"/>
                  </a:lnTo>
                  <a:lnTo>
                    <a:pt x="236" y="1524"/>
                  </a:lnTo>
                  <a:lnTo>
                    <a:pt x="236" y="1524"/>
                  </a:lnTo>
                  <a:lnTo>
                    <a:pt x="238" y="1526"/>
                  </a:lnTo>
                  <a:lnTo>
                    <a:pt x="238" y="1526"/>
                  </a:lnTo>
                  <a:lnTo>
                    <a:pt x="242" y="1534"/>
                  </a:lnTo>
                  <a:lnTo>
                    <a:pt x="248" y="1540"/>
                  </a:lnTo>
                  <a:lnTo>
                    <a:pt x="254" y="1548"/>
                  </a:lnTo>
                  <a:lnTo>
                    <a:pt x="254" y="1548"/>
                  </a:lnTo>
                  <a:lnTo>
                    <a:pt x="254" y="1548"/>
                  </a:lnTo>
                  <a:lnTo>
                    <a:pt x="260" y="1552"/>
                  </a:lnTo>
                  <a:lnTo>
                    <a:pt x="260" y="1552"/>
                  </a:lnTo>
                  <a:lnTo>
                    <a:pt x="262" y="1552"/>
                  </a:lnTo>
                  <a:lnTo>
                    <a:pt x="268" y="1556"/>
                  </a:lnTo>
                  <a:lnTo>
                    <a:pt x="268" y="1556"/>
                  </a:lnTo>
                  <a:lnTo>
                    <a:pt x="268" y="1556"/>
                  </a:lnTo>
                  <a:lnTo>
                    <a:pt x="276" y="1560"/>
                  </a:lnTo>
                  <a:lnTo>
                    <a:pt x="276" y="1560"/>
                  </a:lnTo>
                  <a:lnTo>
                    <a:pt x="278" y="1560"/>
                  </a:lnTo>
                  <a:lnTo>
                    <a:pt x="286" y="1560"/>
                  </a:lnTo>
                  <a:lnTo>
                    <a:pt x="286" y="1560"/>
                  </a:lnTo>
                  <a:lnTo>
                    <a:pt x="296" y="1560"/>
                  </a:lnTo>
                  <a:lnTo>
                    <a:pt x="296" y="1560"/>
                  </a:lnTo>
                  <a:lnTo>
                    <a:pt x="298" y="1560"/>
                  </a:lnTo>
                  <a:lnTo>
                    <a:pt x="298" y="1560"/>
                  </a:lnTo>
                  <a:lnTo>
                    <a:pt x="298" y="1556"/>
                  </a:lnTo>
                  <a:lnTo>
                    <a:pt x="296" y="1552"/>
                  </a:lnTo>
                  <a:close/>
                  <a:moveTo>
                    <a:pt x="1320" y="1556"/>
                  </a:moveTo>
                  <a:lnTo>
                    <a:pt x="1318" y="1554"/>
                  </a:lnTo>
                  <a:lnTo>
                    <a:pt x="1318" y="1552"/>
                  </a:lnTo>
                  <a:lnTo>
                    <a:pt x="1316" y="1548"/>
                  </a:lnTo>
                  <a:lnTo>
                    <a:pt x="1316" y="1546"/>
                  </a:lnTo>
                  <a:lnTo>
                    <a:pt x="1316" y="1546"/>
                  </a:lnTo>
                  <a:lnTo>
                    <a:pt x="1316" y="1546"/>
                  </a:lnTo>
                  <a:lnTo>
                    <a:pt x="1316" y="1544"/>
                  </a:lnTo>
                  <a:lnTo>
                    <a:pt x="1316" y="1544"/>
                  </a:lnTo>
                  <a:lnTo>
                    <a:pt x="1314" y="1544"/>
                  </a:lnTo>
                  <a:lnTo>
                    <a:pt x="1314" y="1542"/>
                  </a:lnTo>
                  <a:lnTo>
                    <a:pt x="1314" y="1542"/>
                  </a:lnTo>
                  <a:lnTo>
                    <a:pt x="1312" y="1542"/>
                  </a:lnTo>
                  <a:lnTo>
                    <a:pt x="1312" y="1540"/>
                  </a:lnTo>
                  <a:lnTo>
                    <a:pt x="1312" y="1538"/>
                  </a:lnTo>
                  <a:lnTo>
                    <a:pt x="1314" y="1536"/>
                  </a:lnTo>
                  <a:lnTo>
                    <a:pt x="1314" y="1532"/>
                  </a:lnTo>
                  <a:lnTo>
                    <a:pt x="1314" y="1532"/>
                  </a:lnTo>
                  <a:lnTo>
                    <a:pt x="1314" y="1530"/>
                  </a:lnTo>
                  <a:lnTo>
                    <a:pt x="1314" y="1530"/>
                  </a:lnTo>
                  <a:lnTo>
                    <a:pt x="1314" y="1528"/>
                  </a:lnTo>
                  <a:lnTo>
                    <a:pt x="1314" y="1526"/>
                  </a:lnTo>
                  <a:lnTo>
                    <a:pt x="1314" y="1526"/>
                  </a:lnTo>
                  <a:lnTo>
                    <a:pt x="1312" y="1526"/>
                  </a:lnTo>
                  <a:lnTo>
                    <a:pt x="1310" y="1524"/>
                  </a:lnTo>
                  <a:lnTo>
                    <a:pt x="1310" y="1524"/>
                  </a:lnTo>
                  <a:lnTo>
                    <a:pt x="1310" y="1524"/>
                  </a:lnTo>
                  <a:lnTo>
                    <a:pt x="1308" y="1522"/>
                  </a:lnTo>
                  <a:lnTo>
                    <a:pt x="1308" y="1522"/>
                  </a:lnTo>
                  <a:lnTo>
                    <a:pt x="1306" y="1522"/>
                  </a:lnTo>
                  <a:lnTo>
                    <a:pt x="1304" y="1522"/>
                  </a:lnTo>
                  <a:lnTo>
                    <a:pt x="1304" y="1522"/>
                  </a:lnTo>
                  <a:lnTo>
                    <a:pt x="1304" y="1520"/>
                  </a:lnTo>
                  <a:lnTo>
                    <a:pt x="1302" y="1518"/>
                  </a:lnTo>
                  <a:lnTo>
                    <a:pt x="1302" y="1512"/>
                  </a:lnTo>
                  <a:lnTo>
                    <a:pt x="1302" y="1512"/>
                  </a:lnTo>
                  <a:lnTo>
                    <a:pt x="1300" y="1512"/>
                  </a:lnTo>
                  <a:lnTo>
                    <a:pt x="1300" y="1510"/>
                  </a:lnTo>
                  <a:lnTo>
                    <a:pt x="1300" y="1510"/>
                  </a:lnTo>
                  <a:lnTo>
                    <a:pt x="1300" y="1510"/>
                  </a:lnTo>
                  <a:lnTo>
                    <a:pt x="1298" y="1508"/>
                  </a:lnTo>
                  <a:lnTo>
                    <a:pt x="1298" y="1508"/>
                  </a:lnTo>
                  <a:lnTo>
                    <a:pt x="1298" y="1506"/>
                  </a:lnTo>
                  <a:lnTo>
                    <a:pt x="1296" y="1504"/>
                  </a:lnTo>
                  <a:lnTo>
                    <a:pt x="1296" y="1504"/>
                  </a:lnTo>
                  <a:lnTo>
                    <a:pt x="1296" y="1504"/>
                  </a:lnTo>
                  <a:lnTo>
                    <a:pt x="1292" y="1502"/>
                  </a:lnTo>
                  <a:lnTo>
                    <a:pt x="1292" y="1502"/>
                  </a:lnTo>
                  <a:lnTo>
                    <a:pt x="1290" y="1502"/>
                  </a:lnTo>
                  <a:lnTo>
                    <a:pt x="1286" y="1504"/>
                  </a:lnTo>
                  <a:lnTo>
                    <a:pt x="1282" y="1504"/>
                  </a:lnTo>
                  <a:lnTo>
                    <a:pt x="1278" y="1504"/>
                  </a:lnTo>
                  <a:lnTo>
                    <a:pt x="1276" y="1504"/>
                  </a:lnTo>
                  <a:lnTo>
                    <a:pt x="1276" y="1504"/>
                  </a:lnTo>
                  <a:lnTo>
                    <a:pt x="1274" y="1502"/>
                  </a:lnTo>
                  <a:lnTo>
                    <a:pt x="1274" y="1502"/>
                  </a:lnTo>
                  <a:lnTo>
                    <a:pt x="1274" y="1500"/>
                  </a:lnTo>
                  <a:lnTo>
                    <a:pt x="1274" y="1500"/>
                  </a:lnTo>
                  <a:lnTo>
                    <a:pt x="1274" y="1500"/>
                  </a:lnTo>
                  <a:lnTo>
                    <a:pt x="1272" y="1498"/>
                  </a:lnTo>
                  <a:lnTo>
                    <a:pt x="1272" y="1498"/>
                  </a:lnTo>
                  <a:lnTo>
                    <a:pt x="1272" y="1498"/>
                  </a:lnTo>
                  <a:lnTo>
                    <a:pt x="1272" y="1496"/>
                  </a:lnTo>
                  <a:lnTo>
                    <a:pt x="1268" y="1494"/>
                  </a:lnTo>
                  <a:lnTo>
                    <a:pt x="1266" y="1494"/>
                  </a:lnTo>
                  <a:lnTo>
                    <a:pt x="1266" y="1494"/>
                  </a:lnTo>
                  <a:lnTo>
                    <a:pt x="1264" y="1492"/>
                  </a:lnTo>
                  <a:lnTo>
                    <a:pt x="1264" y="1492"/>
                  </a:lnTo>
                  <a:lnTo>
                    <a:pt x="1264" y="1490"/>
                  </a:lnTo>
                  <a:lnTo>
                    <a:pt x="1264" y="1490"/>
                  </a:lnTo>
                  <a:lnTo>
                    <a:pt x="1264" y="1490"/>
                  </a:lnTo>
                  <a:lnTo>
                    <a:pt x="1262" y="1488"/>
                  </a:lnTo>
                  <a:lnTo>
                    <a:pt x="1262" y="1488"/>
                  </a:lnTo>
                  <a:lnTo>
                    <a:pt x="1262" y="1488"/>
                  </a:lnTo>
                  <a:lnTo>
                    <a:pt x="1264" y="1488"/>
                  </a:lnTo>
                  <a:lnTo>
                    <a:pt x="1268" y="1486"/>
                  </a:lnTo>
                  <a:lnTo>
                    <a:pt x="1270" y="1486"/>
                  </a:lnTo>
                  <a:lnTo>
                    <a:pt x="1270" y="1486"/>
                  </a:lnTo>
                  <a:lnTo>
                    <a:pt x="1270" y="1486"/>
                  </a:lnTo>
                  <a:lnTo>
                    <a:pt x="1272" y="1484"/>
                  </a:lnTo>
                  <a:lnTo>
                    <a:pt x="1274" y="1482"/>
                  </a:lnTo>
                  <a:lnTo>
                    <a:pt x="1274" y="1478"/>
                  </a:lnTo>
                  <a:lnTo>
                    <a:pt x="1276" y="1474"/>
                  </a:lnTo>
                  <a:lnTo>
                    <a:pt x="1276" y="1468"/>
                  </a:lnTo>
                  <a:lnTo>
                    <a:pt x="1276" y="1466"/>
                  </a:lnTo>
                  <a:lnTo>
                    <a:pt x="1278" y="1464"/>
                  </a:lnTo>
                  <a:lnTo>
                    <a:pt x="1278" y="1464"/>
                  </a:lnTo>
                  <a:lnTo>
                    <a:pt x="1278" y="1462"/>
                  </a:lnTo>
                  <a:lnTo>
                    <a:pt x="1278" y="1458"/>
                  </a:lnTo>
                  <a:lnTo>
                    <a:pt x="1276" y="1456"/>
                  </a:lnTo>
                  <a:lnTo>
                    <a:pt x="1276" y="1452"/>
                  </a:lnTo>
                  <a:lnTo>
                    <a:pt x="1276" y="1450"/>
                  </a:lnTo>
                  <a:lnTo>
                    <a:pt x="1274" y="1450"/>
                  </a:lnTo>
                  <a:lnTo>
                    <a:pt x="1274" y="1450"/>
                  </a:lnTo>
                  <a:lnTo>
                    <a:pt x="1274" y="1448"/>
                  </a:lnTo>
                  <a:lnTo>
                    <a:pt x="1274" y="1448"/>
                  </a:lnTo>
                  <a:lnTo>
                    <a:pt x="1274" y="1448"/>
                  </a:lnTo>
                  <a:lnTo>
                    <a:pt x="1274" y="1448"/>
                  </a:lnTo>
                  <a:lnTo>
                    <a:pt x="1272" y="1446"/>
                  </a:lnTo>
                  <a:lnTo>
                    <a:pt x="1272" y="1446"/>
                  </a:lnTo>
                  <a:lnTo>
                    <a:pt x="1272" y="1446"/>
                  </a:lnTo>
                  <a:lnTo>
                    <a:pt x="1270" y="1444"/>
                  </a:lnTo>
                  <a:lnTo>
                    <a:pt x="1270" y="1444"/>
                  </a:lnTo>
                  <a:lnTo>
                    <a:pt x="1268" y="1444"/>
                  </a:lnTo>
                  <a:lnTo>
                    <a:pt x="1268" y="1442"/>
                  </a:lnTo>
                  <a:lnTo>
                    <a:pt x="1268" y="1440"/>
                  </a:lnTo>
                  <a:lnTo>
                    <a:pt x="1266" y="1440"/>
                  </a:lnTo>
                  <a:lnTo>
                    <a:pt x="1266" y="1438"/>
                  </a:lnTo>
                  <a:lnTo>
                    <a:pt x="1266" y="1436"/>
                  </a:lnTo>
                  <a:lnTo>
                    <a:pt x="1266" y="1436"/>
                  </a:lnTo>
                  <a:lnTo>
                    <a:pt x="1266" y="1436"/>
                  </a:lnTo>
                  <a:lnTo>
                    <a:pt x="1266" y="1436"/>
                  </a:lnTo>
                  <a:lnTo>
                    <a:pt x="1264" y="1434"/>
                  </a:lnTo>
                  <a:lnTo>
                    <a:pt x="1266" y="1430"/>
                  </a:lnTo>
                  <a:lnTo>
                    <a:pt x="1266" y="1426"/>
                  </a:lnTo>
                  <a:lnTo>
                    <a:pt x="1266" y="1422"/>
                  </a:lnTo>
                  <a:lnTo>
                    <a:pt x="1266" y="1422"/>
                  </a:lnTo>
                  <a:lnTo>
                    <a:pt x="1266" y="1420"/>
                  </a:lnTo>
                  <a:lnTo>
                    <a:pt x="1266" y="1418"/>
                  </a:lnTo>
                  <a:lnTo>
                    <a:pt x="1266" y="1418"/>
                  </a:lnTo>
                  <a:lnTo>
                    <a:pt x="1266" y="1416"/>
                  </a:lnTo>
                  <a:lnTo>
                    <a:pt x="1264" y="1414"/>
                  </a:lnTo>
                  <a:lnTo>
                    <a:pt x="1264" y="1414"/>
                  </a:lnTo>
                  <a:lnTo>
                    <a:pt x="1264" y="1414"/>
                  </a:lnTo>
                  <a:lnTo>
                    <a:pt x="1262" y="1412"/>
                  </a:lnTo>
                  <a:lnTo>
                    <a:pt x="1262" y="1412"/>
                  </a:lnTo>
                  <a:lnTo>
                    <a:pt x="1262" y="1412"/>
                  </a:lnTo>
                  <a:lnTo>
                    <a:pt x="1258" y="1412"/>
                  </a:lnTo>
                  <a:lnTo>
                    <a:pt x="1258" y="1412"/>
                  </a:lnTo>
                  <a:lnTo>
                    <a:pt x="1258" y="1412"/>
                  </a:lnTo>
                  <a:lnTo>
                    <a:pt x="1256" y="1410"/>
                  </a:lnTo>
                  <a:lnTo>
                    <a:pt x="1250" y="1410"/>
                  </a:lnTo>
                  <a:lnTo>
                    <a:pt x="1248" y="1410"/>
                  </a:lnTo>
                  <a:lnTo>
                    <a:pt x="1246" y="1410"/>
                  </a:lnTo>
                  <a:lnTo>
                    <a:pt x="1246" y="1410"/>
                  </a:lnTo>
                  <a:lnTo>
                    <a:pt x="1244" y="1408"/>
                  </a:lnTo>
                  <a:lnTo>
                    <a:pt x="1244" y="1404"/>
                  </a:lnTo>
                  <a:lnTo>
                    <a:pt x="1242" y="1404"/>
                  </a:lnTo>
                  <a:lnTo>
                    <a:pt x="1242" y="1404"/>
                  </a:lnTo>
                  <a:lnTo>
                    <a:pt x="1242" y="1402"/>
                  </a:lnTo>
                  <a:lnTo>
                    <a:pt x="1242" y="1402"/>
                  </a:lnTo>
                  <a:lnTo>
                    <a:pt x="1242" y="1402"/>
                  </a:lnTo>
                  <a:lnTo>
                    <a:pt x="1240" y="1400"/>
                  </a:lnTo>
                  <a:lnTo>
                    <a:pt x="1238" y="1400"/>
                  </a:lnTo>
                  <a:lnTo>
                    <a:pt x="1238" y="1400"/>
                  </a:lnTo>
                  <a:lnTo>
                    <a:pt x="1238" y="1400"/>
                  </a:lnTo>
                  <a:lnTo>
                    <a:pt x="1234" y="1400"/>
                  </a:lnTo>
                  <a:lnTo>
                    <a:pt x="1234" y="1400"/>
                  </a:lnTo>
                  <a:lnTo>
                    <a:pt x="1234" y="1400"/>
                  </a:lnTo>
                  <a:lnTo>
                    <a:pt x="1230" y="1402"/>
                  </a:lnTo>
                  <a:lnTo>
                    <a:pt x="1226" y="1404"/>
                  </a:lnTo>
                  <a:lnTo>
                    <a:pt x="1222" y="1408"/>
                  </a:lnTo>
                  <a:lnTo>
                    <a:pt x="1218" y="1412"/>
                  </a:lnTo>
                  <a:lnTo>
                    <a:pt x="1212" y="1414"/>
                  </a:lnTo>
                  <a:lnTo>
                    <a:pt x="1208" y="1418"/>
                  </a:lnTo>
                  <a:lnTo>
                    <a:pt x="1204" y="1420"/>
                  </a:lnTo>
                  <a:lnTo>
                    <a:pt x="1202" y="1422"/>
                  </a:lnTo>
                  <a:lnTo>
                    <a:pt x="1200" y="1422"/>
                  </a:lnTo>
                  <a:lnTo>
                    <a:pt x="1200" y="1422"/>
                  </a:lnTo>
                  <a:lnTo>
                    <a:pt x="1198" y="1422"/>
                  </a:lnTo>
                  <a:lnTo>
                    <a:pt x="1196" y="1422"/>
                  </a:lnTo>
                  <a:lnTo>
                    <a:pt x="1194" y="1422"/>
                  </a:lnTo>
                  <a:lnTo>
                    <a:pt x="1194" y="1420"/>
                  </a:lnTo>
                  <a:lnTo>
                    <a:pt x="1192" y="1420"/>
                  </a:lnTo>
                  <a:lnTo>
                    <a:pt x="1192" y="1420"/>
                  </a:lnTo>
                  <a:lnTo>
                    <a:pt x="1192" y="1420"/>
                  </a:lnTo>
                  <a:lnTo>
                    <a:pt x="1194" y="1418"/>
                  </a:lnTo>
                  <a:lnTo>
                    <a:pt x="1196" y="1414"/>
                  </a:lnTo>
                  <a:lnTo>
                    <a:pt x="1198" y="1412"/>
                  </a:lnTo>
                  <a:lnTo>
                    <a:pt x="1202" y="1408"/>
                  </a:lnTo>
                  <a:lnTo>
                    <a:pt x="1206" y="1406"/>
                  </a:lnTo>
                  <a:lnTo>
                    <a:pt x="1210" y="1402"/>
                  </a:lnTo>
                  <a:lnTo>
                    <a:pt x="1212" y="1400"/>
                  </a:lnTo>
                  <a:lnTo>
                    <a:pt x="1216" y="1398"/>
                  </a:lnTo>
                  <a:lnTo>
                    <a:pt x="1218" y="1396"/>
                  </a:lnTo>
                  <a:lnTo>
                    <a:pt x="1220" y="1396"/>
                  </a:lnTo>
                  <a:lnTo>
                    <a:pt x="1228" y="1396"/>
                  </a:lnTo>
                  <a:lnTo>
                    <a:pt x="1230" y="1396"/>
                  </a:lnTo>
                  <a:lnTo>
                    <a:pt x="1234" y="1396"/>
                  </a:lnTo>
                  <a:lnTo>
                    <a:pt x="1234" y="1396"/>
                  </a:lnTo>
                  <a:lnTo>
                    <a:pt x="1234" y="1396"/>
                  </a:lnTo>
                  <a:lnTo>
                    <a:pt x="1236" y="1394"/>
                  </a:lnTo>
                  <a:lnTo>
                    <a:pt x="1236" y="1394"/>
                  </a:lnTo>
                  <a:lnTo>
                    <a:pt x="1238" y="1394"/>
                  </a:lnTo>
                  <a:lnTo>
                    <a:pt x="1238" y="1392"/>
                  </a:lnTo>
                  <a:lnTo>
                    <a:pt x="1238" y="1392"/>
                  </a:lnTo>
                  <a:lnTo>
                    <a:pt x="1238" y="1390"/>
                  </a:lnTo>
                  <a:lnTo>
                    <a:pt x="1238" y="1390"/>
                  </a:lnTo>
                  <a:lnTo>
                    <a:pt x="1238" y="1390"/>
                  </a:lnTo>
                  <a:lnTo>
                    <a:pt x="1238" y="1388"/>
                  </a:lnTo>
                  <a:lnTo>
                    <a:pt x="1236" y="1388"/>
                  </a:lnTo>
                  <a:lnTo>
                    <a:pt x="1236" y="1388"/>
                  </a:lnTo>
                  <a:lnTo>
                    <a:pt x="1236" y="1388"/>
                  </a:lnTo>
                  <a:lnTo>
                    <a:pt x="1234" y="1386"/>
                  </a:lnTo>
                  <a:lnTo>
                    <a:pt x="1230" y="1384"/>
                  </a:lnTo>
                  <a:lnTo>
                    <a:pt x="1228" y="1382"/>
                  </a:lnTo>
                  <a:lnTo>
                    <a:pt x="1218" y="1380"/>
                  </a:lnTo>
                  <a:lnTo>
                    <a:pt x="1216" y="1378"/>
                  </a:lnTo>
                  <a:lnTo>
                    <a:pt x="1212" y="1378"/>
                  </a:lnTo>
                  <a:lnTo>
                    <a:pt x="1210" y="1376"/>
                  </a:lnTo>
                  <a:lnTo>
                    <a:pt x="1206" y="1376"/>
                  </a:lnTo>
                  <a:lnTo>
                    <a:pt x="1202" y="1376"/>
                  </a:lnTo>
                  <a:lnTo>
                    <a:pt x="1198" y="1376"/>
                  </a:lnTo>
                  <a:lnTo>
                    <a:pt x="1196" y="1376"/>
                  </a:lnTo>
                  <a:lnTo>
                    <a:pt x="1196" y="1376"/>
                  </a:lnTo>
                  <a:lnTo>
                    <a:pt x="1196" y="1374"/>
                  </a:lnTo>
                  <a:lnTo>
                    <a:pt x="1196" y="1374"/>
                  </a:lnTo>
                  <a:lnTo>
                    <a:pt x="1196" y="1372"/>
                  </a:lnTo>
                  <a:lnTo>
                    <a:pt x="1196" y="1370"/>
                  </a:lnTo>
                  <a:lnTo>
                    <a:pt x="1196" y="1368"/>
                  </a:lnTo>
                  <a:lnTo>
                    <a:pt x="1198" y="1366"/>
                  </a:lnTo>
                  <a:lnTo>
                    <a:pt x="1198" y="1366"/>
                  </a:lnTo>
                  <a:lnTo>
                    <a:pt x="1198" y="1366"/>
                  </a:lnTo>
                  <a:lnTo>
                    <a:pt x="1196" y="1364"/>
                  </a:lnTo>
                  <a:lnTo>
                    <a:pt x="1196" y="1364"/>
                  </a:lnTo>
                  <a:lnTo>
                    <a:pt x="1196" y="1362"/>
                  </a:lnTo>
                  <a:lnTo>
                    <a:pt x="1196" y="1362"/>
                  </a:lnTo>
                  <a:lnTo>
                    <a:pt x="1196" y="1362"/>
                  </a:lnTo>
                  <a:lnTo>
                    <a:pt x="1196" y="1360"/>
                  </a:lnTo>
                  <a:lnTo>
                    <a:pt x="1194" y="1358"/>
                  </a:lnTo>
                  <a:lnTo>
                    <a:pt x="1194" y="1358"/>
                  </a:lnTo>
                  <a:lnTo>
                    <a:pt x="1194" y="1358"/>
                  </a:lnTo>
                  <a:lnTo>
                    <a:pt x="1192" y="1358"/>
                  </a:lnTo>
                  <a:lnTo>
                    <a:pt x="1192" y="1358"/>
                  </a:lnTo>
                  <a:lnTo>
                    <a:pt x="1192" y="1358"/>
                  </a:lnTo>
                  <a:lnTo>
                    <a:pt x="1188" y="1356"/>
                  </a:lnTo>
                  <a:lnTo>
                    <a:pt x="1186" y="1356"/>
                  </a:lnTo>
                  <a:lnTo>
                    <a:pt x="1184" y="1354"/>
                  </a:lnTo>
                  <a:lnTo>
                    <a:pt x="1182" y="1352"/>
                  </a:lnTo>
                  <a:lnTo>
                    <a:pt x="1180" y="1352"/>
                  </a:lnTo>
                  <a:lnTo>
                    <a:pt x="1178" y="1348"/>
                  </a:lnTo>
                  <a:lnTo>
                    <a:pt x="1176" y="1346"/>
                  </a:lnTo>
                  <a:lnTo>
                    <a:pt x="1174" y="1342"/>
                  </a:lnTo>
                  <a:lnTo>
                    <a:pt x="1172" y="1338"/>
                  </a:lnTo>
                  <a:lnTo>
                    <a:pt x="1170" y="1334"/>
                  </a:lnTo>
                  <a:lnTo>
                    <a:pt x="1168" y="1330"/>
                  </a:lnTo>
                  <a:lnTo>
                    <a:pt x="1166" y="1328"/>
                  </a:lnTo>
                  <a:lnTo>
                    <a:pt x="1168" y="1328"/>
                  </a:lnTo>
                  <a:lnTo>
                    <a:pt x="1170" y="1328"/>
                  </a:lnTo>
                  <a:lnTo>
                    <a:pt x="1172" y="1328"/>
                  </a:lnTo>
                  <a:lnTo>
                    <a:pt x="1172" y="1328"/>
                  </a:lnTo>
                  <a:lnTo>
                    <a:pt x="1172" y="1328"/>
                  </a:lnTo>
                  <a:lnTo>
                    <a:pt x="1172" y="1328"/>
                  </a:lnTo>
                  <a:lnTo>
                    <a:pt x="1172" y="1328"/>
                  </a:lnTo>
                  <a:lnTo>
                    <a:pt x="1174" y="1328"/>
                  </a:lnTo>
                  <a:lnTo>
                    <a:pt x="1176" y="1326"/>
                  </a:lnTo>
                  <a:lnTo>
                    <a:pt x="1176" y="1326"/>
                  </a:lnTo>
                  <a:lnTo>
                    <a:pt x="1176" y="1326"/>
                  </a:lnTo>
                  <a:lnTo>
                    <a:pt x="1176" y="1324"/>
                  </a:lnTo>
                  <a:lnTo>
                    <a:pt x="1176" y="1322"/>
                  </a:lnTo>
                  <a:lnTo>
                    <a:pt x="1174" y="1320"/>
                  </a:lnTo>
                  <a:lnTo>
                    <a:pt x="1172" y="1316"/>
                  </a:lnTo>
                  <a:lnTo>
                    <a:pt x="1170" y="1312"/>
                  </a:lnTo>
                  <a:lnTo>
                    <a:pt x="1164" y="1306"/>
                  </a:lnTo>
                  <a:lnTo>
                    <a:pt x="1162" y="1302"/>
                  </a:lnTo>
                  <a:lnTo>
                    <a:pt x="1160" y="1298"/>
                  </a:lnTo>
                  <a:lnTo>
                    <a:pt x="1156" y="1294"/>
                  </a:lnTo>
                  <a:lnTo>
                    <a:pt x="1152" y="1290"/>
                  </a:lnTo>
                  <a:lnTo>
                    <a:pt x="1150" y="1288"/>
                  </a:lnTo>
                  <a:lnTo>
                    <a:pt x="1148" y="1286"/>
                  </a:lnTo>
                  <a:lnTo>
                    <a:pt x="1148" y="1286"/>
                  </a:lnTo>
                  <a:lnTo>
                    <a:pt x="1148" y="1286"/>
                  </a:lnTo>
                  <a:lnTo>
                    <a:pt x="1148" y="1286"/>
                  </a:lnTo>
                  <a:lnTo>
                    <a:pt x="1150" y="1284"/>
                  </a:lnTo>
                  <a:lnTo>
                    <a:pt x="1150" y="1284"/>
                  </a:lnTo>
                  <a:lnTo>
                    <a:pt x="1152" y="1284"/>
                  </a:lnTo>
                  <a:lnTo>
                    <a:pt x="1152" y="1284"/>
                  </a:lnTo>
                  <a:lnTo>
                    <a:pt x="1154" y="1284"/>
                  </a:lnTo>
                  <a:lnTo>
                    <a:pt x="1154" y="1282"/>
                  </a:lnTo>
                  <a:lnTo>
                    <a:pt x="1154" y="1282"/>
                  </a:lnTo>
                  <a:lnTo>
                    <a:pt x="1156" y="1282"/>
                  </a:lnTo>
                  <a:lnTo>
                    <a:pt x="1156" y="1280"/>
                  </a:lnTo>
                  <a:lnTo>
                    <a:pt x="1156" y="1280"/>
                  </a:lnTo>
                  <a:lnTo>
                    <a:pt x="1156" y="1280"/>
                  </a:lnTo>
                  <a:lnTo>
                    <a:pt x="1158" y="1278"/>
                  </a:lnTo>
                  <a:lnTo>
                    <a:pt x="1158" y="1278"/>
                  </a:lnTo>
                  <a:lnTo>
                    <a:pt x="1156" y="1276"/>
                  </a:lnTo>
                  <a:lnTo>
                    <a:pt x="1156" y="1274"/>
                  </a:lnTo>
                  <a:lnTo>
                    <a:pt x="1154" y="1272"/>
                  </a:lnTo>
                  <a:lnTo>
                    <a:pt x="1152" y="1268"/>
                  </a:lnTo>
                  <a:lnTo>
                    <a:pt x="1150" y="1264"/>
                  </a:lnTo>
                  <a:lnTo>
                    <a:pt x="1148" y="1260"/>
                  </a:lnTo>
                  <a:lnTo>
                    <a:pt x="1146" y="1258"/>
                  </a:lnTo>
                  <a:lnTo>
                    <a:pt x="1144" y="1254"/>
                  </a:lnTo>
                  <a:lnTo>
                    <a:pt x="1142" y="1252"/>
                  </a:lnTo>
                  <a:lnTo>
                    <a:pt x="1140" y="1250"/>
                  </a:lnTo>
                  <a:lnTo>
                    <a:pt x="1140" y="1250"/>
                  </a:lnTo>
                  <a:lnTo>
                    <a:pt x="1140" y="1250"/>
                  </a:lnTo>
                  <a:lnTo>
                    <a:pt x="1138" y="1250"/>
                  </a:lnTo>
                  <a:lnTo>
                    <a:pt x="1138" y="1250"/>
                  </a:lnTo>
                  <a:lnTo>
                    <a:pt x="1138" y="1250"/>
                  </a:lnTo>
                  <a:lnTo>
                    <a:pt x="1136" y="1248"/>
                  </a:lnTo>
                  <a:lnTo>
                    <a:pt x="1136" y="1248"/>
                  </a:lnTo>
                  <a:lnTo>
                    <a:pt x="1134" y="1248"/>
                  </a:lnTo>
                  <a:lnTo>
                    <a:pt x="1132" y="1248"/>
                  </a:lnTo>
                  <a:lnTo>
                    <a:pt x="1132" y="1248"/>
                  </a:lnTo>
                  <a:lnTo>
                    <a:pt x="1130" y="1250"/>
                  </a:lnTo>
                  <a:lnTo>
                    <a:pt x="1128" y="1252"/>
                  </a:lnTo>
                  <a:lnTo>
                    <a:pt x="1128" y="1252"/>
                  </a:lnTo>
                  <a:lnTo>
                    <a:pt x="1128" y="1252"/>
                  </a:lnTo>
                  <a:lnTo>
                    <a:pt x="1126" y="1254"/>
                  </a:lnTo>
                  <a:lnTo>
                    <a:pt x="1126" y="1254"/>
                  </a:lnTo>
                  <a:lnTo>
                    <a:pt x="1126" y="1254"/>
                  </a:lnTo>
                  <a:lnTo>
                    <a:pt x="1126" y="1258"/>
                  </a:lnTo>
                  <a:lnTo>
                    <a:pt x="1126" y="1260"/>
                  </a:lnTo>
                  <a:lnTo>
                    <a:pt x="1126" y="1264"/>
                  </a:lnTo>
                  <a:lnTo>
                    <a:pt x="1126" y="1266"/>
                  </a:lnTo>
                  <a:lnTo>
                    <a:pt x="1126" y="1270"/>
                  </a:lnTo>
                  <a:lnTo>
                    <a:pt x="1126" y="1270"/>
                  </a:lnTo>
                  <a:lnTo>
                    <a:pt x="1126" y="1272"/>
                  </a:lnTo>
                  <a:lnTo>
                    <a:pt x="1126" y="1272"/>
                  </a:lnTo>
                  <a:lnTo>
                    <a:pt x="1124" y="1274"/>
                  </a:lnTo>
                  <a:lnTo>
                    <a:pt x="1122" y="1274"/>
                  </a:lnTo>
                  <a:lnTo>
                    <a:pt x="1118" y="1274"/>
                  </a:lnTo>
                  <a:lnTo>
                    <a:pt x="1118" y="1274"/>
                  </a:lnTo>
                  <a:lnTo>
                    <a:pt x="1118" y="1276"/>
                  </a:lnTo>
                  <a:lnTo>
                    <a:pt x="1116" y="1276"/>
                  </a:lnTo>
                  <a:lnTo>
                    <a:pt x="1116" y="1276"/>
                  </a:lnTo>
                  <a:lnTo>
                    <a:pt x="1116" y="1276"/>
                  </a:lnTo>
                  <a:lnTo>
                    <a:pt x="1114" y="1278"/>
                  </a:lnTo>
                  <a:lnTo>
                    <a:pt x="1114" y="1278"/>
                  </a:lnTo>
                  <a:lnTo>
                    <a:pt x="1114" y="1278"/>
                  </a:lnTo>
                  <a:lnTo>
                    <a:pt x="1112" y="1280"/>
                  </a:lnTo>
                  <a:lnTo>
                    <a:pt x="1112" y="1280"/>
                  </a:lnTo>
                  <a:lnTo>
                    <a:pt x="1112" y="1280"/>
                  </a:lnTo>
                  <a:lnTo>
                    <a:pt x="1112" y="1280"/>
                  </a:lnTo>
                  <a:lnTo>
                    <a:pt x="1112" y="1280"/>
                  </a:lnTo>
                  <a:lnTo>
                    <a:pt x="1112" y="1280"/>
                  </a:lnTo>
                  <a:lnTo>
                    <a:pt x="1112" y="1280"/>
                  </a:lnTo>
                  <a:lnTo>
                    <a:pt x="1110" y="1280"/>
                  </a:lnTo>
                  <a:lnTo>
                    <a:pt x="1108" y="1280"/>
                  </a:lnTo>
                  <a:lnTo>
                    <a:pt x="1108" y="1280"/>
                  </a:lnTo>
                  <a:lnTo>
                    <a:pt x="1108" y="1280"/>
                  </a:lnTo>
                  <a:lnTo>
                    <a:pt x="1106" y="1280"/>
                  </a:lnTo>
                  <a:lnTo>
                    <a:pt x="1106" y="1280"/>
                  </a:lnTo>
                  <a:lnTo>
                    <a:pt x="1106" y="1280"/>
                  </a:lnTo>
                  <a:lnTo>
                    <a:pt x="1102" y="1284"/>
                  </a:lnTo>
                  <a:lnTo>
                    <a:pt x="1098" y="1286"/>
                  </a:lnTo>
                  <a:lnTo>
                    <a:pt x="1096" y="1290"/>
                  </a:lnTo>
                  <a:lnTo>
                    <a:pt x="1094" y="1290"/>
                  </a:lnTo>
                  <a:lnTo>
                    <a:pt x="1094" y="1290"/>
                  </a:lnTo>
                  <a:lnTo>
                    <a:pt x="1094" y="1290"/>
                  </a:lnTo>
                  <a:lnTo>
                    <a:pt x="1092" y="1292"/>
                  </a:lnTo>
                  <a:lnTo>
                    <a:pt x="1092" y="1294"/>
                  </a:lnTo>
                  <a:lnTo>
                    <a:pt x="1090" y="1296"/>
                  </a:lnTo>
                  <a:lnTo>
                    <a:pt x="1090" y="1296"/>
                  </a:lnTo>
                  <a:lnTo>
                    <a:pt x="1088" y="1296"/>
                  </a:lnTo>
                  <a:lnTo>
                    <a:pt x="1086" y="1298"/>
                  </a:lnTo>
                  <a:lnTo>
                    <a:pt x="1084" y="1298"/>
                  </a:lnTo>
                  <a:lnTo>
                    <a:pt x="1080" y="1300"/>
                  </a:lnTo>
                  <a:lnTo>
                    <a:pt x="1076" y="1302"/>
                  </a:lnTo>
                  <a:lnTo>
                    <a:pt x="1072" y="1302"/>
                  </a:lnTo>
                  <a:lnTo>
                    <a:pt x="1072" y="1302"/>
                  </a:lnTo>
                  <a:lnTo>
                    <a:pt x="1072" y="1302"/>
                  </a:lnTo>
                  <a:lnTo>
                    <a:pt x="1074" y="1300"/>
                  </a:lnTo>
                  <a:lnTo>
                    <a:pt x="1074" y="1300"/>
                  </a:lnTo>
                  <a:lnTo>
                    <a:pt x="1074" y="1300"/>
                  </a:lnTo>
                  <a:lnTo>
                    <a:pt x="1074" y="1296"/>
                  </a:lnTo>
                  <a:lnTo>
                    <a:pt x="1076" y="1294"/>
                  </a:lnTo>
                  <a:lnTo>
                    <a:pt x="1076" y="1290"/>
                  </a:lnTo>
                  <a:lnTo>
                    <a:pt x="1076" y="1286"/>
                  </a:lnTo>
                  <a:lnTo>
                    <a:pt x="1076" y="1284"/>
                  </a:lnTo>
                  <a:lnTo>
                    <a:pt x="1076" y="1280"/>
                  </a:lnTo>
                  <a:lnTo>
                    <a:pt x="1076" y="1278"/>
                  </a:lnTo>
                  <a:lnTo>
                    <a:pt x="1076" y="1278"/>
                  </a:lnTo>
                  <a:lnTo>
                    <a:pt x="1076" y="1278"/>
                  </a:lnTo>
                  <a:lnTo>
                    <a:pt x="1076" y="1276"/>
                  </a:lnTo>
                  <a:lnTo>
                    <a:pt x="1076" y="1276"/>
                  </a:lnTo>
                  <a:lnTo>
                    <a:pt x="1074" y="1274"/>
                  </a:lnTo>
                  <a:lnTo>
                    <a:pt x="1074" y="1274"/>
                  </a:lnTo>
                  <a:lnTo>
                    <a:pt x="1074" y="1274"/>
                  </a:lnTo>
                  <a:lnTo>
                    <a:pt x="1072" y="1272"/>
                  </a:lnTo>
                  <a:lnTo>
                    <a:pt x="1070" y="1274"/>
                  </a:lnTo>
                  <a:lnTo>
                    <a:pt x="1070" y="1274"/>
                  </a:lnTo>
                  <a:lnTo>
                    <a:pt x="1070" y="1274"/>
                  </a:lnTo>
                  <a:lnTo>
                    <a:pt x="1068" y="1274"/>
                  </a:lnTo>
                  <a:lnTo>
                    <a:pt x="1068" y="1274"/>
                  </a:lnTo>
                  <a:lnTo>
                    <a:pt x="1068" y="1274"/>
                  </a:lnTo>
                  <a:lnTo>
                    <a:pt x="1066" y="1276"/>
                  </a:lnTo>
                  <a:lnTo>
                    <a:pt x="1064" y="1278"/>
                  </a:lnTo>
                  <a:lnTo>
                    <a:pt x="1062" y="1280"/>
                  </a:lnTo>
                  <a:lnTo>
                    <a:pt x="1062" y="1280"/>
                  </a:lnTo>
                  <a:lnTo>
                    <a:pt x="1060" y="1280"/>
                  </a:lnTo>
                  <a:lnTo>
                    <a:pt x="1058" y="1280"/>
                  </a:lnTo>
                  <a:lnTo>
                    <a:pt x="1054" y="1280"/>
                  </a:lnTo>
                  <a:lnTo>
                    <a:pt x="1054" y="1280"/>
                  </a:lnTo>
                  <a:lnTo>
                    <a:pt x="1054" y="1280"/>
                  </a:lnTo>
                  <a:lnTo>
                    <a:pt x="1054" y="1280"/>
                  </a:lnTo>
                  <a:lnTo>
                    <a:pt x="1054" y="1278"/>
                  </a:lnTo>
                  <a:lnTo>
                    <a:pt x="1056" y="1274"/>
                  </a:lnTo>
                  <a:lnTo>
                    <a:pt x="1058" y="1272"/>
                  </a:lnTo>
                  <a:lnTo>
                    <a:pt x="1062" y="1264"/>
                  </a:lnTo>
                  <a:lnTo>
                    <a:pt x="1062" y="1262"/>
                  </a:lnTo>
                  <a:lnTo>
                    <a:pt x="1064" y="1258"/>
                  </a:lnTo>
                  <a:lnTo>
                    <a:pt x="1066" y="1252"/>
                  </a:lnTo>
                  <a:lnTo>
                    <a:pt x="1066" y="1248"/>
                  </a:lnTo>
                  <a:lnTo>
                    <a:pt x="1066" y="1248"/>
                  </a:lnTo>
                  <a:lnTo>
                    <a:pt x="1066" y="1248"/>
                  </a:lnTo>
                  <a:lnTo>
                    <a:pt x="1066" y="1242"/>
                  </a:lnTo>
                  <a:lnTo>
                    <a:pt x="1066" y="1242"/>
                  </a:lnTo>
                  <a:lnTo>
                    <a:pt x="1066" y="1242"/>
                  </a:lnTo>
                  <a:lnTo>
                    <a:pt x="1064" y="1240"/>
                  </a:lnTo>
                  <a:lnTo>
                    <a:pt x="1064" y="1240"/>
                  </a:lnTo>
                  <a:lnTo>
                    <a:pt x="1064" y="1240"/>
                  </a:lnTo>
                  <a:lnTo>
                    <a:pt x="1064" y="1238"/>
                  </a:lnTo>
                  <a:lnTo>
                    <a:pt x="1064" y="1238"/>
                  </a:lnTo>
                  <a:lnTo>
                    <a:pt x="1062" y="1238"/>
                  </a:lnTo>
                  <a:lnTo>
                    <a:pt x="1062" y="1236"/>
                  </a:lnTo>
                  <a:lnTo>
                    <a:pt x="1062" y="1236"/>
                  </a:lnTo>
                  <a:lnTo>
                    <a:pt x="1060" y="1236"/>
                  </a:lnTo>
                  <a:lnTo>
                    <a:pt x="1058" y="1234"/>
                  </a:lnTo>
                  <a:lnTo>
                    <a:pt x="1058" y="1234"/>
                  </a:lnTo>
                  <a:lnTo>
                    <a:pt x="1058" y="1234"/>
                  </a:lnTo>
                  <a:lnTo>
                    <a:pt x="1054" y="1234"/>
                  </a:lnTo>
                  <a:lnTo>
                    <a:pt x="1050" y="1234"/>
                  </a:lnTo>
                  <a:lnTo>
                    <a:pt x="1052" y="1234"/>
                  </a:lnTo>
                  <a:lnTo>
                    <a:pt x="1054" y="1232"/>
                  </a:lnTo>
                  <a:lnTo>
                    <a:pt x="1058" y="1232"/>
                  </a:lnTo>
                  <a:lnTo>
                    <a:pt x="1058" y="1232"/>
                  </a:lnTo>
                  <a:lnTo>
                    <a:pt x="1058" y="1232"/>
                  </a:lnTo>
                  <a:lnTo>
                    <a:pt x="1060" y="1230"/>
                  </a:lnTo>
                  <a:lnTo>
                    <a:pt x="1060" y="1230"/>
                  </a:lnTo>
                  <a:lnTo>
                    <a:pt x="1060" y="1230"/>
                  </a:lnTo>
                  <a:lnTo>
                    <a:pt x="1062" y="1226"/>
                  </a:lnTo>
                  <a:lnTo>
                    <a:pt x="1062" y="1226"/>
                  </a:lnTo>
                  <a:lnTo>
                    <a:pt x="1062" y="1226"/>
                  </a:lnTo>
                  <a:lnTo>
                    <a:pt x="1064" y="1222"/>
                  </a:lnTo>
                  <a:lnTo>
                    <a:pt x="1064" y="1222"/>
                  </a:lnTo>
                  <a:lnTo>
                    <a:pt x="1064" y="1222"/>
                  </a:lnTo>
                  <a:lnTo>
                    <a:pt x="1064" y="1220"/>
                  </a:lnTo>
                  <a:lnTo>
                    <a:pt x="1064" y="1220"/>
                  </a:lnTo>
                  <a:lnTo>
                    <a:pt x="1062" y="1218"/>
                  </a:lnTo>
                  <a:lnTo>
                    <a:pt x="1062" y="1216"/>
                  </a:lnTo>
                  <a:lnTo>
                    <a:pt x="1062" y="1216"/>
                  </a:lnTo>
                  <a:lnTo>
                    <a:pt x="1060" y="1214"/>
                  </a:lnTo>
                  <a:lnTo>
                    <a:pt x="1060" y="1214"/>
                  </a:lnTo>
                  <a:lnTo>
                    <a:pt x="1060" y="1214"/>
                  </a:lnTo>
                  <a:lnTo>
                    <a:pt x="1058" y="1214"/>
                  </a:lnTo>
                  <a:lnTo>
                    <a:pt x="1058" y="1214"/>
                  </a:lnTo>
                  <a:lnTo>
                    <a:pt x="1054" y="1214"/>
                  </a:lnTo>
                  <a:lnTo>
                    <a:pt x="1048" y="1214"/>
                  </a:lnTo>
                  <a:lnTo>
                    <a:pt x="1044" y="1212"/>
                  </a:lnTo>
                  <a:lnTo>
                    <a:pt x="1040" y="1212"/>
                  </a:lnTo>
                  <a:lnTo>
                    <a:pt x="1038" y="1212"/>
                  </a:lnTo>
                  <a:lnTo>
                    <a:pt x="1034" y="1210"/>
                  </a:lnTo>
                  <a:lnTo>
                    <a:pt x="1032" y="1208"/>
                  </a:lnTo>
                  <a:lnTo>
                    <a:pt x="1030" y="1208"/>
                  </a:lnTo>
                  <a:lnTo>
                    <a:pt x="1028" y="1206"/>
                  </a:lnTo>
                  <a:lnTo>
                    <a:pt x="1026" y="1202"/>
                  </a:lnTo>
                  <a:lnTo>
                    <a:pt x="1022" y="1198"/>
                  </a:lnTo>
                  <a:lnTo>
                    <a:pt x="1020" y="1194"/>
                  </a:lnTo>
                  <a:lnTo>
                    <a:pt x="1018" y="1190"/>
                  </a:lnTo>
                  <a:lnTo>
                    <a:pt x="1014" y="1188"/>
                  </a:lnTo>
                  <a:lnTo>
                    <a:pt x="1012" y="1184"/>
                  </a:lnTo>
                  <a:lnTo>
                    <a:pt x="1010" y="1180"/>
                  </a:lnTo>
                  <a:lnTo>
                    <a:pt x="1008" y="1178"/>
                  </a:lnTo>
                  <a:lnTo>
                    <a:pt x="1008" y="1178"/>
                  </a:lnTo>
                  <a:lnTo>
                    <a:pt x="1004" y="1174"/>
                  </a:lnTo>
                  <a:lnTo>
                    <a:pt x="1004" y="1174"/>
                  </a:lnTo>
                  <a:lnTo>
                    <a:pt x="1004" y="1174"/>
                  </a:lnTo>
                  <a:lnTo>
                    <a:pt x="1002" y="1172"/>
                  </a:lnTo>
                  <a:lnTo>
                    <a:pt x="1002" y="1172"/>
                  </a:lnTo>
                  <a:lnTo>
                    <a:pt x="1002" y="1172"/>
                  </a:lnTo>
                  <a:lnTo>
                    <a:pt x="1000" y="1172"/>
                  </a:lnTo>
                  <a:lnTo>
                    <a:pt x="1000" y="1172"/>
                  </a:lnTo>
                  <a:lnTo>
                    <a:pt x="998" y="1172"/>
                  </a:lnTo>
                  <a:lnTo>
                    <a:pt x="998" y="1172"/>
                  </a:lnTo>
                  <a:lnTo>
                    <a:pt x="998" y="1172"/>
                  </a:lnTo>
                  <a:lnTo>
                    <a:pt x="996" y="1172"/>
                  </a:lnTo>
                  <a:lnTo>
                    <a:pt x="996" y="1172"/>
                  </a:lnTo>
                  <a:lnTo>
                    <a:pt x="996" y="1172"/>
                  </a:lnTo>
                  <a:lnTo>
                    <a:pt x="994" y="1172"/>
                  </a:lnTo>
                  <a:lnTo>
                    <a:pt x="992" y="1174"/>
                  </a:lnTo>
                  <a:lnTo>
                    <a:pt x="988" y="1174"/>
                  </a:lnTo>
                  <a:lnTo>
                    <a:pt x="988" y="1174"/>
                  </a:lnTo>
                  <a:lnTo>
                    <a:pt x="986" y="1174"/>
                  </a:lnTo>
                  <a:lnTo>
                    <a:pt x="982" y="1174"/>
                  </a:lnTo>
                  <a:lnTo>
                    <a:pt x="978" y="1176"/>
                  </a:lnTo>
                  <a:lnTo>
                    <a:pt x="974" y="1176"/>
                  </a:lnTo>
                  <a:lnTo>
                    <a:pt x="968" y="1174"/>
                  </a:lnTo>
                  <a:lnTo>
                    <a:pt x="966" y="1174"/>
                  </a:lnTo>
                  <a:lnTo>
                    <a:pt x="964" y="1172"/>
                  </a:lnTo>
                  <a:lnTo>
                    <a:pt x="960" y="1170"/>
                  </a:lnTo>
                  <a:lnTo>
                    <a:pt x="958" y="1170"/>
                  </a:lnTo>
                  <a:lnTo>
                    <a:pt x="954" y="1168"/>
                  </a:lnTo>
                  <a:lnTo>
                    <a:pt x="952" y="1166"/>
                  </a:lnTo>
                  <a:lnTo>
                    <a:pt x="952" y="1166"/>
                  </a:lnTo>
                  <a:lnTo>
                    <a:pt x="950" y="1166"/>
                  </a:lnTo>
                  <a:lnTo>
                    <a:pt x="948" y="1166"/>
                  </a:lnTo>
                  <a:lnTo>
                    <a:pt x="948" y="1166"/>
                  </a:lnTo>
                  <a:lnTo>
                    <a:pt x="946" y="1166"/>
                  </a:lnTo>
                  <a:lnTo>
                    <a:pt x="944" y="1166"/>
                  </a:lnTo>
                  <a:lnTo>
                    <a:pt x="944" y="1166"/>
                  </a:lnTo>
                  <a:lnTo>
                    <a:pt x="944" y="1166"/>
                  </a:lnTo>
                  <a:lnTo>
                    <a:pt x="942" y="1168"/>
                  </a:lnTo>
                  <a:lnTo>
                    <a:pt x="942" y="1168"/>
                  </a:lnTo>
                  <a:lnTo>
                    <a:pt x="942" y="1168"/>
                  </a:lnTo>
                  <a:lnTo>
                    <a:pt x="940" y="1172"/>
                  </a:lnTo>
                  <a:lnTo>
                    <a:pt x="940" y="1172"/>
                  </a:lnTo>
                  <a:lnTo>
                    <a:pt x="940" y="1172"/>
                  </a:lnTo>
                  <a:lnTo>
                    <a:pt x="938" y="1174"/>
                  </a:lnTo>
                  <a:lnTo>
                    <a:pt x="936" y="1178"/>
                  </a:lnTo>
                  <a:lnTo>
                    <a:pt x="934" y="1186"/>
                  </a:lnTo>
                  <a:lnTo>
                    <a:pt x="934" y="1190"/>
                  </a:lnTo>
                  <a:lnTo>
                    <a:pt x="934" y="1194"/>
                  </a:lnTo>
                  <a:lnTo>
                    <a:pt x="934" y="1198"/>
                  </a:lnTo>
                  <a:lnTo>
                    <a:pt x="934" y="1198"/>
                  </a:lnTo>
                  <a:lnTo>
                    <a:pt x="934" y="1198"/>
                  </a:lnTo>
                  <a:lnTo>
                    <a:pt x="934" y="1200"/>
                  </a:lnTo>
                  <a:lnTo>
                    <a:pt x="934" y="1200"/>
                  </a:lnTo>
                  <a:lnTo>
                    <a:pt x="934" y="1202"/>
                  </a:lnTo>
                  <a:lnTo>
                    <a:pt x="936" y="1206"/>
                  </a:lnTo>
                  <a:lnTo>
                    <a:pt x="940" y="1212"/>
                  </a:lnTo>
                  <a:lnTo>
                    <a:pt x="940" y="1214"/>
                  </a:lnTo>
                  <a:lnTo>
                    <a:pt x="942" y="1218"/>
                  </a:lnTo>
                  <a:lnTo>
                    <a:pt x="942" y="1222"/>
                  </a:lnTo>
                  <a:lnTo>
                    <a:pt x="944" y="1228"/>
                  </a:lnTo>
                  <a:lnTo>
                    <a:pt x="944" y="1236"/>
                  </a:lnTo>
                  <a:lnTo>
                    <a:pt x="944" y="1242"/>
                  </a:lnTo>
                  <a:lnTo>
                    <a:pt x="944" y="1248"/>
                  </a:lnTo>
                  <a:lnTo>
                    <a:pt x="942" y="1254"/>
                  </a:lnTo>
                  <a:lnTo>
                    <a:pt x="942" y="1260"/>
                  </a:lnTo>
                  <a:lnTo>
                    <a:pt x="940" y="1264"/>
                  </a:lnTo>
                  <a:lnTo>
                    <a:pt x="938" y="1266"/>
                  </a:lnTo>
                  <a:lnTo>
                    <a:pt x="938" y="1268"/>
                  </a:lnTo>
                  <a:lnTo>
                    <a:pt x="934" y="1274"/>
                  </a:lnTo>
                  <a:lnTo>
                    <a:pt x="932" y="1276"/>
                  </a:lnTo>
                  <a:lnTo>
                    <a:pt x="932" y="1276"/>
                  </a:lnTo>
                  <a:lnTo>
                    <a:pt x="932" y="1276"/>
                  </a:lnTo>
                  <a:lnTo>
                    <a:pt x="932" y="1278"/>
                  </a:lnTo>
                  <a:lnTo>
                    <a:pt x="932" y="1278"/>
                  </a:lnTo>
                  <a:lnTo>
                    <a:pt x="932" y="1280"/>
                  </a:lnTo>
                  <a:lnTo>
                    <a:pt x="932" y="1282"/>
                  </a:lnTo>
                  <a:lnTo>
                    <a:pt x="932" y="1282"/>
                  </a:lnTo>
                  <a:lnTo>
                    <a:pt x="932" y="1284"/>
                  </a:lnTo>
                  <a:lnTo>
                    <a:pt x="932" y="1286"/>
                  </a:lnTo>
                  <a:lnTo>
                    <a:pt x="932" y="1286"/>
                  </a:lnTo>
                  <a:lnTo>
                    <a:pt x="932" y="1286"/>
                  </a:lnTo>
                  <a:lnTo>
                    <a:pt x="934" y="1288"/>
                  </a:lnTo>
                  <a:lnTo>
                    <a:pt x="934" y="1288"/>
                  </a:lnTo>
                  <a:lnTo>
                    <a:pt x="934" y="1288"/>
                  </a:lnTo>
                  <a:lnTo>
                    <a:pt x="936" y="1290"/>
                  </a:lnTo>
                  <a:lnTo>
                    <a:pt x="936" y="1290"/>
                  </a:lnTo>
                  <a:lnTo>
                    <a:pt x="936" y="1290"/>
                  </a:lnTo>
                  <a:lnTo>
                    <a:pt x="940" y="1294"/>
                  </a:lnTo>
                  <a:lnTo>
                    <a:pt x="944" y="1296"/>
                  </a:lnTo>
                  <a:lnTo>
                    <a:pt x="950" y="1300"/>
                  </a:lnTo>
                  <a:lnTo>
                    <a:pt x="954" y="1302"/>
                  </a:lnTo>
                  <a:lnTo>
                    <a:pt x="958" y="1306"/>
                  </a:lnTo>
                  <a:lnTo>
                    <a:pt x="960" y="1310"/>
                  </a:lnTo>
                  <a:lnTo>
                    <a:pt x="962" y="1312"/>
                  </a:lnTo>
                  <a:lnTo>
                    <a:pt x="962" y="1314"/>
                  </a:lnTo>
                  <a:lnTo>
                    <a:pt x="962" y="1316"/>
                  </a:lnTo>
                  <a:lnTo>
                    <a:pt x="964" y="1318"/>
                  </a:lnTo>
                  <a:lnTo>
                    <a:pt x="962" y="1324"/>
                  </a:lnTo>
                  <a:lnTo>
                    <a:pt x="962" y="1332"/>
                  </a:lnTo>
                  <a:lnTo>
                    <a:pt x="960" y="1340"/>
                  </a:lnTo>
                  <a:lnTo>
                    <a:pt x="960" y="1346"/>
                  </a:lnTo>
                  <a:lnTo>
                    <a:pt x="958" y="1354"/>
                  </a:lnTo>
                  <a:lnTo>
                    <a:pt x="956" y="1360"/>
                  </a:lnTo>
                  <a:lnTo>
                    <a:pt x="954" y="1362"/>
                  </a:lnTo>
                  <a:lnTo>
                    <a:pt x="954" y="1364"/>
                  </a:lnTo>
                  <a:lnTo>
                    <a:pt x="952" y="1368"/>
                  </a:lnTo>
                  <a:lnTo>
                    <a:pt x="950" y="1370"/>
                  </a:lnTo>
                  <a:lnTo>
                    <a:pt x="948" y="1370"/>
                  </a:lnTo>
                  <a:lnTo>
                    <a:pt x="944" y="1372"/>
                  </a:lnTo>
                  <a:lnTo>
                    <a:pt x="942" y="1372"/>
                  </a:lnTo>
                  <a:lnTo>
                    <a:pt x="940" y="1374"/>
                  </a:lnTo>
                  <a:lnTo>
                    <a:pt x="938" y="1374"/>
                  </a:lnTo>
                  <a:lnTo>
                    <a:pt x="934" y="1374"/>
                  </a:lnTo>
                  <a:lnTo>
                    <a:pt x="932" y="1374"/>
                  </a:lnTo>
                  <a:lnTo>
                    <a:pt x="930" y="1374"/>
                  </a:lnTo>
                  <a:lnTo>
                    <a:pt x="932" y="1374"/>
                  </a:lnTo>
                  <a:lnTo>
                    <a:pt x="926" y="1374"/>
                  </a:lnTo>
                  <a:lnTo>
                    <a:pt x="924" y="1374"/>
                  </a:lnTo>
                  <a:lnTo>
                    <a:pt x="924" y="1374"/>
                  </a:lnTo>
                  <a:lnTo>
                    <a:pt x="924" y="1374"/>
                  </a:lnTo>
                  <a:lnTo>
                    <a:pt x="922" y="1374"/>
                  </a:lnTo>
                  <a:lnTo>
                    <a:pt x="922" y="1374"/>
                  </a:lnTo>
                  <a:lnTo>
                    <a:pt x="922" y="1374"/>
                  </a:lnTo>
                  <a:lnTo>
                    <a:pt x="920" y="1374"/>
                  </a:lnTo>
                  <a:lnTo>
                    <a:pt x="920" y="1374"/>
                  </a:lnTo>
                  <a:lnTo>
                    <a:pt x="918" y="1376"/>
                  </a:lnTo>
                  <a:lnTo>
                    <a:pt x="918" y="1376"/>
                  </a:lnTo>
                  <a:lnTo>
                    <a:pt x="918" y="1376"/>
                  </a:lnTo>
                  <a:lnTo>
                    <a:pt x="918" y="1378"/>
                  </a:lnTo>
                  <a:lnTo>
                    <a:pt x="916" y="1380"/>
                  </a:lnTo>
                  <a:lnTo>
                    <a:pt x="916" y="1380"/>
                  </a:lnTo>
                  <a:lnTo>
                    <a:pt x="916" y="1380"/>
                  </a:lnTo>
                  <a:lnTo>
                    <a:pt x="916" y="1382"/>
                  </a:lnTo>
                  <a:lnTo>
                    <a:pt x="916" y="1386"/>
                  </a:lnTo>
                  <a:lnTo>
                    <a:pt x="918" y="1390"/>
                  </a:lnTo>
                  <a:lnTo>
                    <a:pt x="918" y="1398"/>
                  </a:lnTo>
                  <a:lnTo>
                    <a:pt x="920" y="1402"/>
                  </a:lnTo>
                  <a:lnTo>
                    <a:pt x="920" y="1406"/>
                  </a:lnTo>
                  <a:lnTo>
                    <a:pt x="922" y="1410"/>
                  </a:lnTo>
                  <a:lnTo>
                    <a:pt x="922" y="1414"/>
                  </a:lnTo>
                  <a:lnTo>
                    <a:pt x="926" y="1422"/>
                  </a:lnTo>
                  <a:lnTo>
                    <a:pt x="928" y="1430"/>
                  </a:lnTo>
                  <a:lnTo>
                    <a:pt x="930" y="1434"/>
                  </a:lnTo>
                  <a:lnTo>
                    <a:pt x="930" y="1436"/>
                  </a:lnTo>
                  <a:lnTo>
                    <a:pt x="930" y="1436"/>
                  </a:lnTo>
                  <a:lnTo>
                    <a:pt x="930" y="1440"/>
                  </a:lnTo>
                  <a:lnTo>
                    <a:pt x="930" y="1442"/>
                  </a:lnTo>
                  <a:lnTo>
                    <a:pt x="930" y="1448"/>
                  </a:lnTo>
                  <a:lnTo>
                    <a:pt x="928" y="1452"/>
                  </a:lnTo>
                  <a:lnTo>
                    <a:pt x="926" y="1456"/>
                  </a:lnTo>
                  <a:lnTo>
                    <a:pt x="926" y="1460"/>
                  </a:lnTo>
                  <a:lnTo>
                    <a:pt x="924" y="1464"/>
                  </a:lnTo>
                  <a:lnTo>
                    <a:pt x="924" y="1464"/>
                  </a:lnTo>
                  <a:lnTo>
                    <a:pt x="924" y="1468"/>
                  </a:lnTo>
                  <a:lnTo>
                    <a:pt x="922" y="1468"/>
                  </a:lnTo>
                  <a:lnTo>
                    <a:pt x="922" y="1468"/>
                  </a:lnTo>
                  <a:lnTo>
                    <a:pt x="920" y="1470"/>
                  </a:lnTo>
                  <a:lnTo>
                    <a:pt x="918" y="1470"/>
                  </a:lnTo>
                  <a:lnTo>
                    <a:pt x="920" y="1470"/>
                  </a:lnTo>
                  <a:lnTo>
                    <a:pt x="914" y="1470"/>
                  </a:lnTo>
                  <a:lnTo>
                    <a:pt x="912" y="1470"/>
                  </a:lnTo>
                  <a:lnTo>
                    <a:pt x="910" y="1470"/>
                  </a:lnTo>
                  <a:lnTo>
                    <a:pt x="908" y="1468"/>
                  </a:lnTo>
                  <a:lnTo>
                    <a:pt x="904" y="1466"/>
                  </a:lnTo>
                  <a:lnTo>
                    <a:pt x="902" y="1462"/>
                  </a:lnTo>
                  <a:lnTo>
                    <a:pt x="898" y="1458"/>
                  </a:lnTo>
                  <a:lnTo>
                    <a:pt x="896" y="1454"/>
                  </a:lnTo>
                  <a:lnTo>
                    <a:pt x="894" y="1452"/>
                  </a:lnTo>
                  <a:lnTo>
                    <a:pt x="890" y="1450"/>
                  </a:lnTo>
                  <a:lnTo>
                    <a:pt x="886" y="1444"/>
                  </a:lnTo>
                  <a:lnTo>
                    <a:pt x="884" y="1442"/>
                  </a:lnTo>
                  <a:lnTo>
                    <a:pt x="882" y="1440"/>
                  </a:lnTo>
                  <a:lnTo>
                    <a:pt x="880" y="1436"/>
                  </a:lnTo>
                  <a:lnTo>
                    <a:pt x="880" y="1436"/>
                  </a:lnTo>
                  <a:lnTo>
                    <a:pt x="878" y="1434"/>
                  </a:lnTo>
                  <a:lnTo>
                    <a:pt x="878" y="1428"/>
                  </a:lnTo>
                  <a:lnTo>
                    <a:pt x="878" y="1422"/>
                  </a:lnTo>
                  <a:lnTo>
                    <a:pt x="878" y="1416"/>
                  </a:lnTo>
                  <a:lnTo>
                    <a:pt x="876" y="1410"/>
                  </a:lnTo>
                  <a:lnTo>
                    <a:pt x="876" y="1402"/>
                  </a:lnTo>
                  <a:lnTo>
                    <a:pt x="876" y="1396"/>
                  </a:lnTo>
                  <a:lnTo>
                    <a:pt x="876" y="1390"/>
                  </a:lnTo>
                  <a:lnTo>
                    <a:pt x="876" y="1384"/>
                  </a:lnTo>
                  <a:lnTo>
                    <a:pt x="874" y="1382"/>
                  </a:lnTo>
                  <a:lnTo>
                    <a:pt x="874" y="1380"/>
                  </a:lnTo>
                  <a:lnTo>
                    <a:pt x="874" y="1378"/>
                  </a:lnTo>
                  <a:lnTo>
                    <a:pt x="874" y="1376"/>
                  </a:lnTo>
                  <a:lnTo>
                    <a:pt x="874" y="1376"/>
                  </a:lnTo>
                  <a:lnTo>
                    <a:pt x="874" y="1376"/>
                  </a:lnTo>
                  <a:lnTo>
                    <a:pt x="874" y="1374"/>
                  </a:lnTo>
                  <a:lnTo>
                    <a:pt x="874" y="1374"/>
                  </a:lnTo>
                  <a:lnTo>
                    <a:pt x="874" y="1374"/>
                  </a:lnTo>
                  <a:lnTo>
                    <a:pt x="872" y="1372"/>
                  </a:lnTo>
                  <a:lnTo>
                    <a:pt x="872" y="1372"/>
                  </a:lnTo>
                  <a:lnTo>
                    <a:pt x="872" y="1372"/>
                  </a:lnTo>
                  <a:lnTo>
                    <a:pt x="870" y="1370"/>
                  </a:lnTo>
                  <a:lnTo>
                    <a:pt x="868" y="1368"/>
                  </a:lnTo>
                  <a:lnTo>
                    <a:pt x="868" y="1368"/>
                  </a:lnTo>
                  <a:lnTo>
                    <a:pt x="868" y="1368"/>
                  </a:lnTo>
                  <a:lnTo>
                    <a:pt x="864" y="1368"/>
                  </a:lnTo>
                  <a:lnTo>
                    <a:pt x="864" y="1368"/>
                  </a:lnTo>
                  <a:lnTo>
                    <a:pt x="864" y="1368"/>
                  </a:lnTo>
                  <a:lnTo>
                    <a:pt x="858" y="1366"/>
                  </a:lnTo>
                  <a:lnTo>
                    <a:pt x="852" y="1366"/>
                  </a:lnTo>
                  <a:lnTo>
                    <a:pt x="846" y="1366"/>
                  </a:lnTo>
                  <a:lnTo>
                    <a:pt x="840" y="1364"/>
                  </a:lnTo>
                  <a:lnTo>
                    <a:pt x="834" y="1364"/>
                  </a:lnTo>
                  <a:lnTo>
                    <a:pt x="828" y="1362"/>
                  </a:lnTo>
                  <a:lnTo>
                    <a:pt x="824" y="1360"/>
                  </a:lnTo>
                  <a:lnTo>
                    <a:pt x="818" y="1358"/>
                  </a:lnTo>
                  <a:lnTo>
                    <a:pt x="814" y="1354"/>
                  </a:lnTo>
                  <a:lnTo>
                    <a:pt x="808" y="1350"/>
                  </a:lnTo>
                  <a:lnTo>
                    <a:pt x="802" y="1346"/>
                  </a:lnTo>
                  <a:lnTo>
                    <a:pt x="798" y="1342"/>
                  </a:lnTo>
                  <a:lnTo>
                    <a:pt x="792" y="1338"/>
                  </a:lnTo>
                  <a:lnTo>
                    <a:pt x="788" y="1334"/>
                  </a:lnTo>
                  <a:lnTo>
                    <a:pt x="784" y="1330"/>
                  </a:lnTo>
                  <a:lnTo>
                    <a:pt x="780" y="1328"/>
                  </a:lnTo>
                  <a:lnTo>
                    <a:pt x="776" y="1328"/>
                  </a:lnTo>
                  <a:lnTo>
                    <a:pt x="772" y="1326"/>
                  </a:lnTo>
                  <a:lnTo>
                    <a:pt x="770" y="1326"/>
                  </a:lnTo>
                  <a:lnTo>
                    <a:pt x="764" y="1324"/>
                  </a:lnTo>
                  <a:lnTo>
                    <a:pt x="762" y="1324"/>
                  </a:lnTo>
                  <a:lnTo>
                    <a:pt x="760" y="1324"/>
                  </a:lnTo>
                  <a:lnTo>
                    <a:pt x="758" y="1322"/>
                  </a:lnTo>
                  <a:lnTo>
                    <a:pt x="758" y="1322"/>
                  </a:lnTo>
                  <a:lnTo>
                    <a:pt x="754" y="1320"/>
                  </a:lnTo>
                  <a:lnTo>
                    <a:pt x="752" y="1318"/>
                  </a:lnTo>
                  <a:lnTo>
                    <a:pt x="752" y="1318"/>
                  </a:lnTo>
                  <a:lnTo>
                    <a:pt x="752" y="1318"/>
                  </a:lnTo>
                  <a:lnTo>
                    <a:pt x="750" y="1316"/>
                  </a:lnTo>
                  <a:lnTo>
                    <a:pt x="750" y="1316"/>
                  </a:lnTo>
                  <a:lnTo>
                    <a:pt x="750" y="1316"/>
                  </a:lnTo>
                  <a:lnTo>
                    <a:pt x="748" y="1316"/>
                  </a:lnTo>
                  <a:lnTo>
                    <a:pt x="748" y="1316"/>
                  </a:lnTo>
                  <a:lnTo>
                    <a:pt x="748" y="1316"/>
                  </a:lnTo>
                  <a:lnTo>
                    <a:pt x="746" y="1316"/>
                  </a:lnTo>
                  <a:lnTo>
                    <a:pt x="746" y="1316"/>
                  </a:lnTo>
                  <a:lnTo>
                    <a:pt x="744" y="1316"/>
                  </a:lnTo>
                  <a:lnTo>
                    <a:pt x="742" y="1316"/>
                  </a:lnTo>
                  <a:lnTo>
                    <a:pt x="742" y="1316"/>
                  </a:lnTo>
                  <a:lnTo>
                    <a:pt x="742" y="1316"/>
                  </a:lnTo>
                  <a:lnTo>
                    <a:pt x="740" y="1318"/>
                  </a:lnTo>
                  <a:lnTo>
                    <a:pt x="738" y="1320"/>
                  </a:lnTo>
                  <a:lnTo>
                    <a:pt x="736" y="1320"/>
                  </a:lnTo>
                  <a:lnTo>
                    <a:pt x="734" y="1322"/>
                  </a:lnTo>
                  <a:lnTo>
                    <a:pt x="732" y="1322"/>
                  </a:lnTo>
                  <a:lnTo>
                    <a:pt x="732" y="1322"/>
                  </a:lnTo>
                  <a:lnTo>
                    <a:pt x="732" y="1320"/>
                  </a:lnTo>
                  <a:lnTo>
                    <a:pt x="730" y="1318"/>
                  </a:lnTo>
                  <a:lnTo>
                    <a:pt x="730" y="1316"/>
                  </a:lnTo>
                  <a:lnTo>
                    <a:pt x="728" y="1314"/>
                  </a:lnTo>
                  <a:lnTo>
                    <a:pt x="726" y="1306"/>
                  </a:lnTo>
                  <a:lnTo>
                    <a:pt x="724" y="1302"/>
                  </a:lnTo>
                  <a:lnTo>
                    <a:pt x="722" y="1300"/>
                  </a:lnTo>
                  <a:lnTo>
                    <a:pt x="722" y="1296"/>
                  </a:lnTo>
                  <a:lnTo>
                    <a:pt x="722" y="1294"/>
                  </a:lnTo>
                  <a:lnTo>
                    <a:pt x="720" y="1286"/>
                  </a:lnTo>
                  <a:lnTo>
                    <a:pt x="720" y="1284"/>
                  </a:lnTo>
                  <a:lnTo>
                    <a:pt x="718" y="1280"/>
                  </a:lnTo>
                  <a:lnTo>
                    <a:pt x="718" y="1280"/>
                  </a:lnTo>
                  <a:lnTo>
                    <a:pt x="718" y="1280"/>
                  </a:lnTo>
                  <a:lnTo>
                    <a:pt x="718" y="1278"/>
                  </a:lnTo>
                  <a:lnTo>
                    <a:pt x="718" y="1278"/>
                  </a:lnTo>
                  <a:lnTo>
                    <a:pt x="716" y="1278"/>
                  </a:lnTo>
                  <a:lnTo>
                    <a:pt x="716" y="1276"/>
                  </a:lnTo>
                  <a:lnTo>
                    <a:pt x="716" y="1276"/>
                  </a:lnTo>
                  <a:lnTo>
                    <a:pt x="714" y="1274"/>
                  </a:lnTo>
                  <a:lnTo>
                    <a:pt x="712" y="1274"/>
                  </a:lnTo>
                  <a:lnTo>
                    <a:pt x="712" y="1274"/>
                  </a:lnTo>
                  <a:lnTo>
                    <a:pt x="712" y="1274"/>
                  </a:lnTo>
                  <a:lnTo>
                    <a:pt x="708" y="1274"/>
                  </a:lnTo>
                  <a:lnTo>
                    <a:pt x="708" y="1274"/>
                  </a:lnTo>
                  <a:lnTo>
                    <a:pt x="708" y="1274"/>
                  </a:lnTo>
                  <a:lnTo>
                    <a:pt x="704" y="1274"/>
                  </a:lnTo>
                  <a:lnTo>
                    <a:pt x="702" y="1274"/>
                  </a:lnTo>
                  <a:lnTo>
                    <a:pt x="698" y="1274"/>
                  </a:lnTo>
                  <a:lnTo>
                    <a:pt x="696" y="1274"/>
                  </a:lnTo>
                  <a:lnTo>
                    <a:pt x="696" y="1274"/>
                  </a:lnTo>
                  <a:lnTo>
                    <a:pt x="696" y="1274"/>
                  </a:lnTo>
                  <a:lnTo>
                    <a:pt x="696" y="1272"/>
                  </a:lnTo>
                  <a:lnTo>
                    <a:pt x="694" y="1270"/>
                  </a:lnTo>
                  <a:lnTo>
                    <a:pt x="694" y="1266"/>
                  </a:lnTo>
                  <a:lnTo>
                    <a:pt x="692" y="1260"/>
                  </a:lnTo>
                  <a:lnTo>
                    <a:pt x="692" y="1254"/>
                  </a:lnTo>
                  <a:lnTo>
                    <a:pt x="692" y="1248"/>
                  </a:lnTo>
                  <a:lnTo>
                    <a:pt x="694" y="1242"/>
                  </a:lnTo>
                  <a:lnTo>
                    <a:pt x="694" y="1236"/>
                  </a:lnTo>
                  <a:lnTo>
                    <a:pt x="696" y="1230"/>
                  </a:lnTo>
                  <a:lnTo>
                    <a:pt x="696" y="1224"/>
                  </a:lnTo>
                  <a:lnTo>
                    <a:pt x="698" y="1220"/>
                  </a:lnTo>
                  <a:lnTo>
                    <a:pt x="700" y="1212"/>
                  </a:lnTo>
                  <a:lnTo>
                    <a:pt x="704" y="1206"/>
                  </a:lnTo>
                  <a:lnTo>
                    <a:pt x="710" y="1194"/>
                  </a:lnTo>
                  <a:lnTo>
                    <a:pt x="712" y="1190"/>
                  </a:lnTo>
                  <a:lnTo>
                    <a:pt x="716" y="1184"/>
                  </a:lnTo>
                  <a:lnTo>
                    <a:pt x="718" y="1180"/>
                  </a:lnTo>
                  <a:lnTo>
                    <a:pt x="722" y="1176"/>
                  </a:lnTo>
                  <a:lnTo>
                    <a:pt x="730" y="1168"/>
                  </a:lnTo>
                  <a:lnTo>
                    <a:pt x="736" y="1160"/>
                  </a:lnTo>
                  <a:lnTo>
                    <a:pt x="740" y="1158"/>
                  </a:lnTo>
                  <a:lnTo>
                    <a:pt x="744" y="1156"/>
                  </a:lnTo>
                  <a:lnTo>
                    <a:pt x="746" y="1154"/>
                  </a:lnTo>
                  <a:lnTo>
                    <a:pt x="748" y="1152"/>
                  </a:lnTo>
                  <a:lnTo>
                    <a:pt x="750" y="1152"/>
                  </a:lnTo>
                  <a:lnTo>
                    <a:pt x="752" y="1152"/>
                  </a:lnTo>
                  <a:lnTo>
                    <a:pt x="754" y="1150"/>
                  </a:lnTo>
                  <a:lnTo>
                    <a:pt x="754" y="1150"/>
                  </a:lnTo>
                  <a:lnTo>
                    <a:pt x="754" y="1150"/>
                  </a:lnTo>
                  <a:lnTo>
                    <a:pt x="756" y="1148"/>
                  </a:lnTo>
                  <a:lnTo>
                    <a:pt x="756" y="1148"/>
                  </a:lnTo>
                  <a:lnTo>
                    <a:pt x="756" y="1148"/>
                  </a:lnTo>
                  <a:lnTo>
                    <a:pt x="758" y="1148"/>
                  </a:lnTo>
                  <a:lnTo>
                    <a:pt x="758" y="1146"/>
                  </a:lnTo>
                  <a:lnTo>
                    <a:pt x="758" y="1146"/>
                  </a:lnTo>
                  <a:lnTo>
                    <a:pt x="758" y="1144"/>
                  </a:lnTo>
                  <a:lnTo>
                    <a:pt x="758" y="1142"/>
                  </a:lnTo>
                  <a:lnTo>
                    <a:pt x="758" y="1142"/>
                  </a:lnTo>
                  <a:lnTo>
                    <a:pt x="758" y="1140"/>
                  </a:lnTo>
                  <a:lnTo>
                    <a:pt x="758" y="1138"/>
                  </a:lnTo>
                  <a:lnTo>
                    <a:pt x="758" y="1138"/>
                  </a:lnTo>
                  <a:lnTo>
                    <a:pt x="758" y="1138"/>
                  </a:lnTo>
                  <a:lnTo>
                    <a:pt x="758" y="1136"/>
                  </a:lnTo>
                  <a:lnTo>
                    <a:pt x="758" y="1136"/>
                  </a:lnTo>
                  <a:lnTo>
                    <a:pt x="758" y="1136"/>
                  </a:lnTo>
                  <a:lnTo>
                    <a:pt x="756" y="1134"/>
                  </a:lnTo>
                  <a:lnTo>
                    <a:pt x="756" y="1134"/>
                  </a:lnTo>
                  <a:lnTo>
                    <a:pt x="756" y="1134"/>
                  </a:lnTo>
                  <a:lnTo>
                    <a:pt x="756" y="1132"/>
                  </a:lnTo>
                  <a:lnTo>
                    <a:pt x="756" y="1132"/>
                  </a:lnTo>
                  <a:lnTo>
                    <a:pt x="756" y="1132"/>
                  </a:lnTo>
                  <a:lnTo>
                    <a:pt x="756" y="1132"/>
                  </a:lnTo>
                  <a:lnTo>
                    <a:pt x="756" y="1132"/>
                  </a:lnTo>
                  <a:lnTo>
                    <a:pt x="758" y="1132"/>
                  </a:lnTo>
                  <a:lnTo>
                    <a:pt x="760" y="1130"/>
                  </a:lnTo>
                  <a:lnTo>
                    <a:pt x="760" y="1130"/>
                  </a:lnTo>
                  <a:lnTo>
                    <a:pt x="760" y="1128"/>
                  </a:lnTo>
                  <a:lnTo>
                    <a:pt x="760" y="1126"/>
                  </a:lnTo>
                  <a:lnTo>
                    <a:pt x="762" y="1122"/>
                  </a:lnTo>
                  <a:lnTo>
                    <a:pt x="764" y="1118"/>
                  </a:lnTo>
                  <a:lnTo>
                    <a:pt x="764" y="1114"/>
                  </a:lnTo>
                  <a:lnTo>
                    <a:pt x="766" y="1112"/>
                  </a:lnTo>
                  <a:lnTo>
                    <a:pt x="766" y="1112"/>
                  </a:lnTo>
                  <a:lnTo>
                    <a:pt x="766" y="1114"/>
                  </a:lnTo>
                  <a:lnTo>
                    <a:pt x="768" y="1116"/>
                  </a:lnTo>
                  <a:lnTo>
                    <a:pt x="770" y="1116"/>
                  </a:lnTo>
                  <a:lnTo>
                    <a:pt x="770" y="1116"/>
                  </a:lnTo>
                  <a:lnTo>
                    <a:pt x="770" y="1118"/>
                  </a:lnTo>
                  <a:lnTo>
                    <a:pt x="772" y="1118"/>
                  </a:lnTo>
                  <a:lnTo>
                    <a:pt x="772" y="1118"/>
                  </a:lnTo>
                  <a:lnTo>
                    <a:pt x="774" y="1118"/>
                  </a:lnTo>
                  <a:lnTo>
                    <a:pt x="776" y="1118"/>
                  </a:lnTo>
                  <a:lnTo>
                    <a:pt x="776" y="1118"/>
                  </a:lnTo>
                  <a:lnTo>
                    <a:pt x="776" y="1118"/>
                  </a:lnTo>
                  <a:lnTo>
                    <a:pt x="778" y="1118"/>
                  </a:lnTo>
                  <a:lnTo>
                    <a:pt x="778" y="1118"/>
                  </a:lnTo>
                  <a:lnTo>
                    <a:pt x="778" y="1118"/>
                  </a:lnTo>
                  <a:lnTo>
                    <a:pt x="778" y="1116"/>
                  </a:lnTo>
                  <a:lnTo>
                    <a:pt x="782" y="1114"/>
                  </a:lnTo>
                  <a:lnTo>
                    <a:pt x="786" y="1110"/>
                  </a:lnTo>
                  <a:lnTo>
                    <a:pt x="790" y="1106"/>
                  </a:lnTo>
                  <a:lnTo>
                    <a:pt x="794" y="1102"/>
                  </a:lnTo>
                  <a:lnTo>
                    <a:pt x="798" y="1096"/>
                  </a:lnTo>
                  <a:lnTo>
                    <a:pt x="802" y="1092"/>
                  </a:lnTo>
                  <a:lnTo>
                    <a:pt x="804" y="1090"/>
                  </a:lnTo>
                  <a:lnTo>
                    <a:pt x="804" y="1088"/>
                  </a:lnTo>
                  <a:lnTo>
                    <a:pt x="806" y="1086"/>
                  </a:lnTo>
                  <a:lnTo>
                    <a:pt x="806" y="1086"/>
                  </a:lnTo>
                  <a:lnTo>
                    <a:pt x="806" y="1084"/>
                  </a:lnTo>
                  <a:lnTo>
                    <a:pt x="806" y="1084"/>
                  </a:lnTo>
                  <a:lnTo>
                    <a:pt x="806" y="1084"/>
                  </a:lnTo>
                  <a:lnTo>
                    <a:pt x="806" y="1082"/>
                  </a:lnTo>
                  <a:lnTo>
                    <a:pt x="806" y="1080"/>
                  </a:lnTo>
                  <a:lnTo>
                    <a:pt x="806" y="1080"/>
                  </a:lnTo>
                  <a:lnTo>
                    <a:pt x="806" y="1080"/>
                  </a:lnTo>
                  <a:lnTo>
                    <a:pt x="806" y="1078"/>
                  </a:lnTo>
                  <a:lnTo>
                    <a:pt x="806" y="1078"/>
                  </a:lnTo>
                  <a:lnTo>
                    <a:pt x="804" y="1078"/>
                  </a:lnTo>
                  <a:lnTo>
                    <a:pt x="802" y="1076"/>
                  </a:lnTo>
                  <a:lnTo>
                    <a:pt x="802" y="1076"/>
                  </a:lnTo>
                  <a:lnTo>
                    <a:pt x="802" y="1076"/>
                  </a:lnTo>
                  <a:lnTo>
                    <a:pt x="802" y="1074"/>
                  </a:lnTo>
                  <a:lnTo>
                    <a:pt x="802" y="1074"/>
                  </a:lnTo>
                  <a:lnTo>
                    <a:pt x="802" y="1074"/>
                  </a:lnTo>
                  <a:lnTo>
                    <a:pt x="804" y="1072"/>
                  </a:lnTo>
                  <a:lnTo>
                    <a:pt x="804" y="1072"/>
                  </a:lnTo>
                  <a:lnTo>
                    <a:pt x="804" y="1072"/>
                  </a:lnTo>
                  <a:lnTo>
                    <a:pt x="806" y="1070"/>
                  </a:lnTo>
                  <a:lnTo>
                    <a:pt x="808" y="1066"/>
                  </a:lnTo>
                  <a:lnTo>
                    <a:pt x="810" y="1064"/>
                  </a:lnTo>
                  <a:lnTo>
                    <a:pt x="810" y="1060"/>
                  </a:lnTo>
                  <a:lnTo>
                    <a:pt x="812" y="1058"/>
                  </a:lnTo>
                  <a:lnTo>
                    <a:pt x="812" y="1062"/>
                  </a:lnTo>
                  <a:lnTo>
                    <a:pt x="812" y="1064"/>
                  </a:lnTo>
                  <a:lnTo>
                    <a:pt x="812" y="1066"/>
                  </a:lnTo>
                  <a:lnTo>
                    <a:pt x="812" y="1066"/>
                  </a:lnTo>
                  <a:lnTo>
                    <a:pt x="812" y="1066"/>
                  </a:lnTo>
                  <a:lnTo>
                    <a:pt x="814" y="1074"/>
                  </a:lnTo>
                  <a:lnTo>
                    <a:pt x="814" y="1080"/>
                  </a:lnTo>
                  <a:lnTo>
                    <a:pt x="816" y="1088"/>
                  </a:lnTo>
                  <a:lnTo>
                    <a:pt x="816" y="1096"/>
                  </a:lnTo>
                  <a:lnTo>
                    <a:pt x="814" y="1104"/>
                  </a:lnTo>
                  <a:lnTo>
                    <a:pt x="814" y="1106"/>
                  </a:lnTo>
                  <a:lnTo>
                    <a:pt x="812" y="1110"/>
                  </a:lnTo>
                  <a:lnTo>
                    <a:pt x="812" y="1112"/>
                  </a:lnTo>
                  <a:lnTo>
                    <a:pt x="810" y="1116"/>
                  </a:lnTo>
                  <a:lnTo>
                    <a:pt x="808" y="1118"/>
                  </a:lnTo>
                  <a:lnTo>
                    <a:pt x="804" y="1120"/>
                  </a:lnTo>
                  <a:lnTo>
                    <a:pt x="804" y="1120"/>
                  </a:lnTo>
                  <a:lnTo>
                    <a:pt x="804" y="1120"/>
                  </a:lnTo>
                  <a:lnTo>
                    <a:pt x="802" y="1124"/>
                  </a:lnTo>
                  <a:lnTo>
                    <a:pt x="802" y="1124"/>
                  </a:lnTo>
                  <a:lnTo>
                    <a:pt x="800" y="1126"/>
                  </a:lnTo>
                  <a:lnTo>
                    <a:pt x="800" y="1128"/>
                  </a:lnTo>
                  <a:lnTo>
                    <a:pt x="800" y="1128"/>
                  </a:lnTo>
                  <a:lnTo>
                    <a:pt x="800" y="1128"/>
                  </a:lnTo>
                  <a:lnTo>
                    <a:pt x="800" y="1130"/>
                  </a:lnTo>
                  <a:lnTo>
                    <a:pt x="800" y="1130"/>
                  </a:lnTo>
                  <a:lnTo>
                    <a:pt x="800" y="1132"/>
                  </a:lnTo>
                  <a:lnTo>
                    <a:pt x="800" y="1132"/>
                  </a:lnTo>
                  <a:lnTo>
                    <a:pt x="800" y="1132"/>
                  </a:lnTo>
                  <a:lnTo>
                    <a:pt x="800" y="1134"/>
                  </a:lnTo>
                  <a:lnTo>
                    <a:pt x="802" y="1134"/>
                  </a:lnTo>
                  <a:lnTo>
                    <a:pt x="802" y="1134"/>
                  </a:lnTo>
                  <a:lnTo>
                    <a:pt x="802" y="1134"/>
                  </a:lnTo>
                  <a:lnTo>
                    <a:pt x="806" y="1136"/>
                  </a:lnTo>
                  <a:lnTo>
                    <a:pt x="806" y="1136"/>
                  </a:lnTo>
                  <a:lnTo>
                    <a:pt x="806" y="1136"/>
                  </a:lnTo>
                  <a:lnTo>
                    <a:pt x="810" y="1136"/>
                  </a:lnTo>
                  <a:lnTo>
                    <a:pt x="814" y="1134"/>
                  </a:lnTo>
                  <a:lnTo>
                    <a:pt x="816" y="1134"/>
                  </a:lnTo>
                  <a:lnTo>
                    <a:pt x="818" y="1134"/>
                  </a:lnTo>
                  <a:lnTo>
                    <a:pt x="820" y="1134"/>
                  </a:lnTo>
                  <a:lnTo>
                    <a:pt x="822" y="1134"/>
                  </a:lnTo>
                  <a:lnTo>
                    <a:pt x="822" y="1134"/>
                  </a:lnTo>
                  <a:lnTo>
                    <a:pt x="822" y="1136"/>
                  </a:lnTo>
                  <a:lnTo>
                    <a:pt x="824" y="1138"/>
                  </a:lnTo>
                  <a:lnTo>
                    <a:pt x="824" y="1140"/>
                  </a:lnTo>
                  <a:lnTo>
                    <a:pt x="824" y="1142"/>
                  </a:lnTo>
                  <a:lnTo>
                    <a:pt x="824" y="1146"/>
                  </a:lnTo>
                  <a:lnTo>
                    <a:pt x="824" y="1146"/>
                  </a:lnTo>
                  <a:lnTo>
                    <a:pt x="826" y="1148"/>
                  </a:lnTo>
                  <a:lnTo>
                    <a:pt x="828" y="1148"/>
                  </a:lnTo>
                  <a:lnTo>
                    <a:pt x="832" y="1148"/>
                  </a:lnTo>
                  <a:lnTo>
                    <a:pt x="834" y="1148"/>
                  </a:lnTo>
                  <a:lnTo>
                    <a:pt x="840" y="1146"/>
                  </a:lnTo>
                  <a:lnTo>
                    <a:pt x="844" y="1144"/>
                  </a:lnTo>
                  <a:lnTo>
                    <a:pt x="846" y="1144"/>
                  </a:lnTo>
                  <a:lnTo>
                    <a:pt x="850" y="1142"/>
                  </a:lnTo>
                  <a:lnTo>
                    <a:pt x="850" y="1142"/>
                  </a:lnTo>
                  <a:lnTo>
                    <a:pt x="850" y="1142"/>
                  </a:lnTo>
                  <a:lnTo>
                    <a:pt x="854" y="1138"/>
                  </a:lnTo>
                  <a:lnTo>
                    <a:pt x="856" y="1134"/>
                  </a:lnTo>
                  <a:lnTo>
                    <a:pt x="858" y="1132"/>
                  </a:lnTo>
                  <a:lnTo>
                    <a:pt x="860" y="1128"/>
                  </a:lnTo>
                  <a:lnTo>
                    <a:pt x="860" y="1128"/>
                  </a:lnTo>
                  <a:lnTo>
                    <a:pt x="860" y="1126"/>
                  </a:lnTo>
                  <a:lnTo>
                    <a:pt x="860" y="1124"/>
                  </a:lnTo>
                  <a:lnTo>
                    <a:pt x="860" y="1122"/>
                  </a:lnTo>
                  <a:lnTo>
                    <a:pt x="860" y="1122"/>
                  </a:lnTo>
                  <a:lnTo>
                    <a:pt x="860" y="1122"/>
                  </a:lnTo>
                  <a:lnTo>
                    <a:pt x="862" y="1124"/>
                  </a:lnTo>
                  <a:lnTo>
                    <a:pt x="866" y="1126"/>
                  </a:lnTo>
                  <a:lnTo>
                    <a:pt x="868" y="1126"/>
                  </a:lnTo>
                  <a:lnTo>
                    <a:pt x="872" y="1130"/>
                  </a:lnTo>
                  <a:lnTo>
                    <a:pt x="874" y="1132"/>
                  </a:lnTo>
                  <a:lnTo>
                    <a:pt x="876" y="1134"/>
                  </a:lnTo>
                  <a:lnTo>
                    <a:pt x="880" y="1136"/>
                  </a:lnTo>
                  <a:lnTo>
                    <a:pt x="880" y="1136"/>
                  </a:lnTo>
                  <a:lnTo>
                    <a:pt x="880" y="1136"/>
                  </a:lnTo>
                  <a:lnTo>
                    <a:pt x="884" y="1136"/>
                  </a:lnTo>
                  <a:lnTo>
                    <a:pt x="884" y="1136"/>
                  </a:lnTo>
                  <a:lnTo>
                    <a:pt x="884" y="1136"/>
                  </a:lnTo>
                  <a:lnTo>
                    <a:pt x="888" y="1136"/>
                  </a:lnTo>
                  <a:lnTo>
                    <a:pt x="892" y="1136"/>
                  </a:lnTo>
                  <a:lnTo>
                    <a:pt x="896" y="1136"/>
                  </a:lnTo>
                  <a:lnTo>
                    <a:pt x="896" y="1136"/>
                  </a:lnTo>
                  <a:lnTo>
                    <a:pt x="898" y="1136"/>
                  </a:lnTo>
                  <a:lnTo>
                    <a:pt x="902" y="1136"/>
                  </a:lnTo>
                  <a:lnTo>
                    <a:pt x="902" y="1136"/>
                  </a:lnTo>
                  <a:lnTo>
                    <a:pt x="902" y="1136"/>
                  </a:lnTo>
                  <a:lnTo>
                    <a:pt x="904" y="1134"/>
                  </a:lnTo>
                  <a:lnTo>
                    <a:pt x="904" y="1134"/>
                  </a:lnTo>
                  <a:lnTo>
                    <a:pt x="904" y="1134"/>
                  </a:lnTo>
                  <a:lnTo>
                    <a:pt x="906" y="1132"/>
                  </a:lnTo>
                  <a:lnTo>
                    <a:pt x="906" y="1132"/>
                  </a:lnTo>
                  <a:lnTo>
                    <a:pt x="906" y="1132"/>
                  </a:lnTo>
                  <a:lnTo>
                    <a:pt x="906" y="1130"/>
                  </a:lnTo>
                  <a:lnTo>
                    <a:pt x="906" y="1130"/>
                  </a:lnTo>
                  <a:lnTo>
                    <a:pt x="906" y="1128"/>
                  </a:lnTo>
                  <a:lnTo>
                    <a:pt x="906" y="1128"/>
                  </a:lnTo>
                  <a:lnTo>
                    <a:pt x="906" y="1128"/>
                  </a:lnTo>
                  <a:lnTo>
                    <a:pt x="906" y="1126"/>
                  </a:lnTo>
                  <a:lnTo>
                    <a:pt x="904" y="1126"/>
                  </a:lnTo>
                  <a:lnTo>
                    <a:pt x="904" y="1126"/>
                  </a:lnTo>
                  <a:lnTo>
                    <a:pt x="904" y="1124"/>
                  </a:lnTo>
                  <a:lnTo>
                    <a:pt x="902" y="1124"/>
                  </a:lnTo>
                  <a:lnTo>
                    <a:pt x="900" y="1122"/>
                  </a:lnTo>
                  <a:lnTo>
                    <a:pt x="898" y="1120"/>
                  </a:lnTo>
                  <a:lnTo>
                    <a:pt x="894" y="1116"/>
                  </a:lnTo>
                  <a:lnTo>
                    <a:pt x="888" y="1114"/>
                  </a:lnTo>
                  <a:lnTo>
                    <a:pt x="886" y="1112"/>
                  </a:lnTo>
                  <a:lnTo>
                    <a:pt x="884" y="1112"/>
                  </a:lnTo>
                  <a:lnTo>
                    <a:pt x="884" y="1110"/>
                  </a:lnTo>
                  <a:lnTo>
                    <a:pt x="882" y="1110"/>
                  </a:lnTo>
                  <a:lnTo>
                    <a:pt x="882" y="1108"/>
                  </a:lnTo>
                  <a:lnTo>
                    <a:pt x="882" y="1106"/>
                  </a:lnTo>
                  <a:lnTo>
                    <a:pt x="880" y="1104"/>
                  </a:lnTo>
                  <a:lnTo>
                    <a:pt x="880" y="1100"/>
                  </a:lnTo>
                  <a:lnTo>
                    <a:pt x="880" y="1098"/>
                  </a:lnTo>
                  <a:lnTo>
                    <a:pt x="878" y="1094"/>
                  </a:lnTo>
                  <a:lnTo>
                    <a:pt x="878" y="1094"/>
                  </a:lnTo>
                  <a:lnTo>
                    <a:pt x="878" y="1094"/>
                  </a:lnTo>
                  <a:lnTo>
                    <a:pt x="876" y="1092"/>
                  </a:lnTo>
                  <a:lnTo>
                    <a:pt x="876" y="1092"/>
                  </a:lnTo>
                  <a:lnTo>
                    <a:pt x="876" y="1092"/>
                  </a:lnTo>
                  <a:lnTo>
                    <a:pt x="872" y="1090"/>
                  </a:lnTo>
                  <a:lnTo>
                    <a:pt x="870" y="1088"/>
                  </a:lnTo>
                  <a:lnTo>
                    <a:pt x="868" y="1088"/>
                  </a:lnTo>
                  <a:lnTo>
                    <a:pt x="866" y="1084"/>
                  </a:lnTo>
                  <a:lnTo>
                    <a:pt x="864" y="1082"/>
                  </a:lnTo>
                  <a:lnTo>
                    <a:pt x="862" y="1078"/>
                  </a:lnTo>
                  <a:lnTo>
                    <a:pt x="862" y="1078"/>
                  </a:lnTo>
                  <a:lnTo>
                    <a:pt x="862" y="1078"/>
                  </a:lnTo>
                  <a:lnTo>
                    <a:pt x="860" y="1074"/>
                  </a:lnTo>
                  <a:lnTo>
                    <a:pt x="860" y="1074"/>
                  </a:lnTo>
                  <a:lnTo>
                    <a:pt x="860" y="1074"/>
                  </a:lnTo>
                  <a:lnTo>
                    <a:pt x="856" y="1072"/>
                  </a:lnTo>
                  <a:lnTo>
                    <a:pt x="850" y="1068"/>
                  </a:lnTo>
                  <a:lnTo>
                    <a:pt x="850" y="1068"/>
                  </a:lnTo>
                  <a:lnTo>
                    <a:pt x="850" y="1068"/>
                  </a:lnTo>
                  <a:lnTo>
                    <a:pt x="852" y="1068"/>
                  </a:lnTo>
                  <a:lnTo>
                    <a:pt x="852" y="1068"/>
                  </a:lnTo>
                  <a:lnTo>
                    <a:pt x="854" y="1068"/>
                  </a:lnTo>
                  <a:lnTo>
                    <a:pt x="856" y="1068"/>
                  </a:lnTo>
                  <a:lnTo>
                    <a:pt x="856" y="1068"/>
                  </a:lnTo>
                  <a:lnTo>
                    <a:pt x="856" y="1068"/>
                  </a:lnTo>
                  <a:lnTo>
                    <a:pt x="858" y="1066"/>
                  </a:lnTo>
                  <a:lnTo>
                    <a:pt x="858" y="1066"/>
                  </a:lnTo>
                  <a:lnTo>
                    <a:pt x="860" y="1066"/>
                  </a:lnTo>
                  <a:lnTo>
                    <a:pt x="862" y="1064"/>
                  </a:lnTo>
                  <a:lnTo>
                    <a:pt x="862" y="1064"/>
                  </a:lnTo>
                  <a:lnTo>
                    <a:pt x="862" y="1064"/>
                  </a:lnTo>
                  <a:lnTo>
                    <a:pt x="864" y="1060"/>
                  </a:lnTo>
                  <a:lnTo>
                    <a:pt x="864" y="1060"/>
                  </a:lnTo>
                  <a:lnTo>
                    <a:pt x="864" y="1060"/>
                  </a:lnTo>
                  <a:lnTo>
                    <a:pt x="864" y="1050"/>
                  </a:lnTo>
                  <a:lnTo>
                    <a:pt x="864" y="1042"/>
                  </a:lnTo>
                  <a:lnTo>
                    <a:pt x="864" y="1036"/>
                  </a:lnTo>
                  <a:lnTo>
                    <a:pt x="864" y="1036"/>
                  </a:lnTo>
                  <a:lnTo>
                    <a:pt x="864" y="1034"/>
                  </a:lnTo>
                  <a:lnTo>
                    <a:pt x="864" y="1030"/>
                  </a:lnTo>
                  <a:lnTo>
                    <a:pt x="864" y="1030"/>
                  </a:lnTo>
                  <a:lnTo>
                    <a:pt x="864" y="1030"/>
                  </a:lnTo>
                  <a:lnTo>
                    <a:pt x="864" y="1030"/>
                  </a:lnTo>
                  <a:lnTo>
                    <a:pt x="868" y="1028"/>
                  </a:lnTo>
                  <a:lnTo>
                    <a:pt x="872" y="1024"/>
                  </a:lnTo>
                  <a:lnTo>
                    <a:pt x="876" y="1022"/>
                  </a:lnTo>
                  <a:lnTo>
                    <a:pt x="880" y="1018"/>
                  </a:lnTo>
                  <a:lnTo>
                    <a:pt x="884" y="1014"/>
                  </a:lnTo>
                  <a:lnTo>
                    <a:pt x="888" y="1010"/>
                  </a:lnTo>
                  <a:lnTo>
                    <a:pt x="892" y="1006"/>
                  </a:lnTo>
                  <a:lnTo>
                    <a:pt x="892" y="1004"/>
                  </a:lnTo>
                  <a:lnTo>
                    <a:pt x="892" y="1004"/>
                  </a:lnTo>
                  <a:lnTo>
                    <a:pt x="892" y="1004"/>
                  </a:lnTo>
                  <a:lnTo>
                    <a:pt x="892" y="1002"/>
                  </a:lnTo>
                  <a:lnTo>
                    <a:pt x="892" y="1002"/>
                  </a:lnTo>
                  <a:lnTo>
                    <a:pt x="894" y="1002"/>
                  </a:lnTo>
                  <a:lnTo>
                    <a:pt x="894" y="1000"/>
                  </a:lnTo>
                  <a:lnTo>
                    <a:pt x="894" y="1000"/>
                  </a:lnTo>
                  <a:lnTo>
                    <a:pt x="894" y="1000"/>
                  </a:lnTo>
                  <a:lnTo>
                    <a:pt x="894" y="998"/>
                  </a:lnTo>
                  <a:lnTo>
                    <a:pt x="894" y="998"/>
                  </a:lnTo>
                  <a:lnTo>
                    <a:pt x="892" y="998"/>
                  </a:lnTo>
                  <a:lnTo>
                    <a:pt x="892" y="994"/>
                  </a:lnTo>
                  <a:lnTo>
                    <a:pt x="892" y="994"/>
                  </a:lnTo>
                  <a:lnTo>
                    <a:pt x="892" y="994"/>
                  </a:lnTo>
                  <a:lnTo>
                    <a:pt x="890" y="990"/>
                  </a:lnTo>
                  <a:lnTo>
                    <a:pt x="888" y="988"/>
                  </a:lnTo>
                  <a:lnTo>
                    <a:pt x="884" y="984"/>
                  </a:lnTo>
                  <a:lnTo>
                    <a:pt x="882" y="982"/>
                  </a:lnTo>
                  <a:lnTo>
                    <a:pt x="882" y="980"/>
                  </a:lnTo>
                  <a:lnTo>
                    <a:pt x="882" y="976"/>
                  </a:lnTo>
                  <a:lnTo>
                    <a:pt x="882" y="974"/>
                  </a:lnTo>
                  <a:lnTo>
                    <a:pt x="882" y="974"/>
                  </a:lnTo>
                  <a:lnTo>
                    <a:pt x="882" y="972"/>
                  </a:lnTo>
                  <a:lnTo>
                    <a:pt x="884" y="968"/>
                  </a:lnTo>
                  <a:lnTo>
                    <a:pt x="886" y="966"/>
                  </a:lnTo>
                  <a:lnTo>
                    <a:pt x="888" y="958"/>
                  </a:lnTo>
                  <a:lnTo>
                    <a:pt x="890" y="956"/>
                  </a:lnTo>
                  <a:lnTo>
                    <a:pt x="890" y="952"/>
                  </a:lnTo>
                  <a:lnTo>
                    <a:pt x="890" y="948"/>
                  </a:lnTo>
                  <a:lnTo>
                    <a:pt x="890" y="944"/>
                  </a:lnTo>
                  <a:lnTo>
                    <a:pt x="890" y="938"/>
                  </a:lnTo>
                  <a:lnTo>
                    <a:pt x="890" y="930"/>
                  </a:lnTo>
                  <a:lnTo>
                    <a:pt x="888" y="926"/>
                  </a:lnTo>
                  <a:lnTo>
                    <a:pt x="888" y="924"/>
                  </a:lnTo>
                  <a:lnTo>
                    <a:pt x="886" y="918"/>
                  </a:lnTo>
                  <a:lnTo>
                    <a:pt x="886" y="918"/>
                  </a:lnTo>
                  <a:lnTo>
                    <a:pt x="886" y="918"/>
                  </a:lnTo>
                  <a:lnTo>
                    <a:pt x="882" y="914"/>
                  </a:lnTo>
                  <a:lnTo>
                    <a:pt x="882" y="914"/>
                  </a:lnTo>
                  <a:lnTo>
                    <a:pt x="882" y="914"/>
                  </a:lnTo>
                  <a:lnTo>
                    <a:pt x="880" y="912"/>
                  </a:lnTo>
                  <a:lnTo>
                    <a:pt x="878" y="910"/>
                  </a:lnTo>
                  <a:lnTo>
                    <a:pt x="874" y="908"/>
                  </a:lnTo>
                  <a:lnTo>
                    <a:pt x="872" y="906"/>
                  </a:lnTo>
                  <a:lnTo>
                    <a:pt x="868" y="904"/>
                  </a:lnTo>
                  <a:lnTo>
                    <a:pt x="862" y="902"/>
                  </a:lnTo>
                  <a:lnTo>
                    <a:pt x="858" y="900"/>
                  </a:lnTo>
                  <a:lnTo>
                    <a:pt x="852" y="898"/>
                  </a:lnTo>
                  <a:lnTo>
                    <a:pt x="848" y="896"/>
                  </a:lnTo>
                  <a:lnTo>
                    <a:pt x="850" y="896"/>
                  </a:lnTo>
                  <a:lnTo>
                    <a:pt x="858" y="898"/>
                  </a:lnTo>
                  <a:lnTo>
                    <a:pt x="866" y="896"/>
                  </a:lnTo>
                  <a:lnTo>
                    <a:pt x="866" y="896"/>
                  </a:lnTo>
                  <a:lnTo>
                    <a:pt x="870" y="894"/>
                  </a:lnTo>
                  <a:lnTo>
                    <a:pt x="870" y="894"/>
                  </a:lnTo>
                  <a:lnTo>
                    <a:pt x="868" y="892"/>
                  </a:lnTo>
                  <a:lnTo>
                    <a:pt x="866" y="890"/>
                  </a:lnTo>
                  <a:lnTo>
                    <a:pt x="862" y="888"/>
                  </a:lnTo>
                  <a:lnTo>
                    <a:pt x="862" y="886"/>
                  </a:lnTo>
                  <a:lnTo>
                    <a:pt x="860" y="886"/>
                  </a:lnTo>
                  <a:lnTo>
                    <a:pt x="860" y="886"/>
                  </a:lnTo>
                  <a:lnTo>
                    <a:pt x="860" y="884"/>
                  </a:lnTo>
                  <a:lnTo>
                    <a:pt x="862" y="884"/>
                  </a:lnTo>
                  <a:lnTo>
                    <a:pt x="864" y="882"/>
                  </a:lnTo>
                  <a:lnTo>
                    <a:pt x="868" y="882"/>
                  </a:lnTo>
                  <a:lnTo>
                    <a:pt x="874" y="884"/>
                  </a:lnTo>
                  <a:lnTo>
                    <a:pt x="878" y="886"/>
                  </a:lnTo>
                  <a:lnTo>
                    <a:pt x="884" y="886"/>
                  </a:lnTo>
                  <a:lnTo>
                    <a:pt x="886" y="888"/>
                  </a:lnTo>
                  <a:lnTo>
                    <a:pt x="886" y="888"/>
                  </a:lnTo>
                  <a:lnTo>
                    <a:pt x="886" y="888"/>
                  </a:lnTo>
                  <a:lnTo>
                    <a:pt x="890" y="888"/>
                  </a:lnTo>
                  <a:lnTo>
                    <a:pt x="890" y="888"/>
                  </a:lnTo>
                  <a:lnTo>
                    <a:pt x="890" y="888"/>
                  </a:lnTo>
                  <a:lnTo>
                    <a:pt x="894" y="888"/>
                  </a:lnTo>
                  <a:lnTo>
                    <a:pt x="898" y="888"/>
                  </a:lnTo>
                  <a:lnTo>
                    <a:pt x="904" y="888"/>
                  </a:lnTo>
                  <a:lnTo>
                    <a:pt x="908" y="888"/>
                  </a:lnTo>
                  <a:lnTo>
                    <a:pt x="910" y="888"/>
                  </a:lnTo>
                  <a:lnTo>
                    <a:pt x="910" y="890"/>
                  </a:lnTo>
                  <a:lnTo>
                    <a:pt x="910" y="892"/>
                  </a:lnTo>
                  <a:lnTo>
                    <a:pt x="910" y="892"/>
                  </a:lnTo>
                  <a:lnTo>
                    <a:pt x="910" y="894"/>
                  </a:lnTo>
                  <a:lnTo>
                    <a:pt x="912" y="898"/>
                  </a:lnTo>
                  <a:lnTo>
                    <a:pt x="912" y="898"/>
                  </a:lnTo>
                  <a:lnTo>
                    <a:pt x="912" y="898"/>
                  </a:lnTo>
                  <a:lnTo>
                    <a:pt x="914" y="900"/>
                  </a:lnTo>
                  <a:lnTo>
                    <a:pt x="914" y="900"/>
                  </a:lnTo>
                  <a:lnTo>
                    <a:pt x="914" y="900"/>
                  </a:lnTo>
                  <a:lnTo>
                    <a:pt x="916" y="902"/>
                  </a:lnTo>
                  <a:lnTo>
                    <a:pt x="916" y="902"/>
                  </a:lnTo>
                  <a:lnTo>
                    <a:pt x="916" y="902"/>
                  </a:lnTo>
                  <a:lnTo>
                    <a:pt x="918" y="904"/>
                  </a:lnTo>
                  <a:lnTo>
                    <a:pt x="918" y="904"/>
                  </a:lnTo>
                  <a:lnTo>
                    <a:pt x="920" y="904"/>
                  </a:lnTo>
                  <a:lnTo>
                    <a:pt x="922" y="906"/>
                  </a:lnTo>
                  <a:lnTo>
                    <a:pt x="922" y="906"/>
                  </a:lnTo>
                  <a:lnTo>
                    <a:pt x="924" y="906"/>
                  </a:lnTo>
                  <a:lnTo>
                    <a:pt x="926" y="906"/>
                  </a:lnTo>
                  <a:lnTo>
                    <a:pt x="928" y="906"/>
                  </a:lnTo>
                  <a:lnTo>
                    <a:pt x="930" y="904"/>
                  </a:lnTo>
                  <a:lnTo>
                    <a:pt x="930" y="904"/>
                  </a:lnTo>
                  <a:lnTo>
                    <a:pt x="930" y="904"/>
                  </a:lnTo>
                  <a:lnTo>
                    <a:pt x="932" y="904"/>
                  </a:lnTo>
                  <a:lnTo>
                    <a:pt x="932" y="904"/>
                  </a:lnTo>
                  <a:lnTo>
                    <a:pt x="932" y="902"/>
                  </a:lnTo>
                  <a:lnTo>
                    <a:pt x="934" y="900"/>
                  </a:lnTo>
                  <a:lnTo>
                    <a:pt x="934" y="900"/>
                  </a:lnTo>
                  <a:lnTo>
                    <a:pt x="934" y="900"/>
                  </a:lnTo>
                  <a:lnTo>
                    <a:pt x="934" y="898"/>
                  </a:lnTo>
                  <a:lnTo>
                    <a:pt x="934" y="898"/>
                  </a:lnTo>
                  <a:lnTo>
                    <a:pt x="934" y="898"/>
                  </a:lnTo>
                  <a:lnTo>
                    <a:pt x="934" y="896"/>
                  </a:lnTo>
                  <a:lnTo>
                    <a:pt x="934" y="896"/>
                  </a:lnTo>
                  <a:lnTo>
                    <a:pt x="934" y="896"/>
                  </a:lnTo>
                  <a:lnTo>
                    <a:pt x="934" y="894"/>
                  </a:lnTo>
                  <a:lnTo>
                    <a:pt x="934" y="894"/>
                  </a:lnTo>
                  <a:lnTo>
                    <a:pt x="932" y="894"/>
                  </a:lnTo>
                  <a:lnTo>
                    <a:pt x="930" y="892"/>
                  </a:lnTo>
                  <a:lnTo>
                    <a:pt x="930" y="892"/>
                  </a:lnTo>
                  <a:lnTo>
                    <a:pt x="930" y="892"/>
                  </a:lnTo>
                  <a:lnTo>
                    <a:pt x="926" y="890"/>
                  </a:lnTo>
                  <a:lnTo>
                    <a:pt x="926" y="890"/>
                  </a:lnTo>
                  <a:lnTo>
                    <a:pt x="926" y="890"/>
                  </a:lnTo>
                  <a:lnTo>
                    <a:pt x="922" y="890"/>
                  </a:lnTo>
                  <a:lnTo>
                    <a:pt x="920" y="890"/>
                  </a:lnTo>
                  <a:lnTo>
                    <a:pt x="918" y="890"/>
                  </a:lnTo>
                  <a:lnTo>
                    <a:pt x="916" y="884"/>
                  </a:lnTo>
                  <a:lnTo>
                    <a:pt x="916" y="880"/>
                  </a:lnTo>
                  <a:lnTo>
                    <a:pt x="916" y="878"/>
                  </a:lnTo>
                  <a:lnTo>
                    <a:pt x="916" y="874"/>
                  </a:lnTo>
                  <a:lnTo>
                    <a:pt x="918" y="872"/>
                  </a:lnTo>
                  <a:lnTo>
                    <a:pt x="920" y="870"/>
                  </a:lnTo>
                  <a:lnTo>
                    <a:pt x="922" y="868"/>
                  </a:lnTo>
                  <a:lnTo>
                    <a:pt x="922" y="868"/>
                  </a:lnTo>
                  <a:lnTo>
                    <a:pt x="924" y="870"/>
                  </a:lnTo>
                  <a:lnTo>
                    <a:pt x="926" y="870"/>
                  </a:lnTo>
                  <a:lnTo>
                    <a:pt x="928" y="870"/>
                  </a:lnTo>
                  <a:lnTo>
                    <a:pt x="928" y="872"/>
                  </a:lnTo>
                  <a:lnTo>
                    <a:pt x="928" y="872"/>
                  </a:lnTo>
                  <a:lnTo>
                    <a:pt x="930" y="874"/>
                  </a:lnTo>
                  <a:lnTo>
                    <a:pt x="932" y="878"/>
                  </a:lnTo>
                  <a:lnTo>
                    <a:pt x="932" y="880"/>
                  </a:lnTo>
                  <a:lnTo>
                    <a:pt x="934" y="882"/>
                  </a:lnTo>
                  <a:lnTo>
                    <a:pt x="934" y="882"/>
                  </a:lnTo>
                  <a:lnTo>
                    <a:pt x="934" y="884"/>
                  </a:lnTo>
                  <a:lnTo>
                    <a:pt x="936" y="886"/>
                  </a:lnTo>
                  <a:lnTo>
                    <a:pt x="936" y="886"/>
                  </a:lnTo>
                  <a:lnTo>
                    <a:pt x="938" y="886"/>
                  </a:lnTo>
                  <a:lnTo>
                    <a:pt x="940" y="888"/>
                  </a:lnTo>
                  <a:lnTo>
                    <a:pt x="942" y="890"/>
                  </a:lnTo>
                  <a:lnTo>
                    <a:pt x="944" y="892"/>
                  </a:lnTo>
                  <a:lnTo>
                    <a:pt x="944" y="894"/>
                  </a:lnTo>
                  <a:lnTo>
                    <a:pt x="944" y="894"/>
                  </a:lnTo>
                  <a:lnTo>
                    <a:pt x="946" y="896"/>
                  </a:lnTo>
                  <a:lnTo>
                    <a:pt x="946" y="896"/>
                  </a:lnTo>
                  <a:lnTo>
                    <a:pt x="946" y="896"/>
                  </a:lnTo>
                  <a:lnTo>
                    <a:pt x="948" y="896"/>
                  </a:lnTo>
                  <a:lnTo>
                    <a:pt x="950" y="896"/>
                  </a:lnTo>
                  <a:lnTo>
                    <a:pt x="950" y="896"/>
                  </a:lnTo>
                  <a:lnTo>
                    <a:pt x="950" y="898"/>
                  </a:lnTo>
                  <a:lnTo>
                    <a:pt x="952" y="898"/>
                  </a:lnTo>
                  <a:lnTo>
                    <a:pt x="954" y="898"/>
                  </a:lnTo>
                  <a:lnTo>
                    <a:pt x="956" y="898"/>
                  </a:lnTo>
                  <a:lnTo>
                    <a:pt x="960" y="898"/>
                  </a:lnTo>
                  <a:lnTo>
                    <a:pt x="960" y="898"/>
                  </a:lnTo>
                  <a:lnTo>
                    <a:pt x="962" y="906"/>
                  </a:lnTo>
                  <a:lnTo>
                    <a:pt x="964" y="916"/>
                  </a:lnTo>
                  <a:lnTo>
                    <a:pt x="966" y="920"/>
                  </a:lnTo>
                  <a:lnTo>
                    <a:pt x="970" y="926"/>
                  </a:lnTo>
                  <a:lnTo>
                    <a:pt x="972" y="930"/>
                  </a:lnTo>
                  <a:lnTo>
                    <a:pt x="974" y="934"/>
                  </a:lnTo>
                  <a:lnTo>
                    <a:pt x="976" y="936"/>
                  </a:lnTo>
                  <a:lnTo>
                    <a:pt x="976" y="936"/>
                  </a:lnTo>
                  <a:lnTo>
                    <a:pt x="976" y="936"/>
                  </a:lnTo>
                  <a:lnTo>
                    <a:pt x="976" y="938"/>
                  </a:lnTo>
                  <a:lnTo>
                    <a:pt x="976" y="938"/>
                  </a:lnTo>
                  <a:lnTo>
                    <a:pt x="976" y="940"/>
                  </a:lnTo>
                  <a:lnTo>
                    <a:pt x="978" y="940"/>
                  </a:lnTo>
                  <a:lnTo>
                    <a:pt x="978" y="940"/>
                  </a:lnTo>
                  <a:lnTo>
                    <a:pt x="978" y="942"/>
                  </a:lnTo>
                  <a:lnTo>
                    <a:pt x="980" y="942"/>
                  </a:lnTo>
                  <a:lnTo>
                    <a:pt x="980" y="942"/>
                  </a:lnTo>
                  <a:lnTo>
                    <a:pt x="980" y="942"/>
                  </a:lnTo>
                  <a:lnTo>
                    <a:pt x="984" y="944"/>
                  </a:lnTo>
                  <a:lnTo>
                    <a:pt x="984" y="944"/>
                  </a:lnTo>
                  <a:lnTo>
                    <a:pt x="984" y="944"/>
                  </a:lnTo>
                  <a:lnTo>
                    <a:pt x="986" y="944"/>
                  </a:lnTo>
                  <a:lnTo>
                    <a:pt x="990" y="944"/>
                  </a:lnTo>
                  <a:lnTo>
                    <a:pt x="992" y="946"/>
                  </a:lnTo>
                  <a:lnTo>
                    <a:pt x="994" y="946"/>
                  </a:lnTo>
                  <a:lnTo>
                    <a:pt x="998" y="946"/>
                  </a:lnTo>
                  <a:lnTo>
                    <a:pt x="1000" y="948"/>
                  </a:lnTo>
                  <a:lnTo>
                    <a:pt x="1002" y="948"/>
                  </a:lnTo>
                  <a:lnTo>
                    <a:pt x="1002" y="948"/>
                  </a:lnTo>
                  <a:lnTo>
                    <a:pt x="1004" y="952"/>
                  </a:lnTo>
                  <a:lnTo>
                    <a:pt x="1006" y="958"/>
                  </a:lnTo>
                  <a:lnTo>
                    <a:pt x="1008" y="962"/>
                  </a:lnTo>
                  <a:lnTo>
                    <a:pt x="1010" y="968"/>
                  </a:lnTo>
                  <a:lnTo>
                    <a:pt x="1012" y="970"/>
                  </a:lnTo>
                  <a:lnTo>
                    <a:pt x="1012" y="970"/>
                  </a:lnTo>
                  <a:lnTo>
                    <a:pt x="1012" y="972"/>
                  </a:lnTo>
                  <a:lnTo>
                    <a:pt x="1012" y="974"/>
                  </a:lnTo>
                  <a:lnTo>
                    <a:pt x="1012" y="974"/>
                  </a:lnTo>
                  <a:lnTo>
                    <a:pt x="1014" y="974"/>
                  </a:lnTo>
                  <a:lnTo>
                    <a:pt x="1014" y="976"/>
                  </a:lnTo>
                  <a:lnTo>
                    <a:pt x="1016" y="978"/>
                  </a:lnTo>
                  <a:lnTo>
                    <a:pt x="1018" y="980"/>
                  </a:lnTo>
                  <a:lnTo>
                    <a:pt x="1020" y="980"/>
                  </a:lnTo>
                  <a:lnTo>
                    <a:pt x="1022" y="982"/>
                  </a:lnTo>
                  <a:lnTo>
                    <a:pt x="1022" y="984"/>
                  </a:lnTo>
                  <a:lnTo>
                    <a:pt x="1022" y="994"/>
                  </a:lnTo>
                  <a:lnTo>
                    <a:pt x="1022" y="1000"/>
                  </a:lnTo>
                  <a:lnTo>
                    <a:pt x="1020" y="1004"/>
                  </a:lnTo>
                  <a:lnTo>
                    <a:pt x="1020" y="1008"/>
                  </a:lnTo>
                  <a:lnTo>
                    <a:pt x="1018" y="1012"/>
                  </a:lnTo>
                  <a:lnTo>
                    <a:pt x="1014" y="1016"/>
                  </a:lnTo>
                  <a:lnTo>
                    <a:pt x="1010" y="1020"/>
                  </a:lnTo>
                  <a:lnTo>
                    <a:pt x="1010" y="1020"/>
                  </a:lnTo>
                  <a:lnTo>
                    <a:pt x="1010" y="1020"/>
                  </a:lnTo>
                  <a:lnTo>
                    <a:pt x="1008" y="1022"/>
                  </a:lnTo>
                  <a:lnTo>
                    <a:pt x="1006" y="1022"/>
                  </a:lnTo>
                  <a:lnTo>
                    <a:pt x="1004" y="1026"/>
                  </a:lnTo>
                  <a:lnTo>
                    <a:pt x="1004" y="1026"/>
                  </a:lnTo>
                  <a:lnTo>
                    <a:pt x="1004" y="1028"/>
                  </a:lnTo>
                  <a:lnTo>
                    <a:pt x="1002" y="1028"/>
                  </a:lnTo>
                  <a:lnTo>
                    <a:pt x="1002" y="1030"/>
                  </a:lnTo>
                  <a:lnTo>
                    <a:pt x="1000" y="1032"/>
                  </a:lnTo>
                  <a:lnTo>
                    <a:pt x="1000" y="1034"/>
                  </a:lnTo>
                  <a:lnTo>
                    <a:pt x="1000" y="1034"/>
                  </a:lnTo>
                  <a:lnTo>
                    <a:pt x="998" y="1034"/>
                  </a:lnTo>
                  <a:lnTo>
                    <a:pt x="998" y="1038"/>
                  </a:lnTo>
                  <a:lnTo>
                    <a:pt x="998" y="1040"/>
                  </a:lnTo>
                  <a:lnTo>
                    <a:pt x="998" y="1044"/>
                  </a:lnTo>
                  <a:lnTo>
                    <a:pt x="996" y="1044"/>
                  </a:lnTo>
                  <a:lnTo>
                    <a:pt x="996" y="1046"/>
                  </a:lnTo>
                  <a:lnTo>
                    <a:pt x="996" y="1048"/>
                  </a:lnTo>
                  <a:lnTo>
                    <a:pt x="996" y="1050"/>
                  </a:lnTo>
                  <a:lnTo>
                    <a:pt x="996" y="1050"/>
                  </a:lnTo>
                  <a:lnTo>
                    <a:pt x="996" y="1050"/>
                  </a:lnTo>
                  <a:lnTo>
                    <a:pt x="996" y="1050"/>
                  </a:lnTo>
                  <a:lnTo>
                    <a:pt x="996" y="1052"/>
                  </a:lnTo>
                  <a:lnTo>
                    <a:pt x="996" y="1056"/>
                  </a:lnTo>
                  <a:lnTo>
                    <a:pt x="996" y="1058"/>
                  </a:lnTo>
                  <a:lnTo>
                    <a:pt x="996" y="1060"/>
                  </a:lnTo>
                  <a:lnTo>
                    <a:pt x="996" y="1062"/>
                  </a:lnTo>
                  <a:lnTo>
                    <a:pt x="996" y="1064"/>
                  </a:lnTo>
                  <a:lnTo>
                    <a:pt x="996" y="1066"/>
                  </a:lnTo>
                  <a:lnTo>
                    <a:pt x="996" y="1068"/>
                  </a:lnTo>
                  <a:lnTo>
                    <a:pt x="996" y="1070"/>
                  </a:lnTo>
                  <a:lnTo>
                    <a:pt x="996" y="1070"/>
                  </a:lnTo>
                  <a:lnTo>
                    <a:pt x="996" y="1070"/>
                  </a:lnTo>
                  <a:lnTo>
                    <a:pt x="994" y="1072"/>
                  </a:lnTo>
                  <a:lnTo>
                    <a:pt x="992" y="1072"/>
                  </a:lnTo>
                  <a:lnTo>
                    <a:pt x="988" y="1072"/>
                  </a:lnTo>
                  <a:lnTo>
                    <a:pt x="986" y="1072"/>
                  </a:lnTo>
                  <a:lnTo>
                    <a:pt x="984" y="1074"/>
                  </a:lnTo>
                  <a:lnTo>
                    <a:pt x="976" y="1074"/>
                  </a:lnTo>
                  <a:lnTo>
                    <a:pt x="968" y="1072"/>
                  </a:lnTo>
                  <a:lnTo>
                    <a:pt x="964" y="1072"/>
                  </a:lnTo>
                  <a:lnTo>
                    <a:pt x="962" y="1072"/>
                  </a:lnTo>
                  <a:lnTo>
                    <a:pt x="958" y="1070"/>
                  </a:lnTo>
                  <a:lnTo>
                    <a:pt x="954" y="1068"/>
                  </a:lnTo>
                  <a:lnTo>
                    <a:pt x="954" y="1068"/>
                  </a:lnTo>
                  <a:lnTo>
                    <a:pt x="952" y="1068"/>
                  </a:lnTo>
                  <a:lnTo>
                    <a:pt x="948" y="1070"/>
                  </a:lnTo>
                  <a:lnTo>
                    <a:pt x="946" y="1072"/>
                  </a:lnTo>
                  <a:lnTo>
                    <a:pt x="942" y="1074"/>
                  </a:lnTo>
                  <a:lnTo>
                    <a:pt x="938" y="1074"/>
                  </a:lnTo>
                  <a:lnTo>
                    <a:pt x="938" y="1074"/>
                  </a:lnTo>
                  <a:lnTo>
                    <a:pt x="938" y="1074"/>
                  </a:lnTo>
                  <a:lnTo>
                    <a:pt x="936" y="1076"/>
                  </a:lnTo>
                  <a:lnTo>
                    <a:pt x="934" y="1076"/>
                  </a:lnTo>
                  <a:lnTo>
                    <a:pt x="932" y="1078"/>
                  </a:lnTo>
                  <a:lnTo>
                    <a:pt x="932" y="1078"/>
                  </a:lnTo>
                  <a:lnTo>
                    <a:pt x="930" y="1078"/>
                  </a:lnTo>
                  <a:lnTo>
                    <a:pt x="930" y="1078"/>
                  </a:lnTo>
                  <a:lnTo>
                    <a:pt x="930" y="1078"/>
                  </a:lnTo>
                  <a:lnTo>
                    <a:pt x="930" y="1078"/>
                  </a:lnTo>
                  <a:lnTo>
                    <a:pt x="928" y="1080"/>
                  </a:lnTo>
                  <a:lnTo>
                    <a:pt x="928" y="1080"/>
                  </a:lnTo>
                  <a:lnTo>
                    <a:pt x="928" y="1080"/>
                  </a:lnTo>
                  <a:lnTo>
                    <a:pt x="928" y="1082"/>
                  </a:lnTo>
                  <a:lnTo>
                    <a:pt x="928" y="1082"/>
                  </a:lnTo>
                  <a:lnTo>
                    <a:pt x="928" y="1082"/>
                  </a:lnTo>
                  <a:lnTo>
                    <a:pt x="926" y="1084"/>
                  </a:lnTo>
                  <a:lnTo>
                    <a:pt x="926" y="1084"/>
                  </a:lnTo>
                  <a:lnTo>
                    <a:pt x="926" y="1086"/>
                  </a:lnTo>
                  <a:lnTo>
                    <a:pt x="926" y="1088"/>
                  </a:lnTo>
                  <a:lnTo>
                    <a:pt x="926" y="1090"/>
                  </a:lnTo>
                  <a:lnTo>
                    <a:pt x="928" y="1092"/>
                  </a:lnTo>
                  <a:lnTo>
                    <a:pt x="928" y="1092"/>
                  </a:lnTo>
                  <a:lnTo>
                    <a:pt x="928" y="1092"/>
                  </a:lnTo>
                  <a:lnTo>
                    <a:pt x="928" y="1094"/>
                  </a:lnTo>
                  <a:lnTo>
                    <a:pt x="928" y="1094"/>
                  </a:lnTo>
                  <a:lnTo>
                    <a:pt x="928" y="1094"/>
                  </a:lnTo>
                  <a:lnTo>
                    <a:pt x="930" y="1096"/>
                  </a:lnTo>
                  <a:lnTo>
                    <a:pt x="930" y="1096"/>
                  </a:lnTo>
                  <a:lnTo>
                    <a:pt x="930" y="1096"/>
                  </a:lnTo>
                  <a:lnTo>
                    <a:pt x="932" y="1098"/>
                  </a:lnTo>
                  <a:lnTo>
                    <a:pt x="932" y="1098"/>
                  </a:lnTo>
                  <a:lnTo>
                    <a:pt x="932" y="1098"/>
                  </a:lnTo>
                  <a:lnTo>
                    <a:pt x="934" y="1098"/>
                  </a:lnTo>
                  <a:lnTo>
                    <a:pt x="936" y="1098"/>
                  </a:lnTo>
                  <a:lnTo>
                    <a:pt x="938" y="1098"/>
                  </a:lnTo>
                  <a:lnTo>
                    <a:pt x="940" y="1098"/>
                  </a:lnTo>
                  <a:lnTo>
                    <a:pt x="940" y="1098"/>
                  </a:lnTo>
                  <a:lnTo>
                    <a:pt x="940" y="1102"/>
                  </a:lnTo>
                  <a:lnTo>
                    <a:pt x="940" y="1102"/>
                  </a:lnTo>
                  <a:lnTo>
                    <a:pt x="940" y="1102"/>
                  </a:lnTo>
                  <a:lnTo>
                    <a:pt x="940" y="1104"/>
                  </a:lnTo>
                  <a:lnTo>
                    <a:pt x="940" y="1104"/>
                  </a:lnTo>
                  <a:lnTo>
                    <a:pt x="942" y="1104"/>
                  </a:lnTo>
                  <a:lnTo>
                    <a:pt x="942" y="1106"/>
                  </a:lnTo>
                  <a:lnTo>
                    <a:pt x="942" y="1106"/>
                  </a:lnTo>
                  <a:lnTo>
                    <a:pt x="944" y="1106"/>
                  </a:lnTo>
                  <a:lnTo>
                    <a:pt x="944" y="1106"/>
                  </a:lnTo>
                  <a:lnTo>
                    <a:pt x="944" y="1106"/>
                  </a:lnTo>
                  <a:lnTo>
                    <a:pt x="946" y="1106"/>
                  </a:lnTo>
                  <a:lnTo>
                    <a:pt x="948" y="1108"/>
                  </a:lnTo>
                  <a:lnTo>
                    <a:pt x="950" y="1108"/>
                  </a:lnTo>
                  <a:lnTo>
                    <a:pt x="954" y="1108"/>
                  </a:lnTo>
                  <a:lnTo>
                    <a:pt x="954" y="1108"/>
                  </a:lnTo>
                  <a:lnTo>
                    <a:pt x="954" y="1108"/>
                  </a:lnTo>
                  <a:lnTo>
                    <a:pt x="960" y="1108"/>
                  </a:lnTo>
                  <a:lnTo>
                    <a:pt x="964" y="1108"/>
                  </a:lnTo>
                  <a:lnTo>
                    <a:pt x="968" y="1108"/>
                  </a:lnTo>
                  <a:lnTo>
                    <a:pt x="968" y="1108"/>
                  </a:lnTo>
                  <a:lnTo>
                    <a:pt x="968" y="1108"/>
                  </a:lnTo>
                  <a:lnTo>
                    <a:pt x="972" y="1106"/>
                  </a:lnTo>
                  <a:lnTo>
                    <a:pt x="974" y="1106"/>
                  </a:lnTo>
                  <a:lnTo>
                    <a:pt x="974" y="1106"/>
                  </a:lnTo>
                  <a:lnTo>
                    <a:pt x="976" y="1106"/>
                  </a:lnTo>
                  <a:lnTo>
                    <a:pt x="978" y="1104"/>
                  </a:lnTo>
                  <a:lnTo>
                    <a:pt x="978" y="1104"/>
                  </a:lnTo>
                  <a:lnTo>
                    <a:pt x="978" y="1104"/>
                  </a:lnTo>
                  <a:lnTo>
                    <a:pt x="978" y="1102"/>
                  </a:lnTo>
                  <a:lnTo>
                    <a:pt x="978" y="1102"/>
                  </a:lnTo>
                  <a:lnTo>
                    <a:pt x="978" y="1102"/>
                  </a:lnTo>
                  <a:lnTo>
                    <a:pt x="980" y="1100"/>
                  </a:lnTo>
                  <a:lnTo>
                    <a:pt x="980" y="1098"/>
                  </a:lnTo>
                  <a:lnTo>
                    <a:pt x="980" y="1098"/>
                  </a:lnTo>
                  <a:lnTo>
                    <a:pt x="982" y="1098"/>
                  </a:lnTo>
                  <a:lnTo>
                    <a:pt x="982" y="1098"/>
                  </a:lnTo>
                  <a:lnTo>
                    <a:pt x="984" y="1096"/>
                  </a:lnTo>
                  <a:lnTo>
                    <a:pt x="988" y="1096"/>
                  </a:lnTo>
                  <a:lnTo>
                    <a:pt x="992" y="1096"/>
                  </a:lnTo>
                  <a:lnTo>
                    <a:pt x="994" y="1096"/>
                  </a:lnTo>
                  <a:lnTo>
                    <a:pt x="998" y="1096"/>
                  </a:lnTo>
                  <a:lnTo>
                    <a:pt x="998" y="1096"/>
                  </a:lnTo>
                  <a:lnTo>
                    <a:pt x="1000" y="1098"/>
                  </a:lnTo>
                  <a:lnTo>
                    <a:pt x="1002" y="1098"/>
                  </a:lnTo>
                  <a:lnTo>
                    <a:pt x="1004" y="1100"/>
                  </a:lnTo>
                  <a:lnTo>
                    <a:pt x="1004" y="1102"/>
                  </a:lnTo>
                  <a:lnTo>
                    <a:pt x="1006" y="1104"/>
                  </a:lnTo>
                  <a:lnTo>
                    <a:pt x="1006" y="1104"/>
                  </a:lnTo>
                  <a:lnTo>
                    <a:pt x="1006" y="1106"/>
                  </a:lnTo>
                  <a:lnTo>
                    <a:pt x="1006" y="1108"/>
                  </a:lnTo>
                  <a:lnTo>
                    <a:pt x="1006" y="1108"/>
                  </a:lnTo>
                  <a:lnTo>
                    <a:pt x="1006" y="1108"/>
                  </a:lnTo>
                  <a:lnTo>
                    <a:pt x="1008" y="1110"/>
                  </a:lnTo>
                  <a:lnTo>
                    <a:pt x="1008" y="1110"/>
                  </a:lnTo>
                  <a:lnTo>
                    <a:pt x="1008" y="1112"/>
                  </a:lnTo>
                  <a:lnTo>
                    <a:pt x="1010" y="1114"/>
                  </a:lnTo>
                  <a:lnTo>
                    <a:pt x="1010" y="1114"/>
                  </a:lnTo>
                  <a:lnTo>
                    <a:pt x="1010" y="1114"/>
                  </a:lnTo>
                  <a:lnTo>
                    <a:pt x="1014" y="1116"/>
                  </a:lnTo>
                  <a:lnTo>
                    <a:pt x="1016" y="1118"/>
                  </a:lnTo>
                  <a:lnTo>
                    <a:pt x="1018" y="1120"/>
                  </a:lnTo>
                  <a:lnTo>
                    <a:pt x="1020" y="1124"/>
                  </a:lnTo>
                  <a:lnTo>
                    <a:pt x="1022" y="1126"/>
                  </a:lnTo>
                  <a:lnTo>
                    <a:pt x="1024" y="1130"/>
                  </a:lnTo>
                  <a:lnTo>
                    <a:pt x="1026" y="1132"/>
                  </a:lnTo>
                  <a:lnTo>
                    <a:pt x="1032" y="1136"/>
                  </a:lnTo>
                  <a:lnTo>
                    <a:pt x="1036" y="1140"/>
                  </a:lnTo>
                  <a:lnTo>
                    <a:pt x="1036" y="1140"/>
                  </a:lnTo>
                  <a:lnTo>
                    <a:pt x="1036" y="1142"/>
                  </a:lnTo>
                  <a:lnTo>
                    <a:pt x="1036" y="1144"/>
                  </a:lnTo>
                  <a:lnTo>
                    <a:pt x="1036" y="1144"/>
                  </a:lnTo>
                  <a:lnTo>
                    <a:pt x="1036" y="1144"/>
                  </a:lnTo>
                  <a:lnTo>
                    <a:pt x="1036" y="1144"/>
                  </a:lnTo>
                  <a:lnTo>
                    <a:pt x="1036" y="1146"/>
                  </a:lnTo>
                  <a:lnTo>
                    <a:pt x="1036" y="1146"/>
                  </a:lnTo>
                  <a:lnTo>
                    <a:pt x="1036" y="1148"/>
                  </a:lnTo>
                  <a:lnTo>
                    <a:pt x="1038" y="1148"/>
                  </a:lnTo>
                  <a:lnTo>
                    <a:pt x="1038" y="1148"/>
                  </a:lnTo>
                  <a:lnTo>
                    <a:pt x="1038" y="1150"/>
                  </a:lnTo>
                  <a:lnTo>
                    <a:pt x="1040" y="1150"/>
                  </a:lnTo>
                  <a:lnTo>
                    <a:pt x="1042" y="1150"/>
                  </a:lnTo>
                  <a:lnTo>
                    <a:pt x="1042" y="1150"/>
                  </a:lnTo>
                  <a:lnTo>
                    <a:pt x="1046" y="1152"/>
                  </a:lnTo>
                  <a:lnTo>
                    <a:pt x="1052" y="1154"/>
                  </a:lnTo>
                  <a:lnTo>
                    <a:pt x="1056" y="1156"/>
                  </a:lnTo>
                  <a:lnTo>
                    <a:pt x="1060" y="1158"/>
                  </a:lnTo>
                  <a:lnTo>
                    <a:pt x="1060" y="1160"/>
                  </a:lnTo>
                  <a:lnTo>
                    <a:pt x="1062" y="1160"/>
                  </a:lnTo>
                  <a:lnTo>
                    <a:pt x="1062" y="1160"/>
                  </a:lnTo>
                  <a:lnTo>
                    <a:pt x="1062" y="1162"/>
                  </a:lnTo>
                  <a:lnTo>
                    <a:pt x="1066" y="1162"/>
                  </a:lnTo>
                  <a:lnTo>
                    <a:pt x="1066" y="1162"/>
                  </a:lnTo>
                  <a:lnTo>
                    <a:pt x="1066" y="1164"/>
                  </a:lnTo>
                  <a:lnTo>
                    <a:pt x="1068" y="1164"/>
                  </a:lnTo>
                  <a:lnTo>
                    <a:pt x="1068" y="1164"/>
                  </a:lnTo>
                  <a:lnTo>
                    <a:pt x="1070" y="1164"/>
                  </a:lnTo>
                  <a:lnTo>
                    <a:pt x="1070" y="1166"/>
                  </a:lnTo>
                  <a:lnTo>
                    <a:pt x="1072" y="1166"/>
                  </a:lnTo>
                  <a:lnTo>
                    <a:pt x="1072" y="1166"/>
                  </a:lnTo>
                  <a:lnTo>
                    <a:pt x="1074" y="1168"/>
                  </a:lnTo>
                  <a:lnTo>
                    <a:pt x="1076" y="1170"/>
                  </a:lnTo>
                  <a:lnTo>
                    <a:pt x="1076" y="1170"/>
                  </a:lnTo>
                  <a:lnTo>
                    <a:pt x="1076" y="1170"/>
                  </a:lnTo>
                  <a:lnTo>
                    <a:pt x="1076" y="1172"/>
                  </a:lnTo>
                  <a:lnTo>
                    <a:pt x="1076" y="1172"/>
                  </a:lnTo>
                  <a:lnTo>
                    <a:pt x="1078" y="1172"/>
                  </a:lnTo>
                  <a:lnTo>
                    <a:pt x="1078" y="1172"/>
                  </a:lnTo>
                  <a:lnTo>
                    <a:pt x="1078" y="1172"/>
                  </a:lnTo>
                  <a:lnTo>
                    <a:pt x="1080" y="1172"/>
                  </a:lnTo>
                  <a:lnTo>
                    <a:pt x="1080" y="1174"/>
                  </a:lnTo>
                  <a:lnTo>
                    <a:pt x="1084" y="1174"/>
                  </a:lnTo>
                  <a:lnTo>
                    <a:pt x="1086" y="1174"/>
                  </a:lnTo>
                  <a:lnTo>
                    <a:pt x="1086" y="1174"/>
                  </a:lnTo>
                  <a:lnTo>
                    <a:pt x="1088" y="1176"/>
                  </a:lnTo>
                  <a:lnTo>
                    <a:pt x="1088" y="1176"/>
                  </a:lnTo>
                  <a:lnTo>
                    <a:pt x="1088" y="1176"/>
                  </a:lnTo>
                  <a:lnTo>
                    <a:pt x="1090" y="1176"/>
                  </a:lnTo>
                  <a:lnTo>
                    <a:pt x="1090" y="1176"/>
                  </a:lnTo>
                  <a:lnTo>
                    <a:pt x="1090" y="1176"/>
                  </a:lnTo>
                  <a:lnTo>
                    <a:pt x="1092" y="1176"/>
                  </a:lnTo>
                  <a:lnTo>
                    <a:pt x="1096" y="1176"/>
                  </a:lnTo>
                  <a:lnTo>
                    <a:pt x="1100" y="1178"/>
                  </a:lnTo>
                  <a:lnTo>
                    <a:pt x="1102" y="1178"/>
                  </a:lnTo>
                  <a:lnTo>
                    <a:pt x="1104" y="1178"/>
                  </a:lnTo>
                  <a:lnTo>
                    <a:pt x="1106" y="1178"/>
                  </a:lnTo>
                  <a:lnTo>
                    <a:pt x="1108" y="1178"/>
                  </a:lnTo>
                  <a:lnTo>
                    <a:pt x="1108" y="1178"/>
                  </a:lnTo>
                  <a:lnTo>
                    <a:pt x="1108" y="1178"/>
                  </a:lnTo>
                  <a:lnTo>
                    <a:pt x="1108" y="1178"/>
                  </a:lnTo>
                  <a:lnTo>
                    <a:pt x="1110" y="1178"/>
                  </a:lnTo>
                  <a:lnTo>
                    <a:pt x="1110" y="1178"/>
                  </a:lnTo>
                  <a:lnTo>
                    <a:pt x="1112" y="1178"/>
                  </a:lnTo>
                  <a:lnTo>
                    <a:pt x="1112" y="1178"/>
                  </a:lnTo>
                  <a:lnTo>
                    <a:pt x="1112" y="1174"/>
                  </a:lnTo>
                  <a:lnTo>
                    <a:pt x="1112" y="1174"/>
                  </a:lnTo>
                  <a:lnTo>
                    <a:pt x="1112" y="1174"/>
                  </a:lnTo>
                  <a:lnTo>
                    <a:pt x="1110" y="1174"/>
                  </a:lnTo>
                  <a:lnTo>
                    <a:pt x="1110" y="1172"/>
                  </a:lnTo>
                  <a:lnTo>
                    <a:pt x="1108" y="1170"/>
                  </a:lnTo>
                  <a:lnTo>
                    <a:pt x="1106" y="1168"/>
                  </a:lnTo>
                  <a:lnTo>
                    <a:pt x="1102" y="1164"/>
                  </a:lnTo>
                  <a:lnTo>
                    <a:pt x="1098" y="1160"/>
                  </a:lnTo>
                  <a:lnTo>
                    <a:pt x="1094" y="1158"/>
                  </a:lnTo>
                  <a:lnTo>
                    <a:pt x="1088" y="1154"/>
                  </a:lnTo>
                  <a:lnTo>
                    <a:pt x="1088" y="1154"/>
                  </a:lnTo>
                  <a:lnTo>
                    <a:pt x="1086" y="1152"/>
                  </a:lnTo>
                  <a:lnTo>
                    <a:pt x="1086" y="1148"/>
                  </a:lnTo>
                  <a:lnTo>
                    <a:pt x="1084" y="1148"/>
                  </a:lnTo>
                  <a:lnTo>
                    <a:pt x="1084" y="1146"/>
                  </a:lnTo>
                  <a:lnTo>
                    <a:pt x="1082" y="1144"/>
                  </a:lnTo>
                  <a:lnTo>
                    <a:pt x="1080" y="1142"/>
                  </a:lnTo>
                  <a:lnTo>
                    <a:pt x="1078" y="1140"/>
                  </a:lnTo>
                  <a:lnTo>
                    <a:pt x="1076" y="1136"/>
                  </a:lnTo>
                  <a:lnTo>
                    <a:pt x="1076" y="1134"/>
                  </a:lnTo>
                  <a:lnTo>
                    <a:pt x="1076" y="1134"/>
                  </a:lnTo>
                  <a:lnTo>
                    <a:pt x="1076" y="1134"/>
                  </a:lnTo>
                  <a:lnTo>
                    <a:pt x="1076" y="1134"/>
                  </a:lnTo>
                  <a:lnTo>
                    <a:pt x="1076" y="1134"/>
                  </a:lnTo>
                  <a:lnTo>
                    <a:pt x="1078" y="1134"/>
                  </a:lnTo>
                  <a:lnTo>
                    <a:pt x="1078" y="1134"/>
                  </a:lnTo>
                  <a:lnTo>
                    <a:pt x="1082" y="1134"/>
                  </a:lnTo>
                  <a:lnTo>
                    <a:pt x="1086" y="1134"/>
                  </a:lnTo>
                  <a:lnTo>
                    <a:pt x="1092" y="1136"/>
                  </a:lnTo>
                  <a:lnTo>
                    <a:pt x="1094" y="1136"/>
                  </a:lnTo>
                  <a:lnTo>
                    <a:pt x="1096" y="1138"/>
                  </a:lnTo>
                  <a:lnTo>
                    <a:pt x="1100" y="1142"/>
                  </a:lnTo>
                  <a:lnTo>
                    <a:pt x="1102" y="1144"/>
                  </a:lnTo>
                  <a:lnTo>
                    <a:pt x="1104" y="1146"/>
                  </a:lnTo>
                  <a:lnTo>
                    <a:pt x="1104" y="1146"/>
                  </a:lnTo>
                  <a:lnTo>
                    <a:pt x="1104" y="1148"/>
                  </a:lnTo>
                  <a:lnTo>
                    <a:pt x="1106" y="1148"/>
                  </a:lnTo>
                  <a:lnTo>
                    <a:pt x="1106" y="1148"/>
                  </a:lnTo>
                  <a:lnTo>
                    <a:pt x="1106" y="1150"/>
                  </a:lnTo>
                  <a:lnTo>
                    <a:pt x="1108" y="1150"/>
                  </a:lnTo>
                  <a:lnTo>
                    <a:pt x="1108" y="1150"/>
                  </a:lnTo>
                  <a:lnTo>
                    <a:pt x="1108" y="1152"/>
                  </a:lnTo>
                  <a:lnTo>
                    <a:pt x="1110" y="1152"/>
                  </a:lnTo>
                  <a:lnTo>
                    <a:pt x="1110" y="1152"/>
                  </a:lnTo>
                  <a:lnTo>
                    <a:pt x="1112" y="1152"/>
                  </a:lnTo>
                  <a:lnTo>
                    <a:pt x="1114" y="1152"/>
                  </a:lnTo>
                  <a:lnTo>
                    <a:pt x="1114" y="1152"/>
                  </a:lnTo>
                  <a:lnTo>
                    <a:pt x="1114" y="1152"/>
                  </a:lnTo>
                  <a:lnTo>
                    <a:pt x="1116" y="1152"/>
                  </a:lnTo>
                  <a:lnTo>
                    <a:pt x="1116" y="1152"/>
                  </a:lnTo>
                  <a:lnTo>
                    <a:pt x="1118" y="1152"/>
                  </a:lnTo>
                  <a:lnTo>
                    <a:pt x="1120" y="1150"/>
                  </a:lnTo>
                  <a:lnTo>
                    <a:pt x="1120" y="1150"/>
                  </a:lnTo>
                  <a:lnTo>
                    <a:pt x="1120" y="1150"/>
                  </a:lnTo>
                  <a:lnTo>
                    <a:pt x="1122" y="1148"/>
                  </a:lnTo>
                  <a:lnTo>
                    <a:pt x="1122" y="1148"/>
                  </a:lnTo>
                  <a:lnTo>
                    <a:pt x="1122" y="1148"/>
                  </a:lnTo>
                  <a:lnTo>
                    <a:pt x="1124" y="1146"/>
                  </a:lnTo>
                  <a:lnTo>
                    <a:pt x="1124" y="1146"/>
                  </a:lnTo>
                  <a:lnTo>
                    <a:pt x="1124" y="1144"/>
                  </a:lnTo>
                  <a:lnTo>
                    <a:pt x="1126" y="1142"/>
                  </a:lnTo>
                  <a:lnTo>
                    <a:pt x="1126" y="1138"/>
                  </a:lnTo>
                  <a:lnTo>
                    <a:pt x="1128" y="1136"/>
                  </a:lnTo>
                  <a:lnTo>
                    <a:pt x="1128" y="1132"/>
                  </a:lnTo>
                  <a:lnTo>
                    <a:pt x="1128" y="1128"/>
                  </a:lnTo>
                  <a:lnTo>
                    <a:pt x="1128" y="1128"/>
                  </a:lnTo>
                  <a:lnTo>
                    <a:pt x="1128" y="1128"/>
                  </a:lnTo>
                  <a:lnTo>
                    <a:pt x="1128" y="1124"/>
                  </a:lnTo>
                  <a:lnTo>
                    <a:pt x="1128" y="1124"/>
                  </a:lnTo>
                  <a:lnTo>
                    <a:pt x="1128" y="1124"/>
                  </a:lnTo>
                  <a:lnTo>
                    <a:pt x="1128" y="1120"/>
                  </a:lnTo>
                  <a:lnTo>
                    <a:pt x="1128" y="1120"/>
                  </a:lnTo>
                  <a:lnTo>
                    <a:pt x="1128" y="1120"/>
                  </a:lnTo>
                  <a:lnTo>
                    <a:pt x="1126" y="1116"/>
                  </a:lnTo>
                  <a:lnTo>
                    <a:pt x="1124" y="1114"/>
                  </a:lnTo>
                  <a:lnTo>
                    <a:pt x="1122" y="1112"/>
                  </a:lnTo>
                  <a:lnTo>
                    <a:pt x="1116" y="1108"/>
                  </a:lnTo>
                  <a:lnTo>
                    <a:pt x="1114" y="1106"/>
                  </a:lnTo>
                  <a:lnTo>
                    <a:pt x="1112" y="1104"/>
                  </a:lnTo>
                  <a:lnTo>
                    <a:pt x="1112" y="1104"/>
                  </a:lnTo>
                  <a:lnTo>
                    <a:pt x="1110" y="1100"/>
                  </a:lnTo>
                  <a:lnTo>
                    <a:pt x="1110" y="1098"/>
                  </a:lnTo>
                  <a:lnTo>
                    <a:pt x="1106" y="1094"/>
                  </a:lnTo>
                  <a:lnTo>
                    <a:pt x="1104" y="1090"/>
                  </a:lnTo>
                  <a:lnTo>
                    <a:pt x="1104" y="1088"/>
                  </a:lnTo>
                  <a:lnTo>
                    <a:pt x="1104" y="1084"/>
                  </a:lnTo>
                  <a:lnTo>
                    <a:pt x="1102" y="1080"/>
                  </a:lnTo>
                  <a:lnTo>
                    <a:pt x="1102" y="1078"/>
                  </a:lnTo>
                  <a:lnTo>
                    <a:pt x="1102" y="1078"/>
                  </a:lnTo>
                  <a:lnTo>
                    <a:pt x="1102" y="1078"/>
                  </a:lnTo>
                  <a:lnTo>
                    <a:pt x="1100" y="1074"/>
                  </a:lnTo>
                  <a:lnTo>
                    <a:pt x="1098" y="1072"/>
                  </a:lnTo>
                  <a:lnTo>
                    <a:pt x="1098" y="1072"/>
                  </a:lnTo>
                  <a:lnTo>
                    <a:pt x="1096" y="1072"/>
                  </a:lnTo>
                  <a:lnTo>
                    <a:pt x="1094" y="1070"/>
                  </a:lnTo>
                  <a:lnTo>
                    <a:pt x="1092" y="1068"/>
                  </a:lnTo>
                  <a:lnTo>
                    <a:pt x="1090" y="1066"/>
                  </a:lnTo>
                  <a:lnTo>
                    <a:pt x="1086" y="1062"/>
                  </a:lnTo>
                  <a:lnTo>
                    <a:pt x="1084" y="1060"/>
                  </a:lnTo>
                  <a:lnTo>
                    <a:pt x="1084" y="1058"/>
                  </a:lnTo>
                  <a:lnTo>
                    <a:pt x="1082" y="1054"/>
                  </a:lnTo>
                  <a:lnTo>
                    <a:pt x="1084" y="1052"/>
                  </a:lnTo>
                  <a:lnTo>
                    <a:pt x="1084" y="1048"/>
                  </a:lnTo>
                  <a:lnTo>
                    <a:pt x="1084" y="1048"/>
                  </a:lnTo>
                  <a:lnTo>
                    <a:pt x="1086" y="1046"/>
                  </a:lnTo>
                  <a:lnTo>
                    <a:pt x="1086" y="1046"/>
                  </a:lnTo>
                  <a:lnTo>
                    <a:pt x="1086" y="1044"/>
                  </a:lnTo>
                  <a:lnTo>
                    <a:pt x="1086" y="1042"/>
                  </a:lnTo>
                  <a:lnTo>
                    <a:pt x="1088" y="1038"/>
                  </a:lnTo>
                  <a:lnTo>
                    <a:pt x="1088" y="1034"/>
                  </a:lnTo>
                  <a:lnTo>
                    <a:pt x="1088" y="1032"/>
                  </a:lnTo>
                  <a:lnTo>
                    <a:pt x="1088" y="1032"/>
                  </a:lnTo>
                  <a:lnTo>
                    <a:pt x="1090" y="1032"/>
                  </a:lnTo>
                  <a:lnTo>
                    <a:pt x="1092" y="1030"/>
                  </a:lnTo>
                  <a:lnTo>
                    <a:pt x="1096" y="1032"/>
                  </a:lnTo>
                  <a:lnTo>
                    <a:pt x="1098" y="1032"/>
                  </a:lnTo>
                  <a:lnTo>
                    <a:pt x="1100" y="1032"/>
                  </a:lnTo>
                  <a:lnTo>
                    <a:pt x="1102" y="1034"/>
                  </a:lnTo>
                  <a:lnTo>
                    <a:pt x="1104" y="1036"/>
                  </a:lnTo>
                  <a:lnTo>
                    <a:pt x="1106" y="1038"/>
                  </a:lnTo>
                  <a:lnTo>
                    <a:pt x="1106" y="1038"/>
                  </a:lnTo>
                  <a:lnTo>
                    <a:pt x="1106" y="1040"/>
                  </a:lnTo>
                  <a:lnTo>
                    <a:pt x="1108" y="1040"/>
                  </a:lnTo>
                  <a:lnTo>
                    <a:pt x="1112" y="1042"/>
                  </a:lnTo>
                  <a:lnTo>
                    <a:pt x="1114" y="1042"/>
                  </a:lnTo>
                  <a:lnTo>
                    <a:pt x="1116" y="1044"/>
                  </a:lnTo>
                  <a:lnTo>
                    <a:pt x="1118" y="1046"/>
                  </a:lnTo>
                  <a:lnTo>
                    <a:pt x="1120" y="1048"/>
                  </a:lnTo>
                  <a:lnTo>
                    <a:pt x="1122" y="1052"/>
                  </a:lnTo>
                  <a:lnTo>
                    <a:pt x="1122" y="1052"/>
                  </a:lnTo>
                  <a:lnTo>
                    <a:pt x="1122" y="1052"/>
                  </a:lnTo>
                  <a:lnTo>
                    <a:pt x="1126" y="1056"/>
                  </a:lnTo>
                  <a:lnTo>
                    <a:pt x="1126" y="1056"/>
                  </a:lnTo>
                  <a:lnTo>
                    <a:pt x="1126" y="1056"/>
                  </a:lnTo>
                  <a:lnTo>
                    <a:pt x="1128" y="1058"/>
                  </a:lnTo>
                  <a:lnTo>
                    <a:pt x="1132" y="1060"/>
                  </a:lnTo>
                  <a:lnTo>
                    <a:pt x="1136" y="1064"/>
                  </a:lnTo>
                  <a:lnTo>
                    <a:pt x="1138" y="1064"/>
                  </a:lnTo>
                  <a:lnTo>
                    <a:pt x="1140" y="1066"/>
                  </a:lnTo>
                  <a:lnTo>
                    <a:pt x="1142" y="1068"/>
                  </a:lnTo>
                  <a:lnTo>
                    <a:pt x="1144" y="1072"/>
                  </a:lnTo>
                  <a:lnTo>
                    <a:pt x="1144" y="1072"/>
                  </a:lnTo>
                  <a:lnTo>
                    <a:pt x="1146" y="1074"/>
                  </a:lnTo>
                  <a:lnTo>
                    <a:pt x="1146" y="1074"/>
                  </a:lnTo>
                  <a:lnTo>
                    <a:pt x="1148" y="1072"/>
                  </a:lnTo>
                  <a:lnTo>
                    <a:pt x="1150" y="1068"/>
                  </a:lnTo>
                  <a:lnTo>
                    <a:pt x="1154" y="1066"/>
                  </a:lnTo>
                  <a:lnTo>
                    <a:pt x="1158" y="1058"/>
                  </a:lnTo>
                  <a:lnTo>
                    <a:pt x="1158" y="1058"/>
                  </a:lnTo>
                  <a:lnTo>
                    <a:pt x="1158" y="1056"/>
                  </a:lnTo>
                  <a:lnTo>
                    <a:pt x="1158" y="1050"/>
                  </a:lnTo>
                  <a:lnTo>
                    <a:pt x="1158" y="1042"/>
                  </a:lnTo>
                  <a:lnTo>
                    <a:pt x="1158" y="1034"/>
                  </a:lnTo>
                  <a:lnTo>
                    <a:pt x="1156" y="1028"/>
                  </a:lnTo>
                  <a:lnTo>
                    <a:pt x="1156" y="1028"/>
                  </a:lnTo>
                  <a:lnTo>
                    <a:pt x="1156" y="1026"/>
                  </a:lnTo>
                  <a:lnTo>
                    <a:pt x="1154" y="1020"/>
                  </a:lnTo>
                  <a:lnTo>
                    <a:pt x="1154" y="1020"/>
                  </a:lnTo>
                  <a:lnTo>
                    <a:pt x="1154" y="1020"/>
                  </a:lnTo>
                  <a:lnTo>
                    <a:pt x="1152" y="1016"/>
                  </a:lnTo>
                  <a:lnTo>
                    <a:pt x="1150" y="1014"/>
                  </a:lnTo>
                  <a:lnTo>
                    <a:pt x="1150" y="1014"/>
                  </a:lnTo>
                  <a:lnTo>
                    <a:pt x="1148" y="1014"/>
                  </a:lnTo>
                  <a:lnTo>
                    <a:pt x="1146" y="1012"/>
                  </a:lnTo>
                  <a:lnTo>
                    <a:pt x="1146" y="1012"/>
                  </a:lnTo>
                  <a:lnTo>
                    <a:pt x="1146" y="1010"/>
                  </a:lnTo>
                  <a:lnTo>
                    <a:pt x="1144" y="1008"/>
                  </a:lnTo>
                  <a:lnTo>
                    <a:pt x="1144" y="1008"/>
                  </a:lnTo>
                  <a:lnTo>
                    <a:pt x="1142" y="1008"/>
                  </a:lnTo>
                  <a:lnTo>
                    <a:pt x="1140" y="1008"/>
                  </a:lnTo>
                  <a:lnTo>
                    <a:pt x="1140" y="1008"/>
                  </a:lnTo>
                  <a:lnTo>
                    <a:pt x="1140" y="1006"/>
                  </a:lnTo>
                  <a:lnTo>
                    <a:pt x="1136" y="1006"/>
                  </a:lnTo>
                  <a:lnTo>
                    <a:pt x="1136" y="1006"/>
                  </a:lnTo>
                  <a:lnTo>
                    <a:pt x="1134" y="1002"/>
                  </a:lnTo>
                  <a:lnTo>
                    <a:pt x="1132" y="1000"/>
                  </a:lnTo>
                  <a:lnTo>
                    <a:pt x="1132" y="998"/>
                  </a:lnTo>
                  <a:lnTo>
                    <a:pt x="1130" y="998"/>
                  </a:lnTo>
                  <a:lnTo>
                    <a:pt x="1130" y="998"/>
                  </a:lnTo>
                  <a:lnTo>
                    <a:pt x="1130" y="998"/>
                  </a:lnTo>
                  <a:lnTo>
                    <a:pt x="1128" y="996"/>
                  </a:lnTo>
                  <a:lnTo>
                    <a:pt x="1128" y="996"/>
                  </a:lnTo>
                  <a:lnTo>
                    <a:pt x="1124" y="994"/>
                  </a:lnTo>
                  <a:lnTo>
                    <a:pt x="1122" y="994"/>
                  </a:lnTo>
                  <a:lnTo>
                    <a:pt x="1120" y="992"/>
                  </a:lnTo>
                  <a:lnTo>
                    <a:pt x="1120" y="992"/>
                  </a:lnTo>
                  <a:lnTo>
                    <a:pt x="1114" y="984"/>
                  </a:lnTo>
                  <a:lnTo>
                    <a:pt x="1106" y="976"/>
                  </a:lnTo>
                  <a:lnTo>
                    <a:pt x="1098" y="966"/>
                  </a:lnTo>
                  <a:lnTo>
                    <a:pt x="1094" y="964"/>
                  </a:lnTo>
                  <a:lnTo>
                    <a:pt x="1090" y="960"/>
                  </a:lnTo>
                  <a:lnTo>
                    <a:pt x="1086" y="956"/>
                  </a:lnTo>
                  <a:lnTo>
                    <a:pt x="1082" y="954"/>
                  </a:lnTo>
                  <a:lnTo>
                    <a:pt x="1074" y="948"/>
                  </a:lnTo>
                  <a:lnTo>
                    <a:pt x="1070" y="944"/>
                  </a:lnTo>
                  <a:lnTo>
                    <a:pt x="1068" y="942"/>
                  </a:lnTo>
                  <a:lnTo>
                    <a:pt x="1064" y="938"/>
                  </a:lnTo>
                  <a:lnTo>
                    <a:pt x="1062" y="934"/>
                  </a:lnTo>
                  <a:lnTo>
                    <a:pt x="1064" y="934"/>
                  </a:lnTo>
                  <a:lnTo>
                    <a:pt x="1064" y="934"/>
                  </a:lnTo>
                  <a:lnTo>
                    <a:pt x="1064" y="934"/>
                  </a:lnTo>
                  <a:lnTo>
                    <a:pt x="1064" y="932"/>
                  </a:lnTo>
                  <a:lnTo>
                    <a:pt x="1064" y="932"/>
                  </a:lnTo>
                  <a:lnTo>
                    <a:pt x="1064" y="930"/>
                  </a:lnTo>
                  <a:lnTo>
                    <a:pt x="1064" y="928"/>
                  </a:lnTo>
                  <a:lnTo>
                    <a:pt x="1064" y="928"/>
                  </a:lnTo>
                  <a:lnTo>
                    <a:pt x="1064" y="928"/>
                  </a:lnTo>
                  <a:lnTo>
                    <a:pt x="1064" y="926"/>
                  </a:lnTo>
                  <a:lnTo>
                    <a:pt x="1064" y="926"/>
                  </a:lnTo>
                  <a:lnTo>
                    <a:pt x="1062" y="926"/>
                  </a:lnTo>
                  <a:lnTo>
                    <a:pt x="1062" y="924"/>
                  </a:lnTo>
                  <a:lnTo>
                    <a:pt x="1062" y="924"/>
                  </a:lnTo>
                  <a:lnTo>
                    <a:pt x="1062" y="924"/>
                  </a:lnTo>
                  <a:lnTo>
                    <a:pt x="1060" y="922"/>
                  </a:lnTo>
                  <a:lnTo>
                    <a:pt x="1060" y="922"/>
                  </a:lnTo>
                  <a:lnTo>
                    <a:pt x="1060" y="922"/>
                  </a:lnTo>
                  <a:lnTo>
                    <a:pt x="1058" y="920"/>
                  </a:lnTo>
                  <a:lnTo>
                    <a:pt x="1056" y="920"/>
                  </a:lnTo>
                  <a:lnTo>
                    <a:pt x="1054" y="916"/>
                  </a:lnTo>
                  <a:lnTo>
                    <a:pt x="1052" y="914"/>
                  </a:lnTo>
                  <a:lnTo>
                    <a:pt x="1052" y="910"/>
                  </a:lnTo>
                  <a:lnTo>
                    <a:pt x="1052" y="908"/>
                  </a:lnTo>
                  <a:lnTo>
                    <a:pt x="1052" y="906"/>
                  </a:lnTo>
                  <a:lnTo>
                    <a:pt x="1052" y="902"/>
                  </a:lnTo>
                  <a:lnTo>
                    <a:pt x="1054" y="900"/>
                  </a:lnTo>
                  <a:lnTo>
                    <a:pt x="1054" y="898"/>
                  </a:lnTo>
                  <a:lnTo>
                    <a:pt x="1058" y="892"/>
                  </a:lnTo>
                  <a:lnTo>
                    <a:pt x="1062" y="886"/>
                  </a:lnTo>
                  <a:lnTo>
                    <a:pt x="1066" y="880"/>
                  </a:lnTo>
                  <a:lnTo>
                    <a:pt x="1070" y="874"/>
                  </a:lnTo>
                  <a:lnTo>
                    <a:pt x="1070" y="874"/>
                  </a:lnTo>
                  <a:lnTo>
                    <a:pt x="1070" y="872"/>
                  </a:lnTo>
                  <a:lnTo>
                    <a:pt x="1068" y="870"/>
                  </a:lnTo>
                  <a:lnTo>
                    <a:pt x="1068" y="870"/>
                  </a:lnTo>
                  <a:lnTo>
                    <a:pt x="1068" y="868"/>
                  </a:lnTo>
                  <a:lnTo>
                    <a:pt x="1066" y="866"/>
                  </a:lnTo>
                  <a:lnTo>
                    <a:pt x="1066" y="866"/>
                  </a:lnTo>
                  <a:lnTo>
                    <a:pt x="1064" y="866"/>
                  </a:lnTo>
                  <a:lnTo>
                    <a:pt x="1062" y="866"/>
                  </a:lnTo>
                  <a:lnTo>
                    <a:pt x="1062" y="866"/>
                  </a:lnTo>
                  <a:lnTo>
                    <a:pt x="1062" y="866"/>
                  </a:lnTo>
                  <a:lnTo>
                    <a:pt x="1060" y="866"/>
                  </a:lnTo>
                  <a:lnTo>
                    <a:pt x="1060" y="866"/>
                  </a:lnTo>
                  <a:lnTo>
                    <a:pt x="1058" y="866"/>
                  </a:lnTo>
                  <a:lnTo>
                    <a:pt x="1056" y="866"/>
                  </a:lnTo>
                  <a:lnTo>
                    <a:pt x="1054" y="866"/>
                  </a:lnTo>
                  <a:lnTo>
                    <a:pt x="1046" y="868"/>
                  </a:lnTo>
                  <a:lnTo>
                    <a:pt x="1046" y="868"/>
                  </a:lnTo>
                  <a:lnTo>
                    <a:pt x="1046" y="870"/>
                  </a:lnTo>
                  <a:lnTo>
                    <a:pt x="1044" y="872"/>
                  </a:lnTo>
                  <a:lnTo>
                    <a:pt x="1044" y="872"/>
                  </a:lnTo>
                  <a:lnTo>
                    <a:pt x="1044" y="872"/>
                  </a:lnTo>
                  <a:lnTo>
                    <a:pt x="1042" y="874"/>
                  </a:lnTo>
                  <a:lnTo>
                    <a:pt x="1040" y="876"/>
                  </a:lnTo>
                  <a:lnTo>
                    <a:pt x="1038" y="878"/>
                  </a:lnTo>
                  <a:lnTo>
                    <a:pt x="1036" y="884"/>
                  </a:lnTo>
                  <a:lnTo>
                    <a:pt x="1034" y="886"/>
                  </a:lnTo>
                  <a:lnTo>
                    <a:pt x="1034" y="888"/>
                  </a:lnTo>
                  <a:lnTo>
                    <a:pt x="1034" y="888"/>
                  </a:lnTo>
                  <a:lnTo>
                    <a:pt x="1032" y="888"/>
                  </a:lnTo>
                  <a:lnTo>
                    <a:pt x="1032" y="888"/>
                  </a:lnTo>
                  <a:lnTo>
                    <a:pt x="1032" y="886"/>
                  </a:lnTo>
                  <a:lnTo>
                    <a:pt x="1030" y="884"/>
                  </a:lnTo>
                  <a:lnTo>
                    <a:pt x="1030" y="880"/>
                  </a:lnTo>
                  <a:lnTo>
                    <a:pt x="1028" y="876"/>
                  </a:lnTo>
                  <a:lnTo>
                    <a:pt x="1026" y="874"/>
                  </a:lnTo>
                  <a:lnTo>
                    <a:pt x="1026" y="872"/>
                  </a:lnTo>
                  <a:lnTo>
                    <a:pt x="1026" y="870"/>
                  </a:lnTo>
                  <a:lnTo>
                    <a:pt x="1026" y="866"/>
                  </a:lnTo>
                  <a:lnTo>
                    <a:pt x="1026" y="864"/>
                  </a:lnTo>
                  <a:lnTo>
                    <a:pt x="1026" y="862"/>
                  </a:lnTo>
                  <a:lnTo>
                    <a:pt x="1026" y="860"/>
                  </a:lnTo>
                  <a:lnTo>
                    <a:pt x="1028" y="858"/>
                  </a:lnTo>
                  <a:lnTo>
                    <a:pt x="1028" y="858"/>
                  </a:lnTo>
                  <a:lnTo>
                    <a:pt x="1030" y="856"/>
                  </a:lnTo>
                  <a:lnTo>
                    <a:pt x="1030" y="856"/>
                  </a:lnTo>
                  <a:lnTo>
                    <a:pt x="1032" y="856"/>
                  </a:lnTo>
                  <a:lnTo>
                    <a:pt x="1034" y="852"/>
                  </a:lnTo>
                  <a:lnTo>
                    <a:pt x="1034" y="852"/>
                  </a:lnTo>
                  <a:lnTo>
                    <a:pt x="1034" y="852"/>
                  </a:lnTo>
                  <a:lnTo>
                    <a:pt x="1036" y="848"/>
                  </a:lnTo>
                  <a:lnTo>
                    <a:pt x="1036" y="848"/>
                  </a:lnTo>
                  <a:lnTo>
                    <a:pt x="1036" y="848"/>
                  </a:lnTo>
                  <a:lnTo>
                    <a:pt x="1038" y="844"/>
                  </a:lnTo>
                  <a:lnTo>
                    <a:pt x="1038" y="840"/>
                  </a:lnTo>
                  <a:lnTo>
                    <a:pt x="1038" y="840"/>
                  </a:lnTo>
                  <a:lnTo>
                    <a:pt x="1038" y="838"/>
                  </a:lnTo>
                  <a:lnTo>
                    <a:pt x="1036" y="836"/>
                  </a:lnTo>
                  <a:lnTo>
                    <a:pt x="1036" y="834"/>
                  </a:lnTo>
                  <a:lnTo>
                    <a:pt x="1034" y="832"/>
                  </a:lnTo>
                  <a:lnTo>
                    <a:pt x="1034" y="830"/>
                  </a:lnTo>
                  <a:lnTo>
                    <a:pt x="1034" y="830"/>
                  </a:lnTo>
                  <a:lnTo>
                    <a:pt x="1032" y="830"/>
                  </a:lnTo>
                  <a:lnTo>
                    <a:pt x="1032" y="830"/>
                  </a:lnTo>
                  <a:lnTo>
                    <a:pt x="1032" y="830"/>
                  </a:lnTo>
                  <a:lnTo>
                    <a:pt x="1030" y="828"/>
                  </a:lnTo>
                  <a:lnTo>
                    <a:pt x="1030" y="828"/>
                  </a:lnTo>
                  <a:lnTo>
                    <a:pt x="1030" y="828"/>
                  </a:lnTo>
                  <a:lnTo>
                    <a:pt x="1028" y="828"/>
                  </a:lnTo>
                  <a:lnTo>
                    <a:pt x="1026" y="828"/>
                  </a:lnTo>
                  <a:lnTo>
                    <a:pt x="1026" y="828"/>
                  </a:lnTo>
                  <a:lnTo>
                    <a:pt x="1026" y="828"/>
                  </a:lnTo>
                  <a:lnTo>
                    <a:pt x="1022" y="830"/>
                  </a:lnTo>
                  <a:lnTo>
                    <a:pt x="1022" y="830"/>
                  </a:lnTo>
                  <a:lnTo>
                    <a:pt x="1022" y="830"/>
                  </a:lnTo>
                  <a:lnTo>
                    <a:pt x="1020" y="832"/>
                  </a:lnTo>
                  <a:lnTo>
                    <a:pt x="1016" y="834"/>
                  </a:lnTo>
                  <a:lnTo>
                    <a:pt x="1012" y="840"/>
                  </a:lnTo>
                  <a:lnTo>
                    <a:pt x="1008" y="844"/>
                  </a:lnTo>
                  <a:lnTo>
                    <a:pt x="1006" y="846"/>
                  </a:lnTo>
                  <a:lnTo>
                    <a:pt x="1004" y="848"/>
                  </a:lnTo>
                  <a:lnTo>
                    <a:pt x="1004" y="848"/>
                  </a:lnTo>
                  <a:lnTo>
                    <a:pt x="1002" y="850"/>
                  </a:lnTo>
                  <a:lnTo>
                    <a:pt x="1002" y="852"/>
                  </a:lnTo>
                  <a:lnTo>
                    <a:pt x="1002" y="852"/>
                  </a:lnTo>
                  <a:lnTo>
                    <a:pt x="1002" y="852"/>
                  </a:lnTo>
                  <a:lnTo>
                    <a:pt x="1000" y="852"/>
                  </a:lnTo>
                  <a:lnTo>
                    <a:pt x="998" y="852"/>
                  </a:lnTo>
                  <a:lnTo>
                    <a:pt x="996" y="852"/>
                  </a:lnTo>
                  <a:lnTo>
                    <a:pt x="994" y="850"/>
                  </a:lnTo>
                  <a:lnTo>
                    <a:pt x="992" y="848"/>
                  </a:lnTo>
                  <a:lnTo>
                    <a:pt x="992" y="846"/>
                  </a:lnTo>
                  <a:lnTo>
                    <a:pt x="990" y="846"/>
                  </a:lnTo>
                  <a:lnTo>
                    <a:pt x="990" y="844"/>
                  </a:lnTo>
                  <a:lnTo>
                    <a:pt x="988" y="842"/>
                  </a:lnTo>
                  <a:lnTo>
                    <a:pt x="984" y="840"/>
                  </a:lnTo>
                  <a:lnTo>
                    <a:pt x="982" y="836"/>
                  </a:lnTo>
                  <a:lnTo>
                    <a:pt x="982" y="834"/>
                  </a:lnTo>
                  <a:lnTo>
                    <a:pt x="980" y="832"/>
                  </a:lnTo>
                  <a:lnTo>
                    <a:pt x="980" y="828"/>
                  </a:lnTo>
                  <a:lnTo>
                    <a:pt x="980" y="828"/>
                  </a:lnTo>
                  <a:lnTo>
                    <a:pt x="980" y="828"/>
                  </a:lnTo>
                  <a:lnTo>
                    <a:pt x="980" y="826"/>
                  </a:lnTo>
                  <a:lnTo>
                    <a:pt x="980" y="826"/>
                  </a:lnTo>
                  <a:lnTo>
                    <a:pt x="978" y="826"/>
                  </a:lnTo>
                  <a:lnTo>
                    <a:pt x="978" y="824"/>
                  </a:lnTo>
                  <a:lnTo>
                    <a:pt x="978" y="824"/>
                  </a:lnTo>
                  <a:lnTo>
                    <a:pt x="978" y="824"/>
                  </a:lnTo>
                  <a:lnTo>
                    <a:pt x="974" y="822"/>
                  </a:lnTo>
                  <a:lnTo>
                    <a:pt x="974" y="820"/>
                  </a:lnTo>
                  <a:lnTo>
                    <a:pt x="972" y="820"/>
                  </a:lnTo>
                  <a:lnTo>
                    <a:pt x="972" y="818"/>
                  </a:lnTo>
                  <a:lnTo>
                    <a:pt x="974" y="816"/>
                  </a:lnTo>
                  <a:lnTo>
                    <a:pt x="974" y="814"/>
                  </a:lnTo>
                  <a:lnTo>
                    <a:pt x="976" y="812"/>
                  </a:lnTo>
                  <a:lnTo>
                    <a:pt x="976" y="810"/>
                  </a:lnTo>
                  <a:lnTo>
                    <a:pt x="978" y="810"/>
                  </a:lnTo>
                  <a:lnTo>
                    <a:pt x="980" y="808"/>
                  </a:lnTo>
                  <a:lnTo>
                    <a:pt x="980" y="808"/>
                  </a:lnTo>
                  <a:lnTo>
                    <a:pt x="980" y="806"/>
                  </a:lnTo>
                  <a:lnTo>
                    <a:pt x="982" y="804"/>
                  </a:lnTo>
                  <a:lnTo>
                    <a:pt x="982" y="804"/>
                  </a:lnTo>
                  <a:lnTo>
                    <a:pt x="982" y="802"/>
                  </a:lnTo>
                  <a:lnTo>
                    <a:pt x="982" y="800"/>
                  </a:lnTo>
                  <a:lnTo>
                    <a:pt x="982" y="800"/>
                  </a:lnTo>
                  <a:lnTo>
                    <a:pt x="982" y="798"/>
                  </a:lnTo>
                  <a:lnTo>
                    <a:pt x="982" y="796"/>
                  </a:lnTo>
                  <a:lnTo>
                    <a:pt x="982" y="796"/>
                  </a:lnTo>
                  <a:lnTo>
                    <a:pt x="982" y="794"/>
                  </a:lnTo>
                  <a:lnTo>
                    <a:pt x="982" y="792"/>
                  </a:lnTo>
                  <a:lnTo>
                    <a:pt x="982" y="792"/>
                  </a:lnTo>
                  <a:lnTo>
                    <a:pt x="982" y="792"/>
                  </a:lnTo>
                  <a:lnTo>
                    <a:pt x="980" y="788"/>
                  </a:lnTo>
                  <a:lnTo>
                    <a:pt x="980" y="788"/>
                  </a:lnTo>
                  <a:lnTo>
                    <a:pt x="980" y="788"/>
                  </a:lnTo>
                  <a:lnTo>
                    <a:pt x="978" y="786"/>
                  </a:lnTo>
                  <a:lnTo>
                    <a:pt x="978" y="786"/>
                  </a:lnTo>
                  <a:lnTo>
                    <a:pt x="978" y="786"/>
                  </a:lnTo>
                  <a:lnTo>
                    <a:pt x="974" y="782"/>
                  </a:lnTo>
                  <a:lnTo>
                    <a:pt x="972" y="780"/>
                  </a:lnTo>
                  <a:lnTo>
                    <a:pt x="968" y="778"/>
                  </a:lnTo>
                  <a:lnTo>
                    <a:pt x="964" y="774"/>
                  </a:lnTo>
                  <a:lnTo>
                    <a:pt x="962" y="772"/>
                  </a:lnTo>
                  <a:lnTo>
                    <a:pt x="960" y="770"/>
                  </a:lnTo>
                  <a:lnTo>
                    <a:pt x="958" y="768"/>
                  </a:lnTo>
                  <a:lnTo>
                    <a:pt x="958" y="768"/>
                  </a:lnTo>
                  <a:lnTo>
                    <a:pt x="958" y="768"/>
                  </a:lnTo>
                  <a:lnTo>
                    <a:pt x="956" y="768"/>
                  </a:lnTo>
                  <a:lnTo>
                    <a:pt x="954" y="766"/>
                  </a:lnTo>
                  <a:lnTo>
                    <a:pt x="954" y="766"/>
                  </a:lnTo>
                  <a:lnTo>
                    <a:pt x="952" y="766"/>
                  </a:lnTo>
                  <a:lnTo>
                    <a:pt x="950" y="766"/>
                  </a:lnTo>
                  <a:lnTo>
                    <a:pt x="950" y="766"/>
                  </a:lnTo>
                  <a:lnTo>
                    <a:pt x="950" y="766"/>
                  </a:lnTo>
                  <a:lnTo>
                    <a:pt x="948" y="766"/>
                  </a:lnTo>
                  <a:lnTo>
                    <a:pt x="948" y="766"/>
                  </a:lnTo>
                  <a:lnTo>
                    <a:pt x="948" y="766"/>
                  </a:lnTo>
                  <a:lnTo>
                    <a:pt x="946" y="766"/>
                  </a:lnTo>
                  <a:lnTo>
                    <a:pt x="946" y="766"/>
                  </a:lnTo>
                  <a:lnTo>
                    <a:pt x="946" y="766"/>
                  </a:lnTo>
                  <a:lnTo>
                    <a:pt x="942" y="768"/>
                  </a:lnTo>
                  <a:lnTo>
                    <a:pt x="942" y="768"/>
                  </a:lnTo>
                  <a:lnTo>
                    <a:pt x="940" y="768"/>
                  </a:lnTo>
                  <a:lnTo>
                    <a:pt x="936" y="770"/>
                  </a:lnTo>
                  <a:lnTo>
                    <a:pt x="936" y="770"/>
                  </a:lnTo>
                  <a:lnTo>
                    <a:pt x="936" y="772"/>
                  </a:lnTo>
                  <a:lnTo>
                    <a:pt x="934" y="774"/>
                  </a:lnTo>
                  <a:lnTo>
                    <a:pt x="934" y="778"/>
                  </a:lnTo>
                  <a:lnTo>
                    <a:pt x="932" y="780"/>
                  </a:lnTo>
                  <a:lnTo>
                    <a:pt x="932" y="780"/>
                  </a:lnTo>
                  <a:lnTo>
                    <a:pt x="932" y="780"/>
                  </a:lnTo>
                  <a:lnTo>
                    <a:pt x="932" y="782"/>
                  </a:lnTo>
                  <a:lnTo>
                    <a:pt x="932" y="782"/>
                  </a:lnTo>
                  <a:lnTo>
                    <a:pt x="932" y="784"/>
                  </a:lnTo>
                  <a:lnTo>
                    <a:pt x="932" y="786"/>
                  </a:lnTo>
                  <a:lnTo>
                    <a:pt x="932" y="786"/>
                  </a:lnTo>
                  <a:lnTo>
                    <a:pt x="934" y="786"/>
                  </a:lnTo>
                  <a:lnTo>
                    <a:pt x="934" y="788"/>
                  </a:lnTo>
                  <a:lnTo>
                    <a:pt x="934" y="788"/>
                  </a:lnTo>
                  <a:lnTo>
                    <a:pt x="936" y="790"/>
                  </a:lnTo>
                  <a:lnTo>
                    <a:pt x="938" y="790"/>
                  </a:lnTo>
                  <a:lnTo>
                    <a:pt x="938" y="790"/>
                  </a:lnTo>
                  <a:lnTo>
                    <a:pt x="938" y="790"/>
                  </a:lnTo>
                  <a:lnTo>
                    <a:pt x="942" y="792"/>
                  </a:lnTo>
                  <a:lnTo>
                    <a:pt x="944" y="792"/>
                  </a:lnTo>
                  <a:lnTo>
                    <a:pt x="944" y="792"/>
                  </a:lnTo>
                  <a:lnTo>
                    <a:pt x="944" y="794"/>
                  </a:lnTo>
                  <a:lnTo>
                    <a:pt x="944" y="794"/>
                  </a:lnTo>
                  <a:lnTo>
                    <a:pt x="944" y="794"/>
                  </a:lnTo>
                  <a:lnTo>
                    <a:pt x="942" y="796"/>
                  </a:lnTo>
                  <a:lnTo>
                    <a:pt x="940" y="798"/>
                  </a:lnTo>
                  <a:lnTo>
                    <a:pt x="938" y="800"/>
                  </a:lnTo>
                  <a:lnTo>
                    <a:pt x="936" y="802"/>
                  </a:lnTo>
                  <a:lnTo>
                    <a:pt x="936" y="802"/>
                  </a:lnTo>
                  <a:lnTo>
                    <a:pt x="936" y="804"/>
                  </a:lnTo>
                  <a:lnTo>
                    <a:pt x="936" y="808"/>
                  </a:lnTo>
                  <a:lnTo>
                    <a:pt x="936" y="810"/>
                  </a:lnTo>
                  <a:lnTo>
                    <a:pt x="936" y="810"/>
                  </a:lnTo>
                  <a:lnTo>
                    <a:pt x="936" y="810"/>
                  </a:lnTo>
                  <a:lnTo>
                    <a:pt x="934" y="810"/>
                  </a:lnTo>
                  <a:lnTo>
                    <a:pt x="934" y="810"/>
                  </a:lnTo>
                  <a:lnTo>
                    <a:pt x="932" y="810"/>
                  </a:lnTo>
                  <a:lnTo>
                    <a:pt x="930" y="806"/>
                  </a:lnTo>
                  <a:lnTo>
                    <a:pt x="930" y="806"/>
                  </a:lnTo>
                  <a:lnTo>
                    <a:pt x="928" y="806"/>
                  </a:lnTo>
                  <a:lnTo>
                    <a:pt x="926" y="802"/>
                  </a:lnTo>
                  <a:lnTo>
                    <a:pt x="926" y="802"/>
                  </a:lnTo>
                  <a:lnTo>
                    <a:pt x="924" y="802"/>
                  </a:lnTo>
                  <a:lnTo>
                    <a:pt x="920" y="798"/>
                  </a:lnTo>
                  <a:lnTo>
                    <a:pt x="916" y="796"/>
                  </a:lnTo>
                  <a:lnTo>
                    <a:pt x="916" y="796"/>
                  </a:lnTo>
                  <a:lnTo>
                    <a:pt x="916" y="794"/>
                  </a:lnTo>
                  <a:lnTo>
                    <a:pt x="916" y="794"/>
                  </a:lnTo>
                  <a:lnTo>
                    <a:pt x="916" y="794"/>
                  </a:lnTo>
                  <a:lnTo>
                    <a:pt x="914" y="792"/>
                  </a:lnTo>
                  <a:lnTo>
                    <a:pt x="914" y="792"/>
                  </a:lnTo>
                  <a:lnTo>
                    <a:pt x="914" y="792"/>
                  </a:lnTo>
                  <a:lnTo>
                    <a:pt x="912" y="792"/>
                  </a:lnTo>
                  <a:lnTo>
                    <a:pt x="910" y="792"/>
                  </a:lnTo>
                  <a:lnTo>
                    <a:pt x="910" y="792"/>
                  </a:lnTo>
                  <a:lnTo>
                    <a:pt x="910" y="792"/>
                  </a:lnTo>
                  <a:lnTo>
                    <a:pt x="906" y="794"/>
                  </a:lnTo>
                  <a:lnTo>
                    <a:pt x="906" y="794"/>
                  </a:lnTo>
                  <a:lnTo>
                    <a:pt x="906" y="794"/>
                  </a:lnTo>
                  <a:lnTo>
                    <a:pt x="902" y="796"/>
                  </a:lnTo>
                  <a:lnTo>
                    <a:pt x="900" y="798"/>
                  </a:lnTo>
                  <a:lnTo>
                    <a:pt x="898" y="800"/>
                  </a:lnTo>
                  <a:lnTo>
                    <a:pt x="898" y="802"/>
                  </a:lnTo>
                  <a:lnTo>
                    <a:pt x="898" y="802"/>
                  </a:lnTo>
                  <a:lnTo>
                    <a:pt x="898" y="802"/>
                  </a:lnTo>
                  <a:lnTo>
                    <a:pt x="896" y="802"/>
                  </a:lnTo>
                  <a:lnTo>
                    <a:pt x="894" y="808"/>
                  </a:lnTo>
                  <a:lnTo>
                    <a:pt x="894" y="810"/>
                  </a:lnTo>
                  <a:lnTo>
                    <a:pt x="892" y="808"/>
                  </a:lnTo>
                  <a:lnTo>
                    <a:pt x="892" y="804"/>
                  </a:lnTo>
                  <a:lnTo>
                    <a:pt x="892" y="804"/>
                  </a:lnTo>
                  <a:lnTo>
                    <a:pt x="892" y="802"/>
                  </a:lnTo>
                  <a:lnTo>
                    <a:pt x="894" y="800"/>
                  </a:lnTo>
                  <a:lnTo>
                    <a:pt x="896" y="798"/>
                  </a:lnTo>
                  <a:lnTo>
                    <a:pt x="900" y="792"/>
                  </a:lnTo>
                  <a:lnTo>
                    <a:pt x="900" y="792"/>
                  </a:lnTo>
                  <a:lnTo>
                    <a:pt x="900" y="792"/>
                  </a:lnTo>
                  <a:lnTo>
                    <a:pt x="904" y="790"/>
                  </a:lnTo>
                  <a:lnTo>
                    <a:pt x="904" y="790"/>
                  </a:lnTo>
                  <a:lnTo>
                    <a:pt x="904" y="790"/>
                  </a:lnTo>
                  <a:lnTo>
                    <a:pt x="904" y="786"/>
                  </a:lnTo>
                  <a:lnTo>
                    <a:pt x="904" y="786"/>
                  </a:lnTo>
                  <a:lnTo>
                    <a:pt x="906" y="784"/>
                  </a:lnTo>
                  <a:lnTo>
                    <a:pt x="904" y="776"/>
                  </a:lnTo>
                  <a:lnTo>
                    <a:pt x="904" y="766"/>
                  </a:lnTo>
                  <a:lnTo>
                    <a:pt x="902" y="756"/>
                  </a:lnTo>
                  <a:lnTo>
                    <a:pt x="900" y="748"/>
                  </a:lnTo>
                  <a:lnTo>
                    <a:pt x="898" y="738"/>
                  </a:lnTo>
                  <a:lnTo>
                    <a:pt x="898" y="738"/>
                  </a:lnTo>
                  <a:lnTo>
                    <a:pt x="898" y="738"/>
                  </a:lnTo>
                  <a:lnTo>
                    <a:pt x="894" y="730"/>
                  </a:lnTo>
                  <a:lnTo>
                    <a:pt x="894" y="730"/>
                  </a:lnTo>
                  <a:lnTo>
                    <a:pt x="894" y="730"/>
                  </a:lnTo>
                  <a:lnTo>
                    <a:pt x="890" y="726"/>
                  </a:lnTo>
                  <a:lnTo>
                    <a:pt x="888" y="722"/>
                  </a:lnTo>
                  <a:lnTo>
                    <a:pt x="888" y="722"/>
                  </a:lnTo>
                  <a:lnTo>
                    <a:pt x="888" y="722"/>
                  </a:lnTo>
                  <a:lnTo>
                    <a:pt x="884" y="720"/>
                  </a:lnTo>
                  <a:lnTo>
                    <a:pt x="884" y="720"/>
                  </a:lnTo>
                  <a:lnTo>
                    <a:pt x="884" y="720"/>
                  </a:lnTo>
                  <a:lnTo>
                    <a:pt x="880" y="718"/>
                  </a:lnTo>
                  <a:lnTo>
                    <a:pt x="880" y="718"/>
                  </a:lnTo>
                  <a:lnTo>
                    <a:pt x="878" y="718"/>
                  </a:lnTo>
                  <a:lnTo>
                    <a:pt x="874" y="718"/>
                  </a:lnTo>
                  <a:lnTo>
                    <a:pt x="870" y="718"/>
                  </a:lnTo>
                  <a:lnTo>
                    <a:pt x="868" y="720"/>
                  </a:lnTo>
                  <a:lnTo>
                    <a:pt x="864" y="720"/>
                  </a:lnTo>
                  <a:lnTo>
                    <a:pt x="862" y="722"/>
                  </a:lnTo>
                  <a:lnTo>
                    <a:pt x="860" y="722"/>
                  </a:lnTo>
                  <a:lnTo>
                    <a:pt x="860" y="722"/>
                  </a:lnTo>
                  <a:lnTo>
                    <a:pt x="860" y="724"/>
                  </a:lnTo>
                  <a:lnTo>
                    <a:pt x="858" y="726"/>
                  </a:lnTo>
                  <a:lnTo>
                    <a:pt x="854" y="728"/>
                  </a:lnTo>
                  <a:lnTo>
                    <a:pt x="852" y="730"/>
                  </a:lnTo>
                  <a:lnTo>
                    <a:pt x="850" y="732"/>
                  </a:lnTo>
                  <a:lnTo>
                    <a:pt x="848" y="732"/>
                  </a:lnTo>
                  <a:lnTo>
                    <a:pt x="846" y="734"/>
                  </a:lnTo>
                  <a:lnTo>
                    <a:pt x="846" y="734"/>
                  </a:lnTo>
                  <a:lnTo>
                    <a:pt x="844" y="734"/>
                  </a:lnTo>
                  <a:lnTo>
                    <a:pt x="842" y="736"/>
                  </a:lnTo>
                  <a:lnTo>
                    <a:pt x="842" y="736"/>
                  </a:lnTo>
                  <a:lnTo>
                    <a:pt x="842" y="738"/>
                  </a:lnTo>
                  <a:lnTo>
                    <a:pt x="840" y="740"/>
                  </a:lnTo>
                  <a:lnTo>
                    <a:pt x="840" y="740"/>
                  </a:lnTo>
                  <a:lnTo>
                    <a:pt x="840" y="742"/>
                  </a:lnTo>
                  <a:lnTo>
                    <a:pt x="838" y="744"/>
                  </a:lnTo>
                  <a:lnTo>
                    <a:pt x="838" y="748"/>
                  </a:lnTo>
                  <a:lnTo>
                    <a:pt x="836" y="752"/>
                  </a:lnTo>
                  <a:lnTo>
                    <a:pt x="836" y="754"/>
                  </a:lnTo>
                  <a:lnTo>
                    <a:pt x="834" y="756"/>
                  </a:lnTo>
                  <a:lnTo>
                    <a:pt x="832" y="758"/>
                  </a:lnTo>
                  <a:lnTo>
                    <a:pt x="832" y="760"/>
                  </a:lnTo>
                  <a:lnTo>
                    <a:pt x="832" y="760"/>
                  </a:lnTo>
                  <a:lnTo>
                    <a:pt x="830" y="760"/>
                  </a:lnTo>
                  <a:lnTo>
                    <a:pt x="830" y="764"/>
                  </a:lnTo>
                  <a:lnTo>
                    <a:pt x="830" y="764"/>
                  </a:lnTo>
                  <a:lnTo>
                    <a:pt x="830" y="764"/>
                  </a:lnTo>
                  <a:lnTo>
                    <a:pt x="828" y="768"/>
                  </a:lnTo>
                  <a:lnTo>
                    <a:pt x="828" y="768"/>
                  </a:lnTo>
                  <a:lnTo>
                    <a:pt x="828" y="768"/>
                  </a:lnTo>
                  <a:lnTo>
                    <a:pt x="828" y="772"/>
                  </a:lnTo>
                  <a:lnTo>
                    <a:pt x="830" y="776"/>
                  </a:lnTo>
                  <a:lnTo>
                    <a:pt x="830" y="780"/>
                  </a:lnTo>
                  <a:lnTo>
                    <a:pt x="832" y="784"/>
                  </a:lnTo>
                  <a:lnTo>
                    <a:pt x="834" y="786"/>
                  </a:lnTo>
                  <a:lnTo>
                    <a:pt x="834" y="788"/>
                  </a:lnTo>
                  <a:lnTo>
                    <a:pt x="834" y="792"/>
                  </a:lnTo>
                  <a:lnTo>
                    <a:pt x="834" y="796"/>
                  </a:lnTo>
                  <a:lnTo>
                    <a:pt x="834" y="800"/>
                  </a:lnTo>
                  <a:lnTo>
                    <a:pt x="834" y="802"/>
                  </a:lnTo>
                  <a:lnTo>
                    <a:pt x="834" y="804"/>
                  </a:lnTo>
                  <a:lnTo>
                    <a:pt x="832" y="804"/>
                  </a:lnTo>
                  <a:lnTo>
                    <a:pt x="832" y="804"/>
                  </a:lnTo>
                  <a:lnTo>
                    <a:pt x="830" y="806"/>
                  </a:lnTo>
                  <a:lnTo>
                    <a:pt x="830" y="806"/>
                  </a:lnTo>
                  <a:lnTo>
                    <a:pt x="830" y="806"/>
                  </a:lnTo>
                  <a:lnTo>
                    <a:pt x="830" y="806"/>
                  </a:lnTo>
                  <a:lnTo>
                    <a:pt x="830" y="806"/>
                  </a:lnTo>
                  <a:lnTo>
                    <a:pt x="830" y="810"/>
                  </a:lnTo>
                  <a:lnTo>
                    <a:pt x="830" y="810"/>
                  </a:lnTo>
                  <a:lnTo>
                    <a:pt x="830" y="810"/>
                  </a:lnTo>
                  <a:lnTo>
                    <a:pt x="832" y="812"/>
                  </a:lnTo>
                  <a:lnTo>
                    <a:pt x="832" y="812"/>
                  </a:lnTo>
                  <a:lnTo>
                    <a:pt x="834" y="814"/>
                  </a:lnTo>
                  <a:lnTo>
                    <a:pt x="836" y="814"/>
                  </a:lnTo>
                  <a:lnTo>
                    <a:pt x="838" y="816"/>
                  </a:lnTo>
                  <a:lnTo>
                    <a:pt x="838" y="818"/>
                  </a:lnTo>
                  <a:lnTo>
                    <a:pt x="840" y="818"/>
                  </a:lnTo>
                  <a:lnTo>
                    <a:pt x="840" y="820"/>
                  </a:lnTo>
                  <a:lnTo>
                    <a:pt x="840" y="820"/>
                  </a:lnTo>
                  <a:lnTo>
                    <a:pt x="840" y="820"/>
                  </a:lnTo>
                  <a:lnTo>
                    <a:pt x="838" y="822"/>
                  </a:lnTo>
                  <a:lnTo>
                    <a:pt x="838" y="822"/>
                  </a:lnTo>
                  <a:lnTo>
                    <a:pt x="838" y="824"/>
                  </a:lnTo>
                  <a:lnTo>
                    <a:pt x="836" y="828"/>
                  </a:lnTo>
                  <a:lnTo>
                    <a:pt x="836" y="832"/>
                  </a:lnTo>
                  <a:lnTo>
                    <a:pt x="834" y="834"/>
                  </a:lnTo>
                  <a:lnTo>
                    <a:pt x="832" y="838"/>
                  </a:lnTo>
                  <a:lnTo>
                    <a:pt x="830" y="840"/>
                  </a:lnTo>
                  <a:lnTo>
                    <a:pt x="828" y="842"/>
                  </a:lnTo>
                  <a:lnTo>
                    <a:pt x="826" y="844"/>
                  </a:lnTo>
                  <a:lnTo>
                    <a:pt x="828" y="840"/>
                  </a:lnTo>
                  <a:lnTo>
                    <a:pt x="830" y="838"/>
                  </a:lnTo>
                  <a:lnTo>
                    <a:pt x="832" y="836"/>
                  </a:lnTo>
                  <a:lnTo>
                    <a:pt x="834" y="834"/>
                  </a:lnTo>
                  <a:lnTo>
                    <a:pt x="834" y="834"/>
                  </a:lnTo>
                  <a:lnTo>
                    <a:pt x="834" y="834"/>
                  </a:lnTo>
                  <a:lnTo>
                    <a:pt x="834" y="832"/>
                  </a:lnTo>
                  <a:lnTo>
                    <a:pt x="834" y="832"/>
                  </a:lnTo>
                  <a:lnTo>
                    <a:pt x="834" y="832"/>
                  </a:lnTo>
                  <a:lnTo>
                    <a:pt x="834" y="830"/>
                  </a:lnTo>
                  <a:lnTo>
                    <a:pt x="834" y="830"/>
                  </a:lnTo>
                  <a:lnTo>
                    <a:pt x="834" y="828"/>
                  </a:lnTo>
                  <a:lnTo>
                    <a:pt x="832" y="828"/>
                  </a:lnTo>
                  <a:lnTo>
                    <a:pt x="832" y="826"/>
                  </a:lnTo>
                  <a:lnTo>
                    <a:pt x="832" y="826"/>
                  </a:lnTo>
                  <a:lnTo>
                    <a:pt x="832" y="826"/>
                  </a:lnTo>
                  <a:lnTo>
                    <a:pt x="830" y="824"/>
                  </a:lnTo>
                  <a:lnTo>
                    <a:pt x="830" y="824"/>
                  </a:lnTo>
                  <a:lnTo>
                    <a:pt x="830" y="824"/>
                  </a:lnTo>
                  <a:lnTo>
                    <a:pt x="828" y="820"/>
                  </a:lnTo>
                  <a:lnTo>
                    <a:pt x="826" y="818"/>
                  </a:lnTo>
                  <a:lnTo>
                    <a:pt x="822" y="812"/>
                  </a:lnTo>
                  <a:lnTo>
                    <a:pt x="820" y="808"/>
                  </a:lnTo>
                  <a:lnTo>
                    <a:pt x="818" y="806"/>
                  </a:lnTo>
                  <a:lnTo>
                    <a:pt x="816" y="800"/>
                  </a:lnTo>
                  <a:lnTo>
                    <a:pt x="816" y="794"/>
                  </a:lnTo>
                  <a:lnTo>
                    <a:pt x="814" y="786"/>
                  </a:lnTo>
                  <a:lnTo>
                    <a:pt x="816" y="780"/>
                  </a:lnTo>
                  <a:lnTo>
                    <a:pt x="816" y="774"/>
                  </a:lnTo>
                  <a:lnTo>
                    <a:pt x="816" y="770"/>
                  </a:lnTo>
                  <a:lnTo>
                    <a:pt x="818" y="760"/>
                  </a:lnTo>
                  <a:lnTo>
                    <a:pt x="822" y="750"/>
                  </a:lnTo>
                  <a:lnTo>
                    <a:pt x="822" y="744"/>
                  </a:lnTo>
                  <a:lnTo>
                    <a:pt x="824" y="740"/>
                  </a:lnTo>
                  <a:lnTo>
                    <a:pt x="826" y="736"/>
                  </a:lnTo>
                  <a:lnTo>
                    <a:pt x="828" y="734"/>
                  </a:lnTo>
                  <a:lnTo>
                    <a:pt x="832" y="728"/>
                  </a:lnTo>
                  <a:lnTo>
                    <a:pt x="836" y="724"/>
                  </a:lnTo>
                  <a:lnTo>
                    <a:pt x="838" y="722"/>
                  </a:lnTo>
                  <a:lnTo>
                    <a:pt x="838" y="718"/>
                  </a:lnTo>
                  <a:lnTo>
                    <a:pt x="836" y="718"/>
                  </a:lnTo>
                  <a:lnTo>
                    <a:pt x="836" y="718"/>
                  </a:lnTo>
                  <a:lnTo>
                    <a:pt x="836" y="718"/>
                  </a:lnTo>
                  <a:lnTo>
                    <a:pt x="836" y="718"/>
                  </a:lnTo>
                  <a:lnTo>
                    <a:pt x="834" y="716"/>
                  </a:lnTo>
                  <a:lnTo>
                    <a:pt x="834" y="716"/>
                  </a:lnTo>
                  <a:lnTo>
                    <a:pt x="830" y="716"/>
                  </a:lnTo>
                  <a:lnTo>
                    <a:pt x="832" y="712"/>
                  </a:lnTo>
                  <a:lnTo>
                    <a:pt x="830" y="712"/>
                  </a:lnTo>
                  <a:lnTo>
                    <a:pt x="830" y="712"/>
                  </a:lnTo>
                  <a:lnTo>
                    <a:pt x="826" y="710"/>
                  </a:lnTo>
                  <a:lnTo>
                    <a:pt x="824" y="708"/>
                  </a:lnTo>
                  <a:lnTo>
                    <a:pt x="820" y="706"/>
                  </a:lnTo>
                  <a:lnTo>
                    <a:pt x="820" y="706"/>
                  </a:lnTo>
                  <a:lnTo>
                    <a:pt x="820" y="706"/>
                  </a:lnTo>
                  <a:lnTo>
                    <a:pt x="818" y="706"/>
                  </a:lnTo>
                  <a:lnTo>
                    <a:pt x="818" y="706"/>
                  </a:lnTo>
                  <a:lnTo>
                    <a:pt x="818" y="706"/>
                  </a:lnTo>
                  <a:lnTo>
                    <a:pt x="816" y="706"/>
                  </a:lnTo>
                  <a:lnTo>
                    <a:pt x="816" y="706"/>
                  </a:lnTo>
                  <a:lnTo>
                    <a:pt x="814" y="706"/>
                  </a:lnTo>
                  <a:lnTo>
                    <a:pt x="812" y="706"/>
                  </a:lnTo>
                  <a:lnTo>
                    <a:pt x="810" y="708"/>
                  </a:lnTo>
                  <a:lnTo>
                    <a:pt x="806" y="710"/>
                  </a:lnTo>
                  <a:lnTo>
                    <a:pt x="800" y="714"/>
                  </a:lnTo>
                  <a:lnTo>
                    <a:pt x="796" y="718"/>
                  </a:lnTo>
                  <a:lnTo>
                    <a:pt x="792" y="720"/>
                  </a:lnTo>
                  <a:lnTo>
                    <a:pt x="790" y="722"/>
                  </a:lnTo>
                  <a:lnTo>
                    <a:pt x="784" y="726"/>
                  </a:lnTo>
                  <a:lnTo>
                    <a:pt x="780" y="732"/>
                  </a:lnTo>
                  <a:lnTo>
                    <a:pt x="778" y="734"/>
                  </a:lnTo>
                  <a:lnTo>
                    <a:pt x="776" y="738"/>
                  </a:lnTo>
                  <a:lnTo>
                    <a:pt x="776" y="738"/>
                  </a:lnTo>
                  <a:lnTo>
                    <a:pt x="774" y="738"/>
                  </a:lnTo>
                  <a:lnTo>
                    <a:pt x="774" y="740"/>
                  </a:lnTo>
                  <a:lnTo>
                    <a:pt x="774" y="742"/>
                  </a:lnTo>
                  <a:lnTo>
                    <a:pt x="770" y="746"/>
                  </a:lnTo>
                  <a:lnTo>
                    <a:pt x="768" y="750"/>
                  </a:lnTo>
                  <a:lnTo>
                    <a:pt x="766" y="756"/>
                  </a:lnTo>
                  <a:lnTo>
                    <a:pt x="766" y="756"/>
                  </a:lnTo>
                  <a:lnTo>
                    <a:pt x="766" y="756"/>
                  </a:lnTo>
                  <a:lnTo>
                    <a:pt x="766" y="760"/>
                  </a:lnTo>
                  <a:lnTo>
                    <a:pt x="764" y="764"/>
                  </a:lnTo>
                  <a:lnTo>
                    <a:pt x="764" y="768"/>
                  </a:lnTo>
                  <a:lnTo>
                    <a:pt x="764" y="770"/>
                  </a:lnTo>
                  <a:lnTo>
                    <a:pt x="764" y="772"/>
                  </a:lnTo>
                  <a:lnTo>
                    <a:pt x="762" y="774"/>
                  </a:lnTo>
                  <a:lnTo>
                    <a:pt x="762" y="776"/>
                  </a:lnTo>
                  <a:lnTo>
                    <a:pt x="760" y="778"/>
                  </a:lnTo>
                  <a:lnTo>
                    <a:pt x="760" y="778"/>
                  </a:lnTo>
                  <a:lnTo>
                    <a:pt x="760" y="780"/>
                  </a:lnTo>
                  <a:lnTo>
                    <a:pt x="758" y="786"/>
                  </a:lnTo>
                  <a:lnTo>
                    <a:pt x="758" y="794"/>
                  </a:lnTo>
                  <a:lnTo>
                    <a:pt x="756" y="806"/>
                  </a:lnTo>
                  <a:lnTo>
                    <a:pt x="756" y="814"/>
                  </a:lnTo>
                  <a:lnTo>
                    <a:pt x="756" y="820"/>
                  </a:lnTo>
                  <a:lnTo>
                    <a:pt x="758" y="828"/>
                  </a:lnTo>
                  <a:lnTo>
                    <a:pt x="760" y="834"/>
                  </a:lnTo>
                  <a:lnTo>
                    <a:pt x="760" y="838"/>
                  </a:lnTo>
                  <a:lnTo>
                    <a:pt x="760" y="840"/>
                  </a:lnTo>
                  <a:lnTo>
                    <a:pt x="762" y="842"/>
                  </a:lnTo>
                  <a:lnTo>
                    <a:pt x="762" y="842"/>
                  </a:lnTo>
                  <a:lnTo>
                    <a:pt x="762" y="842"/>
                  </a:lnTo>
                  <a:lnTo>
                    <a:pt x="762" y="844"/>
                  </a:lnTo>
                  <a:lnTo>
                    <a:pt x="764" y="846"/>
                  </a:lnTo>
                  <a:lnTo>
                    <a:pt x="764" y="848"/>
                  </a:lnTo>
                  <a:lnTo>
                    <a:pt x="764" y="848"/>
                  </a:lnTo>
                  <a:lnTo>
                    <a:pt x="766" y="850"/>
                  </a:lnTo>
                  <a:lnTo>
                    <a:pt x="766" y="854"/>
                  </a:lnTo>
                  <a:lnTo>
                    <a:pt x="768" y="856"/>
                  </a:lnTo>
                  <a:lnTo>
                    <a:pt x="768" y="858"/>
                  </a:lnTo>
                  <a:lnTo>
                    <a:pt x="768" y="858"/>
                  </a:lnTo>
                  <a:lnTo>
                    <a:pt x="770" y="862"/>
                  </a:lnTo>
                  <a:lnTo>
                    <a:pt x="770" y="862"/>
                  </a:lnTo>
                  <a:lnTo>
                    <a:pt x="772" y="864"/>
                  </a:lnTo>
                  <a:lnTo>
                    <a:pt x="772" y="866"/>
                  </a:lnTo>
                  <a:lnTo>
                    <a:pt x="772" y="868"/>
                  </a:lnTo>
                  <a:lnTo>
                    <a:pt x="772" y="870"/>
                  </a:lnTo>
                  <a:lnTo>
                    <a:pt x="772" y="872"/>
                  </a:lnTo>
                  <a:lnTo>
                    <a:pt x="772" y="876"/>
                  </a:lnTo>
                  <a:lnTo>
                    <a:pt x="774" y="880"/>
                  </a:lnTo>
                  <a:lnTo>
                    <a:pt x="774" y="880"/>
                  </a:lnTo>
                  <a:lnTo>
                    <a:pt x="774" y="882"/>
                  </a:lnTo>
                  <a:lnTo>
                    <a:pt x="776" y="884"/>
                  </a:lnTo>
                  <a:lnTo>
                    <a:pt x="778" y="882"/>
                  </a:lnTo>
                  <a:lnTo>
                    <a:pt x="780" y="882"/>
                  </a:lnTo>
                  <a:lnTo>
                    <a:pt x="784" y="882"/>
                  </a:lnTo>
                  <a:lnTo>
                    <a:pt x="790" y="882"/>
                  </a:lnTo>
                  <a:lnTo>
                    <a:pt x="796" y="880"/>
                  </a:lnTo>
                  <a:lnTo>
                    <a:pt x="800" y="880"/>
                  </a:lnTo>
                  <a:lnTo>
                    <a:pt x="804" y="880"/>
                  </a:lnTo>
                  <a:lnTo>
                    <a:pt x="804" y="880"/>
                  </a:lnTo>
                  <a:lnTo>
                    <a:pt x="806" y="882"/>
                  </a:lnTo>
                  <a:lnTo>
                    <a:pt x="806" y="882"/>
                  </a:lnTo>
                  <a:lnTo>
                    <a:pt x="806" y="884"/>
                  </a:lnTo>
                  <a:lnTo>
                    <a:pt x="804" y="886"/>
                  </a:lnTo>
                  <a:lnTo>
                    <a:pt x="804" y="886"/>
                  </a:lnTo>
                  <a:lnTo>
                    <a:pt x="804" y="886"/>
                  </a:lnTo>
                  <a:lnTo>
                    <a:pt x="804" y="888"/>
                  </a:lnTo>
                  <a:lnTo>
                    <a:pt x="804" y="888"/>
                  </a:lnTo>
                  <a:lnTo>
                    <a:pt x="802" y="890"/>
                  </a:lnTo>
                  <a:lnTo>
                    <a:pt x="804" y="892"/>
                  </a:lnTo>
                  <a:lnTo>
                    <a:pt x="804" y="892"/>
                  </a:lnTo>
                  <a:lnTo>
                    <a:pt x="804" y="894"/>
                  </a:lnTo>
                  <a:lnTo>
                    <a:pt x="804" y="894"/>
                  </a:lnTo>
                  <a:lnTo>
                    <a:pt x="804" y="894"/>
                  </a:lnTo>
                  <a:lnTo>
                    <a:pt x="806" y="896"/>
                  </a:lnTo>
                  <a:lnTo>
                    <a:pt x="806" y="896"/>
                  </a:lnTo>
                  <a:lnTo>
                    <a:pt x="806" y="896"/>
                  </a:lnTo>
                  <a:lnTo>
                    <a:pt x="808" y="896"/>
                  </a:lnTo>
                  <a:lnTo>
                    <a:pt x="810" y="896"/>
                  </a:lnTo>
                  <a:lnTo>
                    <a:pt x="810" y="896"/>
                  </a:lnTo>
                  <a:lnTo>
                    <a:pt x="812" y="896"/>
                  </a:lnTo>
                  <a:lnTo>
                    <a:pt x="818" y="896"/>
                  </a:lnTo>
                  <a:lnTo>
                    <a:pt x="824" y="896"/>
                  </a:lnTo>
                  <a:lnTo>
                    <a:pt x="830" y="894"/>
                  </a:lnTo>
                  <a:lnTo>
                    <a:pt x="834" y="894"/>
                  </a:lnTo>
                  <a:lnTo>
                    <a:pt x="832" y="896"/>
                  </a:lnTo>
                  <a:lnTo>
                    <a:pt x="832" y="896"/>
                  </a:lnTo>
                  <a:lnTo>
                    <a:pt x="830" y="896"/>
                  </a:lnTo>
                  <a:lnTo>
                    <a:pt x="830" y="898"/>
                  </a:lnTo>
                  <a:lnTo>
                    <a:pt x="830" y="898"/>
                  </a:lnTo>
                  <a:lnTo>
                    <a:pt x="828" y="900"/>
                  </a:lnTo>
                  <a:lnTo>
                    <a:pt x="828" y="902"/>
                  </a:lnTo>
                  <a:lnTo>
                    <a:pt x="828" y="902"/>
                  </a:lnTo>
                  <a:lnTo>
                    <a:pt x="828" y="904"/>
                  </a:lnTo>
                  <a:lnTo>
                    <a:pt x="828" y="908"/>
                  </a:lnTo>
                  <a:lnTo>
                    <a:pt x="828" y="912"/>
                  </a:lnTo>
                  <a:lnTo>
                    <a:pt x="830" y="918"/>
                  </a:lnTo>
                  <a:lnTo>
                    <a:pt x="830" y="922"/>
                  </a:lnTo>
                  <a:lnTo>
                    <a:pt x="830" y="926"/>
                  </a:lnTo>
                  <a:lnTo>
                    <a:pt x="830" y="930"/>
                  </a:lnTo>
                  <a:lnTo>
                    <a:pt x="830" y="934"/>
                  </a:lnTo>
                  <a:lnTo>
                    <a:pt x="828" y="938"/>
                  </a:lnTo>
                  <a:lnTo>
                    <a:pt x="824" y="946"/>
                  </a:lnTo>
                  <a:lnTo>
                    <a:pt x="822" y="954"/>
                  </a:lnTo>
                  <a:lnTo>
                    <a:pt x="820" y="958"/>
                  </a:lnTo>
                  <a:lnTo>
                    <a:pt x="818" y="962"/>
                  </a:lnTo>
                  <a:lnTo>
                    <a:pt x="816" y="970"/>
                  </a:lnTo>
                  <a:lnTo>
                    <a:pt x="814" y="978"/>
                  </a:lnTo>
                  <a:lnTo>
                    <a:pt x="812" y="986"/>
                  </a:lnTo>
                  <a:lnTo>
                    <a:pt x="810" y="988"/>
                  </a:lnTo>
                  <a:lnTo>
                    <a:pt x="810" y="992"/>
                  </a:lnTo>
                  <a:lnTo>
                    <a:pt x="808" y="994"/>
                  </a:lnTo>
                  <a:lnTo>
                    <a:pt x="806" y="998"/>
                  </a:lnTo>
                  <a:lnTo>
                    <a:pt x="804" y="1000"/>
                  </a:lnTo>
                  <a:lnTo>
                    <a:pt x="802" y="1004"/>
                  </a:lnTo>
                  <a:lnTo>
                    <a:pt x="800" y="1004"/>
                  </a:lnTo>
                  <a:lnTo>
                    <a:pt x="798" y="1006"/>
                  </a:lnTo>
                  <a:lnTo>
                    <a:pt x="796" y="1006"/>
                  </a:lnTo>
                  <a:lnTo>
                    <a:pt x="796" y="1006"/>
                  </a:lnTo>
                  <a:lnTo>
                    <a:pt x="796" y="1006"/>
                  </a:lnTo>
                  <a:lnTo>
                    <a:pt x="794" y="1002"/>
                  </a:lnTo>
                  <a:lnTo>
                    <a:pt x="794" y="1000"/>
                  </a:lnTo>
                  <a:lnTo>
                    <a:pt x="792" y="996"/>
                  </a:lnTo>
                  <a:lnTo>
                    <a:pt x="790" y="986"/>
                  </a:lnTo>
                  <a:lnTo>
                    <a:pt x="790" y="982"/>
                  </a:lnTo>
                  <a:lnTo>
                    <a:pt x="790" y="978"/>
                  </a:lnTo>
                  <a:lnTo>
                    <a:pt x="790" y="974"/>
                  </a:lnTo>
                  <a:lnTo>
                    <a:pt x="790" y="974"/>
                  </a:lnTo>
                  <a:lnTo>
                    <a:pt x="790" y="972"/>
                  </a:lnTo>
                  <a:lnTo>
                    <a:pt x="790" y="968"/>
                  </a:lnTo>
                  <a:lnTo>
                    <a:pt x="792" y="964"/>
                  </a:lnTo>
                  <a:lnTo>
                    <a:pt x="794" y="962"/>
                  </a:lnTo>
                  <a:lnTo>
                    <a:pt x="794" y="958"/>
                  </a:lnTo>
                  <a:lnTo>
                    <a:pt x="794" y="958"/>
                  </a:lnTo>
                  <a:lnTo>
                    <a:pt x="794" y="958"/>
                  </a:lnTo>
                  <a:lnTo>
                    <a:pt x="796" y="954"/>
                  </a:lnTo>
                  <a:lnTo>
                    <a:pt x="796" y="954"/>
                  </a:lnTo>
                  <a:lnTo>
                    <a:pt x="796" y="954"/>
                  </a:lnTo>
                  <a:lnTo>
                    <a:pt x="796" y="950"/>
                  </a:lnTo>
                  <a:lnTo>
                    <a:pt x="796" y="950"/>
                  </a:lnTo>
                  <a:lnTo>
                    <a:pt x="794" y="950"/>
                  </a:lnTo>
                  <a:lnTo>
                    <a:pt x="794" y="946"/>
                  </a:lnTo>
                  <a:lnTo>
                    <a:pt x="792" y="942"/>
                  </a:lnTo>
                  <a:lnTo>
                    <a:pt x="790" y="938"/>
                  </a:lnTo>
                  <a:lnTo>
                    <a:pt x="788" y="934"/>
                  </a:lnTo>
                  <a:lnTo>
                    <a:pt x="786" y="930"/>
                  </a:lnTo>
                  <a:lnTo>
                    <a:pt x="782" y="926"/>
                  </a:lnTo>
                  <a:lnTo>
                    <a:pt x="782" y="926"/>
                  </a:lnTo>
                  <a:lnTo>
                    <a:pt x="782" y="926"/>
                  </a:lnTo>
                  <a:lnTo>
                    <a:pt x="780" y="924"/>
                  </a:lnTo>
                  <a:lnTo>
                    <a:pt x="780" y="924"/>
                  </a:lnTo>
                  <a:lnTo>
                    <a:pt x="780" y="924"/>
                  </a:lnTo>
                  <a:lnTo>
                    <a:pt x="778" y="922"/>
                  </a:lnTo>
                  <a:lnTo>
                    <a:pt x="778" y="922"/>
                  </a:lnTo>
                  <a:lnTo>
                    <a:pt x="778" y="922"/>
                  </a:lnTo>
                  <a:lnTo>
                    <a:pt x="776" y="922"/>
                  </a:lnTo>
                  <a:lnTo>
                    <a:pt x="776" y="922"/>
                  </a:lnTo>
                  <a:lnTo>
                    <a:pt x="776" y="922"/>
                  </a:lnTo>
                  <a:lnTo>
                    <a:pt x="774" y="922"/>
                  </a:lnTo>
                  <a:lnTo>
                    <a:pt x="774" y="922"/>
                  </a:lnTo>
                  <a:lnTo>
                    <a:pt x="774" y="922"/>
                  </a:lnTo>
                  <a:lnTo>
                    <a:pt x="772" y="924"/>
                  </a:lnTo>
                  <a:lnTo>
                    <a:pt x="772" y="924"/>
                  </a:lnTo>
                  <a:lnTo>
                    <a:pt x="772" y="924"/>
                  </a:lnTo>
                  <a:lnTo>
                    <a:pt x="772" y="926"/>
                  </a:lnTo>
                  <a:lnTo>
                    <a:pt x="770" y="926"/>
                  </a:lnTo>
                  <a:lnTo>
                    <a:pt x="768" y="930"/>
                  </a:lnTo>
                  <a:lnTo>
                    <a:pt x="766" y="936"/>
                  </a:lnTo>
                  <a:lnTo>
                    <a:pt x="764" y="940"/>
                  </a:lnTo>
                  <a:lnTo>
                    <a:pt x="762" y="944"/>
                  </a:lnTo>
                  <a:lnTo>
                    <a:pt x="760" y="948"/>
                  </a:lnTo>
                  <a:lnTo>
                    <a:pt x="760" y="950"/>
                  </a:lnTo>
                  <a:lnTo>
                    <a:pt x="758" y="952"/>
                  </a:lnTo>
                  <a:lnTo>
                    <a:pt x="756" y="958"/>
                  </a:lnTo>
                  <a:lnTo>
                    <a:pt x="754" y="960"/>
                  </a:lnTo>
                  <a:lnTo>
                    <a:pt x="754" y="956"/>
                  </a:lnTo>
                  <a:lnTo>
                    <a:pt x="754" y="952"/>
                  </a:lnTo>
                  <a:lnTo>
                    <a:pt x="752" y="946"/>
                  </a:lnTo>
                  <a:lnTo>
                    <a:pt x="752" y="940"/>
                  </a:lnTo>
                  <a:lnTo>
                    <a:pt x="750" y="936"/>
                  </a:lnTo>
                  <a:lnTo>
                    <a:pt x="748" y="932"/>
                  </a:lnTo>
                  <a:lnTo>
                    <a:pt x="748" y="932"/>
                  </a:lnTo>
                  <a:lnTo>
                    <a:pt x="748" y="932"/>
                  </a:lnTo>
                  <a:lnTo>
                    <a:pt x="746" y="928"/>
                  </a:lnTo>
                  <a:lnTo>
                    <a:pt x="746" y="928"/>
                  </a:lnTo>
                  <a:lnTo>
                    <a:pt x="746" y="928"/>
                  </a:lnTo>
                  <a:lnTo>
                    <a:pt x="744" y="926"/>
                  </a:lnTo>
                  <a:lnTo>
                    <a:pt x="744" y="926"/>
                  </a:lnTo>
                  <a:lnTo>
                    <a:pt x="744" y="924"/>
                  </a:lnTo>
                  <a:lnTo>
                    <a:pt x="738" y="920"/>
                  </a:lnTo>
                  <a:lnTo>
                    <a:pt x="732" y="916"/>
                  </a:lnTo>
                  <a:lnTo>
                    <a:pt x="728" y="914"/>
                  </a:lnTo>
                  <a:lnTo>
                    <a:pt x="728" y="912"/>
                  </a:lnTo>
                  <a:lnTo>
                    <a:pt x="726" y="912"/>
                  </a:lnTo>
                  <a:lnTo>
                    <a:pt x="722" y="910"/>
                  </a:lnTo>
                  <a:lnTo>
                    <a:pt x="720" y="908"/>
                  </a:lnTo>
                  <a:lnTo>
                    <a:pt x="718" y="906"/>
                  </a:lnTo>
                  <a:lnTo>
                    <a:pt x="718" y="906"/>
                  </a:lnTo>
                  <a:lnTo>
                    <a:pt x="718" y="904"/>
                  </a:lnTo>
                  <a:lnTo>
                    <a:pt x="718" y="904"/>
                  </a:lnTo>
                  <a:lnTo>
                    <a:pt x="718" y="900"/>
                  </a:lnTo>
                  <a:lnTo>
                    <a:pt x="718" y="896"/>
                  </a:lnTo>
                  <a:lnTo>
                    <a:pt x="720" y="892"/>
                  </a:lnTo>
                  <a:lnTo>
                    <a:pt x="722" y="886"/>
                  </a:lnTo>
                  <a:lnTo>
                    <a:pt x="724" y="882"/>
                  </a:lnTo>
                  <a:lnTo>
                    <a:pt x="726" y="876"/>
                  </a:lnTo>
                  <a:lnTo>
                    <a:pt x="728" y="872"/>
                  </a:lnTo>
                  <a:lnTo>
                    <a:pt x="728" y="866"/>
                  </a:lnTo>
                  <a:lnTo>
                    <a:pt x="728" y="858"/>
                  </a:lnTo>
                  <a:lnTo>
                    <a:pt x="728" y="854"/>
                  </a:lnTo>
                  <a:lnTo>
                    <a:pt x="728" y="850"/>
                  </a:lnTo>
                  <a:lnTo>
                    <a:pt x="728" y="846"/>
                  </a:lnTo>
                  <a:lnTo>
                    <a:pt x="726" y="842"/>
                  </a:lnTo>
                  <a:lnTo>
                    <a:pt x="726" y="842"/>
                  </a:lnTo>
                  <a:lnTo>
                    <a:pt x="726" y="842"/>
                  </a:lnTo>
                  <a:lnTo>
                    <a:pt x="724" y="838"/>
                  </a:lnTo>
                  <a:lnTo>
                    <a:pt x="724" y="838"/>
                  </a:lnTo>
                  <a:lnTo>
                    <a:pt x="724" y="838"/>
                  </a:lnTo>
                  <a:lnTo>
                    <a:pt x="722" y="836"/>
                  </a:lnTo>
                  <a:lnTo>
                    <a:pt x="718" y="832"/>
                  </a:lnTo>
                  <a:lnTo>
                    <a:pt x="714" y="828"/>
                  </a:lnTo>
                  <a:lnTo>
                    <a:pt x="708" y="824"/>
                  </a:lnTo>
                  <a:lnTo>
                    <a:pt x="704" y="820"/>
                  </a:lnTo>
                  <a:lnTo>
                    <a:pt x="698" y="816"/>
                  </a:lnTo>
                  <a:lnTo>
                    <a:pt x="692" y="812"/>
                  </a:lnTo>
                  <a:lnTo>
                    <a:pt x="688" y="810"/>
                  </a:lnTo>
                  <a:lnTo>
                    <a:pt x="688" y="810"/>
                  </a:lnTo>
                  <a:lnTo>
                    <a:pt x="688" y="810"/>
                  </a:lnTo>
                  <a:lnTo>
                    <a:pt x="684" y="810"/>
                  </a:lnTo>
                  <a:lnTo>
                    <a:pt x="684" y="810"/>
                  </a:lnTo>
                  <a:lnTo>
                    <a:pt x="684" y="810"/>
                  </a:lnTo>
                  <a:lnTo>
                    <a:pt x="680" y="810"/>
                  </a:lnTo>
                  <a:lnTo>
                    <a:pt x="680" y="810"/>
                  </a:lnTo>
                  <a:lnTo>
                    <a:pt x="680" y="810"/>
                  </a:lnTo>
                  <a:lnTo>
                    <a:pt x="676" y="810"/>
                  </a:lnTo>
                  <a:lnTo>
                    <a:pt x="676" y="810"/>
                  </a:lnTo>
                  <a:lnTo>
                    <a:pt x="676" y="810"/>
                  </a:lnTo>
                  <a:lnTo>
                    <a:pt x="674" y="812"/>
                  </a:lnTo>
                  <a:lnTo>
                    <a:pt x="674" y="812"/>
                  </a:lnTo>
                  <a:lnTo>
                    <a:pt x="674" y="812"/>
                  </a:lnTo>
                  <a:lnTo>
                    <a:pt x="672" y="814"/>
                  </a:lnTo>
                  <a:lnTo>
                    <a:pt x="672" y="814"/>
                  </a:lnTo>
                  <a:lnTo>
                    <a:pt x="672" y="816"/>
                  </a:lnTo>
                  <a:lnTo>
                    <a:pt x="670" y="818"/>
                  </a:lnTo>
                  <a:lnTo>
                    <a:pt x="668" y="820"/>
                  </a:lnTo>
                  <a:lnTo>
                    <a:pt x="666" y="828"/>
                  </a:lnTo>
                  <a:lnTo>
                    <a:pt x="664" y="830"/>
                  </a:lnTo>
                  <a:lnTo>
                    <a:pt x="664" y="834"/>
                  </a:lnTo>
                  <a:lnTo>
                    <a:pt x="662" y="844"/>
                  </a:lnTo>
                  <a:lnTo>
                    <a:pt x="662" y="852"/>
                  </a:lnTo>
                  <a:lnTo>
                    <a:pt x="662" y="856"/>
                  </a:lnTo>
                  <a:lnTo>
                    <a:pt x="662" y="860"/>
                  </a:lnTo>
                  <a:lnTo>
                    <a:pt x="662" y="868"/>
                  </a:lnTo>
                  <a:lnTo>
                    <a:pt x="662" y="876"/>
                  </a:lnTo>
                  <a:lnTo>
                    <a:pt x="664" y="884"/>
                  </a:lnTo>
                  <a:lnTo>
                    <a:pt x="664" y="886"/>
                  </a:lnTo>
                  <a:lnTo>
                    <a:pt x="666" y="890"/>
                  </a:lnTo>
                  <a:lnTo>
                    <a:pt x="666" y="890"/>
                  </a:lnTo>
                  <a:lnTo>
                    <a:pt x="666" y="890"/>
                  </a:lnTo>
                  <a:lnTo>
                    <a:pt x="668" y="892"/>
                  </a:lnTo>
                  <a:lnTo>
                    <a:pt x="668" y="892"/>
                  </a:lnTo>
                  <a:lnTo>
                    <a:pt x="668" y="894"/>
                  </a:lnTo>
                  <a:lnTo>
                    <a:pt x="670" y="894"/>
                  </a:lnTo>
                  <a:lnTo>
                    <a:pt x="670" y="894"/>
                  </a:lnTo>
                  <a:lnTo>
                    <a:pt x="670" y="896"/>
                  </a:lnTo>
                  <a:lnTo>
                    <a:pt x="674" y="898"/>
                  </a:lnTo>
                  <a:lnTo>
                    <a:pt x="680" y="902"/>
                  </a:lnTo>
                  <a:lnTo>
                    <a:pt x="684" y="906"/>
                  </a:lnTo>
                  <a:lnTo>
                    <a:pt x="688" y="908"/>
                  </a:lnTo>
                  <a:lnTo>
                    <a:pt x="692" y="910"/>
                  </a:lnTo>
                  <a:lnTo>
                    <a:pt x="698" y="914"/>
                  </a:lnTo>
                  <a:lnTo>
                    <a:pt x="702" y="916"/>
                  </a:lnTo>
                  <a:lnTo>
                    <a:pt x="704" y="918"/>
                  </a:lnTo>
                  <a:lnTo>
                    <a:pt x="706" y="920"/>
                  </a:lnTo>
                  <a:lnTo>
                    <a:pt x="708" y="922"/>
                  </a:lnTo>
                  <a:lnTo>
                    <a:pt x="708" y="926"/>
                  </a:lnTo>
                  <a:lnTo>
                    <a:pt x="708" y="928"/>
                  </a:lnTo>
                  <a:lnTo>
                    <a:pt x="708" y="932"/>
                  </a:lnTo>
                  <a:lnTo>
                    <a:pt x="708" y="936"/>
                  </a:lnTo>
                  <a:lnTo>
                    <a:pt x="708" y="942"/>
                  </a:lnTo>
                  <a:lnTo>
                    <a:pt x="706" y="946"/>
                  </a:lnTo>
                  <a:lnTo>
                    <a:pt x="704" y="948"/>
                  </a:lnTo>
                  <a:lnTo>
                    <a:pt x="702" y="952"/>
                  </a:lnTo>
                  <a:lnTo>
                    <a:pt x="700" y="954"/>
                  </a:lnTo>
                  <a:lnTo>
                    <a:pt x="698" y="958"/>
                  </a:lnTo>
                  <a:lnTo>
                    <a:pt x="694" y="960"/>
                  </a:lnTo>
                  <a:lnTo>
                    <a:pt x="690" y="964"/>
                  </a:lnTo>
                  <a:lnTo>
                    <a:pt x="688" y="966"/>
                  </a:lnTo>
                  <a:lnTo>
                    <a:pt x="684" y="970"/>
                  </a:lnTo>
                  <a:lnTo>
                    <a:pt x="682" y="972"/>
                  </a:lnTo>
                  <a:lnTo>
                    <a:pt x="680" y="974"/>
                  </a:lnTo>
                  <a:lnTo>
                    <a:pt x="680" y="976"/>
                  </a:lnTo>
                  <a:lnTo>
                    <a:pt x="680" y="976"/>
                  </a:lnTo>
                  <a:lnTo>
                    <a:pt x="678" y="976"/>
                  </a:lnTo>
                  <a:lnTo>
                    <a:pt x="678" y="978"/>
                  </a:lnTo>
                  <a:lnTo>
                    <a:pt x="678" y="978"/>
                  </a:lnTo>
                  <a:lnTo>
                    <a:pt x="678" y="978"/>
                  </a:lnTo>
                  <a:lnTo>
                    <a:pt x="678" y="980"/>
                  </a:lnTo>
                  <a:lnTo>
                    <a:pt x="678" y="980"/>
                  </a:lnTo>
                  <a:lnTo>
                    <a:pt x="678" y="980"/>
                  </a:lnTo>
                  <a:lnTo>
                    <a:pt x="678" y="982"/>
                  </a:lnTo>
                  <a:lnTo>
                    <a:pt x="678" y="984"/>
                  </a:lnTo>
                  <a:lnTo>
                    <a:pt x="678" y="986"/>
                  </a:lnTo>
                  <a:lnTo>
                    <a:pt x="678" y="988"/>
                  </a:lnTo>
                  <a:lnTo>
                    <a:pt x="678" y="990"/>
                  </a:lnTo>
                  <a:lnTo>
                    <a:pt x="678" y="996"/>
                  </a:lnTo>
                  <a:lnTo>
                    <a:pt x="678" y="998"/>
                  </a:lnTo>
                  <a:lnTo>
                    <a:pt x="678" y="1000"/>
                  </a:lnTo>
                  <a:lnTo>
                    <a:pt x="678" y="1002"/>
                  </a:lnTo>
                  <a:lnTo>
                    <a:pt x="678" y="1002"/>
                  </a:lnTo>
                  <a:lnTo>
                    <a:pt x="678" y="1002"/>
                  </a:lnTo>
                  <a:lnTo>
                    <a:pt x="676" y="1002"/>
                  </a:lnTo>
                  <a:lnTo>
                    <a:pt x="674" y="1000"/>
                  </a:lnTo>
                  <a:lnTo>
                    <a:pt x="672" y="1000"/>
                  </a:lnTo>
                  <a:lnTo>
                    <a:pt x="670" y="1000"/>
                  </a:lnTo>
                  <a:lnTo>
                    <a:pt x="670" y="998"/>
                  </a:lnTo>
                  <a:lnTo>
                    <a:pt x="668" y="998"/>
                  </a:lnTo>
                  <a:lnTo>
                    <a:pt x="668" y="996"/>
                  </a:lnTo>
                  <a:lnTo>
                    <a:pt x="668" y="994"/>
                  </a:lnTo>
                  <a:lnTo>
                    <a:pt x="670" y="992"/>
                  </a:lnTo>
                  <a:lnTo>
                    <a:pt x="670" y="988"/>
                  </a:lnTo>
                  <a:lnTo>
                    <a:pt x="670" y="984"/>
                  </a:lnTo>
                  <a:lnTo>
                    <a:pt x="670" y="980"/>
                  </a:lnTo>
                  <a:lnTo>
                    <a:pt x="670" y="978"/>
                  </a:lnTo>
                  <a:lnTo>
                    <a:pt x="670" y="978"/>
                  </a:lnTo>
                  <a:lnTo>
                    <a:pt x="670" y="976"/>
                  </a:lnTo>
                  <a:lnTo>
                    <a:pt x="670" y="974"/>
                  </a:lnTo>
                  <a:lnTo>
                    <a:pt x="670" y="974"/>
                  </a:lnTo>
                  <a:lnTo>
                    <a:pt x="668" y="974"/>
                  </a:lnTo>
                  <a:lnTo>
                    <a:pt x="668" y="970"/>
                  </a:lnTo>
                  <a:lnTo>
                    <a:pt x="666" y="968"/>
                  </a:lnTo>
                  <a:lnTo>
                    <a:pt x="662" y="964"/>
                  </a:lnTo>
                  <a:lnTo>
                    <a:pt x="660" y="960"/>
                  </a:lnTo>
                  <a:lnTo>
                    <a:pt x="658" y="958"/>
                  </a:lnTo>
                  <a:lnTo>
                    <a:pt x="654" y="956"/>
                  </a:lnTo>
                  <a:lnTo>
                    <a:pt x="652" y="954"/>
                  </a:lnTo>
                  <a:lnTo>
                    <a:pt x="648" y="952"/>
                  </a:lnTo>
                  <a:lnTo>
                    <a:pt x="648" y="952"/>
                  </a:lnTo>
                  <a:lnTo>
                    <a:pt x="648" y="952"/>
                  </a:lnTo>
                  <a:lnTo>
                    <a:pt x="644" y="950"/>
                  </a:lnTo>
                  <a:lnTo>
                    <a:pt x="644" y="950"/>
                  </a:lnTo>
                  <a:lnTo>
                    <a:pt x="642" y="950"/>
                  </a:lnTo>
                  <a:lnTo>
                    <a:pt x="640" y="950"/>
                  </a:lnTo>
                  <a:lnTo>
                    <a:pt x="638" y="948"/>
                  </a:lnTo>
                  <a:lnTo>
                    <a:pt x="638" y="948"/>
                  </a:lnTo>
                  <a:lnTo>
                    <a:pt x="636" y="950"/>
                  </a:lnTo>
                  <a:lnTo>
                    <a:pt x="634" y="950"/>
                  </a:lnTo>
                  <a:lnTo>
                    <a:pt x="634" y="950"/>
                  </a:lnTo>
                  <a:lnTo>
                    <a:pt x="634" y="950"/>
                  </a:lnTo>
                  <a:lnTo>
                    <a:pt x="632" y="950"/>
                  </a:lnTo>
                  <a:lnTo>
                    <a:pt x="632" y="950"/>
                  </a:lnTo>
                  <a:lnTo>
                    <a:pt x="632" y="950"/>
                  </a:lnTo>
                  <a:lnTo>
                    <a:pt x="630" y="952"/>
                  </a:lnTo>
                  <a:lnTo>
                    <a:pt x="630" y="952"/>
                  </a:lnTo>
                  <a:lnTo>
                    <a:pt x="628" y="952"/>
                  </a:lnTo>
                  <a:lnTo>
                    <a:pt x="628" y="954"/>
                  </a:lnTo>
                  <a:lnTo>
                    <a:pt x="628" y="954"/>
                  </a:lnTo>
                  <a:lnTo>
                    <a:pt x="628" y="956"/>
                  </a:lnTo>
                  <a:lnTo>
                    <a:pt x="628" y="958"/>
                  </a:lnTo>
                  <a:lnTo>
                    <a:pt x="628" y="958"/>
                  </a:lnTo>
                  <a:lnTo>
                    <a:pt x="628" y="958"/>
                  </a:lnTo>
                  <a:lnTo>
                    <a:pt x="628" y="962"/>
                  </a:lnTo>
                  <a:lnTo>
                    <a:pt x="630" y="966"/>
                  </a:lnTo>
                  <a:lnTo>
                    <a:pt x="630" y="970"/>
                  </a:lnTo>
                  <a:lnTo>
                    <a:pt x="632" y="974"/>
                  </a:lnTo>
                  <a:lnTo>
                    <a:pt x="632" y="978"/>
                  </a:lnTo>
                  <a:lnTo>
                    <a:pt x="632" y="980"/>
                  </a:lnTo>
                  <a:lnTo>
                    <a:pt x="632" y="982"/>
                  </a:lnTo>
                  <a:lnTo>
                    <a:pt x="632" y="982"/>
                  </a:lnTo>
                  <a:lnTo>
                    <a:pt x="630" y="982"/>
                  </a:lnTo>
                  <a:lnTo>
                    <a:pt x="628" y="982"/>
                  </a:lnTo>
                  <a:lnTo>
                    <a:pt x="630" y="982"/>
                  </a:lnTo>
                  <a:lnTo>
                    <a:pt x="624" y="984"/>
                  </a:lnTo>
                  <a:lnTo>
                    <a:pt x="620" y="984"/>
                  </a:lnTo>
                  <a:lnTo>
                    <a:pt x="614" y="984"/>
                  </a:lnTo>
                  <a:lnTo>
                    <a:pt x="608" y="984"/>
                  </a:lnTo>
                  <a:lnTo>
                    <a:pt x="602" y="984"/>
                  </a:lnTo>
                  <a:lnTo>
                    <a:pt x="596" y="984"/>
                  </a:lnTo>
                  <a:lnTo>
                    <a:pt x="590" y="982"/>
                  </a:lnTo>
                  <a:lnTo>
                    <a:pt x="582" y="982"/>
                  </a:lnTo>
                  <a:lnTo>
                    <a:pt x="574" y="982"/>
                  </a:lnTo>
                  <a:lnTo>
                    <a:pt x="568" y="980"/>
                  </a:lnTo>
                  <a:lnTo>
                    <a:pt x="562" y="978"/>
                  </a:lnTo>
                  <a:lnTo>
                    <a:pt x="560" y="976"/>
                  </a:lnTo>
                  <a:lnTo>
                    <a:pt x="558" y="974"/>
                  </a:lnTo>
                  <a:lnTo>
                    <a:pt x="554" y="970"/>
                  </a:lnTo>
                  <a:lnTo>
                    <a:pt x="550" y="964"/>
                  </a:lnTo>
                  <a:lnTo>
                    <a:pt x="548" y="962"/>
                  </a:lnTo>
                  <a:lnTo>
                    <a:pt x="546" y="960"/>
                  </a:lnTo>
                  <a:lnTo>
                    <a:pt x="542" y="958"/>
                  </a:lnTo>
                  <a:lnTo>
                    <a:pt x="542" y="958"/>
                  </a:lnTo>
                  <a:lnTo>
                    <a:pt x="542" y="958"/>
                  </a:lnTo>
                  <a:lnTo>
                    <a:pt x="538" y="956"/>
                  </a:lnTo>
                  <a:lnTo>
                    <a:pt x="538" y="956"/>
                  </a:lnTo>
                  <a:lnTo>
                    <a:pt x="538" y="956"/>
                  </a:lnTo>
                  <a:lnTo>
                    <a:pt x="534" y="956"/>
                  </a:lnTo>
                  <a:lnTo>
                    <a:pt x="534" y="956"/>
                  </a:lnTo>
                  <a:lnTo>
                    <a:pt x="534" y="956"/>
                  </a:lnTo>
                  <a:lnTo>
                    <a:pt x="530" y="956"/>
                  </a:lnTo>
                  <a:lnTo>
                    <a:pt x="528" y="956"/>
                  </a:lnTo>
                  <a:lnTo>
                    <a:pt x="524" y="956"/>
                  </a:lnTo>
                  <a:lnTo>
                    <a:pt x="520" y="956"/>
                  </a:lnTo>
                  <a:lnTo>
                    <a:pt x="516" y="958"/>
                  </a:lnTo>
                  <a:lnTo>
                    <a:pt x="510" y="958"/>
                  </a:lnTo>
                  <a:lnTo>
                    <a:pt x="506" y="960"/>
                  </a:lnTo>
                  <a:lnTo>
                    <a:pt x="502" y="962"/>
                  </a:lnTo>
                  <a:lnTo>
                    <a:pt x="502" y="962"/>
                  </a:lnTo>
                  <a:lnTo>
                    <a:pt x="500" y="962"/>
                  </a:lnTo>
                  <a:lnTo>
                    <a:pt x="498" y="966"/>
                  </a:lnTo>
                  <a:lnTo>
                    <a:pt x="498" y="966"/>
                  </a:lnTo>
                  <a:lnTo>
                    <a:pt x="496" y="966"/>
                  </a:lnTo>
                  <a:lnTo>
                    <a:pt x="494" y="970"/>
                  </a:lnTo>
                  <a:lnTo>
                    <a:pt x="494" y="970"/>
                  </a:lnTo>
                  <a:lnTo>
                    <a:pt x="494" y="970"/>
                  </a:lnTo>
                  <a:lnTo>
                    <a:pt x="494" y="972"/>
                  </a:lnTo>
                  <a:lnTo>
                    <a:pt x="494" y="972"/>
                  </a:lnTo>
                  <a:lnTo>
                    <a:pt x="494" y="972"/>
                  </a:lnTo>
                  <a:lnTo>
                    <a:pt x="494" y="976"/>
                  </a:lnTo>
                  <a:lnTo>
                    <a:pt x="494" y="982"/>
                  </a:lnTo>
                  <a:lnTo>
                    <a:pt x="496" y="988"/>
                  </a:lnTo>
                  <a:lnTo>
                    <a:pt x="498" y="994"/>
                  </a:lnTo>
                  <a:lnTo>
                    <a:pt x="500" y="1002"/>
                  </a:lnTo>
                  <a:lnTo>
                    <a:pt x="502" y="1008"/>
                  </a:lnTo>
                  <a:lnTo>
                    <a:pt x="502" y="1014"/>
                  </a:lnTo>
                  <a:lnTo>
                    <a:pt x="504" y="1018"/>
                  </a:lnTo>
                  <a:lnTo>
                    <a:pt x="504" y="1026"/>
                  </a:lnTo>
                  <a:lnTo>
                    <a:pt x="504" y="1030"/>
                  </a:lnTo>
                  <a:lnTo>
                    <a:pt x="504" y="1034"/>
                  </a:lnTo>
                  <a:lnTo>
                    <a:pt x="504" y="1036"/>
                  </a:lnTo>
                  <a:lnTo>
                    <a:pt x="504" y="1034"/>
                  </a:lnTo>
                  <a:lnTo>
                    <a:pt x="502" y="1032"/>
                  </a:lnTo>
                  <a:lnTo>
                    <a:pt x="500" y="1030"/>
                  </a:lnTo>
                  <a:lnTo>
                    <a:pt x="498" y="1024"/>
                  </a:lnTo>
                  <a:lnTo>
                    <a:pt x="494" y="1018"/>
                  </a:lnTo>
                  <a:lnTo>
                    <a:pt x="488" y="1012"/>
                  </a:lnTo>
                  <a:lnTo>
                    <a:pt x="484" y="1006"/>
                  </a:lnTo>
                  <a:lnTo>
                    <a:pt x="484" y="1002"/>
                  </a:lnTo>
                  <a:lnTo>
                    <a:pt x="482" y="1000"/>
                  </a:lnTo>
                  <a:lnTo>
                    <a:pt x="480" y="998"/>
                  </a:lnTo>
                  <a:lnTo>
                    <a:pt x="478" y="996"/>
                  </a:lnTo>
                  <a:lnTo>
                    <a:pt x="476" y="994"/>
                  </a:lnTo>
                  <a:lnTo>
                    <a:pt x="476" y="990"/>
                  </a:lnTo>
                  <a:lnTo>
                    <a:pt x="474" y="990"/>
                  </a:lnTo>
                  <a:lnTo>
                    <a:pt x="472" y="988"/>
                  </a:lnTo>
                  <a:lnTo>
                    <a:pt x="472" y="988"/>
                  </a:lnTo>
                  <a:lnTo>
                    <a:pt x="472" y="988"/>
                  </a:lnTo>
                  <a:lnTo>
                    <a:pt x="470" y="986"/>
                  </a:lnTo>
                  <a:lnTo>
                    <a:pt x="470" y="986"/>
                  </a:lnTo>
                  <a:lnTo>
                    <a:pt x="470" y="986"/>
                  </a:lnTo>
                  <a:lnTo>
                    <a:pt x="468" y="984"/>
                  </a:lnTo>
                  <a:lnTo>
                    <a:pt x="466" y="984"/>
                  </a:lnTo>
                  <a:lnTo>
                    <a:pt x="462" y="982"/>
                  </a:lnTo>
                  <a:lnTo>
                    <a:pt x="456" y="982"/>
                  </a:lnTo>
                  <a:lnTo>
                    <a:pt x="450" y="982"/>
                  </a:lnTo>
                  <a:lnTo>
                    <a:pt x="444" y="980"/>
                  </a:lnTo>
                  <a:lnTo>
                    <a:pt x="440" y="982"/>
                  </a:lnTo>
                  <a:lnTo>
                    <a:pt x="438" y="982"/>
                  </a:lnTo>
                  <a:lnTo>
                    <a:pt x="430" y="984"/>
                  </a:lnTo>
                  <a:lnTo>
                    <a:pt x="426" y="986"/>
                  </a:lnTo>
                  <a:lnTo>
                    <a:pt x="422" y="986"/>
                  </a:lnTo>
                  <a:lnTo>
                    <a:pt x="418" y="988"/>
                  </a:lnTo>
                  <a:lnTo>
                    <a:pt x="418" y="986"/>
                  </a:lnTo>
                  <a:lnTo>
                    <a:pt x="414" y="986"/>
                  </a:lnTo>
                  <a:lnTo>
                    <a:pt x="410" y="986"/>
                  </a:lnTo>
                  <a:lnTo>
                    <a:pt x="404" y="986"/>
                  </a:lnTo>
                  <a:lnTo>
                    <a:pt x="400" y="984"/>
                  </a:lnTo>
                  <a:lnTo>
                    <a:pt x="394" y="984"/>
                  </a:lnTo>
                  <a:lnTo>
                    <a:pt x="388" y="982"/>
                  </a:lnTo>
                  <a:lnTo>
                    <a:pt x="384" y="980"/>
                  </a:lnTo>
                  <a:lnTo>
                    <a:pt x="382" y="980"/>
                  </a:lnTo>
                  <a:lnTo>
                    <a:pt x="380" y="980"/>
                  </a:lnTo>
                  <a:lnTo>
                    <a:pt x="380" y="978"/>
                  </a:lnTo>
                  <a:lnTo>
                    <a:pt x="380" y="978"/>
                  </a:lnTo>
                  <a:lnTo>
                    <a:pt x="380" y="978"/>
                  </a:lnTo>
                  <a:lnTo>
                    <a:pt x="380" y="976"/>
                  </a:lnTo>
                  <a:lnTo>
                    <a:pt x="382" y="974"/>
                  </a:lnTo>
                  <a:lnTo>
                    <a:pt x="384" y="972"/>
                  </a:lnTo>
                  <a:lnTo>
                    <a:pt x="386" y="970"/>
                  </a:lnTo>
                  <a:lnTo>
                    <a:pt x="390" y="966"/>
                  </a:lnTo>
                  <a:lnTo>
                    <a:pt x="392" y="964"/>
                  </a:lnTo>
                  <a:lnTo>
                    <a:pt x="396" y="962"/>
                  </a:lnTo>
                  <a:lnTo>
                    <a:pt x="398" y="960"/>
                  </a:lnTo>
                  <a:lnTo>
                    <a:pt x="398" y="960"/>
                  </a:lnTo>
                  <a:lnTo>
                    <a:pt x="400" y="960"/>
                  </a:lnTo>
                  <a:lnTo>
                    <a:pt x="404" y="958"/>
                  </a:lnTo>
                  <a:lnTo>
                    <a:pt x="406" y="958"/>
                  </a:lnTo>
                  <a:lnTo>
                    <a:pt x="406" y="958"/>
                  </a:lnTo>
                  <a:lnTo>
                    <a:pt x="406" y="958"/>
                  </a:lnTo>
                  <a:lnTo>
                    <a:pt x="406" y="958"/>
                  </a:lnTo>
                  <a:lnTo>
                    <a:pt x="404" y="960"/>
                  </a:lnTo>
                  <a:lnTo>
                    <a:pt x="402" y="960"/>
                  </a:lnTo>
                  <a:lnTo>
                    <a:pt x="400" y="962"/>
                  </a:lnTo>
                  <a:lnTo>
                    <a:pt x="400" y="962"/>
                  </a:lnTo>
                  <a:lnTo>
                    <a:pt x="398" y="964"/>
                  </a:lnTo>
                  <a:lnTo>
                    <a:pt x="398" y="966"/>
                  </a:lnTo>
                  <a:lnTo>
                    <a:pt x="398" y="966"/>
                  </a:lnTo>
                  <a:lnTo>
                    <a:pt x="398" y="968"/>
                  </a:lnTo>
                  <a:lnTo>
                    <a:pt x="400" y="970"/>
                  </a:lnTo>
                  <a:lnTo>
                    <a:pt x="400" y="970"/>
                  </a:lnTo>
                  <a:lnTo>
                    <a:pt x="402" y="970"/>
                  </a:lnTo>
                  <a:lnTo>
                    <a:pt x="402" y="970"/>
                  </a:lnTo>
                  <a:lnTo>
                    <a:pt x="402" y="970"/>
                  </a:lnTo>
                  <a:lnTo>
                    <a:pt x="404" y="970"/>
                  </a:lnTo>
                  <a:lnTo>
                    <a:pt x="404" y="970"/>
                  </a:lnTo>
                  <a:lnTo>
                    <a:pt x="406" y="968"/>
                  </a:lnTo>
                  <a:lnTo>
                    <a:pt x="408" y="970"/>
                  </a:lnTo>
                  <a:lnTo>
                    <a:pt x="410" y="972"/>
                  </a:lnTo>
                  <a:lnTo>
                    <a:pt x="414" y="974"/>
                  </a:lnTo>
                  <a:lnTo>
                    <a:pt x="414" y="976"/>
                  </a:lnTo>
                  <a:lnTo>
                    <a:pt x="416" y="976"/>
                  </a:lnTo>
                  <a:lnTo>
                    <a:pt x="416" y="976"/>
                  </a:lnTo>
                  <a:lnTo>
                    <a:pt x="416" y="976"/>
                  </a:lnTo>
                  <a:lnTo>
                    <a:pt x="416" y="976"/>
                  </a:lnTo>
                  <a:lnTo>
                    <a:pt x="418" y="978"/>
                  </a:lnTo>
                  <a:lnTo>
                    <a:pt x="418" y="978"/>
                  </a:lnTo>
                  <a:lnTo>
                    <a:pt x="418" y="978"/>
                  </a:lnTo>
                  <a:lnTo>
                    <a:pt x="420" y="978"/>
                  </a:lnTo>
                  <a:lnTo>
                    <a:pt x="420" y="978"/>
                  </a:lnTo>
                  <a:lnTo>
                    <a:pt x="422" y="976"/>
                  </a:lnTo>
                  <a:lnTo>
                    <a:pt x="422" y="976"/>
                  </a:lnTo>
                  <a:lnTo>
                    <a:pt x="422" y="974"/>
                  </a:lnTo>
                  <a:lnTo>
                    <a:pt x="424" y="974"/>
                  </a:lnTo>
                  <a:lnTo>
                    <a:pt x="424" y="972"/>
                  </a:lnTo>
                  <a:lnTo>
                    <a:pt x="424" y="972"/>
                  </a:lnTo>
                  <a:lnTo>
                    <a:pt x="424" y="972"/>
                  </a:lnTo>
                  <a:lnTo>
                    <a:pt x="426" y="972"/>
                  </a:lnTo>
                  <a:lnTo>
                    <a:pt x="426" y="972"/>
                  </a:lnTo>
                  <a:lnTo>
                    <a:pt x="426" y="970"/>
                  </a:lnTo>
                  <a:lnTo>
                    <a:pt x="426" y="968"/>
                  </a:lnTo>
                  <a:lnTo>
                    <a:pt x="426" y="968"/>
                  </a:lnTo>
                  <a:lnTo>
                    <a:pt x="424" y="968"/>
                  </a:lnTo>
                  <a:lnTo>
                    <a:pt x="424" y="968"/>
                  </a:lnTo>
                  <a:lnTo>
                    <a:pt x="424" y="966"/>
                  </a:lnTo>
                  <a:lnTo>
                    <a:pt x="426" y="966"/>
                  </a:lnTo>
                  <a:lnTo>
                    <a:pt x="430" y="968"/>
                  </a:lnTo>
                  <a:lnTo>
                    <a:pt x="430" y="968"/>
                  </a:lnTo>
                  <a:lnTo>
                    <a:pt x="430" y="968"/>
                  </a:lnTo>
                  <a:lnTo>
                    <a:pt x="432" y="968"/>
                  </a:lnTo>
                  <a:lnTo>
                    <a:pt x="432" y="968"/>
                  </a:lnTo>
                  <a:lnTo>
                    <a:pt x="432" y="970"/>
                  </a:lnTo>
                  <a:lnTo>
                    <a:pt x="434" y="970"/>
                  </a:lnTo>
                  <a:lnTo>
                    <a:pt x="438" y="970"/>
                  </a:lnTo>
                  <a:lnTo>
                    <a:pt x="442" y="968"/>
                  </a:lnTo>
                  <a:lnTo>
                    <a:pt x="442" y="968"/>
                  </a:lnTo>
                  <a:lnTo>
                    <a:pt x="442" y="968"/>
                  </a:lnTo>
                  <a:lnTo>
                    <a:pt x="444" y="968"/>
                  </a:lnTo>
                  <a:lnTo>
                    <a:pt x="446" y="968"/>
                  </a:lnTo>
                  <a:lnTo>
                    <a:pt x="446" y="966"/>
                  </a:lnTo>
                  <a:lnTo>
                    <a:pt x="446" y="966"/>
                  </a:lnTo>
                  <a:lnTo>
                    <a:pt x="448" y="966"/>
                  </a:lnTo>
                  <a:lnTo>
                    <a:pt x="448" y="964"/>
                  </a:lnTo>
                  <a:lnTo>
                    <a:pt x="450" y="964"/>
                  </a:lnTo>
                  <a:lnTo>
                    <a:pt x="450" y="962"/>
                  </a:lnTo>
                  <a:lnTo>
                    <a:pt x="452" y="962"/>
                  </a:lnTo>
                  <a:lnTo>
                    <a:pt x="454" y="962"/>
                  </a:lnTo>
                  <a:lnTo>
                    <a:pt x="454" y="962"/>
                  </a:lnTo>
                  <a:lnTo>
                    <a:pt x="456" y="960"/>
                  </a:lnTo>
                  <a:lnTo>
                    <a:pt x="460" y="960"/>
                  </a:lnTo>
                  <a:lnTo>
                    <a:pt x="460" y="960"/>
                  </a:lnTo>
                  <a:lnTo>
                    <a:pt x="460" y="960"/>
                  </a:lnTo>
                  <a:lnTo>
                    <a:pt x="462" y="960"/>
                  </a:lnTo>
                  <a:lnTo>
                    <a:pt x="462" y="960"/>
                  </a:lnTo>
                  <a:lnTo>
                    <a:pt x="464" y="960"/>
                  </a:lnTo>
                  <a:lnTo>
                    <a:pt x="464" y="958"/>
                  </a:lnTo>
                  <a:lnTo>
                    <a:pt x="468" y="958"/>
                  </a:lnTo>
                  <a:lnTo>
                    <a:pt x="472" y="956"/>
                  </a:lnTo>
                  <a:lnTo>
                    <a:pt x="476" y="956"/>
                  </a:lnTo>
                  <a:lnTo>
                    <a:pt x="480" y="954"/>
                  </a:lnTo>
                  <a:lnTo>
                    <a:pt x="480" y="954"/>
                  </a:lnTo>
                  <a:lnTo>
                    <a:pt x="482" y="954"/>
                  </a:lnTo>
                  <a:lnTo>
                    <a:pt x="484" y="950"/>
                  </a:lnTo>
                  <a:lnTo>
                    <a:pt x="486" y="946"/>
                  </a:lnTo>
                  <a:lnTo>
                    <a:pt x="488" y="944"/>
                  </a:lnTo>
                  <a:lnTo>
                    <a:pt x="490" y="944"/>
                  </a:lnTo>
                  <a:lnTo>
                    <a:pt x="492" y="942"/>
                  </a:lnTo>
                  <a:lnTo>
                    <a:pt x="496" y="942"/>
                  </a:lnTo>
                  <a:lnTo>
                    <a:pt x="500" y="942"/>
                  </a:lnTo>
                  <a:lnTo>
                    <a:pt x="504" y="942"/>
                  </a:lnTo>
                  <a:lnTo>
                    <a:pt x="506" y="942"/>
                  </a:lnTo>
                  <a:lnTo>
                    <a:pt x="506" y="942"/>
                  </a:lnTo>
                  <a:lnTo>
                    <a:pt x="508" y="940"/>
                  </a:lnTo>
                  <a:lnTo>
                    <a:pt x="510" y="938"/>
                  </a:lnTo>
                  <a:lnTo>
                    <a:pt x="510" y="936"/>
                  </a:lnTo>
                  <a:lnTo>
                    <a:pt x="510" y="936"/>
                  </a:lnTo>
                  <a:lnTo>
                    <a:pt x="510" y="936"/>
                  </a:lnTo>
                  <a:lnTo>
                    <a:pt x="512" y="932"/>
                  </a:lnTo>
                  <a:lnTo>
                    <a:pt x="512" y="928"/>
                  </a:lnTo>
                  <a:lnTo>
                    <a:pt x="512" y="926"/>
                  </a:lnTo>
                  <a:lnTo>
                    <a:pt x="512" y="926"/>
                  </a:lnTo>
                  <a:lnTo>
                    <a:pt x="512" y="924"/>
                  </a:lnTo>
                  <a:lnTo>
                    <a:pt x="514" y="924"/>
                  </a:lnTo>
                  <a:lnTo>
                    <a:pt x="514" y="924"/>
                  </a:lnTo>
                  <a:lnTo>
                    <a:pt x="516" y="924"/>
                  </a:lnTo>
                  <a:lnTo>
                    <a:pt x="518" y="924"/>
                  </a:lnTo>
                  <a:lnTo>
                    <a:pt x="520" y="926"/>
                  </a:lnTo>
                  <a:lnTo>
                    <a:pt x="522" y="928"/>
                  </a:lnTo>
                  <a:lnTo>
                    <a:pt x="526" y="932"/>
                  </a:lnTo>
                  <a:lnTo>
                    <a:pt x="530" y="934"/>
                  </a:lnTo>
                  <a:lnTo>
                    <a:pt x="530" y="934"/>
                  </a:lnTo>
                  <a:lnTo>
                    <a:pt x="530" y="934"/>
                  </a:lnTo>
                  <a:lnTo>
                    <a:pt x="532" y="936"/>
                  </a:lnTo>
                  <a:lnTo>
                    <a:pt x="532" y="936"/>
                  </a:lnTo>
                  <a:lnTo>
                    <a:pt x="532" y="936"/>
                  </a:lnTo>
                  <a:lnTo>
                    <a:pt x="534" y="936"/>
                  </a:lnTo>
                  <a:lnTo>
                    <a:pt x="538" y="938"/>
                  </a:lnTo>
                  <a:lnTo>
                    <a:pt x="538" y="938"/>
                  </a:lnTo>
                  <a:lnTo>
                    <a:pt x="538" y="938"/>
                  </a:lnTo>
                  <a:lnTo>
                    <a:pt x="542" y="940"/>
                  </a:lnTo>
                  <a:lnTo>
                    <a:pt x="542" y="940"/>
                  </a:lnTo>
                  <a:lnTo>
                    <a:pt x="542" y="940"/>
                  </a:lnTo>
                  <a:lnTo>
                    <a:pt x="546" y="942"/>
                  </a:lnTo>
                  <a:lnTo>
                    <a:pt x="550" y="942"/>
                  </a:lnTo>
                  <a:lnTo>
                    <a:pt x="550" y="942"/>
                  </a:lnTo>
                  <a:lnTo>
                    <a:pt x="560" y="942"/>
                  </a:lnTo>
                  <a:lnTo>
                    <a:pt x="568" y="944"/>
                  </a:lnTo>
                  <a:lnTo>
                    <a:pt x="576" y="942"/>
                  </a:lnTo>
                  <a:lnTo>
                    <a:pt x="580" y="942"/>
                  </a:lnTo>
                  <a:lnTo>
                    <a:pt x="584" y="942"/>
                  </a:lnTo>
                  <a:lnTo>
                    <a:pt x="584" y="942"/>
                  </a:lnTo>
                  <a:lnTo>
                    <a:pt x="586" y="942"/>
                  </a:lnTo>
                  <a:lnTo>
                    <a:pt x="586" y="940"/>
                  </a:lnTo>
                  <a:lnTo>
                    <a:pt x="586" y="940"/>
                  </a:lnTo>
                  <a:lnTo>
                    <a:pt x="588" y="940"/>
                  </a:lnTo>
                  <a:lnTo>
                    <a:pt x="588" y="938"/>
                  </a:lnTo>
                  <a:lnTo>
                    <a:pt x="588" y="938"/>
                  </a:lnTo>
                  <a:lnTo>
                    <a:pt x="588" y="938"/>
                  </a:lnTo>
                  <a:lnTo>
                    <a:pt x="588" y="934"/>
                  </a:lnTo>
                  <a:lnTo>
                    <a:pt x="588" y="932"/>
                  </a:lnTo>
                  <a:lnTo>
                    <a:pt x="588" y="932"/>
                  </a:lnTo>
                  <a:lnTo>
                    <a:pt x="590" y="932"/>
                  </a:lnTo>
                  <a:lnTo>
                    <a:pt x="590" y="932"/>
                  </a:lnTo>
                  <a:lnTo>
                    <a:pt x="592" y="932"/>
                  </a:lnTo>
                  <a:lnTo>
                    <a:pt x="594" y="932"/>
                  </a:lnTo>
                  <a:lnTo>
                    <a:pt x="594" y="932"/>
                  </a:lnTo>
                  <a:lnTo>
                    <a:pt x="594" y="930"/>
                  </a:lnTo>
                  <a:lnTo>
                    <a:pt x="596" y="930"/>
                  </a:lnTo>
                  <a:lnTo>
                    <a:pt x="596" y="930"/>
                  </a:lnTo>
                  <a:lnTo>
                    <a:pt x="596" y="928"/>
                  </a:lnTo>
                  <a:lnTo>
                    <a:pt x="598" y="928"/>
                  </a:lnTo>
                  <a:lnTo>
                    <a:pt x="598" y="928"/>
                  </a:lnTo>
                  <a:lnTo>
                    <a:pt x="598" y="926"/>
                  </a:lnTo>
                  <a:lnTo>
                    <a:pt x="598" y="924"/>
                  </a:lnTo>
                  <a:lnTo>
                    <a:pt x="600" y="920"/>
                  </a:lnTo>
                  <a:lnTo>
                    <a:pt x="600" y="918"/>
                  </a:lnTo>
                  <a:lnTo>
                    <a:pt x="602" y="916"/>
                  </a:lnTo>
                  <a:lnTo>
                    <a:pt x="602" y="916"/>
                  </a:lnTo>
                  <a:lnTo>
                    <a:pt x="602" y="916"/>
                  </a:lnTo>
                  <a:lnTo>
                    <a:pt x="604" y="908"/>
                  </a:lnTo>
                  <a:lnTo>
                    <a:pt x="604" y="904"/>
                  </a:lnTo>
                  <a:lnTo>
                    <a:pt x="606" y="898"/>
                  </a:lnTo>
                  <a:lnTo>
                    <a:pt x="608" y="894"/>
                  </a:lnTo>
                  <a:lnTo>
                    <a:pt x="608" y="894"/>
                  </a:lnTo>
                  <a:lnTo>
                    <a:pt x="608" y="894"/>
                  </a:lnTo>
                  <a:lnTo>
                    <a:pt x="608" y="892"/>
                  </a:lnTo>
                  <a:lnTo>
                    <a:pt x="608" y="892"/>
                  </a:lnTo>
                  <a:lnTo>
                    <a:pt x="608" y="892"/>
                  </a:lnTo>
                  <a:lnTo>
                    <a:pt x="608" y="890"/>
                  </a:lnTo>
                  <a:lnTo>
                    <a:pt x="608" y="890"/>
                  </a:lnTo>
                  <a:lnTo>
                    <a:pt x="606" y="888"/>
                  </a:lnTo>
                  <a:lnTo>
                    <a:pt x="606" y="888"/>
                  </a:lnTo>
                  <a:lnTo>
                    <a:pt x="606" y="888"/>
                  </a:lnTo>
                  <a:lnTo>
                    <a:pt x="606" y="886"/>
                  </a:lnTo>
                  <a:lnTo>
                    <a:pt x="604" y="886"/>
                  </a:lnTo>
                  <a:lnTo>
                    <a:pt x="604" y="886"/>
                  </a:lnTo>
                  <a:lnTo>
                    <a:pt x="604" y="884"/>
                  </a:lnTo>
                  <a:lnTo>
                    <a:pt x="602" y="884"/>
                  </a:lnTo>
                  <a:lnTo>
                    <a:pt x="598" y="882"/>
                  </a:lnTo>
                  <a:lnTo>
                    <a:pt x="594" y="880"/>
                  </a:lnTo>
                  <a:lnTo>
                    <a:pt x="590" y="878"/>
                  </a:lnTo>
                  <a:lnTo>
                    <a:pt x="586" y="876"/>
                  </a:lnTo>
                  <a:lnTo>
                    <a:pt x="582" y="872"/>
                  </a:lnTo>
                  <a:lnTo>
                    <a:pt x="576" y="866"/>
                  </a:lnTo>
                  <a:lnTo>
                    <a:pt x="574" y="864"/>
                  </a:lnTo>
                  <a:lnTo>
                    <a:pt x="570" y="860"/>
                  </a:lnTo>
                  <a:lnTo>
                    <a:pt x="570" y="860"/>
                  </a:lnTo>
                  <a:lnTo>
                    <a:pt x="568" y="860"/>
                  </a:lnTo>
                  <a:lnTo>
                    <a:pt x="564" y="858"/>
                  </a:lnTo>
                  <a:lnTo>
                    <a:pt x="564" y="858"/>
                  </a:lnTo>
                  <a:lnTo>
                    <a:pt x="564" y="858"/>
                  </a:lnTo>
                  <a:lnTo>
                    <a:pt x="560" y="856"/>
                  </a:lnTo>
                  <a:lnTo>
                    <a:pt x="556" y="854"/>
                  </a:lnTo>
                  <a:lnTo>
                    <a:pt x="554" y="854"/>
                  </a:lnTo>
                  <a:lnTo>
                    <a:pt x="550" y="850"/>
                  </a:lnTo>
                  <a:lnTo>
                    <a:pt x="546" y="846"/>
                  </a:lnTo>
                  <a:lnTo>
                    <a:pt x="542" y="840"/>
                  </a:lnTo>
                  <a:lnTo>
                    <a:pt x="544" y="834"/>
                  </a:lnTo>
                  <a:lnTo>
                    <a:pt x="544" y="828"/>
                  </a:lnTo>
                  <a:lnTo>
                    <a:pt x="544" y="820"/>
                  </a:lnTo>
                  <a:lnTo>
                    <a:pt x="544" y="814"/>
                  </a:lnTo>
                  <a:lnTo>
                    <a:pt x="544" y="806"/>
                  </a:lnTo>
                  <a:lnTo>
                    <a:pt x="542" y="798"/>
                  </a:lnTo>
                  <a:lnTo>
                    <a:pt x="542" y="798"/>
                  </a:lnTo>
                  <a:lnTo>
                    <a:pt x="542" y="798"/>
                  </a:lnTo>
                  <a:lnTo>
                    <a:pt x="540" y="792"/>
                  </a:lnTo>
                  <a:lnTo>
                    <a:pt x="540" y="792"/>
                  </a:lnTo>
                  <a:lnTo>
                    <a:pt x="540" y="790"/>
                  </a:lnTo>
                  <a:lnTo>
                    <a:pt x="538" y="788"/>
                  </a:lnTo>
                  <a:lnTo>
                    <a:pt x="536" y="784"/>
                  </a:lnTo>
                  <a:lnTo>
                    <a:pt x="538" y="780"/>
                  </a:lnTo>
                  <a:lnTo>
                    <a:pt x="538" y="774"/>
                  </a:lnTo>
                  <a:lnTo>
                    <a:pt x="538" y="766"/>
                  </a:lnTo>
                  <a:lnTo>
                    <a:pt x="540" y="758"/>
                  </a:lnTo>
                  <a:lnTo>
                    <a:pt x="542" y="752"/>
                  </a:lnTo>
                  <a:lnTo>
                    <a:pt x="542" y="744"/>
                  </a:lnTo>
                  <a:lnTo>
                    <a:pt x="544" y="738"/>
                  </a:lnTo>
                  <a:lnTo>
                    <a:pt x="548" y="732"/>
                  </a:lnTo>
                  <a:lnTo>
                    <a:pt x="548" y="732"/>
                  </a:lnTo>
                  <a:lnTo>
                    <a:pt x="548" y="728"/>
                  </a:lnTo>
                  <a:lnTo>
                    <a:pt x="546" y="728"/>
                  </a:lnTo>
                  <a:lnTo>
                    <a:pt x="544" y="726"/>
                  </a:lnTo>
                  <a:lnTo>
                    <a:pt x="544" y="726"/>
                  </a:lnTo>
                  <a:lnTo>
                    <a:pt x="544" y="724"/>
                  </a:lnTo>
                  <a:lnTo>
                    <a:pt x="540" y="722"/>
                  </a:lnTo>
                  <a:lnTo>
                    <a:pt x="540" y="722"/>
                  </a:lnTo>
                  <a:lnTo>
                    <a:pt x="538" y="722"/>
                  </a:lnTo>
                  <a:lnTo>
                    <a:pt x="536" y="722"/>
                  </a:lnTo>
                  <a:lnTo>
                    <a:pt x="536" y="722"/>
                  </a:lnTo>
                  <a:lnTo>
                    <a:pt x="534" y="722"/>
                  </a:lnTo>
                  <a:lnTo>
                    <a:pt x="530" y="722"/>
                  </a:lnTo>
                  <a:lnTo>
                    <a:pt x="530" y="722"/>
                  </a:lnTo>
                  <a:lnTo>
                    <a:pt x="530" y="722"/>
                  </a:lnTo>
                  <a:lnTo>
                    <a:pt x="526" y="722"/>
                  </a:lnTo>
                  <a:lnTo>
                    <a:pt x="522" y="722"/>
                  </a:lnTo>
                  <a:lnTo>
                    <a:pt x="512" y="724"/>
                  </a:lnTo>
                  <a:lnTo>
                    <a:pt x="512" y="724"/>
                  </a:lnTo>
                  <a:lnTo>
                    <a:pt x="512" y="724"/>
                  </a:lnTo>
                  <a:lnTo>
                    <a:pt x="508" y="726"/>
                  </a:lnTo>
                  <a:lnTo>
                    <a:pt x="508" y="726"/>
                  </a:lnTo>
                  <a:lnTo>
                    <a:pt x="508" y="728"/>
                  </a:lnTo>
                  <a:lnTo>
                    <a:pt x="506" y="730"/>
                  </a:lnTo>
                  <a:lnTo>
                    <a:pt x="506" y="730"/>
                  </a:lnTo>
                  <a:lnTo>
                    <a:pt x="506" y="730"/>
                  </a:lnTo>
                  <a:lnTo>
                    <a:pt x="506" y="732"/>
                  </a:lnTo>
                  <a:lnTo>
                    <a:pt x="506" y="732"/>
                  </a:lnTo>
                  <a:lnTo>
                    <a:pt x="506" y="734"/>
                  </a:lnTo>
                  <a:lnTo>
                    <a:pt x="506" y="736"/>
                  </a:lnTo>
                  <a:lnTo>
                    <a:pt x="506" y="736"/>
                  </a:lnTo>
                  <a:lnTo>
                    <a:pt x="506" y="736"/>
                  </a:lnTo>
                  <a:lnTo>
                    <a:pt x="506" y="738"/>
                  </a:lnTo>
                  <a:lnTo>
                    <a:pt x="502" y="732"/>
                  </a:lnTo>
                  <a:lnTo>
                    <a:pt x="502" y="732"/>
                  </a:lnTo>
                  <a:lnTo>
                    <a:pt x="502" y="732"/>
                  </a:lnTo>
                  <a:lnTo>
                    <a:pt x="500" y="730"/>
                  </a:lnTo>
                  <a:lnTo>
                    <a:pt x="500" y="730"/>
                  </a:lnTo>
                  <a:lnTo>
                    <a:pt x="500" y="730"/>
                  </a:lnTo>
                  <a:lnTo>
                    <a:pt x="496" y="728"/>
                  </a:lnTo>
                  <a:lnTo>
                    <a:pt x="496" y="728"/>
                  </a:lnTo>
                  <a:lnTo>
                    <a:pt x="494" y="728"/>
                  </a:lnTo>
                  <a:lnTo>
                    <a:pt x="494" y="728"/>
                  </a:lnTo>
                  <a:lnTo>
                    <a:pt x="492" y="730"/>
                  </a:lnTo>
                  <a:lnTo>
                    <a:pt x="490" y="732"/>
                  </a:lnTo>
                  <a:lnTo>
                    <a:pt x="490" y="732"/>
                  </a:lnTo>
                  <a:lnTo>
                    <a:pt x="490" y="734"/>
                  </a:lnTo>
                  <a:lnTo>
                    <a:pt x="490" y="738"/>
                  </a:lnTo>
                  <a:lnTo>
                    <a:pt x="488" y="742"/>
                  </a:lnTo>
                  <a:lnTo>
                    <a:pt x="488" y="746"/>
                  </a:lnTo>
                  <a:lnTo>
                    <a:pt x="488" y="758"/>
                  </a:lnTo>
                  <a:lnTo>
                    <a:pt x="488" y="770"/>
                  </a:lnTo>
                  <a:lnTo>
                    <a:pt x="490" y="782"/>
                  </a:lnTo>
                  <a:lnTo>
                    <a:pt x="492" y="786"/>
                  </a:lnTo>
                  <a:lnTo>
                    <a:pt x="494" y="792"/>
                  </a:lnTo>
                  <a:lnTo>
                    <a:pt x="496" y="798"/>
                  </a:lnTo>
                  <a:lnTo>
                    <a:pt x="498" y="802"/>
                  </a:lnTo>
                  <a:lnTo>
                    <a:pt x="500" y="806"/>
                  </a:lnTo>
                  <a:lnTo>
                    <a:pt x="502" y="808"/>
                  </a:lnTo>
                  <a:lnTo>
                    <a:pt x="502" y="810"/>
                  </a:lnTo>
                  <a:lnTo>
                    <a:pt x="502" y="810"/>
                  </a:lnTo>
                  <a:lnTo>
                    <a:pt x="500" y="812"/>
                  </a:lnTo>
                  <a:lnTo>
                    <a:pt x="500" y="812"/>
                  </a:lnTo>
                  <a:lnTo>
                    <a:pt x="498" y="812"/>
                  </a:lnTo>
                  <a:lnTo>
                    <a:pt x="498" y="814"/>
                  </a:lnTo>
                  <a:lnTo>
                    <a:pt x="498" y="814"/>
                  </a:lnTo>
                  <a:lnTo>
                    <a:pt x="496" y="814"/>
                  </a:lnTo>
                  <a:lnTo>
                    <a:pt x="496" y="816"/>
                  </a:lnTo>
                  <a:lnTo>
                    <a:pt x="496" y="816"/>
                  </a:lnTo>
                  <a:lnTo>
                    <a:pt x="496" y="816"/>
                  </a:lnTo>
                  <a:lnTo>
                    <a:pt x="494" y="814"/>
                  </a:lnTo>
                  <a:lnTo>
                    <a:pt x="494" y="814"/>
                  </a:lnTo>
                  <a:lnTo>
                    <a:pt x="494" y="812"/>
                  </a:lnTo>
                  <a:lnTo>
                    <a:pt x="494" y="812"/>
                  </a:lnTo>
                  <a:lnTo>
                    <a:pt x="494" y="806"/>
                  </a:lnTo>
                  <a:lnTo>
                    <a:pt x="492" y="798"/>
                  </a:lnTo>
                  <a:lnTo>
                    <a:pt x="490" y="790"/>
                  </a:lnTo>
                  <a:lnTo>
                    <a:pt x="486" y="782"/>
                  </a:lnTo>
                  <a:lnTo>
                    <a:pt x="484" y="776"/>
                  </a:lnTo>
                  <a:lnTo>
                    <a:pt x="480" y="770"/>
                  </a:lnTo>
                  <a:lnTo>
                    <a:pt x="474" y="762"/>
                  </a:lnTo>
                  <a:lnTo>
                    <a:pt x="470" y="758"/>
                  </a:lnTo>
                  <a:lnTo>
                    <a:pt x="470" y="758"/>
                  </a:lnTo>
                  <a:lnTo>
                    <a:pt x="468" y="756"/>
                  </a:lnTo>
                  <a:lnTo>
                    <a:pt x="468" y="756"/>
                  </a:lnTo>
                  <a:lnTo>
                    <a:pt x="466" y="758"/>
                  </a:lnTo>
                  <a:lnTo>
                    <a:pt x="464" y="762"/>
                  </a:lnTo>
                  <a:lnTo>
                    <a:pt x="464" y="762"/>
                  </a:lnTo>
                  <a:lnTo>
                    <a:pt x="464" y="762"/>
                  </a:lnTo>
                  <a:lnTo>
                    <a:pt x="462" y="766"/>
                  </a:lnTo>
                  <a:lnTo>
                    <a:pt x="460" y="774"/>
                  </a:lnTo>
                  <a:lnTo>
                    <a:pt x="460" y="778"/>
                  </a:lnTo>
                  <a:lnTo>
                    <a:pt x="458" y="782"/>
                  </a:lnTo>
                  <a:lnTo>
                    <a:pt x="456" y="784"/>
                  </a:lnTo>
                  <a:lnTo>
                    <a:pt x="456" y="784"/>
                  </a:lnTo>
                  <a:lnTo>
                    <a:pt x="456" y="784"/>
                  </a:lnTo>
                  <a:lnTo>
                    <a:pt x="452" y="786"/>
                  </a:lnTo>
                  <a:lnTo>
                    <a:pt x="450" y="786"/>
                  </a:lnTo>
                  <a:lnTo>
                    <a:pt x="446" y="786"/>
                  </a:lnTo>
                  <a:lnTo>
                    <a:pt x="440" y="786"/>
                  </a:lnTo>
                  <a:lnTo>
                    <a:pt x="438" y="786"/>
                  </a:lnTo>
                  <a:lnTo>
                    <a:pt x="438" y="784"/>
                  </a:lnTo>
                  <a:lnTo>
                    <a:pt x="438" y="782"/>
                  </a:lnTo>
                  <a:lnTo>
                    <a:pt x="438" y="778"/>
                  </a:lnTo>
                  <a:lnTo>
                    <a:pt x="440" y="776"/>
                  </a:lnTo>
                  <a:lnTo>
                    <a:pt x="440" y="776"/>
                  </a:lnTo>
                  <a:lnTo>
                    <a:pt x="440" y="772"/>
                  </a:lnTo>
                  <a:lnTo>
                    <a:pt x="438" y="770"/>
                  </a:lnTo>
                  <a:lnTo>
                    <a:pt x="438" y="768"/>
                  </a:lnTo>
                  <a:lnTo>
                    <a:pt x="438" y="768"/>
                  </a:lnTo>
                  <a:lnTo>
                    <a:pt x="436" y="768"/>
                  </a:lnTo>
                  <a:lnTo>
                    <a:pt x="434" y="764"/>
                  </a:lnTo>
                  <a:lnTo>
                    <a:pt x="434" y="764"/>
                  </a:lnTo>
                  <a:lnTo>
                    <a:pt x="434" y="762"/>
                  </a:lnTo>
                  <a:lnTo>
                    <a:pt x="430" y="760"/>
                  </a:lnTo>
                  <a:lnTo>
                    <a:pt x="430" y="760"/>
                  </a:lnTo>
                  <a:lnTo>
                    <a:pt x="430" y="760"/>
                  </a:lnTo>
                  <a:lnTo>
                    <a:pt x="426" y="758"/>
                  </a:lnTo>
                  <a:lnTo>
                    <a:pt x="424" y="758"/>
                  </a:lnTo>
                  <a:lnTo>
                    <a:pt x="424" y="758"/>
                  </a:lnTo>
                  <a:lnTo>
                    <a:pt x="422" y="758"/>
                  </a:lnTo>
                  <a:lnTo>
                    <a:pt x="420" y="758"/>
                  </a:lnTo>
                  <a:lnTo>
                    <a:pt x="416" y="758"/>
                  </a:lnTo>
                  <a:lnTo>
                    <a:pt x="412" y="758"/>
                  </a:lnTo>
                  <a:lnTo>
                    <a:pt x="412" y="758"/>
                  </a:lnTo>
                  <a:lnTo>
                    <a:pt x="410" y="758"/>
                  </a:lnTo>
                  <a:lnTo>
                    <a:pt x="410" y="760"/>
                  </a:lnTo>
                  <a:lnTo>
                    <a:pt x="410" y="760"/>
                  </a:lnTo>
                  <a:lnTo>
                    <a:pt x="408" y="760"/>
                  </a:lnTo>
                  <a:lnTo>
                    <a:pt x="408" y="762"/>
                  </a:lnTo>
                  <a:lnTo>
                    <a:pt x="406" y="766"/>
                  </a:lnTo>
                  <a:lnTo>
                    <a:pt x="404" y="768"/>
                  </a:lnTo>
                  <a:lnTo>
                    <a:pt x="402" y="770"/>
                  </a:lnTo>
                  <a:lnTo>
                    <a:pt x="402" y="770"/>
                  </a:lnTo>
                  <a:lnTo>
                    <a:pt x="402" y="772"/>
                  </a:lnTo>
                  <a:lnTo>
                    <a:pt x="402" y="772"/>
                  </a:lnTo>
                  <a:lnTo>
                    <a:pt x="402" y="772"/>
                  </a:lnTo>
                  <a:lnTo>
                    <a:pt x="402" y="774"/>
                  </a:lnTo>
                  <a:lnTo>
                    <a:pt x="402" y="774"/>
                  </a:lnTo>
                  <a:lnTo>
                    <a:pt x="402" y="774"/>
                  </a:lnTo>
                  <a:lnTo>
                    <a:pt x="402" y="774"/>
                  </a:lnTo>
                  <a:lnTo>
                    <a:pt x="400" y="774"/>
                  </a:lnTo>
                  <a:lnTo>
                    <a:pt x="400" y="774"/>
                  </a:lnTo>
                  <a:lnTo>
                    <a:pt x="398" y="772"/>
                  </a:lnTo>
                  <a:lnTo>
                    <a:pt x="398" y="770"/>
                  </a:lnTo>
                  <a:lnTo>
                    <a:pt x="398" y="770"/>
                  </a:lnTo>
                  <a:lnTo>
                    <a:pt x="398" y="766"/>
                  </a:lnTo>
                  <a:lnTo>
                    <a:pt x="398" y="760"/>
                  </a:lnTo>
                  <a:lnTo>
                    <a:pt x="398" y="756"/>
                  </a:lnTo>
                  <a:lnTo>
                    <a:pt x="400" y="750"/>
                  </a:lnTo>
                  <a:lnTo>
                    <a:pt x="398" y="744"/>
                  </a:lnTo>
                  <a:lnTo>
                    <a:pt x="398" y="744"/>
                  </a:lnTo>
                  <a:lnTo>
                    <a:pt x="398" y="742"/>
                  </a:lnTo>
                  <a:lnTo>
                    <a:pt x="398" y="742"/>
                  </a:lnTo>
                  <a:lnTo>
                    <a:pt x="396" y="742"/>
                  </a:lnTo>
                  <a:lnTo>
                    <a:pt x="394" y="742"/>
                  </a:lnTo>
                  <a:lnTo>
                    <a:pt x="392" y="742"/>
                  </a:lnTo>
                  <a:lnTo>
                    <a:pt x="390" y="744"/>
                  </a:lnTo>
                  <a:lnTo>
                    <a:pt x="388" y="744"/>
                  </a:lnTo>
                  <a:lnTo>
                    <a:pt x="386" y="746"/>
                  </a:lnTo>
                  <a:lnTo>
                    <a:pt x="386" y="746"/>
                  </a:lnTo>
                  <a:lnTo>
                    <a:pt x="384" y="746"/>
                  </a:lnTo>
                  <a:lnTo>
                    <a:pt x="384" y="748"/>
                  </a:lnTo>
                  <a:lnTo>
                    <a:pt x="384" y="748"/>
                  </a:lnTo>
                  <a:lnTo>
                    <a:pt x="384" y="748"/>
                  </a:lnTo>
                  <a:lnTo>
                    <a:pt x="380" y="750"/>
                  </a:lnTo>
                  <a:lnTo>
                    <a:pt x="374" y="752"/>
                  </a:lnTo>
                  <a:lnTo>
                    <a:pt x="366" y="754"/>
                  </a:lnTo>
                  <a:lnTo>
                    <a:pt x="364" y="754"/>
                  </a:lnTo>
                  <a:lnTo>
                    <a:pt x="364" y="754"/>
                  </a:lnTo>
                  <a:lnTo>
                    <a:pt x="366" y="752"/>
                  </a:lnTo>
                  <a:lnTo>
                    <a:pt x="366" y="750"/>
                  </a:lnTo>
                  <a:lnTo>
                    <a:pt x="368" y="750"/>
                  </a:lnTo>
                  <a:lnTo>
                    <a:pt x="370" y="748"/>
                  </a:lnTo>
                  <a:lnTo>
                    <a:pt x="370" y="746"/>
                  </a:lnTo>
                  <a:lnTo>
                    <a:pt x="372" y="746"/>
                  </a:lnTo>
                  <a:lnTo>
                    <a:pt x="374" y="744"/>
                  </a:lnTo>
                  <a:lnTo>
                    <a:pt x="374" y="744"/>
                  </a:lnTo>
                  <a:lnTo>
                    <a:pt x="376" y="744"/>
                  </a:lnTo>
                  <a:lnTo>
                    <a:pt x="378" y="744"/>
                  </a:lnTo>
                  <a:lnTo>
                    <a:pt x="382" y="742"/>
                  </a:lnTo>
                  <a:lnTo>
                    <a:pt x="384" y="742"/>
                  </a:lnTo>
                  <a:lnTo>
                    <a:pt x="384" y="742"/>
                  </a:lnTo>
                  <a:lnTo>
                    <a:pt x="386" y="742"/>
                  </a:lnTo>
                  <a:lnTo>
                    <a:pt x="388" y="740"/>
                  </a:lnTo>
                  <a:lnTo>
                    <a:pt x="386" y="736"/>
                  </a:lnTo>
                  <a:lnTo>
                    <a:pt x="386" y="732"/>
                  </a:lnTo>
                  <a:lnTo>
                    <a:pt x="384" y="726"/>
                  </a:lnTo>
                  <a:lnTo>
                    <a:pt x="384" y="726"/>
                  </a:lnTo>
                  <a:lnTo>
                    <a:pt x="384" y="724"/>
                  </a:lnTo>
                  <a:lnTo>
                    <a:pt x="382" y="720"/>
                  </a:lnTo>
                  <a:lnTo>
                    <a:pt x="380" y="716"/>
                  </a:lnTo>
                  <a:lnTo>
                    <a:pt x="378" y="714"/>
                  </a:lnTo>
                  <a:lnTo>
                    <a:pt x="378" y="712"/>
                  </a:lnTo>
                  <a:lnTo>
                    <a:pt x="378" y="710"/>
                  </a:lnTo>
                  <a:lnTo>
                    <a:pt x="378" y="710"/>
                  </a:lnTo>
                  <a:lnTo>
                    <a:pt x="376" y="710"/>
                  </a:lnTo>
                  <a:lnTo>
                    <a:pt x="376" y="706"/>
                  </a:lnTo>
                  <a:lnTo>
                    <a:pt x="376" y="706"/>
                  </a:lnTo>
                  <a:lnTo>
                    <a:pt x="374" y="706"/>
                  </a:lnTo>
                  <a:lnTo>
                    <a:pt x="372" y="704"/>
                  </a:lnTo>
                  <a:lnTo>
                    <a:pt x="370" y="702"/>
                  </a:lnTo>
                  <a:lnTo>
                    <a:pt x="368" y="702"/>
                  </a:lnTo>
                  <a:lnTo>
                    <a:pt x="366" y="698"/>
                  </a:lnTo>
                  <a:lnTo>
                    <a:pt x="362" y="696"/>
                  </a:lnTo>
                  <a:lnTo>
                    <a:pt x="360" y="692"/>
                  </a:lnTo>
                  <a:lnTo>
                    <a:pt x="356" y="690"/>
                  </a:lnTo>
                  <a:lnTo>
                    <a:pt x="356" y="690"/>
                  </a:lnTo>
                  <a:lnTo>
                    <a:pt x="354" y="688"/>
                  </a:lnTo>
                  <a:lnTo>
                    <a:pt x="350" y="690"/>
                  </a:lnTo>
                  <a:lnTo>
                    <a:pt x="348" y="690"/>
                  </a:lnTo>
                  <a:lnTo>
                    <a:pt x="342" y="690"/>
                  </a:lnTo>
                  <a:lnTo>
                    <a:pt x="338" y="690"/>
                  </a:lnTo>
                  <a:lnTo>
                    <a:pt x="338" y="690"/>
                  </a:lnTo>
                  <a:lnTo>
                    <a:pt x="338" y="690"/>
                  </a:lnTo>
                  <a:lnTo>
                    <a:pt x="336" y="692"/>
                  </a:lnTo>
                  <a:lnTo>
                    <a:pt x="336" y="692"/>
                  </a:lnTo>
                  <a:lnTo>
                    <a:pt x="334" y="692"/>
                  </a:lnTo>
                  <a:lnTo>
                    <a:pt x="332" y="694"/>
                  </a:lnTo>
                  <a:lnTo>
                    <a:pt x="332" y="694"/>
                  </a:lnTo>
                  <a:lnTo>
                    <a:pt x="332" y="694"/>
                  </a:lnTo>
                  <a:lnTo>
                    <a:pt x="330" y="696"/>
                  </a:lnTo>
                  <a:lnTo>
                    <a:pt x="330" y="696"/>
                  </a:lnTo>
                  <a:lnTo>
                    <a:pt x="328" y="696"/>
                  </a:lnTo>
                  <a:lnTo>
                    <a:pt x="326" y="700"/>
                  </a:lnTo>
                  <a:lnTo>
                    <a:pt x="326" y="702"/>
                  </a:lnTo>
                  <a:lnTo>
                    <a:pt x="324" y="702"/>
                  </a:lnTo>
                  <a:lnTo>
                    <a:pt x="322" y="698"/>
                  </a:lnTo>
                  <a:lnTo>
                    <a:pt x="318" y="696"/>
                  </a:lnTo>
                  <a:lnTo>
                    <a:pt x="316" y="692"/>
                  </a:lnTo>
                  <a:lnTo>
                    <a:pt x="312" y="688"/>
                  </a:lnTo>
                  <a:lnTo>
                    <a:pt x="308" y="686"/>
                  </a:lnTo>
                  <a:lnTo>
                    <a:pt x="308" y="686"/>
                  </a:lnTo>
                  <a:lnTo>
                    <a:pt x="308" y="686"/>
                  </a:lnTo>
                  <a:lnTo>
                    <a:pt x="304" y="684"/>
                  </a:lnTo>
                  <a:lnTo>
                    <a:pt x="304" y="684"/>
                  </a:lnTo>
                  <a:lnTo>
                    <a:pt x="304" y="682"/>
                  </a:lnTo>
                  <a:lnTo>
                    <a:pt x="300" y="682"/>
                  </a:lnTo>
                  <a:lnTo>
                    <a:pt x="300" y="680"/>
                  </a:lnTo>
                  <a:lnTo>
                    <a:pt x="300" y="678"/>
                  </a:lnTo>
                  <a:lnTo>
                    <a:pt x="298" y="676"/>
                  </a:lnTo>
                  <a:lnTo>
                    <a:pt x="298" y="676"/>
                  </a:lnTo>
                  <a:lnTo>
                    <a:pt x="298" y="676"/>
                  </a:lnTo>
                  <a:lnTo>
                    <a:pt x="298" y="674"/>
                  </a:lnTo>
                  <a:lnTo>
                    <a:pt x="298" y="674"/>
                  </a:lnTo>
                  <a:lnTo>
                    <a:pt x="298" y="674"/>
                  </a:lnTo>
                  <a:lnTo>
                    <a:pt x="298" y="674"/>
                  </a:lnTo>
                  <a:lnTo>
                    <a:pt x="298" y="674"/>
                  </a:lnTo>
                  <a:lnTo>
                    <a:pt x="296" y="672"/>
                  </a:lnTo>
                  <a:lnTo>
                    <a:pt x="296" y="672"/>
                  </a:lnTo>
                  <a:lnTo>
                    <a:pt x="296" y="672"/>
                  </a:lnTo>
                  <a:lnTo>
                    <a:pt x="294" y="672"/>
                  </a:lnTo>
                  <a:lnTo>
                    <a:pt x="292" y="674"/>
                  </a:lnTo>
                  <a:lnTo>
                    <a:pt x="292" y="674"/>
                  </a:lnTo>
                  <a:lnTo>
                    <a:pt x="292" y="674"/>
                  </a:lnTo>
                  <a:lnTo>
                    <a:pt x="290" y="674"/>
                  </a:lnTo>
                  <a:lnTo>
                    <a:pt x="288" y="678"/>
                  </a:lnTo>
                  <a:lnTo>
                    <a:pt x="286" y="678"/>
                  </a:lnTo>
                  <a:lnTo>
                    <a:pt x="284" y="680"/>
                  </a:lnTo>
                  <a:lnTo>
                    <a:pt x="282" y="678"/>
                  </a:lnTo>
                  <a:lnTo>
                    <a:pt x="278" y="678"/>
                  </a:lnTo>
                  <a:lnTo>
                    <a:pt x="274" y="676"/>
                  </a:lnTo>
                  <a:lnTo>
                    <a:pt x="270" y="676"/>
                  </a:lnTo>
                  <a:lnTo>
                    <a:pt x="270" y="676"/>
                  </a:lnTo>
                  <a:lnTo>
                    <a:pt x="268" y="676"/>
                  </a:lnTo>
                  <a:lnTo>
                    <a:pt x="262" y="680"/>
                  </a:lnTo>
                  <a:lnTo>
                    <a:pt x="256" y="682"/>
                  </a:lnTo>
                  <a:lnTo>
                    <a:pt x="252" y="684"/>
                  </a:lnTo>
                  <a:lnTo>
                    <a:pt x="248" y="686"/>
                  </a:lnTo>
                  <a:lnTo>
                    <a:pt x="246" y="686"/>
                  </a:lnTo>
                  <a:lnTo>
                    <a:pt x="246" y="686"/>
                  </a:lnTo>
                  <a:lnTo>
                    <a:pt x="244" y="688"/>
                  </a:lnTo>
                  <a:lnTo>
                    <a:pt x="244" y="688"/>
                  </a:lnTo>
                  <a:lnTo>
                    <a:pt x="244" y="690"/>
                  </a:lnTo>
                  <a:lnTo>
                    <a:pt x="244" y="692"/>
                  </a:lnTo>
                  <a:lnTo>
                    <a:pt x="244" y="696"/>
                  </a:lnTo>
                  <a:lnTo>
                    <a:pt x="244" y="700"/>
                  </a:lnTo>
                  <a:lnTo>
                    <a:pt x="246" y="704"/>
                  </a:lnTo>
                  <a:lnTo>
                    <a:pt x="246" y="704"/>
                  </a:lnTo>
                  <a:lnTo>
                    <a:pt x="246" y="704"/>
                  </a:lnTo>
                  <a:lnTo>
                    <a:pt x="246" y="706"/>
                  </a:lnTo>
                  <a:lnTo>
                    <a:pt x="246" y="706"/>
                  </a:lnTo>
                  <a:lnTo>
                    <a:pt x="248" y="706"/>
                  </a:lnTo>
                  <a:lnTo>
                    <a:pt x="250" y="708"/>
                  </a:lnTo>
                  <a:lnTo>
                    <a:pt x="250" y="708"/>
                  </a:lnTo>
                  <a:lnTo>
                    <a:pt x="250" y="708"/>
                  </a:lnTo>
                  <a:lnTo>
                    <a:pt x="252" y="710"/>
                  </a:lnTo>
                  <a:lnTo>
                    <a:pt x="252" y="710"/>
                  </a:lnTo>
                  <a:lnTo>
                    <a:pt x="252" y="710"/>
                  </a:lnTo>
                  <a:lnTo>
                    <a:pt x="252" y="710"/>
                  </a:lnTo>
                  <a:lnTo>
                    <a:pt x="252" y="710"/>
                  </a:lnTo>
                  <a:lnTo>
                    <a:pt x="254" y="712"/>
                  </a:lnTo>
                  <a:lnTo>
                    <a:pt x="254" y="714"/>
                  </a:lnTo>
                  <a:lnTo>
                    <a:pt x="254" y="718"/>
                  </a:lnTo>
                  <a:lnTo>
                    <a:pt x="254" y="724"/>
                  </a:lnTo>
                  <a:lnTo>
                    <a:pt x="252" y="730"/>
                  </a:lnTo>
                  <a:lnTo>
                    <a:pt x="250" y="738"/>
                  </a:lnTo>
                  <a:lnTo>
                    <a:pt x="248" y="744"/>
                  </a:lnTo>
                  <a:lnTo>
                    <a:pt x="248" y="746"/>
                  </a:lnTo>
                  <a:lnTo>
                    <a:pt x="246" y="748"/>
                  </a:lnTo>
                  <a:lnTo>
                    <a:pt x="244" y="750"/>
                  </a:lnTo>
                  <a:lnTo>
                    <a:pt x="244" y="750"/>
                  </a:lnTo>
                  <a:lnTo>
                    <a:pt x="244" y="750"/>
                  </a:lnTo>
                  <a:lnTo>
                    <a:pt x="242" y="754"/>
                  </a:lnTo>
                  <a:lnTo>
                    <a:pt x="242" y="758"/>
                  </a:lnTo>
                  <a:lnTo>
                    <a:pt x="244" y="760"/>
                  </a:lnTo>
                  <a:lnTo>
                    <a:pt x="244" y="762"/>
                  </a:lnTo>
                  <a:lnTo>
                    <a:pt x="242" y="764"/>
                  </a:lnTo>
                  <a:lnTo>
                    <a:pt x="242" y="766"/>
                  </a:lnTo>
                  <a:lnTo>
                    <a:pt x="242" y="768"/>
                  </a:lnTo>
                  <a:lnTo>
                    <a:pt x="240" y="772"/>
                  </a:lnTo>
                  <a:lnTo>
                    <a:pt x="238" y="776"/>
                  </a:lnTo>
                  <a:lnTo>
                    <a:pt x="238" y="776"/>
                  </a:lnTo>
                  <a:lnTo>
                    <a:pt x="238" y="776"/>
                  </a:lnTo>
                  <a:lnTo>
                    <a:pt x="236" y="778"/>
                  </a:lnTo>
                  <a:lnTo>
                    <a:pt x="236" y="780"/>
                  </a:lnTo>
                  <a:lnTo>
                    <a:pt x="234" y="784"/>
                  </a:lnTo>
                  <a:lnTo>
                    <a:pt x="232" y="786"/>
                  </a:lnTo>
                  <a:lnTo>
                    <a:pt x="230" y="788"/>
                  </a:lnTo>
                  <a:lnTo>
                    <a:pt x="228" y="792"/>
                  </a:lnTo>
                  <a:lnTo>
                    <a:pt x="226" y="794"/>
                  </a:lnTo>
                  <a:lnTo>
                    <a:pt x="226" y="794"/>
                  </a:lnTo>
                  <a:lnTo>
                    <a:pt x="226" y="794"/>
                  </a:lnTo>
                  <a:lnTo>
                    <a:pt x="224" y="796"/>
                  </a:lnTo>
                  <a:lnTo>
                    <a:pt x="224" y="798"/>
                  </a:lnTo>
                  <a:lnTo>
                    <a:pt x="224" y="798"/>
                  </a:lnTo>
                  <a:lnTo>
                    <a:pt x="224" y="798"/>
                  </a:lnTo>
                  <a:lnTo>
                    <a:pt x="222" y="800"/>
                  </a:lnTo>
                  <a:lnTo>
                    <a:pt x="222" y="800"/>
                  </a:lnTo>
                  <a:lnTo>
                    <a:pt x="222" y="800"/>
                  </a:lnTo>
                  <a:lnTo>
                    <a:pt x="222" y="804"/>
                  </a:lnTo>
                  <a:lnTo>
                    <a:pt x="222" y="804"/>
                  </a:lnTo>
                  <a:lnTo>
                    <a:pt x="222" y="804"/>
                  </a:lnTo>
                  <a:lnTo>
                    <a:pt x="222" y="806"/>
                  </a:lnTo>
                  <a:lnTo>
                    <a:pt x="222" y="806"/>
                  </a:lnTo>
                  <a:lnTo>
                    <a:pt x="222" y="808"/>
                  </a:lnTo>
                  <a:lnTo>
                    <a:pt x="224" y="810"/>
                  </a:lnTo>
                  <a:lnTo>
                    <a:pt x="230" y="810"/>
                  </a:lnTo>
                  <a:lnTo>
                    <a:pt x="234" y="810"/>
                  </a:lnTo>
                  <a:lnTo>
                    <a:pt x="240" y="810"/>
                  </a:lnTo>
                  <a:lnTo>
                    <a:pt x="244" y="812"/>
                  </a:lnTo>
                  <a:lnTo>
                    <a:pt x="244" y="812"/>
                  </a:lnTo>
                  <a:lnTo>
                    <a:pt x="246" y="812"/>
                  </a:lnTo>
                  <a:lnTo>
                    <a:pt x="246" y="814"/>
                  </a:lnTo>
                  <a:lnTo>
                    <a:pt x="248" y="816"/>
                  </a:lnTo>
                  <a:lnTo>
                    <a:pt x="248" y="818"/>
                  </a:lnTo>
                  <a:lnTo>
                    <a:pt x="248" y="818"/>
                  </a:lnTo>
                  <a:lnTo>
                    <a:pt x="250" y="818"/>
                  </a:lnTo>
                  <a:lnTo>
                    <a:pt x="252" y="820"/>
                  </a:lnTo>
                  <a:lnTo>
                    <a:pt x="252" y="820"/>
                  </a:lnTo>
                  <a:lnTo>
                    <a:pt x="252" y="822"/>
                  </a:lnTo>
                  <a:lnTo>
                    <a:pt x="254" y="822"/>
                  </a:lnTo>
                  <a:lnTo>
                    <a:pt x="254" y="822"/>
                  </a:lnTo>
                  <a:lnTo>
                    <a:pt x="256" y="822"/>
                  </a:lnTo>
                  <a:lnTo>
                    <a:pt x="258" y="824"/>
                  </a:lnTo>
                  <a:lnTo>
                    <a:pt x="258" y="824"/>
                  </a:lnTo>
                  <a:lnTo>
                    <a:pt x="260" y="826"/>
                  </a:lnTo>
                  <a:lnTo>
                    <a:pt x="260" y="830"/>
                  </a:lnTo>
                  <a:lnTo>
                    <a:pt x="262" y="836"/>
                  </a:lnTo>
                  <a:lnTo>
                    <a:pt x="264" y="840"/>
                  </a:lnTo>
                  <a:lnTo>
                    <a:pt x="266" y="844"/>
                  </a:lnTo>
                  <a:lnTo>
                    <a:pt x="266" y="844"/>
                  </a:lnTo>
                  <a:lnTo>
                    <a:pt x="266" y="844"/>
                  </a:lnTo>
                  <a:lnTo>
                    <a:pt x="268" y="846"/>
                  </a:lnTo>
                  <a:lnTo>
                    <a:pt x="268" y="846"/>
                  </a:lnTo>
                  <a:lnTo>
                    <a:pt x="268" y="846"/>
                  </a:lnTo>
                  <a:lnTo>
                    <a:pt x="270" y="848"/>
                  </a:lnTo>
                  <a:lnTo>
                    <a:pt x="270" y="848"/>
                  </a:lnTo>
                  <a:lnTo>
                    <a:pt x="272" y="850"/>
                  </a:lnTo>
                  <a:lnTo>
                    <a:pt x="276" y="848"/>
                  </a:lnTo>
                  <a:lnTo>
                    <a:pt x="278" y="848"/>
                  </a:lnTo>
                  <a:lnTo>
                    <a:pt x="282" y="846"/>
                  </a:lnTo>
                  <a:lnTo>
                    <a:pt x="282" y="846"/>
                  </a:lnTo>
                  <a:lnTo>
                    <a:pt x="282" y="846"/>
                  </a:lnTo>
                  <a:lnTo>
                    <a:pt x="284" y="846"/>
                  </a:lnTo>
                  <a:lnTo>
                    <a:pt x="286" y="842"/>
                  </a:lnTo>
                  <a:lnTo>
                    <a:pt x="286" y="842"/>
                  </a:lnTo>
                  <a:lnTo>
                    <a:pt x="286" y="842"/>
                  </a:lnTo>
                  <a:lnTo>
                    <a:pt x="288" y="840"/>
                  </a:lnTo>
                  <a:lnTo>
                    <a:pt x="290" y="838"/>
                  </a:lnTo>
                  <a:lnTo>
                    <a:pt x="294" y="836"/>
                  </a:lnTo>
                  <a:lnTo>
                    <a:pt x="294" y="834"/>
                  </a:lnTo>
                  <a:lnTo>
                    <a:pt x="298" y="834"/>
                  </a:lnTo>
                  <a:lnTo>
                    <a:pt x="300" y="834"/>
                  </a:lnTo>
                  <a:lnTo>
                    <a:pt x="302" y="832"/>
                  </a:lnTo>
                  <a:lnTo>
                    <a:pt x="302" y="832"/>
                  </a:lnTo>
                  <a:lnTo>
                    <a:pt x="304" y="832"/>
                  </a:lnTo>
                  <a:lnTo>
                    <a:pt x="306" y="830"/>
                  </a:lnTo>
                  <a:lnTo>
                    <a:pt x="306" y="830"/>
                  </a:lnTo>
                  <a:lnTo>
                    <a:pt x="308" y="828"/>
                  </a:lnTo>
                  <a:lnTo>
                    <a:pt x="308" y="826"/>
                  </a:lnTo>
                  <a:lnTo>
                    <a:pt x="308" y="826"/>
                  </a:lnTo>
                  <a:lnTo>
                    <a:pt x="310" y="826"/>
                  </a:lnTo>
                  <a:lnTo>
                    <a:pt x="310" y="824"/>
                  </a:lnTo>
                  <a:lnTo>
                    <a:pt x="312" y="820"/>
                  </a:lnTo>
                  <a:lnTo>
                    <a:pt x="312" y="820"/>
                  </a:lnTo>
                  <a:lnTo>
                    <a:pt x="312" y="820"/>
                  </a:lnTo>
                  <a:lnTo>
                    <a:pt x="312" y="814"/>
                  </a:lnTo>
                  <a:lnTo>
                    <a:pt x="312" y="810"/>
                  </a:lnTo>
                  <a:lnTo>
                    <a:pt x="312" y="808"/>
                  </a:lnTo>
                  <a:lnTo>
                    <a:pt x="312" y="808"/>
                  </a:lnTo>
                  <a:lnTo>
                    <a:pt x="312" y="806"/>
                  </a:lnTo>
                  <a:lnTo>
                    <a:pt x="314" y="806"/>
                  </a:lnTo>
                  <a:lnTo>
                    <a:pt x="314" y="804"/>
                  </a:lnTo>
                  <a:lnTo>
                    <a:pt x="316" y="804"/>
                  </a:lnTo>
                  <a:lnTo>
                    <a:pt x="320" y="804"/>
                  </a:lnTo>
                  <a:lnTo>
                    <a:pt x="324" y="802"/>
                  </a:lnTo>
                  <a:lnTo>
                    <a:pt x="324" y="802"/>
                  </a:lnTo>
                  <a:lnTo>
                    <a:pt x="326" y="802"/>
                  </a:lnTo>
                  <a:lnTo>
                    <a:pt x="326" y="800"/>
                  </a:lnTo>
                  <a:lnTo>
                    <a:pt x="326" y="798"/>
                  </a:lnTo>
                  <a:lnTo>
                    <a:pt x="326" y="794"/>
                  </a:lnTo>
                  <a:lnTo>
                    <a:pt x="328" y="788"/>
                  </a:lnTo>
                  <a:lnTo>
                    <a:pt x="328" y="786"/>
                  </a:lnTo>
                  <a:lnTo>
                    <a:pt x="328" y="782"/>
                  </a:lnTo>
                  <a:lnTo>
                    <a:pt x="330" y="780"/>
                  </a:lnTo>
                  <a:lnTo>
                    <a:pt x="330" y="778"/>
                  </a:lnTo>
                  <a:lnTo>
                    <a:pt x="330" y="778"/>
                  </a:lnTo>
                  <a:lnTo>
                    <a:pt x="332" y="776"/>
                  </a:lnTo>
                  <a:lnTo>
                    <a:pt x="334" y="776"/>
                  </a:lnTo>
                  <a:lnTo>
                    <a:pt x="338" y="774"/>
                  </a:lnTo>
                  <a:lnTo>
                    <a:pt x="342" y="770"/>
                  </a:lnTo>
                  <a:lnTo>
                    <a:pt x="344" y="770"/>
                  </a:lnTo>
                  <a:lnTo>
                    <a:pt x="346" y="768"/>
                  </a:lnTo>
                  <a:lnTo>
                    <a:pt x="346" y="768"/>
                  </a:lnTo>
                  <a:lnTo>
                    <a:pt x="348" y="768"/>
                  </a:lnTo>
                  <a:lnTo>
                    <a:pt x="348" y="766"/>
                  </a:lnTo>
                  <a:lnTo>
                    <a:pt x="348" y="768"/>
                  </a:lnTo>
                  <a:lnTo>
                    <a:pt x="346" y="772"/>
                  </a:lnTo>
                  <a:lnTo>
                    <a:pt x="346" y="774"/>
                  </a:lnTo>
                  <a:lnTo>
                    <a:pt x="344" y="776"/>
                  </a:lnTo>
                  <a:lnTo>
                    <a:pt x="342" y="776"/>
                  </a:lnTo>
                  <a:lnTo>
                    <a:pt x="342" y="776"/>
                  </a:lnTo>
                  <a:lnTo>
                    <a:pt x="340" y="778"/>
                  </a:lnTo>
                  <a:lnTo>
                    <a:pt x="340" y="778"/>
                  </a:lnTo>
                  <a:lnTo>
                    <a:pt x="340" y="778"/>
                  </a:lnTo>
                  <a:lnTo>
                    <a:pt x="338" y="780"/>
                  </a:lnTo>
                  <a:lnTo>
                    <a:pt x="338" y="780"/>
                  </a:lnTo>
                  <a:lnTo>
                    <a:pt x="336" y="782"/>
                  </a:lnTo>
                  <a:lnTo>
                    <a:pt x="336" y="782"/>
                  </a:lnTo>
                  <a:lnTo>
                    <a:pt x="336" y="782"/>
                  </a:lnTo>
                  <a:lnTo>
                    <a:pt x="334" y="784"/>
                  </a:lnTo>
                  <a:lnTo>
                    <a:pt x="334" y="784"/>
                  </a:lnTo>
                  <a:lnTo>
                    <a:pt x="334" y="786"/>
                  </a:lnTo>
                  <a:lnTo>
                    <a:pt x="334" y="786"/>
                  </a:lnTo>
                  <a:lnTo>
                    <a:pt x="334" y="786"/>
                  </a:lnTo>
                  <a:lnTo>
                    <a:pt x="336" y="788"/>
                  </a:lnTo>
                  <a:lnTo>
                    <a:pt x="336" y="790"/>
                  </a:lnTo>
                  <a:lnTo>
                    <a:pt x="336" y="790"/>
                  </a:lnTo>
                  <a:lnTo>
                    <a:pt x="336" y="790"/>
                  </a:lnTo>
                  <a:lnTo>
                    <a:pt x="338" y="792"/>
                  </a:lnTo>
                  <a:lnTo>
                    <a:pt x="338" y="792"/>
                  </a:lnTo>
                  <a:lnTo>
                    <a:pt x="338" y="792"/>
                  </a:lnTo>
                  <a:lnTo>
                    <a:pt x="340" y="794"/>
                  </a:lnTo>
                  <a:lnTo>
                    <a:pt x="340" y="794"/>
                  </a:lnTo>
                  <a:lnTo>
                    <a:pt x="340" y="794"/>
                  </a:lnTo>
                  <a:lnTo>
                    <a:pt x="340" y="794"/>
                  </a:lnTo>
                  <a:lnTo>
                    <a:pt x="336" y="796"/>
                  </a:lnTo>
                  <a:lnTo>
                    <a:pt x="334" y="800"/>
                  </a:lnTo>
                  <a:lnTo>
                    <a:pt x="330" y="802"/>
                  </a:lnTo>
                  <a:lnTo>
                    <a:pt x="330" y="802"/>
                  </a:lnTo>
                  <a:lnTo>
                    <a:pt x="330" y="804"/>
                  </a:lnTo>
                  <a:lnTo>
                    <a:pt x="330" y="806"/>
                  </a:lnTo>
                  <a:lnTo>
                    <a:pt x="330" y="808"/>
                  </a:lnTo>
                  <a:lnTo>
                    <a:pt x="328" y="812"/>
                  </a:lnTo>
                  <a:lnTo>
                    <a:pt x="326" y="816"/>
                  </a:lnTo>
                  <a:lnTo>
                    <a:pt x="324" y="818"/>
                  </a:lnTo>
                  <a:lnTo>
                    <a:pt x="324" y="820"/>
                  </a:lnTo>
                  <a:lnTo>
                    <a:pt x="324" y="820"/>
                  </a:lnTo>
                  <a:lnTo>
                    <a:pt x="324" y="822"/>
                  </a:lnTo>
                  <a:lnTo>
                    <a:pt x="324" y="824"/>
                  </a:lnTo>
                  <a:lnTo>
                    <a:pt x="326" y="826"/>
                  </a:lnTo>
                  <a:lnTo>
                    <a:pt x="328" y="826"/>
                  </a:lnTo>
                  <a:lnTo>
                    <a:pt x="330" y="828"/>
                  </a:lnTo>
                  <a:lnTo>
                    <a:pt x="332" y="828"/>
                  </a:lnTo>
                  <a:lnTo>
                    <a:pt x="332" y="828"/>
                  </a:lnTo>
                  <a:lnTo>
                    <a:pt x="332" y="828"/>
                  </a:lnTo>
                  <a:lnTo>
                    <a:pt x="334" y="830"/>
                  </a:lnTo>
                  <a:lnTo>
                    <a:pt x="334" y="830"/>
                  </a:lnTo>
                  <a:lnTo>
                    <a:pt x="336" y="830"/>
                  </a:lnTo>
                  <a:lnTo>
                    <a:pt x="338" y="828"/>
                  </a:lnTo>
                  <a:lnTo>
                    <a:pt x="340" y="828"/>
                  </a:lnTo>
                  <a:lnTo>
                    <a:pt x="342" y="828"/>
                  </a:lnTo>
                  <a:lnTo>
                    <a:pt x="344" y="828"/>
                  </a:lnTo>
                  <a:lnTo>
                    <a:pt x="348" y="828"/>
                  </a:lnTo>
                  <a:lnTo>
                    <a:pt x="352" y="828"/>
                  </a:lnTo>
                  <a:lnTo>
                    <a:pt x="356" y="828"/>
                  </a:lnTo>
                  <a:lnTo>
                    <a:pt x="364" y="828"/>
                  </a:lnTo>
                  <a:lnTo>
                    <a:pt x="370" y="828"/>
                  </a:lnTo>
                  <a:lnTo>
                    <a:pt x="374" y="828"/>
                  </a:lnTo>
                  <a:lnTo>
                    <a:pt x="376" y="828"/>
                  </a:lnTo>
                  <a:lnTo>
                    <a:pt x="380" y="830"/>
                  </a:lnTo>
                  <a:lnTo>
                    <a:pt x="380" y="830"/>
                  </a:lnTo>
                  <a:lnTo>
                    <a:pt x="376" y="830"/>
                  </a:lnTo>
                  <a:lnTo>
                    <a:pt x="372" y="834"/>
                  </a:lnTo>
                  <a:lnTo>
                    <a:pt x="368" y="836"/>
                  </a:lnTo>
                  <a:lnTo>
                    <a:pt x="362" y="838"/>
                  </a:lnTo>
                  <a:lnTo>
                    <a:pt x="358" y="840"/>
                  </a:lnTo>
                  <a:lnTo>
                    <a:pt x="356" y="840"/>
                  </a:lnTo>
                  <a:lnTo>
                    <a:pt x="352" y="842"/>
                  </a:lnTo>
                  <a:lnTo>
                    <a:pt x="348" y="842"/>
                  </a:lnTo>
                  <a:lnTo>
                    <a:pt x="344" y="842"/>
                  </a:lnTo>
                  <a:lnTo>
                    <a:pt x="344" y="842"/>
                  </a:lnTo>
                  <a:lnTo>
                    <a:pt x="342" y="844"/>
                  </a:lnTo>
                  <a:lnTo>
                    <a:pt x="340" y="844"/>
                  </a:lnTo>
                  <a:lnTo>
                    <a:pt x="340" y="844"/>
                  </a:lnTo>
                  <a:lnTo>
                    <a:pt x="340" y="844"/>
                  </a:lnTo>
                  <a:lnTo>
                    <a:pt x="338" y="846"/>
                  </a:lnTo>
                  <a:lnTo>
                    <a:pt x="338" y="846"/>
                  </a:lnTo>
                  <a:lnTo>
                    <a:pt x="336" y="846"/>
                  </a:lnTo>
                  <a:lnTo>
                    <a:pt x="334" y="850"/>
                  </a:lnTo>
                  <a:lnTo>
                    <a:pt x="334" y="850"/>
                  </a:lnTo>
                  <a:lnTo>
                    <a:pt x="334" y="850"/>
                  </a:lnTo>
                  <a:lnTo>
                    <a:pt x="332" y="852"/>
                  </a:lnTo>
                  <a:lnTo>
                    <a:pt x="332" y="852"/>
                  </a:lnTo>
                  <a:lnTo>
                    <a:pt x="332" y="852"/>
                  </a:lnTo>
                  <a:lnTo>
                    <a:pt x="332" y="856"/>
                  </a:lnTo>
                  <a:lnTo>
                    <a:pt x="332" y="856"/>
                  </a:lnTo>
                  <a:lnTo>
                    <a:pt x="330" y="856"/>
                  </a:lnTo>
                  <a:lnTo>
                    <a:pt x="330" y="860"/>
                  </a:lnTo>
                  <a:lnTo>
                    <a:pt x="330" y="860"/>
                  </a:lnTo>
                  <a:lnTo>
                    <a:pt x="332" y="860"/>
                  </a:lnTo>
                  <a:lnTo>
                    <a:pt x="332" y="862"/>
                  </a:lnTo>
                  <a:lnTo>
                    <a:pt x="332" y="862"/>
                  </a:lnTo>
                  <a:lnTo>
                    <a:pt x="332" y="862"/>
                  </a:lnTo>
                  <a:lnTo>
                    <a:pt x="332" y="864"/>
                  </a:lnTo>
                  <a:lnTo>
                    <a:pt x="332" y="864"/>
                  </a:lnTo>
                  <a:lnTo>
                    <a:pt x="334" y="864"/>
                  </a:lnTo>
                  <a:lnTo>
                    <a:pt x="334" y="864"/>
                  </a:lnTo>
                  <a:lnTo>
                    <a:pt x="334" y="864"/>
                  </a:lnTo>
                  <a:lnTo>
                    <a:pt x="336" y="866"/>
                  </a:lnTo>
                  <a:lnTo>
                    <a:pt x="336" y="866"/>
                  </a:lnTo>
                  <a:lnTo>
                    <a:pt x="340" y="866"/>
                  </a:lnTo>
                  <a:lnTo>
                    <a:pt x="344" y="868"/>
                  </a:lnTo>
                  <a:lnTo>
                    <a:pt x="352" y="868"/>
                  </a:lnTo>
                  <a:lnTo>
                    <a:pt x="358" y="868"/>
                  </a:lnTo>
                  <a:lnTo>
                    <a:pt x="364" y="868"/>
                  </a:lnTo>
                  <a:lnTo>
                    <a:pt x="364" y="868"/>
                  </a:lnTo>
                  <a:lnTo>
                    <a:pt x="370" y="868"/>
                  </a:lnTo>
                  <a:lnTo>
                    <a:pt x="374" y="870"/>
                  </a:lnTo>
                  <a:lnTo>
                    <a:pt x="378" y="870"/>
                  </a:lnTo>
                  <a:lnTo>
                    <a:pt x="384" y="872"/>
                  </a:lnTo>
                  <a:lnTo>
                    <a:pt x="384" y="872"/>
                  </a:lnTo>
                  <a:lnTo>
                    <a:pt x="384" y="872"/>
                  </a:lnTo>
                  <a:lnTo>
                    <a:pt x="388" y="872"/>
                  </a:lnTo>
                  <a:lnTo>
                    <a:pt x="392" y="872"/>
                  </a:lnTo>
                  <a:lnTo>
                    <a:pt x="398" y="872"/>
                  </a:lnTo>
                  <a:lnTo>
                    <a:pt x="402" y="870"/>
                  </a:lnTo>
                  <a:lnTo>
                    <a:pt x="406" y="870"/>
                  </a:lnTo>
                  <a:lnTo>
                    <a:pt x="412" y="870"/>
                  </a:lnTo>
                  <a:lnTo>
                    <a:pt x="416" y="870"/>
                  </a:lnTo>
                  <a:lnTo>
                    <a:pt x="420" y="870"/>
                  </a:lnTo>
                  <a:lnTo>
                    <a:pt x="424" y="870"/>
                  </a:lnTo>
                  <a:lnTo>
                    <a:pt x="428" y="870"/>
                  </a:lnTo>
                  <a:lnTo>
                    <a:pt x="430" y="870"/>
                  </a:lnTo>
                  <a:lnTo>
                    <a:pt x="432" y="872"/>
                  </a:lnTo>
                  <a:lnTo>
                    <a:pt x="432" y="872"/>
                  </a:lnTo>
                  <a:lnTo>
                    <a:pt x="432" y="874"/>
                  </a:lnTo>
                  <a:lnTo>
                    <a:pt x="434" y="876"/>
                  </a:lnTo>
                  <a:lnTo>
                    <a:pt x="434" y="876"/>
                  </a:lnTo>
                  <a:lnTo>
                    <a:pt x="434" y="876"/>
                  </a:lnTo>
                  <a:lnTo>
                    <a:pt x="438" y="878"/>
                  </a:lnTo>
                  <a:lnTo>
                    <a:pt x="440" y="880"/>
                  </a:lnTo>
                  <a:lnTo>
                    <a:pt x="440" y="880"/>
                  </a:lnTo>
                  <a:lnTo>
                    <a:pt x="438" y="880"/>
                  </a:lnTo>
                  <a:lnTo>
                    <a:pt x="436" y="882"/>
                  </a:lnTo>
                  <a:lnTo>
                    <a:pt x="436" y="882"/>
                  </a:lnTo>
                  <a:lnTo>
                    <a:pt x="434" y="884"/>
                  </a:lnTo>
                  <a:lnTo>
                    <a:pt x="432" y="884"/>
                  </a:lnTo>
                  <a:lnTo>
                    <a:pt x="428" y="884"/>
                  </a:lnTo>
                  <a:lnTo>
                    <a:pt x="428" y="884"/>
                  </a:lnTo>
                  <a:lnTo>
                    <a:pt x="424" y="884"/>
                  </a:lnTo>
                  <a:lnTo>
                    <a:pt x="418" y="882"/>
                  </a:lnTo>
                  <a:lnTo>
                    <a:pt x="412" y="880"/>
                  </a:lnTo>
                  <a:lnTo>
                    <a:pt x="408" y="880"/>
                  </a:lnTo>
                  <a:lnTo>
                    <a:pt x="404" y="878"/>
                  </a:lnTo>
                  <a:lnTo>
                    <a:pt x="400" y="878"/>
                  </a:lnTo>
                  <a:lnTo>
                    <a:pt x="394" y="878"/>
                  </a:lnTo>
                  <a:lnTo>
                    <a:pt x="390" y="878"/>
                  </a:lnTo>
                  <a:lnTo>
                    <a:pt x="386" y="878"/>
                  </a:lnTo>
                  <a:lnTo>
                    <a:pt x="382" y="878"/>
                  </a:lnTo>
                  <a:lnTo>
                    <a:pt x="378" y="878"/>
                  </a:lnTo>
                  <a:lnTo>
                    <a:pt x="378" y="878"/>
                  </a:lnTo>
                  <a:lnTo>
                    <a:pt x="376" y="878"/>
                  </a:lnTo>
                  <a:lnTo>
                    <a:pt x="372" y="880"/>
                  </a:lnTo>
                  <a:lnTo>
                    <a:pt x="368" y="884"/>
                  </a:lnTo>
                  <a:lnTo>
                    <a:pt x="364" y="886"/>
                  </a:lnTo>
                  <a:lnTo>
                    <a:pt x="362" y="886"/>
                  </a:lnTo>
                  <a:lnTo>
                    <a:pt x="360" y="886"/>
                  </a:lnTo>
                  <a:lnTo>
                    <a:pt x="360" y="886"/>
                  </a:lnTo>
                  <a:lnTo>
                    <a:pt x="358" y="888"/>
                  </a:lnTo>
                  <a:lnTo>
                    <a:pt x="356" y="888"/>
                  </a:lnTo>
                  <a:lnTo>
                    <a:pt x="354" y="890"/>
                  </a:lnTo>
                  <a:lnTo>
                    <a:pt x="354" y="890"/>
                  </a:lnTo>
                  <a:lnTo>
                    <a:pt x="354" y="890"/>
                  </a:lnTo>
                  <a:lnTo>
                    <a:pt x="352" y="894"/>
                  </a:lnTo>
                  <a:lnTo>
                    <a:pt x="352" y="894"/>
                  </a:lnTo>
                  <a:lnTo>
                    <a:pt x="352" y="894"/>
                  </a:lnTo>
                  <a:lnTo>
                    <a:pt x="352" y="896"/>
                  </a:lnTo>
                  <a:lnTo>
                    <a:pt x="352" y="896"/>
                  </a:lnTo>
                  <a:lnTo>
                    <a:pt x="352" y="898"/>
                  </a:lnTo>
                  <a:lnTo>
                    <a:pt x="352" y="900"/>
                  </a:lnTo>
                  <a:lnTo>
                    <a:pt x="352" y="900"/>
                  </a:lnTo>
                  <a:lnTo>
                    <a:pt x="352" y="900"/>
                  </a:lnTo>
                  <a:lnTo>
                    <a:pt x="354" y="904"/>
                  </a:lnTo>
                  <a:lnTo>
                    <a:pt x="356" y="906"/>
                  </a:lnTo>
                  <a:lnTo>
                    <a:pt x="358" y="908"/>
                  </a:lnTo>
                  <a:lnTo>
                    <a:pt x="360" y="912"/>
                  </a:lnTo>
                  <a:lnTo>
                    <a:pt x="360" y="912"/>
                  </a:lnTo>
                  <a:lnTo>
                    <a:pt x="362" y="914"/>
                  </a:lnTo>
                  <a:lnTo>
                    <a:pt x="364" y="912"/>
                  </a:lnTo>
                  <a:lnTo>
                    <a:pt x="366" y="912"/>
                  </a:lnTo>
                  <a:lnTo>
                    <a:pt x="366" y="912"/>
                  </a:lnTo>
                  <a:lnTo>
                    <a:pt x="366" y="912"/>
                  </a:lnTo>
                  <a:lnTo>
                    <a:pt x="366" y="916"/>
                  </a:lnTo>
                  <a:lnTo>
                    <a:pt x="366" y="916"/>
                  </a:lnTo>
                  <a:lnTo>
                    <a:pt x="366" y="916"/>
                  </a:lnTo>
                  <a:lnTo>
                    <a:pt x="366" y="918"/>
                  </a:lnTo>
                  <a:lnTo>
                    <a:pt x="366" y="918"/>
                  </a:lnTo>
                  <a:lnTo>
                    <a:pt x="368" y="918"/>
                  </a:lnTo>
                  <a:lnTo>
                    <a:pt x="370" y="920"/>
                  </a:lnTo>
                  <a:lnTo>
                    <a:pt x="370" y="920"/>
                  </a:lnTo>
                  <a:lnTo>
                    <a:pt x="370" y="920"/>
                  </a:lnTo>
                  <a:lnTo>
                    <a:pt x="374" y="922"/>
                  </a:lnTo>
                  <a:lnTo>
                    <a:pt x="374" y="922"/>
                  </a:lnTo>
                  <a:lnTo>
                    <a:pt x="374" y="922"/>
                  </a:lnTo>
                  <a:lnTo>
                    <a:pt x="378" y="924"/>
                  </a:lnTo>
                  <a:lnTo>
                    <a:pt x="384" y="924"/>
                  </a:lnTo>
                  <a:lnTo>
                    <a:pt x="388" y="924"/>
                  </a:lnTo>
                  <a:lnTo>
                    <a:pt x="394" y="926"/>
                  </a:lnTo>
                  <a:lnTo>
                    <a:pt x="398" y="926"/>
                  </a:lnTo>
                  <a:lnTo>
                    <a:pt x="404" y="926"/>
                  </a:lnTo>
                  <a:lnTo>
                    <a:pt x="406" y="926"/>
                  </a:lnTo>
                  <a:lnTo>
                    <a:pt x="408" y="928"/>
                  </a:lnTo>
                  <a:lnTo>
                    <a:pt x="408" y="930"/>
                  </a:lnTo>
                  <a:lnTo>
                    <a:pt x="410" y="932"/>
                  </a:lnTo>
                  <a:lnTo>
                    <a:pt x="410" y="932"/>
                  </a:lnTo>
                  <a:lnTo>
                    <a:pt x="408" y="934"/>
                  </a:lnTo>
                  <a:lnTo>
                    <a:pt x="408" y="936"/>
                  </a:lnTo>
                  <a:lnTo>
                    <a:pt x="408" y="938"/>
                  </a:lnTo>
                  <a:lnTo>
                    <a:pt x="406" y="940"/>
                  </a:lnTo>
                  <a:lnTo>
                    <a:pt x="406" y="940"/>
                  </a:lnTo>
                  <a:lnTo>
                    <a:pt x="406" y="942"/>
                  </a:lnTo>
                  <a:lnTo>
                    <a:pt x="406" y="942"/>
                  </a:lnTo>
                  <a:lnTo>
                    <a:pt x="404" y="942"/>
                  </a:lnTo>
                  <a:lnTo>
                    <a:pt x="396" y="940"/>
                  </a:lnTo>
                  <a:lnTo>
                    <a:pt x="390" y="938"/>
                  </a:lnTo>
                  <a:lnTo>
                    <a:pt x="384" y="936"/>
                  </a:lnTo>
                  <a:lnTo>
                    <a:pt x="378" y="936"/>
                  </a:lnTo>
                  <a:lnTo>
                    <a:pt x="372" y="934"/>
                  </a:lnTo>
                  <a:lnTo>
                    <a:pt x="362" y="932"/>
                  </a:lnTo>
                  <a:lnTo>
                    <a:pt x="354" y="930"/>
                  </a:lnTo>
                  <a:lnTo>
                    <a:pt x="346" y="928"/>
                  </a:lnTo>
                  <a:lnTo>
                    <a:pt x="340" y="926"/>
                  </a:lnTo>
                  <a:lnTo>
                    <a:pt x="336" y="926"/>
                  </a:lnTo>
                  <a:lnTo>
                    <a:pt x="332" y="924"/>
                  </a:lnTo>
                  <a:lnTo>
                    <a:pt x="326" y="920"/>
                  </a:lnTo>
                  <a:lnTo>
                    <a:pt x="312" y="916"/>
                  </a:lnTo>
                  <a:lnTo>
                    <a:pt x="306" y="914"/>
                  </a:lnTo>
                  <a:lnTo>
                    <a:pt x="300" y="910"/>
                  </a:lnTo>
                  <a:lnTo>
                    <a:pt x="296" y="908"/>
                  </a:lnTo>
                  <a:lnTo>
                    <a:pt x="292" y="906"/>
                  </a:lnTo>
                  <a:lnTo>
                    <a:pt x="288" y="904"/>
                  </a:lnTo>
                  <a:lnTo>
                    <a:pt x="286" y="902"/>
                  </a:lnTo>
                  <a:lnTo>
                    <a:pt x="284" y="902"/>
                  </a:lnTo>
                  <a:lnTo>
                    <a:pt x="284" y="900"/>
                  </a:lnTo>
                  <a:lnTo>
                    <a:pt x="282" y="898"/>
                  </a:lnTo>
                  <a:lnTo>
                    <a:pt x="282" y="898"/>
                  </a:lnTo>
                  <a:lnTo>
                    <a:pt x="282" y="898"/>
                  </a:lnTo>
                  <a:lnTo>
                    <a:pt x="280" y="898"/>
                  </a:lnTo>
                  <a:lnTo>
                    <a:pt x="280" y="898"/>
                  </a:lnTo>
                  <a:lnTo>
                    <a:pt x="280" y="896"/>
                  </a:lnTo>
                  <a:lnTo>
                    <a:pt x="278" y="896"/>
                  </a:lnTo>
                  <a:lnTo>
                    <a:pt x="278" y="896"/>
                  </a:lnTo>
                  <a:lnTo>
                    <a:pt x="276" y="896"/>
                  </a:lnTo>
                  <a:lnTo>
                    <a:pt x="276" y="898"/>
                  </a:lnTo>
                  <a:lnTo>
                    <a:pt x="276" y="898"/>
                  </a:lnTo>
                  <a:lnTo>
                    <a:pt x="274" y="898"/>
                  </a:lnTo>
                  <a:lnTo>
                    <a:pt x="272" y="900"/>
                  </a:lnTo>
                  <a:lnTo>
                    <a:pt x="272" y="900"/>
                  </a:lnTo>
                  <a:lnTo>
                    <a:pt x="272" y="900"/>
                  </a:lnTo>
                  <a:lnTo>
                    <a:pt x="272" y="902"/>
                  </a:lnTo>
                  <a:lnTo>
                    <a:pt x="272" y="902"/>
                  </a:lnTo>
                  <a:lnTo>
                    <a:pt x="270" y="902"/>
                  </a:lnTo>
                  <a:lnTo>
                    <a:pt x="270" y="906"/>
                  </a:lnTo>
                  <a:lnTo>
                    <a:pt x="268" y="908"/>
                  </a:lnTo>
                  <a:lnTo>
                    <a:pt x="268" y="912"/>
                  </a:lnTo>
                  <a:lnTo>
                    <a:pt x="266" y="914"/>
                  </a:lnTo>
                  <a:lnTo>
                    <a:pt x="266" y="916"/>
                  </a:lnTo>
                  <a:lnTo>
                    <a:pt x="264" y="916"/>
                  </a:lnTo>
                  <a:lnTo>
                    <a:pt x="264" y="918"/>
                  </a:lnTo>
                  <a:lnTo>
                    <a:pt x="260" y="918"/>
                  </a:lnTo>
                  <a:lnTo>
                    <a:pt x="258" y="918"/>
                  </a:lnTo>
                  <a:lnTo>
                    <a:pt x="256" y="918"/>
                  </a:lnTo>
                  <a:lnTo>
                    <a:pt x="254" y="918"/>
                  </a:lnTo>
                  <a:lnTo>
                    <a:pt x="252" y="916"/>
                  </a:lnTo>
                  <a:lnTo>
                    <a:pt x="252" y="916"/>
                  </a:lnTo>
                  <a:lnTo>
                    <a:pt x="252" y="916"/>
                  </a:lnTo>
                  <a:lnTo>
                    <a:pt x="250" y="914"/>
                  </a:lnTo>
                  <a:lnTo>
                    <a:pt x="252" y="910"/>
                  </a:lnTo>
                  <a:lnTo>
                    <a:pt x="252" y="906"/>
                  </a:lnTo>
                  <a:lnTo>
                    <a:pt x="254" y="900"/>
                  </a:lnTo>
                  <a:lnTo>
                    <a:pt x="256" y="896"/>
                  </a:lnTo>
                  <a:lnTo>
                    <a:pt x="256" y="890"/>
                  </a:lnTo>
                  <a:lnTo>
                    <a:pt x="258" y="886"/>
                  </a:lnTo>
                  <a:lnTo>
                    <a:pt x="258" y="884"/>
                  </a:lnTo>
                  <a:lnTo>
                    <a:pt x="258" y="884"/>
                  </a:lnTo>
                  <a:lnTo>
                    <a:pt x="258" y="882"/>
                  </a:lnTo>
                  <a:lnTo>
                    <a:pt x="258" y="880"/>
                  </a:lnTo>
                  <a:lnTo>
                    <a:pt x="258" y="880"/>
                  </a:lnTo>
                  <a:lnTo>
                    <a:pt x="258" y="880"/>
                  </a:lnTo>
                  <a:lnTo>
                    <a:pt x="256" y="878"/>
                  </a:lnTo>
                  <a:lnTo>
                    <a:pt x="256" y="878"/>
                  </a:lnTo>
                  <a:lnTo>
                    <a:pt x="256" y="878"/>
                  </a:lnTo>
                  <a:lnTo>
                    <a:pt x="254" y="876"/>
                  </a:lnTo>
                  <a:lnTo>
                    <a:pt x="254" y="876"/>
                  </a:lnTo>
                  <a:lnTo>
                    <a:pt x="254" y="876"/>
                  </a:lnTo>
                  <a:lnTo>
                    <a:pt x="252" y="876"/>
                  </a:lnTo>
                  <a:lnTo>
                    <a:pt x="252" y="876"/>
                  </a:lnTo>
                  <a:lnTo>
                    <a:pt x="252" y="876"/>
                  </a:lnTo>
                  <a:lnTo>
                    <a:pt x="248" y="876"/>
                  </a:lnTo>
                  <a:lnTo>
                    <a:pt x="248" y="876"/>
                  </a:lnTo>
                  <a:lnTo>
                    <a:pt x="248" y="876"/>
                  </a:lnTo>
                  <a:lnTo>
                    <a:pt x="244" y="878"/>
                  </a:lnTo>
                  <a:lnTo>
                    <a:pt x="242" y="878"/>
                  </a:lnTo>
                  <a:lnTo>
                    <a:pt x="240" y="878"/>
                  </a:lnTo>
                  <a:lnTo>
                    <a:pt x="236" y="880"/>
                  </a:lnTo>
                  <a:lnTo>
                    <a:pt x="236" y="880"/>
                  </a:lnTo>
                  <a:lnTo>
                    <a:pt x="236" y="880"/>
                  </a:lnTo>
                  <a:lnTo>
                    <a:pt x="232" y="884"/>
                  </a:lnTo>
                  <a:lnTo>
                    <a:pt x="232" y="884"/>
                  </a:lnTo>
                  <a:lnTo>
                    <a:pt x="232" y="884"/>
                  </a:lnTo>
                  <a:lnTo>
                    <a:pt x="230" y="886"/>
                  </a:lnTo>
                  <a:lnTo>
                    <a:pt x="230" y="886"/>
                  </a:lnTo>
                  <a:lnTo>
                    <a:pt x="230" y="886"/>
                  </a:lnTo>
                  <a:lnTo>
                    <a:pt x="228" y="888"/>
                  </a:lnTo>
                  <a:lnTo>
                    <a:pt x="228" y="888"/>
                  </a:lnTo>
                  <a:lnTo>
                    <a:pt x="228" y="890"/>
                  </a:lnTo>
                  <a:lnTo>
                    <a:pt x="226" y="892"/>
                  </a:lnTo>
                  <a:lnTo>
                    <a:pt x="226" y="892"/>
                  </a:lnTo>
                  <a:lnTo>
                    <a:pt x="226" y="892"/>
                  </a:lnTo>
                  <a:lnTo>
                    <a:pt x="226" y="896"/>
                  </a:lnTo>
                  <a:lnTo>
                    <a:pt x="226" y="900"/>
                  </a:lnTo>
                  <a:lnTo>
                    <a:pt x="226" y="904"/>
                  </a:lnTo>
                  <a:lnTo>
                    <a:pt x="226" y="908"/>
                  </a:lnTo>
                  <a:lnTo>
                    <a:pt x="226" y="912"/>
                  </a:lnTo>
                  <a:lnTo>
                    <a:pt x="226" y="912"/>
                  </a:lnTo>
                  <a:lnTo>
                    <a:pt x="226" y="912"/>
                  </a:lnTo>
                  <a:lnTo>
                    <a:pt x="226" y="912"/>
                  </a:lnTo>
                  <a:lnTo>
                    <a:pt x="222" y="910"/>
                  </a:lnTo>
                  <a:lnTo>
                    <a:pt x="220" y="906"/>
                  </a:lnTo>
                  <a:lnTo>
                    <a:pt x="218" y="904"/>
                  </a:lnTo>
                  <a:lnTo>
                    <a:pt x="214" y="900"/>
                  </a:lnTo>
                  <a:lnTo>
                    <a:pt x="212" y="896"/>
                  </a:lnTo>
                  <a:lnTo>
                    <a:pt x="210" y="894"/>
                  </a:lnTo>
                  <a:lnTo>
                    <a:pt x="208" y="890"/>
                  </a:lnTo>
                  <a:lnTo>
                    <a:pt x="206" y="886"/>
                  </a:lnTo>
                  <a:lnTo>
                    <a:pt x="204" y="882"/>
                  </a:lnTo>
                  <a:lnTo>
                    <a:pt x="202" y="878"/>
                  </a:lnTo>
                  <a:lnTo>
                    <a:pt x="202" y="874"/>
                  </a:lnTo>
                  <a:lnTo>
                    <a:pt x="200" y="872"/>
                  </a:lnTo>
                  <a:lnTo>
                    <a:pt x="198" y="870"/>
                  </a:lnTo>
                  <a:lnTo>
                    <a:pt x="198" y="868"/>
                  </a:lnTo>
                  <a:lnTo>
                    <a:pt x="198" y="868"/>
                  </a:lnTo>
                  <a:lnTo>
                    <a:pt x="198" y="868"/>
                  </a:lnTo>
                  <a:lnTo>
                    <a:pt x="198" y="866"/>
                  </a:lnTo>
                  <a:lnTo>
                    <a:pt x="198" y="866"/>
                  </a:lnTo>
                  <a:lnTo>
                    <a:pt x="196" y="866"/>
                  </a:lnTo>
                  <a:lnTo>
                    <a:pt x="194" y="866"/>
                  </a:lnTo>
                  <a:lnTo>
                    <a:pt x="194" y="866"/>
                  </a:lnTo>
                  <a:lnTo>
                    <a:pt x="192" y="868"/>
                  </a:lnTo>
                  <a:lnTo>
                    <a:pt x="192" y="868"/>
                  </a:lnTo>
                  <a:lnTo>
                    <a:pt x="192" y="868"/>
                  </a:lnTo>
                  <a:lnTo>
                    <a:pt x="192" y="870"/>
                  </a:lnTo>
                  <a:lnTo>
                    <a:pt x="192" y="872"/>
                  </a:lnTo>
                  <a:lnTo>
                    <a:pt x="192" y="874"/>
                  </a:lnTo>
                  <a:lnTo>
                    <a:pt x="192" y="878"/>
                  </a:lnTo>
                  <a:lnTo>
                    <a:pt x="194" y="882"/>
                  </a:lnTo>
                  <a:lnTo>
                    <a:pt x="194" y="884"/>
                  </a:lnTo>
                  <a:lnTo>
                    <a:pt x="194" y="888"/>
                  </a:lnTo>
                  <a:lnTo>
                    <a:pt x="194" y="890"/>
                  </a:lnTo>
                  <a:lnTo>
                    <a:pt x="194" y="890"/>
                  </a:lnTo>
                  <a:lnTo>
                    <a:pt x="194" y="892"/>
                  </a:lnTo>
                  <a:lnTo>
                    <a:pt x="192" y="894"/>
                  </a:lnTo>
                  <a:lnTo>
                    <a:pt x="188" y="898"/>
                  </a:lnTo>
                  <a:lnTo>
                    <a:pt x="188" y="898"/>
                  </a:lnTo>
                  <a:lnTo>
                    <a:pt x="188" y="898"/>
                  </a:lnTo>
                  <a:lnTo>
                    <a:pt x="188" y="898"/>
                  </a:lnTo>
                  <a:lnTo>
                    <a:pt x="186" y="896"/>
                  </a:lnTo>
                  <a:lnTo>
                    <a:pt x="184" y="894"/>
                  </a:lnTo>
                  <a:lnTo>
                    <a:pt x="184" y="894"/>
                  </a:lnTo>
                  <a:lnTo>
                    <a:pt x="184" y="894"/>
                  </a:lnTo>
                  <a:lnTo>
                    <a:pt x="182" y="892"/>
                  </a:lnTo>
                  <a:lnTo>
                    <a:pt x="182" y="892"/>
                  </a:lnTo>
                  <a:lnTo>
                    <a:pt x="182" y="892"/>
                  </a:lnTo>
                  <a:lnTo>
                    <a:pt x="180" y="892"/>
                  </a:lnTo>
                  <a:lnTo>
                    <a:pt x="180" y="892"/>
                  </a:lnTo>
                  <a:lnTo>
                    <a:pt x="180" y="892"/>
                  </a:lnTo>
                  <a:lnTo>
                    <a:pt x="176" y="892"/>
                  </a:lnTo>
                  <a:lnTo>
                    <a:pt x="174" y="892"/>
                  </a:lnTo>
                  <a:lnTo>
                    <a:pt x="168" y="894"/>
                  </a:lnTo>
                  <a:lnTo>
                    <a:pt x="164" y="894"/>
                  </a:lnTo>
                  <a:lnTo>
                    <a:pt x="162" y="896"/>
                  </a:lnTo>
                  <a:lnTo>
                    <a:pt x="158" y="898"/>
                  </a:lnTo>
                  <a:lnTo>
                    <a:pt x="158" y="898"/>
                  </a:lnTo>
                  <a:lnTo>
                    <a:pt x="158" y="898"/>
                  </a:lnTo>
                  <a:lnTo>
                    <a:pt x="156" y="898"/>
                  </a:lnTo>
                  <a:lnTo>
                    <a:pt x="156" y="898"/>
                  </a:lnTo>
                  <a:lnTo>
                    <a:pt x="156" y="900"/>
                  </a:lnTo>
                  <a:lnTo>
                    <a:pt x="154" y="900"/>
                  </a:lnTo>
                  <a:lnTo>
                    <a:pt x="154" y="900"/>
                  </a:lnTo>
                  <a:lnTo>
                    <a:pt x="154" y="902"/>
                  </a:lnTo>
                  <a:lnTo>
                    <a:pt x="154" y="904"/>
                  </a:lnTo>
                  <a:lnTo>
                    <a:pt x="154" y="904"/>
                  </a:lnTo>
                  <a:lnTo>
                    <a:pt x="154" y="904"/>
                  </a:lnTo>
                  <a:lnTo>
                    <a:pt x="152" y="908"/>
                  </a:lnTo>
                  <a:lnTo>
                    <a:pt x="152" y="908"/>
                  </a:lnTo>
                  <a:lnTo>
                    <a:pt x="152" y="910"/>
                  </a:lnTo>
                  <a:lnTo>
                    <a:pt x="152" y="914"/>
                  </a:lnTo>
                  <a:lnTo>
                    <a:pt x="152" y="918"/>
                  </a:lnTo>
                  <a:lnTo>
                    <a:pt x="152" y="920"/>
                  </a:lnTo>
                  <a:lnTo>
                    <a:pt x="152" y="922"/>
                  </a:lnTo>
                  <a:lnTo>
                    <a:pt x="154" y="926"/>
                  </a:lnTo>
                  <a:lnTo>
                    <a:pt x="154" y="926"/>
                  </a:lnTo>
                  <a:lnTo>
                    <a:pt x="154" y="926"/>
                  </a:lnTo>
                  <a:lnTo>
                    <a:pt x="152" y="926"/>
                  </a:lnTo>
                  <a:lnTo>
                    <a:pt x="148" y="924"/>
                  </a:lnTo>
                  <a:lnTo>
                    <a:pt x="144" y="922"/>
                  </a:lnTo>
                  <a:lnTo>
                    <a:pt x="140" y="922"/>
                  </a:lnTo>
                  <a:lnTo>
                    <a:pt x="138" y="920"/>
                  </a:lnTo>
                  <a:lnTo>
                    <a:pt x="134" y="918"/>
                  </a:lnTo>
                  <a:lnTo>
                    <a:pt x="134" y="918"/>
                  </a:lnTo>
                  <a:lnTo>
                    <a:pt x="132" y="918"/>
                  </a:lnTo>
                  <a:lnTo>
                    <a:pt x="130" y="920"/>
                  </a:lnTo>
                  <a:lnTo>
                    <a:pt x="130" y="920"/>
                  </a:lnTo>
                  <a:lnTo>
                    <a:pt x="128" y="920"/>
                  </a:lnTo>
                  <a:lnTo>
                    <a:pt x="128" y="922"/>
                  </a:lnTo>
                  <a:lnTo>
                    <a:pt x="128" y="922"/>
                  </a:lnTo>
                  <a:lnTo>
                    <a:pt x="128" y="922"/>
                  </a:lnTo>
                  <a:lnTo>
                    <a:pt x="126" y="926"/>
                  </a:lnTo>
                  <a:lnTo>
                    <a:pt x="126" y="926"/>
                  </a:lnTo>
                  <a:lnTo>
                    <a:pt x="126" y="926"/>
                  </a:lnTo>
                  <a:lnTo>
                    <a:pt x="128" y="928"/>
                  </a:lnTo>
                  <a:lnTo>
                    <a:pt x="128" y="932"/>
                  </a:lnTo>
                  <a:lnTo>
                    <a:pt x="128" y="936"/>
                  </a:lnTo>
                  <a:lnTo>
                    <a:pt x="128" y="940"/>
                  </a:lnTo>
                  <a:lnTo>
                    <a:pt x="128" y="940"/>
                  </a:lnTo>
                  <a:lnTo>
                    <a:pt x="128" y="942"/>
                  </a:lnTo>
                  <a:lnTo>
                    <a:pt x="128" y="942"/>
                  </a:lnTo>
                  <a:lnTo>
                    <a:pt x="126" y="942"/>
                  </a:lnTo>
                  <a:lnTo>
                    <a:pt x="124" y="942"/>
                  </a:lnTo>
                  <a:lnTo>
                    <a:pt x="120" y="942"/>
                  </a:lnTo>
                  <a:lnTo>
                    <a:pt x="118" y="942"/>
                  </a:lnTo>
                  <a:lnTo>
                    <a:pt x="118" y="940"/>
                  </a:lnTo>
                  <a:lnTo>
                    <a:pt x="118" y="940"/>
                  </a:lnTo>
                  <a:lnTo>
                    <a:pt x="118" y="940"/>
                  </a:lnTo>
                  <a:lnTo>
                    <a:pt x="118" y="936"/>
                  </a:lnTo>
                  <a:lnTo>
                    <a:pt x="118" y="934"/>
                  </a:lnTo>
                  <a:lnTo>
                    <a:pt x="118" y="932"/>
                  </a:lnTo>
                  <a:lnTo>
                    <a:pt x="118" y="928"/>
                  </a:lnTo>
                  <a:lnTo>
                    <a:pt x="118" y="926"/>
                  </a:lnTo>
                  <a:lnTo>
                    <a:pt x="118" y="926"/>
                  </a:lnTo>
                  <a:lnTo>
                    <a:pt x="118" y="924"/>
                  </a:lnTo>
                  <a:lnTo>
                    <a:pt x="116" y="922"/>
                  </a:lnTo>
                  <a:lnTo>
                    <a:pt x="116" y="922"/>
                  </a:lnTo>
                  <a:lnTo>
                    <a:pt x="116" y="922"/>
                  </a:lnTo>
                  <a:lnTo>
                    <a:pt x="114" y="920"/>
                  </a:lnTo>
                  <a:lnTo>
                    <a:pt x="114" y="920"/>
                  </a:lnTo>
                  <a:lnTo>
                    <a:pt x="114" y="920"/>
                  </a:lnTo>
                  <a:lnTo>
                    <a:pt x="110" y="918"/>
                  </a:lnTo>
                  <a:lnTo>
                    <a:pt x="106" y="918"/>
                  </a:lnTo>
                  <a:lnTo>
                    <a:pt x="102" y="918"/>
                  </a:lnTo>
                  <a:lnTo>
                    <a:pt x="98" y="918"/>
                  </a:lnTo>
                  <a:lnTo>
                    <a:pt x="94" y="918"/>
                  </a:lnTo>
                  <a:lnTo>
                    <a:pt x="92" y="918"/>
                  </a:lnTo>
                  <a:lnTo>
                    <a:pt x="88" y="918"/>
                  </a:lnTo>
                  <a:lnTo>
                    <a:pt x="88" y="918"/>
                  </a:lnTo>
                  <a:lnTo>
                    <a:pt x="88" y="918"/>
                  </a:lnTo>
                  <a:lnTo>
                    <a:pt x="86" y="920"/>
                  </a:lnTo>
                  <a:lnTo>
                    <a:pt x="86" y="920"/>
                  </a:lnTo>
                  <a:lnTo>
                    <a:pt x="86" y="922"/>
                  </a:lnTo>
                  <a:lnTo>
                    <a:pt x="84" y="924"/>
                  </a:lnTo>
                  <a:lnTo>
                    <a:pt x="84" y="924"/>
                  </a:lnTo>
                  <a:lnTo>
                    <a:pt x="84" y="924"/>
                  </a:lnTo>
                  <a:lnTo>
                    <a:pt x="84" y="926"/>
                  </a:lnTo>
                  <a:lnTo>
                    <a:pt x="84" y="930"/>
                  </a:lnTo>
                  <a:lnTo>
                    <a:pt x="84" y="932"/>
                  </a:lnTo>
                  <a:lnTo>
                    <a:pt x="84" y="936"/>
                  </a:lnTo>
                  <a:lnTo>
                    <a:pt x="84" y="936"/>
                  </a:lnTo>
                  <a:lnTo>
                    <a:pt x="84" y="936"/>
                  </a:lnTo>
                  <a:lnTo>
                    <a:pt x="84" y="938"/>
                  </a:lnTo>
                  <a:lnTo>
                    <a:pt x="82" y="938"/>
                  </a:lnTo>
                  <a:lnTo>
                    <a:pt x="80" y="938"/>
                  </a:lnTo>
                  <a:lnTo>
                    <a:pt x="76" y="940"/>
                  </a:lnTo>
                  <a:lnTo>
                    <a:pt x="74" y="940"/>
                  </a:lnTo>
                  <a:lnTo>
                    <a:pt x="70" y="940"/>
                  </a:lnTo>
                  <a:lnTo>
                    <a:pt x="68" y="938"/>
                  </a:lnTo>
                  <a:lnTo>
                    <a:pt x="64" y="938"/>
                  </a:lnTo>
                  <a:lnTo>
                    <a:pt x="60" y="936"/>
                  </a:lnTo>
                  <a:lnTo>
                    <a:pt x="56" y="932"/>
                  </a:lnTo>
                  <a:lnTo>
                    <a:pt x="50" y="930"/>
                  </a:lnTo>
                  <a:lnTo>
                    <a:pt x="44" y="926"/>
                  </a:lnTo>
                  <a:lnTo>
                    <a:pt x="38" y="922"/>
                  </a:lnTo>
                  <a:lnTo>
                    <a:pt x="34" y="918"/>
                  </a:lnTo>
                  <a:lnTo>
                    <a:pt x="28" y="914"/>
                  </a:lnTo>
                  <a:lnTo>
                    <a:pt x="24" y="912"/>
                  </a:lnTo>
                  <a:lnTo>
                    <a:pt x="22" y="910"/>
                  </a:lnTo>
                  <a:lnTo>
                    <a:pt x="20" y="910"/>
                  </a:lnTo>
                  <a:lnTo>
                    <a:pt x="20" y="908"/>
                  </a:lnTo>
                  <a:lnTo>
                    <a:pt x="18" y="908"/>
                  </a:lnTo>
                  <a:lnTo>
                    <a:pt x="18" y="908"/>
                  </a:lnTo>
                  <a:lnTo>
                    <a:pt x="18" y="908"/>
                  </a:lnTo>
                  <a:lnTo>
                    <a:pt x="18" y="908"/>
                  </a:lnTo>
                  <a:lnTo>
                    <a:pt x="18" y="908"/>
                  </a:lnTo>
                  <a:lnTo>
                    <a:pt x="16" y="908"/>
                  </a:lnTo>
                  <a:lnTo>
                    <a:pt x="16" y="908"/>
                  </a:lnTo>
                  <a:lnTo>
                    <a:pt x="16" y="908"/>
                  </a:lnTo>
                  <a:lnTo>
                    <a:pt x="14" y="906"/>
                  </a:lnTo>
                  <a:lnTo>
                    <a:pt x="14" y="902"/>
                  </a:lnTo>
                  <a:lnTo>
                    <a:pt x="12" y="900"/>
                  </a:lnTo>
                  <a:lnTo>
                    <a:pt x="12" y="900"/>
                  </a:lnTo>
                  <a:lnTo>
                    <a:pt x="12" y="900"/>
                  </a:lnTo>
                  <a:lnTo>
                    <a:pt x="10" y="898"/>
                  </a:lnTo>
                  <a:lnTo>
                    <a:pt x="10" y="898"/>
                  </a:lnTo>
                  <a:lnTo>
                    <a:pt x="10" y="898"/>
                  </a:lnTo>
                  <a:lnTo>
                    <a:pt x="8" y="898"/>
                  </a:lnTo>
                  <a:lnTo>
                    <a:pt x="8" y="898"/>
                  </a:lnTo>
                  <a:lnTo>
                    <a:pt x="8" y="898"/>
                  </a:lnTo>
                  <a:lnTo>
                    <a:pt x="6" y="898"/>
                  </a:lnTo>
                  <a:lnTo>
                    <a:pt x="4" y="900"/>
                  </a:lnTo>
                  <a:lnTo>
                    <a:pt x="4" y="900"/>
                  </a:lnTo>
                  <a:lnTo>
                    <a:pt x="4" y="900"/>
                  </a:lnTo>
                  <a:lnTo>
                    <a:pt x="4" y="902"/>
                  </a:lnTo>
                  <a:lnTo>
                    <a:pt x="4" y="902"/>
                  </a:lnTo>
                  <a:lnTo>
                    <a:pt x="4" y="902"/>
                  </a:lnTo>
                  <a:lnTo>
                    <a:pt x="4" y="904"/>
                  </a:lnTo>
                  <a:lnTo>
                    <a:pt x="4" y="908"/>
                  </a:lnTo>
                  <a:lnTo>
                    <a:pt x="4" y="912"/>
                  </a:lnTo>
                  <a:lnTo>
                    <a:pt x="4" y="918"/>
                  </a:lnTo>
                  <a:lnTo>
                    <a:pt x="2" y="924"/>
                  </a:lnTo>
                  <a:lnTo>
                    <a:pt x="2" y="930"/>
                  </a:lnTo>
                  <a:lnTo>
                    <a:pt x="2" y="938"/>
                  </a:lnTo>
                  <a:lnTo>
                    <a:pt x="2" y="948"/>
                  </a:lnTo>
                  <a:lnTo>
                    <a:pt x="2" y="956"/>
                  </a:lnTo>
                  <a:lnTo>
                    <a:pt x="2" y="966"/>
                  </a:lnTo>
                  <a:lnTo>
                    <a:pt x="2" y="976"/>
                  </a:lnTo>
                  <a:lnTo>
                    <a:pt x="2" y="998"/>
                  </a:lnTo>
                  <a:lnTo>
                    <a:pt x="2" y="1020"/>
                  </a:lnTo>
                  <a:lnTo>
                    <a:pt x="2" y="1062"/>
                  </a:lnTo>
                  <a:lnTo>
                    <a:pt x="2" y="1074"/>
                  </a:lnTo>
                  <a:lnTo>
                    <a:pt x="2" y="1084"/>
                  </a:lnTo>
                  <a:lnTo>
                    <a:pt x="2" y="1096"/>
                  </a:lnTo>
                  <a:lnTo>
                    <a:pt x="2" y="1110"/>
                  </a:lnTo>
                  <a:lnTo>
                    <a:pt x="2" y="1134"/>
                  </a:lnTo>
                  <a:lnTo>
                    <a:pt x="0" y="1160"/>
                  </a:lnTo>
                  <a:lnTo>
                    <a:pt x="0" y="1174"/>
                  </a:lnTo>
                  <a:lnTo>
                    <a:pt x="0" y="1186"/>
                  </a:lnTo>
                  <a:lnTo>
                    <a:pt x="0" y="1196"/>
                  </a:lnTo>
                  <a:lnTo>
                    <a:pt x="0" y="1208"/>
                  </a:lnTo>
                  <a:lnTo>
                    <a:pt x="0" y="1218"/>
                  </a:lnTo>
                  <a:lnTo>
                    <a:pt x="0" y="1226"/>
                  </a:lnTo>
                  <a:lnTo>
                    <a:pt x="0" y="1234"/>
                  </a:lnTo>
                  <a:lnTo>
                    <a:pt x="0" y="1242"/>
                  </a:lnTo>
                  <a:lnTo>
                    <a:pt x="0" y="1248"/>
                  </a:lnTo>
                  <a:lnTo>
                    <a:pt x="0" y="1252"/>
                  </a:lnTo>
                  <a:lnTo>
                    <a:pt x="2" y="1254"/>
                  </a:lnTo>
                  <a:lnTo>
                    <a:pt x="2" y="1258"/>
                  </a:lnTo>
                  <a:lnTo>
                    <a:pt x="2" y="1260"/>
                  </a:lnTo>
                  <a:lnTo>
                    <a:pt x="2" y="1260"/>
                  </a:lnTo>
                  <a:lnTo>
                    <a:pt x="2" y="1260"/>
                  </a:lnTo>
                  <a:lnTo>
                    <a:pt x="2" y="1260"/>
                  </a:lnTo>
                  <a:lnTo>
                    <a:pt x="2" y="1260"/>
                  </a:lnTo>
                  <a:lnTo>
                    <a:pt x="4" y="1262"/>
                  </a:lnTo>
                  <a:lnTo>
                    <a:pt x="4" y="1262"/>
                  </a:lnTo>
                  <a:lnTo>
                    <a:pt x="4" y="1262"/>
                  </a:lnTo>
                  <a:lnTo>
                    <a:pt x="6" y="1262"/>
                  </a:lnTo>
                  <a:lnTo>
                    <a:pt x="6" y="1262"/>
                  </a:lnTo>
                  <a:lnTo>
                    <a:pt x="6" y="1262"/>
                  </a:lnTo>
                  <a:lnTo>
                    <a:pt x="8" y="1262"/>
                  </a:lnTo>
                  <a:lnTo>
                    <a:pt x="10" y="1260"/>
                  </a:lnTo>
                  <a:lnTo>
                    <a:pt x="12" y="1260"/>
                  </a:lnTo>
                  <a:lnTo>
                    <a:pt x="12" y="1260"/>
                  </a:lnTo>
                  <a:lnTo>
                    <a:pt x="14" y="1262"/>
                  </a:lnTo>
                  <a:lnTo>
                    <a:pt x="18" y="1266"/>
                  </a:lnTo>
                  <a:lnTo>
                    <a:pt x="22" y="1266"/>
                  </a:lnTo>
                  <a:lnTo>
                    <a:pt x="24" y="1268"/>
                  </a:lnTo>
                  <a:lnTo>
                    <a:pt x="28" y="1268"/>
                  </a:lnTo>
                  <a:lnTo>
                    <a:pt x="28" y="1268"/>
                  </a:lnTo>
                  <a:lnTo>
                    <a:pt x="28" y="1268"/>
                  </a:lnTo>
                  <a:lnTo>
                    <a:pt x="30" y="1270"/>
                  </a:lnTo>
                  <a:lnTo>
                    <a:pt x="30" y="1270"/>
                  </a:lnTo>
                  <a:lnTo>
                    <a:pt x="30" y="1270"/>
                  </a:lnTo>
                  <a:lnTo>
                    <a:pt x="34" y="1268"/>
                  </a:lnTo>
                  <a:lnTo>
                    <a:pt x="34" y="1268"/>
                  </a:lnTo>
                  <a:lnTo>
                    <a:pt x="34" y="1268"/>
                  </a:lnTo>
                  <a:lnTo>
                    <a:pt x="36" y="1268"/>
                  </a:lnTo>
                  <a:lnTo>
                    <a:pt x="36" y="1268"/>
                  </a:lnTo>
                  <a:lnTo>
                    <a:pt x="36" y="1266"/>
                  </a:lnTo>
                  <a:lnTo>
                    <a:pt x="38" y="1266"/>
                  </a:lnTo>
                  <a:lnTo>
                    <a:pt x="40" y="1264"/>
                  </a:lnTo>
                  <a:lnTo>
                    <a:pt x="42" y="1262"/>
                  </a:lnTo>
                  <a:lnTo>
                    <a:pt x="44" y="1260"/>
                  </a:lnTo>
                  <a:lnTo>
                    <a:pt x="46" y="1260"/>
                  </a:lnTo>
                  <a:lnTo>
                    <a:pt x="46" y="1260"/>
                  </a:lnTo>
                  <a:lnTo>
                    <a:pt x="48" y="1260"/>
                  </a:lnTo>
                  <a:lnTo>
                    <a:pt x="50" y="1260"/>
                  </a:lnTo>
                  <a:lnTo>
                    <a:pt x="52" y="1262"/>
                  </a:lnTo>
                  <a:lnTo>
                    <a:pt x="54" y="1266"/>
                  </a:lnTo>
                  <a:lnTo>
                    <a:pt x="60" y="1272"/>
                  </a:lnTo>
                  <a:lnTo>
                    <a:pt x="64" y="1278"/>
                  </a:lnTo>
                  <a:lnTo>
                    <a:pt x="66" y="1280"/>
                  </a:lnTo>
                  <a:lnTo>
                    <a:pt x="68" y="1284"/>
                  </a:lnTo>
                  <a:lnTo>
                    <a:pt x="72" y="1292"/>
                  </a:lnTo>
                  <a:lnTo>
                    <a:pt x="74" y="1300"/>
                  </a:lnTo>
                  <a:lnTo>
                    <a:pt x="76" y="1304"/>
                  </a:lnTo>
                  <a:lnTo>
                    <a:pt x="78" y="1306"/>
                  </a:lnTo>
                  <a:lnTo>
                    <a:pt x="84" y="1314"/>
                  </a:lnTo>
                  <a:lnTo>
                    <a:pt x="90" y="1320"/>
                  </a:lnTo>
                  <a:lnTo>
                    <a:pt x="94" y="1328"/>
                  </a:lnTo>
                  <a:lnTo>
                    <a:pt x="100" y="1334"/>
                  </a:lnTo>
                  <a:lnTo>
                    <a:pt x="104" y="1336"/>
                  </a:lnTo>
                  <a:lnTo>
                    <a:pt x="106" y="1338"/>
                  </a:lnTo>
                  <a:lnTo>
                    <a:pt x="112" y="1340"/>
                  </a:lnTo>
                  <a:lnTo>
                    <a:pt x="116" y="1342"/>
                  </a:lnTo>
                  <a:lnTo>
                    <a:pt x="118" y="1344"/>
                  </a:lnTo>
                  <a:lnTo>
                    <a:pt x="118" y="1344"/>
                  </a:lnTo>
                  <a:lnTo>
                    <a:pt x="120" y="1346"/>
                  </a:lnTo>
                  <a:lnTo>
                    <a:pt x="120" y="1346"/>
                  </a:lnTo>
                  <a:lnTo>
                    <a:pt x="120" y="1348"/>
                  </a:lnTo>
                  <a:lnTo>
                    <a:pt x="118" y="1352"/>
                  </a:lnTo>
                  <a:lnTo>
                    <a:pt x="118" y="1354"/>
                  </a:lnTo>
                  <a:lnTo>
                    <a:pt x="116" y="1360"/>
                  </a:lnTo>
                  <a:lnTo>
                    <a:pt x="114" y="1364"/>
                  </a:lnTo>
                  <a:lnTo>
                    <a:pt x="114" y="1364"/>
                  </a:lnTo>
                  <a:lnTo>
                    <a:pt x="114" y="1364"/>
                  </a:lnTo>
                  <a:lnTo>
                    <a:pt x="114" y="1366"/>
                  </a:lnTo>
                  <a:lnTo>
                    <a:pt x="114" y="1370"/>
                  </a:lnTo>
                  <a:lnTo>
                    <a:pt x="114" y="1374"/>
                  </a:lnTo>
                  <a:lnTo>
                    <a:pt x="116" y="1380"/>
                  </a:lnTo>
                  <a:lnTo>
                    <a:pt x="116" y="1382"/>
                  </a:lnTo>
                  <a:lnTo>
                    <a:pt x="118" y="1386"/>
                  </a:lnTo>
                  <a:lnTo>
                    <a:pt x="118" y="1386"/>
                  </a:lnTo>
                  <a:lnTo>
                    <a:pt x="118" y="1386"/>
                  </a:lnTo>
                  <a:lnTo>
                    <a:pt x="120" y="1388"/>
                  </a:lnTo>
                  <a:lnTo>
                    <a:pt x="120" y="1388"/>
                  </a:lnTo>
                  <a:lnTo>
                    <a:pt x="120" y="1388"/>
                  </a:lnTo>
                  <a:lnTo>
                    <a:pt x="122" y="1390"/>
                  </a:lnTo>
                  <a:lnTo>
                    <a:pt x="122" y="1390"/>
                  </a:lnTo>
                  <a:lnTo>
                    <a:pt x="122" y="1390"/>
                  </a:lnTo>
                  <a:lnTo>
                    <a:pt x="124" y="1392"/>
                  </a:lnTo>
                  <a:lnTo>
                    <a:pt x="124" y="1392"/>
                  </a:lnTo>
                  <a:lnTo>
                    <a:pt x="126" y="1392"/>
                  </a:lnTo>
                  <a:lnTo>
                    <a:pt x="128" y="1392"/>
                  </a:lnTo>
                  <a:lnTo>
                    <a:pt x="128" y="1392"/>
                  </a:lnTo>
                  <a:lnTo>
                    <a:pt x="128" y="1392"/>
                  </a:lnTo>
                  <a:lnTo>
                    <a:pt x="132" y="1390"/>
                  </a:lnTo>
                  <a:lnTo>
                    <a:pt x="136" y="1390"/>
                  </a:lnTo>
                  <a:lnTo>
                    <a:pt x="138" y="1388"/>
                  </a:lnTo>
                  <a:lnTo>
                    <a:pt x="142" y="1388"/>
                  </a:lnTo>
                  <a:lnTo>
                    <a:pt x="144" y="1388"/>
                  </a:lnTo>
                  <a:lnTo>
                    <a:pt x="144" y="1388"/>
                  </a:lnTo>
                  <a:lnTo>
                    <a:pt x="146" y="1390"/>
                  </a:lnTo>
                  <a:lnTo>
                    <a:pt x="148" y="1392"/>
                  </a:lnTo>
                  <a:lnTo>
                    <a:pt x="150" y="1394"/>
                  </a:lnTo>
                  <a:lnTo>
                    <a:pt x="152" y="1398"/>
                  </a:lnTo>
                  <a:lnTo>
                    <a:pt x="156" y="1404"/>
                  </a:lnTo>
                  <a:lnTo>
                    <a:pt x="158" y="1408"/>
                  </a:lnTo>
                  <a:lnTo>
                    <a:pt x="160" y="1412"/>
                  </a:lnTo>
                  <a:lnTo>
                    <a:pt x="164" y="1418"/>
                  </a:lnTo>
                  <a:lnTo>
                    <a:pt x="168" y="1422"/>
                  </a:lnTo>
                  <a:lnTo>
                    <a:pt x="172" y="1428"/>
                  </a:lnTo>
                  <a:lnTo>
                    <a:pt x="174" y="1432"/>
                  </a:lnTo>
                  <a:lnTo>
                    <a:pt x="176" y="1436"/>
                  </a:lnTo>
                  <a:lnTo>
                    <a:pt x="178" y="1440"/>
                  </a:lnTo>
                  <a:lnTo>
                    <a:pt x="182" y="1446"/>
                  </a:lnTo>
                  <a:lnTo>
                    <a:pt x="184" y="1450"/>
                  </a:lnTo>
                  <a:lnTo>
                    <a:pt x="186" y="1454"/>
                  </a:lnTo>
                  <a:lnTo>
                    <a:pt x="190" y="1458"/>
                  </a:lnTo>
                  <a:lnTo>
                    <a:pt x="192" y="1462"/>
                  </a:lnTo>
                  <a:lnTo>
                    <a:pt x="192" y="1462"/>
                  </a:lnTo>
                  <a:lnTo>
                    <a:pt x="192" y="1462"/>
                  </a:lnTo>
                  <a:lnTo>
                    <a:pt x="196" y="1464"/>
                  </a:lnTo>
                  <a:lnTo>
                    <a:pt x="196" y="1464"/>
                  </a:lnTo>
                  <a:lnTo>
                    <a:pt x="196" y="1464"/>
                  </a:lnTo>
                  <a:lnTo>
                    <a:pt x="198" y="1466"/>
                  </a:lnTo>
                  <a:lnTo>
                    <a:pt x="198" y="1466"/>
                  </a:lnTo>
                  <a:lnTo>
                    <a:pt x="200" y="1466"/>
                  </a:lnTo>
                  <a:lnTo>
                    <a:pt x="206" y="1468"/>
                  </a:lnTo>
                  <a:lnTo>
                    <a:pt x="212" y="1470"/>
                  </a:lnTo>
                  <a:lnTo>
                    <a:pt x="216" y="1470"/>
                  </a:lnTo>
                  <a:lnTo>
                    <a:pt x="218" y="1472"/>
                  </a:lnTo>
                  <a:lnTo>
                    <a:pt x="224" y="1474"/>
                  </a:lnTo>
                  <a:lnTo>
                    <a:pt x="230" y="1478"/>
                  </a:lnTo>
                  <a:lnTo>
                    <a:pt x="236" y="1480"/>
                  </a:lnTo>
                  <a:lnTo>
                    <a:pt x="240" y="1484"/>
                  </a:lnTo>
                  <a:lnTo>
                    <a:pt x="244" y="1486"/>
                  </a:lnTo>
                  <a:lnTo>
                    <a:pt x="248" y="1486"/>
                  </a:lnTo>
                  <a:lnTo>
                    <a:pt x="256" y="1488"/>
                  </a:lnTo>
                  <a:lnTo>
                    <a:pt x="260" y="1490"/>
                  </a:lnTo>
                  <a:lnTo>
                    <a:pt x="264" y="1490"/>
                  </a:lnTo>
                  <a:lnTo>
                    <a:pt x="266" y="1492"/>
                  </a:lnTo>
                  <a:lnTo>
                    <a:pt x="268" y="1494"/>
                  </a:lnTo>
                  <a:lnTo>
                    <a:pt x="268" y="1494"/>
                  </a:lnTo>
                  <a:lnTo>
                    <a:pt x="268" y="1496"/>
                  </a:lnTo>
                  <a:lnTo>
                    <a:pt x="270" y="1498"/>
                  </a:lnTo>
                  <a:lnTo>
                    <a:pt x="270" y="1500"/>
                  </a:lnTo>
                  <a:lnTo>
                    <a:pt x="270" y="1502"/>
                  </a:lnTo>
                  <a:lnTo>
                    <a:pt x="270" y="1506"/>
                  </a:lnTo>
                  <a:lnTo>
                    <a:pt x="270" y="1508"/>
                  </a:lnTo>
                  <a:lnTo>
                    <a:pt x="270" y="1508"/>
                  </a:lnTo>
                  <a:lnTo>
                    <a:pt x="272" y="1510"/>
                  </a:lnTo>
                  <a:lnTo>
                    <a:pt x="272" y="1512"/>
                  </a:lnTo>
                  <a:lnTo>
                    <a:pt x="274" y="1516"/>
                  </a:lnTo>
                  <a:lnTo>
                    <a:pt x="278" y="1520"/>
                  </a:lnTo>
                  <a:lnTo>
                    <a:pt x="284" y="1528"/>
                  </a:lnTo>
                  <a:lnTo>
                    <a:pt x="286" y="1530"/>
                  </a:lnTo>
                  <a:lnTo>
                    <a:pt x="290" y="1534"/>
                  </a:lnTo>
                  <a:lnTo>
                    <a:pt x="292" y="1538"/>
                  </a:lnTo>
                  <a:lnTo>
                    <a:pt x="294" y="1540"/>
                  </a:lnTo>
                  <a:lnTo>
                    <a:pt x="296" y="1538"/>
                  </a:lnTo>
                  <a:lnTo>
                    <a:pt x="370" y="1538"/>
                  </a:lnTo>
                  <a:lnTo>
                    <a:pt x="386" y="1538"/>
                  </a:lnTo>
                  <a:lnTo>
                    <a:pt x="432" y="1538"/>
                  </a:lnTo>
                  <a:lnTo>
                    <a:pt x="450" y="1538"/>
                  </a:lnTo>
                  <a:lnTo>
                    <a:pt x="484" y="1538"/>
                  </a:lnTo>
                  <a:lnTo>
                    <a:pt x="520" y="1538"/>
                  </a:lnTo>
                  <a:lnTo>
                    <a:pt x="556" y="1538"/>
                  </a:lnTo>
                  <a:lnTo>
                    <a:pt x="590" y="1538"/>
                  </a:lnTo>
                  <a:lnTo>
                    <a:pt x="608" y="1538"/>
                  </a:lnTo>
                  <a:lnTo>
                    <a:pt x="624" y="1538"/>
                  </a:lnTo>
                  <a:lnTo>
                    <a:pt x="640" y="1538"/>
                  </a:lnTo>
                  <a:lnTo>
                    <a:pt x="656" y="1536"/>
                  </a:lnTo>
                  <a:lnTo>
                    <a:pt x="670" y="1536"/>
                  </a:lnTo>
                  <a:lnTo>
                    <a:pt x="684" y="1536"/>
                  </a:lnTo>
                  <a:lnTo>
                    <a:pt x="698" y="1536"/>
                  </a:lnTo>
                  <a:lnTo>
                    <a:pt x="710" y="1536"/>
                  </a:lnTo>
                  <a:lnTo>
                    <a:pt x="722" y="1536"/>
                  </a:lnTo>
                  <a:lnTo>
                    <a:pt x="732" y="1536"/>
                  </a:lnTo>
                  <a:lnTo>
                    <a:pt x="742" y="1536"/>
                  </a:lnTo>
                  <a:lnTo>
                    <a:pt x="750" y="1536"/>
                  </a:lnTo>
                  <a:lnTo>
                    <a:pt x="758" y="1536"/>
                  </a:lnTo>
                  <a:lnTo>
                    <a:pt x="764" y="1536"/>
                  </a:lnTo>
                  <a:lnTo>
                    <a:pt x="770" y="1536"/>
                  </a:lnTo>
                  <a:lnTo>
                    <a:pt x="774" y="1536"/>
                  </a:lnTo>
                  <a:lnTo>
                    <a:pt x="780" y="1534"/>
                  </a:lnTo>
                  <a:lnTo>
                    <a:pt x="782" y="1534"/>
                  </a:lnTo>
                  <a:lnTo>
                    <a:pt x="786" y="1534"/>
                  </a:lnTo>
                  <a:lnTo>
                    <a:pt x="788" y="1534"/>
                  </a:lnTo>
                  <a:lnTo>
                    <a:pt x="790" y="1534"/>
                  </a:lnTo>
                  <a:lnTo>
                    <a:pt x="792" y="1534"/>
                  </a:lnTo>
                  <a:lnTo>
                    <a:pt x="794" y="1534"/>
                  </a:lnTo>
                  <a:lnTo>
                    <a:pt x="794" y="1534"/>
                  </a:lnTo>
                  <a:lnTo>
                    <a:pt x="794" y="1534"/>
                  </a:lnTo>
                  <a:lnTo>
                    <a:pt x="796" y="1532"/>
                  </a:lnTo>
                  <a:lnTo>
                    <a:pt x="796" y="1532"/>
                  </a:lnTo>
                  <a:lnTo>
                    <a:pt x="796" y="1532"/>
                  </a:lnTo>
                  <a:lnTo>
                    <a:pt x="796" y="1532"/>
                  </a:lnTo>
                  <a:lnTo>
                    <a:pt x="796" y="1532"/>
                  </a:lnTo>
                  <a:lnTo>
                    <a:pt x="798" y="1530"/>
                  </a:lnTo>
                  <a:lnTo>
                    <a:pt x="798" y="1530"/>
                  </a:lnTo>
                  <a:lnTo>
                    <a:pt x="798" y="1530"/>
                  </a:lnTo>
                  <a:lnTo>
                    <a:pt x="796" y="1528"/>
                  </a:lnTo>
                  <a:lnTo>
                    <a:pt x="796" y="1526"/>
                  </a:lnTo>
                  <a:lnTo>
                    <a:pt x="796" y="1526"/>
                  </a:lnTo>
                  <a:lnTo>
                    <a:pt x="794" y="1526"/>
                  </a:lnTo>
                  <a:lnTo>
                    <a:pt x="794" y="1526"/>
                  </a:lnTo>
                  <a:lnTo>
                    <a:pt x="790" y="1524"/>
                  </a:lnTo>
                  <a:lnTo>
                    <a:pt x="786" y="1524"/>
                  </a:lnTo>
                  <a:lnTo>
                    <a:pt x="784" y="1524"/>
                  </a:lnTo>
                  <a:lnTo>
                    <a:pt x="784" y="1522"/>
                  </a:lnTo>
                  <a:lnTo>
                    <a:pt x="784" y="1522"/>
                  </a:lnTo>
                  <a:lnTo>
                    <a:pt x="786" y="1522"/>
                  </a:lnTo>
                  <a:lnTo>
                    <a:pt x="786" y="1520"/>
                  </a:lnTo>
                  <a:lnTo>
                    <a:pt x="786" y="1520"/>
                  </a:lnTo>
                  <a:lnTo>
                    <a:pt x="786" y="1520"/>
                  </a:lnTo>
                  <a:lnTo>
                    <a:pt x="786" y="1518"/>
                  </a:lnTo>
                  <a:lnTo>
                    <a:pt x="786" y="1516"/>
                  </a:lnTo>
                  <a:lnTo>
                    <a:pt x="786" y="1518"/>
                  </a:lnTo>
                  <a:lnTo>
                    <a:pt x="790" y="1520"/>
                  </a:lnTo>
                  <a:lnTo>
                    <a:pt x="792" y="1520"/>
                  </a:lnTo>
                  <a:lnTo>
                    <a:pt x="792" y="1520"/>
                  </a:lnTo>
                  <a:lnTo>
                    <a:pt x="792" y="1520"/>
                  </a:lnTo>
                  <a:lnTo>
                    <a:pt x="794" y="1520"/>
                  </a:lnTo>
                  <a:lnTo>
                    <a:pt x="798" y="1522"/>
                  </a:lnTo>
                  <a:lnTo>
                    <a:pt x="800" y="1522"/>
                  </a:lnTo>
                  <a:lnTo>
                    <a:pt x="808" y="1522"/>
                  </a:lnTo>
                  <a:lnTo>
                    <a:pt x="812" y="1522"/>
                  </a:lnTo>
                  <a:lnTo>
                    <a:pt x="814" y="1524"/>
                  </a:lnTo>
                  <a:lnTo>
                    <a:pt x="816" y="1524"/>
                  </a:lnTo>
                  <a:lnTo>
                    <a:pt x="818" y="1524"/>
                  </a:lnTo>
                  <a:lnTo>
                    <a:pt x="818" y="1524"/>
                  </a:lnTo>
                  <a:lnTo>
                    <a:pt x="818" y="1526"/>
                  </a:lnTo>
                  <a:lnTo>
                    <a:pt x="818" y="1528"/>
                  </a:lnTo>
                  <a:lnTo>
                    <a:pt x="818" y="1528"/>
                  </a:lnTo>
                  <a:lnTo>
                    <a:pt x="818" y="1530"/>
                  </a:lnTo>
                  <a:lnTo>
                    <a:pt x="818" y="1534"/>
                  </a:lnTo>
                  <a:lnTo>
                    <a:pt x="818" y="1534"/>
                  </a:lnTo>
                  <a:lnTo>
                    <a:pt x="818" y="1534"/>
                  </a:lnTo>
                  <a:lnTo>
                    <a:pt x="818" y="1536"/>
                  </a:lnTo>
                  <a:lnTo>
                    <a:pt x="818" y="1536"/>
                  </a:lnTo>
                  <a:lnTo>
                    <a:pt x="818" y="1536"/>
                  </a:lnTo>
                  <a:lnTo>
                    <a:pt x="820" y="1538"/>
                  </a:lnTo>
                  <a:lnTo>
                    <a:pt x="820" y="1538"/>
                  </a:lnTo>
                  <a:lnTo>
                    <a:pt x="822" y="1538"/>
                  </a:lnTo>
                  <a:lnTo>
                    <a:pt x="824" y="1540"/>
                  </a:lnTo>
                  <a:lnTo>
                    <a:pt x="824" y="1540"/>
                  </a:lnTo>
                  <a:lnTo>
                    <a:pt x="824" y="1540"/>
                  </a:lnTo>
                  <a:lnTo>
                    <a:pt x="826" y="1540"/>
                  </a:lnTo>
                  <a:lnTo>
                    <a:pt x="830" y="1540"/>
                  </a:lnTo>
                  <a:lnTo>
                    <a:pt x="834" y="1542"/>
                  </a:lnTo>
                  <a:lnTo>
                    <a:pt x="838" y="1542"/>
                  </a:lnTo>
                  <a:lnTo>
                    <a:pt x="840" y="1542"/>
                  </a:lnTo>
                  <a:lnTo>
                    <a:pt x="842" y="1542"/>
                  </a:lnTo>
                  <a:lnTo>
                    <a:pt x="842" y="1544"/>
                  </a:lnTo>
                  <a:lnTo>
                    <a:pt x="842" y="1544"/>
                  </a:lnTo>
                  <a:lnTo>
                    <a:pt x="842" y="1548"/>
                  </a:lnTo>
                  <a:lnTo>
                    <a:pt x="842" y="1546"/>
                  </a:lnTo>
                  <a:lnTo>
                    <a:pt x="842" y="1550"/>
                  </a:lnTo>
                  <a:lnTo>
                    <a:pt x="840" y="1554"/>
                  </a:lnTo>
                  <a:lnTo>
                    <a:pt x="840" y="1558"/>
                  </a:lnTo>
                  <a:lnTo>
                    <a:pt x="840" y="1558"/>
                  </a:lnTo>
                  <a:lnTo>
                    <a:pt x="840" y="1558"/>
                  </a:lnTo>
                  <a:lnTo>
                    <a:pt x="838" y="1562"/>
                  </a:lnTo>
                  <a:lnTo>
                    <a:pt x="838" y="1562"/>
                  </a:lnTo>
                  <a:lnTo>
                    <a:pt x="838" y="1562"/>
                  </a:lnTo>
                  <a:lnTo>
                    <a:pt x="838" y="1566"/>
                  </a:lnTo>
                  <a:lnTo>
                    <a:pt x="838" y="1566"/>
                  </a:lnTo>
                  <a:lnTo>
                    <a:pt x="840" y="1568"/>
                  </a:lnTo>
                  <a:lnTo>
                    <a:pt x="840" y="1568"/>
                  </a:lnTo>
                  <a:lnTo>
                    <a:pt x="840" y="1568"/>
                  </a:lnTo>
                  <a:lnTo>
                    <a:pt x="840" y="1570"/>
                  </a:lnTo>
                  <a:lnTo>
                    <a:pt x="840" y="1570"/>
                  </a:lnTo>
                  <a:lnTo>
                    <a:pt x="840" y="1570"/>
                  </a:lnTo>
                  <a:lnTo>
                    <a:pt x="842" y="1570"/>
                  </a:lnTo>
                  <a:lnTo>
                    <a:pt x="842" y="1572"/>
                  </a:lnTo>
                  <a:lnTo>
                    <a:pt x="844" y="1574"/>
                  </a:lnTo>
                  <a:lnTo>
                    <a:pt x="848" y="1576"/>
                  </a:lnTo>
                  <a:lnTo>
                    <a:pt x="854" y="1580"/>
                  </a:lnTo>
                  <a:lnTo>
                    <a:pt x="860" y="1582"/>
                  </a:lnTo>
                  <a:lnTo>
                    <a:pt x="864" y="1584"/>
                  </a:lnTo>
                  <a:lnTo>
                    <a:pt x="870" y="1586"/>
                  </a:lnTo>
                  <a:lnTo>
                    <a:pt x="874" y="1588"/>
                  </a:lnTo>
                  <a:lnTo>
                    <a:pt x="878" y="1588"/>
                  </a:lnTo>
                  <a:lnTo>
                    <a:pt x="878" y="1588"/>
                  </a:lnTo>
                  <a:lnTo>
                    <a:pt x="878" y="1588"/>
                  </a:lnTo>
                  <a:lnTo>
                    <a:pt x="882" y="1590"/>
                  </a:lnTo>
                  <a:lnTo>
                    <a:pt x="882" y="1590"/>
                  </a:lnTo>
                  <a:lnTo>
                    <a:pt x="882" y="1588"/>
                  </a:lnTo>
                  <a:lnTo>
                    <a:pt x="884" y="1588"/>
                  </a:lnTo>
                  <a:lnTo>
                    <a:pt x="884" y="1588"/>
                  </a:lnTo>
                  <a:lnTo>
                    <a:pt x="886" y="1588"/>
                  </a:lnTo>
                  <a:lnTo>
                    <a:pt x="888" y="1588"/>
                  </a:lnTo>
                  <a:lnTo>
                    <a:pt x="888" y="1588"/>
                  </a:lnTo>
                  <a:lnTo>
                    <a:pt x="888" y="1586"/>
                  </a:lnTo>
                  <a:lnTo>
                    <a:pt x="890" y="1586"/>
                  </a:lnTo>
                  <a:lnTo>
                    <a:pt x="892" y="1584"/>
                  </a:lnTo>
                  <a:lnTo>
                    <a:pt x="892" y="1584"/>
                  </a:lnTo>
                  <a:lnTo>
                    <a:pt x="892" y="1584"/>
                  </a:lnTo>
                  <a:lnTo>
                    <a:pt x="894" y="1584"/>
                  </a:lnTo>
                  <a:lnTo>
                    <a:pt x="894" y="1584"/>
                  </a:lnTo>
                  <a:lnTo>
                    <a:pt x="896" y="1586"/>
                  </a:lnTo>
                  <a:lnTo>
                    <a:pt x="900" y="1588"/>
                  </a:lnTo>
                  <a:lnTo>
                    <a:pt x="902" y="1590"/>
                  </a:lnTo>
                  <a:lnTo>
                    <a:pt x="906" y="1596"/>
                  </a:lnTo>
                  <a:lnTo>
                    <a:pt x="908" y="1598"/>
                  </a:lnTo>
                  <a:lnTo>
                    <a:pt x="908" y="1600"/>
                  </a:lnTo>
                  <a:lnTo>
                    <a:pt x="912" y="1604"/>
                  </a:lnTo>
                  <a:lnTo>
                    <a:pt x="914" y="1608"/>
                  </a:lnTo>
                  <a:lnTo>
                    <a:pt x="914" y="1608"/>
                  </a:lnTo>
                  <a:lnTo>
                    <a:pt x="914" y="1610"/>
                  </a:lnTo>
                  <a:lnTo>
                    <a:pt x="914" y="1610"/>
                  </a:lnTo>
                  <a:lnTo>
                    <a:pt x="910" y="1608"/>
                  </a:lnTo>
                  <a:lnTo>
                    <a:pt x="908" y="1608"/>
                  </a:lnTo>
                  <a:lnTo>
                    <a:pt x="904" y="1606"/>
                  </a:lnTo>
                  <a:lnTo>
                    <a:pt x="898" y="1606"/>
                  </a:lnTo>
                  <a:lnTo>
                    <a:pt x="894" y="1606"/>
                  </a:lnTo>
                  <a:lnTo>
                    <a:pt x="894" y="1606"/>
                  </a:lnTo>
                  <a:lnTo>
                    <a:pt x="894" y="1606"/>
                  </a:lnTo>
                  <a:lnTo>
                    <a:pt x="890" y="1606"/>
                  </a:lnTo>
                  <a:lnTo>
                    <a:pt x="890" y="1606"/>
                  </a:lnTo>
                  <a:lnTo>
                    <a:pt x="890" y="1606"/>
                  </a:lnTo>
                  <a:lnTo>
                    <a:pt x="886" y="1608"/>
                  </a:lnTo>
                  <a:lnTo>
                    <a:pt x="886" y="1608"/>
                  </a:lnTo>
                  <a:lnTo>
                    <a:pt x="886" y="1608"/>
                  </a:lnTo>
                  <a:lnTo>
                    <a:pt x="882" y="1610"/>
                  </a:lnTo>
                  <a:lnTo>
                    <a:pt x="882" y="1610"/>
                  </a:lnTo>
                  <a:lnTo>
                    <a:pt x="882" y="1610"/>
                  </a:lnTo>
                  <a:lnTo>
                    <a:pt x="880" y="1614"/>
                  </a:lnTo>
                  <a:lnTo>
                    <a:pt x="878" y="1618"/>
                  </a:lnTo>
                  <a:lnTo>
                    <a:pt x="876" y="1624"/>
                  </a:lnTo>
                  <a:lnTo>
                    <a:pt x="872" y="1634"/>
                  </a:lnTo>
                  <a:lnTo>
                    <a:pt x="872" y="1638"/>
                  </a:lnTo>
                  <a:lnTo>
                    <a:pt x="870" y="1642"/>
                  </a:lnTo>
                  <a:lnTo>
                    <a:pt x="866" y="1648"/>
                  </a:lnTo>
                  <a:lnTo>
                    <a:pt x="862" y="1656"/>
                  </a:lnTo>
                  <a:lnTo>
                    <a:pt x="860" y="1660"/>
                  </a:lnTo>
                  <a:lnTo>
                    <a:pt x="858" y="1662"/>
                  </a:lnTo>
                  <a:lnTo>
                    <a:pt x="856" y="1666"/>
                  </a:lnTo>
                  <a:lnTo>
                    <a:pt x="856" y="1668"/>
                  </a:lnTo>
                  <a:lnTo>
                    <a:pt x="854" y="1670"/>
                  </a:lnTo>
                  <a:lnTo>
                    <a:pt x="854" y="1670"/>
                  </a:lnTo>
                  <a:lnTo>
                    <a:pt x="854" y="1670"/>
                  </a:lnTo>
                  <a:lnTo>
                    <a:pt x="854" y="1672"/>
                  </a:lnTo>
                  <a:lnTo>
                    <a:pt x="854" y="1672"/>
                  </a:lnTo>
                  <a:lnTo>
                    <a:pt x="854" y="1672"/>
                  </a:lnTo>
                  <a:lnTo>
                    <a:pt x="856" y="1676"/>
                  </a:lnTo>
                  <a:lnTo>
                    <a:pt x="856" y="1676"/>
                  </a:lnTo>
                  <a:lnTo>
                    <a:pt x="856" y="1676"/>
                  </a:lnTo>
                  <a:lnTo>
                    <a:pt x="856" y="1678"/>
                  </a:lnTo>
                  <a:lnTo>
                    <a:pt x="856" y="1678"/>
                  </a:lnTo>
                  <a:lnTo>
                    <a:pt x="858" y="1678"/>
                  </a:lnTo>
                  <a:lnTo>
                    <a:pt x="858" y="1678"/>
                  </a:lnTo>
                  <a:lnTo>
                    <a:pt x="858" y="1678"/>
                  </a:lnTo>
                  <a:lnTo>
                    <a:pt x="860" y="1678"/>
                  </a:lnTo>
                  <a:lnTo>
                    <a:pt x="860" y="1678"/>
                  </a:lnTo>
                  <a:lnTo>
                    <a:pt x="860" y="1678"/>
                  </a:lnTo>
                  <a:lnTo>
                    <a:pt x="862" y="1678"/>
                  </a:lnTo>
                  <a:lnTo>
                    <a:pt x="862" y="1678"/>
                  </a:lnTo>
                  <a:lnTo>
                    <a:pt x="862" y="1678"/>
                  </a:lnTo>
                  <a:lnTo>
                    <a:pt x="864" y="1676"/>
                  </a:lnTo>
                  <a:lnTo>
                    <a:pt x="864" y="1676"/>
                  </a:lnTo>
                  <a:lnTo>
                    <a:pt x="864" y="1676"/>
                  </a:lnTo>
                  <a:lnTo>
                    <a:pt x="864" y="1674"/>
                  </a:lnTo>
                  <a:lnTo>
                    <a:pt x="866" y="1672"/>
                  </a:lnTo>
                  <a:lnTo>
                    <a:pt x="866" y="1670"/>
                  </a:lnTo>
                  <a:lnTo>
                    <a:pt x="868" y="1668"/>
                  </a:lnTo>
                  <a:lnTo>
                    <a:pt x="868" y="1664"/>
                  </a:lnTo>
                  <a:lnTo>
                    <a:pt x="870" y="1662"/>
                  </a:lnTo>
                  <a:lnTo>
                    <a:pt x="872" y="1660"/>
                  </a:lnTo>
                  <a:lnTo>
                    <a:pt x="874" y="1658"/>
                  </a:lnTo>
                  <a:lnTo>
                    <a:pt x="876" y="1658"/>
                  </a:lnTo>
                  <a:lnTo>
                    <a:pt x="878" y="1658"/>
                  </a:lnTo>
                  <a:lnTo>
                    <a:pt x="884" y="1656"/>
                  </a:lnTo>
                  <a:lnTo>
                    <a:pt x="890" y="1656"/>
                  </a:lnTo>
                  <a:lnTo>
                    <a:pt x="896" y="1656"/>
                  </a:lnTo>
                  <a:lnTo>
                    <a:pt x="904" y="1656"/>
                  </a:lnTo>
                  <a:lnTo>
                    <a:pt x="910" y="1654"/>
                  </a:lnTo>
                  <a:lnTo>
                    <a:pt x="914" y="1654"/>
                  </a:lnTo>
                  <a:lnTo>
                    <a:pt x="918" y="1654"/>
                  </a:lnTo>
                  <a:lnTo>
                    <a:pt x="920" y="1652"/>
                  </a:lnTo>
                  <a:lnTo>
                    <a:pt x="920" y="1652"/>
                  </a:lnTo>
                  <a:lnTo>
                    <a:pt x="920" y="1652"/>
                  </a:lnTo>
                  <a:lnTo>
                    <a:pt x="922" y="1650"/>
                  </a:lnTo>
                  <a:lnTo>
                    <a:pt x="922" y="1650"/>
                  </a:lnTo>
                  <a:lnTo>
                    <a:pt x="924" y="1650"/>
                  </a:lnTo>
                  <a:lnTo>
                    <a:pt x="924" y="1646"/>
                  </a:lnTo>
                  <a:lnTo>
                    <a:pt x="924" y="1646"/>
                  </a:lnTo>
                  <a:lnTo>
                    <a:pt x="924" y="1646"/>
                  </a:lnTo>
                  <a:lnTo>
                    <a:pt x="926" y="1642"/>
                  </a:lnTo>
                  <a:lnTo>
                    <a:pt x="926" y="1642"/>
                  </a:lnTo>
                  <a:lnTo>
                    <a:pt x="926" y="1640"/>
                  </a:lnTo>
                  <a:lnTo>
                    <a:pt x="926" y="1636"/>
                  </a:lnTo>
                  <a:lnTo>
                    <a:pt x="926" y="1634"/>
                  </a:lnTo>
                  <a:lnTo>
                    <a:pt x="926" y="1632"/>
                  </a:lnTo>
                  <a:lnTo>
                    <a:pt x="926" y="1632"/>
                  </a:lnTo>
                  <a:lnTo>
                    <a:pt x="928" y="1630"/>
                  </a:lnTo>
                  <a:lnTo>
                    <a:pt x="930" y="1630"/>
                  </a:lnTo>
                  <a:lnTo>
                    <a:pt x="932" y="1630"/>
                  </a:lnTo>
                  <a:lnTo>
                    <a:pt x="936" y="1630"/>
                  </a:lnTo>
                  <a:lnTo>
                    <a:pt x="944" y="1630"/>
                  </a:lnTo>
                  <a:lnTo>
                    <a:pt x="946" y="1630"/>
                  </a:lnTo>
                  <a:lnTo>
                    <a:pt x="946" y="1630"/>
                  </a:lnTo>
                  <a:lnTo>
                    <a:pt x="948" y="1630"/>
                  </a:lnTo>
                  <a:lnTo>
                    <a:pt x="950" y="1628"/>
                  </a:lnTo>
                  <a:lnTo>
                    <a:pt x="950" y="1628"/>
                  </a:lnTo>
                  <a:lnTo>
                    <a:pt x="952" y="1628"/>
                  </a:lnTo>
                  <a:lnTo>
                    <a:pt x="954" y="1628"/>
                  </a:lnTo>
                  <a:lnTo>
                    <a:pt x="954" y="1628"/>
                  </a:lnTo>
                  <a:lnTo>
                    <a:pt x="956" y="1626"/>
                  </a:lnTo>
                  <a:lnTo>
                    <a:pt x="958" y="1624"/>
                  </a:lnTo>
                  <a:lnTo>
                    <a:pt x="964" y="1620"/>
                  </a:lnTo>
                  <a:lnTo>
                    <a:pt x="968" y="1618"/>
                  </a:lnTo>
                  <a:lnTo>
                    <a:pt x="970" y="1616"/>
                  </a:lnTo>
                  <a:lnTo>
                    <a:pt x="974" y="1614"/>
                  </a:lnTo>
                  <a:lnTo>
                    <a:pt x="980" y="1612"/>
                  </a:lnTo>
                  <a:lnTo>
                    <a:pt x="982" y="1610"/>
                  </a:lnTo>
                  <a:lnTo>
                    <a:pt x="984" y="1610"/>
                  </a:lnTo>
                  <a:lnTo>
                    <a:pt x="992" y="1610"/>
                  </a:lnTo>
                  <a:lnTo>
                    <a:pt x="1000" y="1610"/>
                  </a:lnTo>
                  <a:lnTo>
                    <a:pt x="1008" y="1608"/>
                  </a:lnTo>
                  <a:lnTo>
                    <a:pt x="1018" y="1608"/>
                  </a:lnTo>
                  <a:lnTo>
                    <a:pt x="1026" y="1608"/>
                  </a:lnTo>
                  <a:lnTo>
                    <a:pt x="1028" y="1608"/>
                  </a:lnTo>
                  <a:lnTo>
                    <a:pt x="1032" y="1608"/>
                  </a:lnTo>
                  <a:lnTo>
                    <a:pt x="1036" y="1608"/>
                  </a:lnTo>
                  <a:lnTo>
                    <a:pt x="1038" y="1606"/>
                  </a:lnTo>
                  <a:lnTo>
                    <a:pt x="1042" y="1606"/>
                  </a:lnTo>
                  <a:lnTo>
                    <a:pt x="1042" y="1606"/>
                  </a:lnTo>
                  <a:lnTo>
                    <a:pt x="1042" y="1606"/>
                  </a:lnTo>
                  <a:lnTo>
                    <a:pt x="1046" y="1604"/>
                  </a:lnTo>
                  <a:lnTo>
                    <a:pt x="1046" y="1604"/>
                  </a:lnTo>
                  <a:lnTo>
                    <a:pt x="1046" y="1604"/>
                  </a:lnTo>
                  <a:lnTo>
                    <a:pt x="1048" y="1602"/>
                  </a:lnTo>
                  <a:lnTo>
                    <a:pt x="1048" y="1602"/>
                  </a:lnTo>
                  <a:lnTo>
                    <a:pt x="1048" y="1600"/>
                  </a:lnTo>
                  <a:lnTo>
                    <a:pt x="1050" y="1598"/>
                  </a:lnTo>
                  <a:lnTo>
                    <a:pt x="1050" y="1596"/>
                  </a:lnTo>
                  <a:lnTo>
                    <a:pt x="1050" y="1594"/>
                  </a:lnTo>
                  <a:lnTo>
                    <a:pt x="1052" y="1592"/>
                  </a:lnTo>
                  <a:lnTo>
                    <a:pt x="1052" y="1592"/>
                  </a:lnTo>
                  <a:lnTo>
                    <a:pt x="1056" y="1588"/>
                  </a:lnTo>
                  <a:lnTo>
                    <a:pt x="1058" y="1586"/>
                  </a:lnTo>
                  <a:lnTo>
                    <a:pt x="1062" y="1582"/>
                  </a:lnTo>
                  <a:lnTo>
                    <a:pt x="1064" y="1578"/>
                  </a:lnTo>
                  <a:lnTo>
                    <a:pt x="1064" y="1578"/>
                  </a:lnTo>
                  <a:lnTo>
                    <a:pt x="1064" y="1578"/>
                  </a:lnTo>
                  <a:lnTo>
                    <a:pt x="1066" y="1576"/>
                  </a:lnTo>
                  <a:lnTo>
                    <a:pt x="1066" y="1574"/>
                  </a:lnTo>
                  <a:lnTo>
                    <a:pt x="1068" y="1568"/>
                  </a:lnTo>
                  <a:lnTo>
                    <a:pt x="1070" y="1564"/>
                  </a:lnTo>
                  <a:lnTo>
                    <a:pt x="1070" y="1562"/>
                  </a:lnTo>
                  <a:lnTo>
                    <a:pt x="1070" y="1562"/>
                  </a:lnTo>
                  <a:lnTo>
                    <a:pt x="1072" y="1560"/>
                  </a:lnTo>
                  <a:lnTo>
                    <a:pt x="1074" y="1560"/>
                  </a:lnTo>
                  <a:lnTo>
                    <a:pt x="1076" y="1558"/>
                  </a:lnTo>
                  <a:lnTo>
                    <a:pt x="1080" y="1558"/>
                  </a:lnTo>
                  <a:lnTo>
                    <a:pt x="1082" y="1558"/>
                  </a:lnTo>
                  <a:lnTo>
                    <a:pt x="1086" y="1558"/>
                  </a:lnTo>
                  <a:lnTo>
                    <a:pt x="1088" y="1558"/>
                  </a:lnTo>
                  <a:lnTo>
                    <a:pt x="1088" y="1558"/>
                  </a:lnTo>
                  <a:lnTo>
                    <a:pt x="1088" y="1558"/>
                  </a:lnTo>
                  <a:lnTo>
                    <a:pt x="1088" y="1558"/>
                  </a:lnTo>
                  <a:lnTo>
                    <a:pt x="1090" y="1560"/>
                  </a:lnTo>
                  <a:lnTo>
                    <a:pt x="1090" y="1562"/>
                  </a:lnTo>
                  <a:lnTo>
                    <a:pt x="1090" y="1564"/>
                  </a:lnTo>
                  <a:lnTo>
                    <a:pt x="1090" y="1566"/>
                  </a:lnTo>
                  <a:lnTo>
                    <a:pt x="1090" y="1572"/>
                  </a:lnTo>
                  <a:lnTo>
                    <a:pt x="1090" y="1576"/>
                  </a:lnTo>
                  <a:lnTo>
                    <a:pt x="1090" y="1578"/>
                  </a:lnTo>
                  <a:lnTo>
                    <a:pt x="1090" y="1582"/>
                  </a:lnTo>
                  <a:lnTo>
                    <a:pt x="1090" y="1588"/>
                  </a:lnTo>
                  <a:lnTo>
                    <a:pt x="1090" y="1592"/>
                  </a:lnTo>
                  <a:lnTo>
                    <a:pt x="1090" y="1592"/>
                  </a:lnTo>
                  <a:lnTo>
                    <a:pt x="1090" y="1592"/>
                  </a:lnTo>
                  <a:lnTo>
                    <a:pt x="1090" y="1594"/>
                  </a:lnTo>
                  <a:lnTo>
                    <a:pt x="1090" y="1594"/>
                  </a:lnTo>
                  <a:lnTo>
                    <a:pt x="1090" y="1594"/>
                  </a:lnTo>
                  <a:lnTo>
                    <a:pt x="1092" y="1596"/>
                  </a:lnTo>
                  <a:lnTo>
                    <a:pt x="1092" y="1596"/>
                  </a:lnTo>
                  <a:lnTo>
                    <a:pt x="1092" y="1596"/>
                  </a:lnTo>
                  <a:lnTo>
                    <a:pt x="1094" y="1598"/>
                  </a:lnTo>
                  <a:lnTo>
                    <a:pt x="1096" y="1600"/>
                  </a:lnTo>
                  <a:lnTo>
                    <a:pt x="1100" y="1604"/>
                  </a:lnTo>
                  <a:lnTo>
                    <a:pt x="1104" y="1606"/>
                  </a:lnTo>
                  <a:lnTo>
                    <a:pt x="1104" y="1606"/>
                  </a:lnTo>
                  <a:lnTo>
                    <a:pt x="1106" y="1606"/>
                  </a:lnTo>
                  <a:lnTo>
                    <a:pt x="1106" y="1606"/>
                  </a:lnTo>
                  <a:lnTo>
                    <a:pt x="1106" y="1606"/>
                  </a:lnTo>
                  <a:lnTo>
                    <a:pt x="1108" y="1606"/>
                  </a:lnTo>
                  <a:lnTo>
                    <a:pt x="1108" y="1606"/>
                  </a:lnTo>
                  <a:lnTo>
                    <a:pt x="1108" y="1606"/>
                  </a:lnTo>
                  <a:lnTo>
                    <a:pt x="1110" y="1606"/>
                  </a:lnTo>
                  <a:lnTo>
                    <a:pt x="1112" y="1606"/>
                  </a:lnTo>
                  <a:lnTo>
                    <a:pt x="1112" y="1606"/>
                  </a:lnTo>
                  <a:lnTo>
                    <a:pt x="1112" y="1604"/>
                  </a:lnTo>
                  <a:lnTo>
                    <a:pt x="1114" y="1604"/>
                  </a:lnTo>
                  <a:lnTo>
                    <a:pt x="1114" y="1604"/>
                  </a:lnTo>
                  <a:lnTo>
                    <a:pt x="1114" y="1604"/>
                  </a:lnTo>
                  <a:lnTo>
                    <a:pt x="1114" y="1602"/>
                  </a:lnTo>
                  <a:lnTo>
                    <a:pt x="1114" y="1602"/>
                  </a:lnTo>
                  <a:lnTo>
                    <a:pt x="1114" y="1602"/>
                  </a:lnTo>
                  <a:lnTo>
                    <a:pt x="1114" y="1600"/>
                  </a:lnTo>
                  <a:lnTo>
                    <a:pt x="1114" y="1600"/>
                  </a:lnTo>
                  <a:lnTo>
                    <a:pt x="1114" y="1600"/>
                  </a:lnTo>
                  <a:lnTo>
                    <a:pt x="1114" y="1600"/>
                  </a:lnTo>
                  <a:lnTo>
                    <a:pt x="1116" y="1600"/>
                  </a:lnTo>
                  <a:lnTo>
                    <a:pt x="1116" y="1600"/>
                  </a:lnTo>
                  <a:lnTo>
                    <a:pt x="1116" y="1600"/>
                  </a:lnTo>
                  <a:lnTo>
                    <a:pt x="1118" y="1600"/>
                  </a:lnTo>
                  <a:lnTo>
                    <a:pt x="1120" y="1600"/>
                  </a:lnTo>
                  <a:lnTo>
                    <a:pt x="1120" y="1600"/>
                  </a:lnTo>
                  <a:lnTo>
                    <a:pt x="1120" y="1600"/>
                  </a:lnTo>
                  <a:lnTo>
                    <a:pt x="1122" y="1600"/>
                  </a:lnTo>
                  <a:lnTo>
                    <a:pt x="1126" y="1598"/>
                  </a:lnTo>
                  <a:lnTo>
                    <a:pt x="1130" y="1598"/>
                  </a:lnTo>
                  <a:lnTo>
                    <a:pt x="1134" y="1596"/>
                  </a:lnTo>
                  <a:lnTo>
                    <a:pt x="1134" y="1596"/>
                  </a:lnTo>
                  <a:lnTo>
                    <a:pt x="1134" y="1596"/>
                  </a:lnTo>
                  <a:lnTo>
                    <a:pt x="1134" y="1596"/>
                  </a:lnTo>
                  <a:lnTo>
                    <a:pt x="1134" y="1598"/>
                  </a:lnTo>
                  <a:lnTo>
                    <a:pt x="1134" y="1598"/>
                  </a:lnTo>
                  <a:lnTo>
                    <a:pt x="1136" y="1600"/>
                  </a:lnTo>
                  <a:lnTo>
                    <a:pt x="1138" y="1600"/>
                  </a:lnTo>
                  <a:lnTo>
                    <a:pt x="1120" y="1608"/>
                  </a:lnTo>
                  <a:lnTo>
                    <a:pt x="1120" y="1608"/>
                  </a:lnTo>
                  <a:lnTo>
                    <a:pt x="1118" y="1608"/>
                  </a:lnTo>
                  <a:lnTo>
                    <a:pt x="1108" y="1626"/>
                  </a:lnTo>
                  <a:lnTo>
                    <a:pt x="1108" y="1626"/>
                  </a:lnTo>
                  <a:lnTo>
                    <a:pt x="1108" y="1630"/>
                  </a:lnTo>
                  <a:lnTo>
                    <a:pt x="1122" y="1648"/>
                  </a:lnTo>
                  <a:lnTo>
                    <a:pt x="1122" y="1648"/>
                  </a:lnTo>
                  <a:lnTo>
                    <a:pt x="1124" y="1648"/>
                  </a:lnTo>
                  <a:lnTo>
                    <a:pt x="1124" y="1648"/>
                  </a:lnTo>
                  <a:lnTo>
                    <a:pt x="1126" y="1648"/>
                  </a:lnTo>
                  <a:lnTo>
                    <a:pt x="1148" y="1622"/>
                  </a:lnTo>
                  <a:lnTo>
                    <a:pt x="1156" y="1624"/>
                  </a:lnTo>
                  <a:lnTo>
                    <a:pt x="1156" y="1624"/>
                  </a:lnTo>
                  <a:lnTo>
                    <a:pt x="1160" y="1624"/>
                  </a:lnTo>
                  <a:lnTo>
                    <a:pt x="1168" y="1616"/>
                  </a:lnTo>
                  <a:lnTo>
                    <a:pt x="1202" y="1606"/>
                  </a:lnTo>
                  <a:lnTo>
                    <a:pt x="1202" y="1606"/>
                  </a:lnTo>
                  <a:lnTo>
                    <a:pt x="1202" y="1604"/>
                  </a:lnTo>
                  <a:lnTo>
                    <a:pt x="1204" y="1602"/>
                  </a:lnTo>
                  <a:lnTo>
                    <a:pt x="1202" y="1598"/>
                  </a:lnTo>
                  <a:lnTo>
                    <a:pt x="1222" y="1588"/>
                  </a:lnTo>
                  <a:lnTo>
                    <a:pt x="1222" y="1588"/>
                  </a:lnTo>
                  <a:lnTo>
                    <a:pt x="1224" y="1586"/>
                  </a:lnTo>
                  <a:lnTo>
                    <a:pt x="1224" y="1586"/>
                  </a:lnTo>
                  <a:lnTo>
                    <a:pt x="1222" y="1584"/>
                  </a:lnTo>
                  <a:lnTo>
                    <a:pt x="1212" y="1578"/>
                  </a:lnTo>
                  <a:lnTo>
                    <a:pt x="1212" y="1572"/>
                  </a:lnTo>
                  <a:lnTo>
                    <a:pt x="1212" y="1572"/>
                  </a:lnTo>
                  <a:lnTo>
                    <a:pt x="1212" y="1570"/>
                  </a:lnTo>
                  <a:lnTo>
                    <a:pt x="1208" y="1560"/>
                  </a:lnTo>
                  <a:lnTo>
                    <a:pt x="1208" y="1560"/>
                  </a:lnTo>
                  <a:lnTo>
                    <a:pt x="1206" y="1558"/>
                  </a:lnTo>
                  <a:lnTo>
                    <a:pt x="1206" y="1558"/>
                  </a:lnTo>
                  <a:lnTo>
                    <a:pt x="1202" y="1560"/>
                  </a:lnTo>
                  <a:lnTo>
                    <a:pt x="1198" y="1572"/>
                  </a:lnTo>
                  <a:lnTo>
                    <a:pt x="1188" y="1580"/>
                  </a:lnTo>
                  <a:lnTo>
                    <a:pt x="1188" y="1580"/>
                  </a:lnTo>
                  <a:lnTo>
                    <a:pt x="1188" y="1582"/>
                  </a:lnTo>
                  <a:lnTo>
                    <a:pt x="1190" y="1592"/>
                  </a:lnTo>
                  <a:lnTo>
                    <a:pt x="1188" y="1592"/>
                  </a:lnTo>
                  <a:lnTo>
                    <a:pt x="1188" y="1588"/>
                  </a:lnTo>
                  <a:lnTo>
                    <a:pt x="1188" y="1588"/>
                  </a:lnTo>
                  <a:lnTo>
                    <a:pt x="1186" y="1586"/>
                  </a:lnTo>
                  <a:lnTo>
                    <a:pt x="1186" y="1586"/>
                  </a:lnTo>
                  <a:lnTo>
                    <a:pt x="1184" y="1586"/>
                  </a:lnTo>
                  <a:lnTo>
                    <a:pt x="1178" y="1590"/>
                  </a:lnTo>
                  <a:lnTo>
                    <a:pt x="1178" y="1590"/>
                  </a:lnTo>
                  <a:lnTo>
                    <a:pt x="1178" y="1588"/>
                  </a:lnTo>
                  <a:lnTo>
                    <a:pt x="1178" y="1584"/>
                  </a:lnTo>
                  <a:lnTo>
                    <a:pt x="1186" y="1578"/>
                  </a:lnTo>
                  <a:lnTo>
                    <a:pt x="1186" y="1578"/>
                  </a:lnTo>
                  <a:lnTo>
                    <a:pt x="1186" y="1576"/>
                  </a:lnTo>
                  <a:lnTo>
                    <a:pt x="1186" y="1576"/>
                  </a:lnTo>
                  <a:lnTo>
                    <a:pt x="1182" y="1574"/>
                  </a:lnTo>
                  <a:lnTo>
                    <a:pt x="1174" y="1574"/>
                  </a:lnTo>
                  <a:lnTo>
                    <a:pt x="1164" y="1572"/>
                  </a:lnTo>
                  <a:lnTo>
                    <a:pt x="1154" y="1566"/>
                  </a:lnTo>
                  <a:lnTo>
                    <a:pt x="1152" y="1562"/>
                  </a:lnTo>
                  <a:lnTo>
                    <a:pt x="1152" y="1562"/>
                  </a:lnTo>
                  <a:lnTo>
                    <a:pt x="1150" y="1560"/>
                  </a:lnTo>
                  <a:lnTo>
                    <a:pt x="1150" y="1560"/>
                  </a:lnTo>
                  <a:lnTo>
                    <a:pt x="1148" y="1562"/>
                  </a:lnTo>
                  <a:lnTo>
                    <a:pt x="1144" y="1568"/>
                  </a:lnTo>
                  <a:lnTo>
                    <a:pt x="1144" y="1568"/>
                  </a:lnTo>
                  <a:lnTo>
                    <a:pt x="1142" y="1570"/>
                  </a:lnTo>
                  <a:lnTo>
                    <a:pt x="1144" y="1572"/>
                  </a:lnTo>
                  <a:lnTo>
                    <a:pt x="1152" y="1580"/>
                  </a:lnTo>
                  <a:lnTo>
                    <a:pt x="1152" y="1580"/>
                  </a:lnTo>
                  <a:lnTo>
                    <a:pt x="1150" y="1580"/>
                  </a:lnTo>
                  <a:lnTo>
                    <a:pt x="1148" y="1582"/>
                  </a:lnTo>
                  <a:lnTo>
                    <a:pt x="1148" y="1582"/>
                  </a:lnTo>
                  <a:lnTo>
                    <a:pt x="1148" y="1582"/>
                  </a:lnTo>
                  <a:lnTo>
                    <a:pt x="1148" y="1580"/>
                  </a:lnTo>
                  <a:lnTo>
                    <a:pt x="1146" y="1578"/>
                  </a:lnTo>
                  <a:lnTo>
                    <a:pt x="1146" y="1578"/>
                  </a:lnTo>
                  <a:lnTo>
                    <a:pt x="1146" y="1578"/>
                  </a:lnTo>
                  <a:lnTo>
                    <a:pt x="1144" y="1576"/>
                  </a:lnTo>
                  <a:lnTo>
                    <a:pt x="1140" y="1574"/>
                  </a:lnTo>
                  <a:lnTo>
                    <a:pt x="1138" y="1574"/>
                  </a:lnTo>
                  <a:lnTo>
                    <a:pt x="1138" y="1572"/>
                  </a:lnTo>
                  <a:lnTo>
                    <a:pt x="1138" y="1572"/>
                  </a:lnTo>
                  <a:lnTo>
                    <a:pt x="1138" y="1570"/>
                  </a:lnTo>
                  <a:lnTo>
                    <a:pt x="1138" y="1570"/>
                  </a:lnTo>
                  <a:lnTo>
                    <a:pt x="1138" y="1568"/>
                  </a:lnTo>
                  <a:lnTo>
                    <a:pt x="1140" y="1566"/>
                  </a:lnTo>
                  <a:lnTo>
                    <a:pt x="1140" y="1566"/>
                  </a:lnTo>
                  <a:lnTo>
                    <a:pt x="1140" y="1566"/>
                  </a:lnTo>
                  <a:lnTo>
                    <a:pt x="1142" y="1566"/>
                  </a:lnTo>
                  <a:lnTo>
                    <a:pt x="1142" y="1564"/>
                  </a:lnTo>
                  <a:lnTo>
                    <a:pt x="1142" y="1564"/>
                  </a:lnTo>
                  <a:lnTo>
                    <a:pt x="1142" y="1562"/>
                  </a:lnTo>
                  <a:lnTo>
                    <a:pt x="1142" y="1562"/>
                  </a:lnTo>
                  <a:lnTo>
                    <a:pt x="1142" y="1562"/>
                  </a:lnTo>
                  <a:lnTo>
                    <a:pt x="1140" y="1560"/>
                  </a:lnTo>
                  <a:lnTo>
                    <a:pt x="1140" y="1560"/>
                  </a:lnTo>
                  <a:lnTo>
                    <a:pt x="1140" y="1560"/>
                  </a:lnTo>
                  <a:lnTo>
                    <a:pt x="1138" y="1558"/>
                  </a:lnTo>
                  <a:lnTo>
                    <a:pt x="1138" y="1558"/>
                  </a:lnTo>
                  <a:lnTo>
                    <a:pt x="1136" y="1558"/>
                  </a:lnTo>
                  <a:lnTo>
                    <a:pt x="1134" y="1558"/>
                  </a:lnTo>
                  <a:lnTo>
                    <a:pt x="1132" y="1558"/>
                  </a:lnTo>
                  <a:lnTo>
                    <a:pt x="1132" y="1558"/>
                  </a:lnTo>
                  <a:lnTo>
                    <a:pt x="1134" y="1556"/>
                  </a:lnTo>
                  <a:lnTo>
                    <a:pt x="1136" y="1554"/>
                  </a:lnTo>
                  <a:lnTo>
                    <a:pt x="1138" y="1552"/>
                  </a:lnTo>
                  <a:lnTo>
                    <a:pt x="1138" y="1548"/>
                  </a:lnTo>
                  <a:lnTo>
                    <a:pt x="1138" y="1548"/>
                  </a:lnTo>
                  <a:lnTo>
                    <a:pt x="1138" y="1548"/>
                  </a:lnTo>
                  <a:lnTo>
                    <a:pt x="1140" y="1546"/>
                  </a:lnTo>
                  <a:lnTo>
                    <a:pt x="1140" y="1546"/>
                  </a:lnTo>
                  <a:lnTo>
                    <a:pt x="1140" y="1546"/>
                  </a:lnTo>
                  <a:lnTo>
                    <a:pt x="1140" y="1544"/>
                  </a:lnTo>
                  <a:lnTo>
                    <a:pt x="1140" y="1544"/>
                  </a:lnTo>
                  <a:lnTo>
                    <a:pt x="1140" y="1542"/>
                  </a:lnTo>
                  <a:lnTo>
                    <a:pt x="1138" y="1542"/>
                  </a:lnTo>
                  <a:lnTo>
                    <a:pt x="1138" y="1542"/>
                  </a:lnTo>
                  <a:lnTo>
                    <a:pt x="1136" y="1540"/>
                  </a:lnTo>
                  <a:lnTo>
                    <a:pt x="1136" y="1540"/>
                  </a:lnTo>
                  <a:lnTo>
                    <a:pt x="1136" y="1540"/>
                  </a:lnTo>
                  <a:lnTo>
                    <a:pt x="1134" y="1540"/>
                  </a:lnTo>
                  <a:lnTo>
                    <a:pt x="1134" y="1540"/>
                  </a:lnTo>
                  <a:lnTo>
                    <a:pt x="1132" y="1540"/>
                  </a:lnTo>
                  <a:lnTo>
                    <a:pt x="1128" y="1542"/>
                  </a:lnTo>
                  <a:lnTo>
                    <a:pt x="1126" y="1542"/>
                  </a:lnTo>
                  <a:lnTo>
                    <a:pt x="1126" y="1542"/>
                  </a:lnTo>
                  <a:lnTo>
                    <a:pt x="1124" y="1540"/>
                  </a:lnTo>
                  <a:lnTo>
                    <a:pt x="1122" y="1540"/>
                  </a:lnTo>
                  <a:lnTo>
                    <a:pt x="1118" y="1536"/>
                  </a:lnTo>
                  <a:lnTo>
                    <a:pt x="1116" y="1536"/>
                  </a:lnTo>
                  <a:lnTo>
                    <a:pt x="1114" y="1534"/>
                  </a:lnTo>
                  <a:lnTo>
                    <a:pt x="1114" y="1534"/>
                  </a:lnTo>
                  <a:lnTo>
                    <a:pt x="1114" y="1534"/>
                  </a:lnTo>
                  <a:lnTo>
                    <a:pt x="1116" y="1532"/>
                  </a:lnTo>
                  <a:lnTo>
                    <a:pt x="1118" y="1530"/>
                  </a:lnTo>
                  <a:lnTo>
                    <a:pt x="1120" y="1528"/>
                  </a:lnTo>
                  <a:lnTo>
                    <a:pt x="1124" y="1526"/>
                  </a:lnTo>
                  <a:lnTo>
                    <a:pt x="1126" y="1522"/>
                  </a:lnTo>
                  <a:lnTo>
                    <a:pt x="1126" y="1522"/>
                  </a:lnTo>
                  <a:lnTo>
                    <a:pt x="1128" y="1522"/>
                  </a:lnTo>
                  <a:lnTo>
                    <a:pt x="1128" y="1520"/>
                  </a:lnTo>
                  <a:lnTo>
                    <a:pt x="1128" y="1520"/>
                  </a:lnTo>
                  <a:lnTo>
                    <a:pt x="1130" y="1520"/>
                  </a:lnTo>
                  <a:lnTo>
                    <a:pt x="1130" y="1520"/>
                  </a:lnTo>
                  <a:lnTo>
                    <a:pt x="1130" y="1520"/>
                  </a:lnTo>
                  <a:lnTo>
                    <a:pt x="1130" y="1518"/>
                  </a:lnTo>
                  <a:lnTo>
                    <a:pt x="1130" y="1518"/>
                  </a:lnTo>
                  <a:lnTo>
                    <a:pt x="1130" y="1518"/>
                  </a:lnTo>
                  <a:lnTo>
                    <a:pt x="1130" y="1516"/>
                  </a:lnTo>
                  <a:lnTo>
                    <a:pt x="1128" y="1514"/>
                  </a:lnTo>
                  <a:lnTo>
                    <a:pt x="1128" y="1514"/>
                  </a:lnTo>
                  <a:lnTo>
                    <a:pt x="1128" y="1514"/>
                  </a:lnTo>
                  <a:lnTo>
                    <a:pt x="1126" y="1512"/>
                  </a:lnTo>
                  <a:lnTo>
                    <a:pt x="1126" y="1512"/>
                  </a:lnTo>
                  <a:lnTo>
                    <a:pt x="1126" y="1512"/>
                  </a:lnTo>
                  <a:lnTo>
                    <a:pt x="1124" y="1510"/>
                  </a:lnTo>
                  <a:lnTo>
                    <a:pt x="1124" y="1510"/>
                  </a:lnTo>
                  <a:lnTo>
                    <a:pt x="1124" y="1510"/>
                  </a:lnTo>
                  <a:lnTo>
                    <a:pt x="1120" y="1508"/>
                  </a:lnTo>
                  <a:lnTo>
                    <a:pt x="1116" y="1506"/>
                  </a:lnTo>
                  <a:lnTo>
                    <a:pt x="1116" y="1506"/>
                  </a:lnTo>
                  <a:lnTo>
                    <a:pt x="1116" y="1506"/>
                  </a:lnTo>
                  <a:lnTo>
                    <a:pt x="1112" y="1504"/>
                  </a:lnTo>
                  <a:lnTo>
                    <a:pt x="1112" y="1504"/>
                  </a:lnTo>
                  <a:lnTo>
                    <a:pt x="1112" y="1504"/>
                  </a:lnTo>
                  <a:lnTo>
                    <a:pt x="1108" y="1504"/>
                  </a:lnTo>
                  <a:lnTo>
                    <a:pt x="1108" y="1504"/>
                  </a:lnTo>
                  <a:lnTo>
                    <a:pt x="1106" y="1504"/>
                  </a:lnTo>
                  <a:lnTo>
                    <a:pt x="1102" y="1506"/>
                  </a:lnTo>
                  <a:lnTo>
                    <a:pt x="1102" y="1506"/>
                  </a:lnTo>
                  <a:lnTo>
                    <a:pt x="1102" y="1506"/>
                  </a:lnTo>
                  <a:lnTo>
                    <a:pt x="1098" y="1506"/>
                  </a:lnTo>
                  <a:lnTo>
                    <a:pt x="1094" y="1508"/>
                  </a:lnTo>
                  <a:lnTo>
                    <a:pt x="1088" y="1512"/>
                  </a:lnTo>
                  <a:lnTo>
                    <a:pt x="1084" y="1514"/>
                  </a:lnTo>
                  <a:lnTo>
                    <a:pt x="1078" y="1518"/>
                  </a:lnTo>
                  <a:lnTo>
                    <a:pt x="1072" y="1522"/>
                  </a:lnTo>
                  <a:lnTo>
                    <a:pt x="1068" y="1526"/>
                  </a:lnTo>
                  <a:lnTo>
                    <a:pt x="1064" y="1530"/>
                  </a:lnTo>
                  <a:lnTo>
                    <a:pt x="1058" y="1536"/>
                  </a:lnTo>
                  <a:lnTo>
                    <a:pt x="1054" y="1542"/>
                  </a:lnTo>
                  <a:lnTo>
                    <a:pt x="1050" y="1548"/>
                  </a:lnTo>
                  <a:lnTo>
                    <a:pt x="1048" y="1556"/>
                  </a:lnTo>
                  <a:lnTo>
                    <a:pt x="1044" y="1562"/>
                  </a:lnTo>
                  <a:lnTo>
                    <a:pt x="1040" y="1568"/>
                  </a:lnTo>
                  <a:lnTo>
                    <a:pt x="1038" y="1572"/>
                  </a:lnTo>
                  <a:lnTo>
                    <a:pt x="1034" y="1576"/>
                  </a:lnTo>
                  <a:lnTo>
                    <a:pt x="1032" y="1578"/>
                  </a:lnTo>
                  <a:lnTo>
                    <a:pt x="1030" y="1580"/>
                  </a:lnTo>
                  <a:lnTo>
                    <a:pt x="1030" y="1582"/>
                  </a:lnTo>
                  <a:lnTo>
                    <a:pt x="1028" y="1582"/>
                  </a:lnTo>
                  <a:lnTo>
                    <a:pt x="1028" y="1584"/>
                  </a:lnTo>
                  <a:lnTo>
                    <a:pt x="1026" y="1584"/>
                  </a:lnTo>
                  <a:lnTo>
                    <a:pt x="1024" y="1584"/>
                  </a:lnTo>
                  <a:lnTo>
                    <a:pt x="1020" y="1586"/>
                  </a:lnTo>
                  <a:lnTo>
                    <a:pt x="1020" y="1588"/>
                  </a:lnTo>
                  <a:lnTo>
                    <a:pt x="1018" y="1588"/>
                  </a:lnTo>
                  <a:lnTo>
                    <a:pt x="1012" y="1590"/>
                  </a:lnTo>
                  <a:lnTo>
                    <a:pt x="1006" y="1592"/>
                  </a:lnTo>
                  <a:lnTo>
                    <a:pt x="1004" y="1594"/>
                  </a:lnTo>
                  <a:lnTo>
                    <a:pt x="1006" y="1592"/>
                  </a:lnTo>
                  <a:lnTo>
                    <a:pt x="1014" y="1588"/>
                  </a:lnTo>
                  <a:lnTo>
                    <a:pt x="1020" y="1582"/>
                  </a:lnTo>
                  <a:lnTo>
                    <a:pt x="1028" y="1578"/>
                  </a:lnTo>
                  <a:lnTo>
                    <a:pt x="1030" y="1576"/>
                  </a:lnTo>
                  <a:lnTo>
                    <a:pt x="1034" y="1574"/>
                  </a:lnTo>
                  <a:lnTo>
                    <a:pt x="1038" y="1568"/>
                  </a:lnTo>
                  <a:lnTo>
                    <a:pt x="1038" y="1568"/>
                  </a:lnTo>
                  <a:lnTo>
                    <a:pt x="1038" y="1568"/>
                  </a:lnTo>
                  <a:lnTo>
                    <a:pt x="1040" y="1562"/>
                  </a:lnTo>
                  <a:lnTo>
                    <a:pt x="1044" y="1556"/>
                  </a:lnTo>
                  <a:lnTo>
                    <a:pt x="1046" y="1552"/>
                  </a:lnTo>
                  <a:lnTo>
                    <a:pt x="1048" y="1546"/>
                  </a:lnTo>
                  <a:lnTo>
                    <a:pt x="1052" y="1540"/>
                  </a:lnTo>
                  <a:lnTo>
                    <a:pt x="1054" y="1536"/>
                  </a:lnTo>
                  <a:lnTo>
                    <a:pt x="1058" y="1530"/>
                  </a:lnTo>
                  <a:lnTo>
                    <a:pt x="1068" y="1522"/>
                  </a:lnTo>
                  <a:lnTo>
                    <a:pt x="1072" y="1518"/>
                  </a:lnTo>
                  <a:lnTo>
                    <a:pt x="1078" y="1514"/>
                  </a:lnTo>
                  <a:lnTo>
                    <a:pt x="1084" y="1510"/>
                  </a:lnTo>
                  <a:lnTo>
                    <a:pt x="1090" y="1506"/>
                  </a:lnTo>
                  <a:lnTo>
                    <a:pt x="1098" y="1504"/>
                  </a:lnTo>
                  <a:lnTo>
                    <a:pt x="1108" y="1500"/>
                  </a:lnTo>
                  <a:lnTo>
                    <a:pt x="1112" y="1500"/>
                  </a:lnTo>
                  <a:lnTo>
                    <a:pt x="1118" y="1498"/>
                  </a:lnTo>
                  <a:lnTo>
                    <a:pt x="1124" y="1498"/>
                  </a:lnTo>
                  <a:lnTo>
                    <a:pt x="1132" y="1498"/>
                  </a:lnTo>
                  <a:lnTo>
                    <a:pt x="1146" y="1496"/>
                  </a:lnTo>
                  <a:lnTo>
                    <a:pt x="1162" y="1496"/>
                  </a:lnTo>
                  <a:lnTo>
                    <a:pt x="1176" y="1494"/>
                  </a:lnTo>
                  <a:lnTo>
                    <a:pt x="1184" y="1494"/>
                  </a:lnTo>
                  <a:lnTo>
                    <a:pt x="1190" y="1494"/>
                  </a:lnTo>
                  <a:lnTo>
                    <a:pt x="1196" y="1494"/>
                  </a:lnTo>
                  <a:lnTo>
                    <a:pt x="1202" y="1494"/>
                  </a:lnTo>
                  <a:lnTo>
                    <a:pt x="1208" y="1492"/>
                  </a:lnTo>
                  <a:lnTo>
                    <a:pt x="1212" y="1492"/>
                  </a:lnTo>
                  <a:lnTo>
                    <a:pt x="1214" y="1492"/>
                  </a:lnTo>
                  <a:lnTo>
                    <a:pt x="1218" y="1490"/>
                  </a:lnTo>
                  <a:lnTo>
                    <a:pt x="1220" y="1490"/>
                  </a:lnTo>
                  <a:lnTo>
                    <a:pt x="1222" y="1490"/>
                  </a:lnTo>
                  <a:lnTo>
                    <a:pt x="1222" y="1490"/>
                  </a:lnTo>
                  <a:lnTo>
                    <a:pt x="1222" y="1490"/>
                  </a:lnTo>
                  <a:lnTo>
                    <a:pt x="1222" y="1488"/>
                  </a:lnTo>
                  <a:lnTo>
                    <a:pt x="1222" y="1488"/>
                  </a:lnTo>
                  <a:lnTo>
                    <a:pt x="1224" y="1488"/>
                  </a:lnTo>
                  <a:lnTo>
                    <a:pt x="1224" y="1488"/>
                  </a:lnTo>
                  <a:lnTo>
                    <a:pt x="1224" y="1488"/>
                  </a:lnTo>
                  <a:lnTo>
                    <a:pt x="1224" y="1486"/>
                  </a:lnTo>
                  <a:lnTo>
                    <a:pt x="1224" y="1484"/>
                  </a:lnTo>
                  <a:lnTo>
                    <a:pt x="1224" y="1484"/>
                  </a:lnTo>
                  <a:lnTo>
                    <a:pt x="1224" y="1484"/>
                  </a:lnTo>
                  <a:lnTo>
                    <a:pt x="1222" y="1482"/>
                  </a:lnTo>
                  <a:lnTo>
                    <a:pt x="1222" y="1482"/>
                  </a:lnTo>
                  <a:lnTo>
                    <a:pt x="1222" y="1480"/>
                  </a:lnTo>
                  <a:lnTo>
                    <a:pt x="1222" y="1480"/>
                  </a:lnTo>
                  <a:lnTo>
                    <a:pt x="1222" y="1480"/>
                  </a:lnTo>
                  <a:lnTo>
                    <a:pt x="1224" y="1478"/>
                  </a:lnTo>
                  <a:lnTo>
                    <a:pt x="1228" y="1474"/>
                  </a:lnTo>
                  <a:lnTo>
                    <a:pt x="1234" y="1468"/>
                  </a:lnTo>
                  <a:lnTo>
                    <a:pt x="1236" y="1464"/>
                  </a:lnTo>
                  <a:lnTo>
                    <a:pt x="1240" y="1460"/>
                  </a:lnTo>
                  <a:lnTo>
                    <a:pt x="1242" y="1458"/>
                  </a:lnTo>
                  <a:lnTo>
                    <a:pt x="1244" y="1456"/>
                  </a:lnTo>
                  <a:lnTo>
                    <a:pt x="1246" y="1454"/>
                  </a:lnTo>
                  <a:lnTo>
                    <a:pt x="1246" y="1454"/>
                  </a:lnTo>
                  <a:lnTo>
                    <a:pt x="1248" y="1454"/>
                  </a:lnTo>
                  <a:lnTo>
                    <a:pt x="1250" y="1454"/>
                  </a:lnTo>
                  <a:lnTo>
                    <a:pt x="1252" y="1456"/>
                  </a:lnTo>
                  <a:lnTo>
                    <a:pt x="1252" y="1456"/>
                  </a:lnTo>
                  <a:lnTo>
                    <a:pt x="1252" y="1456"/>
                  </a:lnTo>
                  <a:lnTo>
                    <a:pt x="1254" y="1456"/>
                  </a:lnTo>
                  <a:lnTo>
                    <a:pt x="1254" y="1456"/>
                  </a:lnTo>
                  <a:lnTo>
                    <a:pt x="1254" y="1456"/>
                  </a:lnTo>
                  <a:lnTo>
                    <a:pt x="1254" y="1454"/>
                  </a:lnTo>
                  <a:lnTo>
                    <a:pt x="1254" y="1456"/>
                  </a:lnTo>
                  <a:lnTo>
                    <a:pt x="1254" y="1456"/>
                  </a:lnTo>
                  <a:lnTo>
                    <a:pt x="1252" y="1458"/>
                  </a:lnTo>
                  <a:lnTo>
                    <a:pt x="1250" y="1458"/>
                  </a:lnTo>
                  <a:lnTo>
                    <a:pt x="1250" y="1458"/>
                  </a:lnTo>
                  <a:lnTo>
                    <a:pt x="1250" y="1460"/>
                  </a:lnTo>
                  <a:lnTo>
                    <a:pt x="1248" y="1462"/>
                  </a:lnTo>
                  <a:lnTo>
                    <a:pt x="1248" y="1460"/>
                  </a:lnTo>
                  <a:lnTo>
                    <a:pt x="1248" y="1460"/>
                  </a:lnTo>
                  <a:lnTo>
                    <a:pt x="1246" y="1460"/>
                  </a:lnTo>
                  <a:lnTo>
                    <a:pt x="1242" y="1460"/>
                  </a:lnTo>
                  <a:lnTo>
                    <a:pt x="1242" y="1460"/>
                  </a:lnTo>
                  <a:lnTo>
                    <a:pt x="1240" y="1460"/>
                  </a:lnTo>
                  <a:lnTo>
                    <a:pt x="1238" y="1462"/>
                  </a:lnTo>
                  <a:lnTo>
                    <a:pt x="1238" y="1462"/>
                  </a:lnTo>
                  <a:lnTo>
                    <a:pt x="1238" y="1464"/>
                  </a:lnTo>
                  <a:lnTo>
                    <a:pt x="1240" y="1466"/>
                  </a:lnTo>
                  <a:lnTo>
                    <a:pt x="1244" y="1466"/>
                  </a:lnTo>
                  <a:lnTo>
                    <a:pt x="1246" y="1468"/>
                  </a:lnTo>
                  <a:lnTo>
                    <a:pt x="1246" y="1468"/>
                  </a:lnTo>
                  <a:lnTo>
                    <a:pt x="1246" y="1468"/>
                  </a:lnTo>
                  <a:lnTo>
                    <a:pt x="1246" y="1470"/>
                  </a:lnTo>
                  <a:lnTo>
                    <a:pt x="1248" y="1470"/>
                  </a:lnTo>
                  <a:lnTo>
                    <a:pt x="1248" y="1470"/>
                  </a:lnTo>
                  <a:lnTo>
                    <a:pt x="1250" y="1470"/>
                  </a:lnTo>
                  <a:lnTo>
                    <a:pt x="1250" y="1470"/>
                  </a:lnTo>
                  <a:lnTo>
                    <a:pt x="1250" y="1472"/>
                  </a:lnTo>
                  <a:lnTo>
                    <a:pt x="1248" y="1474"/>
                  </a:lnTo>
                  <a:lnTo>
                    <a:pt x="1244" y="1476"/>
                  </a:lnTo>
                  <a:lnTo>
                    <a:pt x="1244" y="1476"/>
                  </a:lnTo>
                  <a:lnTo>
                    <a:pt x="1244" y="1476"/>
                  </a:lnTo>
                  <a:lnTo>
                    <a:pt x="1242" y="1478"/>
                  </a:lnTo>
                  <a:lnTo>
                    <a:pt x="1240" y="1480"/>
                  </a:lnTo>
                  <a:lnTo>
                    <a:pt x="1238" y="1482"/>
                  </a:lnTo>
                  <a:lnTo>
                    <a:pt x="1238" y="1482"/>
                  </a:lnTo>
                  <a:lnTo>
                    <a:pt x="1238" y="1482"/>
                  </a:lnTo>
                  <a:lnTo>
                    <a:pt x="1236" y="1484"/>
                  </a:lnTo>
                  <a:lnTo>
                    <a:pt x="1236" y="1484"/>
                  </a:lnTo>
                  <a:lnTo>
                    <a:pt x="1236" y="1486"/>
                  </a:lnTo>
                  <a:lnTo>
                    <a:pt x="1236" y="1488"/>
                  </a:lnTo>
                  <a:lnTo>
                    <a:pt x="1234" y="1492"/>
                  </a:lnTo>
                  <a:lnTo>
                    <a:pt x="1234" y="1498"/>
                  </a:lnTo>
                  <a:lnTo>
                    <a:pt x="1232" y="1504"/>
                  </a:lnTo>
                  <a:lnTo>
                    <a:pt x="1232" y="1512"/>
                  </a:lnTo>
                  <a:lnTo>
                    <a:pt x="1230" y="1518"/>
                  </a:lnTo>
                  <a:lnTo>
                    <a:pt x="1228" y="1520"/>
                  </a:lnTo>
                  <a:lnTo>
                    <a:pt x="1226" y="1522"/>
                  </a:lnTo>
                  <a:lnTo>
                    <a:pt x="1224" y="1526"/>
                  </a:lnTo>
                  <a:lnTo>
                    <a:pt x="1222" y="1526"/>
                  </a:lnTo>
                  <a:lnTo>
                    <a:pt x="1220" y="1528"/>
                  </a:lnTo>
                  <a:lnTo>
                    <a:pt x="1218" y="1528"/>
                  </a:lnTo>
                  <a:lnTo>
                    <a:pt x="1218" y="1528"/>
                  </a:lnTo>
                  <a:lnTo>
                    <a:pt x="1216" y="1528"/>
                  </a:lnTo>
                  <a:lnTo>
                    <a:pt x="1216" y="1530"/>
                  </a:lnTo>
                  <a:lnTo>
                    <a:pt x="1216" y="1530"/>
                  </a:lnTo>
                  <a:lnTo>
                    <a:pt x="1216" y="1530"/>
                  </a:lnTo>
                  <a:lnTo>
                    <a:pt x="1214" y="1530"/>
                  </a:lnTo>
                  <a:lnTo>
                    <a:pt x="1214" y="1530"/>
                  </a:lnTo>
                  <a:lnTo>
                    <a:pt x="1214" y="1532"/>
                  </a:lnTo>
                  <a:lnTo>
                    <a:pt x="1214" y="1534"/>
                  </a:lnTo>
                  <a:lnTo>
                    <a:pt x="1214" y="1534"/>
                  </a:lnTo>
                  <a:lnTo>
                    <a:pt x="1214" y="1534"/>
                  </a:lnTo>
                  <a:lnTo>
                    <a:pt x="1214" y="1536"/>
                  </a:lnTo>
                  <a:lnTo>
                    <a:pt x="1214" y="1536"/>
                  </a:lnTo>
                  <a:lnTo>
                    <a:pt x="1214" y="1536"/>
                  </a:lnTo>
                  <a:lnTo>
                    <a:pt x="1214" y="1538"/>
                  </a:lnTo>
                  <a:lnTo>
                    <a:pt x="1214" y="1538"/>
                  </a:lnTo>
                  <a:lnTo>
                    <a:pt x="1214" y="1540"/>
                  </a:lnTo>
                  <a:lnTo>
                    <a:pt x="1214" y="1540"/>
                  </a:lnTo>
                  <a:lnTo>
                    <a:pt x="1214" y="1540"/>
                  </a:lnTo>
                  <a:lnTo>
                    <a:pt x="1212" y="1542"/>
                  </a:lnTo>
                  <a:lnTo>
                    <a:pt x="1210" y="1542"/>
                  </a:lnTo>
                  <a:lnTo>
                    <a:pt x="1210" y="1542"/>
                  </a:lnTo>
                  <a:lnTo>
                    <a:pt x="1210" y="1544"/>
                  </a:lnTo>
                  <a:lnTo>
                    <a:pt x="1210" y="1546"/>
                  </a:lnTo>
                  <a:lnTo>
                    <a:pt x="1212" y="1548"/>
                  </a:lnTo>
                  <a:lnTo>
                    <a:pt x="1212" y="1548"/>
                  </a:lnTo>
                  <a:lnTo>
                    <a:pt x="1212" y="1550"/>
                  </a:lnTo>
                  <a:lnTo>
                    <a:pt x="1214" y="1550"/>
                  </a:lnTo>
                  <a:lnTo>
                    <a:pt x="1214" y="1550"/>
                  </a:lnTo>
                  <a:lnTo>
                    <a:pt x="1214" y="1552"/>
                  </a:lnTo>
                  <a:lnTo>
                    <a:pt x="1216" y="1552"/>
                  </a:lnTo>
                  <a:lnTo>
                    <a:pt x="1216" y="1552"/>
                  </a:lnTo>
                  <a:lnTo>
                    <a:pt x="1216" y="1552"/>
                  </a:lnTo>
                  <a:lnTo>
                    <a:pt x="1218" y="1554"/>
                  </a:lnTo>
                  <a:lnTo>
                    <a:pt x="1218" y="1554"/>
                  </a:lnTo>
                  <a:lnTo>
                    <a:pt x="1220" y="1554"/>
                  </a:lnTo>
                  <a:lnTo>
                    <a:pt x="1224" y="1554"/>
                  </a:lnTo>
                  <a:lnTo>
                    <a:pt x="1224" y="1554"/>
                  </a:lnTo>
                  <a:lnTo>
                    <a:pt x="1224" y="1554"/>
                  </a:lnTo>
                  <a:lnTo>
                    <a:pt x="1230" y="1554"/>
                  </a:lnTo>
                  <a:lnTo>
                    <a:pt x="1236" y="1552"/>
                  </a:lnTo>
                  <a:lnTo>
                    <a:pt x="1240" y="1552"/>
                  </a:lnTo>
                  <a:lnTo>
                    <a:pt x="1242" y="1554"/>
                  </a:lnTo>
                  <a:lnTo>
                    <a:pt x="1242" y="1554"/>
                  </a:lnTo>
                  <a:lnTo>
                    <a:pt x="1244" y="1554"/>
                  </a:lnTo>
                  <a:lnTo>
                    <a:pt x="1246" y="1556"/>
                  </a:lnTo>
                  <a:lnTo>
                    <a:pt x="1246" y="1556"/>
                  </a:lnTo>
                  <a:lnTo>
                    <a:pt x="1248" y="1560"/>
                  </a:lnTo>
                  <a:lnTo>
                    <a:pt x="1248" y="1560"/>
                  </a:lnTo>
                  <a:lnTo>
                    <a:pt x="1248" y="1562"/>
                  </a:lnTo>
                  <a:lnTo>
                    <a:pt x="1250" y="1566"/>
                  </a:lnTo>
                  <a:lnTo>
                    <a:pt x="1250" y="1566"/>
                  </a:lnTo>
                  <a:lnTo>
                    <a:pt x="1250" y="1566"/>
                  </a:lnTo>
                  <a:lnTo>
                    <a:pt x="1254" y="1570"/>
                  </a:lnTo>
                  <a:lnTo>
                    <a:pt x="1254" y="1570"/>
                  </a:lnTo>
                  <a:lnTo>
                    <a:pt x="1254" y="1570"/>
                  </a:lnTo>
                  <a:lnTo>
                    <a:pt x="1256" y="1572"/>
                  </a:lnTo>
                  <a:lnTo>
                    <a:pt x="1260" y="1574"/>
                  </a:lnTo>
                  <a:lnTo>
                    <a:pt x="1260" y="1574"/>
                  </a:lnTo>
                  <a:lnTo>
                    <a:pt x="1262" y="1574"/>
                  </a:lnTo>
                  <a:lnTo>
                    <a:pt x="1266" y="1572"/>
                  </a:lnTo>
                  <a:lnTo>
                    <a:pt x="1268" y="1572"/>
                  </a:lnTo>
                  <a:lnTo>
                    <a:pt x="1270" y="1570"/>
                  </a:lnTo>
                  <a:lnTo>
                    <a:pt x="1272" y="1568"/>
                  </a:lnTo>
                  <a:lnTo>
                    <a:pt x="1274" y="1568"/>
                  </a:lnTo>
                  <a:lnTo>
                    <a:pt x="1276" y="1566"/>
                  </a:lnTo>
                  <a:lnTo>
                    <a:pt x="1278" y="1566"/>
                  </a:lnTo>
                  <a:lnTo>
                    <a:pt x="1282" y="1566"/>
                  </a:lnTo>
                  <a:lnTo>
                    <a:pt x="1282" y="1566"/>
                  </a:lnTo>
                  <a:lnTo>
                    <a:pt x="1282" y="1564"/>
                  </a:lnTo>
                  <a:lnTo>
                    <a:pt x="1284" y="1564"/>
                  </a:lnTo>
                  <a:lnTo>
                    <a:pt x="1284" y="1564"/>
                  </a:lnTo>
                  <a:lnTo>
                    <a:pt x="1284" y="1564"/>
                  </a:lnTo>
                  <a:lnTo>
                    <a:pt x="1286" y="1566"/>
                  </a:lnTo>
                  <a:lnTo>
                    <a:pt x="1286" y="1568"/>
                  </a:lnTo>
                  <a:lnTo>
                    <a:pt x="1288" y="1572"/>
                  </a:lnTo>
                  <a:lnTo>
                    <a:pt x="1288" y="1572"/>
                  </a:lnTo>
                  <a:lnTo>
                    <a:pt x="1288" y="1574"/>
                  </a:lnTo>
                  <a:lnTo>
                    <a:pt x="1290" y="1576"/>
                  </a:lnTo>
                  <a:lnTo>
                    <a:pt x="1298" y="1576"/>
                  </a:lnTo>
                  <a:lnTo>
                    <a:pt x="1304" y="1576"/>
                  </a:lnTo>
                  <a:lnTo>
                    <a:pt x="1304" y="1576"/>
                  </a:lnTo>
                  <a:lnTo>
                    <a:pt x="1304" y="1576"/>
                  </a:lnTo>
                  <a:lnTo>
                    <a:pt x="1308" y="1574"/>
                  </a:lnTo>
                  <a:lnTo>
                    <a:pt x="1308" y="1574"/>
                  </a:lnTo>
                  <a:lnTo>
                    <a:pt x="1310" y="1574"/>
                  </a:lnTo>
                  <a:lnTo>
                    <a:pt x="1312" y="1572"/>
                  </a:lnTo>
                  <a:lnTo>
                    <a:pt x="1312" y="1572"/>
                  </a:lnTo>
                  <a:lnTo>
                    <a:pt x="1312" y="1572"/>
                  </a:lnTo>
                  <a:lnTo>
                    <a:pt x="1314" y="1570"/>
                  </a:lnTo>
                  <a:lnTo>
                    <a:pt x="1314" y="1570"/>
                  </a:lnTo>
                  <a:lnTo>
                    <a:pt x="1314" y="1570"/>
                  </a:lnTo>
                  <a:lnTo>
                    <a:pt x="1314" y="1568"/>
                  </a:lnTo>
                  <a:lnTo>
                    <a:pt x="1314" y="1566"/>
                  </a:lnTo>
                  <a:lnTo>
                    <a:pt x="1316" y="1564"/>
                  </a:lnTo>
                  <a:lnTo>
                    <a:pt x="1316" y="1562"/>
                  </a:lnTo>
                  <a:lnTo>
                    <a:pt x="1316" y="1562"/>
                  </a:lnTo>
                  <a:lnTo>
                    <a:pt x="1318" y="1560"/>
                  </a:lnTo>
                  <a:lnTo>
                    <a:pt x="1318" y="1560"/>
                  </a:lnTo>
                  <a:lnTo>
                    <a:pt x="1320" y="1558"/>
                  </a:lnTo>
                  <a:lnTo>
                    <a:pt x="1320" y="1556"/>
                  </a:lnTo>
                  <a:lnTo>
                    <a:pt x="1320" y="1556"/>
                  </a:lnTo>
                  <a:close/>
                  <a:moveTo>
                    <a:pt x="756" y="1054"/>
                  </a:moveTo>
                  <a:lnTo>
                    <a:pt x="762" y="1054"/>
                  </a:lnTo>
                  <a:lnTo>
                    <a:pt x="766" y="1054"/>
                  </a:lnTo>
                  <a:lnTo>
                    <a:pt x="772" y="1054"/>
                  </a:lnTo>
                  <a:lnTo>
                    <a:pt x="776" y="1056"/>
                  </a:lnTo>
                  <a:lnTo>
                    <a:pt x="778" y="1056"/>
                  </a:lnTo>
                  <a:lnTo>
                    <a:pt x="780" y="1056"/>
                  </a:lnTo>
                  <a:lnTo>
                    <a:pt x="782" y="1058"/>
                  </a:lnTo>
                  <a:lnTo>
                    <a:pt x="784" y="1060"/>
                  </a:lnTo>
                  <a:lnTo>
                    <a:pt x="786" y="1062"/>
                  </a:lnTo>
                  <a:lnTo>
                    <a:pt x="788" y="1066"/>
                  </a:lnTo>
                  <a:lnTo>
                    <a:pt x="790" y="1070"/>
                  </a:lnTo>
                  <a:lnTo>
                    <a:pt x="790" y="1070"/>
                  </a:lnTo>
                  <a:lnTo>
                    <a:pt x="786" y="1068"/>
                  </a:lnTo>
                  <a:lnTo>
                    <a:pt x="780" y="1066"/>
                  </a:lnTo>
                  <a:lnTo>
                    <a:pt x="778" y="1066"/>
                  </a:lnTo>
                  <a:lnTo>
                    <a:pt x="774" y="1064"/>
                  </a:lnTo>
                  <a:lnTo>
                    <a:pt x="770" y="1060"/>
                  </a:lnTo>
                  <a:lnTo>
                    <a:pt x="764" y="1058"/>
                  </a:lnTo>
                  <a:lnTo>
                    <a:pt x="760" y="1056"/>
                  </a:lnTo>
                  <a:lnTo>
                    <a:pt x="754" y="1054"/>
                  </a:lnTo>
                  <a:lnTo>
                    <a:pt x="754" y="1054"/>
                  </a:lnTo>
                  <a:lnTo>
                    <a:pt x="756" y="1054"/>
                  </a:lnTo>
                  <a:close/>
                  <a:moveTo>
                    <a:pt x="718" y="1120"/>
                  </a:moveTo>
                  <a:lnTo>
                    <a:pt x="722" y="1120"/>
                  </a:lnTo>
                  <a:lnTo>
                    <a:pt x="724" y="1122"/>
                  </a:lnTo>
                  <a:lnTo>
                    <a:pt x="728" y="1122"/>
                  </a:lnTo>
                  <a:lnTo>
                    <a:pt x="724" y="1122"/>
                  </a:lnTo>
                  <a:lnTo>
                    <a:pt x="718" y="1122"/>
                  </a:lnTo>
                  <a:lnTo>
                    <a:pt x="716" y="1120"/>
                  </a:lnTo>
                  <a:lnTo>
                    <a:pt x="718" y="1120"/>
                  </a:lnTo>
                  <a:close/>
                  <a:moveTo>
                    <a:pt x="510" y="744"/>
                  </a:moveTo>
                  <a:lnTo>
                    <a:pt x="510" y="744"/>
                  </a:lnTo>
                  <a:lnTo>
                    <a:pt x="512" y="744"/>
                  </a:lnTo>
                  <a:lnTo>
                    <a:pt x="514" y="746"/>
                  </a:lnTo>
                  <a:lnTo>
                    <a:pt x="516" y="746"/>
                  </a:lnTo>
                  <a:lnTo>
                    <a:pt x="514" y="746"/>
                  </a:lnTo>
                  <a:lnTo>
                    <a:pt x="516" y="748"/>
                  </a:lnTo>
                  <a:lnTo>
                    <a:pt x="518" y="750"/>
                  </a:lnTo>
                  <a:lnTo>
                    <a:pt x="520" y="752"/>
                  </a:lnTo>
                  <a:lnTo>
                    <a:pt x="522" y="756"/>
                  </a:lnTo>
                  <a:lnTo>
                    <a:pt x="522" y="756"/>
                  </a:lnTo>
                  <a:lnTo>
                    <a:pt x="520" y="756"/>
                  </a:lnTo>
                  <a:lnTo>
                    <a:pt x="520" y="756"/>
                  </a:lnTo>
                  <a:lnTo>
                    <a:pt x="518" y="754"/>
                  </a:lnTo>
                  <a:lnTo>
                    <a:pt x="516" y="752"/>
                  </a:lnTo>
                  <a:lnTo>
                    <a:pt x="514" y="750"/>
                  </a:lnTo>
                  <a:lnTo>
                    <a:pt x="512" y="750"/>
                  </a:lnTo>
                  <a:lnTo>
                    <a:pt x="512" y="748"/>
                  </a:lnTo>
                  <a:lnTo>
                    <a:pt x="510" y="744"/>
                  </a:lnTo>
                  <a:lnTo>
                    <a:pt x="508" y="742"/>
                  </a:lnTo>
                  <a:lnTo>
                    <a:pt x="510" y="744"/>
                  </a:lnTo>
                  <a:close/>
                  <a:moveTo>
                    <a:pt x="354" y="758"/>
                  </a:moveTo>
                  <a:lnTo>
                    <a:pt x="350" y="760"/>
                  </a:lnTo>
                  <a:lnTo>
                    <a:pt x="350" y="760"/>
                  </a:lnTo>
                  <a:lnTo>
                    <a:pt x="350" y="762"/>
                  </a:lnTo>
                  <a:lnTo>
                    <a:pt x="352" y="760"/>
                  </a:lnTo>
                  <a:lnTo>
                    <a:pt x="352" y="760"/>
                  </a:lnTo>
                  <a:lnTo>
                    <a:pt x="354" y="758"/>
                  </a:lnTo>
                  <a:lnTo>
                    <a:pt x="354" y="758"/>
                  </a:lnTo>
                  <a:lnTo>
                    <a:pt x="354" y="758"/>
                  </a:lnTo>
                  <a:lnTo>
                    <a:pt x="354" y="758"/>
                  </a:lnTo>
                  <a:lnTo>
                    <a:pt x="354" y="758"/>
                  </a:lnTo>
                  <a:close/>
                  <a:moveTo>
                    <a:pt x="1166" y="1588"/>
                  </a:moveTo>
                  <a:lnTo>
                    <a:pt x="1168" y="1588"/>
                  </a:lnTo>
                  <a:lnTo>
                    <a:pt x="1164" y="1588"/>
                  </a:lnTo>
                  <a:lnTo>
                    <a:pt x="1160" y="1584"/>
                  </a:lnTo>
                  <a:lnTo>
                    <a:pt x="1166" y="1588"/>
                  </a:lnTo>
                  <a:close/>
                  <a:moveTo>
                    <a:pt x="154" y="1440"/>
                  </a:moveTo>
                  <a:lnTo>
                    <a:pt x="152" y="1438"/>
                  </a:lnTo>
                  <a:lnTo>
                    <a:pt x="150" y="1438"/>
                  </a:lnTo>
                  <a:lnTo>
                    <a:pt x="150" y="1438"/>
                  </a:lnTo>
                  <a:lnTo>
                    <a:pt x="150" y="1436"/>
                  </a:lnTo>
                  <a:lnTo>
                    <a:pt x="150" y="1434"/>
                  </a:lnTo>
                  <a:lnTo>
                    <a:pt x="150" y="1430"/>
                  </a:lnTo>
                  <a:lnTo>
                    <a:pt x="150" y="1428"/>
                  </a:lnTo>
                  <a:lnTo>
                    <a:pt x="148" y="1424"/>
                  </a:lnTo>
                  <a:lnTo>
                    <a:pt x="148" y="1424"/>
                  </a:lnTo>
                  <a:lnTo>
                    <a:pt x="148" y="1424"/>
                  </a:lnTo>
                  <a:lnTo>
                    <a:pt x="148" y="1420"/>
                  </a:lnTo>
                  <a:lnTo>
                    <a:pt x="146" y="1418"/>
                  </a:lnTo>
                  <a:lnTo>
                    <a:pt x="146" y="1414"/>
                  </a:lnTo>
                  <a:lnTo>
                    <a:pt x="146" y="1412"/>
                  </a:lnTo>
                  <a:lnTo>
                    <a:pt x="148" y="1406"/>
                  </a:lnTo>
                  <a:lnTo>
                    <a:pt x="148" y="1398"/>
                  </a:lnTo>
                  <a:lnTo>
                    <a:pt x="148" y="1398"/>
                  </a:lnTo>
                  <a:lnTo>
                    <a:pt x="148" y="1396"/>
                  </a:lnTo>
                  <a:lnTo>
                    <a:pt x="146" y="1394"/>
                  </a:lnTo>
                  <a:lnTo>
                    <a:pt x="146" y="1394"/>
                  </a:lnTo>
                  <a:lnTo>
                    <a:pt x="146" y="1394"/>
                  </a:lnTo>
                  <a:lnTo>
                    <a:pt x="144" y="1394"/>
                  </a:lnTo>
                  <a:lnTo>
                    <a:pt x="144" y="1394"/>
                  </a:lnTo>
                  <a:lnTo>
                    <a:pt x="142" y="1394"/>
                  </a:lnTo>
                  <a:lnTo>
                    <a:pt x="140" y="1394"/>
                  </a:lnTo>
                  <a:lnTo>
                    <a:pt x="140" y="1394"/>
                  </a:lnTo>
                  <a:lnTo>
                    <a:pt x="140" y="1394"/>
                  </a:lnTo>
                  <a:lnTo>
                    <a:pt x="136" y="1394"/>
                  </a:lnTo>
                  <a:lnTo>
                    <a:pt x="128" y="1396"/>
                  </a:lnTo>
                  <a:lnTo>
                    <a:pt x="126" y="1396"/>
                  </a:lnTo>
                  <a:lnTo>
                    <a:pt x="122" y="1398"/>
                  </a:lnTo>
                  <a:lnTo>
                    <a:pt x="122" y="1398"/>
                  </a:lnTo>
                  <a:lnTo>
                    <a:pt x="120" y="1398"/>
                  </a:lnTo>
                  <a:lnTo>
                    <a:pt x="118" y="1400"/>
                  </a:lnTo>
                  <a:lnTo>
                    <a:pt x="118" y="1400"/>
                  </a:lnTo>
                  <a:lnTo>
                    <a:pt x="118" y="1402"/>
                  </a:lnTo>
                  <a:lnTo>
                    <a:pt x="116" y="1404"/>
                  </a:lnTo>
                  <a:lnTo>
                    <a:pt x="116" y="1404"/>
                  </a:lnTo>
                  <a:lnTo>
                    <a:pt x="116" y="1404"/>
                  </a:lnTo>
                  <a:lnTo>
                    <a:pt x="116" y="1406"/>
                  </a:lnTo>
                  <a:lnTo>
                    <a:pt x="116" y="1406"/>
                  </a:lnTo>
                  <a:lnTo>
                    <a:pt x="116" y="1408"/>
                  </a:lnTo>
                  <a:lnTo>
                    <a:pt x="116" y="1410"/>
                  </a:lnTo>
                  <a:lnTo>
                    <a:pt x="118" y="1414"/>
                  </a:lnTo>
                  <a:lnTo>
                    <a:pt x="118" y="1416"/>
                  </a:lnTo>
                  <a:lnTo>
                    <a:pt x="120" y="1420"/>
                  </a:lnTo>
                  <a:lnTo>
                    <a:pt x="120" y="1424"/>
                  </a:lnTo>
                  <a:lnTo>
                    <a:pt x="120" y="1424"/>
                  </a:lnTo>
                  <a:lnTo>
                    <a:pt x="120" y="1426"/>
                  </a:lnTo>
                  <a:lnTo>
                    <a:pt x="122" y="1426"/>
                  </a:lnTo>
                  <a:lnTo>
                    <a:pt x="122" y="1428"/>
                  </a:lnTo>
                  <a:lnTo>
                    <a:pt x="124" y="1432"/>
                  </a:lnTo>
                  <a:lnTo>
                    <a:pt x="124" y="1436"/>
                  </a:lnTo>
                  <a:lnTo>
                    <a:pt x="126" y="1440"/>
                  </a:lnTo>
                  <a:lnTo>
                    <a:pt x="126" y="1440"/>
                  </a:lnTo>
                  <a:lnTo>
                    <a:pt x="128" y="1442"/>
                  </a:lnTo>
                  <a:lnTo>
                    <a:pt x="130" y="1442"/>
                  </a:lnTo>
                  <a:lnTo>
                    <a:pt x="132" y="1442"/>
                  </a:lnTo>
                  <a:lnTo>
                    <a:pt x="132" y="1444"/>
                  </a:lnTo>
                  <a:lnTo>
                    <a:pt x="132" y="1444"/>
                  </a:lnTo>
                  <a:lnTo>
                    <a:pt x="134" y="1446"/>
                  </a:lnTo>
                  <a:lnTo>
                    <a:pt x="134" y="1448"/>
                  </a:lnTo>
                  <a:lnTo>
                    <a:pt x="134" y="1450"/>
                  </a:lnTo>
                  <a:lnTo>
                    <a:pt x="134" y="1450"/>
                  </a:lnTo>
                  <a:lnTo>
                    <a:pt x="134" y="1450"/>
                  </a:lnTo>
                  <a:lnTo>
                    <a:pt x="136" y="1454"/>
                  </a:lnTo>
                  <a:lnTo>
                    <a:pt x="136" y="1454"/>
                  </a:lnTo>
                  <a:lnTo>
                    <a:pt x="136" y="1454"/>
                  </a:lnTo>
                  <a:lnTo>
                    <a:pt x="138" y="1456"/>
                  </a:lnTo>
                  <a:lnTo>
                    <a:pt x="138" y="1456"/>
                  </a:lnTo>
                  <a:lnTo>
                    <a:pt x="138" y="1456"/>
                  </a:lnTo>
                  <a:lnTo>
                    <a:pt x="140" y="1458"/>
                  </a:lnTo>
                  <a:lnTo>
                    <a:pt x="140" y="1458"/>
                  </a:lnTo>
                  <a:lnTo>
                    <a:pt x="140" y="1458"/>
                  </a:lnTo>
                  <a:lnTo>
                    <a:pt x="142" y="1458"/>
                  </a:lnTo>
                  <a:lnTo>
                    <a:pt x="142" y="1458"/>
                  </a:lnTo>
                  <a:lnTo>
                    <a:pt x="142" y="1460"/>
                  </a:lnTo>
                  <a:lnTo>
                    <a:pt x="148" y="1460"/>
                  </a:lnTo>
                  <a:lnTo>
                    <a:pt x="150" y="1460"/>
                  </a:lnTo>
                  <a:lnTo>
                    <a:pt x="150" y="1460"/>
                  </a:lnTo>
                  <a:lnTo>
                    <a:pt x="150" y="1460"/>
                  </a:lnTo>
                  <a:lnTo>
                    <a:pt x="152" y="1460"/>
                  </a:lnTo>
                  <a:lnTo>
                    <a:pt x="152" y="1460"/>
                  </a:lnTo>
                  <a:lnTo>
                    <a:pt x="154" y="1460"/>
                  </a:lnTo>
                  <a:lnTo>
                    <a:pt x="156" y="1458"/>
                  </a:lnTo>
                  <a:lnTo>
                    <a:pt x="156" y="1458"/>
                  </a:lnTo>
                  <a:lnTo>
                    <a:pt x="156" y="1458"/>
                  </a:lnTo>
                  <a:lnTo>
                    <a:pt x="158" y="1456"/>
                  </a:lnTo>
                  <a:lnTo>
                    <a:pt x="158" y="1456"/>
                  </a:lnTo>
                  <a:lnTo>
                    <a:pt x="158" y="1456"/>
                  </a:lnTo>
                  <a:lnTo>
                    <a:pt x="158" y="1452"/>
                  </a:lnTo>
                  <a:lnTo>
                    <a:pt x="158" y="1450"/>
                  </a:lnTo>
                  <a:lnTo>
                    <a:pt x="158" y="1444"/>
                  </a:lnTo>
                  <a:lnTo>
                    <a:pt x="158" y="1444"/>
                  </a:lnTo>
                  <a:lnTo>
                    <a:pt x="158" y="1442"/>
                  </a:lnTo>
                  <a:lnTo>
                    <a:pt x="154" y="1440"/>
                  </a:lnTo>
                  <a:close/>
                  <a:moveTo>
                    <a:pt x="650" y="828"/>
                  </a:moveTo>
                  <a:lnTo>
                    <a:pt x="654" y="828"/>
                  </a:lnTo>
                  <a:lnTo>
                    <a:pt x="656" y="826"/>
                  </a:lnTo>
                  <a:lnTo>
                    <a:pt x="656" y="826"/>
                  </a:lnTo>
                  <a:lnTo>
                    <a:pt x="658" y="826"/>
                  </a:lnTo>
                  <a:lnTo>
                    <a:pt x="658" y="826"/>
                  </a:lnTo>
                  <a:lnTo>
                    <a:pt x="658" y="826"/>
                  </a:lnTo>
                  <a:lnTo>
                    <a:pt x="660" y="824"/>
                  </a:lnTo>
                  <a:lnTo>
                    <a:pt x="662" y="824"/>
                  </a:lnTo>
                  <a:lnTo>
                    <a:pt x="662" y="824"/>
                  </a:lnTo>
                  <a:lnTo>
                    <a:pt x="662" y="822"/>
                  </a:lnTo>
                  <a:lnTo>
                    <a:pt x="664" y="820"/>
                  </a:lnTo>
                  <a:lnTo>
                    <a:pt x="666" y="816"/>
                  </a:lnTo>
                  <a:lnTo>
                    <a:pt x="666" y="816"/>
                  </a:lnTo>
                  <a:lnTo>
                    <a:pt x="666" y="816"/>
                  </a:lnTo>
                  <a:lnTo>
                    <a:pt x="666" y="808"/>
                  </a:lnTo>
                  <a:lnTo>
                    <a:pt x="666" y="802"/>
                  </a:lnTo>
                  <a:lnTo>
                    <a:pt x="666" y="796"/>
                  </a:lnTo>
                  <a:lnTo>
                    <a:pt x="666" y="790"/>
                  </a:lnTo>
                  <a:lnTo>
                    <a:pt x="664" y="784"/>
                  </a:lnTo>
                  <a:lnTo>
                    <a:pt x="664" y="780"/>
                  </a:lnTo>
                  <a:lnTo>
                    <a:pt x="664" y="776"/>
                  </a:lnTo>
                  <a:lnTo>
                    <a:pt x="662" y="772"/>
                  </a:lnTo>
                  <a:lnTo>
                    <a:pt x="662" y="772"/>
                  </a:lnTo>
                  <a:lnTo>
                    <a:pt x="662" y="772"/>
                  </a:lnTo>
                  <a:lnTo>
                    <a:pt x="660" y="768"/>
                  </a:lnTo>
                  <a:lnTo>
                    <a:pt x="660" y="768"/>
                  </a:lnTo>
                  <a:lnTo>
                    <a:pt x="660" y="768"/>
                  </a:lnTo>
                  <a:lnTo>
                    <a:pt x="658" y="764"/>
                  </a:lnTo>
                  <a:lnTo>
                    <a:pt x="658" y="764"/>
                  </a:lnTo>
                  <a:lnTo>
                    <a:pt x="658" y="764"/>
                  </a:lnTo>
                  <a:lnTo>
                    <a:pt x="656" y="762"/>
                  </a:lnTo>
                  <a:lnTo>
                    <a:pt x="656" y="762"/>
                  </a:lnTo>
                  <a:lnTo>
                    <a:pt x="656" y="762"/>
                  </a:lnTo>
                  <a:lnTo>
                    <a:pt x="652" y="760"/>
                  </a:lnTo>
                  <a:lnTo>
                    <a:pt x="652" y="760"/>
                  </a:lnTo>
                  <a:lnTo>
                    <a:pt x="652" y="760"/>
                  </a:lnTo>
                  <a:lnTo>
                    <a:pt x="648" y="758"/>
                  </a:lnTo>
                  <a:lnTo>
                    <a:pt x="642" y="756"/>
                  </a:lnTo>
                  <a:lnTo>
                    <a:pt x="636" y="756"/>
                  </a:lnTo>
                  <a:lnTo>
                    <a:pt x="632" y="754"/>
                  </a:lnTo>
                  <a:lnTo>
                    <a:pt x="634" y="754"/>
                  </a:lnTo>
                  <a:lnTo>
                    <a:pt x="634" y="752"/>
                  </a:lnTo>
                  <a:lnTo>
                    <a:pt x="634" y="752"/>
                  </a:lnTo>
                  <a:lnTo>
                    <a:pt x="634" y="752"/>
                  </a:lnTo>
                  <a:lnTo>
                    <a:pt x="636" y="750"/>
                  </a:lnTo>
                  <a:lnTo>
                    <a:pt x="636" y="750"/>
                  </a:lnTo>
                  <a:lnTo>
                    <a:pt x="638" y="748"/>
                  </a:lnTo>
                  <a:lnTo>
                    <a:pt x="642" y="746"/>
                  </a:lnTo>
                  <a:lnTo>
                    <a:pt x="642" y="746"/>
                  </a:lnTo>
                  <a:lnTo>
                    <a:pt x="642" y="746"/>
                  </a:lnTo>
                  <a:lnTo>
                    <a:pt x="644" y="744"/>
                  </a:lnTo>
                  <a:lnTo>
                    <a:pt x="646" y="742"/>
                  </a:lnTo>
                  <a:lnTo>
                    <a:pt x="648" y="740"/>
                  </a:lnTo>
                  <a:lnTo>
                    <a:pt x="648" y="740"/>
                  </a:lnTo>
                  <a:lnTo>
                    <a:pt x="648" y="740"/>
                  </a:lnTo>
                  <a:lnTo>
                    <a:pt x="650" y="736"/>
                  </a:lnTo>
                  <a:lnTo>
                    <a:pt x="650" y="736"/>
                  </a:lnTo>
                  <a:lnTo>
                    <a:pt x="650" y="736"/>
                  </a:lnTo>
                  <a:lnTo>
                    <a:pt x="652" y="734"/>
                  </a:lnTo>
                  <a:lnTo>
                    <a:pt x="652" y="734"/>
                  </a:lnTo>
                  <a:lnTo>
                    <a:pt x="652" y="728"/>
                  </a:lnTo>
                  <a:lnTo>
                    <a:pt x="652" y="730"/>
                  </a:lnTo>
                  <a:lnTo>
                    <a:pt x="652" y="728"/>
                  </a:lnTo>
                  <a:lnTo>
                    <a:pt x="652" y="726"/>
                  </a:lnTo>
                  <a:lnTo>
                    <a:pt x="652" y="726"/>
                  </a:lnTo>
                  <a:lnTo>
                    <a:pt x="654" y="724"/>
                  </a:lnTo>
                  <a:lnTo>
                    <a:pt x="654" y="722"/>
                  </a:lnTo>
                  <a:lnTo>
                    <a:pt x="654" y="722"/>
                  </a:lnTo>
                  <a:lnTo>
                    <a:pt x="654" y="722"/>
                  </a:lnTo>
                  <a:lnTo>
                    <a:pt x="654" y="718"/>
                  </a:lnTo>
                  <a:lnTo>
                    <a:pt x="654" y="716"/>
                  </a:lnTo>
                  <a:lnTo>
                    <a:pt x="654" y="714"/>
                  </a:lnTo>
                  <a:lnTo>
                    <a:pt x="652" y="712"/>
                  </a:lnTo>
                  <a:lnTo>
                    <a:pt x="652" y="712"/>
                  </a:lnTo>
                  <a:lnTo>
                    <a:pt x="652" y="712"/>
                  </a:lnTo>
                  <a:lnTo>
                    <a:pt x="652" y="712"/>
                  </a:lnTo>
                  <a:lnTo>
                    <a:pt x="652" y="712"/>
                  </a:lnTo>
                  <a:lnTo>
                    <a:pt x="652" y="710"/>
                  </a:lnTo>
                  <a:lnTo>
                    <a:pt x="650" y="710"/>
                  </a:lnTo>
                  <a:lnTo>
                    <a:pt x="650" y="710"/>
                  </a:lnTo>
                  <a:lnTo>
                    <a:pt x="650" y="708"/>
                  </a:lnTo>
                  <a:lnTo>
                    <a:pt x="648" y="708"/>
                  </a:lnTo>
                  <a:lnTo>
                    <a:pt x="648" y="708"/>
                  </a:lnTo>
                  <a:lnTo>
                    <a:pt x="648" y="708"/>
                  </a:lnTo>
                  <a:lnTo>
                    <a:pt x="646" y="708"/>
                  </a:lnTo>
                  <a:lnTo>
                    <a:pt x="644" y="710"/>
                  </a:lnTo>
                  <a:lnTo>
                    <a:pt x="642" y="710"/>
                  </a:lnTo>
                  <a:lnTo>
                    <a:pt x="640" y="710"/>
                  </a:lnTo>
                  <a:lnTo>
                    <a:pt x="636" y="712"/>
                  </a:lnTo>
                  <a:lnTo>
                    <a:pt x="632" y="712"/>
                  </a:lnTo>
                  <a:lnTo>
                    <a:pt x="628" y="714"/>
                  </a:lnTo>
                  <a:lnTo>
                    <a:pt x="624" y="714"/>
                  </a:lnTo>
                  <a:lnTo>
                    <a:pt x="618" y="714"/>
                  </a:lnTo>
                  <a:lnTo>
                    <a:pt x="616" y="716"/>
                  </a:lnTo>
                  <a:lnTo>
                    <a:pt x="612" y="716"/>
                  </a:lnTo>
                  <a:lnTo>
                    <a:pt x="608" y="716"/>
                  </a:lnTo>
                  <a:lnTo>
                    <a:pt x="606" y="718"/>
                  </a:lnTo>
                  <a:lnTo>
                    <a:pt x="604" y="718"/>
                  </a:lnTo>
                  <a:lnTo>
                    <a:pt x="602" y="718"/>
                  </a:lnTo>
                  <a:lnTo>
                    <a:pt x="602" y="718"/>
                  </a:lnTo>
                  <a:lnTo>
                    <a:pt x="602" y="718"/>
                  </a:lnTo>
                  <a:lnTo>
                    <a:pt x="600" y="718"/>
                  </a:lnTo>
                  <a:lnTo>
                    <a:pt x="600" y="718"/>
                  </a:lnTo>
                  <a:lnTo>
                    <a:pt x="600" y="720"/>
                  </a:lnTo>
                  <a:lnTo>
                    <a:pt x="602" y="740"/>
                  </a:lnTo>
                  <a:lnTo>
                    <a:pt x="604" y="750"/>
                  </a:lnTo>
                  <a:lnTo>
                    <a:pt x="606" y="758"/>
                  </a:lnTo>
                  <a:lnTo>
                    <a:pt x="606" y="762"/>
                  </a:lnTo>
                  <a:lnTo>
                    <a:pt x="606" y="764"/>
                  </a:lnTo>
                  <a:lnTo>
                    <a:pt x="604" y="764"/>
                  </a:lnTo>
                  <a:lnTo>
                    <a:pt x="604" y="766"/>
                  </a:lnTo>
                  <a:lnTo>
                    <a:pt x="598" y="770"/>
                  </a:lnTo>
                  <a:lnTo>
                    <a:pt x="596" y="772"/>
                  </a:lnTo>
                  <a:lnTo>
                    <a:pt x="594" y="772"/>
                  </a:lnTo>
                  <a:lnTo>
                    <a:pt x="594" y="770"/>
                  </a:lnTo>
                  <a:lnTo>
                    <a:pt x="594" y="768"/>
                  </a:lnTo>
                  <a:lnTo>
                    <a:pt x="592" y="768"/>
                  </a:lnTo>
                  <a:lnTo>
                    <a:pt x="592" y="764"/>
                  </a:lnTo>
                  <a:lnTo>
                    <a:pt x="592" y="762"/>
                  </a:lnTo>
                  <a:lnTo>
                    <a:pt x="590" y="760"/>
                  </a:lnTo>
                  <a:lnTo>
                    <a:pt x="590" y="760"/>
                  </a:lnTo>
                  <a:lnTo>
                    <a:pt x="590" y="758"/>
                  </a:lnTo>
                  <a:lnTo>
                    <a:pt x="590" y="756"/>
                  </a:lnTo>
                  <a:lnTo>
                    <a:pt x="590" y="756"/>
                  </a:lnTo>
                  <a:lnTo>
                    <a:pt x="588" y="756"/>
                  </a:lnTo>
                  <a:lnTo>
                    <a:pt x="586" y="754"/>
                  </a:lnTo>
                  <a:lnTo>
                    <a:pt x="586" y="754"/>
                  </a:lnTo>
                  <a:lnTo>
                    <a:pt x="586" y="754"/>
                  </a:lnTo>
                  <a:lnTo>
                    <a:pt x="582" y="752"/>
                  </a:lnTo>
                  <a:lnTo>
                    <a:pt x="580" y="750"/>
                  </a:lnTo>
                  <a:lnTo>
                    <a:pt x="578" y="750"/>
                  </a:lnTo>
                  <a:lnTo>
                    <a:pt x="578" y="748"/>
                  </a:lnTo>
                  <a:lnTo>
                    <a:pt x="576" y="748"/>
                  </a:lnTo>
                  <a:lnTo>
                    <a:pt x="576" y="748"/>
                  </a:lnTo>
                  <a:lnTo>
                    <a:pt x="574" y="748"/>
                  </a:lnTo>
                  <a:lnTo>
                    <a:pt x="574" y="748"/>
                  </a:lnTo>
                  <a:lnTo>
                    <a:pt x="572" y="752"/>
                  </a:lnTo>
                  <a:lnTo>
                    <a:pt x="574" y="760"/>
                  </a:lnTo>
                  <a:lnTo>
                    <a:pt x="574" y="768"/>
                  </a:lnTo>
                  <a:lnTo>
                    <a:pt x="576" y="776"/>
                  </a:lnTo>
                  <a:lnTo>
                    <a:pt x="578" y="782"/>
                  </a:lnTo>
                  <a:lnTo>
                    <a:pt x="578" y="782"/>
                  </a:lnTo>
                  <a:lnTo>
                    <a:pt x="578" y="784"/>
                  </a:lnTo>
                  <a:lnTo>
                    <a:pt x="582" y="790"/>
                  </a:lnTo>
                  <a:lnTo>
                    <a:pt x="582" y="790"/>
                  </a:lnTo>
                  <a:lnTo>
                    <a:pt x="582" y="790"/>
                  </a:lnTo>
                  <a:lnTo>
                    <a:pt x="586" y="792"/>
                  </a:lnTo>
                  <a:lnTo>
                    <a:pt x="588" y="796"/>
                  </a:lnTo>
                  <a:lnTo>
                    <a:pt x="592" y="798"/>
                  </a:lnTo>
                  <a:lnTo>
                    <a:pt x="596" y="800"/>
                  </a:lnTo>
                  <a:lnTo>
                    <a:pt x="600" y="802"/>
                  </a:lnTo>
                  <a:lnTo>
                    <a:pt x="604" y="804"/>
                  </a:lnTo>
                  <a:lnTo>
                    <a:pt x="606" y="804"/>
                  </a:lnTo>
                  <a:lnTo>
                    <a:pt x="608" y="806"/>
                  </a:lnTo>
                  <a:lnTo>
                    <a:pt x="610" y="808"/>
                  </a:lnTo>
                  <a:lnTo>
                    <a:pt x="610" y="810"/>
                  </a:lnTo>
                  <a:lnTo>
                    <a:pt x="610" y="810"/>
                  </a:lnTo>
                  <a:lnTo>
                    <a:pt x="612" y="812"/>
                  </a:lnTo>
                  <a:lnTo>
                    <a:pt x="612" y="816"/>
                  </a:lnTo>
                  <a:lnTo>
                    <a:pt x="612" y="818"/>
                  </a:lnTo>
                  <a:lnTo>
                    <a:pt x="614" y="824"/>
                  </a:lnTo>
                  <a:lnTo>
                    <a:pt x="616" y="826"/>
                  </a:lnTo>
                  <a:lnTo>
                    <a:pt x="616" y="826"/>
                  </a:lnTo>
                  <a:lnTo>
                    <a:pt x="616" y="826"/>
                  </a:lnTo>
                  <a:lnTo>
                    <a:pt x="616" y="828"/>
                  </a:lnTo>
                  <a:lnTo>
                    <a:pt x="618" y="830"/>
                  </a:lnTo>
                  <a:lnTo>
                    <a:pt x="620" y="832"/>
                  </a:lnTo>
                  <a:lnTo>
                    <a:pt x="624" y="836"/>
                  </a:lnTo>
                  <a:lnTo>
                    <a:pt x="628" y="840"/>
                  </a:lnTo>
                  <a:lnTo>
                    <a:pt x="628" y="840"/>
                  </a:lnTo>
                  <a:lnTo>
                    <a:pt x="632" y="840"/>
                  </a:lnTo>
                  <a:lnTo>
                    <a:pt x="636" y="840"/>
                  </a:lnTo>
                  <a:lnTo>
                    <a:pt x="636" y="840"/>
                  </a:lnTo>
                  <a:lnTo>
                    <a:pt x="636" y="840"/>
                  </a:lnTo>
                  <a:lnTo>
                    <a:pt x="638" y="838"/>
                  </a:lnTo>
                  <a:lnTo>
                    <a:pt x="638" y="838"/>
                  </a:lnTo>
                  <a:lnTo>
                    <a:pt x="640" y="838"/>
                  </a:lnTo>
                  <a:lnTo>
                    <a:pt x="642" y="836"/>
                  </a:lnTo>
                  <a:lnTo>
                    <a:pt x="642" y="836"/>
                  </a:lnTo>
                  <a:lnTo>
                    <a:pt x="642" y="836"/>
                  </a:lnTo>
                  <a:lnTo>
                    <a:pt x="644" y="834"/>
                  </a:lnTo>
                  <a:lnTo>
                    <a:pt x="644" y="834"/>
                  </a:lnTo>
                  <a:lnTo>
                    <a:pt x="644" y="832"/>
                  </a:lnTo>
                  <a:lnTo>
                    <a:pt x="644" y="830"/>
                  </a:lnTo>
                  <a:lnTo>
                    <a:pt x="644" y="830"/>
                  </a:lnTo>
                  <a:lnTo>
                    <a:pt x="644" y="830"/>
                  </a:lnTo>
                  <a:lnTo>
                    <a:pt x="642" y="828"/>
                  </a:lnTo>
                  <a:lnTo>
                    <a:pt x="646" y="828"/>
                  </a:lnTo>
                  <a:lnTo>
                    <a:pt x="650" y="828"/>
                  </a:lnTo>
                  <a:close/>
                  <a:moveTo>
                    <a:pt x="748" y="738"/>
                  </a:moveTo>
                  <a:lnTo>
                    <a:pt x="748" y="738"/>
                  </a:lnTo>
                  <a:lnTo>
                    <a:pt x="748" y="736"/>
                  </a:lnTo>
                  <a:lnTo>
                    <a:pt x="750" y="730"/>
                  </a:lnTo>
                  <a:lnTo>
                    <a:pt x="752" y="726"/>
                  </a:lnTo>
                  <a:lnTo>
                    <a:pt x="754" y="724"/>
                  </a:lnTo>
                  <a:lnTo>
                    <a:pt x="756" y="722"/>
                  </a:lnTo>
                  <a:lnTo>
                    <a:pt x="758" y="720"/>
                  </a:lnTo>
                  <a:lnTo>
                    <a:pt x="758" y="720"/>
                  </a:lnTo>
                  <a:lnTo>
                    <a:pt x="758" y="718"/>
                  </a:lnTo>
                  <a:lnTo>
                    <a:pt x="760" y="716"/>
                  </a:lnTo>
                  <a:lnTo>
                    <a:pt x="760" y="716"/>
                  </a:lnTo>
                  <a:lnTo>
                    <a:pt x="760" y="716"/>
                  </a:lnTo>
                  <a:lnTo>
                    <a:pt x="760" y="714"/>
                  </a:lnTo>
                  <a:lnTo>
                    <a:pt x="760" y="714"/>
                  </a:lnTo>
                  <a:lnTo>
                    <a:pt x="760" y="712"/>
                  </a:lnTo>
                  <a:lnTo>
                    <a:pt x="760" y="712"/>
                  </a:lnTo>
                  <a:lnTo>
                    <a:pt x="760" y="712"/>
                  </a:lnTo>
                  <a:lnTo>
                    <a:pt x="758" y="710"/>
                  </a:lnTo>
                  <a:lnTo>
                    <a:pt x="758" y="708"/>
                  </a:lnTo>
                  <a:lnTo>
                    <a:pt x="758" y="708"/>
                  </a:lnTo>
                  <a:lnTo>
                    <a:pt x="756" y="708"/>
                  </a:lnTo>
                  <a:lnTo>
                    <a:pt x="756" y="708"/>
                  </a:lnTo>
                  <a:lnTo>
                    <a:pt x="756" y="708"/>
                  </a:lnTo>
                  <a:lnTo>
                    <a:pt x="754" y="708"/>
                  </a:lnTo>
                  <a:lnTo>
                    <a:pt x="752" y="706"/>
                  </a:lnTo>
                  <a:lnTo>
                    <a:pt x="748" y="706"/>
                  </a:lnTo>
                  <a:lnTo>
                    <a:pt x="742" y="706"/>
                  </a:lnTo>
                  <a:lnTo>
                    <a:pt x="736" y="706"/>
                  </a:lnTo>
                  <a:lnTo>
                    <a:pt x="730" y="706"/>
                  </a:lnTo>
                  <a:lnTo>
                    <a:pt x="724" y="706"/>
                  </a:lnTo>
                  <a:lnTo>
                    <a:pt x="724" y="706"/>
                  </a:lnTo>
                  <a:lnTo>
                    <a:pt x="724" y="708"/>
                  </a:lnTo>
                  <a:lnTo>
                    <a:pt x="722" y="708"/>
                  </a:lnTo>
                  <a:lnTo>
                    <a:pt x="722" y="708"/>
                  </a:lnTo>
                  <a:lnTo>
                    <a:pt x="722" y="708"/>
                  </a:lnTo>
                  <a:lnTo>
                    <a:pt x="722" y="708"/>
                  </a:lnTo>
                  <a:lnTo>
                    <a:pt x="722" y="708"/>
                  </a:lnTo>
                  <a:lnTo>
                    <a:pt x="720" y="706"/>
                  </a:lnTo>
                  <a:lnTo>
                    <a:pt x="720" y="704"/>
                  </a:lnTo>
                  <a:lnTo>
                    <a:pt x="718" y="700"/>
                  </a:lnTo>
                  <a:lnTo>
                    <a:pt x="718" y="700"/>
                  </a:lnTo>
                  <a:lnTo>
                    <a:pt x="718" y="700"/>
                  </a:lnTo>
                  <a:lnTo>
                    <a:pt x="718" y="698"/>
                  </a:lnTo>
                  <a:lnTo>
                    <a:pt x="718" y="698"/>
                  </a:lnTo>
                  <a:lnTo>
                    <a:pt x="716" y="698"/>
                  </a:lnTo>
                  <a:lnTo>
                    <a:pt x="716" y="696"/>
                  </a:lnTo>
                  <a:lnTo>
                    <a:pt x="716" y="696"/>
                  </a:lnTo>
                  <a:lnTo>
                    <a:pt x="712" y="696"/>
                  </a:lnTo>
                  <a:lnTo>
                    <a:pt x="708" y="696"/>
                  </a:lnTo>
                  <a:lnTo>
                    <a:pt x="704" y="696"/>
                  </a:lnTo>
                  <a:lnTo>
                    <a:pt x="698" y="696"/>
                  </a:lnTo>
                  <a:lnTo>
                    <a:pt x="694" y="696"/>
                  </a:lnTo>
                  <a:lnTo>
                    <a:pt x="694" y="696"/>
                  </a:lnTo>
                  <a:lnTo>
                    <a:pt x="692" y="696"/>
                  </a:lnTo>
                  <a:lnTo>
                    <a:pt x="690" y="698"/>
                  </a:lnTo>
                  <a:lnTo>
                    <a:pt x="690" y="698"/>
                  </a:lnTo>
                  <a:lnTo>
                    <a:pt x="688" y="698"/>
                  </a:lnTo>
                  <a:lnTo>
                    <a:pt x="686" y="700"/>
                  </a:lnTo>
                  <a:lnTo>
                    <a:pt x="686" y="700"/>
                  </a:lnTo>
                  <a:lnTo>
                    <a:pt x="686" y="700"/>
                  </a:lnTo>
                  <a:lnTo>
                    <a:pt x="684" y="702"/>
                  </a:lnTo>
                  <a:lnTo>
                    <a:pt x="682" y="704"/>
                  </a:lnTo>
                  <a:lnTo>
                    <a:pt x="682" y="704"/>
                  </a:lnTo>
                  <a:lnTo>
                    <a:pt x="682" y="708"/>
                  </a:lnTo>
                  <a:lnTo>
                    <a:pt x="684" y="710"/>
                  </a:lnTo>
                  <a:lnTo>
                    <a:pt x="686" y="714"/>
                  </a:lnTo>
                  <a:lnTo>
                    <a:pt x="688" y="716"/>
                  </a:lnTo>
                  <a:lnTo>
                    <a:pt x="690" y="718"/>
                  </a:lnTo>
                  <a:lnTo>
                    <a:pt x="688" y="718"/>
                  </a:lnTo>
                  <a:lnTo>
                    <a:pt x="688" y="720"/>
                  </a:lnTo>
                  <a:lnTo>
                    <a:pt x="686" y="720"/>
                  </a:lnTo>
                  <a:lnTo>
                    <a:pt x="684" y="722"/>
                  </a:lnTo>
                  <a:lnTo>
                    <a:pt x="684" y="722"/>
                  </a:lnTo>
                  <a:lnTo>
                    <a:pt x="682" y="720"/>
                  </a:lnTo>
                  <a:lnTo>
                    <a:pt x="682" y="720"/>
                  </a:lnTo>
                  <a:lnTo>
                    <a:pt x="680" y="718"/>
                  </a:lnTo>
                  <a:lnTo>
                    <a:pt x="680" y="718"/>
                  </a:lnTo>
                  <a:lnTo>
                    <a:pt x="676" y="718"/>
                  </a:lnTo>
                  <a:lnTo>
                    <a:pt x="676" y="718"/>
                  </a:lnTo>
                  <a:lnTo>
                    <a:pt x="674" y="720"/>
                  </a:lnTo>
                  <a:lnTo>
                    <a:pt x="674" y="722"/>
                  </a:lnTo>
                  <a:lnTo>
                    <a:pt x="674" y="724"/>
                  </a:lnTo>
                  <a:lnTo>
                    <a:pt x="674" y="724"/>
                  </a:lnTo>
                  <a:lnTo>
                    <a:pt x="674" y="730"/>
                  </a:lnTo>
                  <a:lnTo>
                    <a:pt x="676" y="734"/>
                  </a:lnTo>
                  <a:lnTo>
                    <a:pt x="676" y="740"/>
                  </a:lnTo>
                  <a:lnTo>
                    <a:pt x="676" y="748"/>
                  </a:lnTo>
                  <a:lnTo>
                    <a:pt x="676" y="756"/>
                  </a:lnTo>
                  <a:lnTo>
                    <a:pt x="676" y="762"/>
                  </a:lnTo>
                  <a:lnTo>
                    <a:pt x="678" y="770"/>
                  </a:lnTo>
                  <a:lnTo>
                    <a:pt x="678" y="778"/>
                  </a:lnTo>
                  <a:lnTo>
                    <a:pt x="680" y="784"/>
                  </a:lnTo>
                  <a:lnTo>
                    <a:pt x="680" y="790"/>
                  </a:lnTo>
                  <a:lnTo>
                    <a:pt x="682" y="796"/>
                  </a:lnTo>
                  <a:lnTo>
                    <a:pt x="684" y="800"/>
                  </a:lnTo>
                  <a:lnTo>
                    <a:pt x="684" y="802"/>
                  </a:lnTo>
                  <a:lnTo>
                    <a:pt x="686" y="804"/>
                  </a:lnTo>
                  <a:lnTo>
                    <a:pt x="686" y="804"/>
                  </a:lnTo>
                  <a:lnTo>
                    <a:pt x="686" y="804"/>
                  </a:lnTo>
                  <a:lnTo>
                    <a:pt x="686" y="806"/>
                  </a:lnTo>
                  <a:lnTo>
                    <a:pt x="686" y="806"/>
                  </a:lnTo>
                  <a:lnTo>
                    <a:pt x="688" y="806"/>
                  </a:lnTo>
                  <a:lnTo>
                    <a:pt x="688" y="806"/>
                  </a:lnTo>
                  <a:lnTo>
                    <a:pt x="688" y="806"/>
                  </a:lnTo>
                  <a:lnTo>
                    <a:pt x="690" y="806"/>
                  </a:lnTo>
                  <a:lnTo>
                    <a:pt x="692" y="806"/>
                  </a:lnTo>
                  <a:lnTo>
                    <a:pt x="694" y="806"/>
                  </a:lnTo>
                  <a:lnTo>
                    <a:pt x="698" y="804"/>
                  </a:lnTo>
                  <a:lnTo>
                    <a:pt x="698" y="804"/>
                  </a:lnTo>
                  <a:lnTo>
                    <a:pt x="698" y="804"/>
                  </a:lnTo>
                  <a:lnTo>
                    <a:pt x="700" y="802"/>
                  </a:lnTo>
                  <a:lnTo>
                    <a:pt x="700" y="802"/>
                  </a:lnTo>
                  <a:lnTo>
                    <a:pt x="702" y="802"/>
                  </a:lnTo>
                  <a:lnTo>
                    <a:pt x="702" y="800"/>
                  </a:lnTo>
                  <a:lnTo>
                    <a:pt x="702" y="800"/>
                  </a:lnTo>
                  <a:lnTo>
                    <a:pt x="702" y="800"/>
                  </a:lnTo>
                  <a:lnTo>
                    <a:pt x="704" y="798"/>
                  </a:lnTo>
                  <a:lnTo>
                    <a:pt x="704" y="796"/>
                  </a:lnTo>
                  <a:lnTo>
                    <a:pt x="706" y="792"/>
                  </a:lnTo>
                  <a:lnTo>
                    <a:pt x="706" y="790"/>
                  </a:lnTo>
                  <a:lnTo>
                    <a:pt x="706" y="790"/>
                  </a:lnTo>
                  <a:lnTo>
                    <a:pt x="708" y="788"/>
                  </a:lnTo>
                  <a:lnTo>
                    <a:pt x="708" y="786"/>
                  </a:lnTo>
                  <a:lnTo>
                    <a:pt x="708" y="782"/>
                  </a:lnTo>
                  <a:lnTo>
                    <a:pt x="708" y="782"/>
                  </a:lnTo>
                  <a:lnTo>
                    <a:pt x="708" y="782"/>
                  </a:lnTo>
                  <a:lnTo>
                    <a:pt x="706" y="778"/>
                  </a:lnTo>
                  <a:lnTo>
                    <a:pt x="706" y="778"/>
                  </a:lnTo>
                  <a:lnTo>
                    <a:pt x="706" y="776"/>
                  </a:lnTo>
                  <a:lnTo>
                    <a:pt x="706" y="774"/>
                  </a:lnTo>
                  <a:lnTo>
                    <a:pt x="704" y="772"/>
                  </a:lnTo>
                  <a:lnTo>
                    <a:pt x="704" y="772"/>
                  </a:lnTo>
                  <a:lnTo>
                    <a:pt x="704" y="772"/>
                  </a:lnTo>
                  <a:lnTo>
                    <a:pt x="702" y="770"/>
                  </a:lnTo>
                  <a:lnTo>
                    <a:pt x="704" y="770"/>
                  </a:lnTo>
                  <a:lnTo>
                    <a:pt x="708" y="768"/>
                  </a:lnTo>
                  <a:lnTo>
                    <a:pt x="712" y="768"/>
                  </a:lnTo>
                  <a:lnTo>
                    <a:pt x="716" y="766"/>
                  </a:lnTo>
                  <a:lnTo>
                    <a:pt x="724" y="766"/>
                  </a:lnTo>
                  <a:lnTo>
                    <a:pt x="734" y="766"/>
                  </a:lnTo>
                  <a:lnTo>
                    <a:pt x="734" y="766"/>
                  </a:lnTo>
                  <a:lnTo>
                    <a:pt x="736" y="764"/>
                  </a:lnTo>
                  <a:lnTo>
                    <a:pt x="736" y="762"/>
                  </a:lnTo>
                  <a:lnTo>
                    <a:pt x="738" y="758"/>
                  </a:lnTo>
                  <a:lnTo>
                    <a:pt x="738" y="754"/>
                  </a:lnTo>
                  <a:lnTo>
                    <a:pt x="738" y="750"/>
                  </a:lnTo>
                  <a:lnTo>
                    <a:pt x="738" y="746"/>
                  </a:lnTo>
                  <a:lnTo>
                    <a:pt x="740" y="744"/>
                  </a:lnTo>
                  <a:lnTo>
                    <a:pt x="742" y="742"/>
                  </a:lnTo>
                  <a:lnTo>
                    <a:pt x="744" y="740"/>
                  </a:lnTo>
                  <a:lnTo>
                    <a:pt x="744" y="740"/>
                  </a:lnTo>
                  <a:lnTo>
                    <a:pt x="748" y="738"/>
                  </a:lnTo>
                  <a:close/>
                  <a:moveTo>
                    <a:pt x="928" y="764"/>
                  </a:moveTo>
                  <a:lnTo>
                    <a:pt x="932" y="764"/>
                  </a:lnTo>
                  <a:lnTo>
                    <a:pt x="954" y="764"/>
                  </a:lnTo>
                  <a:lnTo>
                    <a:pt x="954" y="764"/>
                  </a:lnTo>
                  <a:lnTo>
                    <a:pt x="956" y="762"/>
                  </a:lnTo>
                  <a:lnTo>
                    <a:pt x="958" y="762"/>
                  </a:lnTo>
                  <a:lnTo>
                    <a:pt x="958" y="762"/>
                  </a:lnTo>
                  <a:lnTo>
                    <a:pt x="958" y="762"/>
                  </a:lnTo>
                  <a:lnTo>
                    <a:pt x="960" y="760"/>
                  </a:lnTo>
                  <a:lnTo>
                    <a:pt x="960" y="760"/>
                  </a:lnTo>
                  <a:lnTo>
                    <a:pt x="960" y="760"/>
                  </a:lnTo>
                  <a:lnTo>
                    <a:pt x="960" y="758"/>
                  </a:lnTo>
                  <a:lnTo>
                    <a:pt x="960" y="758"/>
                  </a:lnTo>
                  <a:lnTo>
                    <a:pt x="962" y="758"/>
                  </a:lnTo>
                  <a:lnTo>
                    <a:pt x="962" y="756"/>
                  </a:lnTo>
                  <a:lnTo>
                    <a:pt x="962" y="756"/>
                  </a:lnTo>
                  <a:lnTo>
                    <a:pt x="962" y="756"/>
                  </a:lnTo>
                  <a:lnTo>
                    <a:pt x="962" y="752"/>
                  </a:lnTo>
                  <a:lnTo>
                    <a:pt x="962" y="752"/>
                  </a:lnTo>
                  <a:lnTo>
                    <a:pt x="962" y="752"/>
                  </a:lnTo>
                  <a:lnTo>
                    <a:pt x="960" y="750"/>
                  </a:lnTo>
                  <a:lnTo>
                    <a:pt x="960" y="750"/>
                  </a:lnTo>
                  <a:lnTo>
                    <a:pt x="960" y="748"/>
                  </a:lnTo>
                  <a:lnTo>
                    <a:pt x="958" y="746"/>
                  </a:lnTo>
                  <a:lnTo>
                    <a:pt x="958" y="746"/>
                  </a:lnTo>
                  <a:lnTo>
                    <a:pt x="958" y="746"/>
                  </a:lnTo>
                  <a:lnTo>
                    <a:pt x="956" y="744"/>
                  </a:lnTo>
                  <a:lnTo>
                    <a:pt x="952" y="742"/>
                  </a:lnTo>
                  <a:lnTo>
                    <a:pt x="950" y="740"/>
                  </a:lnTo>
                  <a:lnTo>
                    <a:pt x="948" y="738"/>
                  </a:lnTo>
                  <a:lnTo>
                    <a:pt x="946" y="734"/>
                  </a:lnTo>
                  <a:lnTo>
                    <a:pt x="944" y="732"/>
                  </a:lnTo>
                  <a:lnTo>
                    <a:pt x="942" y="730"/>
                  </a:lnTo>
                  <a:lnTo>
                    <a:pt x="942" y="730"/>
                  </a:lnTo>
                  <a:lnTo>
                    <a:pt x="942" y="730"/>
                  </a:lnTo>
                  <a:lnTo>
                    <a:pt x="936" y="726"/>
                  </a:lnTo>
                  <a:lnTo>
                    <a:pt x="936" y="726"/>
                  </a:lnTo>
                  <a:lnTo>
                    <a:pt x="936" y="726"/>
                  </a:lnTo>
                  <a:lnTo>
                    <a:pt x="932" y="726"/>
                  </a:lnTo>
                  <a:lnTo>
                    <a:pt x="930" y="724"/>
                  </a:lnTo>
                  <a:lnTo>
                    <a:pt x="928" y="724"/>
                  </a:lnTo>
                  <a:lnTo>
                    <a:pt x="928" y="722"/>
                  </a:lnTo>
                  <a:lnTo>
                    <a:pt x="926" y="720"/>
                  </a:lnTo>
                  <a:lnTo>
                    <a:pt x="926" y="720"/>
                  </a:lnTo>
                  <a:lnTo>
                    <a:pt x="926" y="720"/>
                  </a:lnTo>
                  <a:lnTo>
                    <a:pt x="924" y="718"/>
                  </a:lnTo>
                  <a:lnTo>
                    <a:pt x="924" y="718"/>
                  </a:lnTo>
                  <a:lnTo>
                    <a:pt x="924" y="718"/>
                  </a:lnTo>
                  <a:lnTo>
                    <a:pt x="922" y="718"/>
                  </a:lnTo>
                  <a:lnTo>
                    <a:pt x="922" y="718"/>
                  </a:lnTo>
                  <a:lnTo>
                    <a:pt x="922" y="718"/>
                  </a:lnTo>
                  <a:lnTo>
                    <a:pt x="920" y="718"/>
                  </a:lnTo>
                  <a:lnTo>
                    <a:pt x="918" y="716"/>
                  </a:lnTo>
                  <a:lnTo>
                    <a:pt x="916" y="716"/>
                  </a:lnTo>
                  <a:lnTo>
                    <a:pt x="914" y="716"/>
                  </a:lnTo>
                  <a:lnTo>
                    <a:pt x="910" y="716"/>
                  </a:lnTo>
                  <a:lnTo>
                    <a:pt x="906" y="716"/>
                  </a:lnTo>
                  <a:lnTo>
                    <a:pt x="902" y="716"/>
                  </a:lnTo>
                  <a:lnTo>
                    <a:pt x="902" y="716"/>
                  </a:lnTo>
                  <a:lnTo>
                    <a:pt x="900" y="716"/>
                  </a:lnTo>
                  <a:lnTo>
                    <a:pt x="900" y="716"/>
                  </a:lnTo>
                  <a:lnTo>
                    <a:pt x="900" y="718"/>
                  </a:lnTo>
                  <a:lnTo>
                    <a:pt x="900" y="720"/>
                  </a:lnTo>
                  <a:lnTo>
                    <a:pt x="900" y="722"/>
                  </a:lnTo>
                  <a:lnTo>
                    <a:pt x="900" y="726"/>
                  </a:lnTo>
                  <a:lnTo>
                    <a:pt x="900" y="728"/>
                  </a:lnTo>
                  <a:lnTo>
                    <a:pt x="900" y="736"/>
                  </a:lnTo>
                  <a:lnTo>
                    <a:pt x="900" y="744"/>
                  </a:lnTo>
                  <a:lnTo>
                    <a:pt x="902" y="750"/>
                  </a:lnTo>
                  <a:lnTo>
                    <a:pt x="904" y="758"/>
                  </a:lnTo>
                  <a:lnTo>
                    <a:pt x="906" y="760"/>
                  </a:lnTo>
                  <a:lnTo>
                    <a:pt x="906" y="764"/>
                  </a:lnTo>
                  <a:lnTo>
                    <a:pt x="906" y="764"/>
                  </a:lnTo>
                  <a:lnTo>
                    <a:pt x="906" y="764"/>
                  </a:lnTo>
                  <a:lnTo>
                    <a:pt x="908" y="766"/>
                  </a:lnTo>
                  <a:lnTo>
                    <a:pt x="908" y="766"/>
                  </a:lnTo>
                  <a:lnTo>
                    <a:pt x="908" y="766"/>
                  </a:lnTo>
                  <a:lnTo>
                    <a:pt x="910" y="768"/>
                  </a:lnTo>
                  <a:lnTo>
                    <a:pt x="910" y="768"/>
                  </a:lnTo>
                  <a:lnTo>
                    <a:pt x="914" y="768"/>
                  </a:lnTo>
                  <a:lnTo>
                    <a:pt x="918" y="766"/>
                  </a:lnTo>
                  <a:lnTo>
                    <a:pt x="918" y="766"/>
                  </a:lnTo>
                  <a:lnTo>
                    <a:pt x="922" y="766"/>
                  </a:lnTo>
                  <a:lnTo>
                    <a:pt x="928" y="764"/>
                  </a:lnTo>
                  <a:close/>
                  <a:moveTo>
                    <a:pt x="950" y="976"/>
                  </a:moveTo>
                  <a:lnTo>
                    <a:pt x="948" y="980"/>
                  </a:lnTo>
                  <a:lnTo>
                    <a:pt x="944" y="986"/>
                  </a:lnTo>
                  <a:lnTo>
                    <a:pt x="944" y="986"/>
                  </a:lnTo>
                  <a:lnTo>
                    <a:pt x="944" y="986"/>
                  </a:lnTo>
                  <a:lnTo>
                    <a:pt x="944" y="990"/>
                  </a:lnTo>
                  <a:lnTo>
                    <a:pt x="944" y="990"/>
                  </a:lnTo>
                  <a:lnTo>
                    <a:pt x="944" y="990"/>
                  </a:lnTo>
                  <a:lnTo>
                    <a:pt x="942" y="994"/>
                  </a:lnTo>
                  <a:lnTo>
                    <a:pt x="942" y="994"/>
                  </a:lnTo>
                  <a:lnTo>
                    <a:pt x="942" y="996"/>
                  </a:lnTo>
                  <a:lnTo>
                    <a:pt x="942" y="998"/>
                  </a:lnTo>
                  <a:lnTo>
                    <a:pt x="942" y="998"/>
                  </a:lnTo>
                  <a:lnTo>
                    <a:pt x="942" y="998"/>
                  </a:lnTo>
                  <a:lnTo>
                    <a:pt x="944" y="1000"/>
                  </a:lnTo>
                  <a:lnTo>
                    <a:pt x="944" y="1000"/>
                  </a:lnTo>
                  <a:lnTo>
                    <a:pt x="944" y="1000"/>
                  </a:lnTo>
                  <a:lnTo>
                    <a:pt x="944" y="1004"/>
                  </a:lnTo>
                  <a:lnTo>
                    <a:pt x="946" y="1006"/>
                  </a:lnTo>
                  <a:lnTo>
                    <a:pt x="946" y="1006"/>
                  </a:lnTo>
                  <a:lnTo>
                    <a:pt x="946" y="1006"/>
                  </a:lnTo>
                  <a:lnTo>
                    <a:pt x="948" y="1008"/>
                  </a:lnTo>
                  <a:lnTo>
                    <a:pt x="948" y="1008"/>
                  </a:lnTo>
                  <a:lnTo>
                    <a:pt x="950" y="1008"/>
                  </a:lnTo>
                  <a:lnTo>
                    <a:pt x="952" y="1010"/>
                  </a:lnTo>
                  <a:lnTo>
                    <a:pt x="952" y="1010"/>
                  </a:lnTo>
                  <a:lnTo>
                    <a:pt x="952" y="1010"/>
                  </a:lnTo>
                  <a:lnTo>
                    <a:pt x="956" y="1010"/>
                  </a:lnTo>
                  <a:lnTo>
                    <a:pt x="956" y="1010"/>
                  </a:lnTo>
                  <a:lnTo>
                    <a:pt x="956" y="1010"/>
                  </a:lnTo>
                  <a:lnTo>
                    <a:pt x="960" y="1010"/>
                  </a:lnTo>
                  <a:lnTo>
                    <a:pt x="966" y="1008"/>
                  </a:lnTo>
                  <a:lnTo>
                    <a:pt x="968" y="1008"/>
                  </a:lnTo>
                  <a:lnTo>
                    <a:pt x="972" y="1008"/>
                  </a:lnTo>
                  <a:lnTo>
                    <a:pt x="972" y="1008"/>
                  </a:lnTo>
                  <a:lnTo>
                    <a:pt x="974" y="1008"/>
                  </a:lnTo>
                  <a:lnTo>
                    <a:pt x="974" y="1006"/>
                  </a:lnTo>
                  <a:lnTo>
                    <a:pt x="974" y="1006"/>
                  </a:lnTo>
                  <a:lnTo>
                    <a:pt x="974" y="1006"/>
                  </a:lnTo>
                  <a:lnTo>
                    <a:pt x="976" y="1004"/>
                  </a:lnTo>
                  <a:lnTo>
                    <a:pt x="976" y="1002"/>
                  </a:lnTo>
                  <a:lnTo>
                    <a:pt x="978" y="1000"/>
                  </a:lnTo>
                  <a:lnTo>
                    <a:pt x="978" y="998"/>
                  </a:lnTo>
                  <a:lnTo>
                    <a:pt x="980" y="994"/>
                  </a:lnTo>
                  <a:lnTo>
                    <a:pt x="982" y="988"/>
                  </a:lnTo>
                  <a:lnTo>
                    <a:pt x="984" y="980"/>
                  </a:lnTo>
                  <a:lnTo>
                    <a:pt x="984" y="978"/>
                  </a:lnTo>
                  <a:lnTo>
                    <a:pt x="984" y="974"/>
                  </a:lnTo>
                  <a:lnTo>
                    <a:pt x="984" y="972"/>
                  </a:lnTo>
                  <a:lnTo>
                    <a:pt x="984" y="972"/>
                  </a:lnTo>
                  <a:lnTo>
                    <a:pt x="984" y="970"/>
                  </a:lnTo>
                  <a:lnTo>
                    <a:pt x="984" y="968"/>
                  </a:lnTo>
                  <a:lnTo>
                    <a:pt x="984" y="968"/>
                  </a:lnTo>
                  <a:lnTo>
                    <a:pt x="984" y="968"/>
                  </a:lnTo>
                  <a:lnTo>
                    <a:pt x="982" y="966"/>
                  </a:lnTo>
                  <a:lnTo>
                    <a:pt x="982" y="966"/>
                  </a:lnTo>
                  <a:lnTo>
                    <a:pt x="982" y="966"/>
                  </a:lnTo>
                  <a:lnTo>
                    <a:pt x="980" y="966"/>
                  </a:lnTo>
                  <a:lnTo>
                    <a:pt x="980" y="966"/>
                  </a:lnTo>
                  <a:lnTo>
                    <a:pt x="980" y="964"/>
                  </a:lnTo>
                  <a:lnTo>
                    <a:pt x="972" y="964"/>
                  </a:lnTo>
                  <a:lnTo>
                    <a:pt x="966" y="964"/>
                  </a:lnTo>
                  <a:lnTo>
                    <a:pt x="960" y="964"/>
                  </a:lnTo>
                  <a:lnTo>
                    <a:pt x="954" y="962"/>
                  </a:lnTo>
                  <a:lnTo>
                    <a:pt x="954" y="962"/>
                  </a:lnTo>
                  <a:lnTo>
                    <a:pt x="952" y="964"/>
                  </a:lnTo>
                  <a:lnTo>
                    <a:pt x="952" y="964"/>
                  </a:lnTo>
                  <a:lnTo>
                    <a:pt x="952" y="966"/>
                  </a:lnTo>
                  <a:lnTo>
                    <a:pt x="952" y="966"/>
                  </a:lnTo>
                  <a:lnTo>
                    <a:pt x="952" y="968"/>
                  </a:lnTo>
                  <a:lnTo>
                    <a:pt x="952" y="968"/>
                  </a:lnTo>
                  <a:lnTo>
                    <a:pt x="952" y="968"/>
                  </a:lnTo>
                  <a:lnTo>
                    <a:pt x="952" y="970"/>
                  </a:lnTo>
                  <a:lnTo>
                    <a:pt x="952" y="970"/>
                  </a:lnTo>
                  <a:lnTo>
                    <a:pt x="952" y="970"/>
                  </a:lnTo>
                  <a:lnTo>
                    <a:pt x="954" y="970"/>
                  </a:lnTo>
                  <a:lnTo>
                    <a:pt x="954" y="972"/>
                  </a:lnTo>
                  <a:lnTo>
                    <a:pt x="952" y="974"/>
                  </a:lnTo>
                  <a:lnTo>
                    <a:pt x="950" y="976"/>
                  </a:lnTo>
                  <a:close/>
                  <a:moveTo>
                    <a:pt x="882" y="1156"/>
                  </a:moveTo>
                  <a:lnTo>
                    <a:pt x="882" y="1156"/>
                  </a:lnTo>
                  <a:lnTo>
                    <a:pt x="882" y="1156"/>
                  </a:lnTo>
                  <a:lnTo>
                    <a:pt x="880" y="1154"/>
                  </a:lnTo>
                  <a:lnTo>
                    <a:pt x="880" y="1154"/>
                  </a:lnTo>
                  <a:lnTo>
                    <a:pt x="880" y="1154"/>
                  </a:lnTo>
                  <a:lnTo>
                    <a:pt x="880" y="1154"/>
                  </a:lnTo>
                  <a:lnTo>
                    <a:pt x="878" y="1154"/>
                  </a:lnTo>
                  <a:lnTo>
                    <a:pt x="878" y="1154"/>
                  </a:lnTo>
                  <a:lnTo>
                    <a:pt x="878" y="1154"/>
                  </a:lnTo>
                  <a:lnTo>
                    <a:pt x="874" y="1154"/>
                  </a:lnTo>
                  <a:lnTo>
                    <a:pt x="870" y="1154"/>
                  </a:lnTo>
                  <a:lnTo>
                    <a:pt x="866" y="1154"/>
                  </a:lnTo>
                  <a:lnTo>
                    <a:pt x="862" y="1154"/>
                  </a:lnTo>
                  <a:lnTo>
                    <a:pt x="858" y="1154"/>
                  </a:lnTo>
                  <a:lnTo>
                    <a:pt x="854" y="1154"/>
                  </a:lnTo>
                  <a:lnTo>
                    <a:pt x="852" y="1154"/>
                  </a:lnTo>
                  <a:lnTo>
                    <a:pt x="852" y="1154"/>
                  </a:lnTo>
                  <a:lnTo>
                    <a:pt x="850" y="1156"/>
                  </a:lnTo>
                  <a:lnTo>
                    <a:pt x="848" y="1162"/>
                  </a:lnTo>
                  <a:lnTo>
                    <a:pt x="846" y="1164"/>
                  </a:lnTo>
                  <a:lnTo>
                    <a:pt x="846" y="1168"/>
                  </a:lnTo>
                  <a:lnTo>
                    <a:pt x="846" y="1168"/>
                  </a:lnTo>
                  <a:lnTo>
                    <a:pt x="846" y="1168"/>
                  </a:lnTo>
                  <a:lnTo>
                    <a:pt x="846" y="1170"/>
                  </a:lnTo>
                  <a:lnTo>
                    <a:pt x="846" y="1170"/>
                  </a:lnTo>
                  <a:lnTo>
                    <a:pt x="846" y="1172"/>
                  </a:lnTo>
                  <a:lnTo>
                    <a:pt x="848" y="1174"/>
                  </a:lnTo>
                  <a:lnTo>
                    <a:pt x="848" y="1174"/>
                  </a:lnTo>
                  <a:lnTo>
                    <a:pt x="848" y="1174"/>
                  </a:lnTo>
                  <a:lnTo>
                    <a:pt x="850" y="1176"/>
                  </a:lnTo>
                  <a:lnTo>
                    <a:pt x="850" y="1176"/>
                  </a:lnTo>
                  <a:lnTo>
                    <a:pt x="850" y="1176"/>
                  </a:lnTo>
                  <a:lnTo>
                    <a:pt x="854" y="1178"/>
                  </a:lnTo>
                  <a:lnTo>
                    <a:pt x="854" y="1178"/>
                  </a:lnTo>
                  <a:lnTo>
                    <a:pt x="854" y="1178"/>
                  </a:lnTo>
                  <a:lnTo>
                    <a:pt x="856" y="1178"/>
                  </a:lnTo>
                  <a:lnTo>
                    <a:pt x="862" y="1178"/>
                  </a:lnTo>
                  <a:lnTo>
                    <a:pt x="866" y="1178"/>
                  </a:lnTo>
                  <a:lnTo>
                    <a:pt x="868" y="1176"/>
                  </a:lnTo>
                  <a:lnTo>
                    <a:pt x="872" y="1176"/>
                  </a:lnTo>
                  <a:lnTo>
                    <a:pt x="872" y="1176"/>
                  </a:lnTo>
                  <a:lnTo>
                    <a:pt x="872" y="1176"/>
                  </a:lnTo>
                  <a:lnTo>
                    <a:pt x="876" y="1174"/>
                  </a:lnTo>
                  <a:lnTo>
                    <a:pt x="876" y="1174"/>
                  </a:lnTo>
                  <a:lnTo>
                    <a:pt x="876" y="1174"/>
                  </a:lnTo>
                  <a:lnTo>
                    <a:pt x="878" y="1172"/>
                  </a:lnTo>
                  <a:lnTo>
                    <a:pt x="878" y="1172"/>
                  </a:lnTo>
                  <a:lnTo>
                    <a:pt x="878" y="1172"/>
                  </a:lnTo>
                  <a:lnTo>
                    <a:pt x="880" y="1168"/>
                  </a:lnTo>
                  <a:lnTo>
                    <a:pt x="880" y="1168"/>
                  </a:lnTo>
                  <a:lnTo>
                    <a:pt x="880" y="1168"/>
                  </a:lnTo>
                  <a:lnTo>
                    <a:pt x="882" y="1164"/>
                  </a:lnTo>
                  <a:lnTo>
                    <a:pt x="882" y="1164"/>
                  </a:lnTo>
                  <a:lnTo>
                    <a:pt x="882" y="1164"/>
                  </a:lnTo>
                  <a:lnTo>
                    <a:pt x="884" y="1162"/>
                  </a:lnTo>
                  <a:lnTo>
                    <a:pt x="884" y="1162"/>
                  </a:lnTo>
                  <a:lnTo>
                    <a:pt x="884" y="1162"/>
                  </a:lnTo>
                  <a:lnTo>
                    <a:pt x="884" y="1160"/>
                  </a:lnTo>
                  <a:lnTo>
                    <a:pt x="884" y="1160"/>
                  </a:lnTo>
                  <a:lnTo>
                    <a:pt x="884" y="1160"/>
                  </a:lnTo>
                  <a:lnTo>
                    <a:pt x="882" y="1158"/>
                  </a:lnTo>
                  <a:lnTo>
                    <a:pt x="882" y="1158"/>
                  </a:lnTo>
                  <a:lnTo>
                    <a:pt x="882" y="1156"/>
                  </a:lnTo>
                  <a:lnTo>
                    <a:pt x="882" y="1156"/>
                  </a:lnTo>
                  <a:close/>
                  <a:moveTo>
                    <a:pt x="900" y="1196"/>
                  </a:moveTo>
                  <a:lnTo>
                    <a:pt x="900" y="1196"/>
                  </a:lnTo>
                  <a:lnTo>
                    <a:pt x="902" y="1196"/>
                  </a:lnTo>
                  <a:lnTo>
                    <a:pt x="904" y="1196"/>
                  </a:lnTo>
                  <a:lnTo>
                    <a:pt x="904" y="1196"/>
                  </a:lnTo>
                  <a:lnTo>
                    <a:pt x="904" y="1198"/>
                  </a:lnTo>
                  <a:lnTo>
                    <a:pt x="906" y="1198"/>
                  </a:lnTo>
                  <a:lnTo>
                    <a:pt x="908" y="1198"/>
                  </a:lnTo>
                  <a:lnTo>
                    <a:pt x="908" y="1198"/>
                  </a:lnTo>
                  <a:lnTo>
                    <a:pt x="910" y="1198"/>
                  </a:lnTo>
                  <a:lnTo>
                    <a:pt x="912" y="1198"/>
                  </a:lnTo>
                  <a:lnTo>
                    <a:pt x="912" y="1198"/>
                  </a:lnTo>
                  <a:lnTo>
                    <a:pt x="914" y="1198"/>
                  </a:lnTo>
                  <a:lnTo>
                    <a:pt x="916" y="1196"/>
                  </a:lnTo>
                  <a:lnTo>
                    <a:pt x="916" y="1196"/>
                  </a:lnTo>
                  <a:lnTo>
                    <a:pt x="916" y="1196"/>
                  </a:lnTo>
                  <a:lnTo>
                    <a:pt x="918" y="1192"/>
                  </a:lnTo>
                  <a:lnTo>
                    <a:pt x="918" y="1192"/>
                  </a:lnTo>
                  <a:lnTo>
                    <a:pt x="920" y="1192"/>
                  </a:lnTo>
                  <a:lnTo>
                    <a:pt x="922" y="1188"/>
                  </a:lnTo>
                  <a:lnTo>
                    <a:pt x="922" y="1188"/>
                  </a:lnTo>
                  <a:lnTo>
                    <a:pt x="922" y="1188"/>
                  </a:lnTo>
                  <a:lnTo>
                    <a:pt x="922" y="1182"/>
                  </a:lnTo>
                  <a:lnTo>
                    <a:pt x="922" y="1182"/>
                  </a:lnTo>
                  <a:lnTo>
                    <a:pt x="922" y="1182"/>
                  </a:lnTo>
                  <a:lnTo>
                    <a:pt x="920" y="1178"/>
                  </a:lnTo>
                  <a:lnTo>
                    <a:pt x="920" y="1178"/>
                  </a:lnTo>
                  <a:lnTo>
                    <a:pt x="920" y="1176"/>
                  </a:lnTo>
                  <a:lnTo>
                    <a:pt x="918" y="1172"/>
                  </a:lnTo>
                  <a:lnTo>
                    <a:pt x="918" y="1172"/>
                  </a:lnTo>
                  <a:lnTo>
                    <a:pt x="918" y="1172"/>
                  </a:lnTo>
                  <a:lnTo>
                    <a:pt x="914" y="1168"/>
                  </a:lnTo>
                  <a:lnTo>
                    <a:pt x="914" y="1168"/>
                  </a:lnTo>
                  <a:lnTo>
                    <a:pt x="914" y="1168"/>
                  </a:lnTo>
                  <a:lnTo>
                    <a:pt x="912" y="1168"/>
                  </a:lnTo>
                  <a:lnTo>
                    <a:pt x="912" y="1168"/>
                  </a:lnTo>
                  <a:lnTo>
                    <a:pt x="912" y="1166"/>
                  </a:lnTo>
                  <a:lnTo>
                    <a:pt x="910" y="1166"/>
                  </a:lnTo>
                  <a:lnTo>
                    <a:pt x="910" y="1166"/>
                  </a:lnTo>
                  <a:lnTo>
                    <a:pt x="908" y="1166"/>
                  </a:lnTo>
                  <a:lnTo>
                    <a:pt x="908" y="1166"/>
                  </a:lnTo>
                  <a:lnTo>
                    <a:pt x="906" y="1168"/>
                  </a:lnTo>
                  <a:lnTo>
                    <a:pt x="904" y="1170"/>
                  </a:lnTo>
                  <a:lnTo>
                    <a:pt x="904" y="1172"/>
                  </a:lnTo>
                  <a:lnTo>
                    <a:pt x="904" y="1174"/>
                  </a:lnTo>
                  <a:lnTo>
                    <a:pt x="904" y="1176"/>
                  </a:lnTo>
                  <a:lnTo>
                    <a:pt x="904" y="1176"/>
                  </a:lnTo>
                  <a:lnTo>
                    <a:pt x="902" y="1178"/>
                  </a:lnTo>
                  <a:lnTo>
                    <a:pt x="902" y="1182"/>
                  </a:lnTo>
                  <a:lnTo>
                    <a:pt x="902" y="1184"/>
                  </a:lnTo>
                  <a:lnTo>
                    <a:pt x="902" y="1184"/>
                  </a:lnTo>
                  <a:lnTo>
                    <a:pt x="902" y="1186"/>
                  </a:lnTo>
                  <a:lnTo>
                    <a:pt x="900" y="1188"/>
                  </a:lnTo>
                  <a:lnTo>
                    <a:pt x="900" y="1188"/>
                  </a:lnTo>
                  <a:lnTo>
                    <a:pt x="900" y="1188"/>
                  </a:lnTo>
                  <a:lnTo>
                    <a:pt x="900" y="1190"/>
                  </a:lnTo>
                  <a:lnTo>
                    <a:pt x="900" y="1190"/>
                  </a:lnTo>
                  <a:lnTo>
                    <a:pt x="900" y="1192"/>
                  </a:lnTo>
                  <a:lnTo>
                    <a:pt x="900" y="1192"/>
                  </a:lnTo>
                  <a:lnTo>
                    <a:pt x="900" y="1192"/>
                  </a:lnTo>
                  <a:lnTo>
                    <a:pt x="900" y="1194"/>
                  </a:lnTo>
                  <a:lnTo>
                    <a:pt x="900" y="1196"/>
                  </a:lnTo>
                  <a:close/>
                  <a:moveTo>
                    <a:pt x="896" y="1248"/>
                  </a:moveTo>
                  <a:lnTo>
                    <a:pt x="896" y="1248"/>
                  </a:lnTo>
                  <a:lnTo>
                    <a:pt x="896" y="1248"/>
                  </a:lnTo>
                  <a:lnTo>
                    <a:pt x="894" y="1250"/>
                  </a:lnTo>
                  <a:lnTo>
                    <a:pt x="894" y="1250"/>
                  </a:lnTo>
                  <a:lnTo>
                    <a:pt x="892" y="1252"/>
                  </a:lnTo>
                  <a:lnTo>
                    <a:pt x="892" y="1254"/>
                  </a:lnTo>
                  <a:lnTo>
                    <a:pt x="892" y="1254"/>
                  </a:lnTo>
                  <a:lnTo>
                    <a:pt x="892" y="1254"/>
                  </a:lnTo>
                  <a:lnTo>
                    <a:pt x="892" y="1256"/>
                  </a:lnTo>
                  <a:lnTo>
                    <a:pt x="892" y="1256"/>
                  </a:lnTo>
                  <a:lnTo>
                    <a:pt x="892" y="1258"/>
                  </a:lnTo>
                  <a:lnTo>
                    <a:pt x="892" y="1260"/>
                  </a:lnTo>
                  <a:lnTo>
                    <a:pt x="892" y="1264"/>
                  </a:lnTo>
                  <a:lnTo>
                    <a:pt x="894" y="1268"/>
                  </a:lnTo>
                  <a:lnTo>
                    <a:pt x="894" y="1272"/>
                  </a:lnTo>
                  <a:lnTo>
                    <a:pt x="894" y="1272"/>
                  </a:lnTo>
                  <a:lnTo>
                    <a:pt x="896" y="1274"/>
                  </a:lnTo>
                  <a:lnTo>
                    <a:pt x="896" y="1274"/>
                  </a:lnTo>
                  <a:lnTo>
                    <a:pt x="898" y="1274"/>
                  </a:lnTo>
                  <a:lnTo>
                    <a:pt x="902" y="1274"/>
                  </a:lnTo>
                  <a:lnTo>
                    <a:pt x="902" y="1274"/>
                  </a:lnTo>
                  <a:lnTo>
                    <a:pt x="902" y="1274"/>
                  </a:lnTo>
                  <a:lnTo>
                    <a:pt x="906" y="1272"/>
                  </a:lnTo>
                  <a:lnTo>
                    <a:pt x="906" y="1272"/>
                  </a:lnTo>
                  <a:lnTo>
                    <a:pt x="906" y="1270"/>
                  </a:lnTo>
                  <a:lnTo>
                    <a:pt x="908" y="1268"/>
                  </a:lnTo>
                  <a:lnTo>
                    <a:pt x="908" y="1268"/>
                  </a:lnTo>
                  <a:lnTo>
                    <a:pt x="908" y="1266"/>
                  </a:lnTo>
                  <a:lnTo>
                    <a:pt x="910" y="1262"/>
                  </a:lnTo>
                  <a:lnTo>
                    <a:pt x="910" y="1262"/>
                  </a:lnTo>
                  <a:lnTo>
                    <a:pt x="910" y="1262"/>
                  </a:lnTo>
                  <a:lnTo>
                    <a:pt x="908" y="1258"/>
                  </a:lnTo>
                  <a:lnTo>
                    <a:pt x="908" y="1258"/>
                  </a:lnTo>
                  <a:lnTo>
                    <a:pt x="908" y="1258"/>
                  </a:lnTo>
                  <a:lnTo>
                    <a:pt x="908" y="1254"/>
                  </a:lnTo>
                  <a:lnTo>
                    <a:pt x="908" y="1254"/>
                  </a:lnTo>
                  <a:lnTo>
                    <a:pt x="908" y="1254"/>
                  </a:lnTo>
                  <a:lnTo>
                    <a:pt x="906" y="1250"/>
                  </a:lnTo>
                  <a:lnTo>
                    <a:pt x="906" y="1250"/>
                  </a:lnTo>
                  <a:lnTo>
                    <a:pt x="906" y="1250"/>
                  </a:lnTo>
                  <a:lnTo>
                    <a:pt x="904" y="1246"/>
                  </a:lnTo>
                  <a:lnTo>
                    <a:pt x="904" y="1246"/>
                  </a:lnTo>
                  <a:lnTo>
                    <a:pt x="902" y="1244"/>
                  </a:lnTo>
                  <a:lnTo>
                    <a:pt x="902" y="1244"/>
                  </a:lnTo>
                  <a:lnTo>
                    <a:pt x="898" y="1246"/>
                  </a:lnTo>
                  <a:lnTo>
                    <a:pt x="896" y="1248"/>
                  </a:lnTo>
                  <a:close/>
                  <a:moveTo>
                    <a:pt x="902" y="1354"/>
                  </a:moveTo>
                  <a:lnTo>
                    <a:pt x="902" y="1356"/>
                  </a:lnTo>
                  <a:lnTo>
                    <a:pt x="902" y="1358"/>
                  </a:lnTo>
                  <a:lnTo>
                    <a:pt x="904" y="1360"/>
                  </a:lnTo>
                  <a:lnTo>
                    <a:pt x="904" y="1360"/>
                  </a:lnTo>
                  <a:lnTo>
                    <a:pt x="904" y="1362"/>
                  </a:lnTo>
                  <a:lnTo>
                    <a:pt x="908" y="1364"/>
                  </a:lnTo>
                  <a:lnTo>
                    <a:pt x="912" y="1366"/>
                  </a:lnTo>
                  <a:lnTo>
                    <a:pt x="914" y="1368"/>
                  </a:lnTo>
                  <a:lnTo>
                    <a:pt x="914" y="1368"/>
                  </a:lnTo>
                  <a:lnTo>
                    <a:pt x="916" y="1368"/>
                  </a:lnTo>
                  <a:lnTo>
                    <a:pt x="918" y="1368"/>
                  </a:lnTo>
                  <a:lnTo>
                    <a:pt x="918" y="1368"/>
                  </a:lnTo>
                  <a:lnTo>
                    <a:pt x="920" y="1368"/>
                  </a:lnTo>
                  <a:lnTo>
                    <a:pt x="920" y="1366"/>
                  </a:lnTo>
                  <a:lnTo>
                    <a:pt x="920" y="1366"/>
                  </a:lnTo>
                  <a:lnTo>
                    <a:pt x="922" y="1366"/>
                  </a:lnTo>
                  <a:lnTo>
                    <a:pt x="924" y="1364"/>
                  </a:lnTo>
                  <a:lnTo>
                    <a:pt x="924" y="1364"/>
                  </a:lnTo>
                  <a:lnTo>
                    <a:pt x="924" y="1364"/>
                  </a:lnTo>
                  <a:lnTo>
                    <a:pt x="924" y="1362"/>
                  </a:lnTo>
                  <a:lnTo>
                    <a:pt x="924" y="1360"/>
                  </a:lnTo>
                  <a:lnTo>
                    <a:pt x="926" y="1358"/>
                  </a:lnTo>
                  <a:lnTo>
                    <a:pt x="926" y="1356"/>
                  </a:lnTo>
                  <a:lnTo>
                    <a:pt x="926" y="1354"/>
                  </a:lnTo>
                  <a:lnTo>
                    <a:pt x="928" y="1354"/>
                  </a:lnTo>
                  <a:lnTo>
                    <a:pt x="930" y="1352"/>
                  </a:lnTo>
                  <a:lnTo>
                    <a:pt x="934" y="1348"/>
                  </a:lnTo>
                  <a:lnTo>
                    <a:pt x="940" y="1344"/>
                  </a:lnTo>
                  <a:lnTo>
                    <a:pt x="942" y="1342"/>
                  </a:lnTo>
                  <a:lnTo>
                    <a:pt x="942" y="1340"/>
                  </a:lnTo>
                  <a:lnTo>
                    <a:pt x="944" y="1338"/>
                  </a:lnTo>
                  <a:lnTo>
                    <a:pt x="944" y="1338"/>
                  </a:lnTo>
                  <a:lnTo>
                    <a:pt x="944" y="1338"/>
                  </a:lnTo>
                  <a:lnTo>
                    <a:pt x="946" y="1336"/>
                  </a:lnTo>
                  <a:lnTo>
                    <a:pt x="946" y="1336"/>
                  </a:lnTo>
                  <a:lnTo>
                    <a:pt x="946" y="1334"/>
                  </a:lnTo>
                  <a:lnTo>
                    <a:pt x="946" y="1332"/>
                  </a:lnTo>
                  <a:lnTo>
                    <a:pt x="946" y="1332"/>
                  </a:lnTo>
                  <a:lnTo>
                    <a:pt x="946" y="1332"/>
                  </a:lnTo>
                  <a:lnTo>
                    <a:pt x="944" y="1330"/>
                  </a:lnTo>
                  <a:lnTo>
                    <a:pt x="944" y="1330"/>
                  </a:lnTo>
                  <a:lnTo>
                    <a:pt x="944" y="1330"/>
                  </a:lnTo>
                  <a:lnTo>
                    <a:pt x="942" y="1328"/>
                  </a:lnTo>
                  <a:lnTo>
                    <a:pt x="942" y="1328"/>
                  </a:lnTo>
                  <a:lnTo>
                    <a:pt x="942" y="1328"/>
                  </a:lnTo>
                  <a:lnTo>
                    <a:pt x="938" y="1328"/>
                  </a:lnTo>
                  <a:lnTo>
                    <a:pt x="938" y="1328"/>
                  </a:lnTo>
                  <a:lnTo>
                    <a:pt x="938" y="1326"/>
                  </a:lnTo>
                  <a:lnTo>
                    <a:pt x="930" y="1326"/>
                  </a:lnTo>
                  <a:lnTo>
                    <a:pt x="924" y="1326"/>
                  </a:lnTo>
                  <a:lnTo>
                    <a:pt x="916" y="1326"/>
                  </a:lnTo>
                  <a:lnTo>
                    <a:pt x="908" y="1326"/>
                  </a:lnTo>
                  <a:lnTo>
                    <a:pt x="908" y="1326"/>
                  </a:lnTo>
                  <a:lnTo>
                    <a:pt x="906" y="1326"/>
                  </a:lnTo>
                  <a:lnTo>
                    <a:pt x="906" y="1328"/>
                  </a:lnTo>
                  <a:lnTo>
                    <a:pt x="904" y="1334"/>
                  </a:lnTo>
                  <a:lnTo>
                    <a:pt x="904" y="1336"/>
                  </a:lnTo>
                  <a:lnTo>
                    <a:pt x="904" y="1340"/>
                  </a:lnTo>
                  <a:lnTo>
                    <a:pt x="904" y="1342"/>
                  </a:lnTo>
                  <a:lnTo>
                    <a:pt x="904" y="1344"/>
                  </a:lnTo>
                  <a:lnTo>
                    <a:pt x="902" y="1346"/>
                  </a:lnTo>
                  <a:lnTo>
                    <a:pt x="902" y="1350"/>
                  </a:lnTo>
                  <a:lnTo>
                    <a:pt x="902" y="1350"/>
                  </a:lnTo>
                  <a:lnTo>
                    <a:pt x="902" y="1350"/>
                  </a:lnTo>
                  <a:lnTo>
                    <a:pt x="902" y="1352"/>
                  </a:lnTo>
                  <a:lnTo>
                    <a:pt x="902" y="1354"/>
                  </a:lnTo>
                  <a:lnTo>
                    <a:pt x="902" y="1354"/>
                  </a:lnTo>
                  <a:close/>
                  <a:moveTo>
                    <a:pt x="272" y="584"/>
                  </a:moveTo>
                  <a:lnTo>
                    <a:pt x="274" y="590"/>
                  </a:lnTo>
                  <a:lnTo>
                    <a:pt x="274" y="590"/>
                  </a:lnTo>
                  <a:lnTo>
                    <a:pt x="274" y="590"/>
                  </a:lnTo>
                  <a:lnTo>
                    <a:pt x="278" y="596"/>
                  </a:lnTo>
                  <a:lnTo>
                    <a:pt x="280" y="602"/>
                  </a:lnTo>
                  <a:lnTo>
                    <a:pt x="284" y="608"/>
                  </a:lnTo>
                  <a:lnTo>
                    <a:pt x="288" y="614"/>
                  </a:lnTo>
                  <a:lnTo>
                    <a:pt x="288" y="614"/>
                  </a:lnTo>
                  <a:lnTo>
                    <a:pt x="290" y="614"/>
                  </a:lnTo>
                  <a:lnTo>
                    <a:pt x="292" y="614"/>
                  </a:lnTo>
                  <a:lnTo>
                    <a:pt x="294" y="612"/>
                  </a:lnTo>
                  <a:lnTo>
                    <a:pt x="298" y="610"/>
                  </a:lnTo>
                  <a:lnTo>
                    <a:pt x="300" y="610"/>
                  </a:lnTo>
                  <a:lnTo>
                    <a:pt x="302" y="608"/>
                  </a:lnTo>
                  <a:lnTo>
                    <a:pt x="302" y="608"/>
                  </a:lnTo>
                  <a:lnTo>
                    <a:pt x="302" y="608"/>
                  </a:lnTo>
                  <a:lnTo>
                    <a:pt x="304" y="606"/>
                  </a:lnTo>
                  <a:lnTo>
                    <a:pt x="304" y="606"/>
                  </a:lnTo>
                  <a:lnTo>
                    <a:pt x="304" y="604"/>
                  </a:lnTo>
                  <a:lnTo>
                    <a:pt x="304" y="602"/>
                  </a:lnTo>
                  <a:lnTo>
                    <a:pt x="304" y="602"/>
                  </a:lnTo>
                  <a:lnTo>
                    <a:pt x="304" y="602"/>
                  </a:lnTo>
                  <a:lnTo>
                    <a:pt x="306" y="600"/>
                  </a:lnTo>
                  <a:lnTo>
                    <a:pt x="306" y="598"/>
                  </a:lnTo>
                  <a:lnTo>
                    <a:pt x="306" y="600"/>
                  </a:lnTo>
                  <a:lnTo>
                    <a:pt x="306" y="600"/>
                  </a:lnTo>
                  <a:lnTo>
                    <a:pt x="306" y="600"/>
                  </a:lnTo>
                  <a:lnTo>
                    <a:pt x="310" y="602"/>
                  </a:lnTo>
                  <a:lnTo>
                    <a:pt x="312" y="604"/>
                  </a:lnTo>
                  <a:lnTo>
                    <a:pt x="314" y="602"/>
                  </a:lnTo>
                  <a:lnTo>
                    <a:pt x="314" y="602"/>
                  </a:lnTo>
                  <a:lnTo>
                    <a:pt x="316" y="602"/>
                  </a:lnTo>
                  <a:lnTo>
                    <a:pt x="316" y="602"/>
                  </a:lnTo>
                  <a:lnTo>
                    <a:pt x="316" y="602"/>
                  </a:lnTo>
                  <a:lnTo>
                    <a:pt x="318" y="602"/>
                  </a:lnTo>
                  <a:lnTo>
                    <a:pt x="318" y="602"/>
                  </a:lnTo>
                  <a:lnTo>
                    <a:pt x="318" y="602"/>
                  </a:lnTo>
                  <a:lnTo>
                    <a:pt x="320" y="600"/>
                  </a:lnTo>
                  <a:lnTo>
                    <a:pt x="320" y="600"/>
                  </a:lnTo>
                  <a:lnTo>
                    <a:pt x="320" y="600"/>
                  </a:lnTo>
                  <a:lnTo>
                    <a:pt x="320" y="598"/>
                  </a:lnTo>
                  <a:lnTo>
                    <a:pt x="320" y="596"/>
                  </a:lnTo>
                  <a:lnTo>
                    <a:pt x="320" y="594"/>
                  </a:lnTo>
                  <a:lnTo>
                    <a:pt x="320" y="594"/>
                  </a:lnTo>
                  <a:lnTo>
                    <a:pt x="324" y="592"/>
                  </a:lnTo>
                  <a:lnTo>
                    <a:pt x="326" y="590"/>
                  </a:lnTo>
                  <a:lnTo>
                    <a:pt x="328" y="588"/>
                  </a:lnTo>
                  <a:lnTo>
                    <a:pt x="330" y="586"/>
                  </a:lnTo>
                  <a:lnTo>
                    <a:pt x="330" y="586"/>
                  </a:lnTo>
                  <a:lnTo>
                    <a:pt x="330" y="586"/>
                  </a:lnTo>
                  <a:lnTo>
                    <a:pt x="332" y="584"/>
                  </a:lnTo>
                  <a:lnTo>
                    <a:pt x="334" y="582"/>
                  </a:lnTo>
                  <a:lnTo>
                    <a:pt x="334" y="582"/>
                  </a:lnTo>
                  <a:lnTo>
                    <a:pt x="334" y="582"/>
                  </a:lnTo>
                  <a:lnTo>
                    <a:pt x="336" y="578"/>
                  </a:lnTo>
                  <a:lnTo>
                    <a:pt x="336" y="572"/>
                  </a:lnTo>
                  <a:lnTo>
                    <a:pt x="338" y="568"/>
                  </a:lnTo>
                  <a:lnTo>
                    <a:pt x="338" y="564"/>
                  </a:lnTo>
                  <a:lnTo>
                    <a:pt x="340" y="562"/>
                  </a:lnTo>
                  <a:lnTo>
                    <a:pt x="340" y="562"/>
                  </a:lnTo>
                  <a:lnTo>
                    <a:pt x="342" y="562"/>
                  </a:lnTo>
                  <a:lnTo>
                    <a:pt x="342" y="564"/>
                  </a:lnTo>
                  <a:lnTo>
                    <a:pt x="342" y="566"/>
                  </a:lnTo>
                  <a:lnTo>
                    <a:pt x="342" y="570"/>
                  </a:lnTo>
                  <a:lnTo>
                    <a:pt x="344" y="572"/>
                  </a:lnTo>
                  <a:lnTo>
                    <a:pt x="344" y="572"/>
                  </a:lnTo>
                  <a:lnTo>
                    <a:pt x="344" y="572"/>
                  </a:lnTo>
                  <a:lnTo>
                    <a:pt x="344" y="576"/>
                  </a:lnTo>
                  <a:lnTo>
                    <a:pt x="344" y="576"/>
                  </a:lnTo>
                  <a:lnTo>
                    <a:pt x="344" y="576"/>
                  </a:lnTo>
                  <a:lnTo>
                    <a:pt x="346" y="580"/>
                  </a:lnTo>
                  <a:lnTo>
                    <a:pt x="346" y="580"/>
                  </a:lnTo>
                  <a:lnTo>
                    <a:pt x="348" y="580"/>
                  </a:lnTo>
                  <a:lnTo>
                    <a:pt x="350" y="582"/>
                  </a:lnTo>
                  <a:lnTo>
                    <a:pt x="352" y="582"/>
                  </a:lnTo>
                  <a:lnTo>
                    <a:pt x="352" y="582"/>
                  </a:lnTo>
                  <a:lnTo>
                    <a:pt x="352" y="582"/>
                  </a:lnTo>
                  <a:lnTo>
                    <a:pt x="356" y="582"/>
                  </a:lnTo>
                  <a:lnTo>
                    <a:pt x="356" y="582"/>
                  </a:lnTo>
                  <a:lnTo>
                    <a:pt x="358" y="580"/>
                  </a:lnTo>
                  <a:lnTo>
                    <a:pt x="360" y="580"/>
                  </a:lnTo>
                  <a:lnTo>
                    <a:pt x="360" y="580"/>
                  </a:lnTo>
                  <a:lnTo>
                    <a:pt x="360" y="578"/>
                  </a:lnTo>
                  <a:lnTo>
                    <a:pt x="362" y="576"/>
                  </a:lnTo>
                  <a:lnTo>
                    <a:pt x="362" y="576"/>
                  </a:lnTo>
                  <a:lnTo>
                    <a:pt x="362" y="576"/>
                  </a:lnTo>
                  <a:lnTo>
                    <a:pt x="362" y="572"/>
                  </a:lnTo>
                  <a:lnTo>
                    <a:pt x="362" y="568"/>
                  </a:lnTo>
                  <a:lnTo>
                    <a:pt x="362" y="564"/>
                  </a:lnTo>
                  <a:lnTo>
                    <a:pt x="362" y="562"/>
                  </a:lnTo>
                  <a:lnTo>
                    <a:pt x="362" y="562"/>
                  </a:lnTo>
                  <a:lnTo>
                    <a:pt x="364" y="560"/>
                  </a:lnTo>
                  <a:lnTo>
                    <a:pt x="368" y="560"/>
                  </a:lnTo>
                  <a:lnTo>
                    <a:pt x="368" y="560"/>
                  </a:lnTo>
                  <a:lnTo>
                    <a:pt x="368" y="560"/>
                  </a:lnTo>
                  <a:lnTo>
                    <a:pt x="370" y="558"/>
                  </a:lnTo>
                  <a:lnTo>
                    <a:pt x="370" y="558"/>
                  </a:lnTo>
                  <a:lnTo>
                    <a:pt x="372" y="558"/>
                  </a:lnTo>
                  <a:lnTo>
                    <a:pt x="372" y="556"/>
                  </a:lnTo>
                  <a:lnTo>
                    <a:pt x="372" y="556"/>
                  </a:lnTo>
                  <a:lnTo>
                    <a:pt x="374" y="554"/>
                  </a:lnTo>
                  <a:lnTo>
                    <a:pt x="374" y="552"/>
                  </a:lnTo>
                  <a:lnTo>
                    <a:pt x="376" y="550"/>
                  </a:lnTo>
                  <a:lnTo>
                    <a:pt x="376" y="548"/>
                  </a:lnTo>
                  <a:lnTo>
                    <a:pt x="378" y="544"/>
                  </a:lnTo>
                  <a:lnTo>
                    <a:pt x="378" y="544"/>
                  </a:lnTo>
                  <a:lnTo>
                    <a:pt x="378" y="542"/>
                  </a:lnTo>
                  <a:lnTo>
                    <a:pt x="378" y="540"/>
                  </a:lnTo>
                  <a:lnTo>
                    <a:pt x="376" y="540"/>
                  </a:lnTo>
                  <a:lnTo>
                    <a:pt x="374" y="538"/>
                  </a:lnTo>
                  <a:lnTo>
                    <a:pt x="372" y="536"/>
                  </a:lnTo>
                  <a:lnTo>
                    <a:pt x="372" y="534"/>
                  </a:lnTo>
                  <a:lnTo>
                    <a:pt x="372" y="532"/>
                  </a:lnTo>
                  <a:lnTo>
                    <a:pt x="372" y="530"/>
                  </a:lnTo>
                  <a:lnTo>
                    <a:pt x="372" y="528"/>
                  </a:lnTo>
                  <a:lnTo>
                    <a:pt x="372" y="528"/>
                  </a:lnTo>
                  <a:lnTo>
                    <a:pt x="372" y="526"/>
                  </a:lnTo>
                  <a:lnTo>
                    <a:pt x="372" y="524"/>
                  </a:lnTo>
                  <a:lnTo>
                    <a:pt x="372" y="522"/>
                  </a:lnTo>
                  <a:lnTo>
                    <a:pt x="374" y="522"/>
                  </a:lnTo>
                  <a:lnTo>
                    <a:pt x="374" y="520"/>
                  </a:lnTo>
                  <a:lnTo>
                    <a:pt x="374" y="518"/>
                  </a:lnTo>
                  <a:lnTo>
                    <a:pt x="374" y="516"/>
                  </a:lnTo>
                  <a:lnTo>
                    <a:pt x="374" y="514"/>
                  </a:lnTo>
                  <a:lnTo>
                    <a:pt x="374" y="512"/>
                  </a:lnTo>
                  <a:lnTo>
                    <a:pt x="376" y="512"/>
                  </a:lnTo>
                  <a:lnTo>
                    <a:pt x="376" y="512"/>
                  </a:lnTo>
                  <a:lnTo>
                    <a:pt x="376" y="512"/>
                  </a:lnTo>
                  <a:lnTo>
                    <a:pt x="378" y="512"/>
                  </a:lnTo>
                  <a:lnTo>
                    <a:pt x="378" y="512"/>
                  </a:lnTo>
                  <a:lnTo>
                    <a:pt x="380" y="512"/>
                  </a:lnTo>
                  <a:lnTo>
                    <a:pt x="380" y="510"/>
                  </a:lnTo>
                  <a:lnTo>
                    <a:pt x="380" y="510"/>
                  </a:lnTo>
                  <a:lnTo>
                    <a:pt x="382" y="510"/>
                  </a:lnTo>
                  <a:lnTo>
                    <a:pt x="382" y="508"/>
                  </a:lnTo>
                  <a:lnTo>
                    <a:pt x="382" y="508"/>
                  </a:lnTo>
                  <a:lnTo>
                    <a:pt x="382" y="508"/>
                  </a:lnTo>
                  <a:lnTo>
                    <a:pt x="384" y="506"/>
                  </a:lnTo>
                  <a:lnTo>
                    <a:pt x="384" y="506"/>
                  </a:lnTo>
                  <a:lnTo>
                    <a:pt x="382" y="504"/>
                  </a:lnTo>
                  <a:lnTo>
                    <a:pt x="382" y="502"/>
                  </a:lnTo>
                  <a:lnTo>
                    <a:pt x="382" y="502"/>
                  </a:lnTo>
                  <a:lnTo>
                    <a:pt x="382" y="502"/>
                  </a:lnTo>
                  <a:lnTo>
                    <a:pt x="380" y="500"/>
                  </a:lnTo>
                  <a:lnTo>
                    <a:pt x="380" y="500"/>
                  </a:lnTo>
                  <a:lnTo>
                    <a:pt x="380" y="500"/>
                  </a:lnTo>
                  <a:lnTo>
                    <a:pt x="378" y="498"/>
                  </a:lnTo>
                  <a:lnTo>
                    <a:pt x="378" y="498"/>
                  </a:lnTo>
                  <a:lnTo>
                    <a:pt x="376" y="498"/>
                  </a:lnTo>
                  <a:lnTo>
                    <a:pt x="372" y="498"/>
                  </a:lnTo>
                  <a:lnTo>
                    <a:pt x="368" y="498"/>
                  </a:lnTo>
                  <a:lnTo>
                    <a:pt x="366" y="496"/>
                  </a:lnTo>
                  <a:lnTo>
                    <a:pt x="362" y="496"/>
                  </a:lnTo>
                  <a:lnTo>
                    <a:pt x="360" y="496"/>
                  </a:lnTo>
                  <a:lnTo>
                    <a:pt x="360" y="496"/>
                  </a:lnTo>
                  <a:lnTo>
                    <a:pt x="358" y="496"/>
                  </a:lnTo>
                  <a:lnTo>
                    <a:pt x="358" y="496"/>
                  </a:lnTo>
                  <a:lnTo>
                    <a:pt x="358" y="496"/>
                  </a:lnTo>
                  <a:lnTo>
                    <a:pt x="356" y="496"/>
                  </a:lnTo>
                  <a:lnTo>
                    <a:pt x="356" y="496"/>
                  </a:lnTo>
                  <a:lnTo>
                    <a:pt x="356" y="496"/>
                  </a:lnTo>
                  <a:lnTo>
                    <a:pt x="356" y="498"/>
                  </a:lnTo>
                  <a:lnTo>
                    <a:pt x="356" y="498"/>
                  </a:lnTo>
                  <a:lnTo>
                    <a:pt x="354" y="500"/>
                  </a:lnTo>
                  <a:lnTo>
                    <a:pt x="354" y="500"/>
                  </a:lnTo>
                  <a:lnTo>
                    <a:pt x="354" y="500"/>
                  </a:lnTo>
                  <a:lnTo>
                    <a:pt x="354" y="502"/>
                  </a:lnTo>
                  <a:lnTo>
                    <a:pt x="354" y="502"/>
                  </a:lnTo>
                  <a:lnTo>
                    <a:pt x="354" y="502"/>
                  </a:lnTo>
                  <a:lnTo>
                    <a:pt x="354" y="502"/>
                  </a:lnTo>
                  <a:lnTo>
                    <a:pt x="356" y="504"/>
                  </a:lnTo>
                  <a:lnTo>
                    <a:pt x="356" y="504"/>
                  </a:lnTo>
                  <a:lnTo>
                    <a:pt x="352" y="504"/>
                  </a:lnTo>
                  <a:lnTo>
                    <a:pt x="346" y="504"/>
                  </a:lnTo>
                  <a:lnTo>
                    <a:pt x="344" y="504"/>
                  </a:lnTo>
                  <a:lnTo>
                    <a:pt x="340" y="504"/>
                  </a:lnTo>
                  <a:lnTo>
                    <a:pt x="338" y="504"/>
                  </a:lnTo>
                  <a:lnTo>
                    <a:pt x="336" y="504"/>
                  </a:lnTo>
                  <a:lnTo>
                    <a:pt x="334" y="504"/>
                  </a:lnTo>
                  <a:lnTo>
                    <a:pt x="334" y="504"/>
                  </a:lnTo>
                  <a:lnTo>
                    <a:pt x="332" y="504"/>
                  </a:lnTo>
                  <a:lnTo>
                    <a:pt x="330" y="504"/>
                  </a:lnTo>
                  <a:lnTo>
                    <a:pt x="330" y="504"/>
                  </a:lnTo>
                  <a:lnTo>
                    <a:pt x="330" y="506"/>
                  </a:lnTo>
                  <a:lnTo>
                    <a:pt x="328" y="506"/>
                  </a:lnTo>
                  <a:lnTo>
                    <a:pt x="328" y="506"/>
                  </a:lnTo>
                  <a:lnTo>
                    <a:pt x="328" y="506"/>
                  </a:lnTo>
                  <a:lnTo>
                    <a:pt x="328" y="508"/>
                  </a:lnTo>
                  <a:lnTo>
                    <a:pt x="328" y="508"/>
                  </a:lnTo>
                  <a:lnTo>
                    <a:pt x="328" y="508"/>
                  </a:lnTo>
                  <a:lnTo>
                    <a:pt x="326" y="510"/>
                  </a:lnTo>
                  <a:lnTo>
                    <a:pt x="326" y="512"/>
                  </a:lnTo>
                  <a:lnTo>
                    <a:pt x="324" y="514"/>
                  </a:lnTo>
                  <a:lnTo>
                    <a:pt x="322" y="516"/>
                  </a:lnTo>
                  <a:lnTo>
                    <a:pt x="320" y="516"/>
                  </a:lnTo>
                  <a:lnTo>
                    <a:pt x="320" y="516"/>
                  </a:lnTo>
                  <a:lnTo>
                    <a:pt x="320" y="516"/>
                  </a:lnTo>
                  <a:lnTo>
                    <a:pt x="318" y="518"/>
                  </a:lnTo>
                  <a:lnTo>
                    <a:pt x="318" y="518"/>
                  </a:lnTo>
                  <a:lnTo>
                    <a:pt x="318" y="518"/>
                  </a:lnTo>
                  <a:lnTo>
                    <a:pt x="316" y="518"/>
                  </a:lnTo>
                  <a:lnTo>
                    <a:pt x="316" y="518"/>
                  </a:lnTo>
                  <a:lnTo>
                    <a:pt x="316" y="520"/>
                  </a:lnTo>
                  <a:lnTo>
                    <a:pt x="314" y="520"/>
                  </a:lnTo>
                  <a:lnTo>
                    <a:pt x="314" y="520"/>
                  </a:lnTo>
                  <a:lnTo>
                    <a:pt x="314" y="522"/>
                  </a:lnTo>
                  <a:lnTo>
                    <a:pt x="312" y="524"/>
                  </a:lnTo>
                  <a:lnTo>
                    <a:pt x="312" y="524"/>
                  </a:lnTo>
                  <a:lnTo>
                    <a:pt x="312" y="524"/>
                  </a:lnTo>
                  <a:lnTo>
                    <a:pt x="312" y="526"/>
                  </a:lnTo>
                  <a:lnTo>
                    <a:pt x="312" y="526"/>
                  </a:lnTo>
                  <a:lnTo>
                    <a:pt x="312" y="526"/>
                  </a:lnTo>
                  <a:lnTo>
                    <a:pt x="312" y="530"/>
                  </a:lnTo>
                  <a:lnTo>
                    <a:pt x="312" y="534"/>
                  </a:lnTo>
                  <a:lnTo>
                    <a:pt x="312" y="538"/>
                  </a:lnTo>
                  <a:lnTo>
                    <a:pt x="312" y="540"/>
                  </a:lnTo>
                  <a:lnTo>
                    <a:pt x="310" y="542"/>
                  </a:lnTo>
                  <a:lnTo>
                    <a:pt x="310" y="544"/>
                  </a:lnTo>
                  <a:lnTo>
                    <a:pt x="308" y="544"/>
                  </a:lnTo>
                  <a:lnTo>
                    <a:pt x="306" y="546"/>
                  </a:lnTo>
                  <a:lnTo>
                    <a:pt x="306" y="546"/>
                  </a:lnTo>
                  <a:lnTo>
                    <a:pt x="304" y="546"/>
                  </a:lnTo>
                  <a:lnTo>
                    <a:pt x="302" y="546"/>
                  </a:lnTo>
                  <a:lnTo>
                    <a:pt x="302" y="546"/>
                  </a:lnTo>
                  <a:lnTo>
                    <a:pt x="302" y="546"/>
                  </a:lnTo>
                  <a:lnTo>
                    <a:pt x="300" y="548"/>
                  </a:lnTo>
                  <a:lnTo>
                    <a:pt x="300" y="548"/>
                  </a:lnTo>
                  <a:lnTo>
                    <a:pt x="300" y="548"/>
                  </a:lnTo>
                  <a:lnTo>
                    <a:pt x="298" y="550"/>
                  </a:lnTo>
                  <a:lnTo>
                    <a:pt x="298" y="550"/>
                  </a:lnTo>
                  <a:lnTo>
                    <a:pt x="298" y="552"/>
                  </a:lnTo>
                  <a:lnTo>
                    <a:pt x="298" y="554"/>
                  </a:lnTo>
                  <a:lnTo>
                    <a:pt x="298" y="554"/>
                  </a:lnTo>
                  <a:lnTo>
                    <a:pt x="298" y="554"/>
                  </a:lnTo>
                  <a:lnTo>
                    <a:pt x="298" y="556"/>
                  </a:lnTo>
                  <a:lnTo>
                    <a:pt x="298" y="560"/>
                  </a:lnTo>
                  <a:lnTo>
                    <a:pt x="298" y="560"/>
                  </a:lnTo>
                  <a:lnTo>
                    <a:pt x="298" y="560"/>
                  </a:lnTo>
                  <a:lnTo>
                    <a:pt x="296" y="560"/>
                  </a:lnTo>
                  <a:lnTo>
                    <a:pt x="290" y="564"/>
                  </a:lnTo>
                  <a:lnTo>
                    <a:pt x="286" y="566"/>
                  </a:lnTo>
                  <a:lnTo>
                    <a:pt x="284" y="568"/>
                  </a:lnTo>
                  <a:lnTo>
                    <a:pt x="282" y="568"/>
                  </a:lnTo>
                  <a:lnTo>
                    <a:pt x="278" y="568"/>
                  </a:lnTo>
                  <a:lnTo>
                    <a:pt x="278" y="568"/>
                  </a:lnTo>
                  <a:lnTo>
                    <a:pt x="278" y="568"/>
                  </a:lnTo>
                  <a:lnTo>
                    <a:pt x="274" y="570"/>
                  </a:lnTo>
                  <a:lnTo>
                    <a:pt x="274" y="570"/>
                  </a:lnTo>
                  <a:lnTo>
                    <a:pt x="274" y="572"/>
                  </a:lnTo>
                  <a:lnTo>
                    <a:pt x="272" y="574"/>
                  </a:lnTo>
                  <a:lnTo>
                    <a:pt x="272" y="574"/>
                  </a:lnTo>
                  <a:lnTo>
                    <a:pt x="272" y="574"/>
                  </a:lnTo>
                  <a:lnTo>
                    <a:pt x="272" y="576"/>
                  </a:lnTo>
                  <a:lnTo>
                    <a:pt x="272" y="576"/>
                  </a:lnTo>
                  <a:lnTo>
                    <a:pt x="272" y="578"/>
                  </a:lnTo>
                  <a:lnTo>
                    <a:pt x="272" y="580"/>
                  </a:lnTo>
                  <a:lnTo>
                    <a:pt x="272" y="584"/>
                  </a:lnTo>
                  <a:close/>
                  <a:moveTo>
                    <a:pt x="348" y="620"/>
                  </a:moveTo>
                  <a:lnTo>
                    <a:pt x="350" y="618"/>
                  </a:lnTo>
                  <a:lnTo>
                    <a:pt x="352" y="616"/>
                  </a:lnTo>
                  <a:lnTo>
                    <a:pt x="352" y="616"/>
                  </a:lnTo>
                  <a:lnTo>
                    <a:pt x="352" y="616"/>
                  </a:lnTo>
                  <a:lnTo>
                    <a:pt x="354" y="612"/>
                  </a:lnTo>
                  <a:lnTo>
                    <a:pt x="354" y="612"/>
                  </a:lnTo>
                  <a:lnTo>
                    <a:pt x="354" y="610"/>
                  </a:lnTo>
                  <a:lnTo>
                    <a:pt x="356" y="606"/>
                  </a:lnTo>
                  <a:lnTo>
                    <a:pt x="356" y="606"/>
                  </a:lnTo>
                  <a:lnTo>
                    <a:pt x="356" y="606"/>
                  </a:lnTo>
                  <a:lnTo>
                    <a:pt x="356" y="602"/>
                  </a:lnTo>
                  <a:lnTo>
                    <a:pt x="356" y="602"/>
                  </a:lnTo>
                  <a:lnTo>
                    <a:pt x="356" y="600"/>
                  </a:lnTo>
                  <a:lnTo>
                    <a:pt x="354" y="598"/>
                  </a:lnTo>
                  <a:lnTo>
                    <a:pt x="354" y="598"/>
                  </a:lnTo>
                  <a:lnTo>
                    <a:pt x="354" y="598"/>
                  </a:lnTo>
                  <a:lnTo>
                    <a:pt x="354" y="596"/>
                  </a:lnTo>
                  <a:lnTo>
                    <a:pt x="354" y="596"/>
                  </a:lnTo>
                  <a:lnTo>
                    <a:pt x="354" y="596"/>
                  </a:lnTo>
                  <a:lnTo>
                    <a:pt x="352" y="594"/>
                  </a:lnTo>
                  <a:lnTo>
                    <a:pt x="352" y="594"/>
                  </a:lnTo>
                  <a:lnTo>
                    <a:pt x="350" y="594"/>
                  </a:lnTo>
                  <a:lnTo>
                    <a:pt x="350" y="594"/>
                  </a:lnTo>
                  <a:lnTo>
                    <a:pt x="350" y="594"/>
                  </a:lnTo>
                  <a:lnTo>
                    <a:pt x="348" y="594"/>
                  </a:lnTo>
                  <a:lnTo>
                    <a:pt x="346" y="594"/>
                  </a:lnTo>
                  <a:lnTo>
                    <a:pt x="346" y="594"/>
                  </a:lnTo>
                  <a:lnTo>
                    <a:pt x="346" y="594"/>
                  </a:lnTo>
                  <a:lnTo>
                    <a:pt x="344" y="594"/>
                  </a:lnTo>
                  <a:lnTo>
                    <a:pt x="342" y="596"/>
                  </a:lnTo>
                  <a:lnTo>
                    <a:pt x="342" y="596"/>
                  </a:lnTo>
                  <a:lnTo>
                    <a:pt x="340" y="596"/>
                  </a:lnTo>
                  <a:lnTo>
                    <a:pt x="338" y="596"/>
                  </a:lnTo>
                  <a:lnTo>
                    <a:pt x="338" y="596"/>
                  </a:lnTo>
                  <a:lnTo>
                    <a:pt x="338" y="596"/>
                  </a:lnTo>
                  <a:lnTo>
                    <a:pt x="336" y="598"/>
                  </a:lnTo>
                  <a:lnTo>
                    <a:pt x="336" y="598"/>
                  </a:lnTo>
                  <a:lnTo>
                    <a:pt x="336" y="598"/>
                  </a:lnTo>
                  <a:lnTo>
                    <a:pt x="336" y="598"/>
                  </a:lnTo>
                  <a:lnTo>
                    <a:pt x="336" y="598"/>
                  </a:lnTo>
                  <a:lnTo>
                    <a:pt x="334" y="600"/>
                  </a:lnTo>
                  <a:lnTo>
                    <a:pt x="332" y="602"/>
                  </a:lnTo>
                  <a:lnTo>
                    <a:pt x="332" y="604"/>
                  </a:lnTo>
                  <a:lnTo>
                    <a:pt x="332" y="604"/>
                  </a:lnTo>
                  <a:lnTo>
                    <a:pt x="332" y="604"/>
                  </a:lnTo>
                  <a:lnTo>
                    <a:pt x="330" y="604"/>
                  </a:lnTo>
                  <a:lnTo>
                    <a:pt x="330" y="606"/>
                  </a:lnTo>
                  <a:lnTo>
                    <a:pt x="330" y="606"/>
                  </a:lnTo>
                  <a:lnTo>
                    <a:pt x="328" y="606"/>
                  </a:lnTo>
                  <a:lnTo>
                    <a:pt x="328" y="606"/>
                  </a:lnTo>
                  <a:lnTo>
                    <a:pt x="328" y="606"/>
                  </a:lnTo>
                  <a:lnTo>
                    <a:pt x="328" y="608"/>
                  </a:lnTo>
                  <a:lnTo>
                    <a:pt x="328" y="610"/>
                  </a:lnTo>
                  <a:lnTo>
                    <a:pt x="326" y="614"/>
                  </a:lnTo>
                  <a:lnTo>
                    <a:pt x="326" y="614"/>
                  </a:lnTo>
                  <a:lnTo>
                    <a:pt x="326" y="614"/>
                  </a:lnTo>
                  <a:lnTo>
                    <a:pt x="326" y="616"/>
                  </a:lnTo>
                  <a:lnTo>
                    <a:pt x="326" y="616"/>
                  </a:lnTo>
                  <a:lnTo>
                    <a:pt x="326" y="616"/>
                  </a:lnTo>
                  <a:lnTo>
                    <a:pt x="328" y="618"/>
                  </a:lnTo>
                  <a:lnTo>
                    <a:pt x="328" y="618"/>
                  </a:lnTo>
                  <a:lnTo>
                    <a:pt x="328" y="618"/>
                  </a:lnTo>
                  <a:lnTo>
                    <a:pt x="328" y="620"/>
                  </a:lnTo>
                  <a:lnTo>
                    <a:pt x="330" y="620"/>
                  </a:lnTo>
                  <a:lnTo>
                    <a:pt x="330" y="620"/>
                  </a:lnTo>
                  <a:lnTo>
                    <a:pt x="330" y="620"/>
                  </a:lnTo>
                  <a:lnTo>
                    <a:pt x="332" y="622"/>
                  </a:lnTo>
                  <a:lnTo>
                    <a:pt x="334" y="622"/>
                  </a:lnTo>
                  <a:lnTo>
                    <a:pt x="338" y="624"/>
                  </a:lnTo>
                  <a:lnTo>
                    <a:pt x="340" y="624"/>
                  </a:lnTo>
                  <a:lnTo>
                    <a:pt x="340" y="624"/>
                  </a:lnTo>
                  <a:lnTo>
                    <a:pt x="342" y="624"/>
                  </a:lnTo>
                  <a:lnTo>
                    <a:pt x="342" y="624"/>
                  </a:lnTo>
                  <a:lnTo>
                    <a:pt x="344" y="624"/>
                  </a:lnTo>
                  <a:lnTo>
                    <a:pt x="346" y="622"/>
                  </a:lnTo>
                  <a:lnTo>
                    <a:pt x="346" y="622"/>
                  </a:lnTo>
                  <a:lnTo>
                    <a:pt x="346" y="622"/>
                  </a:lnTo>
                  <a:lnTo>
                    <a:pt x="348" y="622"/>
                  </a:lnTo>
                  <a:lnTo>
                    <a:pt x="348" y="622"/>
                  </a:lnTo>
                  <a:lnTo>
                    <a:pt x="348" y="620"/>
                  </a:lnTo>
                  <a:lnTo>
                    <a:pt x="348" y="620"/>
                  </a:lnTo>
                  <a:close/>
                  <a:moveTo>
                    <a:pt x="388" y="470"/>
                  </a:moveTo>
                  <a:lnTo>
                    <a:pt x="390" y="472"/>
                  </a:lnTo>
                  <a:lnTo>
                    <a:pt x="390" y="474"/>
                  </a:lnTo>
                  <a:lnTo>
                    <a:pt x="392" y="476"/>
                  </a:lnTo>
                  <a:lnTo>
                    <a:pt x="392" y="476"/>
                  </a:lnTo>
                  <a:lnTo>
                    <a:pt x="392" y="478"/>
                  </a:lnTo>
                  <a:lnTo>
                    <a:pt x="394" y="478"/>
                  </a:lnTo>
                  <a:lnTo>
                    <a:pt x="394" y="478"/>
                  </a:lnTo>
                  <a:lnTo>
                    <a:pt x="394" y="480"/>
                  </a:lnTo>
                  <a:lnTo>
                    <a:pt x="396" y="480"/>
                  </a:lnTo>
                  <a:lnTo>
                    <a:pt x="396" y="480"/>
                  </a:lnTo>
                  <a:lnTo>
                    <a:pt x="396" y="482"/>
                  </a:lnTo>
                  <a:lnTo>
                    <a:pt x="400" y="482"/>
                  </a:lnTo>
                  <a:lnTo>
                    <a:pt x="400" y="482"/>
                  </a:lnTo>
                  <a:lnTo>
                    <a:pt x="400" y="482"/>
                  </a:lnTo>
                  <a:lnTo>
                    <a:pt x="404" y="484"/>
                  </a:lnTo>
                  <a:lnTo>
                    <a:pt x="404" y="484"/>
                  </a:lnTo>
                  <a:lnTo>
                    <a:pt x="406" y="482"/>
                  </a:lnTo>
                  <a:lnTo>
                    <a:pt x="408" y="478"/>
                  </a:lnTo>
                  <a:lnTo>
                    <a:pt x="408" y="478"/>
                  </a:lnTo>
                  <a:lnTo>
                    <a:pt x="408" y="478"/>
                  </a:lnTo>
                  <a:lnTo>
                    <a:pt x="410" y="474"/>
                  </a:lnTo>
                  <a:lnTo>
                    <a:pt x="410" y="474"/>
                  </a:lnTo>
                  <a:lnTo>
                    <a:pt x="410" y="474"/>
                  </a:lnTo>
                  <a:lnTo>
                    <a:pt x="408" y="470"/>
                  </a:lnTo>
                  <a:lnTo>
                    <a:pt x="408" y="470"/>
                  </a:lnTo>
                  <a:lnTo>
                    <a:pt x="408" y="470"/>
                  </a:lnTo>
                  <a:lnTo>
                    <a:pt x="408" y="468"/>
                  </a:lnTo>
                  <a:lnTo>
                    <a:pt x="408" y="468"/>
                  </a:lnTo>
                  <a:lnTo>
                    <a:pt x="406" y="466"/>
                  </a:lnTo>
                  <a:lnTo>
                    <a:pt x="404" y="464"/>
                  </a:lnTo>
                  <a:lnTo>
                    <a:pt x="404" y="464"/>
                  </a:lnTo>
                  <a:lnTo>
                    <a:pt x="404" y="464"/>
                  </a:lnTo>
                  <a:lnTo>
                    <a:pt x="402" y="462"/>
                  </a:lnTo>
                  <a:lnTo>
                    <a:pt x="402" y="462"/>
                  </a:lnTo>
                  <a:lnTo>
                    <a:pt x="402" y="462"/>
                  </a:lnTo>
                  <a:lnTo>
                    <a:pt x="398" y="460"/>
                  </a:lnTo>
                  <a:lnTo>
                    <a:pt x="398" y="460"/>
                  </a:lnTo>
                  <a:lnTo>
                    <a:pt x="398" y="460"/>
                  </a:lnTo>
                  <a:lnTo>
                    <a:pt x="394" y="458"/>
                  </a:lnTo>
                  <a:lnTo>
                    <a:pt x="394" y="458"/>
                  </a:lnTo>
                  <a:lnTo>
                    <a:pt x="392" y="460"/>
                  </a:lnTo>
                  <a:lnTo>
                    <a:pt x="390" y="460"/>
                  </a:lnTo>
                  <a:lnTo>
                    <a:pt x="390" y="462"/>
                  </a:lnTo>
                  <a:lnTo>
                    <a:pt x="388" y="464"/>
                  </a:lnTo>
                  <a:lnTo>
                    <a:pt x="388" y="464"/>
                  </a:lnTo>
                  <a:lnTo>
                    <a:pt x="388" y="464"/>
                  </a:lnTo>
                  <a:lnTo>
                    <a:pt x="388" y="464"/>
                  </a:lnTo>
                  <a:lnTo>
                    <a:pt x="388" y="464"/>
                  </a:lnTo>
                  <a:lnTo>
                    <a:pt x="386" y="464"/>
                  </a:lnTo>
                  <a:lnTo>
                    <a:pt x="384" y="466"/>
                  </a:lnTo>
                  <a:lnTo>
                    <a:pt x="384" y="466"/>
                  </a:lnTo>
                  <a:lnTo>
                    <a:pt x="384" y="466"/>
                  </a:lnTo>
                  <a:lnTo>
                    <a:pt x="384" y="466"/>
                  </a:lnTo>
                  <a:lnTo>
                    <a:pt x="384" y="468"/>
                  </a:lnTo>
                  <a:lnTo>
                    <a:pt x="384" y="470"/>
                  </a:lnTo>
                  <a:lnTo>
                    <a:pt x="384" y="470"/>
                  </a:lnTo>
                  <a:lnTo>
                    <a:pt x="386" y="472"/>
                  </a:lnTo>
                  <a:lnTo>
                    <a:pt x="388" y="470"/>
                  </a:lnTo>
                  <a:lnTo>
                    <a:pt x="388" y="470"/>
                  </a:lnTo>
                  <a:close/>
                  <a:moveTo>
                    <a:pt x="404" y="442"/>
                  </a:moveTo>
                  <a:lnTo>
                    <a:pt x="404" y="442"/>
                  </a:lnTo>
                  <a:lnTo>
                    <a:pt x="404" y="442"/>
                  </a:lnTo>
                  <a:lnTo>
                    <a:pt x="404" y="444"/>
                  </a:lnTo>
                  <a:lnTo>
                    <a:pt x="406" y="444"/>
                  </a:lnTo>
                  <a:lnTo>
                    <a:pt x="406" y="444"/>
                  </a:lnTo>
                  <a:lnTo>
                    <a:pt x="408" y="444"/>
                  </a:lnTo>
                  <a:lnTo>
                    <a:pt x="416" y="444"/>
                  </a:lnTo>
                  <a:lnTo>
                    <a:pt x="426" y="444"/>
                  </a:lnTo>
                  <a:lnTo>
                    <a:pt x="442" y="444"/>
                  </a:lnTo>
                  <a:lnTo>
                    <a:pt x="450" y="444"/>
                  </a:lnTo>
                  <a:lnTo>
                    <a:pt x="460" y="444"/>
                  </a:lnTo>
                  <a:lnTo>
                    <a:pt x="468" y="444"/>
                  </a:lnTo>
                  <a:lnTo>
                    <a:pt x="476" y="442"/>
                  </a:lnTo>
                  <a:lnTo>
                    <a:pt x="476" y="442"/>
                  </a:lnTo>
                  <a:lnTo>
                    <a:pt x="478" y="442"/>
                  </a:lnTo>
                  <a:lnTo>
                    <a:pt x="480" y="440"/>
                  </a:lnTo>
                  <a:lnTo>
                    <a:pt x="480" y="440"/>
                  </a:lnTo>
                  <a:lnTo>
                    <a:pt x="480" y="440"/>
                  </a:lnTo>
                  <a:lnTo>
                    <a:pt x="482" y="438"/>
                  </a:lnTo>
                  <a:lnTo>
                    <a:pt x="482" y="438"/>
                  </a:lnTo>
                  <a:lnTo>
                    <a:pt x="482" y="436"/>
                  </a:lnTo>
                  <a:lnTo>
                    <a:pt x="482" y="436"/>
                  </a:lnTo>
                  <a:lnTo>
                    <a:pt x="482" y="436"/>
                  </a:lnTo>
                  <a:lnTo>
                    <a:pt x="482" y="434"/>
                  </a:lnTo>
                  <a:lnTo>
                    <a:pt x="480" y="432"/>
                  </a:lnTo>
                  <a:lnTo>
                    <a:pt x="480" y="432"/>
                  </a:lnTo>
                  <a:lnTo>
                    <a:pt x="480" y="432"/>
                  </a:lnTo>
                  <a:lnTo>
                    <a:pt x="480" y="430"/>
                  </a:lnTo>
                  <a:lnTo>
                    <a:pt x="478" y="428"/>
                  </a:lnTo>
                  <a:lnTo>
                    <a:pt x="472" y="422"/>
                  </a:lnTo>
                  <a:lnTo>
                    <a:pt x="468" y="418"/>
                  </a:lnTo>
                  <a:lnTo>
                    <a:pt x="462" y="414"/>
                  </a:lnTo>
                  <a:lnTo>
                    <a:pt x="462" y="412"/>
                  </a:lnTo>
                  <a:lnTo>
                    <a:pt x="460" y="412"/>
                  </a:lnTo>
                  <a:lnTo>
                    <a:pt x="458" y="410"/>
                  </a:lnTo>
                  <a:lnTo>
                    <a:pt x="458" y="410"/>
                  </a:lnTo>
                  <a:lnTo>
                    <a:pt x="458" y="410"/>
                  </a:lnTo>
                  <a:lnTo>
                    <a:pt x="456" y="410"/>
                  </a:lnTo>
                  <a:lnTo>
                    <a:pt x="452" y="410"/>
                  </a:lnTo>
                  <a:lnTo>
                    <a:pt x="448" y="412"/>
                  </a:lnTo>
                  <a:lnTo>
                    <a:pt x="442" y="414"/>
                  </a:lnTo>
                  <a:lnTo>
                    <a:pt x="436" y="416"/>
                  </a:lnTo>
                  <a:lnTo>
                    <a:pt x="432" y="418"/>
                  </a:lnTo>
                  <a:lnTo>
                    <a:pt x="428" y="418"/>
                  </a:lnTo>
                  <a:lnTo>
                    <a:pt x="428" y="418"/>
                  </a:lnTo>
                  <a:lnTo>
                    <a:pt x="428" y="420"/>
                  </a:lnTo>
                  <a:lnTo>
                    <a:pt x="424" y="422"/>
                  </a:lnTo>
                  <a:lnTo>
                    <a:pt x="420" y="426"/>
                  </a:lnTo>
                  <a:lnTo>
                    <a:pt x="416" y="430"/>
                  </a:lnTo>
                  <a:lnTo>
                    <a:pt x="412" y="434"/>
                  </a:lnTo>
                  <a:lnTo>
                    <a:pt x="412" y="434"/>
                  </a:lnTo>
                  <a:lnTo>
                    <a:pt x="412" y="434"/>
                  </a:lnTo>
                  <a:lnTo>
                    <a:pt x="410" y="434"/>
                  </a:lnTo>
                  <a:lnTo>
                    <a:pt x="408" y="434"/>
                  </a:lnTo>
                  <a:lnTo>
                    <a:pt x="408" y="434"/>
                  </a:lnTo>
                  <a:lnTo>
                    <a:pt x="406" y="436"/>
                  </a:lnTo>
                  <a:lnTo>
                    <a:pt x="406" y="436"/>
                  </a:lnTo>
                  <a:lnTo>
                    <a:pt x="406" y="436"/>
                  </a:lnTo>
                  <a:lnTo>
                    <a:pt x="404" y="436"/>
                  </a:lnTo>
                  <a:lnTo>
                    <a:pt x="404" y="438"/>
                  </a:lnTo>
                  <a:lnTo>
                    <a:pt x="404" y="438"/>
                  </a:lnTo>
                  <a:lnTo>
                    <a:pt x="402" y="438"/>
                  </a:lnTo>
                  <a:lnTo>
                    <a:pt x="402" y="438"/>
                  </a:lnTo>
                  <a:lnTo>
                    <a:pt x="402" y="438"/>
                  </a:lnTo>
                  <a:lnTo>
                    <a:pt x="402" y="442"/>
                  </a:lnTo>
                  <a:lnTo>
                    <a:pt x="404" y="442"/>
                  </a:lnTo>
                  <a:close/>
                  <a:moveTo>
                    <a:pt x="466" y="472"/>
                  </a:moveTo>
                  <a:lnTo>
                    <a:pt x="466" y="472"/>
                  </a:lnTo>
                  <a:lnTo>
                    <a:pt x="468" y="470"/>
                  </a:lnTo>
                  <a:lnTo>
                    <a:pt x="468" y="468"/>
                  </a:lnTo>
                  <a:lnTo>
                    <a:pt x="468" y="466"/>
                  </a:lnTo>
                  <a:lnTo>
                    <a:pt x="466" y="464"/>
                  </a:lnTo>
                  <a:lnTo>
                    <a:pt x="466" y="464"/>
                  </a:lnTo>
                  <a:lnTo>
                    <a:pt x="466" y="462"/>
                  </a:lnTo>
                  <a:lnTo>
                    <a:pt x="466" y="462"/>
                  </a:lnTo>
                  <a:lnTo>
                    <a:pt x="466" y="462"/>
                  </a:lnTo>
                  <a:lnTo>
                    <a:pt x="466" y="460"/>
                  </a:lnTo>
                  <a:lnTo>
                    <a:pt x="464" y="460"/>
                  </a:lnTo>
                  <a:lnTo>
                    <a:pt x="464" y="460"/>
                  </a:lnTo>
                  <a:lnTo>
                    <a:pt x="464" y="460"/>
                  </a:lnTo>
                  <a:lnTo>
                    <a:pt x="462" y="458"/>
                  </a:lnTo>
                  <a:lnTo>
                    <a:pt x="462" y="458"/>
                  </a:lnTo>
                  <a:lnTo>
                    <a:pt x="462" y="458"/>
                  </a:lnTo>
                  <a:lnTo>
                    <a:pt x="460" y="458"/>
                  </a:lnTo>
                  <a:lnTo>
                    <a:pt x="460" y="458"/>
                  </a:lnTo>
                  <a:lnTo>
                    <a:pt x="458" y="458"/>
                  </a:lnTo>
                  <a:lnTo>
                    <a:pt x="456" y="456"/>
                  </a:lnTo>
                  <a:lnTo>
                    <a:pt x="454" y="456"/>
                  </a:lnTo>
                  <a:lnTo>
                    <a:pt x="454" y="456"/>
                  </a:lnTo>
                  <a:lnTo>
                    <a:pt x="454" y="456"/>
                  </a:lnTo>
                  <a:lnTo>
                    <a:pt x="448" y="456"/>
                  </a:lnTo>
                  <a:lnTo>
                    <a:pt x="446" y="456"/>
                  </a:lnTo>
                  <a:lnTo>
                    <a:pt x="442" y="456"/>
                  </a:lnTo>
                  <a:lnTo>
                    <a:pt x="440" y="458"/>
                  </a:lnTo>
                  <a:lnTo>
                    <a:pt x="434" y="458"/>
                  </a:lnTo>
                  <a:lnTo>
                    <a:pt x="430" y="458"/>
                  </a:lnTo>
                  <a:lnTo>
                    <a:pt x="426" y="458"/>
                  </a:lnTo>
                  <a:lnTo>
                    <a:pt x="422" y="458"/>
                  </a:lnTo>
                  <a:lnTo>
                    <a:pt x="416" y="460"/>
                  </a:lnTo>
                  <a:lnTo>
                    <a:pt x="410" y="460"/>
                  </a:lnTo>
                  <a:lnTo>
                    <a:pt x="410" y="460"/>
                  </a:lnTo>
                  <a:lnTo>
                    <a:pt x="408" y="462"/>
                  </a:lnTo>
                  <a:lnTo>
                    <a:pt x="408" y="462"/>
                  </a:lnTo>
                  <a:lnTo>
                    <a:pt x="408" y="464"/>
                  </a:lnTo>
                  <a:lnTo>
                    <a:pt x="410" y="466"/>
                  </a:lnTo>
                  <a:lnTo>
                    <a:pt x="410" y="468"/>
                  </a:lnTo>
                  <a:lnTo>
                    <a:pt x="412" y="472"/>
                  </a:lnTo>
                  <a:lnTo>
                    <a:pt x="412" y="472"/>
                  </a:lnTo>
                  <a:lnTo>
                    <a:pt x="412" y="472"/>
                  </a:lnTo>
                  <a:lnTo>
                    <a:pt x="412" y="474"/>
                  </a:lnTo>
                  <a:lnTo>
                    <a:pt x="412" y="474"/>
                  </a:lnTo>
                  <a:lnTo>
                    <a:pt x="412" y="474"/>
                  </a:lnTo>
                  <a:lnTo>
                    <a:pt x="414" y="476"/>
                  </a:lnTo>
                  <a:lnTo>
                    <a:pt x="414" y="476"/>
                  </a:lnTo>
                  <a:lnTo>
                    <a:pt x="414" y="476"/>
                  </a:lnTo>
                  <a:lnTo>
                    <a:pt x="416" y="478"/>
                  </a:lnTo>
                  <a:lnTo>
                    <a:pt x="416" y="478"/>
                  </a:lnTo>
                  <a:lnTo>
                    <a:pt x="416" y="478"/>
                  </a:lnTo>
                  <a:lnTo>
                    <a:pt x="416" y="478"/>
                  </a:lnTo>
                  <a:lnTo>
                    <a:pt x="416" y="484"/>
                  </a:lnTo>
                  <a:lnTo>
                    <a:pt x="416" y="488"/>
                  </a:lnTo>
                  <a:lnTo>
                    <a:pt x="416" y="494"/>
                  </a:lnTo>
                  <a:lnTo>
                    <a:pt x="416" y="494"/>
                  </a:lnTo>
                  <a:lnTo>
                    <a:pt x="418" y="498"/>
                  </a:lnTo>
                  <a:lnTo>
                    <a:pt x="418" y="498"/>
                  </a:lnTo>
                  <a:lnTo>
                    <a:pt x="418" y="498"/>
                  </a:lnTo>
                  <a:lnTo>
                    <a:pt x="420" y="500"/>
                  </a:lnTo>
                  <a:lnTo>
                    <a:pt x="420" y="500"/>
                  </a:lnTo>
                  <a:lnTo>
                    <a:pt x="420" y="502"/>
                  </a:lnTo>
                  <a:lnTo>
                    <a:pt x="422" y="504"/>
                  </a:lnTo>
                  <a:lnTo>
                    <a:pt x="422" y="504"/>
                  </a:lnTo>
                  <a:lnTo>
                    <a:pt x="424" y="504"/>
                  </a:lnTo>
                  <a:lnTo>
                    <a:pt x="426" y="504"/>
                  </a:lnTo>
                  <a:lnTo>
                    <a:pt x="428" y="506"/>
                  </a:lnTo>
                  <a:lnTo>
                    <a:pt x="430" y="506"/>
                  </a:lnTo>
                  <a:lnTo>
                    <a:pt x="434" y="508"/>
                  </a:lnTo>
                  <a:lnTo>
                    <a:pt x="434" y="508"/>
                  </a:lnTo>
                  <a:lnTo>
                    <a:pt x="434" y="508"/>
                  </a:lnTo>
                  <a:lnTo>
                    <a:pt x="438" y="508"/>
                  </a:lnTo>
                  <a:lnTo>
                    <a:pt x="442" y="506"/>
                  </a:lnTo>
                  <a:lnTo>
                    <a:pt x="444" y="506"/>
                  </a:lnTo>
                  <a:lnTo>
                    <a:pt x="446" y="506"/>
                  </a:lnTo>
                  <a:lnTo>
                    <a:pt x="448" y="506"/>
                  </a:lnTo>
                  <a:lnTo>
                    <a:pt x="448" y="506"/>
                  </a:lnTo>
                  <a:lnTo>
                    <a:pt x="452" y="506"/>
                  </a:lnTo>
                  <a:lnTo>
                    <a:pt x="452" y="506"/>
                  </a:lnTo>
                  <a:lnTo>
                    <a:pt x="452" y="506"/>
                  </a:lnTo>
                  <a:lnTo>
                    <a:pt x="454" y="506"/>
                  </a:lnTo>
                  <a:lnTo>
                    <a:pt x="454" y="506"/>
                  </a:lnTo>
                  <a:lnTo>
                    <a:pt x="454" y="504"/>
                  </a:lnTo>
                  <a:lnTo>
                    <a:pt x="456" y="502"/>
                  </a:lnTo>
                  <a:lnTo>
                    <a:pt x="458" y="500"/>
                  </a:lnTo>
                  <a:lnTo>
                    <a:pt x="460" y="496"/>
                  </a:lnTo>
                  <a:lnTo>
                    <a:pt x="460" y="496"/>
                  </a:lnTo>
                  <a:lnTo>
                    <a:pt x="462" y="496"/>
                  </a:lnTo>
                  <a:lnTo>
                    <a:pt x="462" y="492"/>
                  </a:lnTo>
                  <a:lnTo>
                    <a:pt x="462" y="488"/>
                  </a:lnTo>
                  <a:lnTo>
                    <a:pt x="462" y="488"/>
                  </a:lnTo>
                  <a:lnTo>
                    <a:pt x="462" y="488"/>
                  </a:lnTo>
                  <a:lnTo>
                    <a:pt x="462" y="484"/>
                  </a:lnTo>
                  <a:lnTo>
                    <a:pt x="462" y="484"/>
                  </a:lnTo>
                  <a:lnTo>
                    <a:pt x="462" y="484"/>
                  </a:lnTo>
                  <a:lnTo>
                    <a:pt x="462" y="482"/>
                  </a:lnTo>
                  <a:lnTo>
                    <a:pt x="462" y="482"/>
                  </a:lnTo>
                  <a:lnTo>
                    <a:pt x="460" y="482"/>
                  </a:lnTo>
                  <a:lnTo>
                    <a:pt x="460" y="478"/>
                  </a:lnTo>
                  <a:lnTo>
                    <a:pt x="460" y="478"/>
                  </a:lnTo>
                  <a:lnTo>
                    <a:pt x="460" y="478"/>
                  </a:lnTo>
                  <a:lnTo>
                    <a:pt x="458" y="476"/>
                  </a:lnTo>
                  <a:lnTo>
                    <a:pt x="458" y="476"/>
                  </a:lnTo>
                  <a:lnTo>
                    <a:pt x="458" y="476"/>
                  </a:lnTo>
                  <a:lnTo>
                    <a:pt x="456" y="474"/>
                  </a:lnTo>
                  <a:lnTo>
                    <a:pt x="458" y="474"/>
                  </a:lnTo>
                  <a:lnTo>
                    <a:pt x="466" y="472"/>
                  </a:lnTo>
                  <a:close/>
                  <a:moveTo>
                    <a:pt x="404" y="518"/>
                  </a:moveTo>
                  <a:lnTo>
                    <a:pt x="404" y="518"/>
                  </a:lnTo>
                  <a:lnTo>
                    <a:pt x="402" y="520"/>
                  </a:lnTo>
                  <a:lnTo>
                    <a:pt x="402" y="522"/>
                  </a:lnTo>
                  <a:lnTo>
                    <a:pt x="402" y="524"/>
                  </a:lnTo>
                  <a:lnTo>
                    <a:pt x="402" y="524"/>
                  </a:lnTo>
                  <a:lnTo>
                    <a:pt x="402" y="524"/>
                  </a:lnTo>
                  <a:lnTo>
                    <a:pt x="402" y="524"/>
                  </a:lnTo>
                  <a:lnTo>
                    <a:pt x="402" y="526"/>
                  </a:lnTo>
                  <a:lnTo>
                    <a:pt x="402" y="526"/>
                  </a:lnTo>
                  <a:lnTo>
                    <a:pt x="404" y="526"/>
                  </a:lnTo>
                  <a:lnTo>
                    <a:pt x="404" y="526"/>
                  </a:lnTo>
                  <a:lnTo>
                    <a:pt x="404" y="526"/>
                  </a:lnTo>
                  <a:lnTo>
                    <a:pt x="404" y="528"/>
                  </a:lnTo>
                  <a:lnTo>
                    <a:pt x="404" y="528"/>
                  </a:lnTo>
                  <a:lnTo>
                    <a:pt x="406" y="530"/>
                  </a:lnTo>
                  <a:lnTo>
                    <a:pt x="406" y="530"/>
                  </a:lnTo>
                  <a:lnTo>
                    <a:pt x="406" y="530"/>
                  </a:lnTo>
                  <a:lnTo>
                    <a:pt x="408" y="532"/>
                  </a:lnTo>
                  <a:lnTo>
                    <a:pt x="414" y="532"/>
                  </a:lnTo>
                  <a:lnTo>
                    <a:pt x="414" y="532"/>
                  </a:lnTo>
                  <a:lnTo>
                    <a:pt x="414" y="532"/>
                  </a:lnTo>
                  <a:lnTo>
                    <a:pt x="418" y="532"/>
                  </a:lnTo>
                  <a:lnTo>
                    <a:pt x="418" y="532"/>
                  </a:lnTo>
                  <a:lnTo>
                    <a:pt x="418" y="532"/>
                  </a:lnTo>
                  <a:lnTo>
                    <a:pt x="420" y="532"/>
                  </a:lnTo>
                  <a:lnTo>
                    <a:pt x="422" y="530"/>
                  </a:lnTo>
                  <a:lnTo>
                    <a:pt x="422" y="530"/>
                  </a:lnTo>
                  <a:lnTo>
                    <a:pt x="422" y="530"/>
                  </a:lnTo>
                  <a:lnTo>
                    <a:pt x="424" y="530"/>
                  </a:lnTo>
                  <a:lnTo>
                    <a:pt x="424" y="530"/>
                  </a:lnTo>
                  <a:lnTo>
                    <a:pt x="424" y="528"/>
                  </a:lnTo>
                  <a:lnTo>
                    <a:pt x="424" y="528"/>
                  </a:lnTo>
                  <a:lnTo>
                    <a:pt x="424" y="528"/>
                  </a:lnTo>
                  <a:lnTo>
                    <a:pt x="424" y="526"/>
                  </a:lnTo>
                  <a:lnTo>
                    <a:pt x="424" y="526"/>
                  </a:lnTo>
                  <a:lnTo>
                    <a:pt x="424" y="526"/>
                  </a:lnTo>
                  <a:lnTo>
                    <a:pt x="424" y="524"/>
                  </a:lnTo>
                  <a:lnTo>
                    <a:pt x="424" y="524"/>
                  </a:lnTo>
                  <a:lnTo>
                    <a:pt x="424" y="524"/>
                  </a:lnTo>
                  <a:lnTo>
                    <a:pt x="424" y="522"/>
                  </a:lnTo>
                  <a:lnTo>
                    <a:pt x="422" y="522"/>
                  </a:lnTo>
                  <a:lnTo>
                    <a:pt x="422" y="522"/>
                  </a:lnTo>
                  <a:lnTo>
                    <a:pt x="422" y="522"/>
                  </a:lnTo>
                  <a:lnTo>
                    <a:pt x="420" y="520"/>
                  </a:lnTo>
                  <a:lnTo>
                    <a:pt x="418" y="520"/>
                  </a:lnTo>
                  <a:lnTo>
                    <a:pt x="414" y="518"/>
                  </a:lnTo>
                  <a:lnTo>
                    <a:pt x="410" y="518"/>
                  </a:lnTo>
                  <a:lnTo>
                    <a:pt x="406" y="518"/>
                  </a:lnTo>
                  <a:lnTo>
                    <a:pt x="406" y="518"/>
                  </a:lnTo>
                  <a:lnTo>
                    <a:pt x="404" y="518"/>
                  </a:lnTo>
                  <a:lnTo>
                    <a:pt x="404" y="518"/>
                  </a:lnTo>
                  <a:close/>
                  <a:moveTo>
                    <a:pt x="370" y="488"/>
                  </a:moveTo>
                  <a:lnTo>
                    <a:pt x="372" y="488"/>
                  </a:lnTo>
                  <a:lnTo>
                    <a:pt x="372" y="488"/>
                  </a:lnTo>
                  <a:lnTo>
                    <a:pt x="372" y="488"/>
                  </a:lnTo>
                  <a:lnTo>
                    <a:pt x="374" y="490"/>
                  </a:lnTo>
                  <a:lnTo>
                    <a:pt x="376" y="490"/>
                  </a:lnTo>
                  <a:lnTo>
                    <a:pt x="378" y="490"/>
                  </a:lnTo>
                  <a:lnTo>
                    <a:pt x="378" y="490"/>
                  </a:lnTo>
                  <a:lnTo>
                    <a:pt x="380" y="490"/>
                  </a:lnTo>
                  <a:lnTo>
                    <a:pt x="382" y="490"/>
                  </a:lnTo>
                  <a:lnTo>
                    <a:pt x="382" y="486"/>
                  </a:lnTo>
                  <a:lnTo>
                    <a:pt x="382" y="486"/>
                  </a:lnTo>
                  <a:lnTo>
                    <a:pt x="382" y="486"/>
                  </a:lnTo>
                  <a:lnTo>
                    <a:pt x="382" y="484"/>
                  </a:lnTo>
                  <a:lnTo>
                    <a:pt x="384" y="484"/>
                  </a:lnTo>
                  <a:lnTo>
                    <a:pt x="384" y="484"/>
                  </a:lnTo>
                  <a:lnTo>
                    <a:pt x="382" y="482"/>
                  </a:lnTo>
                  <a:lnTo>
                    <a:pt x="382" y="482"/>
                  </a:lnTo>
                  <a:lnTo>
                    <a:pt x="382" y="482"/>
                  </a:lnTo>
                  <a:lnTo>
                    <a:pt x="382" y="480"/>
                  </a:lnTo>
                  <a:lnTo>
                    <a:pt x="382" y="480"/>
                  </a:lnTo>
                  <a:lnTo>
                    <a:pt x="382" y="480"/>
                  </a:lnTo>
                  <a:lnTo>
                    <a:pt x="382" y="478"/>
                  </a:lnTo>
                  <a:lnTo>
                    <a:pt x="380" y="478"/>
                  </a:lnTo>
                  <a:lnTo>
                    <a:pt x="378" y="476"/>
                  </a:lnTo>
                  <a:lnTo>
                    <a:pt x="376" y="474"/>
                  </a:lnTo>
                  <a:lnTo>
                    <a:pt x="376" y="474"/>
                  </a:lnTo>
                  <a:lnTo>
                    <a:pt x="372" y="476"/>
                  </a:lnTo>
                  <a:lnTo>
                    <a:pt x="372" y="476"/>
                  </a:lnTo>
                  <a:lnTo>
                    <a:pt x="372" y="478"/>
                  </a:lnTo>
                  <a:lnTo>
                    <a:pt x="372" y="480"/>
                  </a:lnTo>
                  <a:lnTo>
                    <a:pt x="370" y="480"/>
                  </a:lnTo>
                  <a:lnTo>
                    <a:pt x="370" y="482"/>
                  </a:lnTo>
                  <a:lnTo>
                    <a:pt x="370" y="484"/>
                  </a:lnTo>
                  <a:lnTo>
                    <a:pt x="370" y="484"/>
                  </a:lnTo>
                  <a:lnTo>
                    <a:pt x="370" y="484"/>
                  </a:lnTo>
                  <a:lnTo>
                    <a:pt x="370" y="486"/>
                  </a:lnTo>
                  <a:lnTo>
                    <a:pt x="370" y="486"/>
                  </a:lnTo>
                  <a:lnTo>
                    <a:pt x="370" y="488"/>
                  </a:lnTo>
                  <a:lnTo>
                    <a:pt x="370" y="488"/>
                  </a:lnTo>
                  <a:close/>
                  <a:moveTo>
                    <a:pt x="384" y="542"/>
                  </a:moveTo>
                  <a:lnTo>
                    <a:pt x="386" y="544"/>
                  </a:lnTo>
                  <a:lnTo>
                    <a:pt x="386" y="544"/>
                  </a:lnTo>
                  <a:lnTo>
                    <a:pt x="386" y="544"/>
                  </a:lnTo>
                  <a:lnTo>
                    <a:pt x="386" y="544"/>
                  </a:lnTo>
                  <a:lnTo>
                    <a:pt x="388" y="546"/>
                  </a:lnTo>
                  <a:lnTo>
                    <a:pt x="388" y="546"/>
                  </a:lnTo>
                  <a:lnTo>
                    <a:pt x="390" y="548"/>
                  </a:lnTo>
                  <a:lnTo>
                    <a:pt x="394" y="548"/>
                  </a:lnTo>
                  <a:lnTo>
                    <a:pt x="396" y="550"/>
                  </a:lnTo>
                  <a:lnTo>
                    <a:pt x="400" y="550"/>
                  </a:lnTo>
                  <a:lnTo>
                    <a:pt x="404" y="552"/>
                  </a:lnTo>
                  <a:lnTo>
                    <a:pt x="404" y="552"/>
                  </a:lnTo>
                  <a:lnTo>
                    <a:pt x="406" y="550"/>
                  </a:lnTo>
                  <a:lnTo>
                    <a:pt x="410" y="548"/>
                  </a:lnTo>
                  <a:lnTo>
                    <a:pt x="412" y="546"/>
                  </a:lnTo>
                  <a:lnTo>
                    <a:pt x="412" y="546"/>
                  </a:lnTo>
                  <a:lnTo>
                    <a:pt x="412" y="546"/>
                  </a:lnTo>
                  <a:lnTo>
                    <a:pt x="414" y="544"/>
                  </a:lnTo>
                  <a:lnTo>
                    <a:pt x="414" y="544"/>
                  </a:lnTo>
                  <a:lnTo>
                    <a:pt x="414" y="544"/>
                  </a:lnTo>
                  <a:lnTo>
                    <a:pt x="414" y="542"/>
                  </a:lnTo>
                  <a:lnTo>
                    <a:pt x="414" y="542"/>
                  </a:lnTo>
                  <a:lnTo>
                    <a:pt x="414" y="542"/>
                  </a:lnTo>
                  <a:lnTo>
                    <a:pt x="416" y="540"/>
                  </a:lnTo>
                  <a:lnTo>
                    <a:pt x="416" y="540"/>
                  </a:lnTo>
                  <a:lnTo>
                    <a:pt x="414" y="540"/>
                  </a:lnTo>
                  <a:lnTo>
                    <a:pt x="414" y="538"/>
                  </a:lnTo>
                  <a:lnTo>
                    <a:pt x="414" y="538"/>
                  </a:lnTo>
                  <a:lnTo>
                    <a:pt x="414" y="538"/>
                  </a:lnTo>
                  <a:lnTo>
                    <a:pt x="412" y="536"/>
                  </a:lnTo>
                  <a:lnTo>
                    <a:pt x="412" y="536"/>
                  </a:lnTo>
                  <a:lnTo>
                    <a:pt x="412" y="536"/>
                  </a:lnTo>
                  <a:lnTo>
                    <a:pt x="410" y="536"/>
                  </a:lnTo>
                  <a:lnTo>
                    <a:pt x="410" y="536"/>
                  </a:lnTo>
                  <a:lnTo>
                    <a:pt x="410" y="536"/>
                  </a:lnTo>
                  <a:lnTo>
                    <a:pt x="406" y="534"/>
                  </a:lnTo>
                  <a:lnTo>
                    <a:pt x="402" y="534"/>
                  </a:lnTo>
                  <a:lnTo>
                    <a:pt x="398" y="532"/>
                  </a:lnTo>
                  <a:lnTo>
                    <a:pt x="392" y="532"/>
                  </a:lnTo>
                  <a:lnTo>
                    <a:pt x="392" y="532"/>
                  </a:lnTo>
                  <a:lnTo>
                    <a:pt x="390" y="534"/>
                  </a:lnTo>
                  <a:lnTo>
                    <a:pt x="388" y="536"/>
                  </a:lnTo>
                  <a:lnTo>
                    <a:pt x="386" y="536"/>
                  </a:lnTo>
                  <a:lnTo>
                    <a:pt x="386" y="538"/>
                  </a:lnTo>
                  <a:lnTo>
                    <a:pt x="384" y="538"/>
                  </a:lnTo>
                  <a:lnTo>
                    <a:pt x="384" y="538"/>
                  </a:lnTo>
                  <a:lnTo>
                    <a:pt x="384" y="540"/>
                  </a:lnTo>
                  <a:lnTo>
                    <a:pt x="384" y="542"/>
                  </a:lnTo>
                  <a:lnTo>
                    <a:pt x="384" y="542"/>
                  </a:lnTo>
                  <a:lnTo>
                    <a:pt x="384" y="542"/>
                  </a:lnTo>
                  <a:lnTo>
                    <a:pt x="384" y="542"/>
                  </a:lnTo>
                  <a:close/>
                  <a:moveTo>
                    <a:pt x="480" y="540"/>
                  </a:moveTo>
                  <a:lnTo>
                    <a:pt x="478" y="540"/>
                  </a:lnTo>
                  <a:lnTo>
                    <a:pt x="478" y="540"/>
                  </a:lnTo>
                  <a:lnTo>
                    <a:pt x="476" y="540"/>
                  </a:lnTo>
                  <a:lnTo>
                    <a:pt x="474" y="540"/>
                  </a:lnTo>
                  <a:lnTo>
                    <a:pt x="474" y="540"/>
                  </a:lnTo>
                  <a:lnTo>
                    <a:pt x="472" y="542"/>
                  </a:lnTo>
                  <a:lnTo>
                    <a:pt x="470" y="544"/>
                  </a:lnTo>
                  <a:lnTo>
                    <a:pt x="466" y="548"/>
                  </a:lnTo>
                  <a:lnTo>
                    <a:pt x="466" y="548"/>
                  </a:lnTo>
                  <a:lnTo>
                    <a:pt x="466" y="548"/>
                  </a:lnTo>
                  <a:lnTo>
                    <a:pt x="466" y="550"/>
                  </a:lnTo>
                  <a:lnTo>
                    <a:pt x="466" y="550"/>
                  </a:lnTo>
                  <a:lnTo>
                    <a:pt x="466" y="550"/>
                  </a:lnTo>
                  <a:lnTo>
                    <a:pt x="464" y="552"/>
                  </a:lnTo>
                  <a:lnTo>
                    <a:pt x="462" y="554"/>
                  </a:lnTo>
                  <a:lnTo>
                    <a:pt x="460" y="558"/>
                  </a:lnTo>
                  <a:lnTo>
                    <a:pt x="458" y="560"/>
                  </a:lnTo>
                  <a:lnTo>
                    <a:pt x="456" y="564"/>
                  </a:lnTo>
                  <a:lnTo>
                    <a:pt x="456" y="564"/>
                  </a:lnTo>
                  <a:lnTo>
                    <a:pt x="456" y="564"/>
                  </a:lnTo>
                  <a:lnTo>
                    <a:pt x="454" y="566"/>
                  </a:lnTo>
                  <a:lnTo>
                    <a:pt x="454" y="566"/>
                  </a:lnTo>
                  <a:lnTo>
                    <a:pt x="454" y="568"/>
                  </a:lnTo>
                  <a:lnTo>
                    <a:pt x="454" y="570"/>
                  </a:lnTo>
                  <a:lnTo>
                    <a:pt x="454" y="570"/>
                  </a:lnTo>
                  <a:lnTo>
                    <a:pt x="454" y="572"/>
                  </a:lnTo>
                  <a:lnTo>
                    <a:pt x="454" y="576"/>
                  </a:lnTo>
                  <a:lnTo>
                    <a:pt x="454" y="576"/>
                  </a:lnTo>
                  <a:lnTo>
                    <a:pt x="454" y="576"/>
                  </a:lnTo>
                  <a:lnTo>
                    <a:pt x="456" y="578"/>
                  </a:lnTo>
                  <a:lnTo>
                    <a:pt x="456" y="578"/>
                  </a:lnTo>
                  <a:lnTo>
                    <a:pt x="456" y="578"/>
                  </a:lnTo>
                  <a:lnTo>
                    <a:pt x="456" y="580"/>
                  </a:lnTo>
                  <a:lnTo>
                    <a:pt x="456" y="580"/>
                  </a:lnTo>
                  <a:lnTo>
                    <a:pt x="458" y="580"/>
                  </a:lnTo>
                  <a:lnTo>
                    <a:pt x="460" y="582"/>
                  </a:lnTo>
                  <a:lnTo>
                    <a:pt x="464" y="584"/>
                  </a:lnTo>
                  <a:lnTo>
                    <a:pt x="466" y="586"/>
                  </a:lnTo>
                  <a:lnTo>
                    <a:pt x="468" y="586"/>
                  </a:lnTo>
                  <a:lnTo>
                    <a:pt x="468" y="586"/>
                  </a:lnTo>
                  <a:lnTo>
                    <a:pt x="466" y="588"/>
                  </a:lnTo>
                  <a:lnTo>
                    <a:pt x="464" y="590"/>
                  </a:lnTo>
                  <a:lnTo>
                    <a:pt x="464" y="590"/>
                  </a:lnTo>
                  <a:lnTo>
                    <a:pt x="464" y="590"/>
                  </a:lnTo>
                  <a:lnTo>
                    <a:pt x="464" y="592"/>
                  </a:lnTo>
                  <a:lnTo>
                    <a:pt x="464" y="592"/>
                  </a:lnTo>
                  <a:lnTo>
                    <a:pt x="464" y="592"/>
                  </a:lnTo>
                  <a:lnTo>
                    <a:pt x="464" y="594"/>
                  </a:lnTo>
                  <a:lnTo>
                    <a:pt x="464" y="594"/>
                  </a:lnTo>
                  <a:lnTo>
                    <a:pt x="464" y="594"/>
                  </a:lnTo>
                  <a:lnTo>
                    <a:pt x="464" y="596"/>
                  </a:lnTo>
                  <a:lnTo>
                    <a:pt x="464" y="596"/>
                  </a:lnTo>
                  <a:lnTo>
                    <a:pt x="464" y="598"/>
                  </a:lnTo>
                  <a:lnTo>
                    <a:pt x="464" y="600"/>
                  </a:lnTo>
                  <a:lnTo>
                    <a:pt x="466" y="602"/>
                  </a:lnTo>
                  <a:lnTo>
                    <a:pt x="466" y="602"/>
                  </a:lnTo>
                  <a:lnTo>
                    <a:pt x="466" y="602"/>
                  </a:lnTo>
                  <a:lnTo>
                    <a:pt x="466" y="602"/>
                  </a:lnTo>
                  <a:lnTo>
                    <a:pt x="468" y="604"/>
                  </a:lnTo>
                  <a:lnTo>
                    <a:pt x="470" y="606"/>
                  </a:lnTo>
                  <a:lnTo>
                    <a:pt x="472" y="608"/>
                  </a:lnTo>
                  <a:lnTo>
                    <a:pt x="474" y="610"/>
                  </a:lnTo>
                  <a:lnTo>
                    <a:pt x="476" y="610"/>
                  </a:lnTo>
                  <a:lnTo>
                    <a:pt x="478" y="614"/>
                  </a:lnTo>
                  <a:lnTo>
                    <a:pt x="478" y="616"/>
                  </a:lnTo>
                  <a:lnTo>
                    <a:pt x="478" y="616"/>
                  </a:lnTo>
                  <a:lnTo>
                    <a:pt x="476" y="618"/>
                  </a:lnTo>
                  <a:lnTo>
                    <a:pt x="474" y="622"/>
                  </a:lnTo>
                  <a:lnTo>
                    <a:pt x="470" y="622"/>
                  </a:lnTo>
                  <a:lnTo>
                    <a:pt x="466" y="624"/>
                  </a:lnTo>
                  <a:lnTo>
                    <a:pt x="462" y="622"/>
                  </a:lnTo>
                  <a:lnTo>
                    <a:pt x="458" y="620"/>
                  </a:lnTo>
                  <a:lnTo>
                    <a:pt x="454" y="618"/>
                  </a:lnTo>
                  <a:lnTo>
                    <a:pt x="454" y="616"/>
                  </a:lnTo>
                  <a:lnTo>
                    <a:pt x="452" y="614"/>
                  </a:lnTo>
                  <a:lnTo>
                    <a:pt x="452" y="614"/>
                  </a:lnTo>
                  <a:lnTo>
                    <a:pt x="452" y="614"/>
                  </a:lnTo>
                  <a:lnTo>
                    <a:pt x="450" y="608"/>
                  </a:lnTo>
                  <a:lnTo>
                    <a:pt x="446" y="604"/>
                  </a:lnTo>
                  <a:lnTo>
                    <a:pt x="442" y="600"/>
                  </a:lnTo>
                  <a:lnTo>
                    <a:pt x="440" y="596"/>
                  </a:lnTo>
                  <a:lnTo>
                    <a:pt x="440" y="596"/>
                  </a:lnTo>
                  <a:lnTo>
                    <a:pt x="438" y="596"/>
                  </a:lnTo>
                  <a:lnTo>
                    <a:pt x="434" y="594"/>
                  </a:lnTo>
                  <a:lnTo>
                    <a:pt x="432" y="594"/>
                  </a:lnTo>
                  <a:lnTo>
                    <a:pt x="430" y="592"/>
                  </a:lnTo>
                  <a:lnTo>
                    <a:pt x="430" y="590"/>
                  </a:lnTo>
                  <a:lnTo>
                    <a:pt x="426" y="584"/>
                  </a:lnTo>
                  <a:lnTo>
                    <a:pt x="424" y="580"/>
                  </a:lnTo>
                  <a:lnTo>
                    <a:pt x="422" y="576"/>
                  </a:lnTo>
                  <a:lnTo>
                    <a:pt x="422" y="576"/>
                  </a:lnTo>
                  <a:lnTo>
                    <a:pt x="420" y="576"/>
                  </a:lnTo>
                  <a:lnTo>
                    <a:pt x="418" y="574"/>
                  </a:lnTo>
                  <a:lnTo>
                    <a:pt x="414" y="574"/>
                  </a:lnTo>
                  <a:lnTo>
                    <a:pt x="410" y="574"/>
                  </a:lnTo>
                  <a:lnTo>
                    <a:pt x="408" y="574"/>
                  </a:lnTo>
                  <a:lnTo>
                    <a:pt x="406" y="574"/>
                  </a:lnTo>
                  <a:lnTo>
                    <a:pt x="406" y="572"/>
                  </a:lnTo>
                  <a:lnTo>
                    <a:pt x="406" y="572"/>
                  </a:lnTo>
                  <a:lnTo>
                    <a:pt x="406" y="572"/>
                  </a:lnTo>
                  <a:lnTo>
                    <a:pt x="406" y="572"/>
                  </a:lnTo>
                  <a:lnTo>
                    <a:pt x="406" y="572"/>
                  </a:lnTo>
                  <a:lnTo>
                    <a:pt x="406" y="570"/>
                  </a:lnTo>
                  <a:lnTo>
                    <a:pt x="404" y="570"/>
                  </a:lnTo>
                  <a:lnTo>
                    <a:pt x="404" y="570"/>
                  </a:lnTo>
                  <a:lnTo>
                    <a:pt x="404" y="570"/>
                  </a:lnTo>
                  <a:lnTo>
                    <a:pt x="404" y="568"/>
                  </a:lnTo>
                  <a:lnTo>
                    <a:pt x="404" y="568"/>
                  </a:lnTo>
                  <a:lnTo>
                    <a:pt x="402" y="568"/>
                  </a:lnTo>
                  <a:lnTo>
                    <a:pt x="402" y="566"/>
                  </a:lnTo>
                  <a:lnTo>
                    <a:pt x="402" y="566"/>
                  </a:lnTo>
                  <a:lnTo>
                    <a:pt x="400" y="566"/>
                  </a:lnTo>
                  <a:lnTo>
                    <a:pt x="398" y="566"/>
                  </a:lnTo>
                  <a:lnTo>
                    <a:pt x="394" y="564"/>
                  </a:lnTo>
                  <a:lnTo>
                    <a:pt x="392" y="564"/>
                  </a:lnTo>
                  <a:lnTo>
                    <a:pt x="390" y="564"/>
                  </a:lnTo>
                  <a:lnTo>
                    <a:pt x="388" y="564"/>
                  </a:lnTo>
                  <a:lnTo>
                    <a:pt x="388" y="564"/>
                  </a:lnTo>
                  <a:lnTo>
                    <a:pt x="388" y="564"/>
                  </a:lnTo>
                  <a:lnTo>
                    <a:pt x="382" y="564"/>
                  </a:lnTo>
                  <a:lnTo>
                    <a:pt x="382" y="564"/>
                  </a:lnTo>
                  <a:lnTo>
                    <a:pt x="380" y="566"/>
                  </a:lnTo>
                  <a:lnTo>
                    <a:pt x="378" y="566"/>
                  </a:lnTo>
                  <a:lnTo>
                    <a:pt x="376" y="568"/>
                  </a:lnTo>
                  <a:lnTo>
                    <a:pt x="376" y="568"/>
                  </a:lnTo>
                  <a:lnTo>
                    <a:pt x="376" y="568"/>
                  </a:lnTo>
                  <a:lnTo>
                    <a:pt x="374" y="568"/>
                  </a:lnTo>
                  <a:lnTo>
                    <a:pt x="374" y="568"/>
                  </a:lnTo>
                  <a:lnTo>
                    <a:pt x="374" y="570"/>
                  </a:lnTo>
                  <a:lnTo>
                    <a:pt x="374" y="572"/>
                  </a:lnTo>
                  <a:lnTo>
                    <a:pt x="374" y="572"/>
                  </a:lnTo>
                  <a:lnTo>
                    <a:pt x="374" y="574"/>
                  </a:lnTo>
                  <a:lnTo>
                    <a:pt x="374" y="576"/>
                  </a:lnTo>
                  <a:lnTo>
                    <a:pt x="374" y="576"/>
                  </a:lnTo>
                  <a:lnTo>
                    <a:pt x="374" y="576"/>
                  </a:lnTo>
                  <a:lnTo>
                    <a:pt x="374" y="578"/>
                  </a:lnTo>
                  <a:lnTo>
                    <a:pt x="374" y="578"/>
                  </a:lnTo>
                  <a:lnTo>
                    <a:pt x="374" y="578"/>
                  </a:lnTo>
                  <a:lnTo>
                    <a:pt x="372" y="578"/>
                  </a:lnTo>
                  <a:lnTo>
                    <a:pt x="370" y="582"/>
                  </a:lnTo>
                  <a:lnTo>
                    <a:pt x="370" y="582"/>
                  </a:lnTo>
                  <a:lnTo>
                    <a:pt x="368" y="582"/>
                  </a:lnTo>
                  <a:lnTo>
                    <a:pt x="368" y="586"/>
                  </a:lnTo>
                  <a:lnTo>
                    <a:pt x="366" y="590"/>
                  </a:lnTo>
                  <a:lnTo>
                    <a:pt x="366" y="592"/>
                  </a:lnTo>
                  <a:lnTo>
                    <a:pt x="366" y="596"/>
                  </a:lnTo>
                  <a:lnTo>
                    <a:pt x="364" y="598"/>
                  </a:lnTo>
                  <a:lnTo>
                    <a:pt x="362" y="598"/>
                  </a:lnTo>
                  <a:lnTo>
                    <a:pt x="362" y="600"/>
                  </a:lnTo>
                  <a:lnTo>
                    <a:pt x="360" y="600"/>
                  </a:lnTo>
                  <a:lnTo>
                    <a:pt x="358" y="602"/>
                  </a:lnTo>
                  <a:lnTo>
                    <a:pt x="358" y="602"/>
                  </a:lnTo>
                  <a:lnTo>
                    <a:pt x="356" y="604"/>
                  </a:lnTo>
                  <a:lnTo>
                    <a:pt x="356" y="608"/>
                  </a:lnTo>
                  <a:lnTo>
                    <a:pt x="358" y="610"/>
                  </a:lnTo>
                  <a:lnTo>
                    <a:pt x="358" y="614"/>
                  </a:lnTo>
                  <a:lnTo>
                    <a:pt x="358" y="614"/>
                  </a:lnTo>
                  <a:lnTo>
                    <a:pt x="358" y="614"/>
                  </a:lnTo>
                  <a:lnTo>
                    <a:pt x="360" y="616"/>
                  </a:lnTo>
                  <a:lnTo>
                    <a:pt x="360" y="616"/>
                  </a:lnTo>
                  <a:lnTo>
                    <a:pt x="360" y="616"/>
                  </a:lnTo>
                  <a:lnTo>
                    <a:pt x="362" y="618"/>
                  </a:lnTo>
                  <a:lnTo>
                    <a:pt x="360" y="618"/>
                  </a:lnTo>
                  <a:lnTo>
                    <a:pt x="360" y="618"/>
                  </a:lnTo>
                  <a:lnTo>
                    <a:pt x="360" y="618"/>
                  </a:lnTo>
                  <a:lnTo>
                    <a:pt x="358" y="620"/>
                  </a:lnTo>
                  <a:lnTo>
                    <a:pt x="358" y="620"/>
                  </a:lnTo>
                  <a:lnTo>
                    <a:pt x="356" y="620"/>
                  </a:lnTo>
                  <a:lnTo>
                    <a:pt x="356" y="622"/>
                  </a:lnTo>
                  <a:lnTo>
                    <a:pt x="354" y="624"/>
                  </a:lnTo>
                  <a:lnTo>
                    <a:pt x="352" y="624"/>
                  </a:lnTo>
                  <a:lnTo>
                    <a:pt x="352" y="624"/>
                  </a:lnTo>
                  <a:lnTo>
                    <a:pt x="352" y="624"/>
                  </a:lnTo>
                  <a:lnTo>
                    <a:pt x="350" y="626"/>
                  </a:lnTo>
                  <a:lnTo>
                    <a:pt x="350" y="626"/>
                  </a:lnTo>
                  <a:lnTo>
                    <a:pt x="350" y="626"/>
                  </a:lnTo>
                  <a:lnTo>
                    <a:pt x="350" y="628"/>
                  </a:lnTo>
                  <a:lnTo>
                    <a:pt x="350" y="628"/>
                  </a:lnTo>
                  <a:lnTo>
                    <a:pt x="348" y="628"/>
                  </a:lnTo>
                  <a:lnTo>
                    <a:pt x="348" y="632"/>
                  </a:lnTo>
                  <a:lnTo>
                    <a:pt x="348" y="632"/>
                  </a:lnTo>
                  <a:lnTo>
                    <a:pt x="348" y="632"/>
                  </a:lnTo>
                  <a:lnTo>
                    <a:pt x="348" y="634"/>
                  </a:lnTo>
                  <a:lnTo>
                    <a:pt x="348" y="636"/>
                  </a:lnTo>
                  <a:lnTo>
                    <a:pt x="348" y="636"/>
                  </a:lnTo>
                  <a:lnTo>
                    <a:pt x="348" y="638"/>
                  </a:lnTo>
                  <a:lnTo>
                    <a:pt x="348" y="638"/>
                  </a:lnTo>
                  <a:lnTo>
                    <a:pt x="350" y="640"/>
                  </a:lnTo>
                  <a:lnTo>
                    <a:pt x="354" y="640"/>
                  </a:lnTo>
                  <a:lnTo>
                    <a:pt x="358" y="640"/>
                  </a:lnTo>
                  <a:lnTo>
                    <a:pt x="362" y="640"/>
                  </a:lnTo>
                  <a:lnTo>
                    <a:pt x="366" y="642"/>
                  </a:lnTo>
                  <a:lnTo>
                    <a:pt x="370" y="642"/>
                  </a:lnTo>
                  <a:lnTo>
                    <a:pt x="372" y="644"/>
                  </a:lnTo>
                  <a:lnTo>
                    <a:pt x="374" y="646"/>
                  </a:lnTo>
                  <a:lnTo>
                    <a:pt x="376" y="648"/>
                  </a:lnTo>
                  <a:lnTo>
                    <a:pt x="378" y="652"/>
                  </a:lnTo>
                  <a:lnTo>
                    <a:pt x="382" y="654"/>
                  </a:lnTo>
                  <a:lnTo>
                    <a:pt x="384" y="656"/>
                  </a:lnTo>
                  <a:lnTo>
                    <a:pt x="384" y="656"/>
                  </a:lnTo>
                  <a:lnTo>
                    <a:pt x="384" y="656"/>
                  </a:lnTo>
                  <a:lnTo>
                    <a:pt x="388" y="656"/>
                  </a:lnTo>
                  <a:lnTo>
                    <a:pt x="388" y="656"/>
                  </a:lnTo>
                  <a:lnTo>
                    <a:pt x="390" y="656"/>
                  </a:lnTo>
                  <a:lnTo>
                    <a:pt x="394" y="654"/>
                  </a:lnTo>
                  <a:lnTo>
                    <a:pt x="394" y="654"/>
                  </a:lnTo>
                  <a:lnTo>
                    <a:pt x="394" y="652"/>
                  </a:lnTo>
                  <a:lnTo>
                    <a:pt x="394" y="652"/>
                  </a:lnTo>
                  <a:lnTo>
                    <a:pt x="396" y="652"/>
                  </a:lnTo>
                  <a:lnTo>
                    <a:pt x="396" y="650"/>
                  </a:lnTo>
                  <a:lnTo>
                    <a:pt x="396" y="650"/>
                  </a:lnTo>
                  <a:lnTo>
                    <a:pt x="396" y="650"/>
                  </a:lnTo>
                  <a:lnTo>
                    <a:pt x="398" y="648"/>
                  </a:lnTo>
                  <a:lnTo>
                    <a:pt x="398" y="648"/>
                  </a:lnTo>
                  <a:lnTo>
                    <a:pt x="398" y="648"/>
                  </a:lnTo>
                  <a:lnTo>
                    <a:pt x="398" y="646"/>
                  </a:lnTo>
                  <a:lnTo>
                    <a:pt x="398" y="644"/>
                  </a:lnTo>
                  <a:lnTo>
                    <a:pt x="398" y="640"/>
                  </a:lnTo>
                  <a:lnTo>
                    <a:pt x="398" y="638"/>
                  </a:lnTo>
                  <a:lnTo>
                    <a:pt x="400" y="636"/>
                  </a:lnTo>
                  <a:lnTo>
                    <a:pt x="402" y="634"/>
                  </a:lnTo>
                  <a:lnTo>
                    <a:pt x="402" y="634"/>
                  </a:lnTo>
                  <a:lnTo>
                    <a:pt x="402" y="634"/>
                  </a:lnTo>
                  <a:lnTo>
                    <a:pt x="402" y="634"/>
                  </a:lnTo>
                  <a:lnTo>
                    <a:pt x="404" y="636"/>
                  </a:lnTo>
                  <a:lnTo>
                    <a:pt x="404" y="640"/>
                  </a:lnTo>
                  <a:lnTo>
                    <a:pt x="404" y="640"/>
                  </a:lnTo>
                  <a:lnTo>
                    <a:pt x="406" y="642"/>
                  </a:lnTo>
                  <a:lnTo>
                    <a:pt x="412" y="642"/>
                  </a:lnTo>
                  <a:lnTo>
                    <a:pt x="416" y="642"/>
                  </a:lnTo>
                  <a:lnTo>
                    <a:pt x="422" y="642"/>
                  </a:lnTo>
                  <a:lnTo>
                    <a:pt x="426" y="642"/>
                  </a:lnTo>
                  <a:lnTo>
                    <a:pt x="430" y="642"/>
                  </a:lnTo>
                  <a:lnTo>
                    <a:pt x="430" y="642"/>
                  </a:lnTo>
                  <a:lnTo>
                    <a:pt x="434" y="642"/>
                  </a:lnTo>
                  <a:lnTo>
                    <a:pt x="436" y="644"/>
                  </a:lnTo>
                  <a:lnTo>
                    <a:pt x="438" y="644"/>
                  </a:lnTo>
                  <a:lnTo>
                    <a:pt x="436" y="646"/>
                  </a:lnTo>
                  <a:lnTo>
                    <a:pt x="434" y="648"/>
                  </a:lnTo>
                  <a:lnTo>
                    <a:pt x="432" y="650"/>
                  </a:lnTo>
                  <a:lnTo>
                    <a:pt x="428" y="650"/>
                  </a:lnTo>
                  <a:lnTo>
                    <a:pt x="422" y="654"/>
                  </a:lnTo>
                  <a:lnTo>
                    <a:pt x="418" y="654"/>
                  </a:lnTo>
                  <a:lnTo>
                    <a:pt x="416" y="656"/>
                  </a:lnTo>
                  <a:lnTo>
                    <a:pt x="412" y="658"/>
                  </a:lnTo>
                  <a:lnTo>
                    <a:pt x="408" y="658"/>
                  </a:lnTo>
                  <a:lnTo>
                    <a:pt x="408" y="658"/>
                  </a:lnTo>
                  <a:lnTo>
                    <a:pt x="408" y="658"/>
                  </a:lnTo>
                  <a:lnTo>
                    <a:pt x="404" y="660"/>
                  </a:lnTo>
                  <a:lnTo>
                    <a:pt x="404" y="660"/>
                  </a:lnTo>
                  <a:lnTo>
                    <a:pt x="404" y="660"/>
                  </a:lnTo>
                  <a:lnTo>
                    <a:pt x="402" y="662"/>
                  </a:lnTo>
                  <a:lnTo>
                    <a:pt x="402" y="662"/>
                  </a:lnTo>
                  <a:lnTo>
                    <a:pt x="402" y="662"/>
                  </a:lnTo>
                  <a:lnTo>
                    <a:pt x="400" y="666"/>
                  </a:lnTo>
                  <a:lnTo>
                    <a:pt x="400" y="666"/>
                  </a:lnTo>
                  <a:lnTo>
                    <a:pt x="400" y="666"/>
                  </a:lnTo>
                  <a:lnTo>
                    <a:pt x="400" y="668"/>
                  </a:lnTo>
                  <a:lnTo>
                    <a:pt x="398" y="672"/>
                  </a:lnTo>
                  <a:lnTo>
                    <a:pt x="398" y="676"/>
                  </a:lnTo>
                  <a:lnTo>
                    <a:pt x="398" y="676"/>
                  </a:lnTo>
                  <a:lnTo>
                    <a:pt x="398" y="678"/>
                  </a:lnTo>
                  <a:lnTo>
                    <a:pt x="400" y="680"/>
                  </a:lnTo>
                  <a:lnTo>
                    <a:pt x="404" y="680"/>
                  </a:lnTo>
                  <a:lnTo>
                    <a:pt x="408" y="682"/>
                  </a:lnTo>
                  <a:lnTo>
                    <a:pt x="414" y="684"/>
                  </a:lnTo>
                  <a:lnTo>
                    <a:pt x="416" y="686"/>
                  </a:lnTo>
                  <a:lnTo>
                    <a:pt x="416" y="686"/>
                  </a:lnTo>
                  <a:lnTo>
                    <a:pt x="418" y="686"/>
                  </a:lnTo>
                  <a:lnTo>
                    <a:pt x="420" y="688"/>
                  </a:lnTo>
                  <a:lnTo>
                    <a:pt x="420" y="688"/>
                  </a:lnTo>
                  <a:lnTo>
                    <a:pt x="422" y="688"/>
                  </a:lnTo>
                  <a:lnTo>
                    <a:pt x="424" y="688"/>
                  </a:lnTo>
                  <a:lnTo>
                    <a:pt x="424" y="688"/>
                  </a:lnTo>
                  <a:lnTo>
                    <a:pt x="426" y="688"/>
                  </a:lnTo>
                  <a:lnTo>
                    <a:pt x="426" y="688"/>
                  </a:lnTo>
                  <a:lnTo>
                    <a:pt x="426" y="688"/>
                  </a:lnTo>
                  <a:lnTo>
                    <a:pt x="428" y="686"/>
                  </a:lnTo>
                  <a:lnTo>
                    <a:pt x="428" y="686"/>
                  </a:lnTo>
                  <a:lnTo>
                    <a:pt x="432" y="686"/>
                  </a:lnTo>
                  <a:lnTo>
                    <a:pt x="432" y="686"/>
                  </a:lnTo>
                  <a:lnTo>
                    <a:pt x="432" y="686"/>
                  </a:lnTo>
                  <a:lnTo>
                    <a:pt x="438" y="682"/>
                  </a:lnTo>
                  <a:lnTo>
                    <a:pt x="442" y="680"/>
                  </a:lnTo>
                  <a:lnTo>
                    <a:pt x="448" y="676"/>
                  </a:lnTo>
                  <a:lnTo>
                    <a:pt x="452" y="672"/>
                  </a:lnTo>
                  <a:lnTo>
                    <a:pt x="456" y="668"/>
                  </a:lnTo>
                  <a:lnTo>
                    <a:pt x="460" y="664"/>
                  </a:lnTo>
                  <a:lnTo>
                    <a:pt x="460" y="662"/>
                  </a:lnTo>
                  <a:lnTo>
                    <a:pt x="464" y="662"/>
                  </a:lnTo>
                  <a:lnTo>
                    <a:pt x="468" y="660"/>
                  </a:lnTo>
                  <a:lnTo>
                    <a:pt x="470" y="660"/>
                  </a:lnTo>
                  <a:lnTo>
                    <a:pt x="474" y="658"/>
                  </a:lnTo>
                  <a:lnTo>
                    <a:pt x="478" y="658"/>
                  </a:lnTo>
                  <a:lnTo>
                    <a:pt x="482" y="656"/>
                  </a:lnTo>
                  <a:lnTo>
                    <a:pt x="486" y="656"/>
                  </a:lnTo>
                  <a:lnTo>
                    <a:pt x="488" y="654"/>
                  </a:lnTo>
                  <a:lnTo>
                    <a:pt x="492" y="654"/>
                  </a:lnTo>
                  <a:lnTo>
                    <a:pt x="494" y="654"/>
                  </a:lnTo>
                  <a:lnTo>
                    <a:pt x="498" y="656"/>
                  </a:lnTo>
                  <a:lnTo>
                    <a:pt x="502" y="656"/>
                  </a:lnTo>
                  <a:lnTo>
                    <a:pt x="508" y="658"/>
                  </a:lnTo>
                  <a:lnTo>
                    <a:pt x="512" y="658"/>
                  </a:lnTo>
                  <a:lnTo>
                    <a:pt x="512" y="658"/>
                  </a:lnTo>
                  <a:lnTo>
                    <a:pt x="514" y="658"/>
                  </a:lnTo>
                  <a:lnTo>
                    <a:pt x="518" y="658"/>
                  </a:lnTo>
                  <a:lnTo>
                    <a:pt x="518" y="658"/>
                  </a:lnTo>
                  <a:lnTo>
                    <a:pt x="518" y="658"/>
                  </a:lnTo>
                  <a:lnTo>
                    <a:pt x="520" y="658"/>
                  </a:lnTo>
                  <a:lnTo>
                    <a:pt x="520" y="658"/>
                  </a:lnTo>
                  <a:lnTo>
                    <a:pt x="520" y="658"/>
                  </a:lnTo>
                  <a:lnTo>
                    <a:pt x="522" y="656"/>
                  </a:lnTo>
                  <a:lnTo>
                    <a:pt x="522" y="656"/>
                  </a:lnTo>
                  <a:lnTo>
                    <a:pt x="522" y="656"/>
                  </a:lnTo>
                  <a:lnTo>
                    <a:pt x="524" y="654"/>
                  </a:lnTo>
                  <a:lnTo>
                    <a:pt x="524" y="654"/>
                  </a:lnTo>
                  <a:lnTo>
                    <a:pt x="524" y="654"/>
                  </a:lnTo>
                  <a:lnTo>
                    <a:pt x="524" y="652"/>
                  </a:lnTo>
                  <a:lnTo>
                    <a:pt x="524" y="652"/>
                  </a:lnTo>
                  <a:lnTo>
                    <a:pt x="524" y="652"/>
                  </a:lnTo>
                  <a:lnTo>
                    <a:pt x="526" y="650"/>
                  </a:lnTo>
                  <a:lnTo>
                    <a:pt x="526" y="646"/>
                  </a:lnTo>
                  <a:lnTo>
                    <a:pt x="526" y="642"/>
                  </a:lnTo>
                  <a:lnTo>
                    <a:pt x="528" y="638"/>
                  </a:lnTo>
                  <a:lnTo>
                    <a:pt x="528" y="634"/>
                  </a:lnTo>
                  <a:lnTo>
                    <a:pt x="530" y="630"/>
                  </a:lnTo>
                  <a:lnTo>
                    <a:pt x="530" y="620"/>
                  </a:lnTo>
                  <a:lnTo>
                    <a:pt x="532" y="614"/>
                  </a:lnTo>
                  <a:lnTo>
                    <a:pt x="530" y="610"/>
                  </a:lnTo>
                  <a:lnTo>
                    <a:pt x="530" y="604"/>
                  </a:lnTo>
                  <a:lnTo>
                    <a:pt x="530" y="604"/>
                  </a:lnTo>
                  <a:lnTo>
                    <a:pt x="530" y="604"/>
                  </a:lnTo>
                  <a:lnTo>
                    <a:pt x="530" y="600"/>
                  </a:lnTo>
                  <a:lnTo>
                    <a:pt x="530" y="600"/>
                  </a:lnTo>
                  <a:lnTo>
                    <a:pt x="530" y="600"/>
                  </a:lnTo>
                  <a:lnTo>
                    <a:pt x="528" y="596"/>
                  </a:lnTo>
                  <a:lnTo>
                    <a:pt x="528" y="596"/>
                  </a:lnTo>
                  <a:lnTo>
                    <a:pt x="526" y="596"/>
                  </a:lnTo>
                  <a:lnTo>
                    <a:pt x="524" y="592"/>
                  </a:lnTo>
                  <a:lnTo>
                    <a:pt x="524" y="592"/>
                  </a:lnTo>
                  <a:lnTo>
                    <a:pt x="524" y="592"/>
                  </a:lnTo>
                  <a:lnTo>
                    <a:pt x="520" y="590"/>
                  </a:lnTo>
                  <a:lnTo>
                    <a:pt x="520" y="590"/>
                  </a:lnTo>
                  <a:lnTo>
                    <a:pt x="520" y="590"/>
                  </a:lnTo>
                  <a:lnTo>
                    <a:pt x="516" y="588"/>
                  </a:lnTo>
                  <a:lnTo>
                    <a:pt x="516" y="588"/>
                  </a:lnTo>
                  <a:lnTo>
                    <a:pt x="514" y="590"/>
                  </a:lnTo>
                  <a:lnTo>
                    <a:pt x="512" y="590"/>
                  </a:lnTo>
                  <a:lnTo>
                    <a:pt x="510" y="592"/>
                  </a:lnTo>
                  <a:lnTo>
                    <a:pt x="506" y="594"/>
                  </a:lnTo>
                  <a:lnTo>
                    <a:pt x="506" y="594"/>
                  </a:lnTo>
                  <a:lnTo>
                    <a:pt x="506" y="594"/>
                  </a:lnTo>
                  <a:lnTo>
                    <a:pt x="504" y="598"/>
                  </a:lnTo>
                  <a:lnTo>
                    <a:pt x="502" y="600"/>
                  </a:lnTo>
                  <a:lnTo>
                    <a:pt x="502" y="600"/>
                  </a:lnTo>
                  <a:lnTo>
                    <a:pt x="500" y="600"/>
                  </a:lnTo>
                  <a:lnTo>
                    <a:pt x="498" y="600"/>
                  </a:lnTo>
                  <a:lnTo>
                    <a:pt x="498" y="600"/>
                  </a:lnTo>
                  <a:lnTo>
                    <a:pt x="496" y="598"/>
                  </a:lnTo>
                  <a:lnTo>
                    <a:pt x="496" y="598"/>
                  </a:lnTo>
                  <a:lnTo>
                    <a:pt x="496" y="594"/>
                  </a:lnTo>
                  <a:lnTo>
                    <a:pt x="496" y="590"/>
                  </a:lnTo>
                  <a:lnTo>
                    <a:pt x="494" y="586"/>
                  </a:lnTo>
                  <a:lnTo>
                    <a:pt x="494" y="586"/>
                  </a:lnTo>
                  <a:lnTo>
                    <a:pt x="494" y="584"/>
                  </a:lnTo>
                  <a:lnTo>
                    <a:pt x="492" y="580"/>
                  </a:lnTo>
                  <a:lnTo>
                    <a:pt x="490" y="572"/>
                  </a:lnTo>
                  <a:lnTo>
                    <a:pt x="490" y="566"/>
                  </a:lnTo>
                  <a:lnTo>
                    <a:pt x="488" y="558"/>
                  </a:lnTo>
                  <a:lnTo>
                    <a:pt x="488" y="552"/>
                  </a:lnTo>
                  <a:lnTo>
                    <a:pt x="486" y="550"/>
                  </a:lnTo>
                  <a:lnTo>
                    <a:pt x="486" y="546"/>
                  </a:lnTo>
                  <a:lnTo>
                    <a:pt x="484" y="544"/>
                  </a:lnTo>
                  <a:lnTo>
                    <a:pt x="484" y="544"/>
                  </a:lnTo>
                  <a:lnTo>
                    <a:pt x="484" y="544"/>
                  </a:lnTo>
                  <a:lnTo>
                    <a:pt x="482" y="542"/>
                  </a:lnTo>
                  <a:lnTo>
                    <a:pt x="482" y="542"/>
                  </a:lnTo>
                  <a:lnTo>
                    <a:pt x="482" y="542"/>
                  </a:lnTo>
                  <a:lnTo>
                    <a:pt x="480" y="540"/>
                  </a:lnTo>
                  <a:lnTo>
                    <a:pt x="480" y="540"/>
                  </a:lnTo>
                  <a:lnTo>
                    <a:pt x="480" y="540"/>
                  </a:lnTo>
                  <a:lnTo>
                    <a:pt x="480" y="540"/>
                  </a:lnTo>
                  <a:close/>
                  <a:moveTo>
                    <a:pt x="558" y="630"/>
                  </a:moveTo>
                  <a:lnTo>
                    <a:pt x="558" y="630"/>
                  </a:lnTo>
                  <a:lnTo>
                    <a:pt x="558" y="630"/>
                  </a:lnTo>
                  <a:lnTo>
                    <a:pt x="558" y="628"/>
                  </a:lnTo>
                  <a:lnTo>
                    <a:pt x="558" y="628"/>
                  </a:lnTo>
                  <a:lnTo>
                    <a:pt x="556" y="626"/>
                  </a:lnTo>
                  <a:lnTo>
                    <a:pt x="554" y="626"/>
                  </a:lnTo>
                  <a:lnTo>
                    <a:pt x="552" y="626"/>
                  </a:lnTo>
                  <a:lnTo>
                    <a:pt x="552" y="626"/>
                  </a:lnTo>
                  <a:lnTo>
                    <a:pt x="550" y="624"/>
                  </a:lnTo>
                  <a:lnTo>
                    <a:pt x="548" y="626"/>
                  </a:lnTo>
                  <a:lnTo>
                    <a:pt x="548" y="626"/>
                  </a:lnTo>
                  <a:lnTo>
                    <a:pt x="548" y="626"/>
                  </a:lnTo>
                  <a:lnTo>
                    <a:pt x="546" y="626"/>
                  </a:lnTo>
                  <a:lnTo>
                    <a:pt x="546" y="626"/>
                  </a:lnTo>
                  <a:lnTo>
                    <a:pt x="546" y="626"/>
                  </a:lnTo>
                  <a:lnTo>
                    <a:pt x="544" y="628"/>
                  </a:lnTo>
                  <a:lnTo>
                    <a:pt x="542" y="628"/>
                  </a:lnTo>
                  <a:lnTo>
                    <a:pt x="538" y="630"/>
                  </a:lnTo>
                  <a:lnTo>
                    <a:pt x="538" y="630"/>
                  </a:lnTo>
                  <a:lnTo>
                    <a:pt x="538" y="632"/>
                  </a:lnTo>
                  <a:lnTo>
                    <a:pt x="536" y="634"/>
                  </a:lnTo>
                  <a:lnTo>
                    <a:pt x="536" y="638"/>
                  </a:lnTo>
                  <a:lnTo>
                    <a:pt x="536" y="638"/>
                  </a:lnTo>
                  <a:lnTo>
                    <a:pt x="536" y="642"/>
                  </a:lnTo>
                  <a:lnTo>
                    <a:pt x="536" y="642"/>
                  </a:lnTo>
                  <a:lnTo>
                    <a:pt x="536" y="642"/>
                  </a:lnTo>
                  <a:lnTo>
                    <a:pt x="536" y="644"/>
                  </a:lnTo>
                  <a:lnTo>
                    <a:pt x="536" y="644"/>
                  </a:lnTo>
                  <a:lnTo>
                    <a:pt x="536" y="646"/>
                  </a:lnTo>
                  <a:lnTo>
                    <a:pt x="538" y="646"/>
                  </a:lnTo>
                  <a:lnTo>
                    <a:pt x="538" y="646"/>
                  </a:lnTo>
                  <a:lnTo>
                    <a:pt x="538" y="648"/>
                  </a:lnTo>
                  <a:lnTo>
                    <a:pt x="542" y="650"/>
                  </a:lnTo>
                  <a:lnTo>
                    <a:pt x="544" y="652"/>
                  </a:lnTo>
                  <a:lnTo>
                    <a:pt x="544" y="652"/>
                  </a:lnTo>
                  <a:lnTo>
                    <a:pt x="544" y="652"/>
                  </a:lnTo>
                  <a:lnTo>
                    <a:pt x="546" y="652"/>
                  </a:lnTo>
                  <a:lnTo>
                    <a:pt x="546" y="652"/>
                  </a:lnTo>
                  <a:lnTo>
                    <a:pt x="548" y="652"/>
                  </a:lnTo>
                  <a:lnTo>
                    <a:pt x="550" y="652"/>
                  </a:lnTo>
                  <a:lnTo>
                    <a:pt x="550" y="652"/>
                  </a:lnTo>
                  <a:lnTo>
                    <a:pt x="550" y="652"/>
                  </a:lnTo>
                  <a:lnTo>
                    <a:pt x="552" y="652"/>
                  </a:lnTo>
                  <a:lnTo>
                    <a:pt x="552" y="652"/>
                  </a:lnTo>
                  <a:lnTo>
                    <a:pt x="554" y="652"/>
                  </a:lnTo>
                  <a:lnTo>
                    <a:pt x="554" y="652"/>
                  </a:lnTo>
                  <a:lnTo>
                    <a:pt x="554" y="652"/>
                  </a:lnTo>
                  <a:lnTo>
                    <a:pt x="556" y="650"/>
                  </a:lnTo>
                  <a:lnTo>
                    <a:pt x="556" y="650"/>
                  </a:lnTo>
                  <a:lnTo>
                    <a:pt x="556" y="650"/>
                  </a:lnTo>
                  <a:lnTo>
                    <a:pt x="556" y="648"/>
                  </a:lnTo>
                  <a:lnTo>
                    <a:pt x="558" y="648"/>
                  </a:lnTo>
                  <a:lnTo>
                    <a:pt x="558" y="648"/>
                  </a:lnTo>
                  <a:lnTo>
                    <a:pt x="558" y="646"/>
                  </a:lnTo>
                  <a:lnTo>
                    <a:pt x="560" y="642"/>
                  </a:lnTo>
                  <a:lnTo>
                    <a:pt x="560" y="642"/>
                  </a:lnTo>
                  <a:lnTo>
                    <a:pt x="560" y="642"/>
                  </a:lnTo>
                  <a:lnTo>
                    <a:pt x="560" y="638"/>
                  </a:lnTo>
                  <a:lnTo>
                    <a:pt x="560" y="638"/>
                  </a:lnTo>
                  <a:lnTo>
                    <a:pt x="560" y="636"/>
                  </a:lnTo>
                  <a:lnTo>
                    <a:pt x="560" y="632"/>
                  </a:lnTo>
                  <a:lnTo>
                    <a:pt x="560" y="632"/>
                  </a:lnTo>
                  <a:lnTo>
                    <a:pt x="560" y="632"/>
                  </a:lnTo>
                  <a:lnTo>
                    <a:pt x="558" y="630"/>
                  </a:lnTo>
                  <a:close/>
                  <a:moveTo>
                    <a:pt x="518" y="482"/>
                  </a:moveTo>
                  <a:lnTo>
                    <a:pt x="520" y="486"/>
                  </a:lnTo>
                  <a:lnTo>
                    <a:pt x="522" y="494"/>
                  </a:lnTo>
                  <a:lnTo>
                    <a:pt x="524" y="504"/>
                  </a:lnTo>
                  <a:lnTo>
                    <a:pt x="526" y="512"/>
                  </a:lnTo>
                  <a:lnTo>
                    <a:pt x="526" y="512"/>
                  </a:lnTo>
                  <a:lnTo>
                    <a:pt x="526" y="514"/>
                  </a:lnTo>
                  <a:lnTo>
                    <a:pt x="528" y="516"/>
                  </a:lnTo>
                  <a:lnTo>
                    <a:pt x="528" y="516"/>
                  </a:lnTo>
                  <a:lnTo>
                    <a:pt x="528" y="516"/>
                  </a:lnTo>
                  <a:lnTo>
                    <a:pt x="530" y="520"/>
                  </a:lnTo>
                  <a:lnTo>
                    <a:pt x="532" y="522"/>
                  </a:lnTo>
                  <a:lnTo>
                    <a:pt x="536" y="526"/>
                  </a:lnTo>
                  <a:lnTo>
                    <a:pt x="536" y="526"/>
                  </a:lnTo>
                  <a:lnTo>
                    <a:pt x="536" y="526"/>
                  </a:lnTo>
                  <a:lnTo>
                    <a:pt x="540" y="528"/>
                  </a:lnTo>
                  <a:lnTo>
                    <a:pt x="544" y="528"/>
                  </a:lnTo>
                  <a:lnTo>
                    <a:pt x="546" y="528"/>
                  </a:lnTo>
                  <a:lnTo>
                    <a:pt x="548" y="528"/>
                  </a:lnTo>
                  <a:lnTo>
                    <a:pt x="550" y="528"/>
                  </a:lnTo>
                  <a:lnTo>
                    <a:pt x="550" y="528"/>
                  </a:lnTo>
                  <a:lnTo>
                    <a:pt x="552" y="528"/>
                  </a:lnTo>
                  <a:lnTo>
                    <a:pt x="554" y="528"/>
                  </a:lnTo>
                  <a:lnTo>
                    <a:pt x="554" y="528"/>
                  </a:lnTo>
                  <a:lnTo>
                    <a:pt x="556" y="524"/>
                  </a:lnTo>
                  <a:lnTo>
                    <a:pt x="556" y="520"/>
                  </a:lnTo>
                  <a:lnTo>
                    <a:pt x="554" y="516"/>
                  </a:lnTo>
                  <a:lnTo>
                    <a:pt x="554" y="514"/>
                  </a:lnTo>
                  <a:lnTo>
                    <a:pt x="554" y="512"/>
                  </a:lnTo>
                  <a:lnTo>
                    <a:pt x="552" y="508"/>
                  </a:lnTo>
                  <a:lnTo>
                    <a:pt x="550" y="506"/>
                  </a:lnTo>
                  <a:lnTo>
                    <a:pt x="550" y="502"/>
                  </a:lnTo>
                  <a:lnTo>
                    <a:pt x="550" y="502"/>
                  </a:lnTo>
                  <a:lnTo>
                    <a:pt x="548" y="502"/>
                  </a:lnTo>
                  <a:lnTo>
                    <a:pt x="546" y="500"/>
                  </a:lnTo>
                  <a:lnTo>
                    <a:pt x="546" y="500"/>
                  </a:lnTo>
                  <a:lnTo>
                    <a:pt x="546" y="500"/>
                  </a:lnTo>
                  <a:lnTo>
                    <a:pt x="544" y="500"/>
                  </a:lnTo>
                  <a:lnTo>
                    <a:pt x="544" y="500"/>
                  </a:lnTo>
                  <a:lnTo>
                    <a:pt x="544" y="500"/>
                  </a:lnTo>
                  <a:lnTo>
                    <a:pt x="540" y="500"/>
                  </a:lnTo>
                  <a:lnTo>
                    <a:pt x="536" y="500"/>
                  </a:lnTo>
                  <a:lnTo>
                    <a:pt x="536" y="500"/>
                  </a:lnTo>
                  <a:lnTo>
                    <a:pt x="536" y="500"/>
                  </a:lnTo>
                  <a:lnTo>
                    <a:pt x="534" y="500"/>
                  </a:lnTo>
                  <a:lnTo>
                    <a:pt x="534" y="500"/>
                  </a:lnTo>
                  <a:lnTo>
                    <a:pt x="534" y="500"/>
                  </a:lnTo>
                  <a:lnTo>
                    <a:pt x="534" y="500"/>
                  </a:lnTo>
                  <a:lnTo>
                    <a:pt x="534" y="498"/>
                  </a:lnTo>
                  <a:lnTo>
                    <a:pt x="534" y="496"/>
                  </a:lnTo>
                  <a:lnTo>
                    <a:pt x="534" y="496"/>
                  </a:lnTo>
                  <a:lnTo>
                    <a:pt x="536" y="496"/>
                  </a:lnTo>
                  <a:lnTo>
                    <a:pt x="536" y="494"/>
                  </a:lnTo>
                  <a:lnTo>
                    <a:pt x="536" y="492"/>
                  </a:lnTo>
                  <a:lnTo>
                    <a:pt x="536" y="492"/>
                  </a:lnTo>
                  <a:lnTo>
                    <a:pt x="534" y="490"/>
                  </a:lnTo>
                  <a:lnTo>
                    <a:pt x="534" y="488"/>
                  </a:lnTo>
                  <a:lnTo>
                    <a:pt x="534" y="488"/>
                  </a:lnTo>
                  <a:lnTo>
                    <a:pt x="534" y="486"/>
                  </a:lnTo>
                  <a:lnTo>
                    <a:pt x="530" y="484"/>
                  </a:lnTo>
                  <a:lnTo>
                    <a:pt x="528" y="480"/>
                  </a:lnTo>
                  <a:lnTo>
                    <a:pt x="524" y="478"/>
                  </a:lnTo>
                  <a:lnTo>
                    <a:pt x="524" y="478"/>
                  </a:lnTo>
                  <a:lnTo>
                    <a:pt x="524" y="478"/>
                  </a:lnTo>
                  <a:lnTo>
                    <a:pt x="520" y="476"/>
                  </a:lnTo>
                  <a:lnTo>
                    <a:pt x="520" y="476"/>
                  </a:lnTo>
                  <a:lnTo>
                    <a:pt x="518" y="476"/>
                  </a:lnTo>
                  <a:lnTo>
                    <a:pt x="518" y="476"/>
                  </a:lnTo>
                  <a:lnTo>
                    <a:pt x="516" y="478"/>
                  </a:lnTo>
                  <a:lnTo>
                    <a:pt x="518" y="482"/>
                  </a:lnTo>
                  <a:close/>
                  <a:moveTo>
                    <a:pt x="530" y="388"/>
                  </a:moveTo>
                  <a:lnTo>
                    <a:pt x="530" y="388"/>
                  </a:lnTo>
                  <a:lnTo>
                    <a:pt x="530" y="390"/>
                  </a:lnTo>
                  <a:lnTo>
                    <a:pt x="530" y="392"/>
                  </a:lnTo>
                  <a:lnTo>
                    <a:pt x="530" y="392"/>
                  </a:lnTo>
                  <a:lnTo>
                    <a:pt x="532" y="392"/>
                  </a:lnTo>
                  <a:lnTo>
                    <a:pt x="532" y="394"/>
                  </a:lnTo>
                  <a:lnTo>
                    <a:pt x="532" y="394"/>
                  </a:lnTo>
                  <a:lnTo>
                    <a:pt x="532" y="394"/>
                  </a:lnTo>
                  <a:lnTo>
                    <a:pt x="534" y="396"/>
                  </a:lnTo>
                  <a:lnTo>
                    <a:pt x="534" y="396"/>
                  </a:lnTo>
                  <a:lnTo>
                    <a:pt x="534" y="396"/>
                  </a:lnTo>
                  <a:lnTo>
                    <a:pt x="536" y="396"/>
                  </a:lnTo>
                  <a:lnTo>
                    <a:pt x="536" y="396"/>
                  </a:lnTo>
                  <a:lnTo>
                    <a:pt x="536" y="396"/>
                  </a:lnTo>
                  <a:lnTo>
                    <a:pt x="538" y="396"/>
                  </a:lnTo>
                  <a:lnTo>
                    <a:pt x="538" y="396"/>
                  </a:lnTo>
                  <a:lnTo>
                    <a:pt x="538" y="396"/>
                  </a:lnTo>
                  <a:lnTo>
                    <a:pt x="540" y="396"/>
                  </a:lnTo>
                  <a:lnTo>
                    <a:pt x="542" y="396"/>
                  </a:lnTo>
                  <a:lnTo>
                    <a:pt x="542" y="396"/>
                  </a:lnTo>
                  <a:lnTo>
                    <a:pt x="540" y="400"/>
                  </a:lnTo>
                  <a:lnTo>
                    <a:pt x="540" y="400"/>
                  </a:lnTo>
                  <a:lnTo>
                    <a:pt x="540" y="400"/>
                  </a:lnTo>
                  <a:lnTo>
                    <a:pt x="538" y="400"/>
                  </a:lnTo>
                  <a:lnTo>
                    <a:pt x="538" y="400"/>
                  </a:lnTo>
                  <a:lnTo>
                    <a:pt x="538" y="400"/>
                  </a:lnTo>
                  <a:lnTo>
                    <a:pt x="536" y="400"/>
                  </a:lnTo>
                  <a:lnTo>
                    <a:pt x="536" y="400"/>
                  </a:lnTo>
                  <a:lnTo>
                    <a:pt x="534" y="402"/>
                  </a:lnTo>
                  <a:lnTo>
                    <a:pt x="534" y="402"/>
                  </a:lnTo>
                  <a:lnTo>
                    <a:pt x="536" y="406"/>
                  </a:lnTo>
                  <a:lnTo>
                    <a:pt x="540" y="406"/>
                  </a:lnTo>
                  <a:lnTo>
                    <a:pt x="540" y="406"/>
                  </a:lnTo>
                  <a:lnTo>
                    <a:pt x="540" y="406"/>
                  </a:lnTo>
                  <a:lnTo>
                    <a:pt x="544" y="408"/>
                  </a:lnTo>
                  <a:lnTo>
                    <a:pt x="546" y="408"/>
                  </a:lnTo>
                  <a:lnTo>
                    <a:pt x="546" y="408"/>
                  </a:lnTo>
                  <a:lnTo>
                    <a:pt x="548" y="408"/>
                  </a:lnTo>
                  <a:lnTo>
                    <a:pt x="548" y="408"/>
                  </a:lnTo>
                  <a:lnTo>
                    <a:pt x="548" y="410"/>
                  </a:lnTo>
                  <a:lnTo>
                    <a:pt x="546" y="412"/>
                  </a:lnTo>
                  <a:lnTo>
                    <a:pt x="546" y="414"/>
                  </a:lnTo>
                  <a:lnTo>
                    <a:pt x="544" y="416"/>
                  </a:lnTo>
                  <a:lnTo>
                    <a:pt x="544" y="418"/>
                  </a:lnTo>
                  <a:lnTo>
                    <a:pt x="542" y="420"/>
                  </a:lnTo>
                  <a:lnTo>
                    <a:pt x="540" y="420"/>
                  </a:lnTo>
                  <a:lnTo>
                    <a:pt x="540" y="420"/>
                  </a:lnTo>
                  <a:lnTo>
                    <a:pt x="540" y="422"/>
                  </a:lnTo>
                  <a:lnTo>
                    <a:pt x="538" y="426"/>
                  </a:lnTo>
                  <a:lnTo>
                    <a:pt x="536" y="428"/>
                  </a:lnTo>
                  <a:lnTo>
                    <a:pt x="536" y="428"/>
                  </a:lnTo>
                  <a:lnTo>
                    <a:pt x="536" y="430"/>
                  </a:lnTo>
                  <a:lnTo>
                    <a:pt x="534" y="432"/>
                  </a:lnTo>
                  <a:lnTo>
                    <a:pt x="534" y="432"/>
                  </a:lnTo>
                  <a:lnTo>
                    <a:pt x="534" y="432"/>
                  </a:lnTo>
                  <a:lnTo>
                    <a:pt x="534" y="434"/>
                  </a:lnTo>
                  <a:lnTo>
                    <a:pt x="534" y="434"/>
                  </a:lnTo>
                  <a:lnTo>
                    <a:pt x="534" y="436"/>
                  </a:lnTo>
                  <a:lnTo>
                    <a:pt x="534" y="438"/>
                  </a:lnTo>
                  <a:lnTo>
                    <a:pt x="534" y="438"/>
                  </a:lnTo>
                  <a:lnTo>
                    <a:pt x="536" y="438"/>
                  </a:lnTo>
                  <a:lnTo>
                    <a:pt x="536" y="440"/>
                  </a:lnTo>
                  <a:lnTo>
                    <a:pt x="536" y="440"/>
                  </a:lnTo>
                  <a:lnTo>
                    <a:pt x="536" y="440"/>
                  </a:lnTo>
                  <a:lnTo>
                    <a:pt x="538" y="442"/>
                  </a:lnTo>
                  <a:lnTo>
                    <a:pt x="538" y="442"/>
                  </a:lnTo>
                  <a:lnTo>
                    <a:pt x="538" y="444"/>
                  </a:lnTo>
                  <a:lnTo>
                    <a:pt x="540" y="444"/>
                  </a:lnTo>
                  <a:lnTo>
                    <a:pt x="540" y="444"/>
                  </a:lnTo>
                  <a:lnTo>
                    <a:pt x="540" y="444"/>
                  </a:lnTo>
                  <a:lnTo>
                    <a:pt x="544" y="446"/>
                  </a:lnTo>
                  <a:lnTo>
                    <a:pt x="544" y="446"/>
                  </a:lnTo>
                  <a:lnTo>
                    <a:pt x="546" y="446"/>
                  </a:lnTo>
                  <a:lnTo>
                    <a:pt x="550" y="448"/>
                  </a:lnTo>
                  <a:lnTo>
                    <a:pt x="556" y="450"/>
                  </a:lnTo>
                  <a:lnTo>
                    <a:pt x="560" y="450"/>
                  </a:lnTo>
                  <a:lnTo>
                    <a:pt x="560" y="452"/>
                  </a:lnTo>
                  <a:lnTo>
                    <a:pt x="560" y="452"/>
                  </a:lnTo>
                  <a:lnTo>
                    <a:pt x="562" y="452"/>
                  </a:lnTo>
                  <a:lnTo>
                    <a:pt x="564" y="454"/>
                  </a:lnTo>
                  <a:lnTo>
                    <a:pt x="564" y="454"/>
                  </a:lnTo>
                  <a:lnTo>
                    <a:pt x="566" y="456"/>
                  </a:lnTo>
                  <a:lnTo>
                    <a:pt x="568" y="456"/>
                  </a:lnTo>
                  <a:lnTo>
                    <a:pt x="568" y="456"/>
                  </a:lnTo>
                  <a:lnTo>
                    <a:pt x="568" y="456"/>
                  </a:lnTo>
                  <a:lnTo>
                    <a:pt x="572" y="458"/>
                  </a:lnTo>
                  <a:lnTo>
                    <a:pt x="578" y="458"/>
                  </a:lnTo>
                  <a:lnTo>
                    <a:pt x="582" y="458"/>
                  </a:lnTo>
                  <a:lnTo>
                    <a:pt x="586" y="458"/>
                  </a:lnTo>
                  <a:lnTo>
                    <a:pt x="588" y="458"/>
                  </a:lnTo>
                  <a:lnTo>
                    <a:pt x="590" y="460"/>
                  </a:lnTo>
                  <a:lnTo>
                    <a:pt x="592" y="462"/>
                  </a:lnTo>
                  <a:lnTo>
                    <a:pt x="592" y="464"/>
                  </a:lnTo>
                  <a:lnTo>
                    <a:pt x="592" y="466"/>
                  </a:lnTo>
                  <a:lnTo>
                    <a:pt x="592" y="466"/>
                  </a:lnTo>
                  <a:lnTo>
                    <a:pt x="592" y="468"/>
                  </a:lnTo>
                  <a:lnTo>
                    <a:pt x="590" y="468"/>
                  </a:lnTo>
                  <a:lnTo>
                    <a:pt x="590" y="468"/>
                  </a:lnTo>
                  <a:lnTo>
                    <a:pt x="586" y="470"/>
                  </a:lnTo>
                  <a:lnTo>
                    <a:pt x="582" y="470"/>
                  </a:lnTo>
                  <a:lnTo>
                    <a:pt x="578" y="472"/>
                  </a:lnTo>
                  <a:lnTo>
                    <a:pt x="572" y="472"/>
                  </a:lnTo>
                  <a:lnTo>
                    <a:pt x="572" y="472"/>
                  </a:lnTo>
                  <a:lnTo>
                    <a:pt x="570" y="472"/>
                  </a:lnTo>
                  <a:lnTo>
                    <a:pt x="570" y="472"/>
                  </a:lnTo>
                  <a:lnTo>
                    <a:pt x="570" y="476"/>
                  </a:lnTo>
                  <a:lnTo>
                    <a:pt x="570" y="478"/>
                  </a:lnTo>
                  <a:lnTo>
                    <a:pt x="570" y="478"/>
                  </a:lnTo>
                  <a:lnTo>
                    <a:pt x="570" y="478"/>
                  </a:lnTo>
                  <a:lnTo>
                    <a:pt x="572" y="480"/>
                  </a:lnTo>
                  <a:lnTo>
                    <a:pt x="572" y="480"/>
                  </a:lnTo>
                  <a:lnTo>
                    <a:pt x="572" y="482"/>
                  </a:lnTo>
                  <a:lnTo>
                    <a:pt x="574" y="482"/>
                  </a:lnTo>
                  <a:lnTo>
                    <a:pt x="574" y="482"/>
                  </a:lnTo>
                  <a:lnTo>
                    <a:pt x="574" y="484"/>
                  </a:lnTo>
                  <a:lnTo>
                    <a:pt x="576" y="484"/>
                  </a:lnTo>
                  <a:lnTo>
                    <a:pt x="576" y="484"/>
                  </a:lnTo>
                  <a:lnTo>
                    <a:pt x="576" y="484"/>
                  </a:lnTo>
                  <a:lnTo>
                    <a:pt x="578" y="486"/>
                  </a:lnTo>
                  <a:lnTo>
                    <a:pt x="578" y="486"/>
                  </a:lnTo>
                  <a:lnTo>
                    <a:pt x="578" y="486"/>
                  </a:lnTo>
                  <a:lnTo>
                    <a:pt x="582" y="486"/>
                  </a:lnTo>
                  <a:lnTo>
                    <a:pt x="584" y="486"/>
                  </a:lnTo>
                  <a:lnTo>
                    <a:pt x="586" y="486"/>
                  </a:lnTo>
                  <a:lnTo>
                    <a:pt x="590" y="488"/>
                  </a:lnTo>
                  <a:lnTo>
                    <a:pt x="590" y="488"/>
                  </a:lnTo>
                  <a:lnTo>
                    <a:pt x="590" y="488"/>
                  </a:lnTo>
                  <a:lnTo>
                    <a:pt x="594" y="488"/>
                  </a:lnTo>
                  <a:lnTo>
                    <a:pt x="594" y="488"/>
                  </a:lnTo>
                  <a:lnTo>
                    <a:pt x="596" y="488"/>
                  </a:lnTo>
                  <a:lnTo>
                    <a:pt x="598" y="488"/>
                  </a:lnTo>
                  <a:lnTo>
                    <a:pt x="604" y="486"/>
                  </a:lnTo>
                  <a:lnTo>
                    <a:pt x="612" y="484"/>
                  </a:lnTo>
                  <a:lnTo>
                    <a:pt x="616" y="482"/>
                  </a:lnTo>
                  <a:lnTo>
                    <a:pt x="620" y="482"/>
                  </a:lnTo>
                  <a:lnTo>
                    <a:pt x="620" y="482"/>
                  </a:lnTo>
                  <a:lnTo>
                    <a:pt x="620" y="482"/>
                  </a:lnTo>
                  <a:lnTo>
                    <a:pt x="622" y="480"/>
                  </a:lnTo>
                  <a:lnTo>
                    <a:pt x="624" y="478"/>
                  </a:lnTo>
                  <a:lnTo>
                    <a:pt x="624" y="478"/>
                  </a:lnTo>
                  <a:lnTo>
                    <a:pt x="626" y="478"/>
                  </a:lnTo>
                  <a:lnTo>
                    <a:pt x="626" y="478"/>
                  </a:lnTo>
                  <a:lnTo>
                    <a:pt x="626" y="476"/>
                  </a:lnTo>
                  <a:lnTo>
                    <a:pt x="626" y="476"/>
                  </a:lnTo>
                  <a:lnTo>
                    <a:pt x="628" y="472"/>
                  </a:lnTo>
                  <a:lnTo>
                    <a:pt x="628" y="470"/>
                  </a:lnTo>
                  <a:lnTo>
                    <a:pt x="630" y="468"/>
                  </a:lnTo>
                  <a:lnTo>
                    <a:pt x="630" y="468"/>
                  </a:lnTo>
                  <a:lnTo>
                    <a:pt x="630" y="468"/>
                  </a:lnTo>
                  <a:lnTo>
                    <a:pt x="628" y="462"/>
                  </a:lnTo>
                  <a:lnTo>
                    <a:pt x="628" y="458"/>
                  </a:lnTo>
                  <a:lnTo>
                    <a:pt x="628" y="454"/>
                  </a:lnTo>
                  <a:lnTo>
                    <a:pt x="628" y="450"/>
                  </a:lnTo>
                  <a:lnTo>
                    <a:pt x="628" y="450"/>
                  </a:lnTo>
                  <a:lnTo>
                    <a:pt x="628" y="450"/>
                  </a:lnTo>
                  <a:lnTo>
                    <a:pt x="626" y="448"/>
                  </a:lnTo>
                  <a:lnTo>
                    <a:pt x="626" y="448"/>
                  </a:lnTo>
                  <a:lnTo>
                    <a:pt x="626" y="448"/>
                  </a:lnTo>
                  <a:lnTo>
                    <a:pt x="626" y="444"/>
                  </a:lnTo>
                  <a:lnTo>
                    <a:pt x="626" y="444"/>
                  </a:lnTo>
                  <a:lnTo>
                    <a:pt x="626" y="444"/>
                  </a:lnTo>
                  <a:lnTo>
                    <a:pt x="622" y="442"/>
                  </a:lnTo>
                  <a:lnTo>
                    <a:pt x="620" y="440"/>
                  </a:lnTo>
                  <a:lnTo>
                    <a:pt x="620" y="436"/>
                  </a:lnTo>
                  <a:lnTo>
                    <a:pt x="620" y="430"/>
                  </a:lnTo>
                  <a:lnTo>
                    <a:pt x="620" y="424"/>
                  </a:lnTo>
                  <a:lnTo>
                    <a:pt x="620" y="420"/>
                  </a:lnTo>
                  <a:lnTo>
                    <a:pt x="620" y="420"/>
                  </a:lnTo>
                  <a:lnTo>
                    <a:pt x="620" y="418"/>
                  </a:lnTo>
                  <a:lnTo>
                    <a:pt x="618" y="414"/>
                  </a:lnTo>
                  <a:lnTo>
                    <a:pt x="618" y="414"/>
                  </a:lnTo>
                  <a:lnTo>
                    <a:pt x="618" y="414"/>
                  </a:lnTo>
                  <a:lnTo>
                    <a:pt x="616" y="410"/>
                  </a:lnTo>
                  <a:lnTo>
                    <a:pt x="616" y="410"/>
                  </a:lnTo>
                  <a:lnTo>
                    <a:pt x="614" y="408"/>
                  </a:lnTo>
                  <a:lnTo>
                    <a:pt x="614" y="406"/>
                  </a:lnTo>
                  <a:lnTo>
                    <a:pt x="614" y="406"/>
                  </a:lnTo>
                  <a:lnTo>
                    <a:pt x="612" y="406"/>
                  </a:lnTo>
                  <a:lnTo>
                    <a:pt x="610" y="406"/>
                  </a:lnTo>
                  <a:lnTo>
                    <a:pt x="610" y="406"/>
                  </a:lnTo>
                  <a:lnTo>
                    <a:pt x="610" y="404"/>
                  </a:lnTo>
                  <a:lnTo>
                    <a:pt x="608" y="404"/>
                  </a:lnTo>
                  <a:lnTo>
                    <a:pt x="608" y="404"/>
                  </a:lnTo>
                  <a:lnTo>
                    <a:pt x="608" y="404"/>
                  </a:lnTo>
                  <a:lnTo>
                    <a:pt x="604" y="402"/>
                  </a:lnTo>
                  <a:lnTo>
                    <a:pt x="604" y="402"/>
                  </a:lnTo>
                  <a:lnTo>
                    <a:pt x="604" y="402"/>
                  </a:lnTo>
                  <a:lnTo>
                    <a:pt x="602" y="404"/>
                  </a:lnTo>
                  <a:lnTo>
                    <a:pt x="600" y="402"/>
                  </a:lnTo>
                  <a:lnTo>
                    <a:pt x="600" y="402"/>
                  </a:lnTo>
                  <a:lnTo>
                    <a:pt x="598" y="402"/>
                  </a:lnTo>
                  <a:lnTo>
                    <a:pt x="598" y="400"/>
                  </a:lnTo>
                  <a:lnTo>
                    <a:pt x="598" y="400"/>
                  </a:lnTo>
                  <a:lnTo>
                    <a:pt x="598" y="396"/>
                  </a:lnTo>
                  <a:lnTo>
                    <a:pt x="598" y="394"/>
                  </a:lnTo>
                  <a:lnTo>
                    <a:pt x="598" y="390"/>
                  </a:lnTo>
                  <a:lnTo>
                    <a:pt x="598" y="390"/>
                  </a:lnTo>
                  <a:lnTo>
                    <a:pt x="598" y="388"/>
                  </a:lnTo>
                  <a:lnTo>
                    <a:pt x="598" y="386"/>
                  </a:lnTo>
                  <a:lnTo>
                    <a:pt x="598" y="386"/>
                  </a:lnTo>
                  <a:lnTo>
                    <a:pt x="596" y="384"/>
                  </a:lnTo>
                  <a:lnTo>
                    <a:pt x="594" y="384"/>
                  </a:lnTo>
                  <a:lnTo>
                    <a:pt x="590" y="384"/>
                  </a:lnTo>
                  <a:lnTo>
                    <a:pt x="586" y="384"/>
                  </a:lnTo>
                  <a:lnTo>
                    <a:pt x="584" y="386"/>
                  </a:lnTo>
                  <a:lnTo>
                    <a:pt x="582" y="386"/>
                  </a:lnTo>
                  <a:lnTo>
                    <a:pt x="580" y="388"/>
                  </a:lnTo>
                  <a:lnTo>
                    <a:pt x="578" y="388"/>
                  </a:lnTo>
                  <a:lnTo>
                    <a:pt x="576" y="390"/>
                  </a:lnTo>
                  <a:lnTo>
                    <a:pt x="576" y="386"/>
                  </a:lnTo>
                  <a:lnTo>
                    <a:pt x="576" y="382"/>
                  </a:lnTo>
                  <a:lnTo>
                    <a:pt x="574" y="380"/>
                  </a:lnTo>
                  <a:lnTo>
                    <a:pt x="574" y="380"/>
                  </a:lnTo>
                  <a:lnTo>
                    <a:pt x="574" y="378"/>
                  </a:lnTo>
                  <a:lnTo>
                    <a:pt x="574" y="376"/>
                  </a:lnTo>
                  <a:lnTo>
                    <a:pt x="574" y="376"/>
                  </a:lnTo>
                  <a:lnTo>
                    <a:pt x="574" y="374"/>
                  </a:lnTo>
                  <a:lnTo>
                    <a:pt x="570" y="372"/>
                  </a:lnTo>
                  <a:lnTo>
                    <a:pt x="570" y="372"/>
                  </a:lnTo>
                  <a:lnTo>
                    <a:pt x="570" y="372"/>
                  </a:lnTo>
                  <a:lnTo>
                    <a:pt x="568" y="370"/>
                  </a:lnTo>
                  <a:lnTo>
                    <a:pt x="568" y="370"/>
                  </a:lnTo>
                  <a:lnTo>
                    <a:pt x="566" y="370"/>
                  </a:lnTo>
                  <a:lnTo>
                    <a:pt x="564" y="368"/>
                  </a:lnTo>
                  <a:lnTo>
                    <a:pt x="560" y="366"/>
                  </a:lnTo>
                  <a:lnTo>
                    <a:pt x="558" y="362"/>
                  </a:lnTo>
                  <a:lnTo>
                    <a:pt x="554" y="360"/>
                  </a:lnTo>
                  <a:lnTo>
                    <a:pt x="552" y="358"/>
                  </a:lnTo>
                  <a:lnTo>
                    <a:pt x="552" y="358"/>
                  </a:lnTo>
                  <a:lnTo>
                    <a:pt x="550" y="356"/>
                  </a:lnTo>
                  <a:lnTo>
                    <a:pt x="546" y="358"/>
                  </a:lnTo>
                  <a:lnTo>
                    <a:pt x="544" y="358"/>
                  </a:lnTo>
                  <a:lnTo>
                    <a:pt x="538" y="360"/>
                  </a:lnTo>
                  <a:lnTo>
                    <a:pt x="534" y="362"/>
                  </a:lnTo>
                  <a:lnTo>
                    <a:pt x="532" y="362"/>
                  </a:lnTo>
                  <a:lnTo>
                    <a:pt x="532" y="362"/>
                  </a:lnTo>
                  <a:lnTo>
                    <a:pt x="532" y="362"/>
                  </a:lnTo>
                  <a:lnTo>
                    <a:pt x="530" y="364"/>
                  </a:lnTo>
                  <a:lnTo>
                    <a:pt x="528" y="366"/>
                  </a:lnTo>
                  <a:lnTo>
                    <a:pt x="528" y="370"/>
                  </a:lnTo>
                  <a:lnTo>
                    <a:pt x="528" y="372"/>
                  </a:lnTo>
                  <a:lnTo>
                    <a:pt x="528" y="378"/>
                  </a:lnTo>
                  <a:lnTo>
                    <a:pt x="528" y="382"/>
                  </a:lnTo>
                  <a:lnTo>
                    <a:pt x="528" y="386"/>
                  </a:lnTo>
                  <a:lnTo>
                    <a:pt x="530" y="388"/>
                  </a:lnTo>
                  <a:close/>
                  <a:moveTo>
                    <a:pt x="610" y="308"/>
                  </a:moveTo>
                  <a:lnTo>
                    <a:pt x="610" y="312"/>
                  </a:lnTo>
                  <a:lnTo>
                    <a:pt x="610" y="316"/>
                  </a:lnTo>
                  <a:lnTo>
                    <a:pt x="612" y="318"/>
                  </a:lnTo>
                  <a:lnTo>
                    <a:pt x="612" y="320"/>
                  </a:lnTo>
                  <a:lnTo>
                    <a:pt x="612" y="320"/>
                  </a:lnTo>
                  <a:lnTo>
                    <a:pt x="612" y="320"/>
                  </a:lnTo>
                  <a:lnTo>
                    <a:pt x="614" y="324"/>
                  </a:lnTo>
                  <a:lnTo>
                    <a:pt x="614" y="324"/>
                  </a:lnTo>
                  <a:lnTo>
                    <a:pt x="614" y="324"/>
                  </a:lnTo>
                  <a:lnTo>
                    <a:pt x="616" y="328"/>
                  </a:lnTo>
                  <a:lnTo>
                    <a:pt x="616" y="328"/>
                  </a:lnTo>
                  <a:lnTo>
                    <a:pt x="616" y="328"/>
                  </a:lnTo>
                  <a:lnTo>
                    <a:pt x="620" y="330"/>
                  </a:lnTo>
                  <a:lnTo>
                    <a:pt x="622" y="332"/>
                  </a:lnTo>
                  <a:lnTo>
                    <a:pt x="624" y="332"/>
                  </a:lnTo>
                  <a:lnTo>
                    <a:pt x="628" y="334"/>
                  </a:lnTo>
                  <a:lnTo>
                    <a:pt x="630" y="336"/>
                  </a:lnTo>
                  <a:lnTo>
                    <a:pt x="630" y="336"/>
                  </a:lnTo>
                  <a:lnTo>
                    <a:pt x="634" y="336"/>
                  </a:lnTo>
                  <a:lnTo>
                    <a:pt x="634" y="336"/>
                  </a:lnTo>
                  <a:lnTo>
                    <a:pt x="636" y="334"/>
                  </a:lnTo>
                  <a:lnTo>
                    <a:pt x="636" y="326"/>
                  </a:lnTo>
                  <a:lnTo>
                    <a:pt x="636" y="320"/>
                  </a:lnTo>
                  <a:lnTo>
                    <a:pt x="634" y="314"/>
                  </a:lnTo>
                  <a:lnTo>
                    <a:pt x="634" y="314"/>
                  </a:lnTo>
                  <a:lnTo>
                    <a:pt x="634" y="314"/>
                  </a:lnTo>
                  <a:lnTo>
                    <a:pt x="634" y="308"/>
                  </a:lnTo>
                  <a:lnTo>
                    <a:pt x="634" y="308"/>
                  </a:lnTo>
                  <a:lnTo>
                    <a:pt x="634" y="308"/>
                  </a:lnTo>
                  <a:lnTo>
                    <a:pt x="630" y="304"/>
                  </a:lnTo>
                  <a:lnTo>
                    <a:pt x="630" y="304"/>
                  </a:lnTo>
                  <a:lnTo>
                    <a:pt x="630" y="302"/>
                  </a:lnTo>
                  <a:lnTo>
                    <a:pt x="628" y="302"/>
                  </a:lnTo>
                  <a:lnTo>
                    <a:pt x="628" y="302"/>
                  </a:lnTo>
                  <a:lnTo>
                    <a:pt x="628" y="300"/>
                  </a:lnTo>
                  <a:lnTo>
                    <a:pt x="626" y="300"/>
                  </a:lnTo>
                  <a:lnTo>
                    <a:pt x="626" y="300"/>
                  </a:lnTo>
                  <a:lnTo>
                    <a:pt x="626" y="300"/>
                  </a:lnTo>
                  <a:lnTo>
                    <a:pt x="624" y="298"/>
                  </a:lnTo>
                  <a:lnTo>
                    <a:pt x="624" y="298"/>
                  </a:lnTo>
                  <a:lnTo>
                    <a:pt x="622" y="298"/>
                  </a:lnTo>
                  <a:lnTo>
                    <a:pt x="620" y="298"/>
                  </a:lnTo>
                  <a:lnTo>
                    <a:pt x="616" y="296"/>
                  </a:lnTo>
                  <a:lnTo>
                    <a:pt x="612" y="296"/>
                  </a:lnTo>
                  <a:lnTo>
                    <a:pt x="612" y="296"/>
                  </a:lnTo>
                  <a:lnTo>
                    <a:pt x="610" y="298"/>
                  </a:lnTo>
                  <a:lnTo>
                    <a:pt x="610" y="298"/>
                  </a:lnTo>
                  <a:lnTo>
                    <a:pt x="610" y="300"/>
                  </a:lnTo>
                  <a:lnTo>
                    <a:pt x="610" y="304"/>
                  </a:lnTo>
                  <a:lnTo>
                    <a:pt x="610" y="308"/>
                  </a:lnTo>
                  <a:close/>
                  <a:moveTo>
                    <a:pt x="638" y="342"/>
                  </a:moveTo>
                  <a:lnTo>
                    <a:pt x="642" y="344"/>
                  </a:lnTo>
                  <a:lnTo>
                    <a:pt x="646" y="344"/>
                  </a:lnTo>
                  <a:lnTo>
                    <a:pt x="650" y="346"/>
                  </a:lnTo>
                  <a:lnTo>
                    <a:pt x="652" y="346"/>
                  </a:lnTo>
                  <a:lnTo>
                    <a:pt x="652" y="346"/>
                  </a:lnTo>
                  <a:lnTo>
                    <a:pt x="654" y="346"/>
                  </a:lnTo>
                  <a:lnTo>
                    <a:pt x="654" y="346"/>
                  </a:lnTo>
                  <a:lnTo>
                    <a:pt x="656" y="344"/>
                  </a:lnTo>
                  <a:lnTo>
                    <a:pt x="656" y="344"/>
                  </a:lnTo>
                  <a:lnTo>
                    <a:pt x="656" y="344"/>
                  </a:lnTo>
                  <a:lnTo>
                    <a:pt x="654" y="340"/>
                  </a:lnTo>
                  <a:lnTo>
                    <a:pt x="654" y="340"/>
                  </a:lnTo>
                  <a:lnTo>
                    <a:pt x="654" y="340"/>
                  </a:lnTo>
                  <a:lnTo>
                    <a:pt x="654" y="340"/>
                  </a:lnTo>
                  <a:lnTo>
                    <a:pt x="652" y="338"/>
                  </a:lnTo>
                  <a:lnTo>
                    <a:pt x="650" y="338"/>
                  </a:lnTo>
                  <a:lnTo>
                    <a:pt x="648" y="338"/>
                  </a:lnTo>
                  <a:lnTo>
                    <a:pt x="644" y="338"/>
                  </a:lnTo>
                  <a:lnTo>
                    <a:pt x="640" y="336"/>
                  </a:lnTo>
                  <a:lnTo>
                    <a:pt x="640" y="336"/>
                  </a:lnTo>
                  <a:lnTo>
                    <a:pt x="638" y="338"/>
                  </a:lnTo>
                  <a:lnTo>
                    <a:pt x="636" y="338"/>
                  </a:lnTo>
                  <a:lnTo>
                    <a:pt x="636" y="338"/>
                  </a:lnTo>
                  <a:lnTo>
                    <a:pt x="636" y="340"/>
                  </a:lnTo>
                  <a:lnTo>
                    <a:pt x="638" y="342"/>
                  </a:lnTo>
                  <a:lnTo>
                    <a:pt x="638" y="342"/>
                  </a:lnTo>
                  <a:close/>
                  <a:moveTo>
                    <a:pt x="654" y="358"/>
                  </a:moveTo>
                  <a:lnTo>
                    <a:pt x="654" y="358"/>
                  </a:lnTo>
                  <a:lnTo>
                    <a:pt x="652" y="356"/>
                  </a:lnTo>
                  <a:lnTo>
                    <a:pt x="650" y="356"/>
                  </a:lnTo>
                  <a:lnTo>
                    <a:pt x="650" y="356"/>
                  </a:lnTo>
                  <a:lnTo>
                    <a:pt x="650" y="356"/>
                  </a:lnTo>
                  <a:lnTo>
                    <a:pt x="648" y="356"/>
                  </a:lnTo>
                  <a:lnTo>
                    <a:pt x="648" y="356"/>
                  </a:lnTo>
                  <a:lnTo>
                    <a:pt x="646" y="356"/>
                  </a:lnTo>
                  <a:lnTo>
                    <a:pt x="642" y="356"/>
                  </a:lnTo>
                  <a:lnTo>
                    <a:pt x="642" y="356"/>
                  </a:lnTo>
                  <a:lnTo>
                    <a:pt x="640" y="358"/>
                  </a:lnTo>
                  <a:lnTo>
                    <a:pt x="640" y="358"/>
                  </a:lnTo>
                  <a:lnTo>
                    <a:pt x="640" y="360"/>
                  </a:lnTo>
                  <a:lnTo>
                    <a:pt x="640" y="360"/>
                  </a:lnTo>
                  <a:lnTo>
                    <a:pt x="640" y="360"/>
                  </a:lnTo>
                  <a:lnTo>
                    <a:pt x="642" y="362"/>
                  </a:lnTo>
                  <a:lnTo>
                    <a:pt x="644" y="362"/>
                  </a:lnTo>
                  <a:lnTo>
                    <a:pt x="644" y="362"/>
                  </a:lnTo>
                  <a:lnTo>
                    <a:pt x="644" y="364"/>
                  </a:lnTo>
                  <a:lnTo>
                    <a:pt x="646" y="364"/>
                  </a:lnTo>
                  <a:lnTo>
                    <a:pt x="646" y="364"/>
                  </a:lnTo>
                  <a:lnTo>
                    <a:pt x="646" y="364"/>
                  </a:lnTo>
                  <a:lnTo>
                    <a:pt x="648" y="364"/>
                  </a:lnTo>
                  <a:lnTo>
                    <a:pt x="650" y="364"/>
                  </a:lnTo>
                  <a:lnTo>
                    <a:pt x="652" y="364"/>
                  </a:lnTo>
                  <a:lnTo>
                    <a:pt x="652" y="364"/>
                  </a:lnTo>
                  <a:lnTo>
                    <a:pt x="654" y="362"/>
                  </a:lnTo>
                  <a:lnTo>
                    <a:pt x="654" y="362"/>
                  </a:lnTo>
                  <a:lnTo>
                    <a:pt x="654" y="362"/>
                  </a:lnTo>
                  <a:lnTo>
                    <a:pt x="654" y="360"/>
                  </a:lnTo>
                  <a:lnTo>
                    <a:pt x="654" y="358"/>
                  </a:lnTo>
                  <a:lnTo>
                    <a:pt x="654" y="358"/>
                  </a:lnTo>
                  <a:close/>
                  <a:moveTo>
                    <a:pt x="634" y="408"/>
                  </a:moveTo>
                  <a:lnTo>
                    <a:pt x="634" y="420"/>
                  </a:lnTo>
                  <a:lnTo>
                    <a:pt x="634" y="426"/>
                  </a:lnTo>
                  <a:lnTo>
                    <a:pt x="636" y="432"/>
                  </a:lnTo>
                  <a:lnTo>
                    <a:pt x="636" y="432"/>
                  </a:lnTo>
                  <a:lnTo>
                    <a:pt x="636" y="432"/>
                  </a:lnTo>
                  <a:lnTo>
                    <a:pt x="638" y="436"/>
                  </a:lnTo>
                  <a:lnTo>
                    <a:pt x="638" y="436"/>
                  </a:lnTo>
                  <a:lnTo>
                    <a:pt x="638" y="438"/>
                  </a:lnTo>
                  <a:lnTo>
                    <a:pt x="642" y="442"/>
                  </a:lnTo>
                  <a:lnTo>
                    <a:pt x="642" y="442"/>
                  </a:lnTo>
                  <a:lnTo>
                    <a:pt x="642" y="442"/>
                  </a:lnTo>
                  <a:lnTo>
                    <a:pt x="644" y="444"/>
                  </a:lnTo>
                  <a:lnTo>
                    <a:pt x="646" y="446"/>
                  </a:lnTo>
                  <a:lnTo>
                    <a:pt x="648" y="448"/>
                  </a:lnTo>
                  <a:lnTo>
                    <a:pt x="652" y="450"/>
                  </a:lnTo>
                  <a:lnTo>
                    <a:pt x="654" y="452"/>
                  </a:lnTo>
                  <a:lnTo>
                    <a:pt x="654" y="454"/>
                  </a:lnTo>
                  <a:lnTo>
                    <a:pt x="652" y="454"/>
                  </a:lnTo>
                  <a:lnTo>
                    <a:pt x="650" y="454"/>
                  </a:lnTo>
                  <a:lnTo>
                    <a:pt x="648" y="456"/>
                  </a:lnTo>
                  <a:lnTo>
                    <a:pt x="644" y="456"/>
                  </a:lnTo>
                  <a:lnTo>
                    <a:pt x="644" y="456"/>
                  </a:lnTo>
                  <a:lnTo>
                    <a:pt x="642" y="458"/>
                  </a:lnTo>
                  <a:lnTo>
                    <a:pt x="640" y="460"/>
                  </a:lnTo>
                  <a:lnTo>
                    <a:pt x="640" y="460"/>
                  </a:lnTo>
                  <a:lnTo>
                    <a:pt x="640" y="460"/>
                  </a:lnTo>
                  <a:lnTo>
                    <a:pt x="640" y="462"/>
                  </a:lnTo>
                  <a:lnTo>
                    <a:pt x="640" y="462"/>
                  </a:lnTo>
                  <a:lnTo>
                    <a:pt x="640" y="464"/>
                  </a:lnTo>
                  <a:lnTo>
                    <a:pt x="640" y="466"/>
                  </a:lnTo>
                  <a:lnTo>
                    <a:pt x="640" y="466"/>
                  </a:lnTo>
                  <a:lnTo>
                    <a:pt x="640" y="466"/>
                  </a:lnTo>
                  <a:lnTo>
                    <a:pt x="640" y="468"/>
                  </a:lnTo>
                  <a:lnTo>
                    <a:pt x="640" y="468"/>
                  </a:lnTo>
                  <a:lnTo>
                    <a:pt x="642" y="468"/>
                  </a:lnTo>
                  <a:lnTo>
                    <a:pt x="642" y="470"/>
                  </a:lnTo>
                  <a:lnTo>
                    <a:pt x="642" y="470"/>
                  </a:lnTo>
                  <a:lnTo>
                    <a:pt x="644" y="470"/>
                  </a:lnTo>
                  <a:lnTo>
                    <a:pt x="644" y="470"/>
                  </a:lnTo>
                  <a:lnTo>
                    <a:pt x="644" y="470"/>
                  </a:lnTo>
                  <a:lnTo>
                    <a:pt x="646" y="470"/>
                  </a:lnTo>
                  <a:lnTo>
                    <a:pt x="648" y="472"/>
                  </a:lnTo>
                  <a:lnTo>
                    <a:pt x="650" y="472"/>
                  </a:lnTo>
                  <a:lnTo>
                    <a:pt x="652" y="472"/>
                  </a:lnTo>
                  <a:lnTo>
                    <a:pt x="654" y="474"/>
                  </a:lnTo>
                  <a:lnTo>
                    <a:pt x="656" y="476"/>
                  </a:lnTo>
                  <a:lnTo>
                    <a:pt x="658" y="476"/>
                  </a:lnTo>
                  <a:lnTo>
                    <a:pt x="658" y="476"/>
                  </a:lnTo>
                  <a:lnTo>
                    <a:pt x="660" y="476"/>
                  </a:lnTo>
                  <a:lnTo>
                    <a:pt x="662" y="476"/>
                  </a:lnTo>
                  <a:lnTo>
                    <a:pt x="662" y="476"/>
                  </a:lnTo>
                  <a:lnTo>
                    <a:pt x="662" y="476"/>
                  </a:lnTo>
                  <a:lnTo>
                    <a:pt x="664" y="476"/>
                  </a:lnTo>
                  <a:lnTo>
                    <a:pt x="666" y="476"/>
                  </a:lnTo>
                  <a:lnTo>
                    <a:pt x="668" y="476"/>
                  </a:lnTo>
                  <a:lnTo>
                    <a:pt x="672" y="476"/>
                  </a:lnTo>
                  <a:lnTo>
                    <a:pt x="674" y="476"/>
                  </a:lnTo>
                  <a:lnTo>
                    <a:pt x="678" y="474"/>
                  </a:lnTo>
                  <a:lnTo>
                    <a:pt x="680" y="474"/>
                  </a:lnTo>
                  <a:lnTo>
                    <a:pt x="680" y="474"/>
                  </a:lnTo>
                  <a:lnTo>
                    <a:pt x="682" y="474"/>
                  </a:lnTo>
                  <a:lnTo>
                    <a:pt x="684" y="472"/>
                  </a:lnTo>
                  <a:lnTo>
                    <a:pt x="686" y="470"/>
                  </a:lnTo>
                  <a:lnTo>
                    <a:pt x="686" y="470"/>
                  </a:lnTo>
                  <a:lnTo>
                    <a:pt x="688" y="470"/>
                  </a:lnTo>
                  <a:lnTo>
                    <a:pt x="688" y="468"/>
                  </a:lnTo>
                  <a:lnTo>
                    <a:pt x="688" y="468"/>
                  </a:lnTo>
                  <a:lnTo>
                    <a:pt x="688" y="468"/>
                  </a:lnTo>
                  <a:lnTo>
                    <a:pt x="690" y="466"/>
                  </a:lnTo>
                  <a:lnTo>
                    <a:pt x="690" y="466"/>
                  </a:lnTo>
                  <a:lnTo>
                    <a:pt x="690" y="464"/>
                  </a:lnTo>
                  <a:lnTo>
                    <a:pt x="690" y="462"/>
                  </a:lnTo>
                  <a:lnTo>
                    <a:pt x="688" y="460"/>
                  </a:lnTo>
                  <a:lnTo>
                    <a:pt x="688" y="458"/>
                  </a:lnTo>
                  <a:lnTo>
                    <a:pt x="688" y="454"/>
                  </a:lnTo>
                  <a:lnTo>
                    <a:pt x="688" y="454"/>
                  </a:lnTo>
                  <a:lnTo>
                    <a:pt x="690" y="454"/>
                  </a:lnTo>
                  <a:lnTo>
                    <a:pt x="692" y="452"/>
                  </a:lnTo>
                  <a:lnTo>
                    <a:pt x="692" y="452"/>
                  </a:lnTo>
                  <a:lnTo>
                    <a:pt x="692" y="452"/>
                  </a:lnTo>
                  <a:lnTo>
                    <a:pt x="692" y="450"/>
                  </a:lnTo>
                  <a:lnTo>
                    <a:pt x="692" y="450"/>
                  </a:lnTo>
                  <a:lnTo>
                    <a:pt x="694" y="448"/>
                  </a:lnTo>
                  <a:lnTo>
                    <a:pt x="694" y="446"/>
                  </a:lnTo>
                  <a:lnTo>
                    <a:pt x="694" y="446"/>
                  </a:lnTo>
                  <a:lnTo>
                    <a:pt x="694" y="446"/>
                  </a:lnTo>
                  <a:lnTo>
                    <a:pt x="694" y="444"/>
                  </a:lnTo>
                  <a:lnTo>
                    <a:pt x="694" y="444"/>
                  </a:lnTo>
                  <a:lnTo>
                    <a:pt x="694" y="444"/>
                  </a:lnTo>
                  <a:lnTo>
                    <a:pt x="694" y="442"/>
                  </a:lnTo>
                  <a:lnTo>
                    <a:pt x="694" y="442"/>
                  </a:lnTo>
                  <a:lnTo>
                    <a:pt x="694" y="440"/>
                  </a:lnTo>
                  <a:lnTo>
                    <a:pt x="694" y="438"/>
                  </a:lnTo>
                  <a:lnTo>
                    <a:pt x="694" y="438"/>
                  </a:lnTo>
                  <a:lnTo>
                    <a:pt x="692" y="438"/>
                  </a:lnTo>
                  <a:lnTo>
                    <a:pt x="690" y="434"/>
                  </a:lnTo>
                  <a:lnTo>
                    <a:pt x="690" y="434"/>
                  </a:lnTo>
                  <a:lnTo>
                    <a:pt x="690" y="434"/>
                  </a:lnTo>
                  <a:lnTo>
                    <a:pt x="688" y="432"/>
                  </a:lnTo>
                  <a:lnTo>
                    <a:pt x="688" y="432"/>
                  </a:lnTo>
                  <a:lnTo>
                    <a:pt x="686" y="432"/>
                  </a:lnTo>
                  <a:lnTo>
                    <a:pt x="682" y="430"/>
                  </a:lnTo>
                  <a:lnTo>
                    <a:pt x="682" y="430"/>
                  </a:lnTo>
                  <a:lnTo>
                    <a:pt x="682" y="430"/>
                  </a:lnTo>
                  <a:lnTo>
                    <a:pt x="678" y="428"/>
                  </a:lnTo>
                  <a:lnTo>
                    <a:pt x="674" y="428"/>
                  </a:lnTo>
                  <a:lnTo>
                    <a:pt x="672" y="428"/>
                  </a:lnTo>
                  <a:lnTo>
                    <a:pt x="670" y="424"/>
                  </a:lnTo>
                  <a:lnTo>
                    <a:pt x="670" y="424"/>
                  </a:lnTo>
                  <a:lnTo>
                    <a:pt x="670" y="424"/>
                  </a:lnTo>
                  <a:lnTo>
                    <a:pt x="668" y="420"/>
                  </a:lnTo>
                  <a:lnTo>
                    <a:pt x="668" y="420"/>
                  </a:lnTo>
                  <a:lnTo>
                    <a:pt x="668" y="420"/>
                  </a:lnTo>
                  <a:lnTo>
                    <a:pt x="666" y="416"/>
                  </a:lnTo>
                  <a:lnTo>
                    <a:pt x="666" y="416"/>
                  </a:lnTo>
                  <a:lnTo>
                    <a:pt x="666" y="416"/>
                  </a:lnTo>
                  <a:lnTo>
                    <a:pt x="662" y="414"/>
                  </a:lnTo>
                  <a:lnTo>
                    <a:pt x="658" y="410"/>
                  </a:lnTo>
                  <a:lnTo>
                    <a:pt x="654" y="408"/>
                  </a:lnTo>
                  <a:lnTo>
                    <a:pt x="650" y="404"/>
                  </a:lnTo>
                  <a:lnTo>
                    <a:pt x="646" y="402"/>
                  </a:lnTo>
                  <a:lnTo>
                    <a:pt x="646" y="402"/>
                  </a:lnTo>
                  <a:lnTo>
                    <a:pt x="644" y="402"/>
                  </a:lnTo>
                  <a:lnTo>
                    <a:pt x="642" y="402"/>
                  </a:lnTo>
                  <a:lnTo>
                    <a:pt x="640" y="402"/>
                  </a:lnTo>
                  <a:lnTo>
                    <a:pt x="638" y="404"/>
                  </a:lnTo>
                  <a:lnTo>
                    <a:pt x="638" y="404"/>
                  </a:lnTo>
                  <a:lnTo>
                    <a:pt x="636" y="404"/>
                  </a:lnTo>
                  <a:lnTo>
                    <a:pt x="636" y="404"/>
                  </a:lnTo>
                  <a:lnTo>
                    <a:pt x="634" y="406"/>
                  </a:lnTo>
                  <a:lnTo>
                    <a:pt x="634" y="406"/>
                  </a:lnTo>
                  <a:lnTo>
                    <a:pt x="634" y="408"/>
                  </a:lnTo>
                  <a:lnTo>
                    <a:pt x="634" y="408"/>
                  </a:lnTo>
                  <a:close/>
                  <a:moveTo>
                    <a:pt x="666" y="488"/>
                  </a:moveTo>
                  <a:lnTo>
                    <a:pt x="668" y="494"/>
                  </a:lnTo>
                  <a:lnTo>
                    <a:pt x="668" y="494"/>
                  </a:lnTo>
                  <a:lnTo>
                    <a:pt x="668" y="494"/>
                  </a:lnTo>
                  <a:lnTo>
                    <a:pt x="668" y="496"/>
                  </a:lnTo>
                  <a:lnTo>
                    <a:pt x="668" y="496"/>
                  </a:lnTo>
                  <a:lnTo>
                    <a:pt x="670" y="496"/>
                  </a:lnTo>
                  <a:lnTo>
                    <a:pt x="670" y="498"/>
                  </a:lnTo>
                  <a:lnTo>
                    <a:pt x="670" y="498"/>
                  </a:lnTo>
                  <a:lnTo>
                    <a:pt x="672" y="498"/>
                  </a:lnTo>
                  <a:lnTo>
                    <a:pt x="674" y="500"/>
                  </a:lnTo>
                  <a:lnTo>
                    <a:pt x="674" y="500"/>
                  </a:lnTo>
                  <a:lnTo>
                    <a:pt x="674" y="500"/>
                  </a:lnTo>
                  <a:lnTo>
                    <a:pt x="678" y="502"/>
                  </a:lnTo>
                  <a:lnTo>
                    <a:pt x="678" y="502"/>
                  </a:lnTo>
                  <a:lnTo>
                    <a:pt x="678" y="502"/>
                  </a:lnTo>
                  <a:lnTo>
                    <a:pt x="684" y="502"/>
                  </a:lnTo>
                  <a:lnTo>
                    <a:pt x="688" y="502"/>
                  </a:lnTo>
                  <a:lnTo>
                    <a:pt x="692" y="502"/>
                  </a:lnTo>
                  <a:lnTo>
                    <a:pt x="696" y="502"/>
                  </a:lnTo>
                  <a:lnTo>
                    <a:pt x="698" y="504"/>
                  </a:lnTo>
                  <a:lnTo>
                    <a:pt x="700" y="504"/>
                  </a:lnTo>
                  <a:lnTo>
                    <a:pt x="702" y="504"/>
                  </a:lnTo>
                  <a:lnTo>
                    <a:pt x="704" y="504"/>
                  </a:lnTo>
                  <a:lnTo>
                    <a:pt x="704" y="504"/>
                  </a:lnTo>
                  <a:lnTo>
                    <a:pt x="704" y="502"/>
                  </a:lnTo>
                  <a:lnTo>
                    <a:pt x="706" y="502"/>
                  </a:lnTo>
                  <a:lnTo>
                    <a:pt x="706" y="502"/>
                  </a:lnTo>
                  <a:lnTo>
                    <a:pt x="706" y="500"/>
                  </a:lnTo>
                  <a:lnTo>
                    <a:pt x="708" y="498"/>
                  </a:lnTo>
                  <a:lnTo>
                    <a:pt x="708" y="496"/>
                  </a:lnTo>
                  <a:lnTo>
                    <a:pt x="708" y="496"/>
                  </a:lnTo>
                  <a:lnTo>
                    <a:pt x="708" y="492"/>
                  </a:lnTo>
                  <a:lnTo>
                    <a:pt x="708" y="490"/>
                  </a:lnTo>
                  <a:lnTo>
                    <a:pt x="708" y="488"/>
                  </a:lnTo>
                  <a:lnTo>
                    <a:pt x="710" y="486"/>
                  </a:lnTo>
                  <a:lnTo>
                    <a:pt x="710" y="486"/>
                  </a:lnTo>
                  <a:lnTo>
                    <a:pt x="710" y="484"/>
                  </a:lnTo>
                  <a:lnTo>
                    <a:pt x="710" y="482"/>
                  </a:lnTo>
                  <a:lnTo>
                    <a:pt x="710" y="482"/>
                  </a:lnTo>
                  <a:lnTo>
                    <a:pt x="712" y="480"/>
                  </a:lnTo>
                  <a:lnTo>
                    <a:pt x="710" y="480"/>
                  </a:lnTo>
                  <a:lnTo>
                    <a:pt x="710" y="480"/>
                  </a:lnTo>
                  <a:lnTo>
                    <a:pt x="710" y="478"/>
                  </a:lnTo>
                  <a:lnTo>
                    <a:pt x="708" y="476"/>
                  </a:lnTo>
                  <a:lnTo>
                    <a:pt x="708" y="476"/>
                  </a:lnTo>
                  <a:lnTo>
                    <a:pt x="708" y="476"/>
                  </a:lnTo>
                  <a:lnTo>
                    <a:pt x="706" y="476"/>
                  </a:lnTo>
                  <a:lnTo>
                    <a:pt x="706" y="476"/>
                  </a:lnTo>
                  <a:lnTo>
                    <a:pt x="706" y="476"/>
                  </a:lnTo>
                  <a:lnTo>
                    <a:pt x="702" y="474"/>
                  </a:lnTo>
                  <a:lnTo>
                    <a:pt x="698" y="474"/>
                  </a:lnTo>
                  <a:lnTo>
                    <a:pt x="694" y="474"/>
                  </a:lnTo>
                  <a:lnTo>
                    <a:pt x="686" y="476"/>
                  </a:lnTo>
                  <a:lnTo>
                    <a:pt x="678" y="478"/>
                  </a:lnTo>
                  <a:lnTo>
                    <a:pt x="676" y="478"/>
                  </a:lnTo>
                  <a:lnTo>
                    <a:pt x="672" y="478"/>
                  </a:lnTo>
                  <a:lnTo>
                    <a:pt x="668" y="480"/>
                  </a:lnTo>
                  <a:lnTo>
                    <a:pt x="666" y="480"/>
                  </a:lnTo>
                  <a:lnTo>
                    <a:pt x="666" y="480"/>
                  </a:lnTo>
                  <a:lnTo>
                    <a:pt x="664" y="482"/>
                  </a:lnTo>
                  <a:lnTo>
                    <a:pt x="664" y="482"/>
                  </a:lnTo>
                  <a:lnTo>
                    <a:pt x="664" y="484"/>
                  </a:lnTo>
                  <a:lnTo>
                    <a:pt x="666" y="486"/>
                  </a:lnTo>
                  <a:lnTo>
                    <a:pt x="666" y="488"/>
                  </a:lnTo>
                  <a:close/>
                  <a:moveTo>
                    <a:pt x="740" y="512"/>
                  </a:moveTo>
                  <a:lnTo>
                    <a:pt x="738" y="516"/>
                  </a:lnTo>
                  <a:lnTo>
                    <a:pt x="736" y="520"/>
                  </a:lnTo>
                  <a:lnTo>
                    <a:pt x="736" y="520"/>
                  </a:lnTo>
                  <a:lnTo>
                    <a:pt x="736" y="522"/>
                  </a:lnTo>
                  <a:lnTo>
                    <a:pt x="736" y="522"/>
                  </a:lnTo>
                  <a:lnTo>
                    <a:pt x="738" y="524"/>
                  </a:lnTo>
                  <a:lnTo>
                    <a:pt x="740" y="524"/>
                  </a:lnTo>
                  <a:lnTo>
                    <a:pt x="740" y="524"/>
                  </a:lnTo>
                  <a:lnTo>
                    <a:pt x="742" y="524"/>
                  </a:lnTo>
                  <a:lnTo>
                    <a:pt x="744" y="524"/>
                  </a:lnTo>
                  <a:lnTo>
                    <a:pt x="744" y="524"/>
                  </a:lnTo>
                  <a:lnTo>
                    <a:pt x="744" y="524"/>
                  </a:lnTo>
                  <a:lnTo>
                    <a:pt x="752" y="524"/>
                  </a:lnTo>
                  <a:lnTo>
                    <a:pt x="754" y="524"/>
                  </a:lnTo>
                  <a:lnTo>
                    <a:pt x="756" y="524"/>
                  </a:lnTo>
                  <a:lnTo>
                    <a:pt x="758" y="524"/>
                  </a:lnTo>
                  <a:lnTo>
                    <a:pt x="760" y="524"/>
                  </a:lnTo>
                  <a:lnTo>
                    <a:pt x="760" y="524"/>
                  </a:lnTo>
                  <a:lnTo>
                    <a:pt x="762" y="522"/>
                  </a:lnTo>
                  <a:lnTo>
                    <a:pt x="762" y="520"/>
                  </a:lnTo>
                  <a:lnTo>
                    <a:pt x="762" y="520"/>
                  </a:lnTo>
                  <a:lnTo>
                    <a:pt x="762" y="518"/>
                  </a:lnTo>
                  <a:lnTo>
                    <a:pt x="764" y="518"/>
                  </a:lnTo>
                  <a:lnTo>
                    <a:pt x="764" y="518"/>
                  </a:lnTo>
                  <a:lnTo>
                    <a:pt x="766" y="518"/>
                  </a:lnTo>
                  <a:lnTo>
                    <a:pt x="766" y="518"/>
                  </a:lnTo>
                  <a:lnTo>
                    <a:pt x="766" y="516"/>
                  </a:lnTo>
                  <a:lnTo>
                    <a:pt x="766" y="514"/>
                  </a:lnTo>
                  <a:lnTo>
                    <a:pt x="766" y="514"/>
                  </a:lnTo>
                  <a:lnTo>
                    <a:pt x="766" y="514"/>
                  </a:lnTo>
                  <a:lnTo>
                    <a:pt x="766" y="512"/>
                  </a:lnTo>
                  <a:lnTo>
                    <a:pt x="766" y="512"/>
                  </a:lnTo>
                  <a:lnTo>
                    <a:pt x="766" y="512"/>
                  </a:lnTo>
                  <a:lnTo>
                    <a:pt x="766" y="510"/>
                  </a:lnTo>
                  <a:lnTo>
                    <a:pt x="766" y="510"/>
                  </a:lnTo>
                  <a:lnTo>
                    <a:pt x="766" y="504"/>
                  </a:lnTo>
                  <a:lnTo>
                    <a:pt x="764" y="500"/>
                  </a:lnTo>
                  <a:lnTo>
                    <a:pt x="764" y="500"/>
                  </a:lnTo>
                  <a:lnTo>
                    <a:pt x="764" y="498"/>
                  </a:lnTo>
                  <a:lnTo>
                    <a:pt x="762" y="496"/>
                  </a:lnTo>
                  <a:lnTo>
                    <a:pt x="762" y="496"/>
                  </a:lnTo>
                  <a:lnTo>
                    <a:pt x="762" y="494"/>
                  </a:lnTo>
                  <a:lnTo>
                    <a:pt x="760" y="492"/>
                  </a:lnTo>
                  <a:lnTo>
                    <a:pt x="760" y="492"/>
                  </a:lnTo>
                  <a:lnTo>
                    <a:pt x="760" y="492"/>
                  </a:lnTo>
                  <a:lnTo>
                    <a:pt x="756" y="490"/>
                  </a:lnTo>
                  <a:lnTo>
                    <a:pt x="756" y="490"/>
                  </a:lnTo>
                  <a:lnTo>
                    <a:pt x="756" y="488"/>
                  </a:lnTo>
                  <a:lnTo>
                    <a:pt x="752" y="488"/>
                  </a:lnTo>
                  <a:lnTo>
                    <a:pt x="752" y="488"/>
                  </a:lnTo>
                  <a:lnTo>
                    <a:pt x="752" y="488"/>
                  </a:lnTo>
                  <a:lnTo>
                    <a:pt x="748" y="486"/>
                  </a:lnTo>
                  <a:lnTo>
                    <a:pt x="740" y="486"/>
                  </a:lnTo>
                  <a:lnTo>
                    <a:pt x="740" y="486"/>
                  </a:lnTo>
                  <a:lnTo>
                    <a:pt x="738" y="486"/>
                  </a:lnTo>
                  <a:lnTo>
                    <a:pt x="738" y="486"/>
                  </a:lnTo>
                  <a:lnTo>
                    <a:pt x="738" y="490"/>
                  </a:lnTo>
                  <a:lnTo>
                    <a:pt x="738" y="494"/>
                  </a:lnTo>
                  <a:lnTo>
                    <a:pt x="740" y="500"/>
                  </a:lnTo>
                  <a:lnTo>
                    <a:pt x="740" y="504"/>
                  </a:lnTo>
                  <a:lnTo>
                    <a:pt x="740" y="506"/>
                  </a:lnTo>
                  <a:lnTo>
                    <a:pt x="740" y="510"/>
                  </a:lnTo>
                  <a:lnTo>
                    <a:pt x="740" y="512"/>
                  </a:lnTo>
                  <a:close/>
                  <a:moveTo>
                    <a:pt x="658" y="302"/>
                  </a:moveTo>
                  <a:lnTo>
                    <a:pt x="658" y="304"/>
                  </a:lnTo>
                  <a:lnTo>
                    <a:pt x="660" y="308"/>
                  </a:lnTo>
                  <a:lnTo>
                    <a:pt x="660" y="308"/>
                  </a:lnTo>
                  <a:lnTo>
                    <a:pt x="662" y="310"/>
                  </a:lnTo>
                  <a:lnTo>
                    <a:pt x="662" y="310"/>
                  </a:lnTo>
                  <a:lnTo>
                    <a:pt x="660" y="310"/>
                  </a:lnTo>
                  <a:lnTo>
                    <a:pt x="660" y="310"/>
                  </a:lnTo>
                  <a:lnTo>
                    <a:pt x="660" y="310"/>
                  </a:lnTo>
                  <a:lnTo>
                    <a:pt x="660" y="312"/>
                  </a:lnTo>
                  <a:lnTo>
                    <a:pt x="660" y="314"/>
                  </a:lnTo>
                  <a:lnTo>
                    <a:pt x="660" y="314"/>
                  </a:lnTo>
                  <a:lnTo>
                    <a:pt x="660" y="314"/>
                  </a:lnTo>
                  <a:lnTo>
                    <a:pt x="662" y="316"/>
                  </a:lnTo>
                  <a:lnTo>
                    <a:pt x="664" y="318"/>
                  </a:lnTo>
                  <a:lnTo>
                    <a:pt x="666" y="322"/>
                  </a:lnTo>
                  <a:lnTo>
                    <a:pt x="666" y="326"/>
                  </a:lnTo>
                  <a:lnTo>
                    <a:pt x="668" y="330"/>
                  </a:lnTo>
                  <a:lnTo>
                    <a:pt x="668" y="336"/>
                  </a:lnTo>
                  <a:lnTo>
                    <a:pt x="668" y="338"/>
                  </a:lnTo>
                  <a:lnTo>
                    <a:pt x="670" y="342"/>
                  </a:lnTo>
                  <a:lnTo>
                    <a:pt x="670" y="342"/>
                  </a:lnTo>
                  <a:lnTo>
                    <a:pt x="670" y="344"/>
                  </a:lnTo>
                  <a:lnTo>
                    <a:pt x="670" y="344"/>
                  </a:lnTo>
                  <a:lnTo>
                    <a:pt x="674" y="344"/>
                  </a:lnTo>
                  <a:lnTo>
                    <a:pt x="676" y="342"/>
                  </a:lnTo>
                  <a:lnTo>
                    <a:pt x="678" y="340"/>
                  </a:lnTo>
                  <a:lnTo>
                    <a:pt x="678" y="340"/>
                  </a:lnTo>
                  <a:lnTo>
                    <a:pt x="678" y="340"/>
                  </a:lnTo>
                  <a:lnTo>
                    <a:pt x="680" y="338"/>
                  </a:lnTo>
                  <a:lnTo>
                    <a:pt x="684" y="334"/>
                  </a:lnTo>
                  <a:lnTo>
                    <a:pt x="684" y="332"/>
                  </a:lnTo>
                  <a:lnTo>
                    <a:pt x="686" y="332"/>
                  </a:lnTo>
                  <a:lnTo>
                    <a:pt x="688" y="332"/>
                  </a:lnTo>
                  <a:lnTo>
                    <a:pt x="690" y="334"/>
                  </a:lnTo>
                  <a:lnTo>
                    <a:pt x="690" y="334"/>
                  </a:lnTo>
                  <a:lnTo>
                    <a:pt x="692" y="334"/>
                  </a:lnTo>
                  <a:lnTo>
                    <a:pt x="692" y="336"/>
                  </a:lnTo>
                  <a:lnTo>
                    <a:pt x="694" y="338"/>
                  </a:lnTo>
                  <a:lnTo>
                    <a:pt x="694" y="338"/>
                  </a:lnTo>
                  <a:lnTo>
                    <a:pt x="690" y="338"/>
                  </a:lnTo>
                  <a:lnTo>
                    <a:pt x="684" y="340"/>
                  </a:lnTo>
                  <a:lnTo>
                    <a:pt x="680" y="342"/>
                  </a:lnTo>
                  <a:lnTo>
                    <a:pt x="680" y="342"/>
                  </a:lnTo>
                  <a:lnTo>
                    <a:pt x="680" y="342"/>
                  </a:lnTo>
                  <a:lnTo>
                    <a:pt x="676" y="344"/>
                  </a:lnTo>
                  <a:lnTo>
                    <a:pt x="676" y="344"/>
                  </a:lnTo>
                  <a:lnTo>
                    <a:pt x="676" y="346"/>
                  </a:lnTo>
                  <a:lnTo>
                    <a:pt x="674" y="348"/>
                  </a:lnTo>
                  <a:lnTo>
                    <a:pt x="674" y="348"/>
                  </a:lnTo>
                  <a:lnTo>
                    <a:pt x="674" y="348"/>
                  </a:lnTo>
                  <a:lnTo>
                    <a:pt x="674" y="350"/>
                  </a:lnTo>
                  <a:lnTo>
                    <a:pt x="674" y="350"/>
                  </a:lnTo>
                  <a:lnTo>
                    <a:pt x="674" y="352"/>
                  </a:lnTo>
                  <a:lnTo>
                    <a:pt x="674" y="354"/>
                  </a:lnTo>
                  <a:lnTo>
                    <a:pt x="674" y="354"/>
                  </a:lnTo>
                  <a:lnTo>
                    <a:pt x="674" y="354"/>
                  </a:lnTo>
                  <a:lnTo>
                    <a:pt x="674" y="356"/>
                  </a:lnTo>
                  <a:lnTo>
                    <a:pt x="674" y="360"/>
                  </a:lnTo>
                  <a:lnTo>
                    <a:pt x="674" y="362"/>
                  </a:lnTo>
                  <a:lnTo>
                    <a:pt x="676" y="366"/>
                  </a:lnTo>
                  <a:lnTo>
                    <a:pt x="676" y="366"/>
                  </a:lnTo>
                  <a:lnTo>
                    <a:pt x="678" y="368"/>
                  </a:lnTo>
                  <a:lnTo>
                    <a:pt x="678" y="368"/>
                  </a:lnTo>
                  <a:lnTo>
                    <a:pt x="680" y="368"/>
                  </a:lnTo>
                  <a:lnTo>
                    <a:pt x="682" y="364"/>
                  </a:lnTo>
                  <a:lnTo>
                    <a:pt x="684" y="362"/>
                  </a:lnTo>
                  <a:lnTo>
                    <a:pt x="688" y="362"/>
                  </a:lnTo>
                  <a:lnTo>
                    <a:pt x="688" y="362"/>
                  </a:lnTo>
                  <a:lnTo>
                    <a:pt x="692" y="360"/>
                  </a:lnTo>
                  <a:lnTo>
                    <a:pt x="694" y="360"/>
                  </a:lnTo>
                  <a:lnTo>
                    <a:pt x="698" y="360"/>
                  </a:lnTo>
                  <a:lnTo>
                    <a:pt x="706" y="360"/>
                  </a:lnTo>
                  <a:lnTo>
                    <a:pt x="716" y="360"/>
                  </a:lnTo>
                  <a:lnTo>
                    <a:pt x="724" y="362"/>
                  </a:lnTo>
                  <a:lnTo>
                    <a:pt x="730" y="364"/>
                  </a:lnTo>
                  <a:lnTo>
                    <a:pt x="734" y="364"/>
                  </a:lnTo>
                  <a:lnTo>
                    <a:pt x="732" y="364"/>
                  </a:lnTo>
                  <a:lnTo>
                    <a:pt x="732" y="368"/>
                  </a:lnTo>
                  <a:lnTo>
                    <a:pt x="730" y="372"/>
                  </a:lnTo>
                  <a:lnTo>
                    <a:pt x="726" y="374"/>
                  </a:lnTo>
                  <a:lnTo>
                    <a:pt x="726" y="374"/>
                  </a:lnTo>
                  <a:lnTo>
                    <a:pt x="726" y="378"/>
                  </a:lnTo>
                  <a:lnTo>
                    <a:pt x="726" y="378"/>
                  </a:lnTo>
                  <a:lnTo>
                    <a:pt x="728" y="378"/>
                  </a:lnTo>
                  <a:lnTo>
                    <a:pt x="732" y="380"/>
                  </a:lnTo>
                  <a:lnTo>
                    <a:pt x="732" y="380"/>
                  </a:lnTo>
                  <a:lnTo>
                    <a:pt x="732" y="380"/>
                  </a:lnTo>
                  <a:lnTo>
                    <a:pt x="728" y="382"/>
                  </a:lnTo>
                  <a:lnTo>
                    <a:pt x="726" y="382"/>
                  </a:lnTo>
                  <a:lnTo>
                    <a:pt x="722" y="384"/>
                  </a:lnTo>
                  <a:lnTo>
                    <a:pt x="722" y="384"/>
                  </a:lnTo>
                  <a:lnTo>
                    <a:pt x="722" y="384"/>
                  </a:lnTo>
                  <a:lnTo>
                    <a:pt x="718" y="386"/>
                  </a:lnTo>
                  <a:lnTo>
                    <a:pt x="714" y="388"/>
                  </a:lnTo>
                  <a:lnTo>
                    <a:pt x="710" y="390"/>
                  </a:lnTo>
                  <a:lnTo>
                    <a:pt x="704" y="392"/>
                  </a:lnTo>
                  <a:lnTo>
                    <a:pt x="704" y="392"/>
                  </a:lnTo>
                  <a:lnTo>
                    <a:pt x="702" y="394"/>
                  </a:lnTo>
                  <a:lnTo>
                    <a:pt x="702" y="394"/>
                  </a:lnTo>
                  <a:lnTo>
                    <a:pt x="702" y="402"/>
                  </a:lnTo>
                  <a:lnTo>
                    <a:pt x="704" y="406"/>
                  </a:lnTo>
                  <a:lnTo>
                    <a:pt x="704" y="410"/>
                  </a:lnTo>
                  <a:lnTo>
                    <a:pt x="702" y="412"/>
                  </a:lnTo>
                  <a:lnTo>
                    <a:pt x="702" y="416"/>
                  </a:lnTo>
                  <a:lnTo>
                    <a:pt x="704" y="418"/>
                  </a:lnTo>
                  <a:lnTo>
                    <a:pt x="704" y="418"/>
                  </a:lnTo>
                  <a:lnTo>
                    <a:pt x="704" y="420"/>
                  </a:lnTo>
                  <a:lnTo>
                    <a:pt x="704" y="420"/>
                  </a:lnTo>
                  <a:lnTo>
                    <a:pt x="704" y="420"/>
                  </a:lnTo>
                  <a:lnTo>
                    <a:pt x="706" y="420"/>
                  </a:lnTo>
                  <a:lnTo>
                    <a:pt x="706" y="420"/>
                  </a:lnTo>
                  <a:lnTo>
                    <a:pt x="706" y="420"/>
                  </a:lnTo>
                  <a:lnTo>
                    <a:pt x="706" y="422"/>
                  </a:lnTo>
                  <a:lnTo>
                    <a:pt x="708" y="422"/>
                  </a:lnTo>
                  <a:lnTo>
                    <a:pt x="708" y="420"/>
                  </a:lnTo>
                  <a:lnTo>
                    <a:pt x="710" y="420"/>
                  </a:lnTo>
                  <a:lnTo>
                    <a:pt x="712" y="420"/>
                  </a:lnTo>
                  <a:lnTo>
                    <a:pt x="714" y="422"/>
                  </a:lnTo>
                  <a:lnTo>
                    <a:pt x="718" y="422"/>
                  </a:lnTo>
                  <a:lnTo>
                    <a:pt x="722" y="422"/>
                  </a:lnTo>
                  <a:lnTo>
                    <a:pt x="722" y="424"/>
                  </a:lnTo>
                  <a:lnTo>
                    <a:pt x="724" y="424"/>
                  </a:lnTo>
                  <a:lnTo>
                    <a:pt x="726" y="426"/>
                  </a:lnTo>
                  <a:lnTo>
                    <a:pt x="728" y="428"/>
                  </a:lnTo>
                  <a:lnTo>
                    <a:pt x="728" y="428"/>
                  </a:lnTo>
                  <a:lnTo>
                    <a:pt x="730" y="428"/>
                  </a:lnTo>
                  <a:lnTo>
                    <a:pt x="730" y="428"/>
                  </a:lnTo>
                  <a:lnTo>
                    <a:pt x="730" y="432"/>
                  </a:lnTo>
                  <a:lnTo>
                    <a:pt x="728" y="432"/>
                  </a:lnTo>
                  <a:lnTo>
                    <a:pt x="728" y="434"/>
                  </a:lnTo>
                  <a:lnTo>
                    <a:pt x="728" y="434"/>
                  </a:lnTo>
                  <a:lnTo>
                    <a:pt x="726" y="436"/>
                  </a:lnTo>
                  <a:lnTo>
                    <a:pt x="726" y="436"/>
                  </a:lnTo>
                  <a:lnTo>
                    <a:pt x="722" y="436"/>
                  </a:lnTo>
                  <a:lnTo>
                    <a:pt x="722" y="436"/>
                  </a:lnTo>
                  <a:lnTo>
                    <a:pt x="720" y="438"/>
                  </a:lnTo>
                  <a:lnTo>
                    <a:pt x="720" y="438"/>
                  </a:lnTo>
                  <a:lnTo>
                    <a:pt x="720" y="440"/>
                  </a:lnTo>
                  <a:lnTo>
                    <a:pt x="722" y="442"/>
                  </a:lnTo>
                  <a:lnTo>
                    <a:pt x="722" y="442"/>
                  </a:lnTo>
                  <a:lnTo>
                    <a:pt x="722" y="442"/>
                  </a:lnTo>
                  <a:lnTo>
                    <a:pt x="724" y="444"/>
                  </a:lnTo>
                  <a:lnTo>
                    <a:pt x="724" y="444"/>
                  </a:lnTo>
                  <a:lnTo>
                    <a:pt x="724" y="444"/>
                  </a:lnTo>
                  <a:lnTo>
                    <a:pt x="726" y="446"/>
                  </a:lnTo>
                  <a:lnTo>
                    <a:pt x="728" y="448"/>
                  </a:lnTo>
                  <a:lnTo>
                    <a:pt x="728" y="448"/>
                  </a:lnTo>
                  <a:lnTo>
                    <a:pt x="730" y="448"/>
                  </a:lnTo>
                  <a:lnTo>
                    <a:pt x="734" y="448"/>
                  </a:lnTo>
                  <a:lnTo>
                    <a:pt x="734" y="448"/>
                  </a:lnTo>
                  <a:lnTo>
                    <a:pt x="734" y="448"/>
                  </a:lnTo>
                  <a:lnTo>
                    <a:pt x="738" y="448"/>
                  </a:lnTo>
                  <a:lnTo>
                    <a:pt x="744" y="448"/>
                  </a:lnTo>
                  <a:lnTo>
                    <a:pt x="750" y="448"/>
                  </a:lnTo>
                  <a:lnTo>
                    <a:pt x="754" y="446"/>
                  </a:lnTo>
                  <a:lnTo>
                    <a:pt x="760" y="446"/>
                  </a:lnTo>
                  <a:lnTo>
                    <a:pt x="760" y="446"/>
                  </a:lnTo>
                  <a:lnTo>
                    <a:pt x="762" y="446"/>
                  </a:lnTo>
                  <a:lnTo>
                    <a:pt x="764" y="444"/>
                  </a:lnTo>
                  <a:lnTo>
                    <a:pt x="764" y="444"/>
                  </a:lnTo>
                  <a:lnTo>
                    <a:pt x="764" y="444"/>
                  </a:lnTo>
                  <a:lnTo>
                    <a:pt x="764" y="442"/>
                  </a:lnTo>
                  <a:lnTo>
                    <a:pt x="766" y="438"/>
                  </a:lnTo>
                  <a:lnTo>
                    <a:pt x="768" y="436"/>
                  </a:lnTo>
                  <a:lnTo>
                    <a:pt x="768" y="436"/>
                  </a:lnTo>
                  <a:lnTo>
                    <a:pt x="768" y="436"/>
                  </a:lnTo>
                  <a:lnTo>
                    <a:pt x="768" y="436"/>
                  </a:lnTo>
                  <a:lnTo>
                    <a:pt x="770" y="438"/>
                  </a:lnTo>
                  <a:lnTo>
                    <a:pt x="772" y="440"/>
                  </a:lnTo>
                  <a:lnTo>
                    <a:pt x="772" y="442"/>
                  </a:lnTo>
                  <a:lnTo>
                    <a:pt x="772" y="444"/>
                  </a:lnTo>
                  <a:lnTo>
                    <a:pt x="772" y="444"/>
                  </a:lnTo>
                  <a:lnTo>
                    <a:pt x="772" y="444"/>
                  </a:lnTo>
                  <a:lnTo>
                    <a:pt x="774" y="444"/>
                  </a:lnTo>
                  <a:lnTo>
                    <a:pt x="774" y="446"/>
                  </a:lnTo>
                  <a:lnTo>
                    <a:pt x="774" y="446"/>
                  </a:lnTo>
                  <a:lnTo>
                    <a:pt x="774" y="446"/>
                  </a:lnTo>
                  <a:lnTo>
                    <a:pt x="776" y="448"/>
                  </a:lnTo>
                  <a:lnTo>
                    <a:pt x="778" y="448"/>
                  </a:lnTo>
                  <a:lnTo>
                    <a:pt x="778" y="448"/>
                  </a:lnTo>
                  <a:lnTo>
                    <a:pt x="780" y="450"/>
                  </a:lnTo>
                  <a:lnTo>
                    <a:pt x="784" y="448"/>
                  </a:lnTo>
                  <a:lnTo>
                    <a:pt x="786" y="448"/>
                  </a:lnTo>
                  <a:lnTo>
                    <a:pt x="792" y="450"/>
                  </a:lnTo>
                  <a:lnTo>
                    <a:pt x="796" y="450"/>
                  </a:lnTo>
                  <a:lnTo>
                    <a:pt x="798" y="450"/>
                  </a:lnTo>
                  <a:lnTo>
                    <a:pt x="798" y="450"/>
                  </a:lnTo>
                  <a:lnTo>
                    <a:pt x="800" y="452"/>
                  </a:lnTo>
                  <a:lnTo>
                    <a:pt x="800" y="454"/>
                  </a:lnTo>
                  <a:lnTo>
                    <a:pt x="802" y="456"/>
                  </a:lnTo>
                  <a:lnTo>
                    <a:pt x="802" y="458"/>
                  </a:lnTo>
                  <a:lnTo>
                    <a:pt x="804" y="460"/>
                  </a:lnTo>
                  <a:lnTo>
                    <a:pt x="804" y="460"/>
                  </a:lnTo>
                  <a:lnTo>
                    <a:pt x="806" y="460"/>
                  </a:lnTo>
                  <a:lnTo>
                    <a:pt x="808" y="462"/>
                  </a:lnTo>
                  <a:lnTo>
                    <a:pt x="808" y="462"/>
                  </a:lnTo>
                  <a:lnTo>
                    <a:pt x="808" y="462"/>
                  </a:lnTo>
                  <a:lnTo>
                    <a:pt x="810" y="462"/>
                  </a:lnTo>
                  <a:lnTo>
                    <a:pt x="812" y="462"/>
                  </a:lnTo>
                  <a:lnTo>
                    <a:pt x="814" y="462"/>
                  </a:lnTo>
                  <a:lnTo>
                    <a:pt x="818" y="464"/>
                  </a:lnTo>
                  <a:lnTo>
                    <a:pt x="820" y="464"/>
                  </a:lnTo>
                  <a:lnTo>
                    <a:pt x="824" y="464"/>
                  </a:lnTo>
                  <a:lnTo>
                    <a:pt x="826" y="464"/>
                  </a:lnTo>
                  <a:lnTo>
                    <a:pt x="828" y="466"/>
                  </a:lnTo>
                  <a:lnTo>
                    <a:pt x="828" y="468"/>
                  </a:lnTo>
                  <a:lnTo>
                    <a:pt x="828" y="470"/>
                  </a:lnTo>
                  <a:lnTo>
                    <a:pt x="830" y="470"/>
                  </a:lnTo>
                  <a:lnTo>
                    <a:pt x="828" y="472"/>
                  </a:lnTo>
                  <a:lnTo>
                    <a:pt x="828" y="476"/>
                  </a:lnTo>
                  <a:lnTo>
                    <a:pt x="828" y="480"/>
                  </a:lnTo>
                  <a:lnTo>
                    <a:pt x="826" y="478"/>
                  </a:lnTo>
                  <a:lnTo>
                    <a:pt x="826" y="476"/>
                  </a:lnTo>
                  <a:lnTo>
                    <a:pt x="826" y="476"/>
                  </a:lnTo>
                  <a:lnTo>
                    <a:pt x="826" y="476"/>
                  </a:lnTo>
                  <a:lnTo>
                    <a:pt x="826" y="476"/>
                  </a:lnTo>
                  <a:lnTo>
                    <a:pt x="824" y="476"/>
                  </a:lnTo>
                  <a:lnTo>
                    <a:pt x="824" y="476"/>
                  </a:lnTo>
                  <a:lnTo>
                    <a:pt x="824" y="476"/>
                  </a:lnTo>
                  <a:lnTo>
                    <a:pt x="824" y="474"/>
                  </a:lnTo>
                  <a:lnTo>
                    <a:pt x="824" y="474"/>
                  </a:lnTo>
                  <a:lnTo>
                    <a:pt x="822" y="472"/>
                  </a:lnTo>
                  <a:lnTo>
                    <a:pt x="820" y="470"/>
                  </a:lnTo>
                  <a:lnTo>
                    <a:pt x="820" y="470"/>
                  </a:lnTo>
                  <a:lnTo>
                    <a:pt x="818" y="470"/>
                  </a:lnTo>
                  <a:lnTo>
                    <a:pt x="816" y="470"/>
                  </a:lnTo>
                  <a:lnTo>
                    <a:pt x="812" y="470"/>
                  </a:lnTo>
                  <a:lnTo>
                    <a:pt x="808" y="470"/>
                  </a:lnTo>
                  <a:lnTo>
                    <a:pt x="804" y="472"/>
                  </a:lnTo>
                  <a:lnTo>
                    <a:pt x="802" y="472"/>
                  </a:lnTo>
                  <a:lnTo>
                    <a:pt x="798" y="472"/>
                  </a:lnTo>
                  <a:lnTo>
                    <a:pt x="796" y="472"/>
                  </a:lnTo>
                  <a:lnTo>
                    <a:pt x="792" y="474"/>
                  </a:lnTo>
                  <a:lnTo>
                    <a:pt x="788" y="474"/>
                  </a:lnTo>
                  <a:lnTo>
                    <a:pt x="788" y="474"/>
                  </a:lnTo>
                  <a:lnTo>
                    <a:pt x="786" y="476"/>
                  </a:lnTo>
                  <a:lnTo>
                    <a:pt x="786" y="480"/>
                  </a:lnTo>
                  <a:lnTo>
                    <a:pt x="786" y="484"/>
                  </a:lnTo>
                  <a:lnTo>
                    <a:pt x="786" y="488"/>
                  </a:lnTo>
                  <a:lnTo>
                    <a:pt x="786" y="492"/>
                  </a:lnTo>
                  <a:lnTo>
                    <a:pt x="788" y="500"/>
                  </a:lnTo>
                  <a:lnTo>
                    <a:pt x="792" y="508"/>
                  </a:lnTo>
                  <a:lnTo>
                    <a:pt x="792" y="508"/>
                  </a:lnTo>
                  <a:lnTo>
                    <a:pt x="792" y="510"/>
                  </a:lnTo>
                  <a:lnTo>
                    <a:pt x="790" y="514"/>
                  </a:lnTo>
                  <a:lnTo>
                    <a:pt x="788" y="518"/>
                  </a:lnTo>
                  <a:lnTo>
                    <a:pt x="786" y="522"/>
                  </a:lnTo>
                  <a:lnTo>
                    <a:pt x="786" y="522"/>
                  </a:lnTo>
                  <a:lnTo>
                    <a:pt x="786" y="524"/>
                  </a:lnTo>
                  <a:lnTo>
                    <a:pt x="784" y="528"/>
                  </a:lnTo>
                  <a:lnTo>
                    <a:pt x="784" y="532"/>
                  </a:lnTo>
                  <a:lnTo>
                    <a:pt x="784" y="534"/>
                  </a:lnTo>
                  <a:lnTo>
                    <a:pt x="784" y="534"/>
                  </a:lnTo>
                  <a:lnTo>
                    <a:pt x="782" y="536"/>
                  </a:lnTo>
                  <a:lnTo>
                    <a:pt x="780" y="536"/>
                  </a:lnTo>
                  <a:lnTo>
                    <a:pt x="778" y="536"/>
                  </a:lnTo>
                  <a:lnTo>
                    <a:pt x="774" y="538"/>
                  </a:lnTo>
                  <a:lnTo>
                    <a:pt x="774" y="538"/>
                  </a:lnTo>
                  <a:lnTo>
                    <a:pt x="772" y="538"/>
                  </a:lnTo>
                  <a:lnTo>
                    <a:pt x="758" y="546"/>
                  </a:lnTo>
                  <a:lnTo>
                    <a:pt x="758" y="546"/>
                  </a:lnTo>
                  <a:lnTo>
                    <a:pt x="758" y="548"/>
                  </a:lnTo>
                  <a:lnTo>
                    <a:pt x="756" y="550"/>
                  </a:lnTo>
                  <a:lnTo>
                    <a:pt x="752" y="552"/>
                  </a:lnTo>
                  <a:lnTo>
                    <a:pt x="750" y="552"/>
                  </a:lnTo>
                  <a:lnTo>
                    <a:pt x="748" y="554"/>
                  </a:lnTo>
                  <a:lnTo>
                    <a:pt x="746" y="554"/>
                  </a:lnTo>
                  <a:lnTo>
                    <a:pt x="742" y="554"/>
                  </a:lnTo>
                  <a:lnTo>
                    <a:pt x="736" y="554"/>
                  </a:lnTo>
                  <a:lnTo>
                    <a:pt x="730" y="552"/>
                  </a:lnTo>
                  <a:lnTo>
                    <a:pt x="724" y="550"/>
                  </a:lnTo>
                  <a:lnTo>
                    <a:pt x="718" y="548"/>
                  </a:lnTo>
                  <a:lnTo>
                    <a:pt x="714" y="544"/>
                  </a:lnTo>
                  <a:lnTo>
                    <a:pt x="712" y="542"/>
                  </a:lnTo>
                  <a:lnTo>
                    <a:pt x="712" y="540"/>
                  </a:lnTo>
                  <a:lnTo>
                    <a:pt x="710" y="540"/>
                  </a:lnTo>
                  <a:lnTo>
                    <a:pt x="710" y="538"/>
                  </a:lnTo>
                  <a:lnTo>
                    <a:pt x="710" y="538"/>
                  </a:lnTo>
                  <a:lnTo>
                    <a:pt x="708" y="538"/>
                  </a:lnTo>
                  <a:lnTo>
                    <a:pt x="708" y="538"/>
                  </a:lnTo>
                  <a:lnTo>
                    <a:pt x="706" y="536"/>
                  </a:lnTo>
                  <a:lnTo>
                    <a:pt x="704" y="534"/>
                  </a:lnTo>
                  <a:lnTo>
                    <a:pt x="702" y="532"/>
                  </a:lnTo>
                  <a:lnTo>
                    <a:pt x="700" y="532"/>
                  </a:lnTo>
                  <a:lnTo>
                    <a:pt x="698" y="530"/>
                  </a:lnTo>
                  <a:lnTo>
                    <a:pt x="698" y="530"/>
                  </a:lnTo>
                  <a:lnTo>
                    <a:pt x="698" y="530"/>
                  </a:lnTo>
                  <a:lnTo>
                    <a:pt x="696" y="528"/>
                  </a:lnTo>
                  <a:lnTo>
                    <a:pt x="694" y="526"/>
                  </a:lnTo>
                  <a:lnTo>
                    <a:pt x="694" y="526"/>
                  </a:lnTo>
                  <a:lnTo>
                    <a:pt x="694" y="526"/>
                  </a:lnTo>
                  <a:lnTo>
                    <a:pt x="694" y="524"/>
                  </a:lnTo>
                  <a:lnTo>
                    <a:pt x="694" y="524"/>
                  </a:lnTo>
                  <a:lnTo>
                    <a:pt x="692" y="524"/>
                  </a:lnTo>
                  <a:lnTo>
                    <a:pt x="692" y="524"/>
                  </a:lnTo>
                  <a:lnTo>
                    <a:pt x="692" y="524"/>
                  </a:lnTo>
                  <a:lnTo>
                    <a:pt x="692" y="522"/>
                  </a:lnTo>
                  <a:lnTo>
                    <a:pt x="690" y="522"/>
                  </a:lnTo>
                  <a:lnTo>
                    <a:pt x="690" y="522"/>
                  </a:lnTo>
                  <a:lnTo>
                    <a:pt x="688" y="522"/>
                  </a:lnTo>
                  <a:lnTo>
                    <a:pt x="686" y="522"/>
                  </a:lnTo>
                  <a:lnTo>
                    <a:pt x="684" y="520"/>
                  </a:lnTo>
                  <a:lnTo>
                    <a:pt x="682" y="520"/>
                  </a:lnTo>
                  <a:lnTo>
                    <a:pt x="680" y="520"/>
                  </a:lnTo>
                  <a:lnTo>
                    <a:pt x="680" y="520"/>
                  </a:lnTo>
                  <a:lnTo>
                    <a:pt x="680" y="520"/>
                  </a:lnTo>
                  <a:lnTo>
                    <a:pt x="676" y="518"/>
                  </a:lnTo>
                  <a:lnTo>
                    <a:pt x="676" y="518"/>
                  </a:lnTo>
                  <a:lnTo>
                    <a:pt x="676" y="518"/>
                  </a:lnTo>
                  <a:lnTo>
                    <a:pt x="674" y="518"/>
                  </a:lnTo>
                  <a:lnTo>
                    <a:pt x="674" y="518"/>
                  </a:lnTo>
                  <a:lnTo>
                    <a:pt x="672" y="518"/>
                  </a:lnTo>
                  <a:lnTo>
                    <a:pt x="670" y="518"/>
                  </a:lnTo>
                  <a:lnTo>
                    <a:pt x="664" y="520"/>
                  </a:lnTo>
                  <a:lnTo>
                    <a:pt x="660" y="522"/>
                  </a:lnTo>
                  <a:lnTo>
                    <a:pt x="660" y="522"/>
                  </a:lnTo>
                  <a:lnTo>
                    <a:pt x="658" y="522"/>
                  </a:lnTo>
                  <a:lnTo>
                    <a:pt x="656" y="524"/>
                  </a:lnTo>
                  <a:lnTo>
                    <a:pt x="654" y="526"/>
                  </a:lnTo>
                  <a:lnTo>
                    <a:pt x="652" y="532"/>
                  </a:lnTo>
                  <a:lnTo>
                    <a:pt x="650" y="536"/>
                  </a:lnTo>
                  <a:lnTo>
                    <a:pt x="648" y="540"/>
                  </a:lnTo>
                  <a:lnTo>
                    <a:pt x="648" y="540"/>
                  </a:lnTo>
                  <a:lnTo>
                    <a:pt x="648" y="542"/>
                  </a:lnTo>
                  <a:lnTo>
                    <a:pt x="648" y="548"/>
                  </a:lnTo>
                  <a:lnTo>
                    <a:pt x="648" y="554"/>
                  </a:lnTo>
                  <a:lnTo>
                    <a:pt x="648" y="558"/>
                  </a:lnTo>
                  <a:lnTo>
                    <a:pt x="648" y="562"/>
                  </a:lnTo>
                  <a:lnTo>
                    <a:pt x="648" y="562"/>
                  </a:lnTo>
                  <a:lnTo>
                    <a:pt x="646" y="560"/>
                  </a:lnTo>
                  <a:lnTo>
                    <a:pt x="642" y="558"/>
                  </a:lnTo>
                  <a:lnTo>
                    <a:pt x="640" y="556"/>
                  </a:lnTo>
                  <a:lnTo>
                    <a:pt x="638" y="552"/>
                  </a:lnTo>
                  <a:lnTo>
                    <a:pt x="638" y="552"/>
                  </a:lnTo>
                  <a:lnTo>
                    <a:pt x="636" y="552"/>
                  </a:lnTo>
                  <a:lnTo>
                    <a:pt x="632" y="548"/>
                  </a:lnTo>
                  <a:lnTo>
                    <a:pt x="632" y="548"/>
                  </a:lnTo>
                  <a:lnTo>
                    <a:pt x="632" y="548"/>
                  </a:lnTo>
                  <a:lnTo>
                    <a:pt x="628" y="546"/>
                  </a:lnTo>
                  <a:lnTo>
                    <a:pt x="628" y="546"/>
                  </a:lnTo>
                  <a:lnTo>
                    <a:pt x="628" y="546"/>
                  </a:lnTo>
                  <a:lnTo>
                    <a:pt x="622" y="544"/>
                  </a:lnTo>
                  <a:lnTo>
                    <a:pt x="620" y="542"/>
                  </a:lnTo>
                  <a:lnTo>
                    <a:pt x="620" y="542"/>
                  </a:lnTo>
                  <a:lnTo>
                    <a:pt x="618" y="542"/>
                  </a:lnTo>
                  <a:lnTo>
                    <a:pt x="616" y="542"/>
                  </a:lnTo>
                  <a:lnTo>
                    <a:pt x="616" y="542"/>
                  </a:lnTo>
                  <a:lnTo>
                    <a:pt x="616" y="542"/>
                  </a:lnTo>
                  <a:lnTo>
                    <a:pt x="612" y="540"/>
                  </a:lnTo>
                  <a:lnTo>
                    <a:pt x="608" y="542"/>
                  </a:lnTo>
                  <a:lnTo>
                    <a:pt x="604" y="542"/>
                  </a:lnTo>
                  <a:lnTo>
                    <a:pt x="600" y="542"/>
                  </a:lnTo>
                  <a:lnTo>
                    <a:pt x="594" y="544"/>
                  </a:lnTo>
                  <a:lnTo>
                    <a:pt x="594" y="544"/>
                  </a:lnTo>
                  <a:lnTo>
                    <a:pt x="592" y="544"/>
                  </a:lnTo>
                  <a:lnTo>
                    <a:pt x="586" y="548"/>
                  </a:lnTo>
                  <a:lnTo>
                    <a:pt x="578" y="554"/>
                  </a:lnTo>
                  <a:lnTo>
                    <a:pt x="572" y="558"/>
                  </a:lnTo>
                  <a:lnTo>
                    <a:pt x="566" y="560"/>
                  </a:lnTo>
                  <a:lnTo>
                    <a:pt x="566" y="560"/>
                  </a:lnTo>
                  <a:lnTo>
                    <a:pt x="564" y="560"/>
                  </a:lnTo>
                  <a:lnTo>
                    <a:pt x="562" y="558"/>
                  </a:lnTo>
                  <a:lnTo>
                    <a:pt x="562" y="556"/>
                  </a:lnTo>
                  <a:lnTo>
                    <a:pt x="560" y="554"/>
                  </a:lnTo>
                  <a:lnTo>
                    <a:pt x="558" y="552"/>
                  </a:lnTo>
                  <a:lnTo>
                    <a:pt x="558" y="552"/>
                  </a:lnTo>
                  <a:lnTo>
                    <a:pt x="558" y="552"/>
                  </a:lnTo>
                  <a:lnTo>
                    <a:pt x="556" y="550"/>
                  </a:lnTo>
                  <a:lnTo>
                    <a:pt x="556" y="550"/>
                  </a:lnTo>
                  <a:lnTo>
                    <a:pt x="556" y="550"/>
                  </a:lnTo>
                  <a:lnTo>
                    <a:pt x="554" y="550"/>
                  </a:lnTo>
                  <a:lnTo>
                    <a:pt x="554" y="550"/>
                  </a:lnTo>
                  <a:lnTo>
                    <a:pt x="552" y="550"/>
                  </a:lnTo>
                  <a:lnTo>
                    <a:pt x="548" y="550"/>
                  </a:lnTo>
                  <a:lnTo>
                    <a:pt x="544" y="550"/>
                  </a:lnTo>
                  <a:lnTo>
                    <a:pt x="544" y="550"/>
                  </a:lnTo>
                  <a:lnTo>
                    <a:pt x="544" y="550"/>
                  </a:lnTo>
                  <a:lnTo>
                    <a:pt x="540" y="550"/>
                  </a:lnTo>
                  <a:lnTo>
                    <a:pt x="540" y="550"/>
                  </a:lnTo>
                  <a:lnTo>
                    <a:pt x="540" y="550"/>
                  </a:lnTo>
                  <a:lnTo>
                    <a:pt x="538" y="552"/>
                  </a:lnTo>
                  <a:lnTo>
                    <a:pt x="538" y="552"/>
                  </a:lnTo>
                  <a:lnTo>
                    <a:pt x="538" y="552"/>
                  </a:lnTo>
                  <a:lnTo>
                    <a:pt x="536" y="554"/>
                  </a:lnTo>
                  <a:lnTo>
                    <a:pt x="536" y="554"/>
                  </a:lnTo>
                  <a:lnTo>
                    <a:pt x="536" y="556"/>
                  </a:lnTo>
                  <a:lnTo>
                    <a:pt x="538" y="558"/>
                  </a:lnTo>
                  <a:lnTo>
                    <a:pt x="538" y="558"/>
                  </a:lnTo>
                  <a:lnTo>
                    <a:pt x="540" y="558"/>
                  </a:lnTo>
                  <a:lnTo>
                    <a:pt x="540" y="562"/>
                  </a:lnTo>
                  <a:lnTo>
                    <a:pt x="540" y="570"/>
                  </a:lnTo>
                  <a:lnTo>
                    <a:pt x="540" y="576"/>
                  </a:lnTo>
                  <a:lnTo>
                    <a:pt x="540" y="584"/>
                  </a:lnTo>
                  <a:lnTo>
                    <a:pt x="540" y="584"/>
                  </a:lnTo>
                  <a:lnTo>
                    <a:pt x="540" y="584"/>
                  </a:lnTo>
                  <a:lnTo>
                    <a:pt x="542" y="590"/>
                  </a:lnTo>
                  <a:lnTo>
                    <a:pt x="542" y="590"/>
                  </a:lnTo>
                  <a:lnTo>
                    <a:pt x="542" y="590"/>
                  </a:lnTo>
                  <a:lnTo>
                    <a:pt x="542" y="594"/>
                  </a:lnTo>
                  <a:lnTo>
                    <a:pt x="542" y="594"/>
                  </a:lnTo>
                  <a:lnTo>
                    <a:pt x="544" y="594"/>
                  </a:lnTo>
                  <a:lnTo>
                    <a:pt x="544" y="596"/>
                  </a:lnTo>
                  <a:lnTo>
                    <a:pt x="544" y="596"/>
                  </a:lnTo>
                  <a:lnTo>
                    <a:pt x="546" y="596"/>
                  </a:lnTo>
                  <a:lnTo>
                    <a:pt x="546" y="598"/>
                  </a:lnTo>
                  <a:lnTo>
                    <a:pt x="546" y="598"/>
                  </a:lnTo>
                  <a:lnTo>
                    <a:pt x="548" y="600"/>
                  </a:lnTo>
                  <a:lnTo>
                    <a:pt x="550" y="600"/>
                  </a:lnTo>
                  <a:lnTo>
                    <a:pt x="550" y="600"/>
                  </a:lnTo>
                  <a:lnTo>
                    <a:pt x="550" y="602"/>
                  </a:lnTo>
                  <a:lnTo>
                    <a:pt x="554" y="602"/>
                  </a:lnTo>
                  <a:lnTo>
                    <a:pt x="554" y="602"/>
                  </a:lnTo>
                  <a:lnTo>
                    <a:pt x="554" y="602"/>
                  </a:lnTo>
                  <a:lnTo>
                    <a:pt x="556" y="602"/>
                  </a:lnTo>
                  <a:lnTo>
                    <a:pt x="556" y="604"/>
                  </a:lnTo>
                  <a:lnTo>
                    <a:pt x="558" y="606"/>
                  </a:lnTo>
                  <a:lnTo>
                    <a:pt x="558" y="606"/>
                  </a:lnTo>
                  <a:lnTo>
                    <a:pt x="558" y="606"/>
                  </a:lnTo>
                  <a:lnTo>
                    <a:pt x="562" y="608"/>
                  </a:lnTo>
                  <a:lnTo>
                    <a:pt x="564" y="610"/>
                  </a:lnTo>
                  <a:lnTo>
                    <a:pt x="564" y="610"/>
                  </a:lnTo>
                  <a:lnTo>
                    <a:pt x="564" y="610"/>
                  </a:lnTo>
                  <a:lnTo>
                    <a:pt x="562" y="612"/>
                  </a:lnTo>
                  <a:lnTo>
                    <a:pt x="562" y="612"/>
                  </a:lnTo>
                  <a:lnTo>
                    <a:pt x="562" y="612"/>
                  </a:lnTo>
                  <a:lnTo>
                    <a:pt x="562" y="614"/>
                  </a:lnTo>
                  <a:lnTo>
                    <a:pt x="562" y="614"/>
                  </a:lnTo>
                  <a:lnTo>
                    <a:pt x="562" y="614"/>
                  </a:lnTo>
                  <a:lnTo>
                    <a:pt x="564" y="616"/>
                  </a:lnTo>
                  <a:lnTo>
                    <a:pt x="564" y="616"/>
                  </a:lnTo>
                  <a:lnTo>
                    <a:pt x="564" y="616"/>
                  </a:lnTo>
                  <a:lnTo>
                    <a:pt x="566" y="616"/>
                  </a:lnTo>
                  <a:lnTo>
                    <a:pt x="568" y="616"/>
                  </a:lnTo>
                  <a:lnTo>
                    <a:pt x="570" y="618"/>
                  </a:lnTo>
                  <a:lnTo>
                    <a:pt x="572" y="618"/>
                  </a:lnTo>
                  <a:lnTo>
                    <a:pt x="574" y="618"/>
                  </a:lnTo>
                  <a:lnTo>
                    <a:pt x="578" y="620"/>
                  </a:lnTo>
                  <a:lnTo>
                    <a:pt x="580" y="622"/>
                  </a:lnTo>
                  <a:lnTo>
                    <a:pt x="588" y="624"/>
                  </a:lnTo>
                  <a:lnTo>
                    <a:pt x="594" y="626"/>
                  </a:lnTo>
                  <a:lnTo>
                    <a:pt x="598" y="628"/>
                  </a:lnTo>
                  <a:lnTo>
                    <a:pt x="600" y="628"/>
                  </a:lnTo>
                  <a:lnTo>
                    <a:pt x="600" y="630"/>
                  </a:lnTo>
                  <a:lnTo>
                    <a:pt x="602" y="634"/>
                  </a:lnTo>
                  <a:lnTo>
                    <a:pt x="602" y="638"/>
                  </a:lnTo>
                  <a:lnTo>
                    <a:pt x="602" y="642"/>
                  </a:lnTo>
                  <a:lnTo>
                    <a:pt x="602" y="646"/>
                  </a:lnTo>
                  <a:lnTo>
                    <a:pt x="604" y="650"/>
                  </a:lnTo>
                  <a:lnTo>
                    <a:pt x="604" y="650"/>
                  </a:lnTo>
                  <a:lnTo>
                    <a:pt x="604" y="650"/>
                  </a:lnTo>
                  <a:lnTo>
                    <a:pt x="604" y="654"/>
                  </a:lnTo>
                  <a:lnTo>
                    <a:pt x="604" y="654"/>
                  </a:lnTo>
                  <a:lnTo>
                    <a:pt x="604" y="654"/>
                  </a:lnTo>
                  <a:lnTo>
                    <a:pt x="606" y="658"/>
                  </a:lnTo>
                  <a:lnTo>
                    <a:pt x="606" y="658"/>
                  </a:lnTo>
                  <a:lnTo>
                    <a:pt x="610" y="660"/>
                  </a:lnTo>
                  <a:lnTo>
                    <a:pt x="612" y="658"/>
                  </a:lnTo>
                  <a:lnTo>
                    <a:pt x="616" y="658"/>
                  </a:lnTo>
                  <a:lnTo>
                    <a:pt x="620" y="658"/>
                  </a:lnTo>
                  <a:lnTo>
                    <a:pt x="624" y="656"/>
                  </a:lnTo>
                  <a:lnTo>
                    <a:pt x="628" y="656"/>
                  </a:lnTo>
                  <a:lnTo>
                    <a:pt x="630" y="656"/>
                  </a:lnTo>
                  <a:lnTo>
                    <a:pt x="632" y="656"/>
                  </a:lnTo>
                  <a:lnTo>
                    <a:pt x="632" y="656"/>
                  </a:lnTo>
                  <a:lnTo>
                    <a:pt x="632" y="656"/>
                  </a:lnTo>
                  <a:lnTo>
                    <a:pt x="634" y="654"/>
                  </a:lnTo>
                  <a:lnTo>
                    <a:pt x="636" y="654"/>
                  </a:lnTo>
                  <a:lnTo>
                    <a:pt x="638" y="652"/>
                  </a:lnTo>
                  <a:lnTo>
                    <a:pt x="640" y="648"/>
                  </a:lnTo>
                  <a:lnTo>
                    <a:pt x="640" y="648"/>
                  </a:lnTo>
                  <a:lnTo>
                    <a:pt x="642" y="648"/>
                  </a:lnTo>
                  <a:lnTo>
                    <a:pt x="642" y="646"/>
                  </a:lnTo>
                  <a:lnTo>
                    <a:pt x="644" y="646"/>
                  </a:lnTo>
                  <a:lnTo>
                    <a:pt x="644" y="646"/>
                  </a:lnTo>
                  <a:lnTo>
                    <a:pt x="646" y="646"/>
                  </a:lnTo>
                  <a:lnTo>
                    <a:pt x="650" y="644"/>
                  </a:lnTo>
                  <a:lnTo>
                    <a:pt x="654" y="640"/>
                  </a:lnTo>
                  <a:lnTo>
                    <a:pt x="654" y="640"/>
                  </a:lnTo>
                  <a:lnTo>
                    <a:pt x="654" y="642"/>
                  </a:lnTo>
                  <a:lnTo>
                    <a:pt x="654" y="642"/>
                  </a:lnTo>
                  <a:lnTo>
                    <a:pt x="654" y="642"/>
                  </a:lnTo>
                  <a:lnTo>
                    <a:pt x="654" y="646"/>
                  </a:lnTo>
                  <a:lnTo>
                    <a:pt x="654" y="646"/>
                  </a:lnTo>
                  <a:lnTo>
                    <a:pt x="654" y="646"/>
                  </a:lnTo>
                  <a:lnTo>
                    <a:pt x="656" y="648"/>
                  </a:lnTo>
                  <a:lnTo>
                    <a:pt x="656" y="648"/>
                  </a:lnTo>
                  <a:lnTo>
                    <a:pt x="656" y="648"/>
                  </a:lnTo>
                  <a:lnTo>
                    <a:pt x="658" y="652"/>
                  </a:lnTo>
                  <a:lnTo>
                    <a:pt x="658" y="652"/>
                  </a:lnTo>
                  <a:lnTo>
                    <a:pt x="658" y="652"/>
                  </a:lnTo>
                  <a:lnTo>
                    <a:pt x="660" y="654"/>
                  </a:lnTo>
                  <a:lnTo>
                    <a:pt x="662" y="656"/>
                  </a:lnTo>
                  <a:lnTo>
                    <a:pt x="662" y="656"/>
                  </a:lnTo>
                  <a:lnTo>
                    <a:pt x="662" y="656"/>
                  </a:lnTo>
                  <a:lnTo>
                    <a:pt x="668" y="660"/>
                  </a:lnTo>
                  <a:lnTo>
                    <a:pt x="668" y="660"/>
                  </a:lnTo>
                  <a:lnTo>
                    <a:pt x="668" y="660"/>
                  </a:lnTo>
                  <a:lnTo>
                    <a:pt x="674" y="662"/>
                  </a:lnTo>
                  <a:lnTo>
                    <a:pt x="680" y="664"/>
                  </a:lnTo>
                  <a:lnTo>
                    <a:pt x="686" y="664"/>
                  </a:lnTo>
                  <a:lnTo>
                    <a:pt x="688" y="666"/>
                  </a:lnTo>
                  <a:lnTo>
                    <a:pt x="690" y="666"/>
                  </a:lnTo>
                  <a:lnTo>
                    <a:pt x="690" y="666"/>
                  </a:lnTo>
                  <a:lnTo>
                    <a:pt x="692" y="668"/>
                  </a:lnTo>
                  <a:lnTo>
                    <a:pt x="696" y="668"/>
                  </a:lnTo>
                  <a:lnTo>
                    <a:pt x="696" y="668"/>
                  </a:lnTo>
                  <a:lnTo>
                    <a:pt x="696" y="668"/>
                  </a:lnTo>
                  <a:lnTo>
                    <a:pt x="702" y="668"/>
                  </a:lnTo>
                  <a:lnTo>
                    <a:pt x="706" y="668"/>
                  </a:lnTo>
                  <a:lnTo>
                    <a:pt x="708" y="666"/>
                  </a:lnTo>
                  <a:lnTo>
                    <a:pt x="708" y="666"/>
                  </a:lnTo>
                  <a:lnTo>
                    <a:pt x="710" y="666"/>
                  </a:lnTo>
                  <a:lnTo>
                    <a:pt x="712" y="664"/>
                  </a:lnTo>
                  <a:lnTo>
                    <a:pt x="710" y="656"/>
                  </a:lnTo>
                  <a:lnTo>
                    <a:pt x="710" y="650"/>
                  </a:lnTo>
                  <a:lnTo>
                    <a:pt x="710" y="642"/>
                  </a:lnTo>
                  <a:lnTo>
                    <a:pt x="708" y="636"/>
                  </a:lnTo>
                  <a:lnTo>
                    <a:pt x="708" y="636"/>
                  </a:lnTo>
                  <a:lnTo>
                    <a:pt x="708" y="636"/>
                  </a:lnTo>
                  <a:lnTo>
                    <a:pt x="706" y="630"/>
                  </a:lnTo>
                  <a:lnTo>
                    <a:pt x="706" y="630"/>
                  </a:lnTo>
                  <a:lnTo>
                    <a:pt x="706" y="630"/>
                  </a:lnTo>
                  <a:lnTo>
                    <a:pt x="704" y="626"/>
                  </a:lnTo>
                  <a:lnTo>
                    <a:pt x="704" y="626"/>
                  </a:lnTo>
                  <a:lnTo>
                    <a:pt x="704" y="624"/>
                  </a:lnTo>
                  <a:lnTo>
                    <a:pt x="702" y="622"/>
                  </a:lnTo>
                  <a:lnTo>
                    <a:pt x="698" y="620"/>
                  </a:lnTo>
                  <a:lnTo>
                    <a:pt x="696" y="618"/>
                  </a:lnTo>
                  <a:lnTo>
                    <a:pt x="692" y="616"/>
                  </a:lnTo>
                  <a:lnTo>
                    <a:pt x="692" y="614"/>
                  </a:lnTo>
                  <a:lnTo>
                    <a:pt x="690" y="612"/>
                  </a:lnTo>
                  <a:lnTo>
                    <a:pt x="690" y="610"/>
                  </a:lnTo>
                  <a:lnTo>
                    <a:pt x="690" y="610"/>
                  </a:lnTo>
                  <a:lnTo>
                    <a:pt x="690" y="610"/>
                  </a:lnTo>
                  <a:lnTo>
                    <a:pt x="692" y="608"/>
                  </a:lnTo>
                  <a:lnTo>
                    <a:pt x="694" y="608"/>
                  </a:lnTo>
                  <a:lnTo>
                    <a:pt x="696" y="606"/>
                  </a:lnTo>
                  <a:lnTo>
                    <a:pt x="696" y="606"/>
                  </a:lnTo>
                  <a:lnTo>
                    <a:pt x="698" y="602"/>
                  </a:lnTo>
                  <a:lnTo>
                    <a:pt x="698" y="600"/>
                  </a:lnTo>
                  <a:lnTo>
                    <a:pt x="698" y="598"/>
                  </a:lnTo>
                  <a:lnTo>
                    <a:pt x="696" y="596"/>
                  </a:lnTo>
                  <a:lnTo>
                    <a:pt x="696" y="594"/>
                  </a:lnTo>
                  <a:lnTo>
                    <a:pt x="696" y="592"/>
                  </a:lnTo>
                  <a:lnTo>
                    <a:pt x="696" y="590"/>
                  </a:lnTo>
                  <a:lnTo>
                    <a:pt x="696" y="590"/>
                  </a:lnTo>
                  <a:lnTo>
                    <a:pt x="696" y="590"/>
                  </a:lnTo>
                  <a:lnTo>
                    <a:pt x="696" y="588"/>
                  </a:lnTo>
                  <a:lnTo>
                    <a:pt x="696" y="588"/>
                  </a:lnTo>
                  <a:lnTo>
                    <a:pt x="696" y="588"/>
                  </a:lnTo>
                  <a:lnTo>
                    <a:pt x="694" y="588"/>
                  </a:lnTo>
                  <a:lnTo>
                    <a:pt x="694" y="586"/>
                  </a:lnTo>
                  <a:lnTo>
                    <a:pt x="692" y="584"/>
                  </a:lnTo>
                  <a:lnTo>
                    <a:pt x="692" y="584"/>
                  </a:lnTo>
                  <a:lnTo>
                    <a:pt x="694" y="582"/>
                  </a:lnTo>
                  <a:lnTo>
                    <a:pt x="694" y="582"/>
                  </a:lnTo>
                  <a:lnTo>
                    <a:pt x="694" y="582"/>
                  </a:lnTo>
                  <a:lnTo>
                    <a:pt x="696" y="582"/>
                  </a:lnTo>
                  <a:lnTo>
                    <a:pt x="700" y="582"/>
                  </a:lnTo>
                  <a:lnTo>
                    <a:pt x="704" y="584"/>
                  </a:lnTo>
                  <a:lnTo>
                    <a:pt x="706" y="586"/>
                  </a:lnTo>
                  <a:lnTo>
                    <a:pt x="710" y="588"/>
                  </a:lnTo>
                  <a:lnTo>
                    <a:pt x="712" y="590"/>
                  </a:lnTo>
                  <a:lnTo>
                    <a:pt x="714" y="592"/>
                  </a:lnTo>
                  <a:lnTo>
                    <a:pt x="716" y="594"/>
                  </a:lnTo>
                  <a:lnTo>
                    <a:pt x="716" y="596"/>
                  </a:lnTo>
                  <a:lnTo>
                    <a:pt x="718" y="598"/>
                  </a:lnTo>
                  <a:lnTo>
                    <a:pt x="718" y="602"/>
                  </a:lnTo>
                  <a:lnTo>
                    <a:pt x="718" y="608"/>
                  </a:lnTo>
                  <a:lnTo>
                    <a:pt x="720" y="618"/>
                  </a:lnTo>
                  <a:lnTo>
                    <a:pt x="720" y="624"/>
                  </a:lnTo>
                  <a:lnTo>
                    <a:pt x="720" y="630"/>
                  </a:lnTo>
                  <a:lnTo>
                    <a:pt x="720" y="636"/>
                  </a:lnTo>
                  <a:lnTo>
                    <a:pt x="722" y="642"/>
                  </a:lnTo>
                  <a:lnTo>
                    <a:pt x="722" y="646"/>
                  </a:lnTo>
                  <a:lnTo>
                    <a:pt x="722" y="652"/>
                  </a:lnTo>
                  <a:lnTo>
                    <a:pt x="724" y="656"/>
                  </a:lnTo>
                  <a:lnTo>
                    <a:pt x="724" y="660"/>
                  </a:lnTo>
                  <a:lnTo>
                    <a:pt x="724" y="664"/>
                  </a:lnTo>
                  <a:lnTo>
                    <a:pt x="726" y="670"/>
                  </a:lnTo>
                  <a:lnTo>
                    <a:pt x="728" y="674"/>
                  </a:lnTo>
                  <a:lnTo>
                    <a:pt x="732" y="678"/>
                  </a:lnTo>
                  <a:lnTo>
                    <a:pt x="732" y="678"/>
                  </a:lnTo>
                  <a:lnTo>
                    <a:pt x="734" y="680"/>
                  </a:lnTo>
                  <a:lnTo>
                    <a:pt x="738" y="680"/>
                  </a:lnTo>
                  <a:lnTo>
                    <a:pt x="744" y="680"/>
                  </a:lnTo>
                  <a:lnTo>
                    <a:pt x="748" y="680"/>
                  </a:lnTo>
                  <a:lnTo>
                    <a:pt x="754" y="680"/>
                  </a:lnTo>
                  <a:lnTo>
                    <a:pt x="758" y="680"/>
                  </a:lnTo>
                  <a:lnTo>
                    <a:pt x="758" y="680"/>
                  </a:lnTo>
                  <a:lnTo>
                    <a:pt x="760" y="680"/>
                  </a:lnTo>
                  <a:lnTo>
                    <a:pt x="764" y="678"/>
                  </a:lnTo>
                  <a:lnTo>
                    <a:pt x="764" y="678"/>
                  </a:lnTo>
                  <a:lnTo>
                    <a:pt x="764" y="678"/>
                  </a:lnTo>
                  <a:lnTo>
                    <a:pt x="768" y="676"/>
                  </a:lnTo>
                  <a:lnTo>
                    <a:pt x="768" y="676"/>
                  </a:lnTo>
                  <a:lnTo>
                    <a:pt x="770" y="676"/>
                  </a:lnTo>
                  <a:lnTo>
                    <a:pt x="772" y="672"/>
                  </a:lnTo>
                  <a:lnTo>
                    <a:pt x="772" y="672"/>
                  </a:lnTo>
                  <a:lnTo>
                    <a:pt x="774" y="670"/>
                  </a:lnTo>
                  <a:lnTo>
                    <a:pt x="772" y="668"/>
                  </a:lnTo>
                  <a:lnTo>
                    <a:pt x="772" y="666"/>
                  </a:lnTo>
                  <a:lnTo>
                    <a:pt x="772" y="664"/>
                  </a:lnTo>
                  <a:lnTo>
                    <a:pt x="774" y="666"/>
                  </a:lnTo>
                  <a:lnTo>
                    <a:pt x="776" y="668"/>
                  </a:lnTo>
                  <a:lnTo>
                    <a:pt x="778" y="672"/>
                  </a:lnTo>
                  <a:lnTo>
                    <a:pt x="780" y="676"/>
                  </a:lnTo>
                  <a:lnTo>
                    <a:pt x="782" y="678"/>
                  </a:lnTo>
                  <a:lnTo>
                    <a:pt x="782" y="678"/>
                  </a:lnTo>
                  <a:lnTo>
                    <a:pt x="782" y="680"/>
                  </a:lnTo>
                  <a:lnTo>
                    <a:pt x="784" y="680"/>
                  </a:lnTo>
                  <a:lnTo>
                    <a:pt x="784" y="680"/>
                  </a:lnTo>
                  <a:lnTo>
                    <a:pt x="784" y="680"/>
                  </a:lnTo>
                  <a:lnTo>
                    <a:pt x="784" y="682"/>
                  </a:lnTo>
                  <a:lnTo>
                    <a:pt x="784" y="682"/>
                  </a:lnTo>
                  <a:lnTo>
                    <a:pt x="786" y="682"/>
                  </a:lnTo>
                  <a:lnTo>
                    <a:pt x="790" y="682"/>
                  </a:lnTo>
                  <a:lnTo>
                    <a:pt x="790" y="682"/>
                  </a:lnTo>
                  <a:lnTo>
                    <a:pt x="790" y="684"/>
                  </a:lnTo>
                  <a:lnTo>
                    <a:pt x="794" y="684"/>
                  </a:lnTo>
                  <a:lnTo>
                    <a:pt x="800" y="684"/>
                  </a:lnTo>
                  <a:lnTo>
                    <a:pt x="804" y="684"/>
                  </a:lnTo>
                  <a:lnTo>
                    <a:pt x="814" y="684"/>
                  </a:lnTo>
                  <a:lnTo>
                    <a:pt x="818" y="684"/>
                  </a:lnTo>
                  <a:lnTo>
                    <a:pt x="822" y="684"/>
                  </a:lnTo>
                  <a:lnTo>
                    <a:pt x="826" y="684"/>
                  </a:lnTo>
                  <a:lnTo>
                    <a:pt x="832" y="684"/>
                  </a:lnTo>
                  <a:lnTo>
                    <a:pt x="840" y="684"/>
                  </a:lnTo>
                  <a:lnTo>
                    <a:pt x="844" y="684"/>
                  </a:lnTo>
                  <a:lnTo>
                    <a:pt x="850" y="684"/>
                  </a:lnTo>
                  <a:lnTo>
                    <a:pt x="854" y="684"/>
                  </a:lnTo>
                  <a:lnTo>
                    <a:pt x="854" y="684"/>
                  </a:lnTo>
                  <a:lnTo>
                    <a:pt x="854" y="682"/>
                  </a:lnTo>
                  <a:lnTo>
                    <a:pt x="858" y="682"/>
                  </a:lnTo>
                  <a:lnTo>
                    <a:pt x="858" y="682"/>
                  </a:lnTo>
                  <a:lnTo>
                    <a:pt x="860" y="682"/>
                  </a:lnTo>
                  <a:lnTo>
                    <a:pt x="860" y="680"/>
                  </a:lnTo>
                  <a:lnTo>
                    <a:pt x="860" y="680"/>
                  </a:lnTo>
                  <a:lnTo>
                    <a:pt x="862" y="678"/>
                  </a:lnTo>
                  <a:lnTo>
                    <a:pt x="862" y="676"/>
                  </a:lnTo>
                  <a:lnTo>
                    <a:pt x="862" y="676"/>
                  </a:lnTo>
                  <a:lnTo>
                    <a:pt x="862" y="676"/>
                  </a:lnTo>
                  <a:lnTo>
                    <a:pt x="864" y="674"/>
                  </a:lnTo>
                  <a:lnTo>
                    <a:pt x="864" y="672"/>
                  </a:lnTo>
                  <a:lnTo>
                    <a:pt x="866" y="674"/>
                  </a:lnTo>
                  <a:lnTo>
                    <a:pt x="866" y="676"/>
                  </a:lnTo>
                  <a:lnTo>
                    <a:pt x="868" y="678"/>
                  </a:lnTo>
                  <a:lnTo>
                    <a:pt x="870" y="680"/>
                  </a:lnTo>
                  <a:lnTo>
                    <a:pt x="870" y="680"/>
                  </a:lnTo>
                  <a:lnTo>
                    <a:pt x="872" y="680"/>
                  </a:lnTo>
                  <a:lnTo>
                    <a:pt x="874" y="682"/>
                  </a:lnTo>
                  <a:lnTo>
                    <a:pt x="874" y="682"/>
                  </a:lnTo>
                  <a:lnTo>
                    <a:pt x="876" y="682"/>
                  </a:lnTo>
                  <a:lnTo>
                    <a:pt x="880" y="682"/>
                  </a:lnTo>
                  <a:lnTo>
                    <a:pt x="884" y="680"/>
                  </a:lnTo>
                  <a:lnTo>
                    <a:pt x="888" y="680"/>
                  </a:lnTo>
                  <a:lnTo>
                    <a:pt x="892" y="678"/>
                  </a:lnTo>
                  <a:lnTo>
                    <a:pt x="892" y="678"/>
                  </a:lnTo>
                  <a:lnTo>
                    <a:pt x="892" y="678"/>
                  </a:lnTo>
                  <a:lnTo>
                    <a:pt x="900" y="672"/>
                  </a:lnTo>
                  <a:lnTo>
                    <a:pt x="902" y="670"/>
                  </a:lnTo>
                  <a:lnTo>
                    <a:pt x="906" y="668"/>
                  </a:lnTo>
                  <a:lnTo>
                    <a:pt x="906" y="668"/>
                  </a:lnTo>
                  <a:lnTo>
                    <a:pt x="908" y="666"/>
                  </a:lnTo>
                  <a:lnTo>
                    <a:pt x="908" y="662"/>
                  </a:lnTo>
                  <a:lnTo>
                    <a:pt x="910" y="660"/>
                  </a:lnTo>
                  <a:lnTo>
                    <a:pt x="910" y="660"/>
                  </a:lnTo>
                  <a:lnTo>
                    <a:pt x="910" y="660"/>
                  </a:lnTo>
                  <a:lnTo>
                    <a:pt x="910" y="658"/>
                  </a:lnTo>
                  <a:lnTo>
                    <a:pt x="912" y="658"/>
                  </a:lnTo>
                  <a:lnTo>
                    <a:pt x="914" y="656"/>
                  </a:lnTo>
                  <a:lnTo>
                    <a:pt x="916" y="654"/>
                  </a:lnTo>
                  <a:lnTo>
                    <a:pt x="916" y="654"/>
                  </a:lnTo>
                  <a:lnTo>
                    <a:pt x="918" y="652"/>
                  </a:lnTo>
                  <a:lnTo>
                    <a:pt x="918" y="646"/>
                  </a:lnTo>
                  <a:lnTo>
                    <a:pt x="918" y="646"/>
                  </a:lnTo>
                  <a:lnTo>
                    <a:pt x="918" y="646"/>
                  </a:lnTo>
                  <a:lnTo>
                    <a:pt x="916" y="640"/>
                  </a:lnTo>
                  <a:lnTo>
                    <a:pt x="916" y="640"/>
                  </a:lnTo>
                  <a:lnTo>
                    <a:pt x="916" y="638"/>
                  </a:lnTo>
                  <a:lnTo>
                    <a:pt x="914" y="632"/>
                  </a:lnTo>
                  <a:lnTo>
                    <a:pt x="914" y="632"/>
                  </a:lnTo>
                  <a:lnTo>
                    <a:pt x="914" y="632"/>
                  </a:lnTo>
                  <a:lnTo>
                    <a:pt x="912" y="626"/>
                  </a:lnTo>
                  <a:lnTo>
                    <a:pt x="908" y="620"/>
                  </a:lnTo>
                  <a:lnTo>
                    <a:pt x="904" y="614"/>
                  </a:lnTo>
                  <a:lnTo>
                    <a:pt x="898" y="610"/>
                  </a:lnTo>
                  <a:lnTo>
                    <a:pt x="894" y="606"/>
                  </a:lnTo>
                  <a:lnTo>
                    <a:pt x="894" y="606"/>
                  </a:lnTo>
                  <a:lnTo>
                    <a:pt x="892" y="606"/>
                  </a:lnTo>
                  <a:lnTo>
                    <a:pt x="886" y="606"/>
                  </a:lnTo>
                  <a:lnTo>
                    <a:pt x="880" y="606"/>
                  </a:lnTo>
                  <a:lnTo>
                    <a:pt x="876" y="606"/>
                  </a:lnTo>
                  <a:lnTo>
                    <a:pt x="870" y="606"/>
                  </a:lnTo>
                  <a:lnTo>
                    <a:pt x="868" y="606"/>
                  </a:lnTo>
                  <a:lnTo>
                    <a:pt x="864" y="606"/>
                  </a:lnTo>
                  <a:lnTo>
                    <a:pt x="858" y="606"/>
                  </a:lnTo>
                  <a:lnTo>
                    <a:pt x="854" y="606"/>
                  </a:lnTo>
                  <a:lnTo>
                    <a:pt x="850" y="608"/>
                  </a:lnTo>
                  <a:lnTo>
                    <a:pt x="846" y="608"/>
                  </a:lnTo>
                  <a:lnTo>
                    <a:pt x="844" y="608"/>
                  </a:lnTo>
                  <a:lnTo>
                    <a:pt x="840" y="608"/>
                  </a:lnTo>
                  <a:lnTo>
                    <a:pt x="836" y="610"/>
                  </a:lnTo>
                  <a:lnTo>
                    <a:pt x="836" y="610"/>
                  </a:lnTo>
                  <a:lnTo>
                    <a:pt x="836" y="610"/>
                  </a:lnTo>
                  <a:lnTo>
                    <a:pt x="832" y="612"/>
                  </a:lnTo>
                  <a:lnTo>
                    <a:pt x="826" y="616"/>
                  </a:lnTo>
                  <a:lnTo>
                    <a:pt x="822" y="618"/>
                  </a:lnTo>
                  <a:lnTo>
                    <a:pt x="818" y="622"/>
                  </a:lnTo>
                  <a:lnTo>
                    <a:pt x="818" y="622"/>
                  </a:lnTo>
                  <a:lnTo>
                    <a:pt x="816" y="622"/>
                  </a:lnTo>
                  <a:lnTo>
                    <a:pt x="816" y="624"/>
                  </a:lnTo>
                  <a:lnTo>
                    <a:pt x="814" y="626"/>
                  </a:lnTo>
                  <a:lnTo>
                    <a:pt x="814" y="628"/>
                  </a:lnTo>
                  <a:lnTo>
                    <a:pt x="812" y="628"/>
                  </a:lnTo>
                  <a:lnTo>
                    <a:pt x="812" y="628"/>
                  </a:lnTo>
                  <a:lnTo>
                    <a:pt x="810" y="628"/>
                  </a:lnTo>
                  <a:lnTo>
                    <a:pt x="808" y="630"/>
                  </a:lnTo>
                  <a:lnTo>
                    <a:pt x="806" y="628"/>
                  </a:lnTo>
                  <a:lnTo>
                    <a:pt x="806" y="628"/>
                  </a:lnTo>
                  <a:lnTo>
                    <a:pt x="804" y="628"/>
                  </a:lnTo>
                  <a:lnTo>
                    <a:pt x="802" y="626"/>
                  </a:lnTo>
                  <a:lnTo>
                    <a:pt x="800" y="624"/>
                  </a:lnTo>
                  <a:lnTo>
                    <a:pt x="798" y="622"/>
                  </a:lnTo>
                  <a:lnTo>
                    <a:pt x="796" y="620"/>
                  </a:lnTo>
                  <a:lnTo>
                    <a:pt x="796" y="620"/>
                  </a:lnTo>
                  <a:lnTo>
                    <a:pt x="794" y="620"/>
                  </a:lnTo>
                  <a:lnTo>
                    <a:pt x="788" y="620"/>
                  </a:lnTo>
                  <a:lnTo>
                    <a:pt x="784" y="620"/>
                  </a:lnTo>
                  <a:lnTo>
                    <a:pt x="780" y="620"/>
                  </a:lnTo>
                  <a:lnTo>
                    <a:pt x="778" y="620"/>
                  </a:lnTo>
                  <a:lnTo>
                    <a:pt x="776" y="620"/>
                  </a:lnTo>
                  <a:lnTo>
                    <a:pt x="774" y="618"/>
                  </a:lnTo>
                  <a:lnTo>
                    <a:pt x="772" y="616"/>
                  </a:lnTo>
                  <a:lnTo>
                    <a:pt x="772" y="614"/>
                  </a:lnTo>
                  <a:lnTo>
                    <a:pt x="772" y="614"/>
                  </a:lnTo>
                  <a:lnTo>
                    <a:pt x="770" y="610"/>
                  </a:lnTo>
                  <a:lnTo>
                    <a:pt x="768" y="606"/>
                  </a:lnTo>
                  <a:lnTo>
                    <a:pt x="766" y="602"/>
                  </a:lnTo>
                  <a:lnTo>
                    <a:pt x="766" y="602"/>
                  </a:lnTo>
                  <a:lnTo>
                    <a:pt x="766" y="602"/>
                  </a:lnTo>
                  <a:lnTo>
                    <a:pt x="764" y="598"/>
                  </a:lnTo>
                  <a:lnTo>
                    <a:pt x="764" y="598"/>
                  </a:lnTo>
                  <a:lnTo>
                    <a:pt x="764" y="598"/>
                  </a:lnTo>
                  <a:lnTo>
                    <a:pt x="760" y="596"/>
                  </a:lnTo>
                  <a:lnTo>
                    <a:pt x="758" y="594"/>
                  </a:lnTo>
                  <a:lnTo>
                    <a:pt x="754" y="592"/>
                  </a:lnTo>
                  <a:lnTo>
                    <a:pt x="754" y="592"/>
                  </a:lnTo>
                  <a:lnTo>
                    <a:pt x="754" y="590"/>
                  </a:lnTo>
                  <a:lnTo>
                    <a:pt x="754" y="588"/>
                  </a:lnTo>
                  <a:lnTo>
                    <a:pt x="754" y="588"/>
                  </a:lnTo>
                  <a:lnTo>
                    <a:pt x="756" y="586"/>
                  </a:lnTo>
                  <a:lnTo>
                    <a:pt x="756" y="584"/>
                  </a:lnTo>
                  <a:lnTo>
                    <a:pt x="758" y="584"/>
                  </a:lnTo>
                  <a:lnTo>
                    <a:pt x="760" y="582"/>
                  </a:lnTo>
                  <a:lnTo>
                    <a:pt x="762" y="582"/>
                  </a:lnTo>
                  <a:lnTo>
                    <a:pt x="762" y="582"/>
                  </a:lnTo>
                  <a:lnTo>
                    <a:pt x="764" y="580"/>
                  </a:lnTo>
                  <a:lnTo>
                    <a:pt x="766" y="578"/>
                  </a:lnTo>
                  <a:lnTo>
                    <a:pt x="766" y="576"/>
                  </a:lnTo>
                  <a:lnTo>
                    <a:pt x="768" y="574"/>
                  </a:lnTo>
                  <a:lnTo>
                    <a:pt x="770" y="574"/>
                  </a:lnTo>
                  <a:lnTo>
                    <a:pt x="772" y="574"/>
                  </a:lnTo>
                  <a:lnTo>
                    <a:pt x="774" y="572"/>
                  </a:lnTo>
                  <a:lnTo>
                    <a:pt x="776" y="574"/>
                  </a:lnTo>
                  <a:lnTo>
                    <a:pt x="778" y="574"/>
                  </a:lnTo>
                  <a:lnTo>
                    <a:pt x="784" y="574"/>
                  </a:lnTo>
                  <a:lnTo>
                    <a:pt x="788" y="574"/>
                  </a:lnTo>
                  <a:lnTo>
                    <a:pt x="792" y="576"/>
                  </a:lnTo>
                  <a:lnTo>
                    <a:pt x="794" y="576"/>
                  </a:lnTo>
                  <a:lnTo>
                    <a:pt x="794" y="576"/>
                  </a:lnTo>
                  <a:lnTo>
                    <a:pt x="796" y="576"/>
                  </a:lnTo>
                  <a:lnTo>
                    <a:pt x="798" y="574"/>
                  </a:lnTo>
                  <a:lnTo>
                    <a:pt x="798" y="574"/>
                  </a:lnTo>
                  <a:lnTo>
                    <a:pt x="800" y="574"/>
                  </a:lnTo>
                  <a:lnTo>
                    <a:pt x="802" y="574"/>
                  </a:lnTo>
                  <a:lnTo>
                    <a:pt x="802" y="574"/>
                  </a:lnTo>
                  <a:lnTo>
                    <a:pt x="804" y="574"/>
                  </a:lnTo>
                  <a:lnTo>
                    <a:pt x="806" y="572"/>
                  </a:lnTo>
                  <a:lnTo>
                    <a:pt x="812" y="574"/>
                  </a:lnTo>
                  <a:lnTo>
                    <a:pt x="818" y="576"/>
                  </a:lnTo>
                  <a:lnTo>
                    <a:pt x="818" y="576"/>
                  </a:lnTo>
                  <a:lnTo>
                    <a:pt x="820" y="576"/>
                  </a:lnTo>
                  <a:lnTo>
                    <a:pt x="828" y="574"/>
                  </a:lnTo>
                  <a:lnTo>
                    <a:pt x="834" y="572"/>
                  </a:lnTo>
                  <a:lnTo>
                    <a:pt x="836" y="572"/>
                  </a:lnTo>
                  <a:lnTo>
                    <a:pt x="838" y="572"/>
                  </a:lnTo>
                  <a:lnTo>
                    <a:pt x="840" y="574"/>
                  </a:lnTo>
                  <a:lnTo>
                    <a:pt x="840" y="574"/>
                  </a:lnTo>
                  <a:lnTo>
                    <a:pt x="840" y="574"/>
                  </a:lnTo>
                  <a:lnTo>
                    <a:pt x="842" y="574"/>
                  </a:lnTo>
                  <a:lnTo>
                    <a:pt x="844" y="574"/>
                  </a:lnTo>
                  <a:lnTo>
                    <a:pt x="846" y="574"/>
                  </a:lnTo>
                  <a:lnTo>
                    <a:pt x="848" y="574"/>
                  </a:lnTo>
                  <a:lnTo>
                    <a:pt x="852" y="574"/>
                  </a:lnTo>
                  <a:lnTo>
                    <a:pt x="854" y="572"/>
                  </a:lnTo>
                  <a:lnTo>
                    <a:pt x="862" y="572"/>
                  </a:lnTo>
                  <a:lnTo>
                    <a:pt x="864" y="572"/>
                  </a:lnTo>
                  <a:lnTo>
                    <a:pt x="868" y="572"/>
                  </a:lnTo>
                  <a:lnTo>
                    <a:pt x="870" y="570"/>
                  </a:lnTo>
                  <a:lnTo>
                    <a:pt x="870" y="570"/>
                  </a:lnTo>
                  <a:lnTo>
                    <a:pt x="870" y="570"/>
                  </a:lnTo>
                  <a:lnTo>
                    <a:pt x="872" y="568"/>
                  </a:lnTo>
                  <a:lnTo>
                    <a:pt x="872" y="566"/>
                  </a:lnTo>
                  <a:lnTo>
                    <a:pt x="874" y="564"/>
                  </a:lnTo>
                  <a:lnTo>
                    <a:pt x="874" y="562"/>
                  </a:lnTo>
                  <a:lnTo>
                    <a:pt x="876" y="562"/>
                  </a:lnTo>
                  <a:lnTo>
                    <a:pt x="878" y="562"/>
                  </a:lnTo>
                  <a:lnTo>
                    <a:pt x="880" y="562"/>
                  </a:lnTo>
                  <a:lnTo>
                    <a:pt x="884" y="564"/>
                  </a:lnTo>
                  <a:lnTo>
                    <a:pt x="886" y="564"/>
                  </a:lnTo>
                  <a:lnTo>
                    <a:pt x="888" y="566"/>
                  </a:lnTo>
                  <a:lnTo>
                    <a:pt x="888" y="568"/>
                  </a:lnTo>
                  <a:lnTo>
                    <a:pt x="890" y="572"/>
                  </a:lnTo>
                  <a:lnTo>
                    <a:pt x="892" y="576"/>
                  </a:lnTo>
                  <a:lnTo>
                    <a:pt x="892" y="578"/>
                  </a:lnTo>
                  <a:lnTo>
                    <a:pt x="894" y="580"/>
                  </a:lnTo>
                  <a:lnTo>
                    <a:pt x="894" y="580"/>
                  </a:lnTo>
                  <a:lnTo>
                    <a:pt x="894" y="582"/>
                  </a:lnTo>
                  <a:lnTo>
                    <a:pt x="896" y="582"/>
                  </a:lnTo>
                  <a:lnTo>
                    <a:pt x="902" y="582"/>
                  </a:lnTo>
                  <a:lnTo>
                    <a:pt x="906" y="582"/>
                  </a:lnTo>
                  <a:lnTo>
                    <a:pt x="906" y="582"/>
                  </a:lnTo>
                  <a:lnTo>
                    <a:pt x="906" y="582"/>
                  </a:lnTo>
                  <a:lnTo>
                    <a:pt x="910" y="582"/>
                  </a:lnTo>
                  <a:lnTo>
                    <a:pt x="910" y="582"/>
                  </a:lnTo>
                  <a:lnTo>
                    <a:pt x="912" y="580"/>
                  </a:lnTo>
                  <a:lnTo>
                    <a:pt x="912" y="580"/>
                  </a:lnTo>
                  <a:lnTo>
                    <a:pt x="912" y="580"/>
                  </a:lnTo>
                  <a:lnTo>
                    <a:pt x="912" y="580"/>
                  </a:lnTo>
                  <a:lnTo>
                    <a:pt x="914" y="578"/>
                  </a:lnTo>
                  <a:lnTo>
                    <a:pt x="914" y="576"/>
                  </a:lnTo>
                  <a:lnTo>
                    <a:pt x="914" y="574"/>
                  </a:lnTo>
                  <a:lnTo>
                    <a:pt x="914" y="572"/>
                  </a:lnTo>
                  <a:lnTo>
                    <a:pt x="914" y="570"/>
                  </a:lnTo>
                  <a:lnTo>
                    <a:pt x="914" y="570"/>
                  </a:lnTo>
                  <a:lnTo>
                    <a:pt x="914" y="570"/>
                  </a:lnTo>
                  <a:lnTo>
                    <a:pt x="916" y="568"/>
                  </a:lnTo>
                  <a:lnTo>
                    <a:pt x="918" y="568"/>
                  </a:lnTo>
                  <a:lnTo>
                    <a:pt x="922" y="568"/>
                  </a:lnTo>
                  <a:lnTo>
                    <a:pt x="924" y="566"/>
                  </a:lnTo>
                  <a:lnTo>
                    <a:pt x="924" y="566"/>
                  </a:lnTo>
                  <a:lnTo>
                    <a:pt x="924" y="566"/>
                  </a:lnTo>
                  <a:lnTo>
                    <a:pt x="928" y="564"/>
                  </a:lnTo>
                  <a:lnTo>
                    <a:pt x="928" y="564"/>
                  </a:lnTo>
                  <a:lnTo>
                    <a:pt x="928" y="564"/>
                  </a:lnTo>
                  <a:lnTo>
                    <a:pt x="930" y="562"/>
                  </a:lnTo>
                  <a:lnTo>
                    <a:pt x="930" y="562"/>
                  </a:lnTo>
                  <a:lnTo>
                    <a:pt x="930" y="562"/>
                  </a:lnTo>
                  <a:lnTo>
                    <a:pt x="932" y="560"/>
                  </a:lnTo>
                  <a:lnTo>
                    <a:pt x="934" y="556"/>
                  </a:lnTo>
                  <a:lnTo>
                    <a:pt x="936" y="550"/>
                  </a:lnTo>
                  <a:lnTo>
                    <a:pt x="936" y="548"/>
                  </a:lnTo>
                  <a:lnTo>
                    <a:pt x="938" y="546"/>
                  </a:lnTo>
                  <a:lnTo>
                    <a:pt x="938" y="546"/>
                  </a:lnTo>
                  <a:lnTo>
                    <a:pt x="938" y="544"/>
                  </a:lnTo>
                  <a:lnTo>
                    <a:pt x="938" y="542"/>
                  </a:lnTo>
                  <a:lnTo>
                    <a:pt x="940" y="542"/>
                  </a:lnTo>
                  <a:lnTo>
                    <a:pt x="940" y="540"/>
                  </a:lnTo>
                  <a:lnTo>
                    <a:pt x="942" y="538"/>
                  </a:lnTo>
                  <a:lnTo>
                    <a:pt x="942" y="538"/>
                  </a:lnTo>
                  <a:lnTo>
                    <a:pt x="942" y="538"/>
                  </a:lnTo>
                  <a:lnTo>
                    <a:pt x="942" y="538"/>
                  </a:lnTo>
                  <a:lnTo>
                    <a:pt x="942" y="538"/>
                  </a:lnTo>
                  <a:lnTo>
                    <a:pt x="944" y="536"/>
                  </a:lnTo>
                  <a:lnTo>
                    <a:pt x="942" y="534"/>
                  </a:lnTo>
                  <a:lnTo>
                    <a:pt x="942" y="534"/>
                  </a:lnTo>
                  <a:lnTo>
                    <a:pt x="942" y="532"/>
                  </a:lnTo>
                  <a:lnTo>
                    <a:pt x="940" y="532"/>
                  </a:lnTo>
                  <a:lnTo>
                    <a:pt x="940" y="532"/>
                  </a:lnTo>
                  <a:lnTo>
                    <a:pt x="940" y="532"/>
                  </a:lnTo>
                  <a:lnTo>
                    <a:pt x="940" y="530"/>
                  </a:lnTo>
                  <a:lnTo>
                    <a:pt x="938" y="530"/>
                  </a:lnTo>
                  <a:lnTo>
                    <a:pt x="934" y="530"/>
                  </a:lnTo>
                  <a:lnTo>
                    <a:pt x="934" y="530"/>
                  </a:lnTo>
                  <a:lnTo>
                    <a:pt x="934" y="530"/>
                  </a:lnTo>
                  <a:lnTo>
                    <a:pt x="932" y="530"/>
                  </a:lnTo>
                  <a:lnTo>
                    <a:pt x="928" y="528"/>
                  </a:lnTo>
                  <a:lnTo>
                    <a:pt x="926" y="526"/>
                  </a:lnTo>
                  <a:lnTo>
                    <a:pt x="926" y="524"/>
                  </a:lnTo>
                  <a:lnTo>
                    <a:pt x="924" y="522"/>
                  </a:lnTo>
                  <a:lnTo>
                    <a:pt x="924" y="522"/>
                  </a:lnTo>
                  <a:lnTo>
                    <a:pt x="924" y="520"/>
                  </a:lnTo>
                  <a:lnTo>
                    <a:pt x="924" y="520"/>
                  </a:lnTo>
                  <a:lnTo>
                    <a:pt x="924" y="520"/>
                  </a:lnTo>
                  <a:lnTo>
                    <a:pt x="926" y="518"/>
                  </a:lnTo>
                  <a:lnTo>
                    <a:pt x="926" y="516"/>
                  </a:lnTo>
                  <a:lnTo>
                    <a:pt x="926" y="512"/>
                  </a:lnTo>
                  <a:lnTo>
                    <a:pt x="926" y="512"/>
                  </a:lnTo>
                  <a:lnTo>
                    <a:pt x="926" y="512"/>
                  </a:lnTo>
                  <a:lnTo>
                    <a:pt x="928" y="510"/>
                  </a:lnTo>
                  <a:lnTo>
                    <a:pt x="930" y="508"/>
                  </a:lnTo>
                  <a:lnTo>
                    <a:pt x="934" y="506"/>
                  </a:lnTo>
                  <a:lnTo>
                    <a:pt x="938" y="502"/>
                  </a:lnTo>
                  <a:lnTo>
                    <a:pt x="942" y="500"/>
                  </a:lnTo>
                  <a:lnTo>
                    <a:pt x="942" y="500"/>
                  </a:lnTo>
                  <a:lnTo>
                    <a:pt x="944" y="498"/>
                  </a:lnTo>
                  <a:lnTo>
                    <a:pt x="944" y="494"/>
                  </a:lnTo>
                  <a:lnTo>
                    <a:pt x="944" y="490"/>
                  </a:lnTo>
                  <a:lnTo>
                    <a:pt x="944" y="486"/>
                  </a:lnTo>
                  <a:lnTo>
                    <a:pt x="944" y="482"/>
                  </a:lnTo>
                  <a:lnTo>
                    <a:pt x="946" y="480"/>
                  </a:lnTo>
                  <a:lnTo>
                    <a:pt x="946" y="478"/>
                  </a:lnTo>
                  <a:lnTo>
                    <a:pt x="948" y="478"/>
                  </a:lnTo>
                  <a:lnTo>
                    <a:pt x="948" y="476"/>
                  </a:lnTo>
                  <a:lnTo>
                    <a:pt x="950" y="476"/>
                  </a:lnTo>
                  <a:lnTo>
                    <a:pt x="952" y="476"/>
                  </a:lnTo>
                  <a:lnTo>
                    <a:pt x="952" y="476"/>
                  </a:lnTo>
                  <a:lnTo>
                    <a:pt x="952" y="476"/>
                  </a:lnTo>
                  <a:lnTo>
                    <a:pt x="956" y="474"/>
                  </a:lnTo>
                  <a:lnTo>
                    <a:pt x="958" y="474"/>
                  </a:lnTo>
                  <a:lnTo>
                    <a:pt x="964" y="472"/>
                  </a:lnTo>
                  <a:lnTo>
                    <a:pt x="968" y="468"/>
                  </a:lnTo>
                  <a:lnTo>
                    <a:pt x="972" y="466"/>
                  </a:lnTo>
                  <a:lnTo>
                    <a:pt x="974" y="464"/>
                  </a:lnTo>
                  <a:lnTo>
                    <a:pt x="974" y="464"/>
                  </a:lnTo>
                  <a:lnTo>
                    <a:pt x="976" y="464"/>
                  </a:lnTo>
                  <a:lnTo>
                    <a:pt x="976" y="462"/>
                  </a:lnTo>
                  <a:lnTo>
                    <a:pt x="976" y="462"/>
                  </a:lnTo>
                  <a:lnTo>
                    <a:pt x="976" y="460"/>
                  </a:lnTo>
                  <a:lnTo>
                    <a:pt x="976" y="460"/>
                  </a:lnTo>
                  <a:lnTo>
                    <a:pt x="976" y="460"/>
                  </a:lnTo>
                  <a:lnTo>
                    <a:pt x="976" y="458"/>
                  </a:lnTo>
                  <a:lnTo>
                    <a:pt x="976" y="456"/>
                  </a:lnTo>
                  <a:lnTo>
                    <a:pt x="976" y="456"/>
                  </a:lnTo>
                  <a:lnTo>
                    <a:pt x="976" y="456"/>
                  </a:lnTo>
                  <a:lnTo>
                    <a:pt x="976" y="454"/>
                  </a:lnTo>
                  <a:lnTo>
                    <a:pt x="976" y="454"/>
                  </a:lnTo>
                  <a:lnTo>
                    <a:pt x="976" y="454"/>
                  </a:lnTo>
                  <a:lnTo>
                    <a:pt x="976" y="452"/>
                  </a:lnTo>
                  <a:lnTo>
                    <a:pt x="976" y="452"/>
                  </a:lnTo>
                  <a:lnTo>
                    <a:pt x="974" y="452"/>
                  </a:lnTo>
                  <a:lnTo>
                    <a:pt x="974" y="450"/>
                  </a:lnTo>
                  <a:lnTo>
                    <a:pt x="974" y="450"/>
                  </a:lnTo>
                  <a:lnTo>
                    <a:pt x="974" y="450"/>
                  </a:lnTo>
                  <a:lnTo>
                    <a:pt x="972" y="448"/>
                  </a:lnTo>
                  <a:lnTo>
                    <a:pt x="972" y="446"/>
                  </a:lnTo>
                  <a:lnTo>
                    <a:pt x="972" y="446"/>
                  </a:lnTo>
                  <a:lnTo>
                    <a:pt x="972" y="446"/>
                  </a:lnTo>
                  <a:lnTo>
                    <a:pt x="972" y="446"/>
                  </a:lnTo>
                  <a:lnTo>
                    <a:pt x="974" y="444"/>
                  </a:lnTo>
                  <a:lnTo>
                    <a:pt x="974" y="444"/>
                  </a:lnTo>
                  <a:lnTo>
                    <a:pt x="976" y="444"/>
                  </a:lnTo>
                  <a:lnTo>
                    <a:pt x="976" y="442"/>
                  </a:lnTo>
                  <a:lnTo>
                    <a:pt x="976" y="442"/>
                  </a:lnTo>
                  <a:lnTo>
                    <a:pt x="976" y="442"/>
                  </a:lnTo>
                  <a:lnTo>
                    <a:pt x="978" y="438"/>
                  </a:lnTo>
                  <a:lnTo>
                    <a:pt x="980" y="434"/>
                  </a:lnTo>
                  <a:lnTo>
                    <a:pt x="982" y="430"/>
                  </a:lnTo>
                  <a:lnTo>
                    <a:pt x="982" y="428"/>
                  </a:lnTo>
                  <a:lnTo>
                    <a:pt x="984" y="426"/>
                  </a:lnTo>
                  <a:lnTo>
                    <a:pt x="984" y="422"/>
                  </a:lnTo>
                  <a:lnTo>
                    <a:pt x="988" y="420"/>
                  </a:lnTo>
                  <a:lnTo>
                    <a:pt x="988" y="420"/>
                  </a:lnTo>
                  <a:lnTo>
                    <a:pt x="990" y="418"/>
                  </a:lnTo>
                  <a:lnTo>
                    <a:pt x="990" y="418"/>
                  </a:lnTo>
                  <a:lnTo>
                    <a:pt x="992" y="416"/>
                  </a:lnTo>
                  <a:lnTo>
                    <a:pt x="992" y="414"/>
                  </a:lnTo>
                  <a:lnTo>
                    <a:pt x="992" y="410"/>
                  </a:lnTo>
                  <a:lnTo>
                    <a:pt x="992" y="410"/>
                  </a:lnTo>
                  <a:lnTo>
                    <a:pt x="992" y="410"/>
                  </a:lnTo>
                  <a:lnTo>
                    <a:pt x="992" y="408"/>
                  </a:lnTo>
                  <a:lnTo>
                    <a:pt x="992" y="408"/>
                  </a:lnTo>
                  <a:lnTo>
                    <a:pt x="992" y="408"/>
                  </a:lnTo>
                  <a:lnTo>
                    <a:pt x="990" y="406"/>
                  </a:lnTo>
                  <a:lnTo>
                    <a:pt x="990" y="406"/>
                  </a:lnTo>
                  <a:lnTo>
                    <a:pt x="990" y="406"/>
                  </a:lnTo>
                  <a:lnTo>
                    <a:pt x="990" y="404"/>
                  </a:lnTo>
                  <a:lnTo>
                    <a:pt x="990" y="404"/>
                  </a:lnTo>
                  <a:lnTo>
                    <a:pt x="988" y="404"/>
                  </a:lnTo>
                  <a:lnTo>
                    <a:pt x="988" y="404"/>
                  </a:lnTo>
                  <a:lnTo>
                    <a:pt x="986" y="402"/>
                  </a:lnTo>
                  <a:lnTo>
                    <a:pt x="984" y="402"/>
                  </a:lnTo>
                  <a:lnTo>
                    <a:pt x="980" y="398"/>
                  </a:lnTo>
                  <a:lnTo>
                    <a:pt x="978" y="396"/>
                  </a:lnTo>
                  <a:lnTo>
                    <a:pt x="974" y="394"/>
                  </a:lnTo>
                  <a:lnTo>
                    <a:pt x="972" y="392"/>
                  </a:lnTo>
                  <a:lnTo>
                    <a:pt x="970" y="390"/>
                  </a:lnTo>
                  <a:lnTo>
                    <a:pt x="968" y="388"/>
                  </a:lnTo>
                  <a:lnTo>
                    <a:pt x="964" y="384"/>
                  </a:lnTo>
                  <a:lnTo>
                    <a:pt x="962" y="382"/>
                  </a:lnTo>
                  <a:lnTo>
                    <a:pt x="960" y="380"/>
                  </a:lnTo>
                  <a:lnTo>
                    <a:pt x="960" y="380"/>
                  </a:lnTo>
                  <a:lnTo>
                    <a:pt x="958" y="378"/>
                  </a:lnTo>
                  <a:lnTo>
                    <a:pt x="958" y="376"/>
                  </a:lnTo>
                  <a:lnTo>
                    <a:pt x="958" y="376"/>
                  </a:lnTo>
                  <a:lnTo>
                    <a:pt x="958" y="374"/>
                  </a:lnTo>
                  <a:lnTo>
                    <a:pt x="960" y="374"/>
                  </a:lnTo>
                  <a:lnTo>
                    <a:pt x="962" y="372"/>
                  </a:lnTo>
                  <a:lnTo>
                    <a:pt x="964" y="372"/>
                  </a:lnTo>
                  <a:lnTo>
                    <a:pt x="966" y="372"/>
                  </a:lnTo>
                  <a:lnTo>
                    <a:pt x="968" y="370"/>
                  </a:lnTo>
                  <a:lnTo>
                    <a:pt x="972" y="370"/>
                  </a:lnTo>
                  <a:lnTo>
                    <a:pt x="978" y="370"/>
                  </a:lnTo>
                  <a:lnTo>
                    <a:pt x="982" y="368"/>
                  </a:lnTo>
                  <a:lnTo>
                    <a:pt x="984" y="368"/>
                  </a:lnTo>
                  <a:lnTo>
                    <a:pt x="986" y="368"/>
                  </a:lnTo>
                  <a:lnTo>
                    <a:pt x="986" y="368"/>
                  </a:lnTo>
                  <a:lnTo>
                    <a:pt x="986" y="368"/>
                  </a:lnTo>
                  <a:lnTo>
                    <a:pt x="988" y="368"/>
                  </a:lnTo>
                  <a:lnTo>
                    <a:pt x="992" y="364"/>
                  </a:lnTo>
                  <a:lnTo>
                    <a:pt x="996" y="362"/>
                  </a:lnTo>
                  <a:lnTo>
                    <a:pt x="1002" y="354"/>
                  </a:lnTo>
                  <a:lnTo>
                    <a:pt x="1006" y="352"/>
                  </a:lnTo>
                  <a:lnTo>
                    <a:pt x="1010" y="350"/>
                  </a:lnTo>
                  <a:lnTo>
                    <a:pt x="1010" y="350"/>
                  </a:lnTo>
                  <a:lnTo>
                    <a:pt x="1014" y="348"/>
                  </a:lnTo>
                  <a:lnTo>
                    <a:pt x="1018" y="346"/>
                  </a:lnTo>
                  <a:lnTo>
                    <a:pt x="1022" y="346"/>
                  </a:lnTo>
                  <a:lnTo>
                    <a:pt x="1026" y="344"/>
                  </a:lnTo>
                  <a:lnTo>
                    <a:pt x="1030" y="342"/>
                  </a:lnTo>
                  <a:lnTo>
                    <a:pt x="1036" y="340"/>
                  </a:lnTo>
                  <a:lnTo>
                    <a:pt x="1036" y="340"/>
                  </a:lnTo>
                  <a:lnTo>
                    <a:pt x="1038" y="338"/>
                  </a:lnTo>
                  <a:lnTo>
                    <a:pt x="1038" y="334"/>
                  </a:lnTo>
                  <a:lnTo>
                    <a:pt x="1040" y="332"/>
                  </a:lnTo>
                  <a:lnTo>
                    <a:pt x="1042" y="330"/>
                  </a:lnTo>
                  <a:lnTo>
                    <a:pt x="1042" y="326"/>
                  </a:lnTo>
                  <a:lnTo>
                    <a:pt x="1042" y="326"/>
                  </a:lnTo>
                  <a:lnTo>
                    <a:pt x="1044" y="324"/>
                  </a:lnTo>
                  <a:lnTo>
                    <a:pt x="1044" y="320"/>
                  </a:lnTo>
                  <a:lnTo>
                    <a:pt x="1044" y="318"/>
                  </a:lnTo>
                  <a:lnTo>
                    <a:pt x="1044" y="312"/>
                  </a:lnTo>
                  <a:lnTo>
                    <a:pt x="1046" y="308"/>
                  </a:lnTo>
                  <a:lnTo>
                    <a:pt x="1048" y="306"/>
                  </a:lnTo>
                  <a:lnTo>
                    <a:pt x="1050" y="302"/>
                  </a:lnTo>
                  <a:lnTo>
                    <a:pt x="1052" y="298"/>
                  </a:lnTo>
                  <a:lnTo>
                    <a:pt x="1056" y="296"/>
                  </a:lnTo>
                  <a:lnTo>
                    <a:pt x="1060" y="292"/>
                  </a:lnTo>
                  <a:lnTo>
                    <a:pt x="1060" y="292"/>
                  </a:lnTo>
                  <a:lnTo>
                    <a:pt x="1062" y="290"/>
                  </a:lnTo>
                  <a:lnTo>
                    <a:pt x="1062" y="286"/>
                  </a:lnTo>
                  <a:lnTo>
                    <a:pt x="1062" y="284"/>
                  </a:lnTo>
                  <a:lnTo>
                    <a:pt x="1062" y="284"/>
                  </a:lnTo>
                  <a:lnTo>
                    <a:pt x="1062" y="282"/>
                  </a:lnTo>
                  <a:lnTo>
                    <a:pt x="1064" y="282"/>
                  </a:lnTo>
                  <a:lnTo>
                    <a:pt x="1064" y="282"/>
                  </a:lnTo>
                  <a:lnTo>
                    <a:pt x="1066" y="280"/>
                  </a:lnTo>
                  <a:lnTo>
                    <a:pt x="1068" y="278"/>
                  </a:lnTo>
                  <a:lnTo>
                    <a:pt x="1068" y="278"/>
                  </a:lnTo>
                  <a:lnTo>
                    <a:pt x="1070" y="278"/>
                  </a:lnTo>
                  <a:lnTo>
                    <a:pt x="1072" y="274"/>
                  </a:lnTo>
                  <a:lnTo>
                    <a:pt x="1074" y="270"/>
                  </a:lnTo>
                  <a:lnTo>
                    <a:pt x="1078" y="260"/>
                  </a:lnTo>
                  <a:lnTo>
                    <a:pt x="1078" y="260"/>
                  </a:lnTo>
                  <a:lnTo>
                    <a:pt x="1080" y="260"/>
                  </a:lnTo>
                  <a:lnTo>
                    <a:pt x="1078" y="254"/>
                  </a:lnTo>
                  <a:lnTo>
                    <a:pt x="1078" y="246"/>
                  </a:lnTo>
                  <a:lnTo>
                    <a:pt x="1078" y="244"/>
                  </a:lnTo>
                  <a:lnTo>
                    <a:pt x="1080" y="242"/>
                  </a:lnTo>
                  <a:lnTo>
                    <a:pt x="1080" y="240"/>
                  </a:lnTo>
                  <a:lnTo>
                    <a:pt x="1082" y="238"/>
                  </a:lnTo>
                  <a:lnTo>
                    <a:pt x="1084" y="238"/>
                  </a:lnTo>
                  <a:lnTo>
                    <a:pt x="1086" y="236"/>
                  </a:lnTo>
                  <a:lnTo>
                    <a:pt x="1090" y="232"/>
                  </a:lnTo>
                  <a:lnTo>
                    <a:pt x="1096" y="230"/>
                  </a:lnTo>
                  <a:lnTo>
                    <a:pt x="1100" y="228"/>
                  </a:lnTo>
                  <a:lnTo>
                    <a:pt x="1102" y="226"/>
                  </a:lnTo>
                  <a:lnTo>
                    <a:pt x="1102" y="226"/>
                  </a:lnTo>
                  <a:lnTo>
                    <a:pt x="1102" y="226"/>
                  </a:lnTo>
                  <a:lnTo>
                    <a:pt x="1106" y="224"/>
                  </a:lnTo>
                  <a:lnTo>
                    <a:pt x="1110" y="220"/>
                  </a:lnTo>
                  <a:lnTo>
                    <a:pt x="1114" y="216"/>
                  </a:lnTo>
                  <a:lnTo>
                    <a:pt x="1118" y="212"/>
                  </a:lnTo>
                  <a:lnTo>
                    <a:pt x="1118" y="212"/>
                  </a:lnTo>
                  <a:lnTo>
                    <a:pt x="1118" y="212"/>
                  </a:lnTo>
                  <a:lnTo>
                    <a:pt x="1120" y="208"/>
                  </a:lnTo>
                  <a:lnTo>
                    <a:pt x="1122" y="206"/>
                  </a:lnTo>
                  <a:lnTo>
                    <a:pt x="1124" y="202"/>
                  </a:lnTo>
                  <a:lnTo>
                    <a:pt x="1124" y="200"/>
                  </a:lnTo>
                  <a:lnTo>
                    <a:pt x="1126" y="200"/>
                  </a:lnTo>
                  <a:lnTo>
                    <a:pt x="1126" y="198"/>
                  </a:lnTo>
                  <a:lnTo>
                    <a:pt x="1130" y="196"/>
                  </a:lnTo>
                  <a:lnTo>
                    <a:pt x="1130" y="196"/>
                  </a:lnTo>
                  <a:lnTo>
                    <a:pt x="1130" y="194"/>
                  </a:lnTo>
                  <a:lnTo>
                    <a:pt x="1130" y="192"/>
                  </a:lnTo>
                  <a:lnTo>
                    <a:pt x="1130" y="188"/>
                  </a:lnTo>
                  <a:lnTo>
                    <a:pt x="1132" y="186"/>
                  </a:lnTo>
                  <a:lnTo>
                    <a:pt x="1132" y="186"/>
                  </a:lnTo>
                  <a:lnTo>
                    <a:pt x="1132" y="184"/>
                  </a:lnTo>
                  <a:lnTo>
                    <a:pt x="1134" y="182"/>
                  </a:lnTo>
                  <a:lnTo>
                    <a:pt x="1136" y="182"/>
                  </a:lnTo>
                  <a:lnTo>
                    <a:pt x="1138" y="180"/>
                  </a:lnTo>
                  <a:lnTo>
                    <a:pt x="1138" y="180"/>
                  </a:lnTo>
                  <a:lnTo>
                    <a:pt x="1140" y="178"/>
                  </a:lnTo>
                  <a:lnTo>
                    <a:pt x="1140" y="178"/>
                  </a:lnTo>
                  <a:lnTo>
                    <a:pt x="1138" y="174"/>
                  </a:lnTo>
                  <a:lnTo>
                    <a:pt x="1136" y="174"/>
                  </a:lnTo>
                  <a:lnTo>
                    <a:pt x="1134" y="172"/>
                  </a:lnTo>
                  <a:lnTo>
                    <a:pt x="1134" y="172"/>
                  </a:lnTo>
                  <a:lnTo>
                    <a:pt x="1132" y="172"/>
                  </a:lnTo>
                  <a:lnTo>
                    <a:pt x="1132" y="172"/>
                  </a:lnTo>
                  <a:lnTo>
                    <a:pt x="1132" y="172"/>
                  </a:lnTo>
                  <a:lnTo>
                    <a:pt x="1130" y="172"/>
                  </a:lnTo>
                  <a:lnTo>
                    <a:pt x="1128" y="172"/>
                  </a:lnTo>
                  <a:lnTo>
                    <a:pt x="1128" y="174"/>
                  </a:lnTo>
                  <a:lnTo>
                    <a:pt x="1126" y="174"/>
                  </a:lnTo>
                  <a:lnTo>
                    <a:pt x="1124" y="174"/>
                  </a:lnTo>
                  <a:lnTo>
                    <a:pt x="1120" y="174"/>
                  </a:lnTo>
                  <a:lnTo>
                    <a:pt x="1120" y="174"/>
                  </a:lnTo>
                  <a:lnTo>
                    <a:pt x="1120" y="174"/>
                  </a:lnTo>
                  <a:lnTo>
                    <a:pt x="1104" y="186"/>
                  </a:lnTo>
                  <a:lnTo>
                    <a:pt x="1088" y="194"/>
                  </a:lnTo>
                  <a:lnTo>
                    <a:pt x="1086" y="194"/>
                  </a:lnTo>
                  <a:lnTo>
                    <a:pt x="1084" y="194"/>
                  </a:lnTo>
                  <a:lnTo>
                    <a:pt x="1084" y="194"/>
                  </a:lnTo>
                  <a:lnTo>
                    <a:pt x="1084" y="194"/>
                  </a:lnTo>
                  <a:lnTo>
                    <a:pt x="1084" y="192"/>
                  </a:lnTo>
                  <a:lnTo>
                    <a:pt x="1086" y="190"/>
                  </a:lnTo>
                  <a:lnTo>
                    <a:pt x="1088" y="188"/>
                  </a:lnTo>
                  <a:lnTo>
                    <a:pt x="1090" y="186"/>
                  </a:lnTo>
                  <a:lnTo>
                    <a:pt x="1090" y="184"/>
                  </a:lnTo>
                  <a:lnTo>
                    <a:pt x="1092" y="184"/>
                  </a:lnTo>
                  <a:lnTo>
                    <a:pt x="1094" y="182"/>
                  </a:lnTo>
                  <a:lnTo>
                    <a:pt x="1096" y="180"/>
                  </a:lnTo>
                  <a:lnTo>
                    <a:pt x="1100" y="176"/>
                  </a:lnTo>
                  <a:lnTo>
                    <a:pt x="1104" y="172"/>
                  </a:lnTo>
                  <a:lnTo>
                    <a:pt x="1114" y="166"/>
                  </a:lnTo>
                  <a:lnTo>
                    <a:pt x="1120" y="162"/>
                  </a:lnTo>
                  <a:lnTo>
                    <a:pt x="1124" y="160"/>
                  </a:lnTo>
                  <a:lnTo>
                    <a:pt x="1130" y="158"/>
                  </a:lnTo>
                  <a:lnTo>
                    <a:pt x="1134" y="156"/>
                  </a:lnTo>
                  <a:lnTo>
                    <a:pt x="1134" y="156"/>
                  </a:lnTo>
                  <a:lnTo>
                    <a:pt x="1136" y="156"/>
                  </a:lnTo>
                  <a:lnTo>
                    <a:pt x="1140" y="152"/>
                  </a:lnTo>
                  <a:lnTo>
                    <a:pt x="1146" y="148"/>
                  </a:lnTo>
                  <a:lnTo>
                    <a:pt x="1152" y="146"/>
                  </a:lnTo>
                  <a:lnTo>
                    <a:pt x="1158" y="144"/>
                  </a:lnTo>
                  <a:lnTo>
                    <a:pt x="1158" y="144"/>
                  </a:lnTo>
                  <a:lnTo>
                    <a:pt x="1160" y="142"/>
                  </a:lnTo>
                  <a:lnTo>
                    <a:pt x="1160" y="140"/>
                  </a:lnTo>
                  <a:lnTo>
                    <a:pt x="1162" y="140"/>
                  </a:lnTo>
                  <a:lnTo>
                    <a:pt x="1164" y="138"/>
                  </a:lnTo>
                  <a:lnTo>
                    <a:pt x="1166" y="136"/>
                  </a:lnTo>
                  <a:lnTo>
                    <a:pt x="1170" y="134"/>
                  </a:lnTo>
                  <a:lnTo>
                    <a:pt x="1172" y="132"/>
                  </a:lnTo>
                  <a:lnTo>
                    <a:pt x="1174" y="130"/>
                  </a:lnTo>
                  <a:lnTo>
                    <a:pt x="1174" y="130"/>
                  </a:lnTo>
                  <a:lnTo>
                    <a:pt x="1176" y="128"/>
                  </a:lnTo>
                  <a:lnTo>
                    <a:pt x="1176" y="124"/>
                  </a:lnTo>
                  <a:lnTo>
                    <a:pt x="1178" y="118"/>
                  </a:lnTo>
                  <a:lnTo>
                    <a:pt x="1180" y="114"/>
                  </a:lnTo>
                  <a:lnTo>
                    <a:pt x="1180" y="110"/>
                  </a:lnTo>
                  <a:lnTo>
                    <a:pt x="1180" y="110"/>
                  </a:lnTo>
                  <a:lnTo>
                    <a:pt x="1182" y="110"/>
                  </a:lnTo>
                  <a:lnTo>
                    <a:pt x="1182" y="106"/>
                  </a:lnTo>
                  <a:lnTo>
                    <a:pt x="1184" y="102"/>
                  </a:lnTo>
                  <a:lnTo>
                    <a:pt x="1186" y="100"/>
                  </a:lnTo>
                  <a:lnTo>
                    <a:pt x="1188" y="96"/>
                  </a:lnTo>
                  <a:lnTo>
                    <a:pt x="1188" y="96"/>
                  </a:lnTo>
                  <a:lnTo>
                    <a:pt x="1188" y="96"/>
                  </a:lnTo>
                  <a:lnTo>
                    <a:pt x="1188" y="90"/>
                  </a:lnTo>
                  <a:lnTo>
                    <a:pt x="1188" y="88"/>
                  </a:lnTo>
                  <a:lnTo>
                    <a:pt x="1188" y="86"/>
                  </a:lnTo>
                  <a:lnTo>
                    <a:pt x="1188" y="86"/>
                  </a:lnTo>
                  <a:lnTo>
                    <a:pt x="1188" y="86"/>
                  </a:lnTo>
                  <a:lnTo>
                    <a:pt x="1188" y="84"/>
                  </a:lnTo>
                  <a:lnTo>
                    <a:pt x="1188" y="84"/>
                  </a:lnTo>
                  <a:lnTo>
                    <a:pt x="1186" y="84"/>
                  </a:lnTo>
                  <a:lnTo>
                    <a:pt x="1186" y="82"/>
                  </a:lnTo>
                  <a:lnTo>
                    <a:pt x="1186" y="82"/>
                  </a:lnTo>
                  <a:lnTo>
                    <a:pt x="1186" y="82"/>
                  </a:lnTo>
                  <a:lnTo>
                    <a:pt x="1184" y="80"/>
                  </a:lnTo>
                  <a:lnTo>
                    <a:pt x="1184" y="80"/>
                  </a:lnTo>
                  <a:lnTo>
                    <a:pt x="1182" y="80"/>
                  </a:lnTo>
                  <a:lnTo>
                    <a:pt x="1180" y="80"/>
                  </a:lnTo>
                  <a:lnTo>
                    <a:pt x="1172" y="74"/>
                  </a:lnTo>
                  <a:lnTo>
                    <a:pt x="1162" y="66"/>
                  </a:lnTo>
                  <a:lnTo>
                    <a:pt x="1152" y="60"/>
                  </a:lnTo>
                  <a:lnTo>
                    <a:pt x="1150" y="56"/>
                  </a:lnTo>
                  <a:lnTo>
                    <a:pt x="1146" y="52"/>
                  </a:lnTo>
                  <a:lnTo>
                    <a:pt x="1146" y="50"/>
                  </a:lnTo>
                  <a:lnTo>
                    <a:pt x="1146" y="48"/>
                  </a:lnTo>
                  <a:lnTo>
                    <a:pt x="1146" y="48"/>
                  </a:lnTo>
                  <a:lnTo>
                    <a:pt x="1146" y="48"/>
                  </a:lnTo>
                  <a:lnTo>
                    <a:pt x="1144" y="46"/>
                  </a:lnTo>
                  <a:lnTo>
                    <a:pt x="1144" y="46"/>
                  </a:lnTo>
                  <a:lnTo>
                    <a:pt x="1144" y="46"/>
                  </a:lnTo>
                  <a:lnTo>
                    <a:pt x="1144" y="44"/>
                  </a:lnTo>
                  <a:lnTo>
                    <a:pt x="1144" y="44"/>
                  </a:lnTo>
                  <a:lnTo>
                    <a:pt x="1142" y="44"/>
                  </a:lnTo>
                  <a:lnTo>
                    <a:pt x="1140" y="42"/>
                  </a:lnTo>
                  <a:lnTo>
                    <a:pt x="1138" y="40"/>
                  </a:lnTo>
                  <a:lnTo>
                    <a:pt x="1136" y="40"/>
                  </a:lnTo>
                  <a:lnTo>
                    <a:pt x="1132" y="36"/>
                  </a:lnTo>
                  <a:lnTo>
                    <a:pt x="1128" y="34"/>
                  </a:lnTo>
                  <a:lnTo>
                    <a:pt x="1128" y="34"/>
                  </a:lnTo>
                  <a:lnTo>
                    <a:pt x="1128" y="34"/>
                  </a:lnTo>
                  <a:lnTo>
                    <a:pt x="1122" y="32"/>
                  </a:lnTo>
                  <a:lnTo>
                    <a:pt x="1122" y="32"/>
                  </a:lnTo>
                  <a:lnTo>
                    <a:pt x="1122" y="30"/>
                  </a:lnTo>
                  <a:lnTo>
                    <a:pt x="1118" y="30"/>
                  </a:lnTo>
                  <a:lnTo>
                    <a:pt x="1116" y="28"/>
                  </a:lnTo>
                  <a:lnTo>
                    <a:pt x="1116" y="28"/>
                  </a:lnTo>
                  <a:lnTo>
                    <a:pt x="1116" y="28"/>
                  </a:lnTo>
                  <a:lnTo>
                    <a:pt x="1114" y="26"/>
                  </a:lnTo>
                  <a:lnTo>
                    <a:pt x="1114" y="26"/>
                  </a:lnTo>
                  <a:lnTo>
                    <a:pt x="1114" y="26"/>
                  </a:lnTo>
                  <a:lnTo>
                    <a:pt x="1112" y="26"/>
                  </a:lnTo>
                  <a:lnTo>
                    <a:pt x="1112" y="26"/>
                  </a:lnTo>
                  <a:lnTo>
                    <a:pt x="1112" y="26"/>
                  </a:lnTo>
                  <a:lnTo>
                    <a:pt x="1110" y="26"/>
                  </a:lnTo>
                  <a:lnTo>
                    <a:pt x="1110" y="26"/>
                  </a:lnTo>
                  <a:lnTo>
                    <a:pt x="1110" y="26"/>
                  </a:lnTo>
                  <a:lnTo>
                    <a:pt x="1108" y="26"/>
                  </a:lnTo>
                  <a:lnTo>
                    <a:pt x="1108" y="26"/>
                  </a:lnTo>
                  <a:lnTo>
                    <a:pt x="1108" y="28"/>
                  </a:lnTo>
                  <a:lnTo>
                    <a:pt x="1106" y="28"/>
                  </a:lnTo>
                  <a:lnTo>
                    <a:pt x="1106" y="28"/>
                  </a:lnTo>
                  <a:lnTo>
                    <a:pt x="1104" y="30"/>
                  </a:lnTo>
                  <a:lnTo>
                    <a:pt x="1104" y="30"/>
                  </a:lnTo>
                  <a:lnTo>
                    <a:pt x="1104" y="30"/>
                  </a:lnTo>
                  <a:lnTo>
                    <a:pt x="1104" y="32"/>
                  </a:lnTo>
                  <a:lnTo>
                    <a:pt x="1104" y="32"/>
                  </a:lnTo>
                  <a:lnTo>
                    <a:pt x="1104" y="34"/>
                  </a:lnTo>
                  <a:lnTo>
                    <a:pt x="1104" y="34"/>
                  </a:lnTo>
                  <a:lnTo>
                    <a:pt x="1104" y="36"/>
                  </a:lnTo>
                  <a:lnTo>
                    <a:pt x="1102" y="36"/>
                  </a:lnTo>
                  <a:lnTo>
                    <a:pt x="1102" y="38"/>
                  </a:lnTo>
                  <a:lnTo>
                    <a:pt x="1096" y="40"/>
                  </a:lnTo>
                  <a:lnTo>
                    <a:pt x="1092" y="44"/>
                  </a:lnTo>
                  <a:lnTo>
                    <a:pt x="1086" y="48"/>
                  </a:lnTo>
                  <a:lnTo>
                    <a:pt x="1082" y="50"/>
                  </a:lnTo>
                  <a:lnTo>
                    <a:pt x="1082" y="48"/>
                  </a:lnTo>
                  <a:lnTo>
                    <a:pt x="1082" y="46"/>
                  </a:lnTo>
                  <a:lnTo>
                    <a:pt x="1082" y="44"/>
                  </a:lnTo>
                  <a:lnTo>
                    <a:pt x="1084" y="40"/>
                  </a:lnTo>
                  <a:lnTo>
                    <a:pt x="1086" y="38"/>
                  </a:lnTo>
                  <a:lnTo>
                    <a:pt x="1086" y="38"/>
                  </a:lnTo>
                  <a:lnTo>
                    <a:pt x="1092" y="34"/>
                  </a:lnTo>
                  <a:lnTo>
                    <a:pt x="1092" y="34"/>
                  </a:lnTo>
                  <a:lnTo>
                    <a:pt x="1092" y="34"/>
                  </a:lnTo>
                  <a:lnTo>
                    <a:pt x="1094" y="30"/>
                  </a:lnTo>
                  <a:lnTo>
                    <a:pt x="1096" y="28"/>
                  </a:lnTo>
                  <a:lnTo>
                    <a:pt x="1098" y="24"/>
                  </a:lnTo>
                  <a:lnTo>
                    <a:pt x="1098" y="24"/>
                  </a:lnTo>
                  <a:lnTo>
                    <a:pt x="1098" y="24"/>
                  </a:lnTo>
                  <a:lnTo>
                    <a:pt x="1098" y="20"/>
                  </a:lnTo>
                  <a:lnTo>
                    <a:pt x="1098" y="20"/>
                  </a:lnTo>
                  <a:lnTo>
                    <a:pt x="1098" y="16"/>
                  </a:lnTo>
                  <a:lnTo>
                    <a:pt x="1096" y="14"/>
                  </a:lnTo>
                  <a:lnTo>
                    <a:pt x="1094" y="14"/>
                  </a:lnTo>
                  <a:lnTo>
                    <a:pt x="1092" y="14"/>
                  </a:lnTo>
                  <a:lnTo>
                    <a:pt x="1092" y="12"/>
                  </a:lnTo>
                  <a:lnTo>
                    <a:pt x="1092" y="12"/>
                  </a:lnTo>
                  <a:lnTo>
                    <a:pt x="1090" y="12"/>
                  </a:lnTo>
                  <a:lnTo>
                    <a:pt x="1090" y="12"/>
                  </a:lnTo>
                  <a:lnTo>
                    <a:pt x="1090" y="12"/>
                  </a:lnTo>
                  <a:lnTo>
                    <a:pt x="1088" y="12"/>
                  </a:lnTo>
                  <a:lnTo>
                    <a:pt x="1088" y="12"/>
                  </a:lnTo>
                  <a:lnTo>
                    <a:pt x="1086" y="12"/>
                  </a:lnTo>
                  <a:lnTo>
                    <a:pt x="1084" y="12"/>
                  </a:lnTo>
                  <a:lnTo>
                    <a:pt x="1082" y="12"/>
                  </a:lnTo>
                  <a:lnTo>
                    <a:pt x="1080" y="12"/>
                  </a:lnTo>
                  <a:lnTo>
                    <a:pt x="1078" y="12"/>
                  </a:lnTo>
                  <a:lnTo>
                    <a:pt x="1074" y="12"/>
                  </a:lnTo>
                  <a:lnTo>
                    <a:pt x="1068" y="10"/>
                  </a:lnTo>
                  <a:lnTo>
                    <a:pt x="1062" y="10"/>
                  </a:lnTo>
                  <a:lnTo>
                    <a:pt x="1062" y="10"/>
                  </a:lnTo>
                  <a:lnTo>
                    <a:pt x="1060" y="8"/>
                  </a:lnTo>
                  <a:lnTo>
                    <a:pt x="1056" y="6"/>
                  </a:lnTo>
                  <a:lnTo>
                    <a:pt x="1050" y="2"/>
                  </a:lnTo>
                  <a:lnTo>
                    <a:pt x="1050" y="2"/>
                  </a:lnTo>
                  <a:lnTo>
                    <a:pt x="1050" y="2"/>
                  </a:lnTo>
                  <a:lnTo>
                    <a:pt x="1048" y="2"/>
                  </a:lnTo>
                  <a:lnTo>
                    <a:pt x="1048" y="2"/>
                  </a:lnTo>
                  <a:lnTo>
                    <a:pt x="1048" y="0"/>
                  </a:lnTo>
                  <a:lnTo>
                    <a:pt x="1046" y="0"/>
                  </a:lnTo>
                  <a:lnTo>
                    <a:pt x="1046" y="0"/>
                  </a:lnTo>
                  <a:lnTo>
                    <a:pt x="1044" y="0"/>
                  </a:lnTo>
                  <a:lnTo>
                    <a:pt x="1042" y="0"/>
                  </a:lnTo>
                  <a:lnTo>
                    <a:pt x="1040" y="0"/>
                  </a:lnTo>
                  <a:lnTo>
                    <a:pt x="1036" y="0"/>
                  </a:lnTo>
                  <a:lnTo>
                    <a:pt x="1034" y="2"/>
                  </a:lnTo>
                  <a:lnTo>
                    <a:pt x="1034" y="2"/>
                  </a:lnTo>
                  <a:lnTo>
                    <a:pt x="1034" y="2"/>
                  </a:lnTo>
                  <a:lnTo>
                    <a:pt x="1032" y="2"/>
                  </a:lnTo>
                  <a:lnTo>
                    <a:pt x="1032" y="2"/>
                  </a:lnTo>
                  <a:lnTo>
                    <a:pt x="1030" y="2"/>
                  </a:lnTo>
                  <a:lnTo>
                    <a:pt x="1030" y="4"/>
                  </a:lnTo>
                  <a:lnTo>
                    <a:pt x="1030" y="4"/>
                  </a:lnTo>
                  <a:lnTo>
                    <a:pt x="1028" y="6"/>
                  </a:lnTo>
                  <a:lnTo>
                    <a:pt x="1028" y="6"/>
                  </a:lnTo>
                  <a:lnTo>
                    <a:pt x="1028" y="6"/>
                  </a:lnTo>
                  <a:lnTo>
                    <a:pt x="1028" y="8"/>
                  </a:lnTo>
                  <a:lnTo>
                    <a:pt x="1028" y="10"/>
                  </a:lnTo>
                  <a:lnTo>
                    <a:pt x="1030" y="14"/>
                  </a:lnTo>
                  <a:lnTo>
                    <a:pt x="1030" y="16"/>
                  </a:lnTo>
                  <a:lnTo>
                    <a:pt x="1032" y="20"/>
                  </a:lnTo>
                  <a:lnTo>
                    <a:pt x="1032" y="20"/>
                  </a:lnTo>
                  <a:lnTo>
                    <a:pt x="1032" y="20"/>
                  </a:lnTo>
                  <a:lnTo>
                    <a:pt x="1032" y="20"/>
                  </a:lnTo>
                  <a:lnTo>
                    <a:pt x="1030" y="20"/>
                  </a:lnTo>
                  <a:lnTo>
                    <a:pt x="1030" y="18"/>
                  </a:lnTo>
                  <a:lnTo>
                    <a:pt x="1030" y="18"/>
                  </a:lnTo>
                  <a:lnTo>
                    <a:pt x="1030" y="16"/>
                  </a:lnTo>
                  <a:lnTo>
                    <a:pt x="1030" y="16"/>
                  </a:lnTo>
                  <a:lnTo>
                    <a:pt x="1030" y="16"/>
                  </a:lnTo>
                  <a:lnTo>
                    <a:pt x="1028" y="14"/>
                  </a:lnTo>
                  <a:lnTo>
                    <a:pt x="1028" y="14"/>
                  </a:lnTo>
                  <a:lnTo>
                    <a:pt x="1028" y="14"/>
                  </a:lnTo>
                  <a:lnTo>
                    <a:pt x="1026" y="12"/>
                  </a:lnTo>
                  <a:lnTo>
                    <a:pt x="1022" y="8"/>
                  </a:lnTo>
                  <a:lnTo>
                    <a:pt x="1020" y="8"/>
                  </a:lnTo>
                  <a:lnTo>
                    <a:pt x="1020" y="6"/>
                  </a:lnTo>
                  <a:lnTo>
                    <a:pt x="1020" y="6"/>
                  </a:lnTo>
                  <a:lnTo>
                    <a:pt x="1020" y="6"/>
                  </a:lnTo>
                  <a:lnTo>
                    <a:pt x="1016" y="6"/>
                  </a:lnTo>
                  <a:lnTo>
                    <a:pt x="1014" y="6"/>
                  </a:lnTo>
                  <a:lnTo>
                    <a:pt x="1014" y="6"/>
                  </a:lnTo>
                  <a:lnTo>
                    <a:pt x="1014" y="6"/>
                  </a:lnTo>
                  <a:lnTo>
                    <a:pt x="1012" y="8"/>
                  </a:lnTo>
                  <a:lnTo>
                    <a:pt x="1012" y="8"/>
                  </a:lnTo>
                  <a:lnTo>
                    <a:pt x="1012" y="8"/>
                  </a:lnTo>
                  <a:lnTo>
                    <a:pt x="1010" y="8"/>
                  </a:lnTo>
                  <a:lnTo>
                    <a:pt x="1010" y="8"/>
                  </a:lnTo>
                  <a:lnTo>
                    <a:pt x="1008" y="8"/>
                  </a:lnTo>
                  <a:lnTo>
                    <a:pt x="1008" y="10"/>
                  </a:lnTo>
                  <a:lnTo>
                    <a:pt x="1004" y="14"/>
                  </a:lnTo>
                  <a:lnTo>
                    <a:pt x="1002" y="14"/>
                  </a:lnTo>
                  <a:lnTo>
                    <a:pt x="1000" y="16"/>
                  </a:lnTo>
                  <a:lnTo>
                    <a:pt x="1000" y="16"/>
                  </a:lnTo>
                  <a:lnTo>
                    <a:pt x="1000" y="18"/>
                  </a:lnTo>
                  <a:lnTo>
                    <a:pt x="1000" y="22"/>
                  </a:lnTo>
                  <a:lnTo>
                    <a:pt x="998" y="20"/>
                  </a:lnTo>
                  <a:lnTo>
                    <a:pt x="998" y="20"/>
                  </a:lnTo>
                  <a:lnTo>
                    <a:pt x="998" y="18"/>
                  </a:lnTo>
                  <a:lnTo>
                    <a:pt x="992" y="16"/>
                  </a:lnTo>
                  <a:lnTo>
                    <a:pt x="992" y="16"/>
                  </a:lnTo>
                  <a:lnTo>
                    <a:pt x="992" y="16"/>
                  </a:lnTo>
                  <a:lnTo>
                    <a:pt x="990" y="14"/>
                  </a:lnTo>
                  <a:lnTo>
                    <a:pt x="986" y="14"/>
                  </a:lnTo>
                  <a:lnTo>
                    <a:pt x="982" y="12"/>
                  </a:lnTo>
                  <a:lnTo>
                    <a:pt x="978" y="12"/>
                  </a:lnTo>
                  <a:lnTo>
                    <a:pt x="974" y="10"/>
                  </a:lnTo>
                  <a:lnTo>
                    <a:pt x="968" y="10"/>
                  </a:lnTo>
                  <a:lnTo>
                    <a:pt x="968" y="10"/>
                  </a:lnTo>
                  <a:lnTo>
                    <a:pt x="968" y="10"/>
                  </a:lnTo>
                  <a:lnTo>
                    <a:pt x="964" y="10"/>
                  </a:lnTo>
                  <a:lnTo>
                    <a:pt x="962" y="12"/>
                  </a:lnTo>
                  <a:lnTo>
                    <a:pt x="960" y="12"/>
                  </a:lnTo>
                  <a:lnTo>
                    <a:pt x="958" y="14"/>
                  </a:lnTo>
                  <a:lnTo>
                    <a:pt x="958" y="14"/>
                  </a:lnTo>
                  <a:lnTo>
                    <a:pt x="956" y="14"/>
                  </a:lnTo>
                  <a:lnTo>
                    <a:pt x="956" y="14"/>
                  </a:lnTo>
                  <a:lnTo>
                    <a:pt x="956" y="14"/>
                  </a:lnTo>
                  <a:lnTo>
                    <a:pt x="954" y="14"/>
                  </a:lnTo>
                  <a:lnTo>
                    <a:pt x="954" y="16"/>
                  </a:lnTo>
                  <a:lnTo>
                    <a:pt x="954" y="16"/>
                  </a:lnTo>
                  <a:lnTo>
                    <a:pt x="954" y="16"/>
                  </a:lnTo>
                  <a:lnTo>
                    <a:pt x="952" y="18"/>
                  </a:lnTo>
                  <a:lnTo>
                    <a:pt x="952" y="18"/>
                  </a:lnTo>
                  <a:lnTo>
                    <a:pt x="952" y="20"/>
                  </a:lnTo>
                  <a:lnTo>
                    <a:pt x="952" y="22"/>
                  </a:lnTo>
                  <a:lnTo>
                    <a:pt x="952" y="22"/>
                  </a:lnTo>
                  <a:lnTo>
                    <a:pt x="952" y="24"/>
                  </a:lnTo>
                  <a:lnTo>
                    <a:pt x="952" y="28"/>
                  </a:lnTo>
                  <a:lnTo>
                    <a:pt x="952" y="28"/>
                  </a:lnTo>
                  <a:lnTo>
                    <a:pt x="952" y="28"/>
                  </a:lnTo>
                  <a:lnTo>
                    <a:pt x="954" y="32"/>
                  </a:lnTo>
                  <a:lnTo>
                    <a:pt x="956" y="36"/>
                  </a:lnTo>
                  <a:lnTo>
                    <a:pt x="954" y="34"/>
                  </a:lnTo>
                  <a:lnTo>
                    <a:pt x="950" y="30"/>
                  </a:lnTo>
                  <a:lnTo>
                    <a:pt x="950" y="30"/>
                  </a:lnTo>
                  <a:lnTo>
                    <a:pt x="950" y="30"/>
                  </a:lnTo>
                  <a:lnTo>
                    <a:pt x="948" y="28"/>
                  </a:lnTo>
                  <a:lnTo>
                    <a:pt x="946" y="26"/>
                  </a:lnTo>
                  <a:lnTo>
                    <a:pt x="944" y="24"/>
                  </a:lnTo>
                  <a:lnTo>
                    <a:pt x="942" y="24"/>
                  </a:lnTo>
                  <a:lnTo>
                    <a:pt x="942" y="24"/>
                  </a:lnTo>
                  <a:lnTo>
                    <a:pt x="942" y="22"/>
                  </a:lnTo>
                  <a:lnTo>
                    <a:pt x="940" y="22"/>
                  </a:lnTo>
                  <a:lnTo>
                    <a:pt x="940" y="22"/>
                  </a:lnTo>
                  <a:lnTo>
                    <a:pt x="940" y="22"/>
                  </a:lnTo>
                  <a:lnTo>
                    <a:pt x="938" y="22"/>
                  </a:lnTo>
                  <a:lnTo>
                    <a:pt x="938" y="22"/>
                  </a:lnTo>
                  <a:lnTo>
                    <a:pt x="938" y="22"/>
                  </a:lnTo>
                  <a:lnTo>
                    <a:pt x="936" y="22"/>
                  </a:lnTo>
                  <a:lnTo>
                    <a:pt x="932" y="22"/>
                  </a:lnTo>
                  <a:lnTo>
                    <a:pt x="930" y="22"/>
                  </a:lnTo>
                  <a:lnTo>
                    <a:pt x="930" y="22"/>
                  </a:lnTo>
                  <a:lnTo>
                    <a:pt x="928" y="22"/>
                  </a:lnTo>
                  <a:lnTo>
                    <a:pt x="926" y="22"/>
                  </a:lnTo>
                  <a:lnTo>
                    <a:pt x="922" y="24"/>
                  </a:lnTo>
                  <a:lnTo>
                    <a:pt x="918" y="24"/>
                  </a:lnTo>
                  <a:lnTo>
                    <a:pt x="912" y="24"/>
                  </a:lnTo>
                  <a:lnTo>
                    <a:pt x="908" y="26"/>
                  </a:lnTo>
                  <a:lnTo>
                    <a:pt x="906" y="26"/>
                  </a:lnTo>
                  <a:lnTo>
                    <a:pt x="906" y="26"/>
                  </a:lnTo>
                  <a:lnTo>
                    <a:pt x="904" y="28"/>
                  </a:lnTo>
                  <a:lnTo>
                    <a:pt x="902" y="28"/>
                  </a:lnTo>
                  <a:lnTo>
                    <a:pt x="902" y="30"/>
                  </a:lnTo>
                  <a:lnTo>
                    <a:pt x="902" y="30"/>
                  </a:lnTo>
                  <a:lnTo>
                    <a:pt x="902" y="30"/>
                  </a:lnTo>
                  <a:lnTo>
                    <a:pt x="900" y="32"/>
                  </a:lnTo>
                  <a:lnTo>
                    <a:pt x="900" y="30"/>
                  </a:lnTo>
                  <a:lnTo>
                    <a:pt x="900" y="30"/>
                  </a:lnTo>
                  <a:lnTo>
                    <a:pt x="898" y="30"/>
                  </a:lnTo>
                  <a:lnTo>
                    <a:pt x="896" y="30"/>
                  </a:lnTo>
                  <a:lnTo>
                    <a:pt x="896" y="30"/>
                  </a:lnTo>
                  <a:lnTo>
                    <a:pt x="892" y="30"/>
                  </a:lnTo>
                  <a:lnTo>
                    <a:pt x="890" y="32"/>
                  </a:lnTo>
                  <a:lnTo>
                    <a:pt x="888" y="34"/>
                  </a:lnTo>
                  <a:lnTo>
                    <a:pt x="886" y="38"/>
                  </a:lnTo>
                  <a:lnTo>
                    <a:pt x="886" y="38"/>
                  </a:lnTo>
                  <a:lnTo>
                    <a:pt x="884" y="38"/>
                  </a:lnTo>
                  <a:lnTo>
                    <a:pt x="884" y="38"/>
                  </a:lnTo>
                  <a:lnTo>
                    <a:pt x="884" y="38"/>
                  </a:lnTo>
                  <a:lnTo>
                    <a:pt x="884" y="40"/>
                  </a:lnTo>
                  <a:lnTo>
                    <a:pt x="882" y="40"/>
                  </a:lnTo>
                  <a:lnTo>
                    <a:pt x="882" y="40"/>
                  </a:lnTo>
                  <a:lnTo>
                    <a:pt x="882" y="44"/>
                  </a:lnTo>
                  <a:lnTo>
                    <a:pt x="884" y="46"/>
                  </a:lnTo>
                  <a:lnTo>
                    <a:pt x="884" y="46"/>
                  </a:lnTo>
                  <a:lnTo>
                    <a:pt x="884" y="46"/>
                  </a:lnTo>
                  <a:lnTo>
                    <a:pt x="886" y="48"/>
                  </a:lnTo>
                  <a:lnTo>
                    <a:pt x="886" y="48"/>
                  </a:lnTo>
                  <a:lnTo>
                    <a:pt x="886" y="48"/>
                  </a:lnTo>
                  <a:lnTo>
                    <a:pt x="888" y="50"/>
                  </a:lnTo>
                  <a:lnTo>
                    <a:pt x="890" y="50"/>
                  </a:lnTo>
                  <a:lnTo>
                    <a:pt x="890" y="50"/>
                  </a:lnTo>
                  <a:lnTo>
                    <a:pt x="890" y="50"/>
                  </a:lnTo>
                  <a:lnTo>
                    <a:pt x="892" y="52"/>
                  </a:lnTo>
                  <a:lnTo>
                    <a:pt x="892" y="52"/>
                  </a:lnTo>
                  <a:lnTo>
                    <a:pt x="894" y="54"/>
                  </a:lnTo>
                  <a:lnTo>
                    <a:pt x="894" y="58"/>
                  </a:lnTo>
                  <a:lnTo>
                    <a:pt x="894" y="60"/>
                  </a:lnTo>
                  <a:lnTo>
                    <a:pt x="896" y="62"/>
                  </a:lnTo>
                  <a:lnTo>
                    <a:pt x="896" y="64"/>
                  </a:lnTo>
                  <a:lnTo>
                    <a:pt x="896" y="64"/>
                  </a:lnTo>
                  <a:lnTo>
                    <a:pt x="894" y="64"/>
                  </a:lnTo>
                  <a:lnTo>
                    <a:pt x="892" y="64"/>
                  </a:lnTo>
                  <a:lnTo>
                    <a:pt x="892" y="64"/>
                  </a:lnTo>
                  <a:lnTo>
                    <a:pt x="890" y="64"/>
                  </a:lnTo>
                  <a:lnTo>
                    <a:pt x="888" y="62"/>
                  </a:lnTo>
                  <a:lnTo>
                    <a:pt x="888" y="60"/>
                  </a:lnTo>
                  <a:lnTo>
                    <a:pt x="888" y="60"/>
                  </a:lnTo>
                  <a:lnTo>
                    <a:pt x="886" y="58"/>
                  </a:lnTo>
                  <a:lnTo>
                    <a:pt x="886" y="58"/>
                  </a:lnTo>
                  <a:lnTo>
                    <a:pt x="886" y="58"/>
                  </a:lnTo>
                  <a:lnTo>
                    <a:pt x="886" y="56"/>
                  </a:lnTo>
                  <a:lnTo>
                    <a:pt x="886" y="56"/>
                  </a:lnTo>
                  <a:lnTo>
                    <a:pt x="884" y="56"/>
                  </a:lnTo>
                  <a:lnTo>
                    <a:pt x="882" y="56"/>
                  </a:lnTo>
                  <a:lnTo>
                    <a:pt x="882" y="56"/>
                  </a:lnTo>
                  <a:lnTo>
                    <a:pt x="882" y="56"/>
                  </a:lnTo>
                  <a:lnTo>
                    <a:pt x="880" y="56"/>
                  </a:lnTo>
                  <a:lnTo>
                    <a:pt x="880" y="56"/>
                  </a:lnTo>
                  <a:lnTo>
                    <a:pt x="878" y="56"/>
                  </a:lnTo>
                  <a:lnTo>
                    <a:pt x="876" y="58"/>
                  </a:lnTo>
                  <a:lnTo>
                    <a:pt x="876" y="58"/>
                  </a:lnTo>
                  <a:lnTo>
                    <a:pt x="876" y="60"/>
                  </a:lnTo>
                  <a:lnTo>
                    <a:pt x="874" y="66"/>
                  </a:lnTo>
                  <a:lnTo>
                    <a:pt x="874" y="74"/>
                  </a:lnTo>
                  <a:lnTo>
                    <a:pt x="874" y="76"/>
                  </a:lnTo>
                  <a:lnTo>
                    <a:pt x="872" y="80"/>
                  </a:lnTo>
                  <a:lnTo>
                    <a:pt x="872" y="82"/>
                  </a:lnTo>
                  <a:lnTo>
                    <a:pt x="870" y="84"/>
                  </a:lnTo>
                  <a:lnTo>
                    <a:pt x="870" y="84"/>
                  </a:lnTo>
                  <a:lnTo>
                    <a:pt x="870" y="86"/>
                  </a:lnTo>
                  <a:lnTo>
                    <a:pt x="870" y="92"/>
                  </a:lnTo>
                  <a:lnTo>
                    <a:pt x="872" y="98"/>
                  </a:lnTo>
                  <a:lnTo>
                    <a:pt x="874" y="104"/>
                  </a:lnTo>
                  <a:lnTo>
                    <a:pt x="874" y="104"/>
                  </a:lnTo>
                  <a:lnTo>
                    <a:pt x="876" y="104"/>
                  </a:lnTo>
                  <a:lnTo>
                    <a:pt x="878" y="110"/>
                  </a:lnTo>
                  <a:lnTo>
                    <a:pt x="878" y="110"/>
                  </a:lnTo>
                  <a:lnTo>
                    <a:pt x="878" y="110"/>
                  </a:lnTo>
                  <a:lnTo>
                    <a:pt x="882" y="114"/>
                  </a:lnTo>
                  <a:lnTo>
                    <a:pt x="882" y="114"/>
                  </a:lnTo>
                  <a:lnTo>
                    <a:pt x="882" y="114"/>
                  </a:lnTo>
                  <a:lnTo>
                    <a:pt x="888" y="118"/>
                  </a:lnTo>
                  <a:lnTo>
                    <a:pt x="888" y="118"/>
                  </a:lnTo>
                  <a:lnTo>
                    <a:pt x="888" y="118"/>
                  </a:lnTo>
                  <a:lnTo>
                    <a:pt x="894" y="120"/>
                  </a:lnTo>
                  <a:lnTo>
                    <a:pt x="894" y="120"/>
                  </a:lnTo>
                  <a:lnTo>
                    <a:pt x="894" y="120"/>
                  </a:lnTo>
                  <a:lnTo>
                    <a:pt x="898" y="122"/>
                  </a:lnTo>
                  <a:lnTo>
                    <a:pt x="900" y="124"/>
                  </a:lnTo>
                  <a:lnTo>
                    <a:pt x="900" y="126"/>
                  </a:lnTo>
                  <a:lnTo>
                    <a:pt x="900" y="130"/>
                  </a:lnTo>
                  <a:lnTo>
                    <a:pt x="902" y="132"/>
                  </a:lnTo>
                  <a:lnTo>
                    <a:pt x="902" y="134"/>
                  </a:lnTo>
                  <a:lnTo>
                    <a:pt x="900" y="132"/>
                  </a:lnTo>
                  <a:lnTo>
                    <a:pt x="898" y="132"/>
                  </a:lnTo>
                  <a:lnTo>
                    <a:pt x="894" y="126"/>
                  </a:lnTo>
                  <a:lnTo>
                    <a:pt x="888" y="122"/>
                  </a:lnTo>
                  <a:lnTo>
                    <a:pt x="882" y="116"/>
                  </a:lnTo>
                  <a:lnTo>
                    <a:pt x="876" y="112"/>
                  </a:lnTo>
                  <a:lnTo>
                    <a:pt x="870" y="106"/>
                  </a:lnTo>
                  <a:lnTo>
                    <a:pt x="866" y="102"/>
                  </a:lnTo>
                  <a:lnTo>
                    <a:pt x="864" y="98"/>
                  </a:lnTo>
                  <a:lnTo>
                    <a:pt x="862" y="96"/>
                  </a:lnTo>
                  <a:lnTo>
                    <a:pt x="854" y="88"/>
                  </a:lnTo>
                  <a:lnTo>
                    <a:pt x="850" y="84"/>
                  </a:lnTo>
                  <a:lnTo>
                    <a:pt x="846" y="80"/>
                  </a:lnTo>
                  <a:lnTo>
                    <a:pt x="842" y="78"/>
                  </a:lnTo>
                  <a:lnTo>
                    <a:pt x="842" y="78"/>
                  </a:lnTo>
                  <a:lnTo>
                    <a:pt x="842" y="78"/>
                  </a:lnTo>
                  <a:lnTo>
                    <a:pt x="838" y="76"/>
                  </a:lnTo>
                  <a:lnTo>
                    <a:pt x="838" y="76"/>
                  </a:lnTo>
                  <a:lnTo>
                    <a:pt x="838" y="76"/>
                  </a:lnTo>
                  <a:lnTo>
                    <a:pt x="838" y="76"/>
                  </a:lnTo>
                  <a:lnTo>
                    <a:pt x="836" y="76"/>
                  </a:lnTo>
                  <a:lnTo>
                    <a:pt x="836" y="76"/>
                  </a:lnTo>
                  <a:lnTo>
                    <a:pt x="834" y="74"/>
                  </a:lnTo>
                  <a:lnTo>
                    <a:pt x="832" y="74"/>
                  </a:lnTo>
                  <a:lnTo>
                    <a:pt x="832" y="74"/>
                  </a:lnTo>
                  <a:lnTo>
                    <a:pt x="830" y="74"/>
                  </a:lnTo>
                  <a:lnTo>
                    <a:pt x="830" y="76"/>
                  </a:lnTo>
                  <a:lnTo>
                    <a:pt x="830" y="76"/>
                  </a:lnTo>
                  <a:lnTo>
                    <a:pt x="828" y="76"/>
                  </a:lnTo>
                  <a:lnTo>
                    <a:pt x="826" y="78"/>
                  </a:lnTo>
                  <a:lnTo>
                    <a:pt x="826" y="78"/>
                  </a:lnTo>
                  <a:lnTo>
                    <a:pt x="826" y="78"/>
                  </a:lnTo>
                  <a:lnTo>
                    <a:pt x="826" y="80"/>
                  </a:lnTo>
                  <a:lnTo>
                    <a:pt x="824" y="84"/>
                  </a:lnTo>
                  <a:lnTo>
                    <a:pt x="824" y="86"/>
                  </a:lnTo>
                  <a:lnTo>
                    <a:pt x="822" y="88"/>
                  </a:lnTo>
                  <a:lnTo>
                    <a:pt x="822" y="88"/>
                  </a:lnTo>
                  <a:lnTo>
                    <a:pt x="822" y="88"/>
                  </a:lnTo>
                  <a:lnTo>
                    <a:pt x="822" y="92"/>
                  </a:lnTo>
                  <a:lnTo>
                    <a:pt x="822" y="94"/>
                  </a:lnTo>
                  <a:lnTo>
                    <a:pt x="822" y="96"/>
                  </a:lnTo>
                  <a:lnTo>
                    <a:pt x="820" y="98"/>
                  </a:lnTo>
                  <a:lnTo>
                    <a:pt x="820" y="100"/>
                  </a:lnTo>
                  <a:lnTo>
                    <a:pt x="820" y="100"/>
                  </a:lnTo>
                  <a:lnTo>
                    <a:pt x="816" y="100"/>
                  </a:lnTo>
                  <a:lnTo>
                    <a:pt x="814" y="100"/>
                  </a:lnTo>
                  <a:lnTo>
                    <a:pt x="808" y="102"/>
                  </a:lnTo>
                  <a:lnTo>
                    <a:pt x="808" y="102"/>
                  </a:lnTo>
                  <a:lnTo>
                    <a:pt x="806" y="102"/>
                  </a:lnTo>
                  <a:lnTo>
                    <a:pt x="806" y="102"/>
                  </a:lnTo>
                  <a:lnTo>
                    <a:pt x="806" y="106"/>
                  </a:lnTo>
                  <a:lnTo>
                    <a:pt x="808" y="108"/>
                  </a:lnTo>
                  <a:lnTo>
                    <a:pt x="810" y="110"/>
                  </a:lnTo>
                  <a:lnTo>
                    <a:pt x="812" y="112"/>
                  </a:lnTo>
                  <a:lnTo>
                    <a:pt x="812" y="112"/>
                  </a:lnTo>
                  <a:lnTo>
                    <a:pt x="812" y="112"/>
                  </a:lnTo>
                  <a:lnTo>
                    <a:pt x="814" y="114"/>
                  </a:lnTo>
                  <a:lnTo>
                    <a:pt x="814" y="114"/>
                  </a:lnTo>
                  <a:lnTo>
                    <a:pt x="814" y="114"/>
                  </a:lnTo>
                  <a:lnTo>
                    <a:pt x="816" y="114"/>
                  </a:lnTo>
                  <a:lnTo>
                    <a:pt x="816" y="114"/>
                  </a:lnTo>
                  <a:lnTo>
                    <a:pt x="816" y="114"/>
                  </a:lnTo>
                  <a:lnTo>
                    <a:pt x="818" y="114"/>
                  </a:lnTo>
                  <a:lnTo>
                    <a:pt x="822" y="116"/>
                  </a:lnTo>
                  <a:lnTo>
                    <a:pt x="824" y="116"/>
                  </a:lnTo>
                  <a:lnTo>
                    <a:pt x="824" y="116"/>
                  </a:lnTo>
                  <a:lnTo>
                    <a:pt x="826" y="118"/>
                  </a:lnTo>
                  <a:lnTo>
                    <a:pt x="828" y="120"/>
                  </a:lnTo>
                  <a:lnTo>
                    <a:pt x="830" y="122"/>
                  </a:lnTo>
                  <a:lnTo>
                    <a:pt x="830" y="122"/>
                  </a:lnTo>
                  <a:lnTo>
                    <a:pt x="830" y="124"/>
                  </a:lnTo>
                  <a:lnTo>
                    <a:pt x="828" y="126"/>
                  </a:lnTo>
                  <a:lnTo>
                    <a:pt x="828" y="126"/>
                  </a:lnTo>
                  <a:lnTo>
                    <a:pt x="828" y="126"/>
                  </a:lnTo>
                  <a:lnTo>
                    <a:pt x="828" y="130"/>
                  </a:lnTo>
                  <a:lnTo>
                    <a:pt x="828" y="134"/>
                  </a:lnTo>
                  <a:lnTo>
                    <a:pt x="828" y="136"/>
                  </a:lnTo>
                  <a:lnTo>
                    <a:pt x="826" y="138"/>
                  </a:lnTo>
                  <a:lnTo>
                    <a:pt x="826" y="138"/>
                  </a:lnTo>
                  <a:lnTo>
                    <a:pt x="826" y="138"/>
                  </a:lnTo>
                  <a:lnTo>
                    <a:pt x="826" y="138"/>
                  </a:lnTo>
                  <a:lnTo>
                    <a:pt x="826" y="136"/>
                  </a:lnTo>
                  <a:lnTo>
                    <a:pt x="822" y="134"/>
                  </a:lnTo>
                  <a:lnTo>
                    <a:pt x="820" y="130"/>
                  </a:lnTo>
                  <a:lnTo>
                    <a:pt x="816" y="128"/>
                  </a:lnTo>
                  <a:lnTo>
                    <a:pt x="816" y="126"/>
                  </a:lnTo>
                  <a:lnTo>
                    <a:pt x="816" y="126"/>
                  </a:lnTo>
                  <a:lnTo>
                    <a:pt x="816" y="126"/>
                  </a:lnTo>
                  <a:lnTo>
                    <a:pt x="814" y="124"/>
                  </a:lnTo>
                  <a:lnTo>
                    <a:pt x="814" y="124"/>
                  </a:lnTo>
                  <a:lnTo>
                    <a:pt x="814" y="124"/>
                  </a:lnTo>
                  <a:lnTo>
                    <a:pt x="814" y="124"/>
                  </a:lnTo>
                  <a:lnTo>
                    <a:pt x="812" y="122"/>
                  </a:lnTo>
                  <a:lnTo>
                    <a:pt x="812" y="122"/>
                  </a:lnTo>
                  <a:lnTo>
                    <a:pt x="812" y="122"/>
                  </a:lnTo>
                  <a:lnTo>
                    <a:pt x="810" y="122"/>
                  </a:lnTo>
                  <a:lnTo>
                    <a:pt x="810" y="122"/>
                  </a:lnTo>
                  <a:lnTo>
                    <a:pt x="808" y="122"/>
                  </a:lnTo>
                  <a:lnTo>
                    <a:pt x="806" y="124"/>
                  </a:lnTo>
                  <a:lnTo>
                    <a:pt x="806" y="124"/>
                  </a:lnTo>
                  <a:lnTo>
                    <a:pt x="806" y="124"/>
                  </a:lnTo>
                  <a:lnTo>
                    <a:pt x="804" y="126"/>
                  </a:lnTo>
                  <a:lnTo>
                    <a:pt x="802" y="128"/>
                  </a:lnTo>
                  <a:lnTo>
                    <a:pt x="800" y="130"/>
                  </a:lnTo>
                  <a:lnTo>
                    <a:pt x="800" y="130"/>
                  </a:lnTo>
                  <a:lnTo>
                    <a:pt x="798" y="130"/>
                  </a:lnTo>
                  <a:lnTo>
                    <a:pt x="798" y="130"/>
                  </a:lnTo>
                  <a:lnTo>
                    <a:pt x="798" y="128"/>
                  </a:lnTo>
                  <a:lnTo>
                    <a:pt x="796" y="128"/>
                  </a:lnTo>
                  <a:lnTo>
                    <a:pt x="796" y="126"/>
                  </a:lnTo>
                  <a:lnTo>
                    <a:pt x="796" y="126"/>
                  </a:lnTo>
                  <a:lnTo>
                    <a:pt x="796" y="126"/>
                  </a:lnTo>
                  <a:lnTo>
                    <a:pt x="794" y="126"/>
                  </a:lnTo>
                  <a:lnTo>
                    <a:pt x="794" y="124"/>
                  </a:lnTo>
                  <a:lnTo>
                    <a:pt x="794" y="124"/>
                  </a:lnTo>
                  <a:lnTo>
                    <a:pt x="794" y="124"/>
                  </a:lnTo>
                  <a:lnTo>
                    <a:pt x="790" y="122"/>
                  </a:lnTo>
                  <a:lnTo>
                    <a:pt x="790" y="122"/>
                  </a:lnTo>
                  <a:lnTo>
                    <a:pt x="788" y="122"/>
                  </a:lnTo>
                  <a:lnTo>
                    <a:pt x="786" y="122"/>
                  </a:lnTo>
                  <a:lnTo>
                    <a:pt x="784" y="124"/>
                  </a:lnTo>
                  <a:lnTo>
                    <a:pt x="782" y="124"/>
                  </a:lnTo>
                  <a:lnTo>
                    <a:pt x="782" y="124"/>
                  </a:lnTo>
                  <a:lnTo>
                    <a:pt x="780" y="124"/>
                  </a:lnTo>
                  <a:lnTo>
                    <a:pt x="780" y="126"/>
                  </a:lnTo>
                  <a:lnTo>
                    <a:pt x="780" y="126"/>
                  </a:lnTo>
                  <a:lnTo>
                    <a:pt x="780" y="126"/>
                  </a:lnTo>
                  <a:lnTo>
                    <a:pt x="778" y="126"/>
                  </a:lnTo>
                  <a:lnTo>
                    <a:pt x="778" y="126"/>
                  </a:lnTo>
                  <a:lnTo>
                    <a:pt x="778" y="128"/>
                  </a:lnTo>
                  <a:lnTo>
                    <a:pt x="776" y="130"/>
                  </a:lnTo>
                  <a:lnTo>
                    <a:pt x="776" y="132"/>
                  </a:lnTo>
                  <a:lnTo>
                    <a:pt x="774" y="134"/>
                  </a:lnTo>
                  <a:lnTo>
                    <a:pt x="774" y="134"/>
                  </a:lnTo>
                  <a:lnTo>
                    <a:pt x="774" y="134"/>
                  </a:lnTo>
                  <a:lnTo>
                    <a:pt x="774" y="138"/>
                  </a:lnTo>
                  <a:lnTo>
                    <a:pt x="774" y="140"/>
                  </a:lnTo>
                  <a:lnTo>
                    <a:pt x="774" y="142"/>
                  </a:lnTo>
                  <a:lnTo>
                    <a:pt x="772" y="142"/>
                  </a:lnTo>
                  <a:lnTo>
                    <a:pt x="772" y="144"/>
                  </a:lnTo>
                  <a:lnTo>
                    <a:pt x="772" y="144"/>
                  </a:lnTo>
                  <a:lnTo>
                    <a:pt x="770" y="144"/>
                  </a:lnTo>
                  <a:lnTo>
                    <a:pt x="768" y="144"/>
                  </a:lnTo>
                  <a:lnTo>
                    <a:pt x="768" y="144"/>
                  </a:lnTo>
                  <a:lnTo>
                    <a:pt x="766" y="142"/>
                  </a:lnTo>
                  <a:lnTo>
                    <a:pt x="762" y="142"/>
                  </a:lnTo>
                  <a:lnTo>
                    <a:pt x="760" y="140"/>
                  </a:lnTo>
                  <a:lnTo>
                    <a:pt x="760" y="140"/>
                  </a:lnTo>
                  <a:lnTo>
                    <a:pt x="760" y="140"/>
                  </a:lnTo>
                  <a:lnTo>
                    <a:pt x="758" y="140"/>
                  </a:lnTo>
                  <a:lnTo>
                    <a:pt x="758" y="140"/>
                  </a:lnTo>
                  <a:lnTo>
                    <a:pt x="756" y="140"/>
                  </a:lnTo>
                  <a:lnTo>
                    <a:pt x="754" y="140"/>
                  </a:lnTo>
                  <a:lnTo>
                    <a:pt x="752" y="140"/>
                  </a:lnTo>
                  <a:lnTo>
                    <a:pt x="750" y="142"/>
                  </a:lnTo>
                  <a:lnTo>
                    <a:pt x="748" y="142"/>
                  </a:lnTo>
                  <a:lnTo>
                    <a:pt x="746" y="142"/>
                  </a:lnTo>
                  <a:lnTo>
                    <a:pt x="742" y="142"/>
                  </a:lnTo>
                  <a:lnTo>
                    <a:pt x="742" y="142"/>
                  </a:lnTo>
                  <a:lnTo>
                    <a:pt x="740" y="144"/>
                  </a:lnTo>
                  <a:lnTo>
                    <a:pt x="738" y="148"/>
                  </a:lnTo>
                  <a:lnTo>
                    <a:pt x="734" y="152"/>
                  </a:lnTo>
                  <a:lnTo>
                    <a:pt x="728" y="160"/>
                  </a:lnTo>
                  <a:lnTo>
                    <a:pt x="728" y="160"/>
                  </a:lnTo>
                  <a:lnTo>
                    <a:pt x="726" y="162"/>
                  </a:lnTo>
                  <a:lnTo>
                    <a:pt x="726" y="164"/>
                  </a:lnTo>
                  <a:lnTo>
                    <a:pt x="726" y="166"/>
                  </a:lnTo>
                  <a:lnTo>
                    <a:pt x="726" y="168"/>
                  </a:lnTo>
                  <a:lnTo>
                    <a:pt x="726" y="172"/>
                  </a:lnTo>
                  <a:lnTo>
                    <a:pt x="726" y="176"/>
                  </a:lnTo>
                  <a:lnTo>
                    <a:pt x="726" y="178"/>
                  </a:lnTo>
                  <a:lnTo>
                    <a:pt x="728" y="180"/>
                  </a:lnTo>
                  <a:lnTo>
                    <a:pt x="728" y="180"/>
                  </a:lnTo>
                  <a:lnTo>
                    <a:pt x="728" y="180"/>
                  </a:lnTo>
                  <a:lnTo>
                    <a:pt x="728" y="182"/>
                  </a:lnTo>
                  <a:lnTo>
                    <a:pt x="728" y="182"/>
                  </a:lnTo>
                  <a:lnTo>
                    <a:pt x="728" y="182"/>
                  </a:lnTo>
                  <a:lnTo>
                    <a:pt x="730" y="184"/>
                  </a:lnTo>
                  <a:lnTo>
                    <a:pt x="730" y="184"/>
                  </a:lnTo>
                  <a:lnTo>
                    <a:pt x="730" y="184"/>
                  </a:lnTo>
                  <a:lnTo>
                    <a:pt x="734" y="182"/>
                  </a:lnTo>
                  <a:lnTo>
                    <a:pt x="734" y="182"/>
                  </a:lnTo>
                  <a:lnTo>
                    <a:pt x="734" y="182"/>
                  </a:lnTo>
                  <a:lnTo>
                    <a:pt x="734" y="182"/>
                  </a:lnTo>
                  <a:lnTo>
                    <a:pt x="736" y="180"/>
                  </a:lnTo>
                  <a:lnTo>
                    <a:pt x="736" y="180"/>
                  </a:lnTo>
                  <a:lnTo>
                    <a:pt x="736" y="180"/>
                  </a:lnTo>
                  <a:lnTo>
                    <a:pt x="736" y="178"/>
                  </a:lnTo>
                  <a:lnTo>
                    <a:pt x="736" y="178"/>
                  </a:lnTo>
                  <a:lnTo>
                    <a:pt x="738" y="178"/>
                  </a:lnTo>
                  <a:lnTo>
                    <a:pt x="738" y="176"/>
                  </a:lnTo>
                  <a:lnTo>
                    <a:pt x="738" y="176"/>
                  </a:lnTo>
                  <a:lnTo>
                    <a:pt x="738" y="176"/>
                  </a:lnTo>
                  <a:lnTo>
                    <a:pt x="738" y="174"/>
                  </a:lnTo>
                  <a:lnTo>
                    <a:pt x="738" y="174"/>
                  </a:lnTo>
                  <a:lnTo>
                    <a:pt x="738" y="172"/>
                  </a:lnTo>
                  <a:lnTo>
                    <a:pt x="738" y="172"/>
                  </a:lnTo>
                  <a:lnTo>
                    <a:pt x="738" y="172"/>
                  </a:lnTo>
                  <a:lnTo>
                    <a:pt x="742" y="172"/>
                  </a:lnTo>
                  <a:lnTo>
                    <a:pt x="742" y="172"/>
                  </a:lnTo>
                  <a:lnTo>
                    <a:pt x="742" y="170"/>
                  </a:lnTo>
                  <a:lnTo>
                    <a:pt x="744" y="168"/>
                  </a:lnTo>
                  <a:lnTo>
                    <a:pt x="746" y="166"/>
                  </a:lnTo>
                  <a:lnTo>
                    <a:pt x="748" y="166"/>
                  </a:lnTo>
                  <a:lnTo>
                    <a:pt x="752" y="166"/>
                  </a:lnTo>
                  <a:lnTo>
                    <a:pt x="752" y="166"/>
                  </a:lnTo>
                  <a:lnTo>
                    <a:pt x="754" y="166"/>
                  </a:lnTo>
                  <a:lnTo>
                    <a:pt x="758" y="166"/>
                  </a:lnTo>
                  <a:lnTo>
                    <a:pt x="760" y="166"/>
                  </a:lnTo>
                  <a:lnTo>
                    <a:pt x="760" y="168"/>
                  </a:lnTo>
                  <a:lnTo>
                    <a:pt x="758" y="170"/>
                  </a:lnTo>
                  <a:lnTo>
                    <a:pt x="758" y="170"/>
                  </a:lnTo>
                  <a:lnTo>
                    <a:pt x="758" y="170"/>
                  </a:lnTo>
                  <a:lnTo>
                    <a:pt x="758" y="172"/>
                  </a:lnTo>
                  <a:lnTo>
                    <a:pt x="758" y="172"/>
                  </a:lnTo>
                  <a:lnTo>
                    <a:pt x="758" y="172"/>
                  </a:lnTo>
                  <a:lnTo>
                    <a:pt x="758" y="174"/>
                  </a:lnTo>
                  <a:lnTo>
                    <a:pt x="758" y="176"/>
                  </a:lnTo>
                  <a:lnTo>
                    <a:pt x="758" y="176"/>
                  </a:lnTo>
                  <a:lnTo>
                    <a:pt x="758" y="176"/>
                  </a:lnTo>
                  <a:lnTo>
                    <a:pt x="760" y="178"/>
                  </a:lnTo>
                  <a:lnTo>
                    <a:pt x="760" y="178"/>
                  </a:lnTo>
                  <a:lnTo>
                    <a:pt x="760" y="178"/>
                  </a:lnTo>
                  <a:lnTo>
                    <a:pt x="762" y="180"/>
                  </a:lnTo>
                  <a:lnTo>
                    <a:pt x="762" y="180"/>
                  </a:lnTo>
                  <a:lnTo>
                    <a:pt x="764" y="180"/>
                  </a:lnTo>
                  <a:lnTo>
                    <a:pt x="768" y="180"/>
                  </a:lnTo>
                  <a:lnTo>
                    <a:pt x="768" y="180"/>
                  </a:lnTo>
                  <a:lnTo>
                    <a:pt x="770" y="180"/>
                  </a:lnTo>
                  <a:lnTo>
                    <a:pt x="772" y="178"/>
                  </a:lnTo>
                  <a:lnTo>
                    <a:pt x="776" y="176"/>
                  </a:lnTo>
                  <a:lnTo>
                    <a:pt x="780" y="174"/>
                  </a:lnTo>
                  <a:lnTo>
                    <a:pt x="784" y="174"/>
                  </a:lnTo>
                  <a:lnTo>
                    <a:pt x="790" y="174"/>
                  </a:lnTo>
                  <a:lnTo>
                    <a:pt x="796" y="174"/>
                  </a:lnTo>
                  <a:lnTo>
                    <a:pt x="798" y="176"/>
                  </a:lnTo>
                  <a:lnTo>
                    <a:pt x="798" y="176"/>
                  </a:lnTo>
                  <a:lnTo>
                    <a:pt x="796" y="178"/>
                  </a:lnTo>
                  <a:lnTo>
                    <a:pt x="794" y="178"/>
                  </a:lnTo>
                  <a:lnTo>
                    <a:pt x="790" y="180"/>
                  </a:lnTo>
                  <a:lnTo>
                    <a:pt x="788" y="180"/>
                  </a:lnTo>
                  <a:lnTo>
                    <a:pt x="788" y="180"/>
                  </a:lnTo>
                  <a:lnTo>
                    <a:pt x="788" y="180"/>
                  </a:lnTo>
                  <a:lnTo>
                    <a:pt x="780" y="184"/>
                  </a:lnTo>
                  <a:lnTo>
                    <a:pt x="770" y="188"/>
                  </a:lnTo>
                  <a:lnTo>
                    <a:pt x="770" y="188"/>
                  </a:lnTo>
                  <a:lnTo>
                    <a:pt x="768" y="190"/>
                  </a:lnTo>
                  <a:lnTo>
                    <a:pt x="768" y="194"/>
                  </a:lnTo>
                  <a:lnTo>
                    <a:pt x="768" y="196"/>
                  </a:lnTo>
                  <a:lnTo>
                    <a:pt x="768" y="198"/>
                  </a:lnTo>
                  <a:lnTo>
                    <a:pt x="768" y="200"/>
                  </a:lnTo>
                  <a:lnTo>
                    <a:pt x="768" y="200"/>
                  </a:lnTo>
                  <a:lnTo>
                    <a:pt x="766" y="200"/>
                  </a:lnTo>
                  <a:lnTo>
                    <a:pt x="766" y="202"/>
                  </a:lnTo>
                  <a:lnTo>
                    <a:pt x="764" y="202"/>
                  </a:lnTo>
                  <a:lnTo>
                    <a:pt x="762" y="202"/>
                  </a:lnTo>
                  <a:lnTo>
                    <a:pt x="758" y="202"/>
                  </a:lnTo>
                  <a:lnTo>
                    <a:pt x="758" y="202"/>
                  </a:lnTo>
                  <a:lnTo>
                    <a:pt x="758" y="204"/>
                  </a:lnTo>
                  <a:lnTo>
                    <a:pt x="756" y="206"/>
                  </a:lnTo>
                  <a:lnTo>
                    <a:pt x="754" y="208"/>
                  </a:lnTo>
                  <a:lnTo>
                    <a:pt x="752" y="210"/>
                  </a:lnTo>
                  <a:lnTo>
                    <a:pt x="752" y="210"/>
                  </a:lnTo>
                  <a:lnTo>
                    <a:pt x="752" y="210"/>
                  </a:lnTo>
                  <a:lnTo>
                    <a:pt x="752" y="212"/>
                  </a:lnTo>
                  <a:lnTo>
                    <a:pt x="752" y="212"/>
                  </a:lnTo>
                  <a:lnTo>
                    <a:pt x="752" y="212"/>
                  </a:lnTo>
                  <a:lnTo>
                    <a:pt x="750" y="214"/>
                  </a:lnTo>
                  <a:lnTo>
                    <a:pt x="750" y="214"/>
                  </a:lnTo>
                  <a:lnTo>
                    <a:pt x="750" y="214"/>
                  </a:lnTo>
                  <a:lnTo>
                    <a:pt x="750" y="216"/>
                  </a:lnTo>
                  <a:lnTo>
                    <a:pt x="750" y="216"/>
                  </a:lnTo>
                  <a:lnTo>
                    <a:pt x="750" y="216"/>
                  </a:lnTo>
                  <a:lnTo>
                    <a:pt x="752" y="218"/>
                  </a:lnTo>
                  <a:lnTo>
                    <a:pt x="752" y="222"/>
                  </a:lnTo>
                  <a:lnTo>
                    <a:pt x="752" y="222"/>
                  </a:lnTo>
                  <a:lnTo>
                    <a:pt x="754" y="224"/>
                  </a:lnTo>
                  <a:lnTo>
                    <a:pt x="754" y="224"/>
                  </a:lnTo>
                  <a:lnTo>
                    <a:pt x="756" y="224"/>
                  </a:lnTo>
                  <a:lnTo>
                    <a:pt x="758" y="222"/>
                  </a:lnTo>
                  <a:lnTo>
                    <a:pt x="760" y="222"/>
                  </a:lnTo>
                  <a:lnTo>
                    <a:pt x="760" y="222"/>
                  </a:lnTo>
                  <a:lnTo>
                    <a:pt x="762" y="222"/>
                  </a:lnTo>
                  <a:lnTo>
                    <a:pt x="766" y="224"/>
                  </a:lnTo>
                  <a:lnTo>
                    <a:pt x="768" y="226"/>
                  </a:lnTo>
                  <a:lnTo>
                    <a:pt x="768" y="226"/>
                  </a:lnTo>
                  <a:lnTo>
                    <a:pt x="770" y="226"/>
                  </a:lnTo>
                  <a:lnTo>
                    <a:pt x="770" y="226"/>
                  </a:lnTo>
                  <a:lnTo>
                    <a:pt x="770" y="226"/>
                  </a:lnTo>
                  <a:lnTo>
                    <a:pt x="768" y="230"/>
                  </a:lnTo>
                  <a:lnTo>
                    <a:pt x="770" y="236"/>
                  </a:lnTo>
                  <a:lnTo>
                    <a:pt x="772" y="244"/>
                  </a:lnTo>
                  <a:lnTo>
                    <a:pt x="772" y="244"/>
                  </a:lnTo>
                  <a:lnTo>
                    <a:pt x="774" y="244"/>
                  </a:lnTo>
                  <a:lnTo>
                    <a:pt x="774" y="246"/>
                  </a:lnTo>
                  <a:lnTo>
                    <a:pt x="774" y="246"/>
                  </a:lnTo>
                  <a:lnTo>
                    <a:pt x="776" y="248"/>
                  </a:lnTo>
                  <a:lnTo>
                    <a:pt x="778" y="250"/>
                  </a:lnTo>
                  <a:lnTo>
                    <a:pt x="778" y="250"/>
                  </a:lnTo>
                  <a:lnTo>
                    <a:pt x="778" y="250"/>
                  </a:lnTo>
                  <a:lnTo>
                    <a:pt x="780" y="252"/>
                  </a:lnTo>
                  <a:lnTo>
                    <a:pt x="780" y="252"/>
                  </a:lnTo>
                  <a:lnTo>
                    <a:pt x="780" y="252"/>
                  </a:lnTo>
                  <a:lnTo>
                    <a:pt x="784" y="254"/>
                  </a:lnTo>
                  <a:lnTo>
                    <a:pt x="786" y="256"/>
                  </a:lnTo>
                  <a:lnTo>
                    <a:pt x="786" y="256"/>
                  </a:lnTo>
                  <a:lnTo>
                    <a:pt x="786" y="256"/>
                  </a:lnTo>
                  <a:lnTo>
                    <a:pt x="788" y="258"/>
                  </a:lnTo>
                  <a:lnTo>
                    <a:pt x="788" y="258"/>
                  </a:lnTo>
                  <a:lnTo>
                    <a:pt x="788" y="258"/>
                  </a:lnTo>
                  <a:lnTo>
                    <a:pt x="790" y="258"/>
                  </a:lnTo>
                  <a:lnTo>
                    <a:pt x="790" y="258"/>
                  </a:lnTo>
                  <a:lnTo>
                    <a:pt x="792" y="258"/>
                  </a:lnTo>
                  <a:lnTo>
                    <a:pt x="794" y="260"/>
                  </a:lnTo>
                  <a:lnTo>
                    <a:pt x="794" y="260"/>
                  </a:lnTo>
                  <a:lnTo>
                    <a:pt x="794" y="258"/>
                  </a:lnTo>
                  <a:lnTo>
                    <a:pt x="796" y="258"/>
                  </a:lnTo>
                  <a:lnTo>
                    <a:pt x="796" y="258"/>
                  </a:lnTo>
                  <a:lnTo>
                    <a:pt x="796" y="258"/>
                  </a:lnTo>
                  <a:lnTo>
                    <a:pt x="798" y="256"/>
                  </a:lnTo>
                  <a:lnTo>
                    <a:pt x="798" y="256"/>
                  </a:lnTo>
                  <a:lnTo>
                    <a:pt x="800" y="256"/>
                  </a:lnTo>
                  <a:lnTo>
                    <a:pt x="802" y="254"/>
                  </a:lnTo>
                  <a:lnTo>
                    <a:pt x="802" y="252"/>
                  </a:lnTo>
                  <a:lnTo>
                    <a:pt x="804" y="254"/>
                  </a:lnTo>
                  <a:lnTo>
                    <a:pt x="804" y="254"/>
                  </a:lnTo>
                  <a:lnTo>
                    <a:pt x="806" y="254"/>
                  </a:lnTo>
                  <a:lnTo>
                    <a:pt x="806" y="254"/>
                  </a:lnTo>
                  <a:lnTo>
                    <a:pt x="808" y="256"/>
                  </a:lnTo>
                  <a:lnTo>
                    <a:pt x="808" y="256"/>
                  </a:lnTo>
                  <a:lnTo>
                    <a:pt x="808" y="258"/>
                  </a:lnTo>
                  <a:lnTo>
                    <a:pt x="810" y="260"/>
                  </a:lnTo>
                  <a:lnTo>
                    <a:pt x="812" y="268"/>
                  </a:lnTo>
                  <a:lnTo>
                    <a:pt x="814" y="276"/>
                  </a:lnTo>
                  <a:lnTo>
                    <a:pt x="814" y="276"/>
                  </a:lnTo>
                  <a:lnTo>
                    <a:pt x="816" y="278"/>
                  </a:lnTo>
                  <a:lnTo>
                    <a:pt x="816" y="278"/>
                  </a:lnTo>
                  <a:lnTo>
                    <a:pt x="818" y="276"/>
                  </a:lnTo>
                  <a:lnTo>
                    <a:pt x="820" y="274"/>
                  </a:lnTo>
                  <a:lnTo>
                    <a:pt x="820" y="274"/>
                  </a:lnTo>
                  <a:lnTo>
                    <a:pt x="824" y="272"/>
                  </a:lnTo>
                  <a:lnTo>
                    <a:pt x="826" y="270"/>
                  </a:lnTo>
                  <a:lnTo>
                    <a:pt x="828" y="270"/>
                  </a:lnTo>
                  <a:lnTo>
                    <a:pt x="832" y="272"/>
                  </a:lnTo>
                  <a:lnTo>
                    <a:pt x="836" y="272"/>
                  </a:lnTo>
                  <a:lnTo>
                    <a:pt x="840" y="274"/>
                  </a:lnTo>
                  <a:lnTo>
                    <a:pt x="844" y="274"/>
                  </a:lnTo>
                  <a:lnTo>
                    <a:pt x="844" y="274"/>
                  </a:lnTo>
                  <a:lnTo>
                    <a:pt x="846" y="274"/>
                  </a:lnTo>
                  <a:lnTo>
                    <a:pt x="850" y="274"/>
                  </a:lnTo>
                  <a:lnTo>
                    <a:pt x="852" y="274"/>
                  </a:lnTo>
                  <a:lnTo>
                    <a:pt x="856" y="272"/>
                  </a:lnTo>
                  <a:lnTo>
                    <a:pt x="856" y="272"/>
                  </a:lnTo>
                  <a:lnTo>
                    <a:pt x="856" y="272"/>
                  </a:lnTo>
                  <a:lnTo>
                    <a:pt x="858" y="272"/>
                  </a:lnTo>
                  <a:lnTo>
                    <a:pt x="858" y="272"/>
                  </a:lnTo>
                  <a:lnTo>
                    <a:pt x="858" y="270"/>
                  </a:lnTo>
                  <a:lnTo>
                    <a:pt x="860" y="270"/>
                  </a:lnTo>
                  <a:lnTo>
                    <a:pt x="860" y="270"/>
                  </a:lnTo>
                  <a:lnTo>
                    <a:pt x="860" y="270"/>
                  </a:lnTo>
                  <a:lnTo>
                    <a:pt x="860" y="268"/>
                  </a:lnTo>
                  <a:lnTo>
                    <a:pt x="860" y="268"/>
                  </a:lnTo>
                  <a:lnTo>
                    <a:pt x="862" y="268"/>
                  </a:lnTo>
                  <a:lnTo>
                    <a:pt x="862" y="266"/>
                  </a:lnTo>
                  <a:lnTo>
                    <a:pt x="862" y="266"/>
                  </a:lnTo>
                  <a:lnTo>
                    <a:pt x="862" y="266"/>
                  </a:lnTo>
                  <a:lnTo>
                    <a:pt x="862" y="264"/>
                  </a:lnTo>
                  <a:lnTo>
                    <a:pt x="862" y="264"/>
                  </a:lnTo>
                  <a:lnTo>
                    <a:pt x="862" y="264"/>
                  </a:lnTo>
                  <a:lnTo>
                    <a:pt x="862" y="260"/>
                  </a:lnTo>
                  <a:lnTo>
                    <a:pt x="862" y="260"/>
                  </a:lnTo>
                  <a:lnTo>
                    <a:pt x="862" y="260"/>
                  </a:lnTo>
                  <a:lnTo>
                    <a:pt x="860" y="256"/>
                  </a:lnTo>
                  <a:lnTo>
                    <a:pt x="856" y="250"/>
                  </a:lnTo>
                  <a:lnTo>
                    <a:pt x="854" y="248"/>
                  </a:lnTo>
                  <a:lnTo>
                    <a:pt x="856" y="248"/>
                  </a:lnTo>
                  <a:lnTo>
                    <a:pt x="856" y="246"/>
                  </a:lnTo>
                  <a:lnTo>
                    <a:pt x="858" y="244"/>
                  </a:lnTo>
                  <a:lnTo>
                    <a:pt x="860" y="244"/>
                  </a:lnTo>
                  <a:lnTo>
                    <a:pt x="862" y="244"/>
                  </a:lnTo>
                  <a:lnTo>
                    <a:pt x="866" y="244"/>
                  </a:lnTo>
                  <a:lnTo>
                    <a:pt x="870" y="244"/>
                  </a:lnTo>
                  <a:lnTo>
                    <a:pt x="874" y="244"/>
                  </a:lnTo>
                  <a:lnTo>
                    <a:pt x="878" y="244"/>
                  </a:lnTo>
                  <a:lnTo>
                    <a:pt x="876" y="246"/>
                  </a:lnTo>
                  <a:lnTo>
                    <a:pt x="874" y="250"/>
                  </a:lnTo>
                  <a:lnTo>
                    <a:pt x="870" y="252"/>
                  </a:lnTo>
                  <a:lnTo>
                    <a:pt x="870" y="254"/>
                  </a:lnTo>
                  <a:lnTo>
                    <a:pt x="868" y="254"/>
                  </a:lnTo>
                  <a:lnTo>
                    <a:pt x="868" y="256"/>
                  </a:lnTo>
                  <a:lnTo>
                    <a:pt x="868" y="256"/>
                  </a:lnTo>
                  <a:lnTo>
                    <a:pt x="868" y="256"/>
                  </a:lnTo>
                  <a:lnTo>
                    <a:pt x="866" y="256"/>
                  </a:lnTo>
                  <a:lnTo>
                    <a:pt x="866" y="256"/>
                  </a:lnTo>
                  <a:lnTo>
                    <a:pt x="866" y="258"/>
                  </a:lnTo>
                  <a:lnTo>
                    <a:pt x="868" y="260"/>
                  </a:lnTo>
                  <a:lnTo>
                    <a:pt x="868" y="260"/>
                  </a:lnTo>
                  <a:lnTo>
                    <a:pt x="868" y="260"/>
                  </a:lnTo>
                  <a:lnTo>
                    <a:pt x="870" y="260"/>
                  </a:lnTo>
                  <a:lnTo>
                    <a:pt x="872" y="260"/>
                  </a:lnTo>
                  <a:lnTo>
                    <a:pt x="874" y="260"/>
                  </a:lnTo>
                  <a:lnTo>
                    <a:pt x="876" y="260"/>
                  </a:lnTo>
                  <a:lnTo>
                    <a:pt x="880" y="260"/>
                  </a:lnTo>
                  <a:lnTo>
                    <a:pt x="884" y="260"/>
                  </a:lnTo>
                  <a:lnTo>
                    <a:pt x="884" y="260"/>
                  </a:lnTo>
                  <a:lnTo>
                    <a:pt x="886" y="258"/>
                  </a:lnTo>
                  <a:lnTo>
                    <a:pt x="888" y="256"/>
                  </a:lnTo>
                  <a:lnTo>
                    <a:pt x="888" y="254"/>
                  </a:lnTo>
                  <a:lnTo>
                    <a:pt x="890" y="252"/>
                  </a:lnTo>
                  <a:lnTo>
                    <a:pt x="890" y="252"/>
                  </a:lnTo>
                  <a:lnTo>
                    <a:pt x="890" y="252"/>
                  </a:lnTo>
                  <a:lnTo>
                    <a:pt x="892" y="250"/>
                  </a:lnTo>
                  <a:lnTo>
                    <a:pt x="894" y="250"/>
                  </a:lnTo>
                  <a:lnTo>
                    <a:pt x="896" y="250"/>
                  </a:lnTo>
                  <a:lnTo>
                    <a:pt x="896" y="250"/>
                  </a:lnTo>
                  <a:lnTo>
                    <a:pt x="898" y="250"/>
                  </a:lnTo>
                  <a:lnTo>
                    <a:pt x="902" y="246"/>
                  </a:lnTo>
                  <a:lnTo>
                    <a:pt x="906" y="242"/>
                  </a:lnTo>
                  <a:lnTo>
                    <a:pt x="910" y="238"/>
                  </a:lnTo>
                  <a:lnTo>
                    <a:pt x="912" y="236"/>
                  </a:lnTo>
                  <a:lnTo>
                    <a:pt x="914" y="234"/>
                  </a:lnTo>
                  <a:lnTo>
                    <a:pt x="914" y="234"/>
                  </a:lnTo>
                  <a:lnTo>
                    <a:pt x="914" y="232"/>
                  </a:lnTo>
                  <a:lnTo>
                    <a:pt x="914" y="230"/>
                  </a:lnTo>
                  <a:lnTo>
                    <a:pt x="916" y="228"/>
                  </a:lnTo>
                  <a:lnTo>
                    <a:pt x="916" y="224"/>
                  </a:lnTo>
                  <a:lnTo>
                    <a:pt x="918" y="222"/>
                  </a:lnTo>
                  <a:lnTo>
                    <a:pt x="918" y="220"/>
                  </a:lnTo>
                  <a:lnTo>
                    <a:pt x="920" y="216"/>
                  </a:lnTo>
                  <a:lnTo>
                    <a:pt x="920" y="216"/>
                  </a:lnTo>
                  <a:lnTo>
                    <a:pt x="920" y="216"/>
                  </a:lnTo>
                  <a:lnTo>
                    <a:pt x="920" y="214"/>
                  </a:lnTo>
                  <a:lnTo>
                    <a:pt x="920" y="214"/>
                  </a:lnTo>
                  <a:lnTo>
                    <a:pt x="920" y="212"/>
                  </a:lnTo>
                  <a:lnTo>
                    <a:pt x="920" y="210"/>
                  </a:lnTo>
                  <a:lnTo>
                    <a:pt x="920" y="210"/>
                  </a:lnTo>
                  <a:lnTo>
                    <a:pt x="920" y="210"/>
                  </a:lnTo>
                  <a:lnTo>
                    <a:pt x="922" y="212"/>
                  </a:lnTo>
                  <a:lnTo>
                    <a:pt x="922" y="212"/>
                  </a:lnTo>
                  <a:lnTo>
                    <a:pt x="924" y="212"/>
                  </a:lnTo>
                  <a:lnTo>
                    <a:pt x="924" y="212"/>
                  </a:lnTo>
                  <a:lnTo>
                    <a:pt x="924" y="212"/>
                  </a:lnTo>
                  <a:lnTo>
                    <a:pt x="926" y="212"/>
                  </a:lnTo>
                  <a:lnTo>
                    <a:pt x="928" y="212"/>
                  </a:lnTo>
                  <a:lnTo>
                    <a:pt x="928" y="212"/>
                  </a:lnTo>
                  <a:lnTo>
                    <a:pt x="928" y="212"/>
                  </a:lnTo>
                  <a:lnTo>
                    <a:pt x="930" y="212"/>
                  </a:lnTo>
                  <a:lnTo>
                    <a:pt x="930" y="212"/>
                  </a:lnTo>
                  <a:lnTo>
                    <a:pt x="930" y="212"/>
                  </a:lnTo>
                  <a:lnTo>
                    <a:pt x="932" y="210"/>
                  </a:lnTo>
                  <a:lnTo>
                    <a:pt x="932" y="210"/>
                  </a:lnTo>
                  <a:lnTo>
                    <a:pt x="932" y="210"/>
                  </a:lnTo>
                  <a:lnTo>
                    <a:pt x="936" y="208"/>
                  </a:lnTo>
                  <a:lnTo>
                    <a:pt x="936" y="208"/>
                  </a:lnTo>
                  <a:lnTo>
                    <a:pt x="936" y="208"/>
                  </a:lnTo>
                  <a:lnTo>
                    <a:pt x="938" y="202"/>
                  </a:lnTo>
                  <a:lnTo>
                    <a:pt x="942" y="196"/>
                  </a:lnTo>
                  <a:lnTo>
                    <a:pt x="946" y="192"/>
                  </a:lnTo>
                  <a:lnTo>
                    <a:pt x="948" y="190"/>
                  </a:lnTo>
                  <a:lnTo>
                    <a:pt x="948" y="190"/>
                  </a:lnTo>
                  <a:lnTo>
                    <a:pt x="950" y="190"/>
                  </a:lnTo>
                  <a:lnTo>
                    <a:pt x="950" y="192"/>
                  </a:lnTo>
                  <a:lnTo>
                    <a:pt x="952" y="194"/>
                  </a:lnTo>
                  <a:lnTo>
                    <a:pt x="952" y="194"/>
                  </a:lnTo>
                  <a:lnTo>
                    <a:pt x="950" y="196"/>
                  </a:lnTo>
                  <a:lnTo>
                    <a:pt x="950" y="200"/>
                  </a:lnTo>
                  <a:lnTo>
                    <a:pt x="950" y="200"/>
                  </a:lnTo>
                  <a:lnTo>
                    <a:pt x="948" y="202"/>
                  </a:lnTo>
                  <a:lnTo>
                    <a:pt x="946" y="204"/>
                  </a:lnTo>
                  <a:lnTo>
                    <a:pt x="944" y="204"/>
                  </a:lnTo>
                  <a:lnTo>
                    <a:pt x="942" y="206"/>
                  </a:lnTo>
                  <a:lnTo>
                    <a:pt x="940" y="208"/>
                  </a:lnTo>
                  <a:lnTo>
                    <a:pt x="940" y="208"/>
                  </a:lnTo>
                  <a:lnTo>
                    <a:pt x="940" y="208"/>
                  </a:lnTo>
                  <a:lnTo>
                    <a:pt x="938" y="210"/>
                  </a:lnTo>
                  <a:lnTo>
                    <a:pt x="936" y="212"/>
                  </a:lnTo>
                  <a:lnTo>
                    <a:pt x="934" y="214"/>
                  </a:lnTo>
                  <a:lnTo>
                    <a:pt x="928" y="218"/>
                  </a:lnTo>
                  <a:lnTo>
                    <a:pt x="928" y="220"/>
                  </a:lnTo>
                  <a:lnTo>
                    <a:pt x="926" y="220"/>
                  </a:lnTo>
                  <a:lnTo>
                    <a:pt x="924" y="222"/>
                  </a:lnTo>
                  <a:lnTo>
                    <a:pt x="924" y="222"/>
                  </a:lnTo>
                  <a:lnTo>
                    <a:pt x="924" y="222"/>
                  </a:lnTo>
                  <a:lnTo>
                    <a:pt x="924" y="224"/>
                  </a:lnTo>
                  <a:lnTo>
                    <a:pt x="922" y="226"/>
                  </a:lnTo>
                  <a:lnTo>
                    <a:pt x="922" y="226"/>
                  </a:lnTo>
                  <a:lnTo>
                    <a:pt x="922" y="226"/>
                  </a:lnTo>
                  <a:lnTo>
                    <a:pt x="922" y="228"/>
                  </a:lnTo>
                  <a:lnTo>
                    <a:pt x="922" y="228"/>
                  </a:lnTo>
                  <a:lnTo>
                    <a:pt x="922" y="228"/>
                  </a:lnTo>
                  <a:lnTo>
                    <a:pt x="922" y="230"/>
                  </a:lnTo>
                  <a:lnTo>
                    <a:pt x="922" y="230"/>
                  </a:lnTo>
                  <a:lnTo>
                    <a:pt x="922" y="232"/>
                  </a:lnTo>
                  <a:lnTo>
                    <a:pt x="922" y="232"/>
                  </a:lnTo>
                  <a:lnTo>
                    <a:pt x="922" y="232"/>
                  </a:lnTo>
                  <a:lnTo>
                    <a:pt x="924" y="234"/>
                  </a:lnTo>
                  <a:lnTo>
                    <a:pt x="924" y="234"/>
                  </a:lnTo>
                  <a:lnTo>
                    <a:pt x="924" y="234"/>
                  </a:lnTo>
                  <a:lnTo>
                    <a:pt x="926" y="234"/>
                  </a:lnTo>
                  <a:lnTo>
                    <a:pt x="926" y="236"/>
                  </a:lnTo>
                  <a:lnTo>
                    <a:pt x="926" y="236"/>
                  </a:lnTo>
                  <a:lnTo>
                    <a:pt x="928" y="236"/>
                  </a:lnTo>
                  <a:lnTo>
                    <a:pt x="930" y="236"/>
                  </a:lnTo>
                  <a:lnTo>
                    <a:pt x="930" y="236"/>
                  </a:lnTo>
                  <a:lnTo>
                    <a:pt x="930" y="236"/>
                  </a:lnTo>
                  <a:lnTo>
                    <a:pt x="932" y="236"/>
                  </a:lnTo>
                  <a:lnTo>
                    <a:pt x="932" y="236"/>
                  </a:lnTo>
                  <a:lnTo>
                    <a:pt x="934" y="234"/>
                  </a:lnTo>
                  <a:lnTo>
                    <a:pt x="936" y="232"/>
                  </a:lnTo>
                  <a:lnTo>
                    <a:pt x="938" y="232"/>
                  </a:lnTo>
                  <a:lnTo>
                    <a:pt x="940" y="230"/>
                  </a:lnTo>
                  <a:lnTo>
                    <a:pt x="942" y="230"/>
                  </a:lnTo>
                  <a:lnTo>
                    <a:pt x="944" y="230"/>
                  </a:lnTo>
                  <a:lnTo>
                    <a:pt x="946" y="230"/>
                  </a:lnTo>
                  <a:lnTo>
                    <a:pt x="950" y="232"/>
                  </a:lnTo>
                  <a:lnTo>
                    <a:pt x="950" y="232"/>
                  </a:lnTo>
                  <a:lnTo>
                    <a:pt x="950" y="232"/>
                  </a:lnTo>
                  <a:lnTo>
                    <a:pt x="948" y="234"/>
                  </a:lnTo>
                  <a:lnTo>
                    <a:pt x="946" y="236"/>
                  </a:lnTo>
                  <a:lnTo>
                    <a:pt x="944" y="236"/>
                  </a:lnTo>
                  <a:lnTo>
                    <a:pt x="942" y="238"/>
                  </a:lnTo>
                  <a:lnTo>
                    <a:pt x="938" y="238"/>
                  </a:lnTo>
                  <a:lnTo>
                    <a:pt x="934" y="238"/>
                  </a:lnTo>
                  <a:lnTo>
                    <a:pt x="930" y="240"/>
                  </a:lnTo>
                  <a:lnTo>
                    <a:pt x="930" y="240"/>
                  </a:lnTo>
                  <a:lnTo>
                    <a:pt x="928" y="240"/>
                  </a:lnTo>
                  <a:lnTo>
                    <a:pt x="926" y="240"/>
                  </a:lnTo>
                  <a:lnTo>
                    <a:pt x="924" y="242"/>
                  </a:lnTo>
                  <a:lnTo>
                    <a:pt x="922" y="244"/>
                  </a:lnTo>
                  <a:lnTo>
                    <a:pt x="922" y="244"/>
                  </a:lnTo>
                  <a:lnTo>
                    <a:pt x="922" y="244"/>
                  </a:lnTo>
                  <a:lnTo>
                    <a:pt x="920" y="246"/>
                  </a:lnTo>
                  <a:lnTo>
                    <a:pt x="920" y="246"/>
                  </a:lnTo>
                  <a:lnTo>
                    <a:pt x="918" y="246"/>
                  </a:lnTo>
                  <a:lnTo>
                    <a:pt x="918" y="248"/>
                  </a:lnTo>
                  <a:lnTo>
                    <a:pt x="918" y="248"/>
                  </a:lnTo>
                  <a:lnTo>
                    <a:pt x="918" y="248"/>
                  </a:lnTo>
                  <a:lnTo>
                    <a:pt x="918" y="250"/>
                  </a:lnTo>
                  <a:lnTo>
                    <a:pt x="918" y="252"/>
                  </a:lnTo>
                  <a:lnTo>
                    <a:pt x="918" y="252"/>
                  </a:lnTo>
                  <a:lnTo>
                    <a:pt x="918" y="252"/>
                  </a:lnTo>
                  <a:lnTo>
                    <a:pt x="918" y="252"/>
                  </a:lnTo>
                  <a:lnTo>
                    <a:pt x="918" y="254"/>
                  </a:lnTo>
                  <a:lnTo>
                    <a:pt x="920" y="256"/>
                  </a:lnTo>
                  <a:lnTo>
                    <a:pt x="924" y="256"/>
                  </a:lnTo>
                  <a:lnTo>
                    <a:pt x="928" y="258"/>
                  </a:lnTo>
                  <a:lnTo>
                    <a:pt x="932" y="258"/>
                  </a:lnTo>
                  <a:lnTo>
                    <a:pt x="932" y="258"/>
                  </a:lnTo>
                  <a:lnTo>
                    <a:pt x="928" y="262"/>
                  </a:lnTo>
                  <a:lnTo>
                    <a:pt x="922" y="264"/>
                  </a:lnTo>
                  <a:lnTo>
                    <a:pt x="918" y="264"/>
                  </a:lnTo>
                  <a:lnTo>
                    <a:pt x="912" y="266"/>
                  </a:lnTo>
                  <a:lnTo>
                    <a:pt x="906" y="266"/>
                  </a:lnTo>
                  <a:lnTo>
                    <a:pt x="900" y="268"/>
                  </a:lnTo>
                  <a:lnTo>
                    <a:pt x="894" y="268"/>
                  </a:lnTo>
                  <a:lnTo>
                    <a:pt x="894" y="268"/>
                  </a:lnTo>
                  <a:lnTo>
                    <a:pt x="892" y="268"/>
                  </a:lnTo>
                  <a:lnTo>
                    <a:pt x="890" y="272"/>
                  </a:lnTo>
                  <a:lnTo>
                    <a:pt x="886" y="272"/>
                  </a:lnTo>
                  <a:lnTo>
                    <a:pt x="882" y="274"/>
                  </a:lnTo>
                  <a:lnTo>
                    <a:pt x="878" y="274"/>
                  </a:lnTo>
                  <a:lnTo>
                    <a:pt x="878" y="274"/>
                  </a:lnTo>
                  <a:lnTo>
                    <a:pt x="878" y="274"/>
                  </a:lnTo>
                  <a:lnTo>
                    <a:pt x="876" y="276"/>
                  </a:lnTo>
                  <a:lnTo>
                    <a:pt x="874" y="276"/>
                  </a:lnTo>
                  <a:lnTo>
                    <a:pt x="870" y="278"/>
                  </a:lnTo>
                  <a:lnTo>
                    <a:pt x="866" y="280"/>
                  </a:lnTo>
                  <a:lnTo>
                    <a:pt x="864" y="282"/>
                  </a:lnTo>
                  <a:lnTo>
                    <a:pt x="862" y="282"/>
                  </a:lnTo>
                  <a:lnTo>
                    <a:pt x="862" y="282"/>
                  </a:lnTo>
                  <a:lnTo>
                    <a:pt x="860" y="284"/>
                  </a:lnTo>
                  <a:lnTo>
                    <a:pt x="860" y="284"/>
                  </a:lnTo>
                  <a:lnTo>
                    <a:pt x="860" y="286"/>
                  </a:lnTo>
                  <a:lnTo>
                    <a:pt x="864" y="292"/>
                  </a:lnTo>
                  <a:lnTo>
                    <a:pt x="868" y="296"/>
                  </a:lnTo>
                  <a:lnTo>
                    <a:pt x="870" y="300"/>
                  </a:lnTo>
                  <a:lnTo>
                    <a:pt x="872" y="304"/>
                  </a:lnTo>
                  <a:lnTo>
                    <a:pt x="872" y="306"/>
                  </a:lnTo>
                  <a:lnTo>
                    <a:pt x="872" y="306"/>
                  </a:lnTo>
                  <a:lnTo>
                    <a:pt x="872" y="308"/>
                  </a:lnTo>
                  <a:lnTo>
                    <a:pt x="872" y="308"/>
                  </a:lnTo>
                  <a:lnTo>
                    <a:pt x="874" y="308"/>
                  </a:lnTo>
                  <a:lnTo>
                    <a:pt x="874" y="310"/>
                  </a:lnTo>
                  <a:lnTo>
                    <a:pt x="874" y="310"/>
                  </a:lnTo>
                  <a:lnTo>
                    <a:pt x="874" y="310"/>
                  </a:lnTo>
                  <a:lnTo>
                    <a:pt x="876" y="312"/>
                  </a:lnTo>
                  <a:lnTo>
                    <a:pt x="876" y="312"/>
                  </a:lnTo>
                  <a:lnTo>
                    <a:pt x="876" y="312"/>
                  </a:lnTo>
                  <a:lnTo>
                    <a:pt x="878" y="312"/>
                  </a:lnTo>
                  <a:lnTo>
                    <a:pt x="878" y="312"/>
                  </a:lnTo>
                  <a:lnTo>
                    <a:pt x="880" y="318"/>
                  </a:lnTo>
                  <a:lnTo>
                    <a:pt x="880" y="322"/>
                  </a:lnTo>
                  <a:lnTo>
                    <a:pt x="880" y="326"/>
                  </a:lnTo>
                  <a:lnTo>
                    <a:pt x="880" y="330"/>
                  </a:lnTo>
                  <a:lnTo>
                    <a:pt x="880" y="330"/>
                  </a:lnTo>
                  <a:lnTo>
                    <a:pt x="876" y="326"/>
                  </a:lnTo>
                  <a:lnTo>
                    <a:pt x="874" y="322"/>
                  </a:lnTo>
                  <a:lnTo>
                    <a:pt x="870" y="318"/>
                  </a:lnTo>
                  <a:lnTo>
                    <a:pt x="870" y="318"/>
                  </a:lnTo>
                  <a:lnTo>
                    <a:pt x="870" y="318"/>
                  </a:lnTo>
                  <a:lnTo>
                    <a:pt x="866" y="316"/>
                  </a:lnTo>
                  <a:lnTo>
                    <a:pt x="862" y="312"/>
                  </a:lnTo>
                  <a:lnTo>
                    <a:pt x="858" y="308"/>
                  </a:lnTo>
                  <a:lnTo>
                    <a:pt x="850" y="300"/>
                  </a:lnTo>
                  <a:lnTo>
                    <a:pt x="840" y="292"/>
                  </a:lnTo>
                  <a:lnTo>
                    <a:pt x="830" y="286"/>
                  </a:lnTo>
                  <a:lnTo>
                    <a:pt x="830" y="286"/>
                  </a:lnTo>
                  <a:lnTo>
                    <a:pt x="828" y="286"/>
                  </a:lnTo>
                  <a:lnTo>
                    <a:pt x="824" y="286"/>
                  </a:lnTo>
                  <a:lnTo>
                    <a:pt x="822" y="286"/>
                  </a:lnTo>
                  <a:lnTo>
                    <a:pt x="820" y="286"/>
                  </a:lnTo>
                  <a:lnTo>
                    <a:pt x="818" y="286"/>
                  </a:lnTo>
                  <a:lnTo>
                    <a:pt x="816" y="288"/>
                  </a:lnTo>
                  <a:lnTo>
                    <a:pt x="816" y="288"/>
                  </a:lnTo>
                  <a:lnTo>
                    <a:pt x="814" y="288"/>
                  </a:lnTo>
                  <a:lnTo>
                    <a:pt x="814" y="288"/>
                  </a:lnTo>
                  <a:lnTo>
                    <a:pt x="814" y="288"/>
                  </a:lnTo>
                  <a:lnTo>
                    <a:pt x="812" y="290"/>
                  </a:lnTo>
                  <a:lnTo>
                    <a:pt x="812" y="292"/>
                  </a:lnTo>
                  <a:lnTo>
                    <a:pt x="812" y="292"/>
                  </a:lnTo>
                  <a:lnTo>
                    <a:pt x="810" y="292"/>
                  </a:lnTo>
                  <a:lnTo>
                    <a:pt x="810" y="296"/>
                  </a:lnTo>
                  <a:lnTo>
                    <a:pt x="810" y="296"/>
                  </a:lnTo>
                  <a:lnTo>
                    <a:pt x="810" y="296"/>
                  </a:lnTo>
                  <a:lnTo>
                    <a:pt x="810" y="300"/>
                  </a:lnTo>
                  <a:lnTo>
                    <a:pt x="810" y="302"/>
                  </a:lnTo>
                  <a:lnTo>
                    <a:pt x="810" y="304"/>
                  </a:lnTo>
                  <a:lnTo>
                    <a:pt x="808" y="304"/>
                  </a:lnTo>
                  <a:lnTo>
                    <a:pt x="804" y="298"/>
                  </a:lnTo>
                  <a:lnTo>
                    <a:pt x="800" y="294"/>
                  </a:lnTo>
                  <a:lnTo>
                    <a:pt x="798" y="292"/>
                  </a:lnTo>
                  <a:lnTo>
                    <a:pt x="794" y="288"/>
                  </a:lnTo>
                  <a:lnTo>
                    <a:pt x="790" y="288"/>
                  </a:lnTo>
                  <a:lnTo>
                    <a:pt x="790" y="284"/>
                  </a:lnTo>
                  <a:lnTo>
                    <a:pt x="788" y="282"/>
                  </a:lnTo>
                  <a:lnTo>
                    <a:pt x="786" y="278"/>
                  </a:lnTo>
                  <a:lnTo>
                    <a:pt x="786" y="278"/>
                  </a:lnTo>
                  <a:lnTo>
                    <a:pt x="786" y="276"/>
                  </a:lnTo>
                  <a:lnTo>
                    <a:pt x="784" y="276"/>
                  </a:lnTo>
                  <a:lnTo>
                    <a:pt x="784" y="276"/>
                  </a:lnTo>
                  <a:lnTo>
                    <a:pt x="784" y="274"/>
                  </a:lnTo>
                  <a:lnTo>
                    <a:pt x="782" y="274"/>
                  </a:lnTo>
                  <a:lnTo>
                    <a:pt x="782" y="274"/>
                  </a:lnTo>
                  <a:lnTo>
                    <a:pt x="782" y="272"/>
                  </a:lnTo>
                  <a:lnTo>
                    <a:pt x="778" y="272"/>
                  </a:lnTo>
                  <a:lnTo>
                    <a:pt x="778" y="272"/>
                  </a:lnTo>
                  <a:lnTo>
                    <a:pt x="778" y="272"/>
                  </a:lnTo>
                  <a:lnTo>
                    <a:pt x="776" y="270"/>
                  </a:lnTo>
                  <a:lnTo>
                    <a:pt x="774" y="268"/>
                  </a:lnTo>
                  <a:lnTo>
                    <a:pt x="770" y="264"/>
                  </a:lnTo>
                  <a:lnTo>
                    <a:pt x="766" y="260"/>
                  </a:lnTo>
                  <a:lnTo>
                    <a:pt x="762" y="256"/>
                  </a:lnTo>
                  <a:lnTo>
                    <a:pt x="756" y="250"/>
                  </a:lnTo>
                  <a:lnTo>
                    <a:pt x="752" y="244"/>
                  </a:lnTo>
                  <a:lnTo>
                    <a:pt x="746" y="236"/>
                  </a:lnTo>
                  <a:lnTo>
                    <a:pt x="740" y="232"/>
                  </a:lnTo>
                  <a:lnTo>
                    <a:pt x="740" y="226"/>
                  </a:lnTo>
                  <a:lnTo>
                    <a:pt x="738" y="218"/>
                  </a:lnTo>
                  <a:lnTo>
                    <a:pt x="736" y="212"/>
                  </a:lnTo>
                  <a:lnTo>
                    <a:pt x="734" y="206"/>
                  </a:lnTo>
                  <a:lnTo>
                    <a:pt x="730" y="202"/>
                  </a:lnTo>
                  <a:lnTo>
                    <a:pt x="730" y="202"/>
                  </a:lnTo>
                  <a:lnTo>
                    <a:pt x="730" y="202"/>
                  </a:lnTo>
                  <a:lnTo>
                    <a:pt x="724" y="196"/>
                  </a:lnTo>
                  <a:lnTo>
                    <a:pt x="724" y="196"/>
                  </a:lnTo>
                  <a:lnTo>
                    <a:pt x="724" y="196"/>
                  </a:lnTo>
                  <a:lnTo>
                    <a:pt x="720" y="192"/>
                  </a:lnTo>
                  <a:lnTo>
                    <a:pt x="720" y="192"/>
                  </a:lnTo>
                  <a:lnTo>
                    <a:pt x="718" y="192"/>
                  </a:lnTo>
                  <a:lnTo>
                    <a:pt x="712" y="190"/>
                  </a:lnTo>
                  <a:lnTo>
                    <a:pt x="712" y="190"/>
                  </a:lnTo>
                  <a:lnTo>
                    <a:pt x="710" y="190"/>
                  </a:lnTo>
                  <a:lnTo>
                    <a:pt x="706" y="190"/>
                  </a:lnTo>
                  <a:lnTo>
                    <a:pt x="706" y="190"/>
                  </a:lnTo>
                  <a:lnTo>
                    <a:pt x="706" y="190"/>
                  </a:lnTo>
                  <a:lnTo>
                    <a:pt x="704" y="192"/>
                  </a:lnTo>
                  <a:lnTo>
                    <a:pt x="704" y="192"/>
                  </a:lnTo>
                  <a:lnTo>
                    <a:pt x="704" y="194"/>
                  </a:lnTo>
                  <a:lnTo>
                    <a:pt x="702" y="196"/>
                  </a:lnTo>
                  <a:lnTo>
                    <a:pt x="702" y="196"/>
                  </a:lnTo>
                  <a:lnTo>
                    <a:pt x="702" y="196"/>
                  </a:lnTo>
                  <a:lnTo>
                    <a:pt x="700" y="198"/>
                  </a:lnTo>
                  <a:lnTo>
                    <a:pt x="698" y="202"/>
                  </a:lnTo>
                  <a:lnTo>
                    <a:pt x="698" y="204"/>
                  </a:lnTo>
                  <a:lnTo>
                    <a:pt x="696" y="210"/>
                  </a:lnTo>
                  <a:lnTo>
                    <a:pt x="696" y="216"/>
                  </a:lnTo>
                  <a:lnTo>
                    <a:pt x="694" y="220"/>
                  </a:lnTo>
                  <a:lnTo>
                    <a:pt x="694" y="222"/>
                  </a:lnTo>
                  <a:lnTo>
                    <a:pt x="692" y="224"/>
                  </a:lnTo>
                  <a:lnTo>
                    <a:pt x="692" y="224"/>
                  </a:lnTo>
                  <a:lnTo>
                    <a:pt x="690" y="224"/>
                  </a:lnTo>
                  <a:lnTo>
                    <a:pt x="690" y="224"/>
                  </a:lnTo>
                  <a:lnTo>
                    <a:pt x="688" y="224"/>
                  </a:lnTo>
                  <a:lnTo>
                    <a:pt x="686" y="226"/>
                  </a:lnTo>
                  <a:lnTo>
                    <a:pt x="686" y="226"/>
                  </a:lnTo>
                  <a:lnTo>
                    <a:pt x="684" y="228"/>
                  </a:lnTo>
                  <a:lnTo>
                    <a:pt x="682" y="230"/>
                  </a:lnTo>
                  <a:lnTo>
                    <a:pt x="682" y="230"/>
                  </a:lnTo>
                  <a:lnTo>
                    <a:pt x="682" y="230"/>
                  </a:lnTo>
                  <a:lnTo>
                    <a:pt x="680" y="232"/>
                  </a:lnTo>
                  <a:lnTo>
                    <a:pt x="680" y="232"/>
                  </a:lnTo>
                  <a:lnTo>
                    <a:pt x="680" y="234"/>
                  </a:lnTo>
                  <a:lnTo>
                    <a:pt x="680" y="234"/>
                  </a:lnTo>
                  <a:lnTo>
                    <a:pt x="678" y="238"/>
                  </a:lnTo>
                  <a:lnTo>
                    <a:pt x="678" y="238"/>
                  </a:lnTo>
                  <a:lnTo>
                    <a:pt x="678" y="238"/>
                  </a:lnTo>
                  <a:lnTo>
                    <a:pt x="680" y="242"/>
                  </a:lnTo>
                  <a:lnTo>
                    <a:pt x="680" y="246"/>
                  </a:lnTo>
                  <a:lnTo>
                    <a:pt x="682" y="248"/>
                  </a:lnTo>
                  <a:lnTo>
                    <a:pt x="682" y="248"/>
                  </a:lnTo>
                  <a:lnTo>
                    <a:pt x="682" y="250"/>
                  </a:lnTo>
                  <a:lnTo>
                    <a:pt x="682" y="250"/>
                  </a:lnTo>
                  <a:lnTo>
                    <a:pt x="682" y="250"/>
                  </a:lnTo>
                  <a:lnTo>
                    <a:pt x="680" y="250"/>
                  </a:lnTo>
                  <a:lnTo>
                    <a:pt x="680" y="248"/>
                  </a:lnTo>
                  <a:lnTo>
                    <a:pt x="680" y="248"/>
                  </a:lnTo>
                  <a:lnTo>
                    <a:pt x="678" y="248"/>
                  </a:lnTo>
                  <a:lnTo>
                    <a:pt x="676" y="248"/>
                  </a:lnTo>
                  <a:lnTo>
                    <a:pt x="676" y="250"/>
                  </a:lnTo>
                  <a:lnTo>
                    <a:pt x="674" y="250"/>
                  </a:lnTo>
                  <a:lnTo>
                    <a:pt x="674" y="250"/>
                  </a:lnTo>
                  <a:lnTo>
                    <a:pt x="672" y="252"/>
                  </a:lnTo>
                  <a:lnTo>
                    <a:pt x="670" y="254"/>
                  </a:lnTo>
                  <a:lnTo>
                    <a:pt x="670" y="254"/>
                  </a:lnTo>
                  <a:lnTo>
                    <a:pt x="670" y="254"/>
                  </a:lnTo>
                  <a:lnTo>
                    <a:pt x="668" y="256"/>
                  </a:lnTo>
                  <a:lnTo>
                    <a:pt x="666" y="260"/>
                  </a:lnTo>
                  <a:lnTo>
                    <a:pt x="666" y="260"/>
                  </a:lnTo>
                  <a:lnTo>
                    <a:pt x="666" y="262"/>
                  </a:lnTo>
                  <a:lnTo>
                    <a:pt x="666" y="266"/>
                  </a:lnTo>
                  <a:lnTo>
                    <a:pt x="666" y="268"/>
                  </a:lnTo>
                  <a:lnTo>
                    <a:pt x="666" y="272"/>
                  </a:lnTo>
                  <a:lnTo>
                    <a:pt x="668" y="276"/>
                  </a:lnTo>
                  <a:lnTo>
                    <a:pt x="668" y="276"/>
                  </a:lnTo>
                  <a:lnTo>
                    <a:pt x="668" y="276"/>
                  </a:lnTo>
                  <a:lnTo>
                    <a:pt x="668" y="278"/>
                  </a:lnTo>
                  <a:lnTo>
                    <a:pt x="668" y="278"/>
                  </a:lnTo>
                  <a:lnTo>
                    <a:pt x="668" y="280"/>
                  </a:lnTo>
                  <a:lnTo>
                    <a:pt x="670" y="282"/>
                  </a:lnTo>
                  <a:lnTo>
                    <a:pt x="670" y="282"/>
                  </a:lnTo>
                  <a:lnTo>
                    <a:pt x="670" y="282"/>
                  </a:lnTo>
                  <a:lnTo>
                    <a:pt x="672" y="284"/>
                  </a:lnTo>
                  <a:lnTo>
                    <a:pt x="672" y="284"/>
                  </a:lnTo>
                  <a:lnTo>
                    <a:pt x="674" y="284"/>
                  </a:lnTo>
                  <a:lnTo>
                    <a:pt x="676" y="286"/>
                  </a:lnTo>
                  <a:lnTo>
                    <a:pt x="676" y="286"/>
                  </a:lnTo>
                  <a:lnTo>
                    <a:pt x="676" y="286"/>
                  </a:lnTo>
                  <a:lnTo>
                    <a:pt x="676" y="286"/>
                  </a:lnTo>
                  <a:lnTo>
                    <a:pt x="674" y="288"/>
                  </a:lnTo>
                  <a:lnTo>
                    <a:pt x="672" y="288"/>
                  </a:lnTo>
                  <a:lnTo>
                    <a:pt x="668" y="288"/>
                  </a:lnTo>
                  <a:lnTo>
                    <a:pt x="666" y="290"/>
                  </a:lnTo>
                  <a:lnTo>
                    <a:pt x="666" y="290"/>
                  </a:lnTo>
                  <a:lnTo>
                    <a:pt x="664" y="290"/>
                  </a:lnTo>
                  <a:lnTo>
                    <a:pt x="662" y="292"/>
                  </a:lnTo>
                  <a:lnTo>
                    <a:pt x="660" y="294"/>
                  </a:lnTo>
                  <a:lnTo>
                    <a:pt x="660" y="296"/>
                  </a:lnTo>
                  <a:lnTo>
                    <a:pt x="660" y="296"/>
                  </a:lnTo>
                  <a:lnTo>
                    <a:pt x="660" y="296"/>
                  </a:lnTo>
                  <a:lnTo>
                    <a:pt x="658" y="298"/>
                  </a:lnTo>
                  <a:lnTo>
                    <a:pt x="658" y="298"/>
                  </a:lnTo>
                  <a:lnTo>
                    <a:pt x="658" y="298"/>
                  </a:lnTo>
                  <a:lnTo>
                    <a:pt x="658" y="300"/>
                  </a:lnTo>
                  <a:lnTo>
                    <a:pt x="658" y="300"/>
                  </a:lnTo>
                  <a:lnTo>
                    <a:pt x="658" y="300"/>
                  </a:lnTo>
                  <a:lnTo>
                    <a:pt x="658" y="302"/>
                  </a:lnTo>
                  <a:lnTo>
                    <a:pt x="658" y="302"/>
                  </a:lnTo>
                  <a:lnTo>
                    <a:pt x="658" y="302"/>
                  </a:lnTo>
                  <a:lnTo>
                    <a:pt x="658" y="302"/>
                  </a:lnTo>
                  <a:close/>
                  <a:moveTo>
                    <a:pt x="970" y="66"/>
                  </a:moveTo>
                  <a:lnTo>
                    <a:pt x="970" y="66"/>
                  </a:lnTo>
                  <a:lnTo>
                    <a:pt x="970" y="66"/>
                  </a:lnTo>
                  <a:lnTo>
                    <a:pt x="972" y="70"/>
                  </a:lnTo>
                  <a:lnTo>
                    <a:pt x="972" y="70"/>
                  </a:lnTo>
                  <a:lnTo>
                    <a:pt x="972" y="70"/>
                  </a:lnTo>
                  <a:lnTo>
                    <a:pt x="972" y="70"/>
                  </a:lnTo>
                  <a:lnTo>
                    <a:pt x="970" y="70"/>
                  </a:lnTo>
                  <a:lnTo>
                    <a:pt x="970" y="66"/>
                  </a:lnTo>
                  <a:lnTo>
                    <a:pt x="968" y="66"/>
                  </a:lnTo>
                  <a:lnTo>
                    <a:pt x="970" y="66"/>
                  </a:lnTo>
                  <a:close/>
                  <a:moveTo>
                    <a:pt x="832" y="200"/>
                  </a:moveTo>
                  <a:lnTo>
                    <a:pt x="832" y="200"/>
                  </a:lnTo>
                  <a:lnTo>
                    <a:pt x="830" y="200"/>
                  </a:lnTo>
                  <a:lnTo>
                    <a:pt x="830" y="202"/>
                  </a:lnTo>
                  <a:lnTo>
                    <a:pt x="828" y="204"/>
                  </a:lnTo>
                  <a:lnTo>
                    <a:pt x="828" y="204"/>
                  </a:lnTo>
                  <a:lnTo>
                    <a:pt x="826" y="206"/>
                  </a:lnTo>
                  <a:lnTo>
                    <a:pt x="824" y="206"/>
                  </a:lnTo>
                  <a:lnTo>
                    <a:pt x="822" y="208"/>
                  </a:lnTo>
                  <a:lnTo>
                    <a:pt x="818" y="210"/>
                  </a:lnTo>
                  <a:lnTo>
                    <a:pt x="812" y="214"/>
                  </a:lnTo>
                  <a:lnTo>
                    <a:pt x="810" y="216"/>
                  </a:lnTo>
                  <a:lnTo>
                    <a:pt x="808" y="216"/>
                  </a:lnTo>
                  <a:lnTo>
                    <a:pt x="806" y="218"/>
                  </a:lnTo>
                  <a:lnTo>
                    <a:pt x="804" y="220"/>
                  </a:lnTo>
                  <a:lnTo>
                    <a:pt x="804" y="220"/>
                  </a:lnTo>
                  <a:lnTo>
                    <a:pt x="802" y="220"/>
                  </a:lnTo>
                  <a:lnTo>
                    <a:pt x="794" y="220"/>
                  </a:lnTo>
                  <a:lnTo>
                    <a:pt x="788" y="220"/>
                  </a:lnTo>
                  <a:lnTo>
                    <a:pt x="792" y="220"/>
                  </a:lnTo>
                  <a:lnTo>
                    <a:pt x="794" y="218"/>
                  </a:lnTo>
                  <a:lnTo>
                    <a:pt x="798" y="218"/>
                  </a:lnTo>
                  <a:lnTo>
                    <a:pt x="798" y="218"/>
                  </a:lnTo>
                  <a:lnTo>
                    <a:pt x="798" y="218"/>
                  </a:lnTo>
                  <a:lnTo>
                    <a:pt x="802" y="214"/>
                  </a:lnTo>
                  <a:lnTo>
                    <a:pt x="802" y="214"/>
                  </a:lnTo>
                  <a:lnTo>
                    <a:pt x="802" y="214"/>
                  </a:lnTo>
                  <a:lnTo>
                    <a:pt x="806" y="212"/>
                  </a:lnTo>
                  <a:lnTo>
                    <a:pt x="810" y="206"/>
                  </a:lnTo>
                  <a:lnTo>
                    <a:pt x="814" y="204"/>
                  </a:lnTo>
                  <a:lnTo>
                    <a:pt x="816" y="202"/>
                  </a:lnTo>
                  <a:lnTo>
                    <a:pt x="818" y="200"/>
                  </a:lnTo>
                  <a:lnTo>
                    <a:pt x="818" y="200"/>
                  </a:lnTo>
                  <a:lnTo>
                    <a:pt x="822" y="200"/>
                  </a:lnTo>
                  <a:lnTo>
                    <a:pt x="826" y="198"/>
                  </a:lnTo>
                  <a:lnTo>
                    <a:pt x="830" y="198"/>
                  </a:lnTo>
                  <a:lnTo>
                    <a:pt x="830" y="198"/>
                  </a:lnTo>
                  <a:lnTo>
                    <a:pt x="832" y="198"/>
                  </a:lnTo>
                  <a:lnTo>
                    <a:pt x="832" y="200"/>
                  </a:lnTo>
                  <a:close/>
                  <a:moveTo>
                    <a:pt x="866" y="216"/>
                  </a:moveTo>
                  <a:lnTo>
                    <a:pt x="864" y="218"/>
                  </a:lnTo>
                  <a:lnTo>
                    <a:pt x="860" y="220"/>
                  </a:lnTo>
                  <a:lnTo>
                    <a:pt x="858" y="222"/>
                  </a:lnTo>
                  <a:lnTo>
                    <a:pt x="856" y="222"/>
                  </a:lnTo>
                  <a:lnTo>
                    <a:pt x="852" y="222"/>
                  </a:lnTo>
                  <a:lnTo>
                    <a:pt x="854" y="220"/>
                  </a:lnTo>
                  <a:lnTo>
                    <a:pt x="860" y="216"/>
                  </a:lnTo>
                  <a:lnTo>
                    <a:pt x="862" y="216"/>
                  </a:lnTo>
                  <a:lnTo>
                    <a:pt x="864" y="214"/>
                  </a:lnTo>
                  <a:lnTo>
                    <a:pt x="866" y="214"/>
                  </a:lnTo>
                  <a:lnTo>
                    <a:pt x="868" y="216"/>
                  </a:lnTo>
                  <a:lnTo>
                    <a:pt x="868" y="216"/>
                  </a:lnTo>
                  <a:lnTo>
                    <a:pt x="866" y="216"/>
                  </a:lnTo>
                  <a:close/>
                  <a:moveTo>
                    <a:pt x="682" y="308"/>
                  </a:moveTo>
                  <a:lnTo>
                    <a:pt x="684" y="308"/>
                  </a:lnTo>
                  <a:lnTo>
                    <a:pt x="688" y="308"/>
                  </a:lnTo>
                  <a:lnTo>
                    <a:pt x="690" y="308"/>
                  </a:lnTo>
                  <a:lnTo>
                    <a:pt x="690" y="308"/>
                  </a:lnTo>
                  <a:lnTo>
                    <a:pt x="688" y="308"/>
                  </a:lnTo>
                  <a:lnTo>
                    <a:pt x="686" y="308"/>
                  </a:lnTo>
                  <a:lnTo>
                    <a:pt x="684" y="308"/>
                  </a:lnTo>
                  <a:lnTo>
                    <a:pt x="682" y="308"/>
                  </a:lnTo>
                  <a:lnTo>
                    <a:pt x="680" y="308"/>
                  </a:lnTo>
                  <a:lnTo>
                    <a:pt x="682" y="308"/>
                  </a:lnTo>
                  <a:close/>
                  <a:moveTo>
                    <a:pt x="1180" y="1518"/>
                  </a:moveTo>
                  <a:lnTo>
                    <a:pt x="1180" y="1518"/>
                  </a:lnTo>
                  <a:lnTo>
                    <a:pt x="1180" y="1518"/>
                  </a:lnTo>
                  <a:lnTo>
                    <a:pt x="1178" y="1518"/>
                  </a:lnTo>
                  <a:lnTo>
                    <a:pt x="1178" y="1518"/>
                  </a:lnTo>
                  <a:lnTo>
                    <a:pt x="1176" y="1518"/>
                  </a:lnTo>
                  <a:lnTo>
                    <a:pt x="1176" y="1518"/>
                  </a:lnTo>
                  <a:lnTo>
                    <a:pt x="1176" y="1516"/>
                  </a:lnTo>
                  <a:lnTo>
                    <a:pt x="1174" y="1516"/>
                  </a:lnTo>
                  <a:lnTo>
                    <a:pt x="1172" y="1514"/>
                  </a:lnTo>
                  <a:lnTo>
                    <a:pt x="1170" y="1512"/>
                  </a:lnTo>
                  <a:lnTo>
                    <a:pt x="1168" y="1510"/>
                  </a:lnTo>
                  <a:lnTo>
                    <a:pt x="1166" y="1508"/>
                  </a:lnTo>
                  <a:lnTo>
                    <a:pt x="1164" y="1506"/>
                  </a:lnTo>
                  <a:lnTo>
                    <a:pt x="1160" y="1504"/>
                  </a:lnTo>
                  <a:lnTo>
                    <a:pt x="1158" y="1500"/>
                  </a:lnTo>
                  <a:lnTo>
                    <a:pt x="1158" y="1500"/>
                  </a:lnTo>
                  <a:lnTo>
                    <a:pt x="1158" y="1500"/>
                  </a:lnTo>
                  <a:lnTo>
                    <a:pt x="1156" y="1500"/>
                  </a:lnTo>
                  <a:lnTo>
                    <a:pt x="1156" y="1500"/>
                  </a:lnTo>
                  <a:lnTo>
                    <a:pt x="1154" y="1500"/>
                  </a:lnTo>
                  <a:lnTo>
                    <a:pt x="1152" y="1498"/>
                  </a:lnTo>
                  <a:lnTo>
                    <a:pt x="1152" y="1498"/>
                  </a:lnTo>
                  <a:lnTo>
                    <a:pt x="1152" y="1498"/>
                  </a:lnTo>
                  <a:lnTo>
                    <a:pt x="1148" y="1500"/>
                  </a:lnTo>
                  <a:lnTo>
                    <a:pt x="1146" y="1500"/>
                  </a:lnTo>
                  <a:lnTo>
                    <a:pt x="1144" y="1502"/>
                  </a:lnTo>
                  <a:lnTo>
                    <a:pt x="1142" y="1502"/>
                  </a:lnTo>
                  <a:lnTo>
                    <a:pt x="1138" y="1504"/>
                  </a:lnTo>
                  <a:lnTo>
                    <a:pt x="1138" y="1504"/>
                  </a:lnTo>
                  <a:lnTo>
                    <a:pt x="1136" y="1506"/>
                  </a:lnTo>
                  <a:lnTo>
                    <a:pt x="1136" y="1506"/>
                  </a:lnTo>
                  <a:lnTo>
                    <a:pt x="1138" y="1508"/>
                  </a:lnTo>
                  <a:lnTo>
                    <a:pt x="1140" y="1512"/>
                  </a:lnTo>
                  <a:lnTo>
                    <a:pt x="1144" y="1514"/>
                  </a:lnTo>
                  <a:lnTo>
                    <a:pt x="1148" y="1516"/>
                  </a:lnTo>
                  <a:lnTo>
                    <a:pt x="1150" y="1518"/>
                  </a:lnTo>
                  <a:lnTo>
                    <a:pt x="1152" y="1518"/>
                  </a:lnTo>
                  <a:lnTo>
                    <a:pt x="1152" y="1520"/>
                  </a:lnTo>
                  <a:lnTo>
                    <a:pt x="1152" y="1520"/>
                  </a:lnTo>
                  <a:lnTo>
                    <a:pt x="1152" y="1520"/>
                  </a:lnTo>
                  <a:lnTo>
                    <a:pt x="1154" y="1522"/>
                  </a:lnTo>
                  <a:lnTo>
                    <a:pt x="1154" y="1522"/>
                  </a:lnTo>
                  <a:lnTo>
                    <a:pt x="1154" y="1522"/>
                  </a:lnTo>
                  <a:lnTo>
                    <a:pt x="1156" y="1524"/>
                  </a:lnTo>
                  <a:lnTo>
                    <a:pt x="1156" y="1524"/>
                  </a:lnTo>
                  <a:lnTo>
                    <a:pt x="1156" y="1524"/>
                  </a:lnTo>
                  <a:lnTo>
                    <a:pt x="1158" y="1524"/>
                  </a:lnTo>
                  <a:lnTo>
                    <a:pt x="1160" y="1524"/>
                  </a:lnTo>
                  <a:lnTo>
                    <a:pt x="1164" y="1526"/>
                  </a:lnTo>
                  <a:lnTo>
                    <a:pt x="1164" y="1526"/>
                  </a:lnTo>
                  <a:lnTo>
                    <a:pt x="1172" y="1526"/>
                  </a:lnTo>
                  <a:lnTo>
                    <a:pt x="1180" y="1524"/>
                  </a:lnTo>
                  <a:lnTo>
                    <a:pt x="1180" y="1524"/>
                  </a:lnTo>
                  <a:lnTo>
                    <a:pt x="1180" y="1524"/>
                  </a:lnTo>
                  <a:lnTo>
                    <a:pt x="1180" y="1524"/>
                  </a:lnTo>
                  <a:lnTo>
                    <a:pt x="1180" y="1524"/>
                  </a:lnTo>
                  <a:lnTo>
                    <a:pt x="1182" y="1522"/>
                  </a:lnTo>
                  <a:lnTo>
                    <a:pt x="1182" y="1522"/>
                  </a:lnTo>
                  <a:lnTo>
                    <a:pt x="1182" y="1520"/>
                  </a:lnTo>
                  <a:lnTo>
                    <a:pt x="1180" y="1518"/>
                  </a:lnTo>
                  <a:lnTo>
                    <a:pt x="1180" y="1518"/>
                  </a:lnTo>
                  <a:lnTo>
                    <a:pt x="1180" y="1518"/>
                  </a:lnTo>
                  <a:lnTo>
                    <a:pt x="1180" y="1518"/>
                  </a:ln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8" name="Freeform 27"/>
            <p:cNvSpPr>
              <a:spLocks noEditPoints="1"/>
            </p:cNvSpPr>
            <p:nvPr/>
          </p:nvSpPr>
          <p:spPr bwMode="auto">
            <a:xfrm>
              <a:off x="151209" y="1664582"/>
              <a:ext cx="1658209" cy="1227788"/>
            </a:xfrm>
            <a:custGeom>
              <a:avLst/>
              <a:gdLst>
                <a:gd name="T0" fmla="*/ 300 w 1672"/>
                <a:gd name="T1" fmla="*/ 1176 h 1238"/>
                <a:gd name="T2" fmla="*/ 310 w 1672"/>
                <a:gd name="T3" fmla="*/ 1196 h 1238"/>
                <a:gd name="T4" fmla="*/ 356 w 1672"/>
                <a:gd name="T5" fmla="*/ 1236 h 1238"/>
                <a:gd name="T6" fmla="*/ 1656 w 1672"/>
                <a:gd name="T7" fmla="*/ 728 h 1238"/>
                <a:gd name="T8" fmla="*/ 1628 w 1672"/>
                <a:gd name="T9" fmla="*/ 750 h 1238"/>
                <a:gd name="T10" fmla="*/ 1532 w 1672"/>
                <a:gd name="T11" fmla="*/ 788 h 1238"/>
                <a:gd name="T12" fmla="*/ 1432 w 1672"/>
                <a:gd name="T13" fmla="*/ 848 h 1238"/>
                <a:gd name="T14" fmla="*/ 1432 w 1672"/>
                <a:gd name="T15" fmla="*/ 796 h 1238"/>
                <a:gd name="T16" fmla="*/ 1410 w 1672"/>
                <a:gd name="T17" fmla="*/ 758 h 1238"/>
                <a:gd name="T18" fmla="*/ 1366 w 1672"/>
                <a:gd name="T19" fmla="*/ 840 h 1238"/>
                <a:gd name="T20" fmla="*/ 1400 w 1672"/>
                <a:gd name="T21" fmla="*/ 746 h 1238"/>
                <a:gd name="T22" fmla="*/ 1324 w 1672"/>
                <a:gd name="T23" fmla="*/ 722 h 1238"/>
                <a:gd name="T24" fmla="*/ 1238 w 1672"/>
                <a:gd name="T25" fmla="*/ 702 h 1238"/>
                <a:gd name="T26" fmla="*/ 860 w 1672"/>
                <a:gd name="T27" fmla="*/ 704 h 1238"/>
                <a:gd name="T28" fmla="*/ 814 w 1672"/>
                <a:gd name="T29" fmla="*/ 738 h 1238"/>
                <a:gd name="T30" fmla="*/ 886 w 1672"/>
                <a:gd name="T31" fmla="*/ 992 h 1238"/>
                <a:gd name="T32" fmla="*/ 954 w 1672"/>
                <a:gd name="T33" fmla="*/ 1004 h 1238"/>
                <a:gd name="T34" fmla="*/ 1052 w 1672"/>
                <a:gd name="T35" fmla="*/ 1034 h 1238"/>
                <a:gd name="T36" fmla="*/ 1130 w 1672"/>
                <a:gd name="T37" fmla="*/ 1068 h 1238"/>
                <a:gd name="T38" fmla="*/ 1184 w 1672"/>
                <a:gd name="T39" fmla="*/ 1116 h 1238"/>
                <a:gd name="T40" fmla="*/ 1246 w 1672"/>
                <a:gd name="T41" fmla="*/ 1072 h 1238"/>
                <a:gd name="T42" fmla="*/ 1350 w 1672"/>
                <a:gd name="T43" fmla="*/ 1056 h 1238"/>
                <a:gd name="T44" fmla="*/ 1412 w 1672"/>
                <a:gd name="T45" fmla="*/ 1056 h 1238"/>
                <a:gd name="T46" fmla="*/ 1466 w 1672"/>
                <a:gd name="T47" fmla="*/ 1138 h 1238"/>
                <a:gd name="T48" fmla="*/ 1452 w 1672"/>
                <a:gd name="T49" fmla="*/ 1036 h 1238"/>
                <a:gd name="T50" fmla="*/ 1546 w 1672"/>
                <a:gd name="T51" fmla="*/ 912 h 1238"/>
                <a:gd name="T52" fmla="*/ 1632 w 1672"/>
                <a:gd name="T53" fmla="*/ 848 h 1238"/>
                <a:gd name="T54" fmla="*/ 1640 w 1672"/>
                <a:gd name="T55" fmla="*/ 796 h 1238"/>
                <a:gd name="T56" fmla="*/ 678 w 1672"/>
                <a:gd name="T57" fmla="*/ 506 h 1238"/>
                <a:gd name="T58" fmla="*/ 622 w 1672"/>
                <a:gd name="T59" fmla="*/ 436 h 1238"/>
                <a:gd name="T60" fmla="*/ 582 w 1672"/>
                <a:gd name="T61" fmla="*/ 430 h 1238"/>
                <a:gd name="T62" fmla="*/ 572 w 1672"/>
                <a:gd name="T63" fmla="*/ 324 h 1238"/>
                <a:gd name="T64" fmla="*/ 576 w 1672"/>
                <a:gd name="T65" fmla="*/ 66 h 1238"/>
                <a:gd name="T66" fmla="*/ 458 w 1672"/>
                <a:gd name="T67" fmla="*/ 38 h 1238"/>
                <a:gd name="T68" fmla="*/ 388 w 1672"/>
                <a:gd name="T69" fmla="*/ 22 h 1238"/>
                <a:gd name="T70" fmla="*/ 356 w 1672"/>
                <a:gd name="T71" fmla="*/ 2 h 1238"/>
                <a:gd name="T72" fmla="*/ 300 w 1672"/>
                <a:gd name="T73" fmla="*/ 26 h 1238"/>
                <a:gd name="T74" fmla="*/ 256 w 1672"/>
                <a:gd name="T75" fmla="*/ 54 h 1238"/>
                <a:gd name="T76" fmla="*/ 194 w 1672"/>
                <a:gd name="T77" fmla="*/ 118 h 1238"/>
                <a:gd name="T78" fmla="*/ 228 w 1672"/>
                <a:gd name="T79" fmla="*/ 180 h 1238"/>
                <a:gd name="T80" fmla="*/ 238 w 1672"/>
                <a:gd name="T81" fmla="*/ 222 h 1238"/>
                <a:gd name="T82" fmla="*/ 166 w 1672"/>
                <a:gd name="T83" fmla="*/ 236 h 1238"/>
                <a:gd name="T84" fmla="*/ 204 w 1672"/>
                <a:gd name="T85" fmla="*/ 276 h 1238"/>
                <a:gd name="T86" fmla="*/ 274 w 1672"/>
                <a:gd name="T87" fmla="*/ 306 h 1238"/>
                <a:gd name="T88" fmla="*/ 206 w 1672"/>
                <a:gd name="T89" fmla="*/ 378 h 1238"/>
                <a:gd name="T90" fmla="*/ 210 w 1672"/>
                <a:gd name="T91" fmla="*/ 406 h 1238"/>
                <a:gd name="T92" fmla="*/ 252 w 1672"/>
                <a:gd name="T93" fmla="*/ 448 h 1238"/>
                <a:gd name="T94" fmla="*/ 304 w 1672"/>
                <a:gd name="T95" fmla="*/ 464 h 1238"/>
                <a:gd name="T96" fmla="*/ 274 w 1672"/>
                <a:gd name="T97" fmla="*/ 516 h 1238"/>
                <a:gd name="T98" fmla="*/ 160 w 1672"/>
                <a:gd name="T99" fmla="*/ 580 h 1238"/>
                <a:gd name="T100" fmla="*/ 28 w 1672"/>
                <a:gd name="T101" fmla="*/ 616 h 1238"/>
                <a:gd name="T102" fmla="*/ 116 w 1672"/>
                <a:gd name="T103" fmla="*/ 614 h 1238"/>
                <a:gd name="T104" fmla="*/ 196 w 1672"/>
                <a:gd name="T105" fmla="*/ 594 h 1238"/>
                <a:gd name="T106" fmla="*/ 386 w 1672"/>
                <a:gd name="T107" fmla="*/ 442 h 1238"/>
                <a:gd name="T108" fmla="*/ 382 w 1672"/>
                <a:gd name="T109" fmla="*/ 474 h 1238"/>
                <a:gd name="T110" fmla="*/ 488 w 1672"/>
                <a:gd name="T111" fmla="*/ 414 h 1238"/>
                <a:gd name="T112" fmla="*/ 538 w 1672"/>
                <a:gd name="T113" fmla="*/ 418 h 1238"/>
                <a:gd name="T114" fmla="*/ 598 w 1672"/>
                <a:gd name="T115" fmla="*/ 466 h 1238"/>
                <a:gd name="T116" fmla="*/ 624 w 1672"/>
                <a:gd name="T117" fmla="*/ 510 h 1238"/>
                <a:gd name="T118" fmla="*/ 634 w 1672"/>
                <a:gd name="T119" fmla="*/ 482 h 1238"/>
                <a:gd name="T120" fmla="*/ 642 w 1672"/>
                <a:gd name="T121" fmla="*/ 510 h 1238"/>
                <a:gd name="T122" fmla="*/ 648 w 1672"/>
                <a:gd name="T123" fmla="*/ 548 h 1238"/>
                <a:gd name="T124" fmla="*/ 688 w 1672"/>
                <a:gd name="T125" fmla="*/ 520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2" h="1238">
                  <a:moveTo>
                    <a:pt x="370" y="1220"/>
                  </a:moveTo>
                  <a:lnTo>
                    <a:pt x="366" y="1216"/>
                  </a:lnTo>
                  <a:lnTo>
                    <a:pt x="364" y="1212"/>
                  </a:lnTo>
                  <a:lnTo>
                    <a:pt x="362" y="1210"/>
                  </a:lnTo>
                  <a:lnTo>
                    <a:pt x="360" y="1208"/>
                  </a:lnTo>
                  <a:lnTo>
                    <a:pt x="358" y="1204"/>
                  </a:lnTo>
                  <a:lnTo>
                    <a:pt x="356" y="1200"/>
                  </a:lnTo>
                  <a:lnTo>
                    <a:pt x="354" y="1194"/>
                  </a:lnTo>
                  <a:lnTo>
                    <a:pt x="354" y="1194"/>
                  </a:lnTo>
                  <a:lnTo>
                    <a:pt x="352" y="1192"/>
                  </a:lnTo>
                  <a:lnTo>
                    <a:pt x="348" y="1190"/>
                  </a:lnTo>
                  <a:lnTo>
                    <a:pt x="342" y="1188"/>
                  </a:lnTo>
                  <a:lnTo>
                    <a:pt x="338" y="1186"/>
                  </a:lnTo>
                  <a:lnTo>
                    <a:pt x="332" y="1186"/>
                  </a:lnTo>
                  <a:lnTo>
                    <a:pt x="328" y="1186"/>
                  </a:lnTo>
                  <a:lnTo>
                    <a:pt x="322" y="1186"/>
                  </a:lnTo>
                  <a:lnTo>
                    <a:pt x="316" y="1184"/>
                  </a:lnTo>
                  <a:lnTo>
                    <a:pt x="310" y="1184"/>
                  </a:lnTo>
                  <a:lnTo>
                    <a:pt x="310" y="1184"/>
                  </a:lnTo>
                  <a:lnTo>
                    <a:pt x="310" y="1184"/>
                  </a:lnTo>
                  <a:lnTo>
                    <a:pt x="310" y="1184"/>
                  </a:lnTo>
                  <a:lnTo>
                    <a:pt x="310" y="1184"/>
                  </a:lnTo>
                  <a:lnTo>
                    <a:pt x="310" y="1182"/>
                  </a:lnTo>
                  <a:lnTo>
                    <a:pt x="308" y="1182"/>
                  </a:lnTo>
                  <a:lnTo>
                    <a:pt x="308" y="1182"/>
                  </a:lnTo>
                  <a:lnTo>
                    <a:pt x="308" y="1180"/>
                  </a:lnTo>
                  <a:lnTo>
                    <a:pt x="308" y="1180"/>
                  </a:lnTo>
                  <a:lnTo>
                    <a:pt x="308" y="1180"/>
                  </a:lnTo>
                  <a:lnTo>
                    <a:pt x="308" y="1180"/>
                  </a:lnTo>
                  <a:lnTo>
                    <a:pt x="306" y="1178"/>
                  </a:lnTo>
                  <a:lnTo>
                    <a:pt x="306" y="1178"/>
                  </a:lnTo>
                  <a:lnTo>
                    <a:pt x="306" y="1178"/>
                  </a:lnTo>
                  <a:lnTo>
                    <a:pt x="304" y="1178"/>
                  </a:lnTo>
                  <a:lnTo>
                    <a:pt x="304" y="1178"/>
                  </a:lnTo>
                  <a:lnTo>
                    <a:pt x="304" y="1176"/>
                  </a:lnTo>
                  <a:lnTo>
                    <a:pt x="300" y="1176"/>
                  </a:lnTo>
                  <a:lnTo>
                    <a:pt x="300" y="1176"/>
                  </a:lnTo>
                  <a:lnTo>
                    <a:pt x="298" y="1176"/>
                  </a:lnTo>
                  <a:lnTo>
                    <a:pt x="294" y="1176"/>
                  </a:lnTo>
                  <a:lnTo>
                    <a:pt x="294" y="1176"/>
                  </a:lnTo>
                  <a:lnTo>
                    <a:pt x="292" y="1176"/>
                  </a:lnTo>
                  <a:lnTo>
                    <a:pt x="290" y="1178"/>
                  </a:lnTo>
                  <a:lnTo>
                    <a:pt x="286" y="1180"/>
                  </a:lnTo>
                  <a:lnTo>
                    <a:pt x="284" y="1182"/>
                  </a:lnTo>
                  <a:lnTo>
                    <a:pt x="282" y="1182"/>
                  </a:lnTo>
                  <a:lnTo>
                    <a:pt x="282" y="1182"/>
                  </a:lnTo>
                  <a:lnTo>
                    <a:pt x="282" y="1182"/>
                  </a:lnTo>
                  <a:lnTo>
                    <a:pt x="282" y="1182"/>
                  </a:lnTo>
                  <a:lnTo>
                    <a:pt x="278" y="1182"/>
                  </a:lnTo>
                  <a:lnTo>
                    <a:pt x="278" y="1182"/>
                  </a:lnTo>
                  <a:lnTo>
                    <a:pt x="278" y="1182"/>
                  </a:lnTo>
                  <a:lnTo>
                    <a:pt x="278" y="1184"/>
                  </a:lnTo>
                  <a:lnTo>
                    <a:pt x="278" y="1184"/>
                  </a:lnTo>
                  <a:lnTo>
                    <a:pt x="278" y="1184"/>
                  </a:lnTo>
                  <a:lnTo>
                    <a:pt x="278" y="1186"/>
                  </a:lnTo>
                  <a:lnTo>
                    <a:pt x="276" y="1188"/>
                  </a:lnTo>
                  <a:lnTo>
                    <a:pt x="276" y="1188"/>
                  </a:lnTo>
                  <a:lnTo>
                    <a:pt x="278" y="1192"/>
                  </a:lnTo>
                  <a:lnTo>
                    <a:pt x="278" y="1192"/>
                  </a:lnTo>
                  <a:lnTo>
                    <a:pt x="280" y="1192"/>
                  </a:lnTo>
                  <a:lnTo>
                    <a:pt x="286" y="1192"/>
                  </a:lnTo>
                  <a:lnTo>
                    <a:pt x="292" y="1192"/>
                  </a:lnTo>
                  <a:lnTo>
                    <a:pt x="298" y="1192"/>
                  </a:lnTo>
                  <a:lnTo>
                    <a:pt x="304" y="1190"/>
                  </a:lnTo>
                  <a:lnTo>
                    <a:pt x="304" y="1190"/>
                  </a:lnTo>
                  <a:lnTo>
                    <a:pt x="304" y="1190"/>
                  </a:lnTo>
                  <a:lnTo>
                    <a:pt x="306" y="1190"/>
                  </a:lnTo>
                  <a:lnTo>
                    <a:pt x="306" y="1190"/>
                  </a:lnTo>
                  <a:lnTo>
                    <a:pt x="308" y="1190"/>
                  </a:lnTo>
                  <a:lnTo>
                    <a:pt x="308" y="1188"/>
                  </a:lnTo>
                  <a:lnTo>
                    <a:pt x="308" y="1192"/>
                  </a:lnTo>
                  <a:lnTo>
                    <a:pt x="310" y="1194"/>
                  </a:lnTo>
                  <a:lnTo>
                    <a:pt x="310" y="1196"/>
                  </a:lnTo>
                  <a:lnTo>
                    <a:pt x="310" y="1196"/>
                  </a:lnTo>
                  <a:lnTo>
                    <a:pt x="310" y="1196"/>
                  </a:lnTo>
                  <a:lnTo>
                    <a:pt x="312" y="1198"/>
                  </a:lnTo>
                  <a:lnTo>
                    <a:pt x="312" y="1198"/>
                  </a:lnTo>
                  <a:lnTo>
                    <a:pt x="312" y="1198"/>
                  </a:lnTo>
                  <a:lnTo>
                    <a:pt x="314" y="1200"/>
                  </a:lnTo>
                  <a:lnTo>
                    <a:pt x="314" y="1200"/>
                  </a:lnTo>
                  <a:lnTo>
                    <a:pt x="314" y="1200"/>
                  </a:lnTo>
                  <a:lnTo>
                    <a:pt x="316" y="1202"/>
                  </a:lnTo>
                  <a:lnTo>
                    <a:pt x="318" y="1202"/>
                  </a:lnTo>
                  <a:lnTo>
                    <a:pt x="322" y="1204"/>
                  </a:lnTo>
                  <a:lnTo>
                    <a:pt x="322" y="1204"/>
                  </a:lnTo>
                  <a:lnTo>
                    <a:pt x="322" y="1204"/>
                  </a:lnTo>
                  <a:lnTo>
                    <a:pt x="324" y="1204"/>
                  </a:lnTo>
                  <a:lnTo>
                    <a:pt x="326" y="1206"/>
                  </a:lnTo>
                  <a:lnTo>
                    <a:pt x="330" y="1206"/>
                  </a:lnTo>
                  <a:lnTo>
                    <a:pt x="332" y="1208"/>
                  </a:lnTo>
                  <a:lnTo>
                    <a:pt x="334" y="1208"/>
                  </a:lnTo>
                  <a:lnTo>
                    <a:pt x="336" y="1210"/>
                  </a:lnTo>
                  <a:lnTo>
                    <a:pt x="336" y="1210"/>
                  </a:lnTo>
                  <a:lnTo>
                    <a:pt x="336" y="1212"/>
                  </a:lnTo>
                  <a:lnTo>
                    <a:pt x="338" y="1212"/>
                  </a:lnTo>
                  <a:lnTo>
                    <a:pt x="340" y="1214"/>
                  </a:lnTo>
                  <a:lnTo>
                    <a:pt x="342" y="1214"/>
                  </a:lnTo>
                  <a:lnTo>
                    <a:pt x="342" y="1216"/>
                  </a:lnTo>
                  <a:lnTo>
                    <a:pt x="344" y="1218"/>
                  </a:lnTo>
                  <a:lnTo>
                    <a:pt x="344" y="1222"/>
                  </a:lnTo>
                  <a:lnTo>
                    <a:pt x="344" y="1226"/>
                  </a:lnTo>
                  <a:lnTo>
                    <a:pt x="346" y="1230"/>
                  </a:lnTo>
                  <a:lnTo>
                    <a:pt x="346" y="1232"/>
                  </a:lnTo>
                  <a:lnTo>
                    <a:pt x="346" y="1232"/>
                  </a:lnTo>
                  <a:lnTo>
                    <a:pt x="348" y="1234"/>
                  </a:lnTo>
                  <a:lnTo>
                    <a:pt x="350" y="1236"/>
                  </a:lnTo>
                  <a:lnTo>
                    <a:pt x="350" y="1236"/>
                  </a:lnTo>
                  <a:lnTo>
                    <a:pt x="352" y="1238"/>
                  </a:lnTo>
                  <a:lnTo>
                    <a:pt x="352" y="1238"/>
                  </a:lnTo>
                  <a:lnTo>
                    <a:pt x="354" y="1238"/>
                  </a:lnTo>
                  <a:lnTo>
                    <a:pt x="356" y="1236"/>
                  </a:lnTo>
                  <a:lnTo>
                    <a:pt x="358" y="1234"/>
                  </a:lnTo>
                  <a:lnTo>
                    <a:pt x="362" y="1232"/>
                  </a:lnTo>
                  <a:lnTo>
                    <a:pt x="362" y="1232"/>
                  </a:lnTo>
                  <a:lnTo>
                    <a:pt x="364" y="1230"/>
                  </a:lnTo>
                  <a:lnTo>
                    <a:pt x="366" y="1230"/>
                  </a:lnTo>
                  <a:lnTo>
                    <a:pt x="368" y="1230"/>
                  </a:lnTo>
                  <a:lnTo>
                    <a:pt x="372" y="1228"/>
                  </a:lnTo>
                  <a:lnTo>
                    <a:pt x="372" y="1228"/>
                  </a:lnTo>
                  <a:lnTo>
                    <a:pt x="374" y="1226"/>
                  </a:lnTo>
                  <a:lnTo>
                    <a:pt x="374" y="1226"/>
                  </a:lnTo>
                  <a:lnTo>
                    <a:pt x="374" y="1224"/>
                  </a:lnTo>
                  <a:lnTo>
                    <a:pt x="370" y="1220"/>
                  </a:lnTo>
                  <a:close/>
                  <a:moveTo>
                    <a:pt x="1672" y="778"/>
                  </a:moveTo>
                  <a:lnTo>
                    <a:pt x="1672" y="778"/>
                  </a:lnTo>
                  <a:lnTo>
                    <a:pt x="1672" y="776"/>
                  </a:lnTo>
                  <a:lnTo>
                    <a:pt x="1670" y="774"/>
                  </a:lnTo>
                  <a:lnTo>
                    <a:pt x="1670" y="774"/>
                  </a:lnTo>
                  <a:lnTo>
                    <a:pt x="1670" y="774"/>
                  </a:lnTo>
                  <a:lnTo>
                    <a:pt x="1668" y="774"/>
                  </a:lnTo>
                  <a:lnTo>
                    <a:pt x="1666" y="772"/>
                  </a:lnTo>
                  <a:lnTo>
                    <a:pt x="1662" y="770"/>
                  </a:lnTo>
                  <a:lnTo>
                    <a:pt x="1662" y="768"/>
                  </a:lnTo>
                  <a:lnTo>
                    <a:pt x="1660" y="766"/>
                  </a:lnTo>
                  <a:lnTo>
                    <a:pt x="1660" y="764"/>
                  </a:lnTo>
                  <a:lnTo>
                    <a:pt x="1660" y="762"/>
                  </a:lnTo>
                  <a:lnTo>
                    <a:pt x="1660" y="754"/>
                  </a:lnTo>
                  <a:lnTo>
                    <a:pt x="1660" y="748"/>
                  </a:lnTo>
                  <a:lnTo>
                    <a:pt x="1660" y="744"/>
                  </a:lnTo>
                  <a:lnTo>
                    <a:pt x="1660" y="742"/>
                  </a:lnTo>
                  <a:lnTo>
                    <a:pt x="1660" y="738"/>
                  </a:lnTo>
                  <a:lnTo>
                    <a:pt x="1658" y="732"/>
                  </a:lnTo>
                  <a:lnTo>
                    <a:pt x="1658" y="730"/>
                  </a:lnTo>
                  <a:lnTo>
                    <a:pt x="1658" y="730"/>
                  </a:lnTo>
                  <a:lnTo>
                    <a:pt x="1658" y="730"/>
                  </a:lnTo>
                  <a:lnTo>
                    <a:pt x="1658" y="728"/>
                  </a:lnTo>
                  <a:lnTo>
                    <a:pt x="1656" y="728"/>
                  </a:lnTo>
                  <a:lnTo>
                    <a:pt x="1656" y="728"/>
                  </a:lnTo>
                  <a:lnTo>
                    <a:pt x="1656" y="726"/>
                  </a:lnTo>
                  <a:lnTo>
                    <a:pt x="1656" y="726"/>
                  </a:lnTo>
                  <a:lnTo>
                    <a:pt x="1656" y="726"/>
                  </a:lnTo>
                  <a:lnTo>
                    <a:pt x="1654" y="726"/>
                  </a:lnTo>
                  <a:lnTo>
                    <a:pt x="1652" y="726"/>
                  </a:lnTo>
                  <a:lnTo>
                    <a:pt x="1652" y="726"/>
                  </a:lnTo>
                  <a:lnTo>
                    <a:pt x="1652" y="726"/>
                  </a:lnTo>
                  <a:lnTo>
                    <a:pt x="1650" y="726"/>
                  </a:lnTo>
                  <a:lnTo>
                    <a:pt x="1650" y="726"/>
                  </a:lnTo>
                  <a:lnTo>
                    <a:pt x="1650" y="726"/>
                  </a:lnTo>
                  <a:lnTo>
                    <a:pt x="1648" y="728"/>
                  </a:lnTo>
                  <a:lnTo>
                    <a:pt x="1646" y="728"/>
                  </a:lnTo>
                  <a:lnTo>
                    <a:pt x="1644" y="730"/>
                  </a:lnTo>
                  <a:lnTo>
                    <a:pt x="1642" y="732"/>
                  </a:lnTo>
                  <a:lnTo>
                    <a:pt x="1642" y="732"/>
                  </a:lnTo>
                  <a:lnTo>
                    <a:pt x="1642" y="732"/>
                  </a:lnTo>
                  <a:lnTo>
                    <a:pt x="1640" y="730"/>
                  </a:lnTo>
                  <a:lnTo>
                    <a:pt x="1638" y="730"/>
                  </a:lnTo>
                  <a:lnTo>
                    <a:pt x="1636" y="728"/>
                  </a:lnTo>
                  <a:lnTo>
                    <a:pt x="1634" y="728"/>
                  </a:lnTo>
                  <a:lnTo>
                    <a:pt x="1634" y="728"/>
                  </a:lnTo>
                  <a:lnTo>
                    <a:pt x="1634" y="728"/>
                  </a:lnTo>
                  <a:lnTo>
                    <a:pt x="1632" y="728"/>
                  </a:lnTo>
                  <a:lnTo>
                    <a:pt x="1632" y="728"/>
                  </a:lnTo>
                  <a:lnTo>
                    <a:pt x="1630" y="728"/>
                  </a:lnTo>
                  <a:lnTo>
                    <a:pt x="1630" y="730"/>
                  </a:lnTo>
                  <a:lnTo>
                    <a:pt x="1630" y="730"/>
                  </a:lnTo>
                  <a:lnTo>
                    <a:pt x="1628" y="730"/>
                  </a:lnTo>
                  <a:lnTo>
                    <a:pt x="1628" y="732"/>
                  </a:lnTo>
                  <a:lnTo>
                    <a:pt x="1628" y="732"/>
                  </a:lnTo>
                  <a:lnTo>
                    <a:pt x="1628" y="732"/>
                  </a:lnTo>
                  <a:lnTo>
                    <a:pt x="1628" y="734"/>
                  </a:lnTo>
                  <a:lnTo>
                    <a:pt x="1628" y="738"/>
                  </a:lnTo>
                  <a:lnTo>
                    <a:pt x="1628" y="740"/>
                  </a:lnTo>
                  <a:lnTo>
                    <a:pt x="1628" y="746"/>
                  </a:lnTo>
                  <a:lnTo>
                    <a:pt x="1628" y="748"/>
                  </a:lnTo>
                  <a:lnTo>
                    <a:pt x="1628" y="750"/>
                  </a:lnTo>
                  <a:lnTo>
                    <a:pt x="1626" y="752"/>
                  </a:lnTo>
                  <a:lnTo>
                    <a:pt x="1626" y="752"/>
                  </a:lnTo>
                  <a:lnTo>
                    <a:pt x="1622" y="756"/>
                  </a:lnTo>
                  <a:lnTo>
                    <a:pt x="1618" y="758"/>
                  </a:lnTo>
                  <a:lnTo>
                    <a:pt x="1616" y="760"/>
                  </a:lnTo>
                  <a:lnTo>
                    <a:pt x="1614" y="762"/>
                  </a:lnTo>
                  <a:lnTo>
                    <a:pt x="1614" y="762"/>
                  </a:lnTo>
                  <a:lnTo>
                    <a:pt x="1614" y="762"/>
                  </a:lnTo>
                  <a:lnTo>
                    <a:pt x="1612" y="766"/>
                  </a:lnTo>
                  <a:lnTo>
                    <a:pt x="1608" y="772"/>
                  </a:lnTo>
                  <a:lnTo>
                    <a:pt x="1606" y="776"/>
                  </a:lnTo>
                  <a:lnTo>
                    <a:pt x="1606" y="776"/>
                  </a:lnTo>
                  <a:lnTo>
                    <a:pt x="1604" y="778"/>
                  </a:lnTo>
                  <a:lnTo>
                    <a:pt x="1602" y="778"/>
                  </a:lnTo>
                  <a:lnTo>
                    <a:pt x="1600" y="780"/>
                  </a:lnTo>
                  <a:lnTo>
                    <a:pt x="1596" y="780"/>
                  </a:lnTo>
                  <a:lnTo>
                    <a:pt x="1592" y="780"/>
                  </a:lnTo>
                  <a:lnTo>
                    <a:pt x="1584" y="780"/>
                  </a:lnTo>
                  <a:lnTo>
                    <a:pt x="1580" y="780"/>
                  </a:lnTo>
                  <a:lnTo>
                    <a:pt x="1578" y="780"/>
                  </a:lnTo>
                  <a:lnTo>
                    <a:pt x="1570" y="778"/>
                  </a:lnTo>
                  <a:lnTo>
                    <a:pt x="1564" y="778"/>
                  </a:lnTo>
                  <a:lnTo>
                    <a:pt x="1558" y="778"/>
                  </a:lnTo>
                  <a:lnTo>
                    <a:pt x="1554" y="778"/>
                  </a:lnTo>
                  <a:lnTo>
                    <a:pt x="1550" y="778"/>
                  </a:lnTo>
                  <a:lnTo>
                    <a:pt x="1548" y="778"/>
                  </a:lnTo>
                  <a:lnTo>
                    <a:pt x="1546" y="778"/>
                  </a:lnTo>
                  <a:lnTo>
                    <a:pt x="1542" y="780"/>
                  </a:lnTo>
                  <a:lnTo>
                    <a:pt x="1542" y="780"/>
                  </a:lnTo>
                  <a:lnTo>
                    <a:pt x="1542" y="780"/>
                  </a:lnTo>
                  <a:lnTo>
                    <a:pt x="1538" y="782"/>
                  </a:lnTo>
                  <a:lnTo>
                    <a:pt x="1538" y="784"/>
                  </a:lnTo>
                  <a:lnTo>
                    <a:pt x="1536" y="786"/>
                  </a:lnTo>
                  <a:lnTo>
                    <a:pt x="1534" y="786"/>
                  </a:lnTo>
                  <a:lnTo>
                    <a:pt x="1534" y="788"/>
                  </a:lnTo>
                  <a:lnTo>
                    <a:pt x="1534" y="788"/>
                  </a:lnTo>
                  <a:lnTo>
                    <a:pt x="1532" y="788"/>
                  </a:lnTo>
                  <a:lnTo>
                    <a:pt x="1532" y="792"/>
                  </a:lnTo>
                  <a:lnTo>
                    <a:pt x="1530" y="794"/>
                  </a:lnTo>
                  <a:lnTo>
                    <a:pt x="1528" y="798"/>
                  </a:lnTo>
                  <a:lnTo>
                    <a:pt x="1526" y="802"/>
                  </a:lnTo>
                  <a:lnTo>
                    <a:pt x="1526" y="804"/>
                  </a:lnTo>
                  <a:lnTo>
                    <a:pt x="1524" y="808"/>
                  </a:lnTo>
                  <a:lnTo>
                    <a:pt x="1522" y="808"/>
                  </a:lnTo>
                  <a:lnTo>
                    <a:pt x="1518" y="810"/>
                  </a:lnTo>
                  <a:lnTo>
                    <a:pt x="1516" y="812"/>
                  </a:lnTo>
                  <a:lnTo>
                    <a:pt x="1508" y="812"/>
                  </a:lnTo>
                  <a:lnTo>
                    <a:pt x="1506" y="812"/>
                  </a:lnTo>
                  <a:lnTo>
                    <a:pt x="1502" y="814"/>
                  </a:lnTo>
                  <a:lnTo>
                    <a:pt x="1498" y="814"/>
                  </a:lnTo>
                  <a:lnTo>
                    <a:pt x="1496" y="814"/>
                  </a:lnTo>
                  <a:lnTo>
                    <a:pt x="1496" y="814"/>
                  </a:lnTo>
                  <a:lnTo>
                    <a:pt x="1496" y="814"/>
                  </a:lnTo>
                  <a:lnTo>
                    <a:pt x="1494" y="816"/>
                  </a:lnTo>
                  <a:lnTo>
                    <a:pt x="1492" y="816"/>
                  </a:lnTo>
                  <a:lnTo>
                    <a:pt x="1492" y="816"/>
                  </a:lnTo>
                  <a:lnTo>
                    <a:pt x="1490" y="816"/>
                  </a:lnTo>
                  <a:lnTo>
                    <a:pt x="1488" y="818"/>
                  </a:lnTo>
                  <a:lnTo>
                    <a:pt x="1488" y="820"/>
                  </a:lnTo>
                  <a:lnTo>
                    <a:pt x="1486" y="820"/>
                  </a:lnTo>
                  <a:lnTo>
                    <a:pt x="1484" y="822"/>
                  </a:lnTo>
                  <a:lnTo>
                    <a:pt x="1482" y="824"/>
                  </a:lnTo>
                  <a:lnTo>
                    <a:pt x="1480" y="826"/>
                  </a:lnTo>
                  <a:lnTo>
                    <a:pt x="1476" y="828"/>
                  </a:lnTo>
                  <a:lnTo>
                    <a:pt x="1468" y="836"/>
                  </a:lnTo>
                  <a:lnTo>
                    <a:pt x="1464" y="838"/>
                  </a:lnTo>
                  <a:lnTo>
                    <a:pt x="1460" y="842"/>
                  </a:lnTo>
                  <a:lnTo>
                    <a:pt x="1456" y="844"/>
                  </a:lnTo>
                  <a:lnTo>
                    <a:pt x="1452" y="846"/>
                  </a:lnTo>
                  <a:lnTo>
                    <a:pt x="1450" y="846"/>
                  </a:lnTo>
                  <a:lnTo>
                    <a:pt x="1444" y="848"/>
                  </a:lnTo>
                  <a:lnTo>
                    <a:pt x="1440" y="848"/>
                  </a:lnTo>
                  <a:lnTo>
                    <a:pt x="1436" y="848"/>
                  </a:lnTo>
                  <a:lnTo>
                    <a:pt x="1432" y="848"/>
                  </a:lnTo>
                  <a:lnTo>
                    <a:pt x="1428" y="848"/>
                  </a:lnTo>
                  <a:lnTo>
                    <a:pt x="1426" y="848"/>
                  </a:lnTo>
                  <a:lnTo>
                    <a:pt x="1426" y="846"/>
                  </a:lnTo>
                  <a:lnTo>
                    <a:pt x="1426" y="846"/>
                  </a:lnTo>
                  <a:lnTo>
                    <a:pt x="1426" y="846"/>
                  </a:lnTo>
                  <a:lnTo>
                    <a:pt x="1426" y="844"/>
                  </a:lnTo>
                  <a:lnTo>
                    <a:pt x="1426" y="844"/>
                  </a:lnTo>
                  <a:lnTo>
                    <a:pt x="1428" y="840"/>
                  </a:lnTo>
                  <a:lnTo>
                    <a:pt x="1430" y="836"/>
                  </a:lnTo>
                  <a:lnTo>
                    <a:pt x="1434" y="830"/>
                  </a:lnTo>
                  <a:lnTo>
                    <a:pt x="1436" y="826"/>
                  </a:lnTo>
                  <a:lnTo>
                    <a:pt x="1438" y="822"/>
                  </a:lnTo>
                  <a:lnTo>
                    <a:pt x="1440" y="818"/>
                  </a:lnTo>
                  <a:lnTo>
                    <a:pt x="1440" y="818"/>
                  </a:lnTo>
                  <a:lnTo>
                    <a:pt x="1440" y="818"/>
                  </a:lnTo>
                  <a:lnTo>
                    <a:pt x="1442" y="812"/>
                  </a:lnTo>
                  <a:lnTo>
                    <a:pt x="1442" y="812"/>
                  </a:lnTo>
                  <a:lnTo>
                    <a:pt x="1442" y="806"/>
                  </a:lnTo>
                  <a:lnTo>
                    <a:pt x="1442" y="806"/>
                  </a:lnTo>
                  <a:lnTo>
                    <a:pt x="1442" y="806"/>
                  </a:lnTo>
                  <a:lnTo>
                    <a:pt x="1440" y="802"/>
                  </a:lnTo>
                  <a:lnTo>
                    <a:pt x="1440" y="802"/>
                  </a:lnTo>
                  <a:lnTo>
                    <a:pt x="1440" y="802"/>
                  </a:lnTo>
                  <a:lnTo>
                    <a:pt x="1440" y="800"/>
                  </a:lnTo>
                  <a:lnTo>
                    <a:pt x="1440" y="800"/>
                  </a:lnTo>
                  <a:lnTo>
                    <a:pt x="1440" y="800"/>
                  </a:lnTo>
                  <a:lnTo>
                    <a:pt x="1438" y="798"/>
                  </a:lnTo>
                  <a:lnTo>
                    <a:pt x="1438" y="798"/>
                  </a:lnTo>
                  <a:lnTo>
                    <a:pt x="1438" y="798"/>
                  </a:lnTo>
                  <a:lnTo>
                    <a:pt x="1436" y="796"/>
                  </a:lnTo>
                  <a:lnTo>
                    <a:pt x="1436" y="796"/>
                  </a:lnTo>
                  <a:lnTo>
                    <a:pt x="1436" y="796"/>
                  </a:lnTo>
                  <a:lnTo>
                    <a:pt x="1434" y="796"/>
                  </a:lnTo>
                  <a:lnTo>
                    <a:pt x="1434" y="796"/>
                  </a:lnTo>
                  <a:lnTo>
                    <a:pt x="1434" y="796"/>
                  </a:lnTo>
                  <a:lnTo>
                    <a:pt x="1432" y="796"/>
                  </a:lnTo>
                  <a:lnTo>
                    <a:pt x="1432" y="796"/>
                  </a:lnTo>
                  <a:lnTo>
                    <a:pt x="1432" y="798"/>
                  </a:lnTo>
                  <a:lnTo>
                    <a:pt x="1428" y="798"/>
                  </a:lnTo>
                  <a:lnTo>
                    <a:pt x="1424" y="802"/>
                  </a:lnTo>
                  <a:lnTo>
                    <a:pt x="1422" y="804"/>
                  </a:lnTo>
                  <a:lnTo>
                    <a:pt x="1418" y="806"/>
                  </a:lnTo>
                  <a:lnTo>
                    <a:pt x="1416" y="808"/>
                  </a:lnTo>
                  <a:lnTo>
                    <a:pt x="1418" y="804"/>
                  </a:lnTo>
                  <a:lnTo>
                    <a:pt x="1420" y="800"/>
                  </a:lnTo>
                  <a:lnTo>
                    <a:pt x="1422" y="796"/>
                  </a:lnTo>
                  <a:lnTo>
                    <a:pt x="1424" y="792"/>
                  </a:lnTo>
                  <a:lnTo>
                    <a:pt x="1424" y="786"/>
                  </a:lnTo>
                  <a:lnTo>
                    <a:pt x="1426" y="782"/>
                  </a:lnTo>
                  <a:lnTo>
                    <a:pt x="1426" y="782"/>
                  </a:lnTo>
                  <a:lnTo>
                    <a:pt x="1426" y="782"/>
                  </a:lnTo>
                  <a:lnTo>
                    <a:pt x="1426" y="780"/>
                  </a:lnTo>
                  <a:lnTo>
                    <a:pt x="1426" y="776"/>
                  </a:lnTo>
                  <a:lnTo>
                    <a:pt x="1426" y="776"/>
                  </a:lnTo>
                  <a:lnTo>
                    <a:pt x="1426" y="776"/>
                  </a:lnTo>
                  <a:lnTo>
                    <a:pt x="1424" y="770"/>
                  </a:lnTo>
                  <a:lnTo>
                    <a:pt x="1424" y="770"/>
                  </a:lnTo>
                  <a:lnTo>
                    <a:pt x="1424" y="770"/>
                  </a:lnTo>
                  <a:lnTo>
                    <a:pt x="1422" y="766"/>
                  </a:lnTo>
                  <a:lnTo>
                    <a:pt x="1422" y="766"/>
                  </a:lnTo>
                  <a:lnTo>
                    <a:pt x="1422" y="766"/>
                  </a:lnTo>
                  <a:lnTo>
                    <a:pt x="1420" y="764"/>
                  </a:lnTo>
                  <a:lnTo>
                    <a:pt x="1420" y="764"/>
                  </a:lnTo>
                  <a:lnTo>
                    <a:pt x="1420" y="764"/>
                  </a:lnTo>
                  <a:lnTo>
                    <a:pt x="1418" y="762"/>
                  </a:lnTo>
                  <a:lnTo>
                    <a:pt x="1418" y="762"/>
                  </a:lnTo>
                  <a:lnTo>
                    <a:pt x="1418" y="762"/>
                  </a:lnTo>
                  <a:lnTo>
                    <a:pt x="1416" y="760"/>
                  </a:lnTo>
                  <a:lnTo>
                    <a:pt x="1416" y="760"/>
                  </a:lnTo>
                  <a:lnTo>
                    <a:pt x="1416" y="760"/>
                  </a:lnTo>
                  <a:lnTo>
                    <a:pt x="1414" y="760"/>
                  </a:lnTo>
                  <a:lnTo>
                    <a:pt x="1414" y="760"/>
                  </a:lnTo>
                  <a:lnTo>
                    <a:pt x="1414" y="760"/>
                  </a:lnTo>
                  <a:lnTo>
                    <a:pt x="1410" y="758"/>
                  </a:lnTo>
                  <a:lnTo>
                    <a:pt x="1410" y="758"/>
                  </a:lnTo>
                  <a:lnTo>
                    <a:pt x="1408" y="758"/>
                  </a:lnTo>
                  <a:lnTo>
                    <a:pt x="1404" y="758"/>
                  </a:lnTo>
                  <a:lnTo>
                    <a:pt x="1404" y="758"/>
                  </a:lnTo>
                  <a:lnTo>
                    <a:pt x="1404" y="758"/>
                  </a:lnTo>
                  <a:lnTo>
                    <a:pt x="1400" y="758"/>
                  </a:lnTo>
                  <a:lnTo>
                    <a:pt x="1400" y="758"/>
                  </a:lnTo>
                  <a:lnTo>
                    <a:pt x="1400" y="758"/>
                  </a:lnTo>
                  <a:lnTo>
                    <a:pt x="1398" y="758"/>
                  </a:lnTo>
                  <a:lnTo>
                    <a:pt x="1398" y="758"/>
                  </a:lnTo>
                  <a:lnTo>
                    <a:pt x="1398" y="758"/>
                  </a:lnTo>
                  <a:lnTo>
                    <a:pt x="1394" y="760"/>
                  </a:lnTo>
                  <a:lnTo>
                    <a:pt x="1394" y="760"/>
                  </a:lnTo>
                  <a:lnTo>
                    <a:pt x="1394" y="762"/>
                  </a:lnTo>
                  <a:lnTo>
                    <a:pt x="1390" y="764"/>
                  </a:lnTo>
                  <a:lnTo>
                    <a:pt x="1390" y="764"/>
                  </a:lnTo>
                  <a:lnTo>
                    <a:pt x="1390" y="764"/>
                  </a:lnTo>
                  <a:lnTo>
                    <a:pt x="1388" y="768"/>
                  </a:lnTo>
                  <a:lnTo>
                    <a:pt x="1384" y="772"/>
                  </a:lnTo>
                  <a:lnTo>
                    <a:pt x="1382" y="776"/>
                  </a:lnTo>
                  <a:lnTo>
                    <a:pt x="1382" y="780"/>
                  </a:lnTo>
                  <a:lnTo>
                    <a:pt x="1378" y="786"/>
                  </a:lnTo>
                  <a:lnTo>
                    <a:pt x="1376" y="794"/>
                  </a:lnTo>
                  <a:lnTo>
                    <a:pt x="1374" y="798"/>
                  </a:lnTo>
                  <a:lnTo>
                    <a:pt x="1374" y="802"/>
                  </a:lnTo>
                  <a:lnTo>
                    <a:pt x="1374" y="808"/>
                  </a:lnTo>
                  <a:lnTo>
                    <a:pt x="1374" y="812"/>
                  </a:lnTo>
                  <a:lnTo>
                    <a:pt x="1376" y="820"/>
                  </a:lnTo>
                  <a:lnTo>
                    <a:pt x="1376" y="826"/>
                  </a:lnTo>
                  <a:lnTo>
                    <a:pt x="1378" y="828"/>
                  </a:lnTo>
                  <a:lnTo>
                    <a:pt x="1376" y="832"/>
                  </a:lnTo>
                  <a:lnTo>
                    <a:pt x="1376" y="834"/>
                  </a:lnTo>
                  <a:lnTo>
                    <a:pt x="1376" y="836"/>
                  </a:lnTo>
                  <a:lnTo>
                    <a:pt x="1374" y="838"/>
                  </a:lnTo>
                  <a:lnTo>
                    <a:pt x="1372" y="838"/>
                  </a:lnTo>
                  <a:lnTo>
                    <a:pt x="1370" y="840"/>
                  </a:lnTo>
                  <a:lnTo>
                    <a:pt x="1366" y="840"/>
                  </a:lnTo>
                  <a:lnTo>
                    <a:pt x="1366" y="842"/>
                  </a:lnTo>
                  <a:lnTo>
                    <a:pt x="1364" y="840"/>
                  </a:lnTo>
                  <a:lnTo>
                    <a:pt x="1364" y="840"/>
                  </a:lnTo>
                  <a:lnTo>
                    <a:pt x="1362" y="838"/>
                  </a:lnTo>
                  <a:lnTo>
                    <a:pt x="1362" y="836"/>
                  </a:lnTo>
                  <a:lnTo>
                    <a:pt x="1360" y="832"/>
                  </a:lnTo>
                  <a:lnTo>
                    <a:pt x="1360" y="828"/>
                  </a:lnTo>
                  <a:lnTo>
                    <a:pt x="1358" y="822"/>
                  </a:lnTo>
                  <a:lnTo>
                    <a:pt x="1358" y="816"/>
                  </a:lnTo>
                  <a:lnTo>
                    <a:pt x="1358" y="812"/>
                  </a:lnTo>
                  <a:lnTo>
                    <a:pt x="1358" y="808"/>
                  </a:lnTo>
                  <a:lnTo>
                    <a:pt x="1358" y="798"/>
                  </a:lnTo>
                  <a:lnTo>
                    <a:pt x="1360" y="790"/>
                  </a:lnTo>
                  <a:lnTo>
                    <a:pt x="1360" y="790"/>
                  </a:lnTo>
                  <a:lnTo>
                    <a:pt x="1362" y="782"/>
                  </a:lnTo>
                  <a:lnTo>
                    <a:pt x="1364" y="780"/>
                  </a:lnTo>
                  <a:lnTo>
                    <a:pt x="1366" y="776"/>
                  </a:lnTo>
                  <a:lnTo>
                    <a:pt x="1368" y="774"/>
                  </a:lnTo>
                  <a:lnTo>
                    <a:pt x="1372" y="770"/>
                  </a:lnTo>
                  <a:lnTo>
                    <a:pt x="1376" y="768"/>
                  </a:lnTo>
                  <a:lnTo>
                    <a:pt x="1380" y="766"/>
                  </a:lnTo>
                  <a:lnTo>
                    <a:pt x="1384" y="764"/>
                  </a:lnTo>
                  <a:lnTo>
                    <a:pt x="1388" y="762"/>
                  </a:lnTo>
                  <a:lnTo>
                    <a:pt x="1392" y="760"/>
                  </a:lnTo>
                  <a:lnTo>
                    <a:pt x="1392" y="760"/>
                  </a:lnTo>
                  <a:lnTo>
                    <a:pt x="1392" y="758"/>
                  </a:lnTo>
                  <a:lnTo>
                    <a:pt x="1394" y="756"/>
                  </a:lnTo>
                  <a:lnTo>
                    <a:pt x="1394" y="756"/>
                  </a:lnTo>
                  <a:lnTo>
                    <a:pt x="1396" y="756"/>
                  </a:lnTo>
                  <a:lnTo>
                    <a:pt x="1398" y="754"/>
                  </a:lnTo>
                  <a:lnTo>
                    <a:pt x="1398" y="752"/>
                  </a:lnTo>
                  <a:lnTo>
                    <a:pt x="1398" y="752"/>
                  </a:lnTo>
                  <a:lnTo>
                    <a:pt x="1398" y="750"/>
                  </a:lnTo>
                  <a:lnTo>
                    <a:pt x="1400" y="748"/>
                  </a:lnTo>
                  <a:lnTo>
                    <a:pt x="1400" y="748"/>
                  </a:lnTo>
                  <a:lnTo>
                    <a:pt x="1400" y="748"/>
                  </a:lnTo>
                  <a:lnTo>
                    <a:pt x="1400" y="746"/>
                  </a:lnTo>
                  <a:lnTo>
                    <a:pt x="1400" y="746"/>
                  </a:lnTo>
                  <a:lnTo>
                    <a:pt x="1400" y="744"/>
                  </a:lnTo>
                  <a:lnTo>
                    <a:pt x="1400" y="742"/>
                  </a:lnTo>
                  <a:lnTo>
                    <a:pt x="1400" y="742"/>
                  </a:lnTo>
                  <a:lnTo>
                    <a:pt x="1400" y="742"/>
                  </a:lnTo>
                  <a:lnTo>
                    <a:pt x="1400" y="740"/>
                  </a:lnTo>
                  <a:lnTo>
                    <a:pt x="1400" y="740"/>
                  </a:lnTo>
                  <a:lnTo>
                    <a:pt x="1400" y="738"/>
                  </a:lnTo>
                  <a:lnTo>
                    <a:pt x="1398" y="736"/>
                  </a:lnTo>
                  <a:lnTo>
                    <a:pt x="1398" y="736"/>
                  </a:lnTo>
                  <a:lnTo>
                    <a:pt x="1398" y="736"/>
                  </a:lnTo>
                  <a:lnTo>
                    <a:pt x="1396" y="736"/>
                  </a:lnTo>
                  <a:lnTo>
                    <a:pt x="1396" y="736"/>
                  </a:lnTo>
                  <a:lnTo>
                    <a:pt x="1394" y="734"/>
                  </a:lnTo>
                  <a:lnTo>
                    <a:pt x="1392" y="734"/>
                  </a:lnTo>
                  <a:lnTo>
                    <a:pt x="1386" y="732"/>
                  </a:lnTo>
                  <a:lnTo>
                    <a:pt x="1382" y="732"/>
                  </a:lnTo>
                  <a:lnTo>
                    <a:pt x="1376" y="732"/>
                  </a:lnTo>
                  <a:lnTo>
                    <a:pt x="1368" y="732"/>
                  </a:lnTo>
                  <a:lnTo>
                    <a:pt x="1362" y="732"/>
                  </a:lnTo>
                  <a:lnTo>
                    <a:pt x="1356" y="732"/>
                  </a:lnTo>
                  <a:lnTo>
                    <a:pt x="1348" y="732"/>
                  </a:lnTo>
                  <a:lnTo>
                    <a:pt x="1342" y="732"/>
                  </a:lnTo>
                  <a:lnTo>
                    <a:pt x="1334" y="732"/>
                  </a:lnTo>
                  <a:lnTo>
                    <a:pt x="1326" y="734"/>
                  </a:lnTo>
                  <a:lnTo>
                    <a:pt x="1320" y="736"/>
                  </a:lnTo>
                  <a:lnTo>
                    <a:pt x="1312" y="736"/>
                  </a:lnTo>
                  <a:lnTo>
                    <a:pt x="1308" y="736"/>
                  </a:lnTo>
                  <a:lnTo>
                    <a:pt x="1306" y="736"/>
                  </a:lnTo>
                  <a:lnTo>
                    <a:pt x="1304" y="736"/>
                  </a:lnTo>
                  <a:lnTo>
                    <a:pt x="1302" y="736"/>
                  </a:lnTo>
                  <a:lnTo>
                    <a:pt x="1304" y="736"/>
                  </a:lnTo>
                  <a:lnTo>
                    <a:pt x="1306" y="734"/>
                  </a:lnTo>
                  <a:lnTo>
                    <a:pt x="1308" y="732"/>
                  </a:lnTo>
                  <a:lnTo>
                    <a:pt x="1314" y="728"/>
                  </a:lnTo>
                  <a:lnTo>
                    <a:pt x="1318" y="724"/>
                  </a:lnTo>
                  <a:lnTo>
                    <a:pt x="1324" y="722"/>
                  </a:lnTo>
                  <a:lnTo>
                    <a:pt x="1326" y="720"/>
                  </a:lnTo>
                  <a:lnTo>
                    <a:pt x="1328" y="718"/>
                  </a:lnTo>
                  <a:lnTo>
                    <a:pt x="1328" y="716"/>
                  </a:lnTo>
                  <a:lnTo>
                    <a:pt x="1328" y="716"/>
                  </a:lnTo>
                  <a:lnTo>
                    <a:pt x="1330" y="716"/>
                  </a:lnTo>
                  <a:lnTo>
                    <a:pt x="1330" y="714"/>
                  </a:lnTo>
                  <a:lnTo>
                    <a:pt x="1330" y="714"/>
                  </a:lnTo>
                  <a:lnTo>
                    <a:pt x="1330" y="712"/>
                  </a:lnTo>
                  <a:lnTo>
                    <a:pt x="1330" y="710"/>
                  </a:lnTo>
                  <a:lnTo>
                    <a:pt x="1330" y="710"/>
                  </a:lnTo>
                  <a:lnTo>
                    <a:pt x="1328" y="710"/>
                  </a:lnTo>
                  <a:lnTo>
                    <a:pt x="1326" y="708"/>
                  </a:lnTo>
                  <a:lnTo>
                    <a:pt x="1326" y="708"/>
                  </a:lnTo>
                  <a:lnTo>
                    <a:pt x="1326" y="708"/>
                  </a:lnTo>
                  <a:lnTo>
                    <a:pt x="1322" y="706"/>
                  </a:lnTo>
                  <a:lnTo>
                    <a:pt x="1318" y="706"/>
                  </a:lnTo>
                  <a:lnTo>
                    <a:pt x="1314" y="706"/>
                  </a:lnTo>
                  <a:lnTo>
                    <a:pt x="1310" y="706"/>
                  </a:lnTo>
                  <a:lnTo>
                    <a:pt x="1306" y="704"/>
                  </a:lnTo>
                  <a:lnTo>
                    <a:pt x="1302" y="704"/>
                  </a:lnTo>
                  <a:lnTo>
                    <a:pt x="1296" y="704"/>
                  </a:lnTo>
                  <a:lnTo>
                    <a:pt x="1292" y="704"/>
                  </a:lnTo>
                  <a:lnTo>
                    <a:pt x="1282" y="704"/>
                  </a:lnTo>
                  <a:lnTo>
                    <a:pt x="1272" y="704"/>
                  </a:lnTo>
                  <a:lnTo>
                    <a:pt x="1260" y="704"/>
                  </a:lnTo>
                  <a:lnTo>
                    <a:pt x="1258" y="704"/>
                  </a:lnTo>
                  <a:lnTo>
                    <a:pt x="1256" y="704"/>
                  </a:lnTo>
                  <a:lnTo>
                    <a:pt x="1256" y="704"/>
                  </a:lnTo>
                  <a:lnTo>
                    <a:pt x="1256" y="704"/>
                  </a:lnTo>
                  <a:lnTo>
                    <a:pt x="1256" y="704"/>
                  </a:lnTo>
                  <a:lnTo>
                    <a:pt x="1254" y="704"/>
                  </a:lnTo>
                  <a:lnTo>
                    <a:pt x="1254" y="704"/>
                  </a:lnTo>
                  <a:lnTo>
                    <a:pt x="1252" y="704"/>
                  </a:lnTo>
                  <a:lnTo>
                    <a:pt x="1250" y="704"/>
                  </a:lnTo>
                  <a:lnTo>
                    <a:pt x="1248" y="702"/>
                  </a:lnTo>
                  <a:lnTo>
                    <a:pt x="1244" y="702"/>
                  </a:lnTo>
                  <a:lnTo>
                    <a:pt x="1238" y="702"/>
                  </a:lnTo>
                  <a:lnTo>
                    <a:pt x="1232" y="702"/>
                  </a:lnTo>
                  <a:lnTo>
                    <a:pt x="1210" y="702"/>
                  </a:lnTo>
                  <a:lnTo>
                    <a:pt x="1206" y="702"/>
                  </a:lnTo>
                  <a:lnTo>
                    <a:pt x="1192" y="702"/>
                  </a:lnTo>
                  <a:lnTo>
                    <a:pt x="1180" y="702"/>
                  </a:lnTo>
                  <a:lnTo>
                    <a:pt x="1164" y="702"/>
                  </a:lnTo>
                  <a:lnTo>
                    <a:pt x="1148" y="702"/>
                  </a:lnTo>
                  <a:lnTo>
                    <a:pt x="1132" y="702"/>
                  </a:lnTo>
                  <a:lnTo>
                    <a:pt x="1116" y="702"/>
                  </a:lnTo>
                  <a:lnTo>
                    <a:pt x="1100" y="702"/>
                  </a:lnTo>
                  <a:lnTo>
                    <a:pt x="1084" y="702"/>
                  </a:lnTo>
                  <a:lnTo>
                    <a:pt x="1068" y="702"/>
                  </a:lnTo>
                  <a:lnTo>
                    <a:pt x="1052" y="702"/>
                  </a:lnTo>
                  <a:lnTo>
                    <a:pt x="1038" y="702"/>
                  </a:lnTo>
                  <a:lnTo>
                    <a:pt x="1026" y="702"/>
                  </a:lnTo>
                  <a:lnTo>
                    <a:pt x="1020" y="702"/>
                  </a:lnTo>
                  <a:lnTo>
                    <a:pt x="932" y="702"/>
                  </a:lnTo>
                  <a:lnTo>
                    <a:pt x="916" y="702"/>
                  </a:lnTo>
                  <a:lnTo>
                    <a:pt x="910" y="702"/>
                  </a:lnTo>
                  <a:lnTo>
                    <a:pt x="902" y="702"/>
                  </a:lnTo>
                  <a:lnTo>
                    <a:pt x="896" y="704"/>
                  </a:lnTo>
                  <a:lnTo>
                    <a:pt x="890" y="704"/>
                  </a:lnTo>
                  <a:lnTo>
                    <a:pt x="886" y="704"/>
                  </a:lnTo>
                  <a:lnTo>
                    <a:pt x="880" y="704"/>
                  </a:lnTo>
                  <a:lnTo>
                    <a:pt x="876" y="704"/>
                  </a:lnTo>
                  <a:lnTo>
                    <a:pt x="872" y="704"/>
                  </a:lnTo>
                  <a:lnTo>
                    <a:pt x="870" y="704"/>
                  </a:lnTo>
                  <a:lnTo>
                    <a:pt x="868" y="704"/>
                  </a:lnTo>
                  <a:lnTo>
                    <a:pt x="866" y="702"/>
                  </a:lnTo>
                  <a:lnTo>
                    <a:pt x="866" y="702"/>
                  </a:lnTo>
                  <a:lnTo>
                    <a:pt x="864" y="702"/>
                  </a:lnTo>
                  <a:lnTo>
                    <a:pt x="864" y="702"/>
                  </a:lnTo>
                  <a:lnTo>
                    <a:pt x="864" y="702"/>
                  </a:lnTo>
                  <a:lnTo>
                    <a:pt x="862" y="704"/>
                  </a:lnTo>
                  <a:lnTo>
                    <a:pt x="860" y="704"/>
                  </a:lnTo>
                  <a:lnTo>
                    <a:pt x="860" y="704"/>
                  </a:lnTo>
                  <a:lnTo>
                    <a:pt x="860" y="704"/>
                  </a:lnTo>
                  <a:lnTo>
                    <a:pt x="858" y="706"/>
                  </a:lnTo>
                  <a:lnTo>
                    <a:pt x="858" y="706"/>
                  </a:lnTo>
                  <a:lnTo>
                    <a:pt x="858" y="708"/>
                  </a:lnTo>
                  <a:lnTo>
                    <a:pt x="858" y="710"/>
                  </a:lnTo>
                  <a:lnTo>
                    <a:pt x="858" y="710"/>
                  </a:lnTo>
                  <a:lnTo>
                    <a:pt x="860" y="710"/>
                  </a:lnTo>
                  <a:lnTo>
                    <a:pt x="860" y="714"/>
                  </a:lnTo>
                  <a:lnTo>
                    <a:pt x="862" y="718"/>
                  </a:lnTo>
                  <a:lnTo>
                    <a:pt x="864" y="722"/>
                  </a:lnTo>
                  <a:lnTo>
                    <a:pt x="866" y="728"/>
                  </a:lnTo>
                  <a:lnTo>
                    <a:pt x="868" y="732"/>
                  </a:lnTo>
                  <a:lnTo>
                    <a:pt x="868" y="734"/>
                  </a:lnTo>
                  <a:lnTo>
                    <a:pt x="868" y="736"/>
                  </a:lnTo>
                  <a:lnTo>
                    <a:pt x="868" y="738"/>
                  </a:lnTo>
                  <a:lnTo>
                    <a:pt x="868" y="738"/>
                  </a:lnTo>
                  <a:lnTo>
                    <a:pt x="866" y="740"/>
                  </a:lnTo>
                  <a:lnTo>
                    <a:pt x="866" y="740"/>
                  </a:lnTo>
                  <a:lnTo>
                    <a:pt x="862" y="742"/>
                  </a:lnTo>
                  <a:lnTo>
                    <a:pt x="856" y="742"/>
                  </a:lnTo>
                  <a:lnTo>
                    <a:pt x="854" y="742"/>
                  </a:lnTo>
                  <a:lnTo>
                    <a:pt x="850" y="740"/>
                  </a:lnTo>
                  <a:lnTo>
                    <a:pt x="844" y="740"/>
                  </a:lnTo>
                  <a:lnTo>
                    <a:pt x="840" y="738"/>
                  </a:lnTo>
                  <a:lnTo>
                    <a:pt x="834" y="736"/>
                  </a:lnTo>
                  <a:lnTo>
                    <a:pt x="828" y="734"/>
                  </a:lnTo>
                  <a:lnTo>
                    <a:pt x="824" y="734"/>
                  </a:lnTo>
                  <a:lnTo>
                    <a:pt x="824" y="734"/>
                  </a:lnTo>
                  <a:lnTo>
                    <a:pt x="824" y="734"/>
                  </a:lnTo>
                  <a:lnTo>
                    <a:pt x="820" y="734"/>
                  </a:lnTo>
                  <a:lnTo>
                    <a:pt x="820" y="734"/>
                  </a:lnTo>
                  <a:lnTo>
                    <a:pt x="820" y="734"/>
                  </a:lnTo>
                  <a:lnTo>
                    <a:pt x="818" y="734"/>
                  </a:lnTo>
                  <a:lnTo>
                    <a:pt x="818" y="734"/>
                  </a:lnTo>
                  <a:lnTo>
                    <a:pt x="816" y="736"/>
                  </a:lnTo>
                  <a:lnTo>
                    <a:pt x="814" y="736"/>
                  </a:lnTo>
                  <a:lnTo>
                    <a:pt x="814" y="736"/>
                  </a:lnTo>
                  <a:lnTo>
                    <a:pt x="814" y="738"/>
                  </a:lnTo>
                  <a:lnTo>
                    <a:pt x="814" y="740"/>
                  </a:lnTo>
                  <a:lnTo>
                    <a:pt x="814" y="740"/>
                  </a:lnTo>
                  <a:lnTo>
                    <a:pt x="814" y="740"/>
                  </a:lnTo>
                  <a:lnTo>
                    <a:pt x="812" y="742"/>
                  </a:lnTo>
                  <a:lnTo>
                    <a:pt x="812" y="746"/>
                  </a:lnTo>
                  <a:lnTo>
                    <a:pt x="812" y="750"/>
                  </a:lnTo>
                  <a:lnTo>
                    <a:pt x="814" y="754"/>
                  </a:lnTo>
                  <a:lnTo>
                    <a:pt x="814" y="758"/>
                  </a:lnTo>
                  <a:lnTo>
                    <a:pt x="814" y="764"/>
                  </a:lnTo>
                  <a:lnTo>
                    <a:pt x="816" y="770"/>
                  </a:lnTo>
                  <a:lnTo>
                    <a:pt x="816" y="778"/>
                  </a:lnTo>
                  <a:lnTo>
                    <a:pt x="818" y="786"/>
                  </a:lnTo>
                  <a:lnTo>
                    <a:pt x="820" y="802"/>
                  </a:lnTo>
                  <a:lnTo>
                    <a:pt x="820" y="810"/>
                  </a:lnTo>
                  <a:lnTo>
                    <a:pt x="822" y="818"/>
                  </a:lnTo>
                  <a:lnTo>
                    <a:pt x="822" y="824"/>
                  </a:lnTo>
                  <a:lnTo>
                    <a:pt x="822" y="832"/>
                  </a:lnTo>
                  <a:lnTo>
                    <a:pt x="822" y="844"/>
                  </a:lnTo>
                  <a:lnTo>
                    <a:pt x="822" y="852"/>
                  </a:lnTo>
                  <a:lnTo>
                    <a:pt x="822" y="858"/>
                  </a:lnTo>
                  <a:lnTo>
                    <a:pt x="822" y="866"/>
                  </a:lnTo>
                  <a:lnTo>
                    <a:pt x="824" y="872"/>
                  </a:lnTo>
                  <a:lnTo>
                    <a:pt x="828" y="886"/>
                  </a:lnTo>
                  <a:lnTo>
                    <a:pt x="832" y="902"/>
                  </a:lnTo>
                  <a:lnTo>
                    <a:pt x="838" y="916"/>
                  </a:lnTo>
                  <a:lnTo>
                    <a:pt x="840" y="922"/>
                  </a:lnTo>
                  <a:lnTo>
                    <a:pt x="844" y="930"/>
                  </a:lnTo>
                  <a:lnTo>
                    <a:pt x="848" y="938"/>
                  </a:lnTo>
                  <a:lnTo>
                    <a:pt x="854" y="946"/>
                  </a:lnTo>
                  <a:lnTo>
                    <a:pt x="858" y="956"/>
                  </a:lnTo>
                  <a:lnTo>
                    <a:pt x="864" y="964"/>
                  </a:lnTo>
                  <a:lnTo>
                    <a:pt x="870" y="972"/>
                  </a:lnTo>
                  <a:lnTo>
                    <a:pt x="876" y="980"/>
                  </a:lnTo>
                  <a:lnTo>
                    <a:pt x="882" y="986"/>
                  </a:lnTo>
                  <a:lnTo>
                    <a:pt x="884" y="990"/>
                  </a:lnTo>
                  <a:lnTo>
                    <a:pt x="886" y="992"/>
                  </a:lnTo>
                  <a:lnTo>
                    <a:pt x="886" y="992"/>
                  </a:lnTo>
                  <a:lnTo>
                    <a:pt x="886" y="992"/>
                  </a:lnTo>
                  <a:lnTo>
                    <a:pt x="892" y="996"/>
                  </a:lnTo>
                  <a:lnTo>
                    <a:pt x="892" y="996"/>
                  </a:lnTo>
                  <a:lnTo>
                    <a:pt x="892" y="996"/>
                  </a:lnTo>
                  <a:lnTo>
                    <a:pt x="896" y="998"/>
                  </a:lnTo>
                  <a:lnTo>
                    <a:pt x="896" y="998"/>
                  </a:lnTo>
                  <a:lnTo>
                    <a:pt x="898" y="998"/>
                  </a:lnTo>
                  <a:lnTo>
                    <a:pt x="902" y="1000"/>
                  </a:lnTo>
                  <a:lnTo>
                    <a:pt x="906" y="1002"/>
                  </a:lnTo>
                  <a:lnTo>
                    <a:pt x="912" y="1002"/>
                  </a:lnTo>
                  <a:lnTo>
                    <a:pt x="916" y="1002"/>
                  </a:lnTo>
                  <a:lnTo>
                    <a:pt x="918" y="1002"/>
                  </a:lnTo>
                  <a:lnTo>
                    <a:pt x="922" y="1004"/>
                  </a:lnTo>
                  <a:lnTo>
                    <a:pt x="924" y="1004"/>
                  </a:lnTo>
                  <a:lnTo>
                    <a:pt x="926" y="1006"/>
                  </a:lnTo>
                  <a:lnTo>
                    <a:pt x="926" y="1008"/>
                  </a:lnTo>
                  <a:lnTo>
                    <a:pt x="928" y="1010"/>
                  </a:lnTo>
                  <a:lnTo>
                    <a:pt x="930" y="1010"/>
                  </a:lnTo>
                  <a:lnTo>
                    <a:pt x="930" y="1010"/>
                  </a:lnTo>
                  <a:lnTo>
                    <a:pt x="930" y="1012"/>
                  </a:lnTo>
                  <a:lnTo>
                    <a:pt x="932" y="1012"/>
                  </a:lnTo>
                  <a:lnTo>
                    <a:pt x="932" y="1012"/>
                  </a:lnTo>
                  <a:lnTo>
                    <a:pt x="932" y="1012"/>
                  </a:lnTo>
                  <a:lnTo>
                    <a:pt x="934" y="1014"/>
                  </a:lnTo>
                  <a:lnTo>
                    <a:pt x="934" y="1014"/>
                  </a:lnTo>
                  <a:lnTo>
                    <a:pt x="934" y="1014"/>
                  </a:lnTo>
                  <a:lnTo>
                    <a:pt x="936" y="1014"/>
                  </a:lnTo>
                  <a:lnTo>
                    <a:pt x="936" y="1014"/>
                  </a:lnTo>
                  <a:lnTo>
                    <a:pt x="938" y="1014"/>
                  </a:lnTo>
                  <a:lnTo>
                    <a:pt x="940" y="1014"/>
                  </a:lnTo>
                  <a:lnTo>
                    <a:pt x="940" y="1014"/>
                  </a:lnTo>
                  <a:lnTo>
                    <a:pt x="940" y="1014"/>
                  </a:lnTo>
                  <a:lnTo>
                    <a:pt x="942" y="1012"/>
                  </a:lnTo>
                  <a:lnTo>
                    <a:pt x="946" y="1010"/>
                  </a:lnTo>
                  <a:lnTo>
                    <a:pt x="948" y="1008"/>
                  </a:lnTo>
                  <a:lnTo>
                    <a:pt x="952" y="1006"/>
                  </a:lnTo>
                  <a:lnTo>
                    <a:pt x="954" y="1004"/>
                  </a:lnTo>
                  <a:lnTo>
                    <a:pt x="956" y="1004"/>
                  </a:lnTo>
                  <a:lnTo>
                    <a:pt x="956" y="1004"/>
                  </a:lnTo>
                  <a:lnTo>
                    <a:pt x="958" y="1004"/>
                  </a:lnTo>
                  <a:lnTo>
                    <a:pt x="958" y="1004"/>
                  </a:lnTo>
                  <a:lnTo>
                    <a:pt x="958" y="1006"/>
                  </a:lnTo>
                  <a:lnTo>
                    <a:pt x="960" y="1006"/>
                  </a:lnTo>
                  <a:lnTo>
                    <a:pt x="960" y="1008"/>
                  </a:lnTo>
                  <a:lnTo>
                    <a:pt x="962" y="1010"/>
                  </a:lnTo>
                  <a:lnTo>
                    <a:pt x="964" y="1012"/>
                  </a:lnTo>
                  <a:lnTo>
                    <a:pt x="964" y="1012"/>
                  </a:lnTo>
                  <a:lnTo>
                    <a:pt x="964" y="1014"/>
                  </a:lnTo>
                  <a:lnTo>
                    <a:pt x="966" y="1016"/>
                  </a:lnTo>
                  <a:lnTo>
                    <a:pt x="970" y="1018"/>
                  </a:lnTo>
                  <a:lnTo>
                    <a:pt x="974" y="1020"/>
                  </a:lnTo>
                  <a:lnTo>
                    <a:pt x="980" y="1022"/>
                  </a:lnTo>
                  <a:lnTo>
                    <a:pt x="984" y="1024"/>
                  </a:lnTo>
                  <a:lnTo>
                    <a:pt x="994" y="1028"/>
                  </a:lnTo>
                  <a:lnTo>
                    <a:pt x="998" y="1030"/>
                  </a:lnTo>
                  <a:lnTo>
                    <a:pt x="1002" y="1032"/>
                  </a:lnTo>
                  <a:lnTo>
                    <a:pt x="1004" y="1032"/>
                  </a:lnTo>
                  <a:lnTo>
                    <a:pt x="1008" y="1034"/>
                  </a:lnTo>
                  <a:lnTo>
                    <a:pt x="1010" y="1034"/>
                  </a:lnTo>
                  <a:lnTo>
                    <a:pt x="1012" y="1034"/>
                  </a:lnTo>
                  <a:lnTo>
                    <a:pt x="1016" y="1036"/>
                  </a:lnTo>
                  <a:lnTo>
                    <a:pt x="1018" y="1036"/>
                  </a:lnTo>
                  <a:lnTo>
                    <a:pt x="1020" y="1036"/>
                  </a:lnTo>
                  <a:lnTo>
                    <a:pt x="1024" y="1036"/>
                  </a:lnTo>
                  <a:lnTo>
                    <a:pt x="1028" y="1036"/>
                  </a:lnTo>
                  <a:lnTo>
                    <a:pt x="1036" y="1036"/>
                  </a:lnTo>
                  <a:lnTo>
                    <a:pt x="1040" y="1036"/>
                  </a:lnTo>
                  <a:lnTo>
                    <a:pt x="1044" y="1036"/>
                  </a:lnTo>
                  <a:lnTo>
                    <a:pt x="1048" y="1034"/>
                  </a:lnTo>
                  <a:lnTo>
                    <a:pt x="1048" y="1034"/>
                  </a:lnTo>
                  <a:lnTo>
                    <a:pt x="1050" y="1034"/>
                  </a:lnTo>
                  <a:lnTo>
                    <a:pt x="1052" y="1034"/>
                  </a:lnTo>
                  <a:lnTo>
                    <a:pt x="1052" y="1034"/>
                  </a:lnTo>
                  <a:lnTo>
                    <a:pt x="1052" y="1034"/>
                  </a:lnTo>
                  <a:lnTo>
                    <a:pt x="1054" y="1032"/>
                  </a:lnTo>
                  <a:lnTo>
                    <a:pt x="1054" y="1032"/>
                  </a:lnTo>
                  <a:lnTo>
                    <a:pt x="1056" y="1030"/>
                  </a:lnTo>
                  <a:lnTo>
                    <a:pt x="1056" y="1028"/>
                  </a:lnTo>
                  <a:lnTo>
                    <a:pt x="1056" y="1028"/>
                  </a:lnTo>
                  <a:lnTo>
                    <a:pt x="1056" y="1028"/>
                  </a:lnTo>
                  <a:lnTo>
                    <a:pt x="1056" y="1026"/>
                  </a:lnTo>
                  <a:lnTo>
                    <a:pt x="1056" y="1026"/>
                  </a:lnTo>
                  <a:lnTo>
                    <a:pt x="1056" y="1026"/>
                  </a:lnTo>
                  <a:lnTo>
                    <a:pt x="1056" y="1022"/>
                  </a:lnTo>
                  <a:lnTo>
                    <a:pt x="1058" y="1020"/>
                  </a:lnTo>
                  <a:lnTo>
                    <a:pt x="1058" y="1020"/>
                  </a:lnTo>
                  <a:lnTo>
                    <a:pt x="1058" y="1020"/>
                  </a:lnTo>
                  <a:lnTo>
                    <a:pt x="1060" y="1020"/>
                  </a:lnTo>
                  <a:lnTo>
                    <a:pt x="1062" y="1022"/>
                  </a:lnTo>
                  <a:lnTo>
                    <a:pt x="1066" y="1024"/>
                  </a:lnTo>
                  <a:lnTo>
                    <a:pt x="1068" y="1026"/>
                  </a:lnTo>
                  <a:lnTo>
                    <a:pt x="1072" y="1028"/>
                  </a:lnTo>
                  <a:lnTo>
                    <a:pt x="1080" y="1034"/>
                  </a:lnTo>
                  <a:lnTo>
                    <a:pt x="1084" y="1036"/>
                  </a:lnTo>
                  <a:lnTo>
                    <a:pt x="1088" y="1040"/>
                  </a:lnTo>
                  <a:lnTo>
                    <a:pt x="1094" y="1046"/>
                  </a:lnTo>
                  <a:lnTo>
                    <a:pt x="1100" y="1050"/>
                  </a:lnTo>
                  <a:lnTo>
                    <a:pt x="1106" y="1056"/>
                  </a:lnTo>
                  <a:lnTo>
                    <a:pt x="1112" y="1060"/>
                  </a:lnTo>
                  <a:lnTo>
                    <a:pt x="1116" y="1064"/>
                  </a:lnTo>
                  <a:lnTo>
                    <a:pt x="1122" y="1066"/>
                  </a:lnTo>
                  <a:lnTo>
                    <a:pt x="1122" y="1066"/>
                  </a:lnTo>
                  <a:lnTo>
                    <a:pt x="1122" y="1066"/>
                  </a:lnTo>
                  <a:lnTo>
                    <a:pt x="1124" y="1068"/>
                  </a:lnTo>
                  <a:lnTo>
                    <a:pt x="1124" y="1068"/>
                  </a:lnTo>
                  <a:lnTo>
                    <a:pt x="1124" y="1068"/>
                  </a:lnTo>
                  <a:lnTo>
                    <a:pt x="1126" y="1068"/>
                  </a:lnTo>
                  <a:lnTo>
                    <a:pt x="1126" y="1068"/>
                  </a:lnTo>
                  <a:lnTo>
                    <a:pt x="1126" y="1068"/>
                  </a:lnTo>
                  <a:lnTo>
                    <a:pt x="1130" y="1068"/>
                  </a:lnTo>
                  <a:lnTo>
                    <a:pt x="1130" y="1068"/>
                  </a:lnTo>
                  <a:lnTo>
                    <a:pt x="1130" y="1068"/>
                  </a:lnTo>
                  <a:lnTo>
                    <a:pt x="1132" y="1066"/>
                  </a:lnTo>
                  <a:lnTo>
                    <a:pt x="1132" y="1066"/>
                  </a:lnTo>
                  <a:lnTo>
                    <a:pt x="1134" y="1066"/>
                  </a:lnTo>
                  <a:lnTo>
                    <a:pt x="1136" y="1064"/>
                  </a:lnTo>
                  <a:lnTo>
                    <a:pt x="1138" y="1062"/>
                  </a:lnTo>
                  <a:lnTo>
                    <a:pt x="1140" y="1062"/>
                  </a:lnTo>
                  <a:lnTo>
                    <a:pt x="1140" y="1060"/>
                  </a:lnTo>
                  <a:lnTo>
                    <a:pt x="1142" y="1060"/>
                  </a:lnTo>
                  <a:lnTo>
                    <a:pt x="1146" y="1062"/>
                  </a:lnTo>
                  <a:lnTo>
                    <a:pt x="1148" y="1064"/>
                  </a:lnTo>
                  <a:lnTo>
                    <a:pt x="1152" y="1066"/>
                  </a:lnTo>
                  <a:lnTo>
                    <a:pt x="1156" y="1068"/>
                  </a:lnTo>
                  <a:lnTo>
                    <a:pt x="1160" y="1070"/>
                  </a:lnTo>
                  <a:lnTo>
                    <a:pt x="1164" y="1072"/>
                  </a:lnTo>
                  <a:lnTo>
                    <a:pt x="1166" y="1076"/>
                  </a:lnTo>
                  <a:lnTo>
                    <a:pt x="1168" y="1078"/>
                  </a:lnTo>
                  <a:lnTo>
                    <a:pt x="1170" y="1080"/>
                  </a:lnTo>
                  <a:lnTo>
                    <a:pt x="1172" y="1082"/>
                  </a:lnTo>
                  <a:lnTo>
                    <a:pt x="1172" y="1082"/>
                  </a:lnTo>
                  <a:lnTo>
                    <a:pt x="1172" y="1086"/>
                  </a:lnTo>
                  <a:lnTo>
                    <a:pt x="1172" y="1090"/>
                  </a:lnTo>
                  <a:lnTo>
                    <a:pt x="1172" y="1096"/>
                  </a:lnTo>
                  <a:lnTo>
                    <a:pt x="1174" y="1100"/>
                  </a:lnTo>
                  <a:lnTo>
                    <a:pt x="1174" y="1100"/>
                  </a:lnTo>
                  <a:lnTo>
                    <a:pt x="1174" y="1100"/>
                  </a:lnTo>
                  <a:lnTo>
                    <a:pt x="1174" y="1102"/>
                  </a:lnTo>
                  <a:lnTo>
                    <a:pt x="1174" y="1102"/>
                  </a:lnTo>
                  <a:lnTo>
                    <a:pt x="1174" y="1104"/>
                  </a:lnTo>
                  <a:lnTo>
                    <a:pt x="1176" y="1108"/>
                  </a:lnTo>
                  <a:lnTo>
                    <a:pt x="1176" y="1108"/>
                  </a:lnTo>
                  <a:lnTo>
                    <a:pt x="1178" y="1108"/>
                  </a:lnTo>
                  <a:lnTo>
                    <a:pt x="1180" y="1112"/>
                  </a:lnTo>
                  <a:lnTo>
                    <a:pt x="1180" y="1112"/>
                  </a:lnTo>
                  <a:lnTo>
                    <a:pt x="1180" y="1114"/>
                  </a:lnTo>
                  <a:lnTo>
                    <a:pt x="1184" y="1116"/>
                  </a:lnTo>
                  <a:lnTo>
                    <a:pt x="1184" y="1116"/>
                  </a:lnTo>
                  <a:lnTo>
                    <a:pt x="1186" y="1118"/>
                  </a:lnTo>
                  <a:lnTo>
                    <a:pt x="1188" y="1118"/>
                  </a:lnTo>
                  <a:lnTo>
                    <a:pt x="1190" y="1120"/>
                  </a:lnTo>
                  <a:lnTo>
                    <a:pt x="1190" y="1120"/>
                  </a:lnTo>
                  <a:lnTo>
                    <a:pt x="1190" y="1120"/>
                  </a:lnTo>
                  <a:lnTo>
                    <a:pt x="1192" y="1120"/>
                  </a:lnTo>
                  <a:lnTo>
                    <a:pt x="1196" y="1120"/>
                  </a:lnTo>
                  <a:lnTo>
                    <a:pt x="1204" y="1120"/>
                  </a:lnTo>
                  <a:lnTo>
                    <a:pt x="1206" y="1120"/>
                  </a:lnTo>
                  <a:lnTo>
                    <a:pt x="1210" y="1118"/>
                  </a:lnTo>
                  <a:lnTo>
                    <a:pt x="1214" y="1118"/>
                  </a:lnTo>
                  <a:lnTo>
                    <a:pt x="1214" y="1118"/>
                  </a:lnTo>
                  <a:lnTo>
                    <a:pt x="1214" y="1118"/>
                  </a:lnTo>
                  <a:lnTo>
                    <a:pt x="1216" y="1116"/>
                  </a:lnTo>
                  <a:lnTo>
                    <a:pt x="1216" y="1116"/>
                  </a:lnTo>
                  <a:lnTo>
                    <a:pt x="1216" y="1116"/>
                  </a:lnTo>
                  <a:lnTo>
                    <a:pt x="1218" y="1114"/>
                  </a:lnTo>
                  <a:lnTo>
                    <a:pt x="1218" y="1114"/>
                  </a:lnTo>
                  <a:lnTo>
                    <a:pt x="1218" y="1112"/>
                  </a:lnTo>
                  <a:lnTo>
                    <a:pt x="1218" y="1112"/>
                  </a:lnTo>
                  <a:lnTo>
                    <a:pt x="1218" y="1112"/>
                  </a:lnTo>
                  <a:lnTo>
                    <a:pt x="1218" y="1110"/>
                  </a:lnTo>
                  <a:lnTo>
                    <a:pt x="1218" y="1108"/>
                  </a:lnTo>
                  <a:lnTo>
                    <a:pt x="1218" y="1106"/>
                  </a:lnTo>
                  <a:lnTo>
                    <a:pt x="1218" y="1104"/>
                  </a:lnTo>
                  <a:lnTo>
                    <a:pt x="1216" y="1102"/>
                  </a:lnTo>
                  <a:lnTo>
                    <a:pt x="1216" y="1100"/>
                  </a:lnTo>
                  <a:lnTo>
                    <a:pt x="1218" y="1098"/>
                  </a:lnTo>
                  <a:lnTo>
                    <a:pt x="1218" y="1096"/>
                  </a:lnTo>
                  <a:lnTo>
                    <a:pt x="1220" y="1094"/>
                  </a:lnTo>
                  <a:lnTo>
                    <a:pt x="1224" y="1088"/>
                  </a:lnTo>
                  <a:lnTo>
                    <a:pt x="1228" y="1082"/>
                  </a:lnTo>
                  <a:lnTo>
                    <a:pt x="1232" y="1080"/>
                  </a:lnTo>
                  <a:lnTo>
                    <a:pt x="1234" y="1078"/>
                  </a:lnTo>
                  <a:lnTo>
                    <a:pt x="1238" y="1076"/>
                  </a:lnTo>
                  <a:lnTo>
                    <a:pt x="1242" y="1074"/>
                  </a:lnTo>
                  <a:lnTo>
                    <a:pt x="1246" y="1072"/>
                  </a:lnTo>
                  <a:lnTo>
                    <a:pt x="1252" y="1068"/>
                  </a:lnTo>
                  <a:lnTo>
                    <a:pt x="1256" y="1066"/>
                  </a:lnTo>
                  <a:lnTo>
                    <a:pt x="1262" y="1066"/>
                  </a:lnTo>
                  <a:lnTo>
                    <a:pt x="1266" y="1064"/>
                  </a:lnTo>
                  <a:lnTo>
                    <a:pt x="1272" y="1062"/>
                  </a:lnTo>
                  <a:lnTo>
                    <a:pt x="1276" y="1062"/>
                  </a:lnTo>
                  <a:lnTo>
                    <a:pt x="1282" y="1062"/>
                  </a:lnTo>
                  <a:lnTo>
                    <a:pt x="1286" y="1064"/>
                  </a:lnTo>
                  <a:lnTo>
                    <a:pt x="1292" y="1064"/>
                  </a:lnTo>
                  <a:lnTo>
                    <a:pt x="1298" y="1066"/>
                  </a:lnTo>
                  <a:lnTo>
                    <a:pt x="1302" y="1066"/>
                  </a:lnTo>
                  <a:lnTo>
                    <a:pt x="1308" y="1068"/>
                  </a:lnTo>
                  <a:lnTo>
                    <a:pt x="1312" y="1068"/>
                  </a:lnTo>
                  <a:lnTo>
                    <a:pt x="1316" y="1070"/>
                  </a:lnTo>
                  <a:lnTo>
                    <a:pt x="1320" y="1070"/>
                  </a:lnTo>
                  <a:lnTo>
                    <a:pt x="1322" y="1072"/>
                  </a:lnTo>
                  <a:lnTo>
                    <a:pt x="1324" y="1072"/>
                  </a:lnTo>
                  <a:lnTo>
                    <a:pt x="1328" y="1072"/>
                  </a:lnTo>
                  <a:lnTo>
                    <a:pt x="1330" y="1074"/>
                  </a:lnTo>
                  <a:lnTo>
                    <a:pt x="1332" y="1074"/>
                  </a:lnTo>
                  <a:lnTo>
                    <a:pt x="1332" y="1074"/>
                  </a:lnTo>
                  <a:lnTo>
                    <a:pt x="1334" y="1074"/>
                  </a:lnTo>
                  <a:lnTo>
                    <a:pt x="1336" y="1072"/>
                  </a:lnTo>
                  <a:lnTo>
                    <a:pt x="1336" y="1072"/>
                  </a:lnTo>
                  <a:lnTo>
                    <a:pt x="1336" y="1072"/>
                  </a:lnTo>
                  <a:lnTo>
                    <a:pt x="1338" y="1072"/>
                  </a:lnTo>
                  <a:lnTo>
                    <a:pt x="1338" y="1072"/>
                  </a:lnTo>
                  <a:lnTo>
                    <a:pt x="1340" y="1070"/>
                  </a:lnTo>
                  <a:lnTo>
                    <a:pt x="1340" y="1068"/>
                  </a:lnTo>
                  <a:lnTo>
                    <a:pt x="1340" y="1068"/>
                  </a:lnTo>
                  <a:lnTo>
                    <a:pt x="1342" y="1068"/>
                  </a:lnTo>
                  <a:lnTo>
                    <a:pt x="1342" y="1066"/>
                  </a:lnTo>
                  <a:lnTo>
                    <a:pt x="1344" y="1064"/>
                  </a:lnTo>
                  <a:lnTo>
                    <a:pt x="1346" y="1060"/>
                  </a:lnTo>
                  <a:lnTo>
                    <a:pt x="1348" y="1058"/>
                  </a:lnTo>
                  <a:lnTo>
                    <a:pt x="1348" y="1056"/>
                  </a:lnTo>
                  <a:lnTo>
                    <a:pt x="1350" y="1056"/>
                  </a:lnTo>
                  <a:lnTo>
                    <a:pt x="1352" y="1054"/>
                  </a:lnTo>
                  <a:lnTo>
                    <a:pt x="1356" y="1054"/>
                  </a:lnTo>
                  <a:lnTo>
                    <a:pt x="1360" y="1054"/>
                  </a:lnTo>
                  <a:lnTo>
                    <a:pt x="1364" y="1054"/>
                  </a:lnTo>
                  <a:lnTo>
                    <a:pt x="1368" y="1054"/>
                  </a:lnTo>
                  <a:lnTo>
                    <a:pt x="1372" y="1054"/>
                  </a:lnTo>
                  <a:lnTo>
                    <a:pt x="1376" y="1054"/>
                  </a:lnTo>
                  <a:lnTo>
                    <a:pt x="1378" y="1054"/>
                  </a:lnTo>
                  <a:lnTo>
                    <a:pt x="1380" y="1054"/>
                  </a:lnTo>
                  <a:lnTo>
                    <a:pt x="1382" y="1054"/>
                  </a:lnTo>
                  <a:lnTo>
                    <a:pt x="1382" y="1056"/>
                  </a:lnTo>
                  <a:lnTo>
                    <a:pt x="1384" y="1056"/>
                  </a:lnTo>
                  <a:lnTo>
                    <a:pt x="1384" y="1058"/>
                  </a:lnTo>
                  <a:lnTo>
                    <a:pt x="1384" y="1058"/>
                  </a:lnTo>
                  <a:lnTo>
                    <a:pt x="1386" y="1058"/>
                  </a:lnTo>
                  <a:lnTo>
                    <a:pt x="1386" y="1058"/>
                  </a:lnTo>
                  <a:lnTo>
                    <a:pt x="1386" y="1058"/>
                  </a:lnTo>
                  <a:lnTo>
                    <a:pt x="1388" y="1058"/>
                  </a:lnTo>
                  <a:lnTo>
                    <a:pt x="1388" y="1058"/>
                  </a:lnTo>
                  <a:lnTo>
                    <a:pt x="1392" y="1060"/>
                  </a:lnTo>
                  <a:lnTo>
                    <a:pt x="1394" y="1060"/>
                  </a:lnTo>
                  <a:lnTo>
                    <a:pt x="1398" y="1060"/>
                  </a:lnTo>
                  <a:lnTo>
                    <a:pt x="1398" y="1060"/>
                  </a:lnTo>
                  <a:lnTo>
                    <a:pt x="1398" y="1060"/>
                  </a:lnTo>
                  <a:lnTo>
                    <a:pt x="1402" y="1060"/>
                  </a:lnTo>
                  <a:lnTo>
                    <a:pt x="1402" y="1060"/>
                  </a:lnTo>
                  <a:lnTo>
                    <a:pt x="1402" y="1060"/>
                  </a:lnTo>
                  <a:lnTo>
                    <a:pt x="1404" y="1060"/>
                  </a:lnTo>
                  <a:lnTo>
                    <a:pt x="1404" y="1060"/>
                  </a:lnTo>
                  <a:lnTo>
                    <a:pt x="1404" y="1060"/>
                  </a:lnTo>
                  <a:lnTo>
                    <a:pt x="1406" y="1058"/>
                  </a:lnTo>
                  <a:lnTo>
                    <a:pt x="1408" y="1056"/>
                  </a:lnTo>
                  <a:lnTo>
                    <a:pt x="1410" y="1054"/>
                  </a:lnTo>
                  <a:lnTo>
                    <a:pt x="1410" y="1054"/>
                  </a:lnTo>
                  <a:lnTo>
                    <a:pt x="1410" y="1054"/>
                  </a:lnTo>
                  <a:lnTo>
                    <a:pt x="1412" y="1056"/>
                  </a:lnTo>
                  <a:lnTo>
                    <a:pt x="1412" y="1056"/>
                  </a:lnTo>
                  <a:lnTo>
                    <a:pt x="1414" y="1058"/>
                  </a:lnTo>
                  <a:lnTo>
                    <a:pt x="1416" y="1060"/>
                  </a:lnTo>
                  <a:lnTo>
                    <a:pt x="1420" y="1064"/>
                  </a:lnTo>
                  <a:lnTo>
                    <a:pt x="1424" y="1070"/>
                  </a:lnTo>
                  <a:lnTo>
                    <a:pt x="1428" y="1076"/>
                  </a:lnTo>
                  <a:lnTo>
                    <a:pt x="1432" y="1080"/>
                  </a:lnTo>
                  <a:lnTo>
                    <a:pt x="1434" y="1086"/>
                  </a:lnTo>
                  <a:lnTo>
                    <a:pt x="1436" y="1088"/>
                  </a:lnTo>
                  <a:lnTo>
                    <a:pt x="1438" y="1092"/>
                  </a:lnTo>
                  <a:lnTo>
                    <a:pt x="1438" y="1094"/>
                  </a:lnTo>
                  <a:lnTo>
                    <a:pt x="1438" y="1098"/>
                  </a:lnTo>
                  <a:lnTo>
                    <a:pt x="1436" y="1100"/>
                  </a:lnTo>
                  <a:lnTo>
                    <a:pt x="1436" y="1102"/>
                  </a:lnTo>
                  <a:lnTo>
                    <a:pt x="1436" y="1106"/>
                  </a:lnTo>
                  <a:lnTo>
                    <a:pt x="1436" y="1106"/>
                  </a:lnTo>
                  <a:lnTo>
                    <a:pt x="1436" y="1106"/>
                  </a:lnTo>
                  <a:lnTo>
                    <a:pt x="1436" y="1108"/>
                  </a:lnTo>
                  <a:lnTo>
                    <a:pt x="1436" y="1108"/>
                  </a:lnTo>
                  <a:lnTo>
                    <a:pt x="1436" y="1108"/>
                  </a:lnTo>
                  <a:lnTo>
                    <a:pt x="1436" y="1112"/>
                  </a:lnTo>
                  <a:lnTo>
                    <a:pt x="1436" y="1112"/>
                  </a:lnTo>
                  <a:lnTo>
                    <a:pt x="1436" y="1112"/>
                  </a:lnTo>
                  <a:lnTo>
                    <a:pt x="1438" y="1116"/>
                  </a:lnTo>
                  <a:lnTo>
                    <a:pt x="1440" y="1118"/>
                  </a:lnTo>
                  <a:lnTo>
                    <a:pt x="1444" y="1126"/>
                  </a:lnTo>
                  <a:lnTo>
                    <a:pt x="1448" y="1128"/>
                  </a:lnTo>
                  <a:lnTo>
                    <a:pt x="1450" y="1132"/>
                  </a:lnTo>
                  <a:lnTo>
                    <a:pt x="1452" y="1134"/>
                  </a:lnTo>
                  <a:lnTo>
                    <a:pt x="1456" y="1136"/>
                  </a:lnTo>
                  <a:lnTo>
                    <a:pt x="1456" y="1136"/>
                  </a:lnTo>
                  <a:lnTo>
                    <a:pt x="1456" y="1136"/>
                  </a:lnTo>
                  <a:lnTo>
                    <a:pt x="1460" y="1138"/>
                  </a:lnTo>
                  <a:lnTo>
                    <a:pt x="1460" y="1138"/>
                  </a:lnTo>
                  <a:lnTo>
                    <a:pt x="1462" y="1138"/>
                  </a:lnTo>
                  <a:lnTo>
                    <a:pt x="1464" y="1138"/>
                  </a:lnTo>
                  <a:lnTo>
                    <a:pt x="1466" y="1138"/>
                  </a:lnTo>
                  <a:lnTo>
                    <a:pt x="1466" y="1138"/>
                  </a:lnTo>
                  <a:lnTo>
                    <a:pt x="1468" y="1138"/>
                  </a:lnTo>
                  <a:lnTo>
                    <a:pt x="1470" y="1138"/>
                  </a:lnTo>
                  <a:lnTo>
                    <a:pt x="1470" y="1138"/>
                  </a:lnTo>
                  <a:lnTo>
                    <a:pt x="1470" y="1138"/>
                  </a:lnTo>
                  <a:lnTo>
                    <a:pt x="1472" y="1136"/>
                  </a:lnTo>
                  <a:lnTo>
                    <a:pt x="1472" y="1136"/>
                  </a:lnTo>
                  <a:lnTo>
                    <a:pt x="1472" y="1136"/>
                  </a:lnTo>
                  <a:lnTo>
                    <a:pt x="1474" y="1134"/>
                  </a:lnTo>
                  <a:lnTo>
                    <a:pt x="1474" y="1134"/>
                  </a:lnTo>
                  <a:lnTo>
                    <a:pt x="1474" y="1132"/>
                  </a:lnTo>
                  <a:lnTo>
                    <a:pt x="1476" y="1130"/>
                  </a:lnTo>
                  <a:lnTo>
                    <a:pt x="1476" y="1130"/>
                  </a:lnTo>
                  <a:lnTo>
                    <a:pt x="1476" y="1130"/>
                  </a:lnTo>
                  <a:lnTo>
                    <a:pt x="1476" y="1128"/>
                  </a:lnTo>
                  <a:lnTo>
                    <a:pt x="1476" y="1126"/>
                  </a:lnTo>
                  <a:lnTo>
                    <a:pt x="1478" y="1120"/>
                  </a:lnTo>
                  <a:lnTo>
                    <a:pt x="1478" y="1114"/>
                  </a:lnTo>
                  <a:lnTo>
                    <a:pt x="1478" y="1106"/>
                  </a:lnTo>
                  <a:lnTo>
                    <a:pt x="1476" y="1100"/>
                  </a:lnTo>
                  <a:lnTo>
                    <a:pt x="1476" y="1094"/>
                  </a:lnTo>
                  <a:lnTo>
                    <a:pt x="1476" y="1086"/>
                  </a:lnTo>
                  <a:lnTo>
                    <a:pt x="1474" y="1082"/>
                  </a:lnTo>
                  <a:lnTo>
                    <a:pt x="1474" y="1082"/>
                  </a:lnTo>
                  <a:lnTo>
                    <a:pt x="1474" y="1080"/>
                  </a:lnTo>
                  <a:lnTo>
                    <a:pt x="1472" y="1076"/>
                  </a:lnTo>
                  <a:lnTo>
                    <a:pt x="1470" y="1072"/>
                  </a:lnTo>
                  <a:lnTo>
                    <a:pt x="1466" y="1066"/>
                  </a:lnTo>
                  <a:lnTo>
                    <a:pt x="1462" y="1064"/>
                  </a:lnTo>
                  <a:lnTo>
                    <a:pt x="1460" y="1060"/>
                  </a:lnTo>
                  <a:lnTo>
                    <a:pt x="1458" y="1056"/>
                  </a:lnTo>
                  <a:lnTo>
                    <a:pt x="1456" y="1052"/>
                  </a:lnTo>
                  <a:lnTo>
                    <a:pt x="1454" y="1050"/>
                  </a:lnTo>
                  <a:lnTo>
                    <a:pt x="1452" y="1046"/>
                  </a:lnTo>
                  <a:lnTo>
                    <a:pt x="1452" y="1044"/>
                  </a:lnTo>
                  <a:lnTo>
                    <a:pt x="1452" y="1040"/>
                  </a:lnTo>
                  <a:lnTo>
                    <a:pt x="1452" y="1038"/>
                  </a:lnTo>
                  <a:lnTo>
                    <a:pt x="1452" y="1036"/>
                  </a:lnTo>
                  <a:lnTo>
                    <a:pt x="1452" y="1034"/>
                  </a:lnTo>
                  <a:lnTo>
                    <a:pt x="1454" y="1030"/>
                  </a:lnTo>
                  <a:lnTo>
                    <a:pt x="1458" y="1026"/>
                  </a:lnTo>
                  <a:lnTo>
                    <a:pt x="1460" y="1024"/>
                  </a:lnTo>
                  <a:lnTo>
                    <a:pt x="1462" y="1022"/>
                  </a:lnTo>
                  <a:lnTo>
                    <a:pt x="1464" y="1020"/>
                  </a:lnTo>
                  <a:lnTo>
                    <a:pt x="1468" y="1018"/>
                  </a:lnTo>
                  <a:lnTo>
                    <a:pt x="1474" y="1014"/>
                  </a:lnTo>
                  <a:lnTo>
                    <a:pt x="1482" y="1008"/>
                  </a:lnTo>
                  <a:lnTo>
                    <a:pt x="1490" y="1002"/>
                  </a:lnTo>
                  <a:lnTo>
                    <a:pt x="1498" y="998"/>
                  </a:lnTo>
                  <a:lnTo>
                    <a:pt x="1504" y="992"/>
                  </a:lnTo>
                  <a:lnTo>
                    <a:pt x="1508" y="990"/>
                  </a:lnTo>
                  <a:lnTo>
                    <a:pt x="1510" y="988"/>
                  </a:lnTo>
                  <a:lnTo>
                    <a:pt x="1516" y="984"/>
                  </a:lnTo>
                  <a:lnTo>
                    <a:pt x="1520" y="982"/>
                  </a:lnTo>
                  <a:lnTo>
                    <a:pt x="1526" y="978"/>
                  </a:lnTo>
                  <a:lnTo>
                    <a:pt x="1530" y="976"/>
                  </a:lnTo>
                  <a:lnTo>
                    <a:pt x="1534" y="972"/>
                  </a:lnTo>
                  <a:lnTo>
                    <a:pt x="1538" y="968"/>
                  </a:lnTo>
                  <a:lnTo>
                    <a:pt x="1540" y="964"/>
                  </a:lnTo>
                  <a:lnTo>
                    <a:pt x="1540" y="964"/>
                  </a:lnTo>
                  <a:lnTo>
                    <a:pt x="1542" y="964"/>
                  </a:lnTo>
                  <a:lnTo>
                    <a:pt x="1544" y="960"/>
                  </a:lnTo>
                  <a:lnTo>
                    <a:pt x="1544" y="960"/>
                  </a:lnTo>
                  <a:lnTo>
                    <a:pt x="1544" y="958"/>
                  </a:lnTo>
                  <a:lnTo>
                    <a:pt x="1546" y="954"/>
                  </a:lnTo>
                  <a:lnTo>
                    <a:pt x="1546" y="954"/>
                  </a:lnTo>
                  <a:lnTo>
                    <a:pt x="1546" y="954"/>
                  </a:lnTo>
                  <a:lnTo>
                    <a:pt x="1546" y="948"/>
                  </a:lnTo>
                  <a:lnTo>
                    <a:pt x="1546" y="942"/>
                  </a:lnTo>
                  <a:lnTo>
                    <a:pt x="1546" y="936"/>
                  </a:lnTo>
                  <a:lnTo>
                    <a:pt x="1546" y="928"/>
                  </a:lnTo>
                  <a:lnTo>
                    <a:pt x="1544" y="922"/>
                  </a:lnTo>
                  <a:lnTo>
                    <a:pt x="1544" y="916"/>
                  </a:lnTo>
                  <a:lnTo>
                    <a:pt x="1544" y="918"/>
                  </a:lnTo>
                  <a:lnTo>
                    <a:pt x="1546" y="912"/>
                  </a:lnTo>
                  <a:lnTo>
                    <a:pt x="1548" y="906"/>
                  </a:lnTo>
                  <a:lnTo>
                    <a:pt x="1550" y="902"/>
                  </a:lnTo>
                  <a:lnTo>
                    <a:pt x="1552" y="896"/>
                  </a:lnTo>
                  <a:lnTo>
                    <a:pt x="1556" y="892"/>
                  </a:lnTo>
                  <a:lnTo>
                    <a:pt x="1560" y="888"/>
                  </a:lnTo>
                  <a:lnTo>
                    <a:pt x="1562" y="884"/>
                  </a:lnTo>
                  <a:lnTo>
                    <a:pt x="1566" y="880"/>
                  </a:lnTo>
                  <a:lnTo>
                    <a:pt x="1570" y="876"/>
                  </a:lnTo>
                  <a:lnTo>
                    <a:pt x="1572" y="874"/>
                  </a:lnTo>
                  <a:lnTo>
                    <a:pt x="1574" y="872"/>
                  </a:lnTo>
                  <a:lnTo>
                    <a:pt x="1578" y="872"/>
                  </a:lnTo>
                  <a:lnTo>
                    <a:pt x="1580" y="870"/>
                  </a:lnTo>
                  <a:lnTo>
                    <a:pt x="1586" y="870"/>
                  </a:lnTo>
                  <a:lnTo>
                    <a:pt x="1590" y="868"/>
                  </a:lnTo>
                  <a:lnTo>
                    <a:pt x="1594" y="866"/>
                  </a:lnTo>
                  <a:lnTo>
                    <a:pt x="1598" y="866"/>
                  </a:lnTo>
                  <a:lnTo>
                    <a:pt x="1604" y="864"/>
                  </a:lnTo>
                  <a:lnTo>
                    <a:pt x="1608" y="862"/>
                  </a:lnTo>
                  <a:lnTo>
                    <a:pt x="1614" y="862"/>
                  </a:lnTo>
                  <a:lnTo>
                    <a:pt x="1620" y="860"/>
                  </a:lnTo>
                  <a:lnTo>
                    <a:pt x="1624" y="858"/>
                  </a:lnTo>
                  <a:lnTo>
                    <a:pt x="1628" y="856"/>
                  </a:lnTo>
                  <a:lnTo>
                    <a:pt x="1628" y="856"/>
                  </a:lnTo>
                  <a:lnTo>
                    <a:pt x="1628" y="856"/>
                  </a:lnTo>
                  <a:lnTo>
                    <a:pt x="1630" y="856"/>
                  </a:lnTo>
                  <a:lnTo>
                    <a:pt x="1630" y="856"/>
                  </a:lnTo>
                  <a:lnTo>
                    <a:pt x="1630" y="856"/>
                  </a:lnTo>
                  <a:lnTo>
                    <a:pt x="1632" y="854"/>
                  </a:lnTo>
                  <a:lnTo>
                    <a:pt x="1632" y="854"/>
                  </a:lnTo>
                  <a:lnTo>
                    <a:pt x="1632" y="854"/>
                  </a:lnTo>
                  <a:lnTo>
                    <a:pt x="1632" y="852"/>
                  </a:lnTo>
                  <a:lnTo>
                    <a:pt x="1632" y="852"/>
                  </a:lnTo>
                  <a:lnTo>
                    <a:pt x="1632" y="852"/>
                  </a:lnTo>
                  <a:lnTo>
                    <a:pt x="1632" y="852"/>
                  </a:lnTo>
                  <a:lnTo>
                    <a:pt x="1632" y="852"/>
                  </a:lnTo>
                  <a:lnTo>
                    <a:pt x="1632" y="850"/>
                  </a:lnTo>
                  <a:lnTo>
                    <a:pt x="1632" y="848"/>
                  </a:lnTo>
                  <a:lnTo>
                    <a:pt x="1632" y="848"/>
                  </a:lnTo>
                  <a:lnTo>
                    <a:pt x="1632" y="846"/>
                  </a:lnTo>
                  <a:lnTo>
                    <a:pt x="1630" y="844"/>
                  </a:lnTo>
                  <a:lnTo>
                    <a:pt x="1630" y="844"/>
                  </a:lnTo>
                  <a:lnTo>
                    <a:pt x="1630" y="844"/>
                  </a:lnTo>
                  <a:lnTo>
                    <a:pt x="1628" y="842"/>
                  </a:lnTo>
                  <a:lnTo>
                    <a:pt x="1626" y="840"/>
                  </a:lnTo>
                  <a:lnTo>
                    <a:pt x="1624" y="838"/>
                  </a:lnTo>
                  <a:lnTo>
                    <a:pt x="1622" y="836"/>
                  </a:lnTo>
                  <a:lnTo>
                    <a:pt x="1622" y="836"/>
                  </a:lnTo>
                  <a:lnTo>
                    <a:pt x="1622" y="834"/>
                  </a:lnTo>
                  <a:lnTo>
                    <a:pt x="1622" y="830"/>
                  </a:lnTo>
                  <a:lnTo>
                    <a:pt x="1622" y="824"/>
                  </a:lnTo>
                  <a:lnTo>
                    <a:pt x="1622" y="822"/>
                  </a:lnTo>
                  <a:lnTo>
                    <a:pt x="1622" y="820"/>
                  </a:lnTo>
                  <a:lnTo>
                    <a:pt x="1624" y="816"/>
                  </a:lnTo>
                  <a:lnTo>
                    <a:pt x="1624" y="816"/>
                  </a:lnTo>
                  <a:lnTo>
                    <a:pt x="1624" y="816"/>
                  </a:lnTo>
                  <a:lnTo>
                    <a:pt x="1624" y="814"/>
                  </a:lnTo>
                  <a:lnTo>
                    <a:pt x="1626" y="814"/>
                  </a:lnTo>
                  <a:lnTo>
                    <a:pt x="1630" y="814"/>
                  </a:lnTo>
                  <a:lnTo>
                    <a:pt x="1630" y="814"/>
                  </a:lnTo>
                  <a:lnTo>
                    <a:pt x="1630" y="814"/>
                  </a:lnTo>
                  <a:lnTo>
                    <a:pt x="1632" y="812"/>
                  </a:lnTo>
                  <a:lnTo>
                    <a:pt x="1632" y="812"/>
                  </a:lnTo>
                  <a:lnTo>
                    <a:pt x="1632" y="812"/>
                  </a:lnTo>
                  <a:lnTo>
                    <a:pt x="1632" y="812"/>
                  </a:lnTo>
                  <a:lnTo>
                    <a:pt x="1632" y="812"/>
                  </a:lnTo>
                  <a:lnTo>
                    <a:pt x="1634" y="810"/>
                  </a:lnTo>
                  <a:lnTo>
                    <a:pt x="1634" y="810"/>
                  </a:lnTo>
                  <a:lnTo>
                    <a:pt x="1634" y="810"/>
                  </a:lnTo>
                  <a:lnTo>
                    <a:pt x="1634" y="808"/>
                  </a:lnTo>
                  <a:lnTo>
                    <a:pt x="1636" y="808"/>
                  </a:lnTo>
                  <a:lnTo>
                    <a:pt x="1636" y="802"/>
                  </a:lnTo>
                  <a:lnTo>
                    <a:pt x="1638" y="798"/>
                  </a:lnTo>
                  <a:lnTo>
                    <a:pt x="1638" y="798"/>
                  </a:lnTo>
                  <a:lnTo>
                    <a:pt x="1640" y="796"/>
                  </a:lnTo>
                  <a:lnTo>
                    <a:pt x="1640" y="796"/>
                  </a:lnTo>
                  <a:lnTo>
                    <a:pt x="1640" y="796"/>
                  </a:lnTo>
                  <a:lnTo>
                    <a:pt x="1644" y="796"/>
                  </a:lnTo>
                  <a:lnTo>
                    <a:pt x="1648" y="796"/>
                  </a:lnTo>
                  <a:lnTo>
                    <a:pt x="1652" y="796"/>
                  </a:lnTo>
                  <a:lnTo>
                    <a:pt x="1652" y="796"/>
                  </a:lnTo>
                  <a:lnTo>
                    <a:pt x="1652" y="796"/>
                  </a:lnTo>
                  <a:lnTo>
                    <a:pt x="1654" y="796"/>
                  </a:lnTo>
                  <a:lnTo>
                    <a:pt x="1654" y="796"/>
                  </a:lnTo>
                  <a:lnTo>
                    <a:pt x="1654" y="796"/>
                  </a:lnTo>
                  <a:lnTo>
                    <a:pt x="1656" y="794"/>
                  </a:lnTo>
                  <a:lnTo>
                    <a:pt x="1660" y="794"/>
                  </a:lnTo>
                  <a:lnTo>
                    <a:pt x="1664" y="790"/>
                  </a:lnTo>
                  <a:lnTo>
                    <a:pt x="1666" y="788"/>
                  </a:lnTo>
                  <a:lnTo>
                    <a:pt x="1670" y="784"/>
                  </a:lnTo>
                  <a:lnTo>
                    <a:pt x="1670" y="782"/>
                  </a:lnTo>
                  <a:lnTo>
                    <a:pt x="1670" y="782"/>
                  </a:lnTo>
                  <a:lnTo>
                    <a:pt x="1672" y="782"/>
                  </a:lnTo>
                  <a:lnTo>
                    <a:pt x="1672" y="780"/>
                  </a:lnTo>
                  <a:lnTo>
                    <a:pt x="1672" y="780"/>
                  </a:lnTo>
                  <a:lnTo>
                    <a:pt x="1672" y="780"/>
                  </a:lnTo>
                  <a:lnTo>
                    <a:pt x="1672" y="778"/>
                  </a:lnTo>
                  <a:close/>
                  <a:moveTo>
                    <a:pt x="688" y="518"/>
                  </a:moveTo>
                  <a:lnTo>
                    <a:pt x="688" y="516"/>
                  </a:lnTo>
                  <a:lnTo>
                    <a:pt x="688" y="516"/>
                  </a:lnTo>
                  <a:lnTo>
                    <a:pt x="688" y="516"/>
                  </a:lnTo>
                  <a:lnTo>
                    <a:pt x="686" y="514"/>
                  </a:lnTo>
                  <a:lnTo>
                    <a:pt x="686" y="514"/>
                  </a:lnTo>
                  <a:lnTo>
                    <a:pt x="686" y="514"/>
                  </a:lnTo>
                  <a:lnTo>
                    <a:pt x="684" y="512"/>
                  </a:lnTo>
                  <a:lnTo>
                    <a:pt x="684" y="512"/>
                  </a:lnTo>
                  <a:lnTo>
                    <a:pt x="682" y="512"/>
                  </a:lnTo>
                  <a:lnTo>
                    <a:pt x="682" y="512"/>
                  </a:lnTo>
                  <a:lnTo>
                    <a:pt x="682" y="512"/>
                  </a:lnTo>
                  <a:lnTo>
                    <a:pt x="680" y="510"/>
                  </a:lnTo>
                  <a:lnTo>
                    <a:pt x="678" y="508"/>
                  </a:lnTo>
                  <a:lnTo>
                    <a:pt x="678" y="506"/>
                  </a:lnTo>
                  <a:lnTo>
                    <a:pt x="678" y="506"/>
                  </a:lnTo>
                  <a:lnTo>
                    <a:pt x="676" y="506"/>
                  </a:lnTo>
                  <a:lnTo>
                    <a:pt x="672" y="504"/>
                  </a:lnTo>
                  <a:lnTo>
                    <a:pt x="670" y="504"/>
                  </a:lnTo>
                  <a:lnTo>
                    <a:pt x="668" y="504"/>
                  </a:lnTo>
                  <a:lnTo>
                    <a:pt x="668" y="504"/>
                  </a:lnTo>
                  <a:lnTo>
                    <a:pt x="666" y="502"/>
                  </a:lnTo>
                  <a:lnTo>
                    <a:pt x="666" y="502"/>
                  </a:lnTo>
                  <a:lnTo>
                    <a:pt x="664" y="502"/>
                  </a:lnTo>
                  <a:lnTo>
                    <a:pt x="664" y="500"/>
                  </a:lnTo>
                  <a:lnTo>
                    <a:pt x="664" y="498"/>
                  </a:lnTo>
                  <a:lnTo>
                    <a:pt x="662" y="494"/>
                  </a:lnTo>
                  <a:lnTo>
                    <a:pt x="662" y="494"/>
                  </a:lnTo>
                  <a:lnTo>
                    <a:pt x="662" y="492"/>
                  </a:lnTo>
                  <a:lnTo>
                    <a:pt x="660" y="490"/>
                  </a:lnTo>
                  <a:lnTo>
                    <a:pt x="658" y="490"/>
                  </a:lnTo>
                  <a:lnTo>
                    <a:pt x="656" y="484"/>
                  </a:lnTo>
                  <a:lnTo>
                    <a:pt x="656" y="484"/>
                  </a:lnTo>
                  <a:lnTo>
                    <a:pt x="656" y="484"/>
                  </a:lnTo>
                  <a:lnTo>
                    <a:pt x="652" y="482"/>
                  </a:lnTo>
                  <a:lnTo>
                    <a:pt x="650" y="478"/>
                  </a:lnTo>
                  <a:lnTo>
                    <a:pt x="648" y="476"/>
                  </a:lnTo>
                  <a:lnTo>
                    <a:pt x="646" y="472"/>
                  </a:lnTo>
                  <a:lnTo>
                    <a:pt x="646" y="472"/>
                  </a:lnTo>
                  <a:lnTo>
                    <a:pt x="646" y="470"/>
                  </a:lnTo>
                  <a:lnTo>
                    <a:pt x="644" y="466"/>
                  </a:lnTo>
                  <a:lnTo>
                    <a:pt x="642" y="462"/>
                  </a:lnTo>
                  <a:lnTo>
                    <a:pt x="640" y="456"/>
                  </a:lnTo>
                  <a:lnTo>
                    <a:pt x="638" y="452"/>
                  </a:lnTo>
                  <a:lnTo>
                    <a:pt x="638" y="452"/>
                  </a:lnTo>
                  <a:lnTo>
                    <a:pt x="638" y="452"/>
                  </a:lnTo>
                  <a:lnTo>
                    <a:pt x="632" y="446"/>
                  </a:lnTo>
                  <a:lnTo>
                    <a:pt x="628" y="440"/>
                  </a:lnTo>
                  <a:lnTo>
                    <a:pt x="628" y="440"/>
                  </a:lnTo>
                  <a:lnTo>
                    <a:pt x="628" y="440"/>
                  </a:lnTo>
                  <a:lnTo>
                    <a:pt x="624" y="438"/>
                  </a:lnTo>
                  <a:lnTo>
                    <a:pt x="622" y="436"/>
                  </a:lnTo>
                  <a:lnTo>
                    <a:pt x="620" y="436"/>
                  </a:lnTo>
                  <a:lnTo>
                    <a:pt x="620" y="434"/>
                  </a:lnTo>
                  <a:lnTo>
                    <a:pt x="620" y="434"/>
                  </a:lnTo>
                  <a:lnTo>
                    <a:pt x="620" y="434"/>
                  </a:lnTo>
                  <a:lnTo>
                    <a:pt x="618" y="432"/>
                  </a:lnTo>
                  <a:lnTo>
                    <a:pt x="616" y="430"/>
                  </a:lnTo>
                  <a:lnTo>
                    <a:pt x="614" y="428"/>
                  </a:lnTo>
                  <a:lnTo>
                    <a:pt x="614" y="428"/>
                  </a:lnTo>
                  <a:lnTo>
                    <a:pt x="614" y="428"/>
                  </a:lnTo>
                  <a:lnTo>
                    <a:pt x="610" y="428"/>
                  </a:lnTo>
                  <a:lnTo>
                    <a:pt x="610" y="428"/>
                  </a:lnTo>
                  <a:lnTo>
                    <a:pt x="610" y="428"/>
                  </a:lnTo>
                  <a:lnTo>
                    <a:pt x="606" y="428"/>
                  </a:lnTo>
                  <a:lnTo>
                    <a:pt x="604" y="428"/>
                  </a:lnTo>
                  <a:lnTo>
                    <a:pt x="604" y="428"/>
                  </a:lnTo>
                  <a:lnTo>
                    <a:pt x="604" y="428"/>
                  </a:lnTo>
                  <a:lnTo>
                    <a:pt x="602" y="430"/>
                  </a:lnTo>
                  <a:lnTo>
                    <a:pt x="602" y="430"/>
                  </a:lnTo>
                  <a:lnTo>
                    <a:pt x="602" y="430"/>
                  </a:lnTo>
                  <a:lnTo>
                    <a:pt x="600" y="432"/>
                  </a:lnTo>
                  <a:lnTo>
                    <a:pt x="600" y="432"/>
                  </a:lnTo>
                  <a:lnTo>
                    <a:pt x="600" y="432"/>
                  </a:lnTo>
                  <a:lnTo>
                    <a:pt x="600" y="434"/>
                  </a:lnTo>
                  <a:lnTo>
                    <a:pt x="600" y="434"/>
                  </a:lnTo>
                  <a:lnTo>
                    <a:pt x="600" y="436"/>
                  </a:lnTo>
                  <a:lnTo>
                    <a:pt x="600" y="440"/>
                  </a:lnTo>
                  <a:lnTo>
                    <a:pt x="600" y="440"/>
                  </a:lnTo>
                  <a:lnTo>
                    <a:pt x="598" y="440"/>
                  </a:lnTo>
                  <a:lnTo>
                    <a:pt x="594" y="440"/>
                  </a:lnTo>
                  <a:lnTo>
                    <a:pt x="594" y="440"/>
                  </a:lnTo>
                  <a:lnTo>
                    <a:pt x="592" y="440"/>
                  </a:lnTo>
                  <a:lnTo>
                    <a:pt x="592" y="438"/>
                  </a:lnTo>
                  <a:lnTo>
                    <a:pt x="590" y="436"/>
                  </a:lnTo>
                  <a:lnTo>
                    <a:pt x="590" y="436"/>
                  </a:lnTo>
                  <a:lnTo>
                    <a:pt x="590" y="436"/>
                  </a:lnTo>
                  <a:lnTo>
                    <a:pt x="586" y="434"/>
                  </a:lnTo>
                  <a:lnTo>
                    <a:pt x="582" y="430"/>
                  </a:lnTo>
                  <a:lnTo>
                    <a:pt x="580" y="428"/>
                  </a:lnTo>
                  <a:lnTo>
                    <a:pt x="578" y="422"/>
                  </a:lnTo>
                  <a:lnTo>
                    <a:pt x="578" y="422"/>
                  </a:lnTo>
                  <a:lnTo>
                    <a:pt x="578" y="420"/>
                  </a:lnTo>
                  <a:lnTo>
                    <a:pt x="578" y="418"/>
                  </a:lnTo>
                  <a:lnTo>
                    <a:pt x="578" y="418"/>
                  </a:lnTo>
                  <a:lnTo>
                    <a:pt x="576" y="416"/>
                  </a:lnTo>
                  <a:lnTo>
                    <a:pt x="576" y="416"/>
                  </a:lnTo>
                  <a:lnTo>
                    <a:pt x="576" y="416"/>
                  </a:lnTo>
                  <a:lnTo>
                    <a:pt x="576" y="414"/>
                  </a:lnTo>
                  <a:lnTo>
                    <a:pt x="574" y="414"/>
                  </a:lnTo>
                  <a:lnTo>
                    <a:pt x="574" y="414"/>
                  </a:lnTo>
                  <a:lnTo>
                    <a:pt x="574" y="412"/>
                  </a:lnTo>
                  <a:lnTo>
                    <a:pt x="572" y="412"/>
                  </a:lnTo>
                  <a:lnTo>
                    <a:pt x="572" y="412"/>
                  </a:lnTo>
                  <a:lnTo>
                    <a:pt x="572" y="412"/>
                  </a:lnTo>
                  <a:lnTo>
                    <a:pt x="572" y="412"/>
                  </a:lnTo>
                  <a:lnTo>
                    <a:pt x="572" y="412"/>
                  </a:lnTo>
                  <a:lnTo>
                    <a:pt x="572" y="412"/>
                  </a:lnTo>
                  <a:lnTo>
                    <a:pt x="574" y="408"/>
                  </a:lnTo>
                  <a:lnTo>
                    <a:pt x="574" y="406"/>
                  </a:lnTo>
                  <a:lnTo>
                    <a:pt x="574" y="404"/>
                  </a:lnTo>
                  <a:lnTo>
                    <a:pt x="574" y="400"/>
                  </a:lnTo>
                  <a:lnTo>
                    <a:pt x="574" y="396"/>
                  </a:lnTo>
                  <a:lnTo>
                    <a:pt x="574" y="394"/>
                  </a:lnTo>
                  <a:lnTo>
                    <a:pt x="572" y="392"/>
                  </a:lnTo>
                  <a:lnTo>
                    <a:pt x="572" y="390"/>
                  </a:lnTo>
                  <a:lnTo>
                    <a:pt x="572" y="386"/>
                  </a:lnTo>
                  <a:lnTo>
                    <a:pt x="572" y="382"/>
                  </a:lnTo>
                  <a:lnTo>
                    <a:pt x="572" y="378"/>
                  </a:lnTo>
                  <a:lnTo>
                    <a:pt x="572" y="372"/>
                  </a:lnTo>
                  <a:lnTo>
                    <a:pt x="572" y="364"/>
                  </a:lnTo>
                  <a:lnTo>
                    <a:pt x="572" y="358"/>
                  </a:lnTo>
                  <a:lnTo>
                    <a:pt x="572" y="348"/>
                  </a:lnTo>
                  <a:lnTo>
                    <a:pt x="572" y="338"/>
                  </a:lnTo>
                  <a:lnTo>
                    <a:pt x="572" y="330"/>
                  </a:lnTo>
                  <a:lnTo>
                    <a:pt x="572" y="324"/>
                  </a:lnTo>
                  <a:lnTo>
                    <a:pt x="572" y="316"/>
                  </a:lnTo>
                  <a:lnTo>
                    <a:pt x="572" y="310"/>
                  </a:lnTo>
                  <a:lnTo>
                    <a:pt x="572" y="302"/>
                  </a:lnTo>
                  <a:lnTo>
                    <a:pt x="572" y="292"/>
                  </a:lnTo>
                  <a:lnTo>
                    <a:pt x="572" y="276"/>
                  </a:lnTo>
                  <a:lnTo>
                    <a:pt x="572" y="256"/>
                  </a:lnTo>
                  <a:lnTo>
                    <a:pt x="572" y="238"/>
                  </a:lnTo>
                  <a:lnTo>
                    <a:pt x="572" y="218"/>
                  </a:lnTo>
                  <a:lnTo>
                    <a:pt x="572" y="200"/>
                  </a:lnTo>
                  <a:lnTo>
                    <a:pt x="572" y="180"/>
                  </a:lnTo>
                  <a:lnTo>
                    <a:pt x="572" y="162"/>
                  </a:lnTo>
                  <a:lnTo>
                    <a:pt x="572" y="144"/>
                  </a:lnTo>
                  <a:lnTo>
                    <a:pt x="572" y="136"/>
                  </a:lnTo>
                  <a:lnTo>
                    <a:pt x="572" y="130"/>
                  </a:lnTo>
                  <a:lnTo>
                    <a:pt x="572" y="122"/>
                  </a:lnTo>
                  <a:lnTo>
                    <a:pt x="572" y="114"/>
                  </a:lnTo>
                  <a:lnTo>
                    <a:pt x="572" y="108"/>
                  </a:lnTo>
                  <a:lnTo>
                    <a:pt x="574" y="102"/>
                  </a:lnTo>
                  <a:lnTo>
                    <a:pt x="574" y="88"/>
                  </a:lnTo>
                  <a:lnTo>
                    <a:pt x="574" y="86"/>
                  </a:lnTo>
                  <a:lnTo>
                    <a:pt x="574" y="82"/>
                  </a:lnTo>
                  <a:lnTo>
                    <a:pt x="574" y="80"/>
                  </a:lnTo>
                  <a:lnTo>
                    <a:pt x="574" y="74"/>
                  </a:lnTo>
                  <a:lnTo>
                    <a:pt x="574" y="74"/>
                  </a:lnTo>
                  <a:lnTo>
                    <a:pt x="574" y="74"/>
                  </a:lnTo>
                  <a:lnTo>
                    <a:pt x="574" y="74"/>
                  </a:lnTo>
                  <a:lnTo>
                    <a:pt x="576" y="74"/>
                  </a:lnTo>
                  <a:lnTo>
                    <a:pt x="576" y="74"/>
                  </a:lnTo>
                  <a:lnTo>
                    <a:pt x="576" y="72"/>
                  </a:lnTo>
                  <a:lnTo>
                    <a:pt x="576" y="72"/>
                  </a:lnTo>
                  <a:lnTo>
                    <a:pt x="576" y="72"/>
                  </a:lnTo>
                  <a:lnTo>
                    <a:pt x="576" y="70"/>
                  </a:lnTo>
                  <a:lnTo>
                    <a:pt x="576" y="68"/>
                  </a:lnTo>
                  <a:lnTo>
                    <a:pt x="576" y="68"/>
                  </a:lnTo>
                  <a:lnTo>
                    <a:pt x="576" y="68"/>
                  </a:lnTo>
                  <a:lnTo>
                    <a:pt x="576" y="66"/>
                  </a:lnTo>
                  <a:lnTo>
                    <a:pt x="576" y="66"/>
                  </a:lnTo>
                  <a:lnTo>
                    <a:pt x="576" y="66"/>
                  </a:lnTo>
                  <a:lnTo>
                    <a:pt x="576" y="64"/>
                  </a:lnTo>
                  <a:lnTo>
                    <a:pt x="576" y="64"/>
                  </a:lnTo>
                  <a:lnTo>
                    <a:pt x="574" y="64"/>
                  </a:lnTo>
                  <a:lnTo>
                    <a:pt x="574" y="64"/>
                  </a:lnTo>
                  <a:lnTo>
                    <a:pt x="574" y="64"/>
                  </a:lnTo>
                  <a:lnTo>
                    <a:pt x="570" y="64"/>
                  </a:lnTo>
                  <a:lnTo>
                    <a:pt x="570" y="66"/>
                  </a:lnTo>
                  <a:lnTo>
                    <a:pt x="570" y="66"/>
                  </a:lnTo>
                  <a:lnTo>
                    <a:pt x="570" y="66"/>
                  </a:lnTo>
                  <a:lnTo>
                    <a:pt x="570" y="68"/>
                  </a:lnTo>
                  <a:lnTo>
                    <a:pt x="570" y="68"/>
                  </a:lnTo>
                  <a:lnTo>
                    <a:pt x="570" y="68"/>
                  </a:lnTo>
                  <a:lnTo>
                    <a:pt x="570" y="68"/>
                  </a:lnTo>
                  <a:lnTo>
                    <a:pt x="568" y="68"/>
                  </a:lnTo>
                  <a:lnTo>
                    <a:pt x="566" y="68"/>
                  </a:lnTo>
                  <a:lnTo>
                    <a:pt x="560" y="66"/>
                  </a:lnTo>
                  <a:lnTo>
                    <a:pt x="554" y="66"/>
                  </a:lnTo>
                  <a:lnTo>
                    <a:pt x="546" y="66"/>
                  </a:lnTo>
                  <a:lnTo>
                    <a:pt x="538" y="66"/>
                  </a:lnTo>
                  <a:lnTo>
                    <a:pt x="532" y="68"/>
                  </a:lnTo>
                  <a:lnTo>
                    <a:pt x="524" y="68"/>
                  </a:lnTo>
                  <a:lnTo>
                    <a:pt x="518" y="66"/>
                  </a:lnTo>
                  <a:lnTo>
                    <a:pt x="508" y="66"/>
                  </a:lnTo>
                  <a:lnTo>
                    <a:pt x="498" y="64"/>
                  </a:lnTo>
                  <a:lnTo>
                    <a:pt x="490" y="62"/>
                  </a:lnTo>
                  <a:lnTo>
                    <a:pt x="486" y="60"/>
                  </a:lnTo>
                  <a:lnTo>
                    <a:pt x="482" y="60"/>
                  </a:lnTo>
                  <a:lnTo>
                    <a:pt x="478" y="56"/>
                  </a:lnTo>
                  <a:lnTo>
                    <a:pt x="478" y="58"/>
                  </a:lnTo>
                  <a:lnTo>
                    <a:pt x="474" y="54"/>
                  </a:lnTo>
                  <a:lnTo>
                    <a:pt x="470" y="50"/>
                  </a:lnTo>
                  <a:lnTo>
                    <a:pt x="464" y="44"/>
                  </a:lnTo>
                  <a:lnTo>
                    <a:pt x="460" y="40"/>
                  </a:lnTo>
                  <a:lnTo>
                    <a:pt x="460" y="40"/>
                  </a:lnTo>
                  <a:lnTo>
                    <a:pt x="460" y="40"/>
                  </a:lnTo>
                  <a:lnTo>
                    <a:pt x="458" y="38"/>
                  </a:lnTo>
                  <a:lnTo>
                    <a:pt x="458" y="38"/>
                  </a:lnTo>
                  <a:lnTo>
                    <a:pt x="456" y="38"/>
                  </a:lnTo>
                  <a:lnTo>
                    <a:pt x="452" y="38"/>
                  </a:lnTo>
                  <a:lnTo>
                    <a:pt x="452" y="38"/>
                  </a:lnTo>
                  <a:lnTo>
                    <a:pt x="452" y="38"/>
                  </a:lnTo>
                  <a:lnTo>
                    <a:pt x="448" y="38"/>
                  </a:lnTo>
                  <a:lnTo>
                    <a:pt x="448" y="38"/>
                  </a:lnTo>
                  <a:lnTo>
                    <a:pt x="448" y="38"/>
                  </a:lnTo>
                  <a:lnTo>
                    <a:pt x="444" y="38"/>
                  </a:lnTo>
                  <a:lnTo>
                    <a:pt x="444" y="38"/>
                  </a:lnTo>
                  <a:lnTo>
                    <a:pt x="444" y="40"/>
                  </a:lnTo>
                  <a:lnTo>
                    <a:pt x="440" y="42"/>
                  </a:lnTo>
                  <a:lnTo>
                    <a:pt x="436" y="44"/>
                  </a:lnTo>
                  <a:lnTo>
                    <a:pt x="434" y="46"/>
                  </a:lnTo>
                  <a:lnTo>
                    <a:pt x="430" y="48"/>
                  </a:lnTo>
                  <a:lnTo>
                    <a:pt x="428" y="50"/>
                  </a:lnTo>
                  <a:lnTo>
                    <a:pt x="426" y="50"/>
                  </a:lnTo>
                  <a:lnTo>
                    <a:pt x="424" y="50"/>
                  </a:lnTo>
                  <a:lnTo>
                    <a:pt x="422" y="50"/>
                  </a:lnTo>
                  <a:lnTo>
                    <a:pt x="420" y="50"/>
                  </a:lnTo>
                  <a:lnTo>
                    <a:pt x="420" y="50"/>
                  </a:lnTo>
                  <a:lnTo>
                    <a:pt x="418" y="46"/>
                  </a:lnTo>
                  <a:lnTo>
                    <a:pt x="414" y="44"/>
                  </a:lnTo>
                  <a:lnTo>
                    <a:pt x="412" y="42"/>
                  </a:lnTo>
                  <a:lnTo>
                    <a:pt x="412" y="40"/>
                  </a:lnTo>
                  <a:lnTo>
                    <a:pt x="408" y="36"/>
                  </a:lnTo>
                  <a:lnTo>
                    <a:pt x="406" y="32"/>
                  </a:lnTo>
                  <a:lnTo>
                    <a:pt x="404" y="30"/>
                  </a:lnTo>
                  <a:lnTo>
                    <a:pt x="402" y="28"/>
                  </a:lnTo>
                  <a:lnTo>
                    <a:pt x="400" y="26"/>
                  </a:lnTo>
                  <a:lnTo>
                    <a:pt x="400" y="26"/>
                  </a:lnTo>
                  <a:lnTo>
                    <a:pt x="398" y="26"/>
                  </a:lnTo>
                  <a:lnTo>
                    <a:pt x="396" y="24"/>
                  </a:lnTo>
                  <a:lnTo>
                    <a:pt x="396" y="24"/>
                  </a:lnTo>
                  <a:lnTo>
                    <a:pt x="396" y="24"/>
                  </a:lnTo>
                  <a:lnTo>
                    <a:pt x="392" y="22"/>
                  </a:lnTo>
                  <a:lnTo>
                    <a:pt x="388" y="22"/>
                  </a:lnTo>
                  <a:lnTo>
                    <a:pt x="384" y="20"/>
                  </a:lnTo>
                  <a:lnTo>
                    <a:pt x="382" y="20"/>
                  </a:lnTo>
                  <a:lnTo>
                    <a:pt x="382" y="20"/>
                  </a:lnTo>
                  <a:lnTo>
                    <a:pt x="380" y="20"/>
                  </a:lnTo>
                  <a:lnTo>
                    <a:pt x="376" y="20"/>
                  </a:lnTo>
                  <a:lnTo>
                    <a:pt x="376" y="20"/>
                  </a:lnTo>
                  <a:lnTo>
                    <a:pt x="376" y="20"/>
                  </a:lnTo>
                  <a:lnTo>
                    <a:pt x="374" y="20"/>
                  </a:lnTo>
                  <a:lnTo>
                    <a:pt x="370" y="22"/>
                  </a:lnTo>
                  <a:lnTo>
                    <a:pt x="368" y="24"/>
                  </a:lnTo>
                  <a:lnTo>
                    <a:pt x="364" y="26"/>
                  </a:lnTo>
                  <a:lnTo>
                    <a:pt x="360" y="28"/>
                  </a:lnTo>
                  <a:lnTo>
                    <a:pt x="358" y="30"/>
                  </a:lnTo>
                  <a:lnTo>
                    <a:pt x="354" y="34"/>
                  </a:lnTo>
                  <a:lnTo>
                    <a:pt x="352" y="36"/>
                  </a:lnTo>
                  <a:lnTo>
                    <a:pt x="350" y="36"/>
                  </a:lnTo>
                  <a:lnTo>
                    <a:pt x="350" y="36"/>
                  </a:lnTo>
                  <a:lnTo>
                    <a:pt x="352" y="30"/>
                  </a:lnTo>
                  <a:lnTo>
                    <a:pt x="352" y="26"/>
                  </a:lnTo>
                  <a:lnTo>
                    <a:pt x="354" y="24"/>
                  </a:lnTo>
                  <a:lnTo>
                    <a:pt x="354" y="22"/>
                  </a:lnTo>
                  <a:lnTo>
                    <a:pt x="358" y="16"/>
                  </a:lnTo>
                  <a:lnTo>
                    <a:pt x="360" y="14"/>
                  </a:lnTo>
                  <a:lnTo>
                    <a:pt x="360" y="12"/>
                  </a:lnTo>
                  <a:lnTo>
                    <a:pt x="360" y="12"/>
                  </a:lnTo>
                  <a:lnTo>
                    <a:pt x="360" y="10"/>
                  </a:lnTo>
                  <a:lnTo>
                    <a:pt x="362" y="8"/>
                  </a:lnTo>
                  <a:lnTo>
                    <a:pt x="362" y="8"/>
                  </a:lnTo>
                  <a:lnTo>
                    <a:pt x="362" y="8"/>
                  </a:lnTo>
                  <a:lnTo>
                    <a:pt x="360" y="6"/>
                  </a:lnTo>
                  <a:lnTo>
                    <a:pt x="360" y="6"/>
                  </a:lnTo>
                  <a:lnTo>
                    <a:pt x="360" y="4"/>
                  </a:lnTo>
                  <a:lnTo>
                    <a:pt x="358" y="4"/>
                  </a:lnTo>
                  <a:lnTo>
                    <a:pt x="358" y="4"/>
                  </a:lnTo>
                  <a:lnTo>
                    <a:pt x="358" y="4"/>
                  </a:lnTo>
                  <a:lnTo>
                    <a:pt x="356" y="2"/>
                  </a:lnTo>
                  <a:lnTo>
                    <a:pt x="356" y="2"/>
                  </a:lnTo>
                  <a:lnTo>
                    <a:pt x="356" y="2"/>
                  </a:lnTo>
                  <a:lnTo>
                    <a:pt x="354" y="0"/>
                  </a:lnTo>
                  <a:lnTo>
                    <a:pt x="350" y="0"/>
                  </a:lnTo>
                  <a:lnTo>
                    <a:pt x="350" y="0"/>
                  </a:lnTo>
                  <a:lnTo>
                    <a:pt x="350" y="0"/>
                  </a:lnTo>
                  <a:lnTo>
                    <a:pt x="346" y="0"/>
                  </a:lnTo>
                  <a:lnTo>
                    <a:pt x="344" y="0"/>
                  </a:lnTo>
                  <a:lnTo>
                    <a:pt x="344" y="0"/>
                  </a:lnTo>
                  <a:lnTo>
                    <a:pt x="344" y="0"/>
                  </a:lnTo>
                  <a:lnTo>
                    <a:pt x="342" y="0"/>
                  </a:lnTo>
                  <a:lnTo>
                    <a:pt x="342" y="0"/>
                  </a:lnTo>
                  <a:lnTo>
                    <a:pt x="340" y="2"/>
                  </a:lnTo>
                  <a:lnTo>
                    <a:pt x="338" y="2"/>
                  </a:lnTo>
                  <a:lnTo>
                    <a:pt x="338" y="2"/>
                  </a:lnTo>
                  <a:lnTo>
                    <a:pt x="338" y="4"/>
                  </a:lnTo>
                  <a:lnTo>
                    <a:pt x="336" y="6"/>
                  </a:lnTo>
                  <a:lnTo>
                    <a:pt x="336" y="6"/>
                  </a:lnTo>
                  <a:lnTo>
                    <a:pt x="336" y="6"/>
                  </a:lnTo>
                  <a:lnTo>
                    <a:pt x="336" y="8"/>
                  </a:lnTo>
                  <a:lnTo>
                    <a:pt x="334" y="12"/>
                  </a:lnTo>
                  <a:lnTo>
                    <a:pt x="334" y="16"/>
                  </a:lnTo>
                  <a:lnTo>
                    <a:pt x="334" y="20"/>
                  </a:lnTo>
                  <a:lnTo>
                    <a:pt x="332" y="22"/>
                  </a:lnTo>
                  <a:lnTo>
                    <a:pt x="332" y="24"/>
                  </a:lnTo>
                  <a:lnTo>
                    <a:pt x="330" y="26"/>
                  </a:lnTo>
                  <a:lnTo>
                    <a:pt x="328" y="26"/>
                  </a:lnTo>
                  <a:lnTo>
                    <a:pt x="326" y="26"/>
                  </a:lnTo>
                  <a:lnTo>
                    <a:pt x="322" y="26"/>
                  </a:lnTo>
                  <a:lnTo>
                    <a:pt x="318" y="26"/>
                  </a:lnTo>
                  <a:lnTo>
                    <a:pt x="312" y="26"/>
                  </a:lnTo>
                  <a:lnTo>
                    <a:pt x="308" y="26"/>
                  </a:lnTo>
                  <a:lnTo>
                    <a:pt x="304" y="24"/>
                  </a:lnTo>
                  <a:lnTo>
                    <a:pt x="304" y="24"/>
                  </a:lnTo>
                  <a:lnTo>
                    <a:pt x="304" y="24"/>
                  </a:lnTo>
                  <a:lnTo>
                    <a:pt x="302" y="26"/>
                  </a:lnTo>
                  <a:lnTo>
                    <a:pt x="302" y="26"/>
                  </a:lnTo>
                  <a:lnTo>
                    <a:pt x="300" y="26"/>
                  </a:lnTo>
                  <a:lnTo>
                    <a:pt x="298" y="26"/>
                  </a:lnTo>
                  <a:lnTo>
                    <a:pt x="298" y="26"/>
                  </a:lnTo>
                  <a:lnTo>
                    <a:pt x="298" y="28"/>
                  </a:lnTo>
                  <a:lnTo>
                    <a:pt x="296" y="28"/>
                  </a:lnTo>
                  <a:lnTo>
                    <a:pt x="296" y="28"/>
                  </a:lnTo>
                  <a:lnTo>
                    <a:pt x="296" y="30"/>
                  </a:lnTo>
                  <a:lnTo>
                    <a:pt x="296" y="30"/>
                  </a:lnTo>
                  <a:lnTo>
                    <a:pt x="296" y="30"/>
                  </a:lnTo>
                  <a:lnTo>
                    <a:pt x="296" y="32"/>
                  </a:lnTo>
                  <a:lnTo>
                    <a:pt x="294" y="34"/>
                  </a:lnTo>
                  <a:lnTo>
                    <a:pt x="294" y="34"/>
                  </a:lnTo>
                  <a:lnTo>
                    <a:pt x="294" y="34"/>
                  </a:lnTo>
                  <a:lnTo>
                    <a:pt x="294" y="38"/>
                  </a:lnTo>
                  <a:lnTo>
                    <a:pt x="294" y="42"/>
                  </a:lnTo>
                  <a:lnTo>
                    <a:pt x="292" y="44"/>
                  </a:lnTo>
                  <a:lnTo>
                    <a:pt x="294" y="46"/>
                  </a:lnTo>
                  <a:lnTo>
                    <a:pt x="294" y="52"/>
                  </a:lnTo>
                  <a:lnTo>
                    <a:pt x="294" y="54"/>
                  </a:lnTo>
                  <a:lnTo>
                    <a:pt x="294" y="54"/>
                  </a:lnTo>
                  <a:lnTo>
                    <a:pt x="292" y="54"/>
                  </a:lnTo>
                  <a:lnTo>
                    <a:pt x="290" y="52"/>
                  </a:lnTo>
                  <a:lnTo>
                    <a:pt x="286" y="52"/>
                  </a:lnTo>
                  <a:lnTo>
                    <a:pt x="284" y="50"/>
                  </a:lnTo>
                  <a:lnTo>
                    <a:pt x="282" y="50"/>
                  </a:lnTo>
                  <a:lnTo>
                    <a:pt x="280" y="50"/>
                  </a:lnTo>
                  <a:lnTo>
                    <a:pt x="272" y="50"/>
                  </a:lnTo>
                  <a:lnTo>
                    <a:pt x="270" y="48"/>
                  </a:lnTo>
                  <a:lnTo>
                    <a:pt x="266" y="50"/>
                  </a:lnTo>
                  <a:lnTo>
                    <a:pt x="266" y="50"/>
                  </a:lnTo>
                  <a:lnTo>
                    <a:pt x="266" y="50"/>
                  </a:lnTo>
                  <a:lnTo>
                    <a:pt x="262" y="50"/>
                  </a:lnTo>
                  <a:lnTo>
                    <a:pt x="262" y="50"/>
                  </a:lnTo>
                  <a:lnTo>
                    <a:pt x="262" y="50"/>
                  </a:lnTo>
                  <a:lnTo>
                    <a:pt x="260" y="52"/>
                  </a:lnTo>
                  <a:lnTo>
                    <a:pt x="260" y="52"/>
                  </a:lnTo>
                  <a:lnTo>
                    <a:pt x="258" y="52"/>
                  </a:lnTo>
                  <a:lnTo>
                    <a:pt x="256" y="54"/>
                  </a:lnTo>
                  <a:lnTo>
                    <a:pt x="252" y="56"/>
                  </a:lnTo>
                  <a:lnTo>
                    <a:pt x="250" y="58"/>
                  </a:lnTo>
                  <a:lnTo>
                    <a:pt x="248" y="62"/>
                  </a:lnTo>
                  <a:lnTo>
                    <a:pt x="244" y="68"/>
                  </a:lnTo>
                  <a:lnTo>
                    <a:pt x="242" y="72"/>
                  </a:lnTo>
                  <a:lnTo>
                    <a:pt x="242" y="74"/>
                  </a:lnTo>
                  <a:lnTo>
                    <a:pt x="240" y="78"/>
                  </a:lnTo>
                  <a:lnTo>
                    <a:pt x="240" y="80"/>
                  </a:lnTo>
                  <a:lnTo>
                    <a:pt x="240" y="80"/>
                  </a:lnTo>
                  <a:lnTo>
                    <a:pt x="240" y="80"/>
                  </a:lnTo>
                  <a:lnTo>
                    <a:pt x="240" y="86"/>
                  </a:lnTo>
                  <a:lnTo>
                    <a:pt x="240" y="90"/>
                  </a:lnTo>
                  <a:lnTo>
                    <a:pt x="240" y="92"/>
                  </a:lnTo>
                  <a:lnTo>
                    <a:pt x="240" y="94"/>
                  </a:lnTo>
                  <a:lnTo>
                    <a:pt x="240" y="94"/>
                  </a:lnTo>
                  <a:lnTo>
                    <a:pt x="238" y="94"/>
                  </a:lnTo>
                  <a:lnTo>
                    <a:pt x="236" y="96"/>
                  </a:lnTo>
                  <a:lnTo>
                    <a:pt x="232" y="96"/>
                  </a:lnTo>
                  <a:lnTo>
                    <a:pt x="230" y="98"/>
                  </a:lnTo>
                  <a:lnTo>
                    <a:pt x="230" y="98"/>
                  </a:lnTo>
                  <a:lnTo>
                    <a:pt x="230" y="98"/>
                  </a:lnTo>
                  <a:lnTo>
                    <a:pt x="228" y="98"/>
                  </a:lnTo>
                  <a:lnTo>
                    <a:pt x="228" y="98"/>
                  </a:lnTo>
                  <a:lnTo>
                    <a:pt x="228" y="98"/>
                  </a:lnTo>
                  <a:lnTo>
                    <a:pt x="224" y="102"/>
                  </a:lnTo>
                  <a:lnTo>
                    <a:pt x="222" y="104"/>
                  </a:lnTo>
                  <a:lnTo>
                    <a:pt x="218" y="108"/>
                  </a:lnTo>
                  <a:lnTo>
                    <a:pt x="214" y="110"/>
                  </a:lnTo>
                  <a:lnTo>
                    <a:pt x="214" y="110"/>
                  </a:lnTo>
                  <a:lnTo>
                    <a:pt x="212" y="112"/>
                  </a:lnTo>
                  <a:lnTo>
                    <a:pt x="206" y="112"/>
                  </a:lnTo>
                  <a:lnTo>
                    <a:pt x="200" y="114"/>
                  </a:lnTo>
                  <a:lnTo>
                    <a:pt x="198" y="114"/>
                  </a:lnTo>
                  <a:lnTo>
                    <a:pt x="196" y="116"/>
                  </a:lnTo>
                  <a:lnTo>
                    <a:pt x="196" y="116"/>
                  </a:lnTo>
                  <a:lnTo>
                    <a:pt x="196" y="116"/>
                  </a:lnTo>
                  <a:lnTo>
                    <a:pt x="194" y="118"/>
                  </a:lnTo>
                  <a:lnTo>
                    <a:pt x="194" y="118"/>
                  </a:lnTo>
                  <a:lnTo>
                    <a:pt x="194" y="120"/>
                  </a:lnTo>
                  <a:lnTo>
                    <a:pt x="192" y="122"/>
                  </a:lnTo>
                  <a:lnTo>
                    <a:pt x="192" y="122"/>
                  </a:lnTo>
                  <a:lnTo>
                    <a:pt x="190" y="122"/>
                  </a:lnTo>
                  <a:lnTo>
                    <a:pt x="190" y="126"/>
                  </a:lnTo>
                  <a:lnTo>
                    <a:pt x="190" y="126"/>
                  </a:lnTo>
                  <a:lnTo>
                    <a:pt x="190" y="126"/>
                  </a:lnTo>
                  <a:lnTo>
                    <a:pt x="190" y="130"/>
                  </a:lnTo>
                  <a:lnTo>
                    <a:pt x="190" y="130"/>
                  </a:lnTo>
                  <a:lnTo>
                    <a:pt x="190" y="130"/>
                  </a:lnTo>
                  <a:lnTo>
                    <a:pt x="190" y="134"/>
                  </a:lnTo>
                  <a:lnTo>
                    <a:pt x="190" y="134"/>
                  </a:lnTo>
                  <a:lnTo>
                    <a:pt x="190" y="134"/>
                  </a:lnTo>
                  <a:lnTo>
                    <a:pt x="190" y="138"/>
                  </a:lnTo>
                  <a:lnTo>
                    <a:pt x="190" y="138"/>
                  </a:lnTo>
                  <a:lnTo>
                    <a:pt x="190" y="138"/>
                  </a:lnTo>
                  <a:lnTo>
                    <a:pt x="192" y="140"/>
                  </a:lnTo>
                  <a:lnTo>
                    <a:pt x="192" y="140"/>
                  </a:lnTo>
                  <a:lnTo>
                    <a:pt x="192" y="140"/>
                  </a:lnTo>
                  <a:lnTo>
                    <a:pt x="194" y="142"/>
                  </a:lnTo>
                  <a:lnTo>
                    <a:pt x="196" y="144"/>
                  </a:lnTo>
                  <a:lnTo>
                    <a:pt x="198" y="146"/>
                  </a:lnTo>
                  <a:lnTo>
                    <a:pt x="202" y="148"/>
                  </a:lnTo>
                  <a:lnTo>
                    <a:pt x="206" y="150"/>
                  </a:lnTo>
                  <a:lnTo>
                    <a:pt x="212" y="156"/>
                  </a:lnTo>
                  <a:lnTo>
                    <a:pt x="216" y="158"/>
                  </a:lnTo>
                  <a:lnTo>
                    <a:pt x="220" y="160"/>
                  </a:lnTo>
                  <a:lnTo>
                    <a:pt x="224" y="162"/>
                  </a:lnTo>
                  <a:lnTo>
                    <a:pt x="226" y="166"/>
                  </a:lnTo>
                  <a:lnTo>
                    <a:pt x="228" y="168"/>
                  </a:lnTo>
                  <a:lnTo>
                    <a:pt x="228" y="170"/>
                  </a:lnTo>
                  <a:lnTo>
                    <a:pt x="228" y="172"/>
                  </a:lnTo>
                  <a:lnTo>
                    <a:pt x="228" y="174"/>
                  </a:lnTo>
                  <a:lnTo>
                    <a:pt x="228" y="178"/>
                  </a:lnTo>
                  <a:lnTo>
                    <a:pt x="228" y="180"/>
                  </a:lnTo>
                  <a:lnTo>
                    <a:pt x="228" y="180"/>
                  </a:lnTo>
                  <a:lnTo>
                    <a:pt x="230" y="180"/>
                  </a:lnTo>
                  <a:lnTo>
                    <a:pt x="230" y="182"/>
                  </a:lnTo>
                  <a:lnTo>
                    <a:pt x="230" y="182"/>
                  </a:lnTo>
                  <a:lnTo>
                    <a:pt x="230" y="184"/>
                  </a:lnTo>
                  <a:lnTo>
                    <a:pt x="232" y="186"/>
                  </a:lnTo>
                  <a:lnTo>
                    <a:pt x="232" y="186"/>
                  </a:lnTo>
                  <a:lnTo>
                    <a:pt x="232" y="186"/>
                  </a:lnTo>
                  <a:lnTo>
                    <a:pt x="234" y="186"/>
                  </a:lnTo>
                  <a:lnTo>
                    <a:pt x="234" y="186"/>
                  </a:lnTo>
                  <a:lnTo>
                    <a:pt x="236" y="188"/>
                  </a:lnTo>
                  <a:lnTo>
                    <a:pt x="238" y="188"/>
                  </a:lnTo>
                  <a:lnTo>
                    <a:pt x="242" y="188"/>
                  </a:lnTo>
                  <a:lnTo>
                    <a:pt x="246" y="188"/>
                  </a:lnTo>
                  <a:lnTo>
                    <a:pt x="252" y="188"/>
                  </a:lnTo>
                  <a:lnTo>
                    <a:pt x="254" y="188"/>
                  </a:lnTo>
                  <a:lnTo>
                    <a:pt x="258" y="188"/>
                  </a:lnTo>
                  <a:lnTo>
                    <a:pt x="262" y="190"/>
                  </a:lnTo>
                  <a:lnTo>
                    <a:pt x="266" y="192"/>
                  </a:lnTo>
                  <a:lnTo>
                    <a:pt x="270" y="196"/>
                  </a:lnTo>
                  <a:lnTo>
                    <a:pt x="272" y="198"/>
                  </a:lnTo>
                  <a:lnTo>
                    <a:pt x="272" y="200"/>
                  </a:lnTo>
                  <a:lnTo>
                    <a:pt x="274" y="202"/>
                  </a:lnTo>
                  <a:lnTo>
                    <a:pt x="274" y="204"/>
                  </a:lnTo>
                  <a:lnTo>
                    <a:pt x="274" y="208"/>
                  </a:lnTo>
                  <a:lnTo>
                    <a:pt x="274" y="206"/>
                  </a:lnTo>
                  <a:lnTo>
                    <a:pt x="276" y="210"/>
                  </a:lnTo>
                  <a:lnTo>
                    <a:pt x="274" y="212"/>
                  </a:lnTo>
                  <a:lnTo>
                    <a:pt x="274" y="212"/>
                  </a:lnTo>
                  <a:lnTo>
                    <a:pt x="272" y="214"/>
                  </a:lnTo>
                  <a:lnTo>
                    <a:pt x="272" y="214"/>
                  </a:lnTo>
                  <a:lnTo>
                    <a:pt x="270" y="216"/>
                  </a:lnTo>
                  <a:lnTo>
                    <a:pt x="266" y="218"/>
                  </a:lnTo>
                  <a:lnTo>
                    <a:pt x="260" y="218"/>
                  </a:lnTo>
                  <a:lnTo>
                    <a:pt x="254" y="220"/>
                  </a:lnTo>
                  <a:lnTo>
                    <a:pt x="248" y="222"/>
                  </a:lnTo>
                  <a:lnTo>
                    <a:pt x="242" y="222"/>
                  </a:lnTo>
                  <a:lnTo>
                    <a:pt x="238" y="222"/>
                  </a:lnTo>
                  <a:lnTo>
                    <a:pt x="236" y="222"/>
                  </a:lnTo>
                  <a:lnTo>
                    <a:pt x="236" y="222"/>
                  </a:lnTo>
                  <a:lnTo>
                    <a:pt x="234" y="220"/>
                  </a:lnTo>
                  <a:lnTo>
                    <a:pt x="236" y="218"/>
                  </a:lnTo>
                  <a:lnTo>
                    <a:pt x="236" y="214"/>
                  </a:lnTo>
                  <a:lnTo>
                    <a:pt x="238" y="210"/>
                  </a:lnTo>
                  <a:lnTo>
                    <a:pt x="238" y="210"/>
                  </a:lnTo>
                  <a:lnTo>
                    <a:pt x="238" y="210"/>
                  </a:lnTo>
                  <a:lnTo>
                    <a:pt x="238" y="206"/>
                  </a:lnTo>
                  <a:lnTo>
                    <a:pt x="238" y="206"/>
                  </a:lnTo>
                  <a:lnTo>
                    <a:pt x="238" y="206"/>
                  </a:lnTo>
                  <a:lnTo>
                    <a:pt x="236" y="204"/>
                  </a:lnTo>
                  <a:lnTo>
                    <a:pt x="236" y="204"/>
                  </a:lnTo>
                  <a:lnTo>
                    <a:pt x="236" y="204"/>
                  </a:lnTo>
                  <a:lnTo>
                    <a:pt x="236" y="202"/>
                  </a:lnTo>
                  <a:lnTo>
                    <a:pt x="236" y="202"/>
                  </a:lnTo>
                  <a:lnTo>
                    <a:pt x="234" y="202"/>
                  </a:lnTo>
                  <a:lnTo>
                    <a:pt x="232" y="202"/>
                  </a:lnTo>
                  <a:lnTo>
                    <a:pt x="232" y="202"/>
                  </a:lnTo>
                  <a:lnTo>
                    <a:pt x="232" y="202"/>
                  </a:lnTo>
                  <a:lnTo>
                    <a:pt x="230" y="202"/>
                  </a:lnTo>
                  <a:lnTo>
                    <a:pt x="230" y="202"/>
                  </a:lnTo>
                  <a:lnTo>
                    <a:pt x="230" y="202"/>
                  </a:lnTo>
                  <a:lnTo>
                    <a:pt x="226" y="202"/>
                  </a:lnTo>
                  <a:lnTo>
                    <a:pt x="224" y="204"/>
                  </a:lnTo>
                  <a:lnTo>
                    <a:pt x="220" y="206"/>
                  </a:lnTo>
                  <a:lnTo>
                    <a:pt x="216" y="208"/>
                  </a:lnTo>
                  <a:lnTo>
                    <a:pt x="208" y="212"/>
                  </a:lnTo>
                  <a:lnTo>
                    <a:pt x="198" y="216"/>
                  </a:lnTo>
                  <a:lnTo>
                    <a:pt x="188" y="222"/>
                  </a:lnTo>
                  <a:lnTo>
                    <a:pt x="184" y="224"/>
                  </a:lnTo>
                  <a:lnTo>
                    <a:pt x="180" y="226"/>
                  </a:lnTo>
                  <a:lnTo>
                    <a:pt x="176" y="228"/>
                  </a:lnTo>
                  <a:lnTo>
                    <a:pt x="172" y="230"/>
                  </a:lnTo>
                  <a:lnTo>
                    <a:pt x="170" y="232"/>
                  </a:lnTo>
                  <a:lnTo>
                    <a:pt x="168" y="234"/>
                  </a:lnTo>
                  <a:lnTo>
                    <a:pt x="166" y="236"/>
                  </a:lnTo>
                  <a:lnTo>
                    <a:pt x="166" y="236"/>
                  </a:lnTo>
                  <a:lnTo>
                    <a:pt x="166" y="236"/>
                  </a:lnTo>
                  <a:lnTo>
                    <a:pt x="166" y="238"/>
                  </a:lnTo>
                  <a:lnTo>
                    <a:pt x="166" y="238"/>
                  </a:lnTo>
                  <a:lnTo>
                    <a:pt x="166" y="238"/>
                  </a:lnTo>
                  <a:lnTo>
                    <a:pt x="166" y="240"/>
                  </a:lnTo>
                  <a:lnTo>
                    <a:pt x="166" y="240"/>
                  </a:lnTo>
                  <a:lnTo>
                    <a:pt x="166" y="240"/>
                  </a:lnTo>
                  <a:lnTo>
                    <a:pt x="168" y="242"/>
                  </a:lnTo>
                  <a:lnTo>
                    <a:pt x="168" y="242"/>
                  </a:lnTo>
                  <a:lnTo>
                    <a:pt x="168" y="242"/>
                  </a:lnTo>
                  <a:lnTo>
                    <a:pt x="168" y="242"/>
                  </a:lnTo>
                  <a:lnTo>
                    <a:pt x="170" y="242"/>
                  </a:lnTo>
                  <a:lnTo>
                    <a:pt x="172" y="242"/>
                  </a:lnTo>
                  <a:lnTo>
                    <a:pt x="176" y="242"/>
                  </a:lnTo>
                  <a:lnTo>
                    <a:pt x="178" y="242"/>
                  </a:lnTo>
                  <a:lnTo>
                    <a:pt x="180" y="244"/>
                  </a:lnTo>
                  <a:lnTo>
                    <a:pt x="182" y="244"/>
                  </a:lnTo>
                  <a:lnTo>
                    <a:pt x="182" y="246"/>
                  </a:lnTo>
                  <a:lnTo>
                    <a:pt x="184" y="248"/>
                  </a:lnTo>
                  <a:lnTo>
                    <a:pt x="186" y="252"/>
                  </a:lnTo>
                  <a:lnTo>
                    <a:pt x="188" y="256"/>
                  </a:lnTo>
                  <a:lnTo>
                    <a:pt x="188" y="260"/>
                  </a:lnTo>
                  <a:lnTo>
                    <a:pt x="190" y="264"/>
                  </a:lnTo>
                  <a:lnTo>
                    <a:pt x="192" y="266"/>
                  </a:lnTo>
                  <a:lnTo>
                    <a:pt x="194" y="270"/>
                  </a:lnTo>
                  <a:lnTo>
                    <a:pt x="194" y="270"/>
                  </a:lnTo>
                  <a:lnTo>
                    <a:pt x="194" y="270"/>
                  </a:lnTo>
                  <a:lnTo>
                    <a:pt x="196" y="272"/>
                  </a:lnTo>
                  <a:lnTo>
                    <a:pt x="196" y="272"/>
                  </a:lnTo>
                  <a:lnTo>
                    <a:pt x="196" y="272"/>
                  </a:lnTo>
                  <a:lnTo>
                    <a:pt x="198" y="272"/>
                  </a:lnTo>
                  <a:lnTo>
                    <a:pt x="200" y="274"/>
                  </a:lnTo>
                  <a:lnTo>
                    <a:pt x="200" y="274"/>
                  </a:lnTo>
                  <a:lnTo>
                    <a:pt x="200" y="274"/>
                  </a:lnTo>
                  <a:lnTo>
                    <a:pt x="202" y="276"/>
                  </a:lnTo>
                  <a:lnTo>
                    <a:pt x="204" y="276"/>
                  </a:lnTo>
                  <a:lnTo>
                    <a:pt x="206" y="276"/>
                  </a:lnTo>
                  <a:lnTo>
                    <a:pt x="210" y="276"/>
                  </a:lnTo>
                  <a:lnTo>
                    <a:pt x="214" y="276"/>
                  </a:lnTo>
                  <a:lnTo>
                    <a:pt x="218" y="276"/>
                  </a:lnTo>
                  <a:lnTo>
                    <a:pt x="222" y="276"/>
                  </a:lnTo>
                  <a:lnTo>
                    <a:pt x="226" y="278"/>
                  </a:lnTo>
                  <a:lnTo>
                    <a:pt x="232" y="276"/>
                  </a:lnTo>
                  <a:lnTo>
                    <a:pt x="236" y="276"/>
                  </a:lnTo>
                  <a:lnTo>
                    <a:pt x="240" y="276"/>
                  </a:lnTo>
                  <a:lnTo>
                    <a:pt x="242" y="276"/>
                  </a:lnTo>
                  <a:lnTo>
                    <a:pt x="246" y="276"/>
                  </a:lnTo>
                  <a:lnTo>
                    <a:pt x="246" y="276"/>
                  </a:lnTo>
                  <a:lnTo>
                    <a:pt x="246" y="276"/>
                  </a:lnTo>
                  <a:lnTo>
                    <a:pt x="248" y="274"/>
                  </a:lnTo>
                  <a:lnTo>
                    <a:pt x="248" y="274"/>
                  </a:lnTo>
                  <a:lnTo>
                    <a:pt x="248" y="274"/>
                  </a:lnTo>
                  <a:lnTo>
                    <a:pt x="250" y="274"/>
                  </a:lnTo>
                  <a:lnTo>
                    <a:pt x="250" y="272"/>
                  </a:lnTo>
                  <a:lnTo>
                    <a:pt x="252" y="270"/>
                  </a:lnTo>
                  <a:lnTo>
                    <a:pt x="252" y="270"/>
                  </a:lnTo>
                  <a:lnTo>
                    <a:pt x="254" y="270"/>
                  </a:lnTo>
                  <a:lnTo>
                    <a:pt x="256" y="270"/>
                  </a:lnTo>
                  <a:lnTo>
                    <a:pt x="260" y="270"/>
                  </a:lnTo>
                  <a:lnTo>
                    <a:pt x="266" y="272"/>
                  </a:lnTo>
                  <a:lnTo>
                    <a:pt x="268" y="272"/>
                  </a:lnTo>
                  <a:lnTo>
                    <a:pt x="270" y="272"/>
                  </a:lnTo>
                  <a:lnTo>
                    <a:pt x="272" y="274"/>
                  </a:lnTo>
                  <a:lnTo>
                    <a:pt x="274" y="276"/>
                  </a:lnTo>
                  <a:lnTo>
                    <a:pt x="274" y="278"/>
                  </a:lnTo>
                  <a:lnTo>
                    <a:pt x="276" y="280"/>
                  </a:lnTo>
                  <a:lnTo>
                    <a:pt x="276" y="284"/>
                  </a:lnTo>
                  <a:lnTo>
                    <a:pt x="278" y="288"/>
                  </a:lnTo>
                  <a:lnTo>
                    <a:pt x="278" y="294"/>
                  </a:lnTo>
                  <a:lnTo>
                    <a:pt x="278" y="298"/>
                  </a:lnTo>
                  <a:lnTo>
                    <a:pt x="276" y="300"/>
                  </a:lnTo>
                  <a:lnTo>
                    <a:pt x="276" y="304"/>
                  </a:lnTo>
                  <a:lnTo>
                    <a:pt x="274" y="306"/>
                  </a:lnTo>
                  <a:lnTo>
                    <a:pt x="272" y="306"/>
                  </a:lnTo>
                  <a:lnTo>
                    <a:pt x="270" y="308"/>
                  </a:lnTo>
                  <a:lnTo>
                    <a:pt x="266" y="310"/>
                  </a:lnTo>
                  <a:lnTo>
                    <a:pt x="258" y="312"/>
                  </a:lnTo>
                  <a:lnTo>
                    <a:pt x="254" y="312"/>
                  </a:lnTo>
                  <a:lnTo>
                    <a:pt x="252" y="314"/>
                  </a:lnTo>
                  <a:lnTo>
                    <a:pt x="248" y="316"/>
                  </a:lnTo>
                  <a:lnTo>
                    <a:pt x="244" y="316"/>
                  </a:lnTo>
                  <a:lnTo>
                    <a:pt x="236" y="318"/>
                  </a:lnTo>
                  <a:lnTo>
                    <a:pt x="228" y="320"/>
                  </a:lnTo>
                  <a:lnTo>
                    <a:pt x="224" y="322"/>
                  </a:lnTo>
                  <a:lnTo>
                    <a:pt x="220" y="324"/>
                  </a:lnTo>
                  <a:lnTo>
                    <a:pt x="218" y="326"/>
                  </a:lnTo>
                  <a:lnTo>
                    <a:pt x="214" y="328"/>
                  </a:lnTo>
                  <a:lnTo>
                    <a:pt x="214" y="328"/>
                  </a:lnTo>
                  <a:lnTo>
                    <a:pt x="214" y="328"/>
                  </a:lnTo>
                  <a:lnTo>
                    <a:pt x="210" y="334"/>
                  </a:lnTo>
                  <a:lnTo>
                    <a:pt x="210" y="334"/>
                  </a:lnTo>
                  <a:lnTo>
                    <a:pt x="210" y="334"/>
                  </a:lnTo>
                  <a:lnTo>
                    <a:pt x="206" y="340"/>
                  </a:lnTo>
                  <a:lnTo>
                    <a:pt x="204" y="348"/>
                  </a:lnTo>
                  <a:lnTo>
                    <a:pt x="202" y="354"/>
                  </a:lnTo>
                  <a:lnTo>
                    <a:pt x="200" y="360"/>
                  </a:lnTo>
                  <a:lnTo>
                    <a:pt x="200" y="364"/>
                  </a:lnTo>
                  <a:lnTo>
                    <a:pt x="200" y="366"/>
                  </a:lnTo>
                  <a:lnTo>
                    <a:pt x="200" y="366"/>
                  </a:lnTo>
                  <a:lnTo>
                    <a:pt x="200" y="366"/>
                  </a:lnTo>
                  <a:lnTo>
                    <a:pt x="200" y="370"/>
                  </a:lnTo>
                  <a:lnTo>
                    <a:pt x="200" y="370"/>
                  </a:lnTo>
                  <a:lnTo>
                    <a:pt x="200" y="370"/>
                  </a:lnTo>
                  <a:lnTo>
                    <a:pt x="202" y="372"/>
                  </a:lnTo>
                  <a:lnTo>
                    <a:pt x="202" y="372"/>
                  </a:lnTo>
                  <a:lnTo>
                    <a:pt x="202" y="374"/>
                  </a:lnTo>
                  <a:lnTo>
                    <a:pt x="204" y="376"/>
                  </a:lnTo>
                  <a:lnTo>
                    <a:pt x="204" y="376"/>
                  </a:lnTo>
                  <a:lnTo>
                    <a:pt x="204" y="376"/>
                  </a:lnTo>
                  <a:lnTo>
                    <a:pt x="206" y="378"/>
                  </a:lnTo>
                  <a:lnTo>
                    <a:pt x="206" y="378"/>
                  </a:lnTo>
                  <a:lnTo>
                    <a:pt x="206" y="378"/>
                  </a:lnTo>
                  <a:lnTo>
                    <a:pt x="208" y="380"/>
                  </a:lnTo>
                  <a:lnTo>
                    <a:pt x="212" y="382"/>
                  </a:lnTo>
                  <a:lnTo>
                    <a:pt x="218" y="384"/>
                  </a:lnTo>
                  <a:lnTo>
                    <a:pt x="220" y="386"/>
                  </a:lnTo>
                  <a:lnTo>
                    <a:pt x="222" y="388"/>
                  </a:lnTo>
                  <a:lnTo>
                    <a:pt x="224" y="390"/>
                  </a:lnTo>
                  <a:lnTo>
                    <a:pt x="228" y="392"/>
                  </a:lnTo>
                  <a:lnTo>
                    <a:pt x="230" y="394"/>
                  </a:lnTo>
                  <a:lnTo>
                    <a:pt x="234" y="396"/>
                  </a:lnTo>
                  <a:lnTo>
                    <a:pt x="234" y="396"/>
                  </a:lnTo>
                  <a:lnTo>
                    <a:pt x="234" y="396"/>
                  </a:lnTo>
                  <a:lnTo>
                    <a:pt x="230" y="396"/>
                  </a:lnTo>
                  <a:lnTo>
                    <a:pt x="224" y="394"/>
                  </a:lnTo>
                  <a:lnTo>
                    <a:pt x="218" y="394"/>
                  </a:lnTo>
                  <a:lnTo>
                    <a:pt x="214" y="394"/>
                  </a:lnTo>
                  <a:lnTo>
                    <a:pt x="212" y="394"/>
                  </a:lnTo>
                  <a:lnTo>
                    <a:pt x="210" y="394"/>
                  </a:lnTo>
                  <a:lnTo>
                    <a:pt x="210" y="394"/>
                  </a:lnTo>
                  <a:lnTo>
                    <a:pt x="210" y="394"/>
                  </a:lnTo>
                  <a:lnTo>
                    <a:pt x="208" y="394"/>
                  </a:lnTo>
                  <a:lnTo>
                    <a:pt x="208" y="394"/>
                  </a:lnTo>
                  <a:lnTo>
                    <a:pt x="206" y="394"/>
                  </a:lnTo>
                  <a:lnTo>
                    <a:pt x="206" y="394"/>
                  </a:lnTo>
                  <a:lnTo>
                    <a:pt x="206" y="394"/>
                  </a:lnTo>
                  <a:lnTo>
                    <a:pt x="206" y="396"/>
                  </a:lnTo>
                  <a:lnTo>
                    <a:pt x="206" y="398"/>
                  </a:lnTo>
                  <a:lnTo>
                    <a:pt x="206" y="398"/>
                  </a:lnTo>
                  <a:lnTo>
                    <a:pt x="206" y="398"/>
                  </a:lnTo>
                  <a:lnTo>
                    <a:pt x="206" y="400"/>
                  </a:lnTo>
                  <a:lnTo>
                    <a:pt x="206" y="400"/>
                  </a:lnTo>
                  <a:lnTo>
                    <a:pt x="206" y="400"/>
                  </a:lnTo>
                  <a:lnTo>
                    <a:pt x="206" y="402"/>
                  </a:lnTo>
                  <a:lnTo>
                    <a:pt x="206" y="402"/>
                  </a:lnTo>
                  <a:lnTo>
                    <a:pt x="206" y="404"/>
                  </a:lnTo>
                  <a:lnTo>
                    <a:pt x="210" y="406"/>
                  </a:lnTo>
                  <a:lnTo>
                    <a:pt x="212" y="410"/>
                  </a:lnTo>
                  <a:lnTo>
                    <a:pt x="216" y="414"/>
                  </a:lnTo>
                  <a:lnTo>
                    <a:pt x="218" y="418"/>
                  </a:lnTo>
                  <a:lnTo>
                    <a:pt x="222" y="420"/>
                  </a:lnTo>
                  <a:lnTo>
                    <a:pt x="224" y="422"/>
                  </a:lnTo>
                  <a:lnTo>
                    <a:pt x="224" y="422"/>
                  </a:lnTo>
                  <a:lnTo>
                    <a:pt x="224" y="424"/>
                  </a:lnTo>
                  <a:lnTo>
                    <a:pt x="228" y="424"/>
                  </a:lnTo>
                  <a:lnTo>
                    <a:pt x="228" y="424"/>
                  </a:lnTo>
                  <a:lnTo>
                    <a:pt x="228" y="424"/>
                  </a:lnTo>
                  <a:lnTo>
                    <a:pt x="230" y="424"/>
                  </a:lnTo>
                  <a:lnTo>
                    <a:pt x="230" y="424"/>
                  </a:lnTo>
                  <a:lnTo>
                    <a:pt x="230" y="426"/>
                  </a:lnTo>
                  <a:lnTo>
                    <a:pt x="232" y="426"/>
                  </a:lnTo>
                  <a:lnTo>
                    <a:pt x="234" y="424"/>
                  </a:lnTo>
                  <a:lnTo>
                    <a:pt x="234" y="424"/>
                  </a:lnTo>
                  <a:lnTo>
                    <a:pt x="236" y="424"/>
                  </a:lnTo>
                  <a:lnTo>
                    <a:pt x="240" y="422"/>
                  </a:lnTo>
                  <a:lnTo>
                    <a:pt x="244" y="422"/>
                  </a:lnTo>
                  <a:lnTo>
                    <a:pt x="246" y="420"/>
                  </a:lnTo>
                  <a:lnTo>
                    <a:pt x="248" y="418"/>
                  </a:lnTo>
                  <a:lnTo>
                    <a:pt x="254" y="414"/>
                  </a:lnTo>
                  <a:lnTo>
                    <a:pt x="256" y="412"/>
                  </a:lnTo>
                  <a:lnTo>
                    <a:pt x="256" y="412"/>
                  </a:lnTo>
                  <a:lnTo>
                    <a:pt x="256" y="412"/>
                  </a:lnTo>
                  <a:lnTo>
                    <a:pt x="256" y="416"/>
                  </a:lnTo>
                  <a:lnTo>
                    <a:pt x="254" y="420"/>
                  </a:lnTo>
                  <a:lnTo>
                    <a:pt x="254" y="426"/>
                  </a:lnTo>
                  <a:lnTo>
                    <a:pt x="252" y="432"/>
                  </a:lnTo>
                  <a:lnTo>
                    <a:pt x="252" y="438"/>
                  </a:lnTo>
                  <a:lnTo>
                    <a:pt x="250" y="442"/>
                  </a:lnTo>
                  <a:lnTo>
                    <a:pt x="250" y="442"/>
                  </a:lnTo>
                  <a:lnTo>
                    <a:pt x="250" y="442"/>
                  </a:lnTo>
                  <a:lnTo>
                    <a:pt x="252" y="444"/>
                  </a:lnTo>
                  <a:lnTo>
                    <a:pt x="252" y="446"/>
                  </a:lnTo>
                  <a:lnTo>
                    <a:pt x="252" y="446"/>
                  </a:lnTo>
                  <a:lnTo>
                    <a:pt x="252" y="448"/>
                  </a:lnTo>
                  <a:lnTo>
                    <a:pt x="252" y="450"/>
                  </a:lnTo>
                  <a:lnTo>
                    <a:pt x="252" y="450"/>
                  </a:lnTo>
                  <a:lnTo>
                    <a:pt x="254" y="450"/>
                  </a:lnTo>
                  <a:lnTo>
                    <a:pt x="254" y="452"/>
                  </a:lnTo>
                  <a:lnTo>
                    <a:pt x="254" y="452"/>
                  </a:lnTo>
                  <a:lnTo>
                    <a:pt x="256" y="454"/>
                  </a:lnTo>
                  <a:lnTo>
                    <a:pt x="258" y="454"/>
                  </a:lnTo>
                  <a:lnTo>
                    <a:pt x="258" y="454"/>
                  </a:lnTo>
                  <a:lnTo>
                    <a:pt x="258" y="454"/>
                  </a:lnTo>
                  <a:lnTo>
                    <a:pt x="260" y="456"/>
                  </a:lnTo>
                  <a:lnTo>
                    <a:pt x="260" y="456"/>
                  </a:lnTo>
                  <a:lnTo>
                    <a:pt x="260" y="456"/>
                  </a:lnTo>
                  <a:lnTo>
                    <a:pt x="266" y="458"/>
                  </a:lnTo>
                  <a:lnTo>
                    <a:pt x="270" y="458"/>
                  </a:lnTo>
                  <a:lnTo>
                    <a:pt x="272" y="458"/>
                  </a:lnTo>
                  <a:lnTo>
                    <a:pt x="272" y="458"/>
                  </a:lnTo>
                  <a:lnTo>
                    <a:pt x="274" y="458"/>
                  </a:lnTo>
                  <a:lnTo>
                    <a:pt x="274" y="458"/>
                  </a:lnTo>
                  <a:lnTo>
                    <a:pt x="274" y="458"/>
                  </a:lnTo>
                  <a:lnTo>
                    <a:pt x="278" y="458"/>
                  </a:lnTo>
                  <a:lnTo>
                    <a:pt x="284" y="456"/>
                  </a:lnTo>
                  <a:lnTo>
                    <a:pt x="288" y="456"/>
                  </a:lnTo>
                  <a:lnTo>
                    <a:pt x="290" y="454"/>
                  </a:lnTo>
                  <a:lnTo>
                    <a:pt x="292" y="454"/>
                  </a:lnTo>
                  <a:lnTo>
                    <a:pt x="292" y="456"/>
                  </a:lnTo>
                  <a:lnTo>
                    <a:pt x="294" y="456"/>
                  </a:lnTo>
                  <a:lnTo>
                    <a:pt x="294" y="458"/>
                  </a:lnTo>
                  <a:lnTo>
                    <a:pt x="296" y="460"/>
                  </a:lnTo>
                  <a:lnTo>
                    <a:pt x="298" y="462"/>
                  </a:lnTo>
                  <a:lnTo>
                    <a:pt x="300" y="462"/>
                  </a:lnTo>
                  <a:lnTo>
                    <a:pt x="300" y="462"/>
                  </a:lnTo>
                  <a:lnTo>
                    <a:pt x="300" y="464"/>
                  </a:lnTo>
                  <a:lnTo>
                    <a:pt x="302" y="464"/>
                  </a:lnTo>
                  <a:lnTo>
                    <a:pt x="302" y="464"/>
                  </a:lnTo>
                  <a:lnTo>
                    <a:pt x="302" y="464"/>
                  </a:lnTo>
                  <a:lnTo>
                    <a:pt x="304" y="464"/>
                  </a:lnTo>
                  <a:lnTo>
                    <a:pt x="304" y="464"/>
                  </a:lnTo>
                  <a:lnTo>
                    <a:pt x="306" y="464"/>
                  </a:lnTo>
                  <a:lnTo>
                    <a:pt x="306" y="464"/>
                  </a:lnTo>
                  <a:lnTo>
                    <a:pt x="306" y="464"/>
                  </a:lnTo>
                  <a:lnTo>
                    <a:pt x="308" y="462"/>
                  </a:lnTo>
                  <a:lnTo>
                    <a:pt x="310" y="462"/>
                  </a:lnTo>
                  <a:lnTo>
                    <a:pt x="310" y="462"/>
                  </a:lnTo>
                  <a:lnTo>
                    <a:pt x="310" y="460"/>
                  </a:lnTo>
                  <a:lnTo>
                    <a:pt x="310" y="458"/>
                  </a:lnTo>
                  <a:lnTo>
                    <a:pt x="312" y="456"/>
                  </a:lnTo>
                  <a:lnTo>
                    <a:pt x="312" y="454"/>
                  </a:lnTo>
                  <a:lnTo>
                    <a:pt x="314" y="452"/>
                  </a:lnTo>
                  <a:lnTo>
                    <a:pt x="314" y="450"/>
                  </a:lnTo>
                  <a:lnTo>
                    <a:pt x="316" y="448"/>
                  </a:lnTo>
                  <a:lnTo>
                    <a:pt x="318" y="448"/>
                  </a:lnTo>
                  <a:lnTo>
                    <a:pt x="316" y="448"/>
                  </a:lnTo>
                  <a:lnTo>
                    <a:pt x="318" y="448"/>
                  </a:lnTo>
                  <a:lnTo>
                    <a:pt x="322" y="446"/>
                  </a:lnTo>
                  <a:lnTo>
                    <a:pt x="324" y="446"/>
                  </a:lnTo>
                  <a:lnTo>
                    <a:pt x="324" y="446"/>
                  </a:lnTo>
                  <a:lnTo>
                    <a:pt x="326" y="448"/>
                  </a:lnTo>
                  <a:lnTo>
                    <a:pt x="326" y="448"/>
                  </a:lnTo>
                  <a:lnTo>
                    <a:pt x="326" y="448"/>
                  </a:lnTo>
                  <a:lnTo>
                    <a:pt x="326" y="450"/>
                  </a:lnTo>
                  <a:lnTo>
                    <a:pt x="326" y="454"/>
                  </a:lnTo>
                  <a:lnTo>
                    <a:pt x="326" y="456"/>
                  </a:lnTo>
                  <a:lnTo>
                    <a:pt x="324" y="464"/>
                  </a:lnTo>
                  <a:lnTo>
                    <a:pt x="322" y="468"/>
                  </a:lnTo>
                  <a:lnTo>
                    <a:pt x="322" y="470"/>
                  </a:lnTo>
                  <a:lnTo>
                    <a:pt x="318" y="476"/>
                  </a:lnTo>
                  <a:lnTo>
                    <a:pt x="316" y="482"/>
                  </a:lnTo>
                  <a:lnTo>
                    <a:pt x="310" y="488"/>
                  </a:lnTo>
                  <a:lnTo>
                    <a:pt x="306" y="492"/>
                  </a:lnTo>
                  <a:lnTo>
                    <a:pt x="300" y="498"/>
                  </a:lnTo>
                  <a:lnTo>
                    <a:pt x="294" y="502"/>
                  </a:lnTo>
                  <a:lnTo>
                    <a:pt x="288" y="508"/>
                  </a:lnTo>
                  <a:lnTo>
                    <a:pt x="280" y="512"/>
                  </a:lnTo>
                  <a:lnTo>
                    <a:pt x="274" y="516"/>
                  </a:lnTo>
                  <a:lnTo>
                    <a:pt x="266" y="520"/>
                  </a:lnTo>
                  <a:lnTo>
                    <a:pt x="260" y="522"/>
                  </a:lnTo>
                  <a:lnTo>
                    <a:pt x="252" y="526"/>
                  </a:lnTo>
                  <a:lnTo>
                    <a:pt x="246" y="530"/>
                  </a:lnTo>
                  <a:lnTo>
                    <a:pt x="240" y="532"/>
                  </a:lnTo>
                  <a:lnTo>
                    <a:pt x="232" y="536"/>
                  </a:lnTo>
                  <a:lnTo>
                    <a:pt x="232" y="536"/>
                  </a:lnTo>
                  <a:lnTo>
                    <a:pt x="232" y="536"/>
                  </a:lnTo>
                  <a:lnTo>
                    <a:pt x="226" y="540"/>
                  </a:lnTo>
                  <a:lnTo>
                    <a:pt x="226" y="540"/>
                  </a:lnTo>
                  <a:lnTo>
                    <a:pt x="226" y="540"/>
                  </a:lnTo>
                  <a:lnTo>
                    <a:pt x="224" y="542"/>
                  </a:lnTo>
                  <a:lnTo>
                    <a:pt x="224" y="542"/>
                  </a:lnTo>
                  <a:lnTo>
                    <a:pt x="224" y="544"/>
                  </a:lnTo>
                  <a:lnTo>
                    <a:pt x="222" y="546"/>
                  </a:lnTo>
                  <a:lnTo>
                    <a:pt x="222" y="546"/>
                  </a:lnTo>
                  <a:lnTo>
                    <a:pt x="222" y="546"/>
                  </a:lnTo>
                  <a:lnTo>
                    <a:pt x="218" y="552"/>
                  </a:lnTo>
                  <a:lnTo>
                    <a:pt x="218" y="556"/>
                  </a:lnTo>
                  <a:lnTo>
                    <a:pt x="216" y="558"/>
                  </a:lnTo>
                  <a:lnTo>
                    <a:pt x="214" y="560"/>
                  </a:lnTo>
                  <a:lnTo>
                    <a:pt x="212" y="562"/>
                  </a:lnTo>
                  <a:lnTo>
                    <a:pt x="210" y="562"/>
                  </a:lnTo>
                  <a:lnTo>
                    <a:pt x="208" y="562"/>
                  </a:lnTo>
                  <a:lnTo>
                    <a:pt x="200" y="564"/>
                  </a:lnTo>
                  <a:lnTo>
                    <a:pt x="192" y="564"/>
                  </a:lnTo>
                  <a:lnTo>
                    <a:pt x="188" y="564"/>
                  </a:lnTo>
                  <a:lnTo>
                    <a:pt x="186" y="564"/>
                  </a:lnTo>
                  <a:lnTo>
                    <a:pt x="182" y="566"/>
                  </a:lnTo>
                  <a:lnTo>
                    <a:pt x="180" y="566"/>
                  </a:lnTo>
                  <a:lnTo>
                    <a:pt x="176" y="568"/>
                  </a:lnTo>
                  <a:lnTo>
                    <a:pt x="174" y="570"/>
                  </a:lnTo>
                  <a:lnTo>
                    <a:pt x="170" y="574"/>
                  </a:lnTo>
                  <a:lnTo>
                    <a:pt x="166" y="576"/>
                  </a:lnTo>
                  <a:lnTo>
                    <a:pt x="162" y="578"/>
                  </a:lnTo>
                  <a:lnTo>
                    <a:pt x="160" y="580"/>
                  </a:lnTo>
                  <a:lnTo>
                    <a:pt x="160" y="580"/>
                  </a:lnTo>
                  <a:lnTo>
                    <a:pt x="160" y="580"/>
                  </a:lnTo>
                  <a:lnTo>
                    <a:pt x="156" y="584"/>
                  </a:lnTo>
                  <a:lnTo>
                    <a:pt x="156" y="584"/>
                  </a:lnTo>
                  <a:lnTo>
                    <a:pt x="156" y="584"/>
                  </a:lnTo>
                  <a:lnTo>
                    <a:pt x="154" y="586"/>
                  </a:lnTo>
                  <a:lnTo>
                    <a:pt x="154" y="586"/>
                  </a:lnTo>
                  <a:lnTo>
                    <a:pt x="154" y="586"/>
                  </a:lnTo>
                  <a:lnTo>
                    <a:pt x="154" y="588"/>
                  </a:lnTo>
                  <a:lnTo>
                    <a:pt x="152" y="594"/>
                  </a:lnTo>
                  <a:lnTo>
                    <a:pt x="152" y="596"/>
                  </a:lnTo>
                  <a:lnTo>
                    <a:pt x="150" y="598"/>
                  </a:lnTo>
                  <a:lnTo>
                    <a:pt x="150" y="600"/>
                  </a:lnTo>
                  <a:lnTo>
                    <a:pt x="146" y="600"/>
                  </a:lnTo>
                  <a:lnTo>
                    <a:pt x="144" y="602"/>
                  </a:lnTo>
                  <a:lnTo>
                    <a:pt x="140" y="602"/>
                  </a:lnTo>
                  <a:lnTo>
                    <a:pt x="134" y="602"/>
                  </a:lnTo>
                  <a:lnTo>
                    <a:pt x="128" y="602"/>
                  </a:lnTo>
                  <a:lnTo>
                    <a:pt x="116" y="602"/>
                  </a:lnTo>
                  <a:lnTo>
                    <a:pt x="110" y="604"/>
                  </a:lnTo>
                  <a:lnTo>
                    <a:pt x="106" y="604"/>
                  </a:lnTo>
                  <a:lnTo>
                    <a:pt x="100" y="606"/>
                  </a:lnTo>
                  <a:lnTo>
                    <a:pt x="96" y="608"/>
                  </a:lnTo>
                  <a:lnTo>
                    <a:pt x="94" y="608"/>
                  </a:lnTo>
                  <a:lnTo>
                    <a:pt x="90" y="610"/>
                  </a:lnTo>
                  <a:lnTo>
                    <a:pt x="88" y="612"/>
                  </a:lnTo>
                  <a:lnTo>
                    <a:pt x="86" y="612"/>
                  </a:lnTo>
                  <a:lnTo>
                    <a:pt x="76" y="616"/>
                  </a:lnTo>
                  <a:lnTo>
                    <a:pt x="72" y="616"/>
                  </a:lnTo>
                  <a:lnTo>
                    <a:pt x="66" y="616"/>
                  </a:lnTo>
                  <a:lnTo>
                    <a:pt x="60" y="616"/>
                  </a:lnTo>
                  <a:lnTo>
                    <a:pt x="54" y="616"/>
                  </a:lnTo>
                  <a:lnTo>
                    <a:pt x="46" y="614"/>
                  </a:lnTo>
                  <a:lnTo>
                    <a:pt x="40" y="614"/>
                  </a:lnTo>
                  <a:lnTo>
                    <a:pt x="32" y="616"/>
                  </a:lnTo>
                  <a:lnTo>
                    <a:pt x="28" y="616"/>
                  </a:lnTo>
                  <a:lnTo>
                    <a:pt x="28" y="616"/>
                  </a:lnTo>
                  <a:lnTo>
                    <a:pt x="28" y="616"/>
                  </a:lnTo>
                  <a:lnTo>
                    <a:pt x="22" y="618"/>
                  </a:lnTo>
                  <a:lnTo>
                    <a:pt x="16" y="620"/>
                  </a:lnTo>
                  <a:lnTo>
                    <a:pt x="12" y="622"/>
                  </a:lnTo>
                  <a:lnTo>
                    <a:pt x="8" y="624"/>
                  </a:lnTo>
                  <a:lnTo>
                    <a:pt x="4" y="628"/>
                  </a:lnTo>
                  <a:lnTo>
                    <a:pt x="2" y="630"/>
                  </a:lnTo>
                  <a:lnTo>
                    <a:pt x="0" y="632"/>
                  </a:lnTo>
                  <a:lnTo>
                    <a:pt x="0" y="632"/>
                  </a:lnTo>
                  <a:lnTo>
                    <a:pt x="0" y="632"/>
                  </a:lnTo>
                  <a:lnTo>
                    <a:pt x="0" y="634"/>
                  </a:lnTo>
                  <a:lnTo>
                    <a:pt x="0" y="634"/>
                  </a:lnTo>
                  <a:lnTo>
                    <a:pt x="0" y="636"/>
                  </a:lnTo>
                  <a:lnTo>
                    <a:pt x="0" y="636"/>
                  </a:lnTo>
                  <a:lnTo>
                    <a:pt x="2" y="638"/>
                  </a:lnTo>
                  <a:lnTo>
                    <a:pt x="2" y="638"/>
                  </a:lnTo>
                  <a:lnTo>
                    <a:pt x="2" y="638"/>
                  </a:lnTo>
                  <a:lnTo>
                    <a:pt x="2" y="638"/>
                  </a:lnTo>
                  <a:lnTo>
                    <a:pt x="4" y="638"/>
                  </a:lnTo>
                  <a:lnTo>
                    <a:pt x="6" y="636"/>
                  </a:lnTo>
                  <a:lnTo>
                    <a:pt x="10" y="636"/>
                  </a:lnTo>
                  <a:lnTo>
                    <a:pt x="14" y="634"/>
                  </a:lnTo>
                  <a:lnTo>
                    <a:pt x="18" y="632"/>
                  </a:lnTo>
                  <a:lnTo>
                    <a:pt x="24" y="632"/>
                  </a:lnTo>
                  <a:lnTo>
                    <a:pt x="28" y="630"/>
                  </a:lnTo>
                  <a:lnTo>
                    <a:pt x="32" y="630"/>
                  </a:lnTo>
                  <a:lnTo>
                    <a:pt x="40" y="628"/>
                  </a:lnTo>
                  <a:lnTo>
                    <a:pt x="48" y="626"/>
                  </a:lnTo>
                  <a:lnTo>
                    <a:pt x="58" y="626"/>
                  </a:lnTo>
                  <a:lnTo>
                    <a:pt x="66" y="624"/>
                  </a:lnTo>
                  <a:lnTo>
                    <a:pt x="72" y="622"/>
                  </a:lnTo>
                  <a:lnTo>
                    <a:pt x="78" y="622"/>
                  </a:lnTo>
                  <a:lnTo>
                    <a:pt x="84" y="620"/>
                  </a:lnTo>
                  <a:lnTo>
                    <a:pt x="88" y="620"/>
                  </a:lnTo>
                  <a:lnTo>
                    <a:pt x="90" y="618"/>
                  </a:lnTo>
                  <a:lnTo>
                    <a:pt x="100" y="616"/>
                  </a:lnTo>
                  <a:lnTo>
                    <a:pt x="110" y="614"/>
                  </a:lnTo>
                  <a:lnTo>
                    <a:pt x="116" y="614"/>
                  </a:lnTo>
                  <a:lnTo>
                    <a:pt x="122" y="612"/>
                  </a:lnTo>
                  <a:lnTo>
                    <a:pt x="134" y="612"/>
                  </a:lnTo>
                  <a:lnTo>
                    <a:pt x="140" y="612"/>
                  </a:lnTo>
                  <a:lnTo>
                    <a:pt x="146" y="612"/>
                  </a:lnTo>
                  <a:lnTo>
                    <a:pt x="152" y="612"/>
                  </a:lnTo>
                  <a:lnTo>
                    <a:pt x="156" y="612"/>
                  </a:lnTo>
                  <a:lnTo>
                    <a:pt x="160" y="610"/>
                  </a:lnTo>
                  <a:lnTo>
                    <a:pt x="160" y="610"/>
                  </a:lnTo>
                  <a:lnTo>
                    <a:pt x="160" y="610"/>
                  </a:lnTo>
                  <a:lnTo>
                    <a:pt x="164" y="610"/>
                  </a:lnTo>
                  <a:lnTo>
                    <a:pt x="164" y="610"/>
                  </a:lnTo>
                  <a:lnTo>
                    <a:pt x="164" y="608"/>
                  </a:lnTo>
                  <a:lnTo>
                    <a:pt x="168" y="608"/>
                  </a:lnTo>
                  <a:lnTo>
                    <a:pt x="170" y="606"/>
                  </a:lnTo>
                  <a:lnTo>
                    <a:pt x="174" y="602"/>
                  </a:lnTo>
                  <a:lnTo>
                    <a:pt x="176" y="600"/>
                  </a:lnTo>
                  <a:lnTo>
                    <a:pt x="176" y="600"/>
                  </a:lnTo>
                  <a:lnTo>
                    <a:pt x="176" y="600"/>
                  </a:lnTo>
                  <a:lnTo>
                    <a:pt x="178" y="600"/>
                  </a:lnTo>
                  <a:lnTo>
                    <a:pt x="180" y="600"/>
                  </a:lnTo>
                  <a:lnTo>
                    <a:pt x="182" y="600"/>
                  </a:lnTo>
                  <a:lnTo>
                    <a:pt x="184" y="602"/>
                  </a:lnTo>
                  <a:lnTo>
                    <a:pt x="184" y="602"/>
                  </a:lnTo>
                  <a:lnTo>
                    <a:pt x="184" y="602"/>
                  </a:lnTo>
                  <a:lnTo>
                    <a:pt x="186" y="602"/>
                  </a:lnTo>
                  <a:lnTo>
                    <a:pt x="186" y="602"/>
                  </a:lnTo>
                  <a:lnTo>
                    <a:pt x="186" y="602"/>
                  </a:lnTo>
                  <a:lnTo>
                    <a:pt x="188" y="602"/>
                  </a:lnTo>
                  <a:lnTo>
                    <a:pt x="188" y="602"/>
                  </a:lnTo>
                  <a:lnTo>
                    <a:pt x="190" y="600"/>
                  </a:lnTo>
                  <a:lnTo>
                    <a:pt x="192" y="600"/>
                  </a:lnTo>
                  <a:lnTo>
                    <a:pt x="192" y="600"/>
                  </a:lnTo>
                  <a:lnTo>
                    <a:pt x="192" y="600"/>
                  </a:lnTo>
                  <a:lnTo>
                    <a:pt x="194" y="596"/>
                  </a:lnTo>
                  <a:lnTo>
                    <a:pt x="194" y="596"/>
                  </a:lnTo>
                  <a:lnTo>
                    <a:pt x="194" y="596"/>
                  </a:lnTo>
                  <a:lnTo>
                    <a:pt x="196" y="594"/>
                  </a:lnTo>
                  <a:lnTo>
                    <a:pt x="198" y="590"/>
                  </a:lnTo>
                  <a:lnTo>
                    <a:pt x="200" y="586"/>
                  </a:lnTo>
                  <a:lnTo>
                    <a:pt x="204" y="582"/>
                  </a:lnTo>
                  <a:lnTo>
                    <a:pt x="206" y="578"/>
                  </a:lnTo>
                  <a:lnTo>
                    <a:pt x="210" y="574"/>
                  </a:lnTo>
                  <a:lnTo>
                    <a:pt x="216" y="570"/>
                  </a:lnTo>
                  <a:lnTo>
                    <a:pt x="218" y="568"/>
                  </a:lnTo>
                  <a:lnTo>
                    <a:pt x="222" y="566"/>
                  </a:lnTo>
                  <a:lnTo>
                    <a:pt x="230" y="562"/>
                  </a:lnTo>
                  <a:lnTo>
                    <a:pt x="238" y="558"/>
                  </a:lnTo>
                  <a:lnTo>
                    <a:pt x="248" y="554"/>
                  </a:lnTo>
                  <a:lnTo>
                    <a:pt x="258" y="548"/>
                  </a:lnTo>
                  <a:lnTo>
                    <a:pt x="268" y="544"/>
                  </a:lnTo>
                  <a:lnTo>
                    <a:pt x="278" y="540"/>
                  </a:lnTo>
                  <a:lnTo>
                    <a:pt x="286" y="534"/>
                  </a:lnTo>
                  <a:lnTo>
                    <a:pt x="302" y="526"/>
                  </a:lnTo>
                  <a:lnTo>
                    <a:pt x="316" y="518"/>
                  </a:lnTo>
                  <a:lnTo>
                    <a:pt x="330" y="510"/>
                  </a:lnTo>
                  <a:lnTo>
                    <a:pt x="338" y="504"/>
                  </a:lnTo>
                  <a:lnTo>
                    <a:pt x="344" y="500"/>
                  </a:lnTo>
                  <a:lnTo>
                    <a:pt x="350" y="494"/>
                  </a:lnTo>
                  <a:lnTo>
                    <a:pt x="356" y="486"/>
                  </a:lnTo>
                  <a:lnTo>
                    <a:pt x="362" y="478"/>
                  </a:lnTo>
                  <a:lnTo>
                    <a:pt x="368" y="472"/>
                  </a:lnTo>
                  <a:lnTo>
                    <a:pt x="374" y="464"/>
                  </a:lnTo>
                  <a:lnTo>
                    <a:pt x="378" y="458"/>
                  </a:lnTo>
                  <a:lnTo>
                    <a:pt x="382" y="452"/>
                  </a:lnTo>
                  <a:lnTo>
                    <a:pt x="384" y="450"/>
                  </a:lnTo>
                  <a:lnTo>
                    <a:pt x="384" y="448"/>
                  </a:lnTo>
                  <a:lnTo>
                    <a:pt x="386" y="446"/>
                  </a:lnTo>
                  <a:lnTo>
                    <a:pt x="386" y="446"/>
                  </a:lnTo>
                  <a:lnTo>
                    <a:pt x="386" y="444"/>
                  </a:lnTo>
                  <a:lnTo>
                    <a:pt x="386" y="444"/>
                  </a:lnTo>
                  <a:lnTo>
                    <a:pt x="386" y="444"/>
                  </a:lnTo>
                  <a:lnTo>
                    <a:pt x="386" y="442"/>
                  </a:lnTo>
                  <a:lnTo>
                    <a:pt x="386" y="442"/>
                  </a:lnTo>
                  <a:lnTo>
                    <a:pt x="386" y="442"/>
                  </a:lnTo>
                  <a:lnTo>
                    <a:pt x="386" y="440"/>
                  </a:lnTo>
                  <a:lnTo>
                    <a:pt x="384" y="440"/>
                  </a:lnTo>
                  <a:lnTo>
                    <a:pt x="384" y="440"/>
                  </a:lnTo>
                  <a:lnTo>
                    <a:pt x="390" y="440"/>
                  </a:lnTo>
                  <a:lnTo>
                    <a:pt x="396" y="440"/>
                  </a:lnTo>
                  <a:lnTo>
                    <a:pt x="398" y="440"/>
                  </a:lnTo>
                  <a:lnTo>
                    <a:pt x="400" y="440"/>
                  </a:lnTo>
                  <a:lnTo>
                    <a:pt x="402" y="440"/>
                  </a:lnTo>
                  <a:lnTo>
                    <a:pt x="404" y="440"/>
                  </a:lnTo>
                  <a:lnTo>
                    <a:pt x="404" y="440"/>
                  </a:lnTo>
                  <a:lnTo>
                    <a:pt x="402" y="442"/>
                  </a:lnTo>
                  <a:lnTo>
                    <a:pt x="400" y="444"/>
                  </a:lnTo>
                  <a:lnTo>
                    <a:pt x="398" y="446"/>
                  </a:lnTo>
                  <a:lnTo>
                    <a:pt x="396" y="450"/>
                  </a:lnTo>
                  <a:lnTo>
                    <a:pt x="394" y="452"/>
                  </a:lnTo>
                  <a:lnTo>
                    <a:pt x="388" y="458"/>
                  </a:lnTo>
                  <a:lnTo>
                    <a:pt x="380" y="464"/>
                  </a:lnTo>
                  <a:lnTo>
                    <a:pt x="378" y="468"/>
                  </a:lnTo>
                  <a:lnTo>
                    <a:pt x="376" y="470"/>
                  </a:lnTo>
                  <a:lnTo>
                    <a:pt x="374" y="472"/>
                  </a:lnTo>
                  <a:lnTo>
                    <a:pt x="372" y="474"/>
                  </a:lnTo>
                  <a:lnTo>
                    <a:pt x="370" y="474"/>
                  </a:lnTo>
                  <a:lnTo>
                    <a:pt x="370" y="474"/>
                  </a:lnTo>
                  <a:lnTo>
                    <a:pt x="370" y="476"/>
                  </a:lnTo>
                  <a:lnTo>
                    <a:pt x="370" y="476"/>
                  </a:lnTo>
                  <a:lnTo>
                    <a:pt x="370" y="476"/>
                  </a:lnTo>
                  <a:lnTo>
                    <a:pt x="370" y="478"/>
                  </a:lnTo>
                  <a:lnTo>
                    <a:pt x="370" y="478"/>
                  </a:lnTo>
                  <a:lnTo>
                    <a:pt x="372" y="480"/>
                  </a:lnTo>
                  <a:lnTo>
                    <a:pt x="372" y="480"/>
                  </a:lnTo>
                  <a:lnTo>
                    <a:pt x="372" y="480"/>
                  </a:lnTo>
                  <a:lnTo>
                    <a:pt x="374" y="480"/>
                  </a:lnTo>
                  <a:lnTo>
                    <a:pt x="374" y="480"/>
                  </a:lnTo>
                  <a:lnTo>
                    <a:pt x="376" y="478"/>
                  </a:lnTo>
                  <a:lnTo>
                    <a:pt x="378" y="478"/>
                  </a:lnTo>
                  <a:lnTo>
                    <a:pt x="380" y="476"/>
                  </a:lnTo>
                  <a:lnTo>
                    <a:pt x="382" y="474"/>
                  </a:lnTo>
                  <a:lnTo>
                    <a:pt x="388" y="470"/>
                  </a:lnTo>
                  <a:lnTo>
                    <a:pt x="394" y="464"/>
                  </a:lnTo>
                  <a:lnTo>
                    <a:pt x="400" y="460"/>
                  </a:lnTo>
                  <a:lnTo>
                    <a:pt x="406" y="456"/>
                  </a:lnTo>
                  <a:lnTo>
                    <a:pt x="408" y="454"/>
                  </a:lnTo>
                  <a:lnTo>
                    <a:pt x="410" y="452"/>
                  </a:lnTo>
                  <a:lnTo>
                    <a:pt x="418" y="446"/>
                  </a:lnTo>
                  <a:lnTo>
                    <a:pt x="424" y="442"/>
                  </a:lnTo>
                  <a:lnTo>
                    <a:pt x="430" y="438"/>
                  </a:lnTo>
                  <a:lnTo>
                    <a:pt x="436" y="432"/>
                  </a:lnTo>
                  <a:lnTo>
                    <a:pt x="442" y="428"/>
                  </a:lnTo>
                  <a:lnTo>
                    <a:pt x="448" y="424"/>
                  </a:lnTo>
                  <a:lnTo>
                    <a:pt x="454" y="422"/>
                  </a:lnTo>
                  <a:lnTo>
                    <a:pt x="456" y="420"/>
                  </a:lnTo>
                  <a:lnTo>
                    <a:pt x="456" y="420"/>
                  </a:lnTo>
                  <a:lnTo>
                    <a:pt x="458" y="420"/>
                  </a:lnTo>
                  <a:lnTo>
                    <a:pt x="458" y="420"/>
                  </a:lnTo>
                  <a:lnTo>
                    <a:pt x="460" y="422"/>
                  </a:lnTo>
                  <a:lnTo>
                    <a:pt x="460" y="422"/>
                  </a:lnTo>
                  <a:lnTo>
                    <a:pt x="460" y="422"/>
                  </a:lnTo>
                  <a:lnTo>
                    <a:pt x="462" y="422"/>
                  </a:lnTo>
                  <a:lnTo>
                    <a:pt x="462" y="422"/>
                  </a:lnTo>
                  <a:lnTo>
                    <a:pt x="462" y="424"/>
                  </a:lnTo>
                  <a:lnTo>
                    <a:pt x="464" y="424"/>
                  </a:lnTo>
                  <a:lnTo>
                    <a:pt x="464" y="424"/>
                  </a:lnTo>
                  <a:lnTo>
                    <a:pt x="468" y="424"/>
                  </a:lnTo>
                  <a:lnTo>
                    <a:pt x="472" y="424"/>
                  </a:lnTo>
                  <a:lnTo>
                    <a:pt x="474" y="422"/>
                  </a:lnTo>
                  <a:lnTo>
                    <a:pt x="474" y="422"/>
                  </a:lnTo>
                  <a:lnTo>
                    <a:pt x="476" y="422"/>
                  </a:lnTo>
                  <a:lnTo>
                    <a:pt x="478" y="422"/>
                  </a:lnTo>
                  <a:lnTo>
                    <a:pt x="478" y="422"/>
                  </a:lnTo>
                  <a:lnTo>
                    <a:pt x="478" y="422"/>
                  </a:lnTo>
                  <a:lnTo>
                    <a:pt x="480" y="420"/>
                  </a:lnTo>
                  <a:lnTo>
                    <a:pt x="482" y="420"/>
                  </a:lnTo>
                  <a:lnTo>
                    <a:pt x="484" y="418"/>
                  </a:lnTo>
                  <a:lnTo>
                    <a:pt x="488" y="414"/>
                  </a:lnTo>
                  <a:lnTo>
                    <a:pt x="492" y="410"/>
                  </a:lnTo>
                  <a:lnTo>
                    <a:pt x="492" y="408"/>
                  </a:lnTo>
                  <a:lnTo>
                    <a:pt x="494" y="406"/>
                  </a:lnTo>
                  <a:lnTo>
                    <a:pt x="494" y="406"/>
                  </a:lnTo>
                  <a:lnTo>
                    <a:pt x="496" y="406"/>
                  </a:lnTo>
                  <a:lnTo>
                    <a:pt x="496" y="406"/>
                  </a:lnTo>
                  <a:lnTo>
                    <a:pt x="496" y="406"/>
                  </a:lnTo>
                  <a:lnTo>
                    <a:pt x="498" y="406"/>
                  </a:lnTo>
                  <a:lnTo>
                    <a:pt x="500" y="404"/>
                  </a:lnTo>
                  <a:lnTo>
                    <a:pt x="502" y="404"/>
                  </a:lnTo>
                  <a:lnTo>
                    <a:pt x="506" y="402"/>
                  </a:lnTo>
                  <a:lnTo>
                    <a:pt x="510" y="400"/>
                  </a:lnTo>
                  <a:lnTo>
                    <a:pt x="512" y="400"/>
                  </a:lnTo>
                  <a:lnTo>
                    <a:pt x="512" y="400"/>
                  </a:lnTo>
                  <a:lnTo>
                    <a:pt x="512" y="400"/>
                  </a:lnTo>
                  <a:lnTo>
                    <a:pt x="512" y="404"/>
                  </a:lnTo>
                  <a:lnTo>
                    <a:pt x="510" y="408"/>
                  </a:lnTo>
                  <a:lnTo>
                    <a:pt x="510" y="410"/>
                  </a:lnTo>
                  <a:lnTo>
                    <a:pt x="510" y="414"/>
                  </a:lnTo>
                  <a:lnTo>
                    <a:pt x="510" y="414"/>
                  </a:lnTo>
                  <a:lnTo>
                    <a:pt x="510" y="414"/>
                  </a:lnTo>
                  <a:lnTo>
                    <a:pt x="510" y="418"/>
                  </a:lnTo>
                  <a:lnTo>
                    <a:pt x="510" y="418"/>
                  </a:lnTo>
                  <a:lnTo>
                    <a:pt x="510" y="418"/>
                  </a:lnTo>
                  <a:lnTo>
                    <a:pt x="512" y="420"/>
                  </a:lnTo>
                  <a:lnTo>
                    <a:pt x="512" y="420"/>
                  </a:lnTo>
                  <a:lnTo>
                    <a:pt x="514" y="422"/>
                  </a:lnTo>
                  <a:lnTo>
                    <a:pt x="516" y="422"/>
                  </a:lnTo>
                  <a:lnTo>
                    <a:pt x="516" y="422"/>
                  </a:lnTo>
                  <a:lnTo>
                    <a:pt x="516" y="422"/>
                  </a:lnTo>
                  <a:lnTo>
                    <a:pt x="518" y="422"/>
                  </a:lnTo>
                  <a:lnTo>
                    <a:pt x="520" y="422"/>
                  </a:lnTo>
                  <a:lnTo>
                    <a:pt x="522" y="422"/>
                  </a:lnTo>
                  <a:lnTo>
                    <a:pt x="526" y="420"/>
                  </a:lnTo>
                  <a:lnTo>
                    <a:pt x="532" y="418"/>
                  </a:lnTo>
                  <a:lnTo>
                    <a:pt x="536" y="418"/>
                  </a:lnTo>
                  <a:lnTo>
                    <a:pt x="538" y="418"/>
                  </a:lnTo>
                  <a:lnTo>
                    <a:pt x="540" y="418"/>
                  </a:lnTo>
                  <a:lnTo>
                    <a:pt x="542" y="418"/>
                  </a:lnTo>
                  <a:lnTo>
                    <a:pt x="546" y="420"/>
                  </a:lnTo>
                  <a:lnTo>
                    <a:pt x="548" y="422"/>
                  </a:lnTo>
                  <a:lnTo>
                    <a:pt x="550" y="422"/>
                  </a:lnTo>
                  <a:lnTo>
                    <a:pt x="550" y="422"/>
                  </a:lnTo>
                  <a:lnTo>
                    <a:pt x="550" y="422"/>
                  </a:lnTo>
                  <a:lnTo>
                    <a:pt x="552" y="424"/>
                  </a:lnTo>
                  <a:lnTo>
                    <a:pt x="552" y="424"/>
                  </a:lnTo>
                  <a:lnTo>
                    <a:pt x="552" y="424"/>
                  </a:lnTo>
                  <a:lnTo>
                    <a:pt x="554" y="424"/>
                  </a:lnTo>
                  <a:lnTo>
                    <a:pt x="554" y="424"/>
                  </a:lnTo>
                  <a:lnTo>
                    <a:pt x="556" y="422"/>
                  </a:lnTo>
                  <a:lnTo>
                    <a:pt x="560" y="422"/>
                  </a:lnTo>
                  <a:lnTo>
                    <a:pt x="560" y="422"/>
                  </a:lnTo>
                  <a:lnTo>
                    <a:pt x="560" y="424"/>
                  </a:lnTo>
                  <a:lnTo>
                    <a:pt x="560" y="426"/>
                  </a:lnTo>
                  <a:lnTo>
                    <a:pt x="560" y="428"/>
                  </a:lnTo>
                  <a:lnTo>
                    <a:pt x="560" y="430"/>
                  </a:lnTo>
                  <a:lnTo>
                    <a:pt x="560" y="430"/>
                  </a:lnTo>
                  <a:lnTo>
                    <a:pt x="560" y="430"/>
                  </a:lnTo>
                  <a:lnTo>
                    <a:pt x="560" y="434"/>
                  </a:lnTo>
                  <a:lnTo>
                    <a:pt x="564" y="436"/>
                  </a:lnTo>
                  <a:lnTo>
                    <a:pt x="568" y="438"/>
                  </a:lnTo>
                  <a:lnTo>
                    <a:pt x="576" y="444"/>
                  </a:lnTo>
                  <a:lnTo>
                    <a:pt x="578" y="448"/>
                  </a:lnTo>
                  <a:lnTo>
                    <a:pt x="582" y="452"/>
                  </a:lnTo>
                  <a:lnTo>
                    <a:pt x="584" y="456"/>
                  </a:lnTo>
                  <a:lnTo>
                    <a:pt x="586" y="458"/>
                  </a:lnTo>
                  <a:lnTo>
                    <a:pt x="586" y="458"/>
                  </a:lnTo>
                  <a:lnTo>
                    <a:pt x="588" y="460"/>
                  </a:lnTo>
                  <a:lnTo>
                    <a:pt x="590" y="462"/>
                  </a:lnTo>
                  <a:lnTo>
                    <a:pt x="590" y="462"/>
                  </a:lnTo>
                  <a:lnTo>
                    <a:pt x="592" y="464"/>
                  </a:lnTo>
                  <a:lnTo>
                    <a:pt x="594" y="466"/>
                  </a:lnTo>
                  <a:lnTo>
                    <a:pt x="594" y="466"/>
                  </a:lnTo>
                  <a:lnTo>
                    <a:pt x="598" y="466"/>
                  </a:lnTo>
                  <a:lnTo>
                    <a:pt x="600" y="466"/>
                  </a:lnTo>
                  <a:lnTo>
                    <a:pt x="600" y="466"/>
                  </a:lnTo>
                  <a:lnTo>
                    <a:pt x="600" y="466"/>
                  </a:lnTo>
                  <a:lnTo>
                    <a:pt x="598" y="468"/>
                  </a:lnTo>
                  <a:lnTo>
                    <a:pt x="598" y="470"/>
                  </a:lnTo>
                  <a:lnTo>
                    <a:pt x="598" y="470"/>
                  </a:lnTo>
                  <a:lnTo>
                    <a:pt x="598" y="470"/>
                  </a:lnTo>
                  <a:lnTo>
                    <a:pt x="598" y="474"/>
                  </a:lnTo>
                  <a:lnTo>
                    <a:pt x="600" y="478"/>
                  </a:lnTo>
                  <a:lnTo>
                    <a:pt x="600" y="478"/>
                  </a:lnTo>
                  <a:lnTo>
                    <a:pt x="602" y="478"/>
                  </a:lnTo>
                  <a:lnTo>
                    <a:pt x="602" y="480"/>
                  </a:lnTo>
                  <a:lnTo>
                    <a:pt x="604" y="482"/>
                  </a:lnTo>
                  <a:lnTo>
                    <a:pt x="606" y="486"/>
                  </a:lnTo>
                  <a:lnTo>
                    <a:pt x="606" y="486"/>
                  </a:lnTo>
                  <a:lnTo>
                    <a:pt x="606" y="486"/>
                  </a:lnTo>
                  <a:lnTo>
                    <a:pt x="610" y="490"/>
                  </a:lnTo>
                  <a:lnTo>
                    <a:pt x="612" y="494"/>
                  </a:lnTo>
                  <a:lnTo>
                    <a:pt x="614" y="498"/>
                  </a:lnTo>
                  <a:lnTo>
                    <a:pt x="614" y="502"/>
                  </a:lnTo>
                  <a:lnTo>
                    <a:pt x="614" y="502"/>
                  </a:lnTo>
                  <a:lnTo>
                    <a:pt x="614" y="504"/>
                  </a:lnTo>
                  <a:lnTo>
                    <a:pt x="614" y="504"/>
                  </a:lnTo>
                  <a:lnTo>
                    <a:pt x="614" y="504"/>
                  </a:lnTo>
                  <a:lnTo>
                    <a:pt x="616" y="508"/>
                  </a:lnTo>
                  <a:lnTo>
                    <a:pt x="618" y="508"/>
                  </a:lnTo>
                  <a:lnTo>
                    <a:pt x="618" y="508"/>
                  </a:lnTo>
                  <a:lnTo>
                    <a:pt x="618" y="508"/>
                  </a:lnTo>
                  <a:lnTo>
                    <a:pt x="618" y="510"/>
                  </a:lnTo>
                  <a:lnTo>
                    <a:pt x="618" y="510"/>
                  </a:lnTo>
                  <a:lnTo>
                    <a:pt x="620" y="510"/>
                  </a:lnTo>
                  <a:lnTo>
                    <a:pt x="620" y="510"/>
                  </a:lnTo>
                  <a:lnTo>
                    <a:pt x="620" y="510"/>
                  </a:lnTo>
                  <a:lnTo>
                    <a:pt x="622" y="510"/>
                  </a:lnTo>
                  <a:lnTo>
                    <a:pt x="622" y="510"/>
                  </a:lnTo>
                  <a:lnTo>
                    <a:pt x="622" y="510"/>
                  </a:lnTo>
                  <a:lnTo>
                    <a:pt x="624" y="510"/>
                  </a:lnTo>
                  <a:lnTo>
                    <a:pt x="624" y="510"/>
                  </a:lnTo>
                  <a:lnTo>
                    <a:pt x="624" y="510"/>
                  </a:lnTo>
                  <a:lnTo>
                    <a:pt x="626" y="508"/>
                  </a:lnTo>
                  <a:lnTo>
                    <a:pt x="626" y="508"/>
                  </a:lnTo>
                  <a:lnTo>
                    <a:pt x="626" y="508"/>
                  </a:lnTo>
                  <a:lnTo>
                    <a:pt x="626" y="506"/>
                  </a:lnTo>
                  <a:lnTo>
                    <a:pt x="628" y="504"/>
                  </a:lnTo>
                  <a:lnTo>
                    <a:pt x="628" y="504"/>
                  </a:lnTo>
                  <a:lnTo>
                    <a:pt x="628" y="502"/>
                  </a:lnTo>
                  <a:lnTo>
                    <a:pt x="628" y="500"/>
                  </a:lnTo>
                  <a:lnTo>
                    <a:pt x="628" y="500"/>
                  </a:lnTo>
                  <a:lnTo>
                    <a:pt x="628" y="498"/>
                  </a:lnTo>
                  <a:lnTo>
                    <a:pt x="626" y="496"/>
                  </a:lnTo>
                  <a:lnTo>
                    <a:pt x="626" y="494"/>
                  </a:lnTo>
                  <a:lnTo>
                    <a:pt x="624" y="492"/>
                  </a:lnTo>
                  <a:lnTo>
                    <a:pt x="624" y="490"/>
                  </a:lnTo>
                  <a:lnTo>
                    <a:pt x="626" y="490"/>
                  </a:lnTo>
                  <a:lnTo>
                    <a:pt x="626" y="490"/>
                  </a:lnTo>
                  <a:lnTo>
                    <a:pt x="628" y="490"/>
                  </a:lnTo>
                  <a:lnTo>
                    <a:pt x="630" y="490"/>
                  </a:lnTo>
                  <a:lnTo>
                    <a:pt x="630" y="490"/>
                  </a:lnTo>
                  <a:lnTo>
                    <a:pt x="630" y="488"/>
                  </a:lnTo>
                  <a:lnTo>
                    <a:pt x="632" y="486"/>
                  </a:lnTo>
                  <a:lnTo>
                    <a:pt x="632" y="486"/>
                  </a:lnTo>
                  <a:lnTo>
                    <a:pt x="632" y="484"/>
                  </a:lnTo>
                  <a:lnTo>
                    <a:pt x="632" y="482"/>
                  </a:lnTo>
                  <a:lnTo>
                    <a:pt x="632" y="482"/>
                  </a:lnTo>
                  <a:lnTo>
                    <a:pt x="632" y="482"/>
                  </a:lnTo>
                  <a:lnTo>
                    <a:pt x="632" y="480"/>
                  </a:lnTo>
                  <a:lnTo>
                    <a:pt x="630" y="478"/>
                  </a:lnTo>
                  <a:lnTo>
                    <a:pt x="630" y="474"/>
                  </a:lnTo>
                  <a:lnTo>
                    <a:pt x="630" y="472"/>
                  </a:lnTo>
                  <a:lnTo>
                    <a:pt x="630" y="470"/>
                  </a:lnTo>
                  <a:lnTo>
                    <a:pt x="630" y="472"/>
                  </a:lnTo>
                  <a:lnTo>
                    <a:pt x="632" y="472"/>
                  </a:lnTo>
                  <a:lnTo>
                    <a:pt x="634" y="476"/>
                  </a:lnTo>
                  <a:lnTo>
                    <a:pt x="634" y="482"/>
                  </a:lnTo>
                  <a:lnTo>
                    <a:pt x="636" y="488"/>
                  </a:lnTo>
                  <a:lnTo>
                    <a:pt x="636" y="488"/>
                  </a:lnTo>
                  <a:lnTo>
                    <a:pt x="638" y="490"/>
                  </a:lnTo>
                  <a:lnTo>
                    <a:pt x="640" y="490"/>
                  </a:lnTo>
                  <a:lnTo>
                    <a:pt x="644" y="492"/>
                  </a:lnTo>
                  <a:lnTo>
                    <a:pt x="644" y="494"/>
                  </a:lnTo>
                  <a:lnTo>
                    <a:pt x="644" y="494"/>
                  </a:lnTo>
                  <a:lnTo>
                    <a:pt x="644" y="492"/>
                  </a:lnTo>
                  <a:lnTo>
                    <a:pt x="640" y="492"/>
                  </a:lnTo>
                  <a:lnTo>
                    <a:pt x="638" y="492"/>
                  </a:lnTo>
                  <a:lnTo>
                    <a:pt x="638" y="492"/>
                  </a:lnTo>
                  <a:lnTo>
                    <a:pt x="638" y="492"/>
                  </a:lnTo>
                  <a:lnTo>
                    <a:pt x="634" y="492"/>
                  </a:lnTo>
                  <a:lnTo>
                    <a:pt x="634" y="492"/>
                  </a:lnTo>
                  <a:lnTo>
                    <a:pt x="634" y="492"/>
                  </a:lnTo>
                  <a:lnTo>
                    <a:pt x="632" y="492"/>
                  </a:lnTo>
                  <a:lnTo>
                    <a:pt x="632" y="492"/>
                  </a:lnTo>
                  <a:lnTo>
                    <a:pt x="632" y="492"/>
                  </a:lnTo>
                  <a:lnTo>
                    <a:pt x="630" y="494"/>
                  </a:lnTo>
                  <a:lnTo>
                    <a:pt x="630" y="494"/>
                  </a:lnTo>
                  <a:lnTo>
                    <a:pt x="630" y="494"/>
                  </a:lnTo>
                  <a:lnTo>
                    <a:pt x="628" y="496"/>
                  </a:lnTo>
                  <a:lnTo>
                    <a:pt x="628" y="496"/>
                  </a:lnTo>
                  <a:lnTo>
                    <a:pt x="628" y="496"/>
                  </a:lnTo>
                  <a:lnTo>
                    <a:pt x="628" y="498"/>
                  </a:lnTo>
                  <a:lnTo>
                    <a:pt x="628" y="498"/>
                  </a:lnTo>
                  <a:lnTo>
                    <a:pt x="628" y="498"/>
                  </a:lnTo>
                  <a:lnTo>
                    <a:pt x="628" y="500"/>
                  </a:lnTo>
                  <a:lnTo>
                    <a:pt x="630" y="504"/>
                  </a:lnTo>
                  <a:lnTo>
                    <a:pt x="630" y="504"/>
                  </a:lnTo>
                  <a:lnTo>
                    <a:pt x="632" y="506"/>
                  </a:lnTo>
                  <a:lnTo>
                    <a:pt x="632" y="506"/>
                  </a:lnTo>
                  <a:lnTo>
                    <a:pt x="634" y="506"/>
                  </a:lnTo>
                  <a:lnTo>
                    <a:pt x="634" y="508"/>
                  </a:lnTo>
                  <a:lnTo>
                    <a:pt x="636" y="508"/>
                  </a:lnTo>
                  <a:lnTo>
                    <a:pt x="640" y="508"/>
                  </a:lnTo>
                  <a:lnTo>
                    <a:pt x="642" y="510"/>
                  </a:lnTo>
                  <a:lnTo>
                    <a:pt x="642" y="510"/>
                  </a:lnTo>
                  <a:lnTo>
                    <a:pt x="644" y="510"/>
                  </a:lnTo>
                  <a:lnTo>
                    <a:pt x="644" y="510"/>
                  </a:lnTo>
                  <a:lnTo>
                    <a:pt x="644" y="510"/>
                  </a:lnTo>
                  <a:lnTo>
                    <a:pt x="644" y="510"/>
                  </a:lnTo>
                  <a:lnTo>
                    <a:pt x="644" y="512"/>
                  </a:lnTo>
                  <a:lnTo>
                    <a:pt x="644" y="512"/>
                  </a:lnTo>
                  <a:lnTo>
                    <a:pt x="644" y="512"/>
                  </a:lnTo>
                  <a:lnTo>
                    <a:pt x="646" y="512"/>
                  </a:lnTo>
                  <a:lnTo>
                    <a:pt x="644" y="512"/>
                  </a:lnTo>
                  <a:lnTo>
                    <a:pt x="644" y="512"/>
                  </a:lnTo>
                  <a:lnTo>
                    <a:pt x="642" y="512"/>
                  </a:lnTo>
                  <a:lnTo>
                    <a:pt x="642" y="512"/>
                  </a:lnTo>
                  <a:lnTo>
                    <a:pt x="640" y="514"/>
                  </a:lnTo>
                  <a:lnTo>
                    <a:pt x="640" y="518"/>
                  </a:lnTo>
                  <a:lnTo>
                    <a:pt x="640" y="520"/>
                  </a:lnTo>
                  <a:lnTo>
                    <a:pt x="640" y="522"/>
                  </a:lnTo>
                  <a:lnTo>
                    <a:pt x="640" y="524"/>
                  </a:lnTo>
                  <a:lnTo>
                    <a:pt x="640" y="528"/>
                  </a:lnTo>
                  <a:lnTo>
                    <a:pt x="640" y="530"/>
                  </a:lnTo>
                  <a:lnTo>
                    <a:pt x="640" y="530"/>
                  </a:lnTo>
                  <a:lnTo>
                    <a:pt x="640" y="532"/>
                  </a:lnTo>
                  <a:lnTo>
                    <a:pt x="640" y="534"/>
                  </a:lnTo>
                  <a:lnTo>
                    <a:pt x="640" y="536"/>
                  </a:lnTo>
                  <a:lnTo>
                    <a:pt x="640" y="538"/>
                  </a:lnTo>
                  <a:lnTo>
                    <a:pt x="642" y="540"/>
                  </a:lnTo>
                  <a:lnTo>
                    <a:pt x="642" y="540"/>
                  </a:lnTo>
                  <a:lnTo>
                    <a:pt x="642" y="542"/>
                  </a:lnTo>
                  <a:lnTo>
                    <a:pt x="644" y="544"/>
                  </a:lnTo>
                  <a:lnTo>
                    <a:pt x="644" y="544"/>
                  </a:lnTo>
                  <a:lnTo>
                    <a:pt x="644" y="544"/>
                  </a:lnTo>
                  <a:lnTo>
                    <a:pt x="646" y="546"/>
                  </a:lnTo>
                  <a:lnTo>
                    <a:pt x="646" y="546"/>
                  </a:lnTo>
                  <a:lnTo>
                    <a:pt x="646" y="546"/>
                  </a:lnTo>
                  <a:lnTo>
                    <a:pt x="648" y="548"/>
                  </a:lnTo>
                  <a:lnTo>
                    <a:pt x="648" y="548"/>
                  </a:lnTo>
                  <a:lnTo>
                    <a:pt x="648" y="548"/>
                  </a:lnTo>
                  <a:lnTo>
                    <a:pt x="650" y="548"/>
                  </a:lnTo>
                  <a:lnTo>
                    <a:pt x="650" y="548"/>
                  </a:lnTo>
                  <a:lnTo>
                    <a:pt x="652" y="548"/>
                  </a:lnTo>
                  <a:lnTo>
                    <a:pt x="654" y="546"/>
                  </a:lnTo>
                  <a:lnTo>
                    <a:pt x="656" y="546"/>
                  </a:lnTo>
                  <a:lnTo>
                    <a:pt x="656" y="546"/>
                  </a:lnTo>
                  <a:lnTo>
                    <a:pt x="658" y="544"/>
                  </a:lnTo>
                  <a:lnTo>
                    <a:pt x="662" y="542"/>
                  </a:lnTo>
                  <a:lnTo>
                    <a:pt x="664" y="542"/>
                  </a:lnTo>
                  <a:lnTo>
                    <a:pt x="666" y="540"/>
                  </a:lnTo>
                  <a:lnTo>
                    <a:pt x="668" y="540"/>
                  </a:lnTo>
                  <a:lnTo>
                    <a:pt x="668" y="540"/>
                  </a:lnTo>
                  <a:lnTo>
                    <a:pt x="670" y="542"/>
                  </a:lnTo>
                  <a:lnTo>
                    <a:pt x="672" y="542"/>
                  </a:lnTo>
                  <a:lnTo>
                    <a:pt x="672" y="542"/>
                  </a:lnTo>
                  <a:lnTo>
                    <a:pt x="674" y="542"/>
                  </a:lnTo>
                  <a:lnTo>
                    <a:pt x="674" y="542"/>
                  </a:lnTo>
                  <a:lnTo>
                    <a:pt x="674" y="542"/>
                  </a:lnTo>
                  <a:lnTo>
                    <a:pt x="676" y="542"/>
                  </a:lnTo>
                  <a:lnTo>
                    <a:pt x="678" y="544"/>
                  </a:lnTo>
                  <a:lnTo>
                    <a:pt x="678" y="544"/>
                  </a:lnTo>
                  <a:lnTo>
                    <a:pt x="678" y="544"/>
                  </a:lnTo>
                  <a:lnTo>
                    <a:pt x="680" y="546"/>
                  </a:lnTo>
                  <a:lnTo>
                    <a:pt x="680" y="546"/>
                  </a:lnTo>
                  <a:lnTo>
                    <a:pt x="682" y="546"/>
                  </a:lnTo>
                  <a:lnTo>
                    <a:pt x="682" y="546"/>
                  </a:lnTo>
                  <a:lnTo>
                    <a:pt x="682" y="546"/>
                  </a:lnTo>
                  <a:lnTo>
                    <a:pt x="684" y="544"/>
                  </a:lnTo>
                  <a:lnTo>
                    <a:pt x="686" y="544"/>
                  </a:lnTo>
                  <a:lnTo>
                    <a:pt x="686" y="544"/>
                  </a:lnTo>
                  <a:lnTo>
                    <a:pt x="686" y="542"/>
                  </a:lnTo>
                  <a:lnTo>
                    <a:pt x="686" y="540"/>
                  </a:lnTo>
                  <a:lnTo>
                    <a:pt x="688" y="538"/>
                  </a:lnTo>
                  <a:lnTo>
                    <a:pt x="688" y="534"/>
                  </a:lnTo>
                  <a:lnTo>
                    <a:pt x="688" y="530"/>
                  </a:lnTo>
                  <a:lnTo>
                    <a:pt x="688" y="524"/>
                  </a:lnTo>
                  <a:lnTo>
                    <a:pt x="688" y="520"/>
                  </a:lnTo>
                  <a:lnTo>
                    <a:pt x="688" y="520"/>
                  </a:lnTo>
                  <a:lnTo>
                    <a:pt x="688" y="520"/>
                  </a:lnTo>
                  <a:lnTo>
                    <a:pt x="688" y="518"/>
                  </a:lnTo>
                  <a:lnTo>
                    <a:pt x="688" y="518"/>
                  </a:lnTo>
                  <a:lnTo>
                    <a:pt x="688" y="518"/>
                  </a:lnTo>
                  <a:lnTo>
                    <a:pt x="688" y="518"/>
                  </a:lnTo>
                  <a:close/>
                  <a:moveTo>
                    <a:pt x="294" y="54"/>
                  </a:moveTo>
                  <a:lnTo>
                    <a:pt x="294" y="54"/>
                  </a:lnTo>
                  <a:lnTo>
                    <a:pt x="294" y="54"/>
                  </a:lnTo>
                  <a:lnTo>
                    <a:pt x="294" y="54"/>
                  </a:lnTo>
                  <a:close/>
                  <a:moveTo>
                    <a:pt x="606" y="460"/>
                  </a:moveTo>
                  <a:lnTo>
                    <a:pt x="604" y="462"/>
                  </a:lnTo>
                  <a:lnTo>
                    <a:pt x="604" y="462"/>
                  </a:lnTo>
                  <a:lnTo>
                    <a:pt x="604" y="462"/>
                  </a:lnTo>
                  <a:lnTo>
                    <a:pt x="604" y="462"/>
                  </a:lnTo>
                  <a:lnTo>
                    <a:pt x="604" y="460"/>
                  </a:lnTo>
                  <a:lnTo>
                    <a:pt x="604" y="458"/>
                  </a:lnTo>
                  <a:lnTo>
                    <a:pt x="604" y="458"/>
                  </a:lnTo>
                  <a:lnTo>
                    <a:pt x="606" y="458"/>
                  </a:lnTo>
                  <a:lnTo>
                    <a:pt x="608" y="460"/>
                  </a:lnTo>
                  <a:lnTo>
                    <a:pt x="606" y="460"/>
                  </a:lnTo>
                  <a:close/>
                  <a:moveTo>
                    <a:pt x="654" y="516"/>
                  </a:moveTo>
                  <a:lnTo>
                    <a:pt x="654" y="516"/>
                  </a:lnTo>
                  <a:lnTo>
                    <a:pt x="652" y="516"/>
                  </a:lnTo>
                  <a:lnTo>
                    <a:pt x="650" y="514"/>
                  </a:lnTo>
                  <a:lnTo>
                    <a:pt x="648" y="514"/>
                  </a:lnTo>
                  <a:lnTo>
                    <a:pt x="648" y="514"/>
                  </a:lnTo>
                  <a:lnTo>
                    <a:pt x="648" y="514"/>
                  </a:lnTo>
                  <a:lnTo>
                    <a:pt x="650" y="514"/>
                  </a:lnTo>
                  <a:lnTo>
                    <a:pt x="650" y="514"/>
                  </a:lnTo>
                  <a:lnTo>
                    <a:pt x="650" y="514"/>
                  </a:lnTo>
                  <a:lnTo>
                    <a:pt x="650" y="514"/>
                  </a:lnTo>
                  <a:lnTo>
                    <a:pt x="652" y="514"/>
                  </a:lnTo>
                  <a:lnTo>
                    <a:pt x="654" y="516"/>
                  </a:lnTo>
                  <a:lnTo>
                    <a:pt x="654" y="516"/>
                  </a:lnTo>
                  <a:lnTo>
                    <a:pt x="654" y="516"/>
                  </a:ln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99" name="Freeform 24"/>
            <p:cNvSpPr>
              <a:spLocks noEditPoints="1"/>
            </p:cNvSpPr>
            <p:nvPr/>
          </p:nvSpPr>
          <p:spPr bwMode="auto">
            <a:xfrm>
              <a:off x="3029669" y="1015779"/>
              <a:ext cx="2463511" cy="1515396"/>
            </a:xfrm>
            <a:custGeom>
              <a:avLst/>
              <a:gdLst>
                <a:gd name="T0" fmla="*/ 2444 w 2484"/>
                <a:gd name="T1" fmla="*/ 988 h 1528"/>
                <a:gd name="T2" fmla="*/ 552 w 2484"/>
                <a:gd name="T3" fmla="*/ 472 h 1528"/>
                <a:gd name="T4" fmla="*/ 468 w 2484"/>
                <a:gd name="T5" fmla="*/ 626 h 1528"/>
                <a:gd name="T6" fmla="*/ 528 w 2484"/>
                <a:gd name="T7" fmla="*/ 660 h 1528"/>
                <a:gd name="T8" fmla="*/ 678 w 2484"/>
                <a:gd name="T9" fmla="*/ 392 h 1528"/>
                <a:gd name="T10" fmla="*/ 470 w 2484"/>
                <a:gd name="T11" fmla="*/ 106 h 1528"/>
                <a:gd name="T12" fmla="*/ 616 w 2484"/>
                <a:gd name="T13" fmla="*/ 26 h 1528"/>
                <a:gd name="T14" fmla="*/ 508 w 2484"/>
                <a:gd name="T15" fmla="*/ 144 h 1528"/>
                <a:gd name="T16" fmla="*/ 550 w 2484"/>
                <a:gd name="T17" fmla="*/ 130 h 1528"/>
                <a:gd name="T18" fmla="*/ 654 w 2484"/>
                <a:gd name="T19" fmla="*/ 68 h 1528"/>
                <a:gd name="T20" fmla="*/ 574 w 2484"/>
                <a:gd name="T21" fmla="*/ 180 h 1528"/>
                <a:gd name="T22" fmla="*/ 558 w 2484"/>
                <a:gd name="T23" fmla="*/ 66 h 1528"/>
                <a:gd name="T24" fmla="*/ 528 w 2484"/>
                <a:gd name="T25" fmla="*/ 92 h 1528"/>
                <a:gd name="T26" fmla="*/ 2396 w 2484"/>
                <a:gd name="T27" fmla="*/ 852 h 1528"/>
                <a:gd name="T28" fmla="*/ 2158 w 2484"/>
                <a:gd name="T29" fmla="*/ 744 h 1528"/>
                <a:gd name="T30" fmla="*/ 2002 w 2484"/>
                <a:gd name="T31" fmla="*/ 698 h 1528"/>
                <a:gd name="T32" fmla="*/ 1734 w 2484"/>
                <a:gd name="T33" fmla="*/ 636 h 1528"/>
                <a:gd name="T34" fmla="*/ 1596 w 2484"/>
                <a:gd name="T35" fmla="*/ 688 h 1528"/>
                <a:gd name="T36" fmla="*/ 1458 w 2484"/>
                <a:gd name="T37" fmla="*/ 600 h 1528"/>
                <a:gd name="T38" fmla="*/ 1336 w 2484"/>
                <a:gd name="T39" fmla="*/ 548 h 1528"/>
                <a:gd name="T40" fmla="*/ 1268 w 2484"/>
                <a:gd name="T41" fmla="*/ 586 h 1528"/>
                <a:gd name="T42" fmla="*/ 1290 w 2484"/>
                <a:gd name="T43" fmla="*/ 402 h 1528"/>
                <a:gd name="T44" fmla="*/ 1182 w 2484"/>
                <a:gd name="T45" fmla="*/ 412 h 1528"/>
                <a:gd name="T46" fmla="*/ 994 w 2484"/>
                <a:gd name="T47" fmla="*/ 494 h 1528"/>
                <a:gd name="T48" fmla="*/ 890 w 2484"/>
                <a:gd name="T49" fmla="*/ 638 h 1528"/>
                <a:gd name="T50" fmla="*/ 818 w 2484"/>
                <a:gd name="T51" fmla="*/ 626 h 1528"/>
                <a:gd name="T52" fmla="*/ 748 w 2484"/>
                <a:gd name="T53" fmla="*/ 622 h 1528"/>
                <a:gd name="T54" fmla="*/ 572 w 2484"/>
                <a:gd name="T55" fmla="*/ 734 h 1528"/>
                <a:gd name="T56" fmla="*/ 450 w 2484"/>
                <a:gd name="T57" fmla="*/ 812 h 1528"/>
                <a:gd name="T58" fmla="*/ 346 w 2484"/>
                <a:gd name="T59" fmla="*/ 856 h 1528"/>
                <a:gd name="T60" fmla="*/ 266 w 2484"/>
                <a:gd name="T61" fmla="*/ 968 h 1528"/>
                <a:gd name="T62" fmla="*/ 286 w 2484"/>
                <a:gd name="T63" fmla="*/ 820 h 1528"/>
                <a:gd name="T64" fmla="*/ 158 w 2484"/>
                <a:gd name="T65" fmla="*/ 990 h 1528"/>
                <a:gd name="T66" fmla="*/ 128 w 2484"/>
                <a:gd name="T67" fmla="*/ 1168 h 1528"/>
                <a:gd name="T68" fmla="*/ 268 w 2484"/>
                <a:gd name="T69" fmla="*/ 1342 h 1528"/>
                <a:gd name="T70" fmla="*/ 368 w 2484"/>
                <a:gd name="T71" fmla="*/ 1500 h 1528"/>
                <a:gd name="T72" fmla="*/ 390 w 2484"/>
                <a:gd name="T73" fmla="*/ 1374 h 1528"/>
                <a:gd name="T74" fmla="*/ 604 w 2484"/>
                <a:gd name="T75" fmla="*/ 1324 h 1528"/>
                <a:gd name="T76" fmla="*/ 788 w 2484"/>
                <a:gd name="T77" fmla="*/ 1264 h 1528"/>
                <a:gd name="T78" fmla="*/ 1014 w 2484"/>
                <a:gd name="T79" fmla="*/ 1356 h 1528"/>
                <a:gd name="T80" fmla="*/ 1278 w 2484"/>
                <a:gd name="T81" fmla="*/ 1360 h 1528"/>
                <a:gd name="T82" fmla="*/ 1578 w 2484"/>
                <a:gd name="T83" fmla="*/ 1356 h 1528"/>
                <a:gd name="T84" fmla="*/ 1702 w 2484"/>
                <a:gd name="T85" fmla="*/ 1454 h 1528"/>
                <a:gd name="T86" fmla="*/ 1724 w 2484"/>
                <a:gd name="T87" fmla="*/ 1190 h 1528"/>
                <a:gd name="T88" fmla="*/ 1880 w 2484"/>
                <a:gd name="T89" fmla="*/ 1106 h 1528"/>
                <a:gd name="T90" fmla="*/ 2054 w 2484"/>
                <a:gd name="T91" fmla="*/ 1068 h 1528"/>
                <a:gd name="T92" fmla="*/ 1974 w 2484"/>
                <a:gd name="T93" fmla="*/ 1284 h 1528"/>
                <a:gd name="T94" fmla="*/ 2084 w 2484"/>
                <a:gd name="T95" fmla="*/ 1208 h 1528"/>
                <a:gd name="T96" fmla="*/ 2118 w 2484"/>
                <a:gd name="T97" fmla="*/ 1092 h 1528"/>
                <a:gd name="T98" fmla="*/ 2320 w 2484"/>
                <a:gd name="T99" fmla="*/ 998 h 1528"/>
                <a:gd name="T100" fmla="*/ 2390 w 2484"/>
                <a:gd name="T101" fmla="*/ 950 h 1528"/>
                <a:gd name="T102" fmla="*/ 1682 w 2484"/>
                <a:gd name="T103" fmla="*/ 494 h 1528"/>
                <a:gd name="T104" fmla="*/ 2332 w 2484"/>
                <a:gd name="T105" fmla="*/ 712 h 1528"/>
                <a:gd name="T106" fmla="*/ 1772 w 2484"/>
                <a:gd name="T107" fmla="*/ 518 h 1528"/>
                <a:gd name="T108" fmla="*/ 1746 w 2484"/>
                <a:gd name="T109" fmla="*/ 450 h 1528"/>
                <a:gd name="T110" fmla="*/ 1872 w 2484"/>
                <a:gd name="T111" fmla="*/ 490 h 1528"/>
                <a:gd name="T112" fmla="*/ 1784 w 2484"/>
                <a:gd name="T113" fmla="*/ 564 h 1528"/>
                <a:gd name="T114" fmla="*/ 1056 w 2484"/>
                <a:gd name="T115" fmla="*/ 158 h 1528"/>
                <a:gd name="T116" fmla="*/ 1126 w 2484"/>
                <a:gd name="T117" fmla="*/ 260 h 1528"/>
                <a:gd name="T118" fmla="*/ 1116 w 2484"/>
                <a:gd name="T119" fmla="*/ 68 h 1528"/>
                <a:gd name="T120" fmla="*/ 1172 w 2484"/>
                <a:gd name="T121" fmla="*/ 328 h 1528"/>
                <a:gd name="T122" fmla="*/ 1254 w 2484"/>
                <a:gd name="T123" fmla="*/ 310 h 1528"/>
                <a:gd name="T124" fmla="*/ 1106 w 2484"/>
                <a:gd name="T125" fmla="*/ 380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4" h="1528">
                  <a:moveTo>
                    <a:pt x="52" y="1234"/>
                  </a:moveTo>
                  <a:lnTo>
                    <a:pt x="50" y="1230"/>
                  </a:lnTo>
                  <a:lnTo>
                    <a:pt x="50" y="1230"/>
                  </a:lnTo>
                  <a:lnTo>
                    <a:pt x="50" y="1230"/>
                  </a:lnTo>
                  <a:lnTo>
                    <a:pt x="50" y="1226"/>
                  </a:lnTo>
                  <a:lnTo>
                    <a:pt x="50" y="1226"/>
                  </a:lnTo>
                  <a:lnTo>
                    <a:pt x="48" y="1226"/>
                  </a:lnTo>
                  <a:lnTo>
                    <a:pt x="46" y="1222"/>
                  </a:lnTo>
                  <a:lnTo>
                    <a:pt x="46" y="1222"/>
                  </a:lnTo>
                  <a:lnTo>
                    <a:pt x="46" y="1222"/>
                  </a:lnTo>
                  <a:lnTo>
                    <a:pt x="42" y="1220"/>
                  </a:lnTo>
                  <a:lnTo>
                    <a:pt x="42" y="1220"/>
                  </a:lnTo>
                  <a:lnTo>
                    <a:pt x="42" y="1220"/>
                  </a:lnTo>
                  <a:lnTo>
                    <a:pt x="38" y="1220"/>
                  </a:lnTo>
                  <a:lnTo>
                    <a:pt x="32" y="1218"/>
                  </a:lnTo>
                  <a:lnTo>
                    <a:pt x="26" y="1218"/>
                  </a:lnTo>
                  <a:lnTo>
                    <a:pt x="26" y="1218"/>
                  </a:lnTo>
                  <a:lnTo>
                    <a:pt x="24" y="1218"/>
                  </a:lnTo>
                  <a:lnTo>
                    <a:pt x="20" y="1218"/>
                  </a:lnTo>
                  <a:lnTo>
                    <a:pt x="16" y="1222"/>
                  </a:lnTo>
                  <a:lnTo>
                    <a:pt x="12" y="1224"/>
                  </a:lnTo>
                  <a:lnTo>
                    <a:pt x="8" y="1226"/>
                  </a:lnTo>
                  <a:lnTo>
                    <a:pt x="4" y="1230"/>
                  </a:lnTo>
                  <a:lnTo>
                    <a:pt x="4" y="1230"/>
                  </a:lnTo>
                  <a:lnTo>
                    <a:pt x="4" y="1230"/>
                  </a:lnTo>
                  <a:lnTo>
                    <a:pt x="2" y="1232"/>
                  </a:lnTo>
                  <a:lnTo>
                    <a:pt x="2" y="1232"/>
                  </a:lnTo>
                  <a:lnTo>
                    <a:pt x="2" y="1232"/>
                  </a:lnTo>
                  <a:lnTo>
                    <a:pt x="0" y="1232"/>
                  </a:lnTo>
                  <a:lnTo>
                    <a:pt x="0" y="1234"/>
                  </a:lnTo>
                  <a:lnTo>
                    <a:pt x="0" y="1234"/>
                  </a:lnTo>
                  <a:lnTo>
                    <a:pt x="0" y="1236"/>
                  </a:lnTo>
                  <a:lnTo>
                    <a:pt x="0" y="1236"/>
                  </a:lnTo>
                  <a:lnTo>
                    <a:pt x="0" y="1236"/>
                  </a:lnTo>
                  <a:lnTo>
                    <a:pt x="2" y="1238"/>
                  </a:lnTo>
                  <a:lnTo>
                    <a:pt x="2" y="1238"/>
                  </a:lnTo>
                  <a:lnTo>
                    <a:pt x="2" y="1238"/>
                  </a:lnTo>
                  <a:lnTo>
                    <a:pt x="2" y="1240"/>
                  </a:lnTo>
                  <a:lnTo>
                    <a:pt x="4" y="1240"/>
                  </a:lnTo>
                  <a:lnTo>
                    <a:pt x="4" y="1240"/>
                  </a:lnTo>
                  <a:lnTo>
                    <a:pt x="4" y="1240"/>
                  </a:lnTo>
                  <a:lnTo>
                    <a:pt x="10" y="1242"/>
                  </a:lnTo>
                  <a:lnTo>
                    <a:pt x="16" y="1242"/>
                  </a:lnTo>
                  <a:lnTo>
                    <a:pt x="26" y="1242"/>
                  </a:lnTo>
                  <a:lnTo>
                    <a:pt x="38" y="1242"/>
                  </a:lnTo>
                  <a:lnTo>
                    <a:pt x="50" y="1244"/>
                  </a:lnTo>
                  <a:lnTo>
                    <a:pt x="50" y="1244"/>
                  </a:lnTo>
                  <a:lnTo>
                    <a:pt x="52" y="1242"/>
                  </a:lnTo>
                  <a:lnTo>
                    <a:pt x="52" y="1242"/>
                  </a:lnTo>
                  <a:lnTo>
                    <a:pt x="52" y="1240"/>
                  </a:lnTo>
                  <a:lnTo>
                    <a:pt x="52" y="1236"/>
                  </a:lnTo>
                  <a:lnTo>
                    <a:pt x="52" y="1234"/>
                  </a:lnTo>
                  <a:close/>
                  <a:moveTo>
                    <a:pt x="2482" y="982"/>
                  </a:moveTo>
                  <a:lnTo>
                    <a:pt x="2480" y="982"/>
                  </a:lnTo>
                  <a:lnTo>
                    <a:pt x="2480" y="982"/>
                  </a:lnTo>
                  <a:lnTo>
                    <a:pt x="2478" y="980"/>
                  </a:lnTo>
                  <a:lnTo>
                    <a:pt x="2478" y="982"/>
                  </a:lnTo>
                  <a:lnTo>
                    <a:pt x="2476" y="980"/>
                  </a:lnTo>
                  <a:lnTo>
                    <a:pt x="2476" y="978"/>
                  </a:lnTo>
                  <a:lnTo>
                    <a:pt x="2476" y="978"/>
                  </a:lnTo>
                  <a:lnTo>
                    <a:pt x="2474" y="978"/>
                  </a:lnTo>
                  <a:lnTo>
                    <a:pt x="2472" y="978"/>
                  </a:lnTo>
                  <a:lnTo>
                    <a:pt x="2470" y="978"/>
                  </a:lnTo>
                  <a:lnTo>
                    <a:pt x="2466" y="976"/>
                  </a:lnTo>
                  <a:lnTo>
                    <a:pt x="2462" y="976"/>
                  </a:lnTo>
                  <a:lnTo>
                    <a:pt x="2458" y="976"/>
                  </a:lnTo>
                  <a:lnTo>
                    <a:pt x="2460" y="976"/>
                  </a:lnTo>
                  <a:lnTo>
                    <a:pt x="2458" y="974"/>
                  </a:lnTo>
                  <a:lnTo>
                    <a:pt x="2458" y="974"/>
                  </a:lnTo>
                  <a:lnTo>
                    <a:pt x="2458" y="974"/>
                  </a:lnTo>
                  <a:lnTo>
                    <a:pt x="2458" y="972"/>
                  </a:lnTo>
                  <a:lnTo>
                    <a:pt x="2458" y="970"/>
                  </a:lnTo>
                  <a:lnTo>
                    <a:pt x="2458" y="970"/>
                  </a:lnTo>
                  <a:lnTo>
                    <a:pt x="2456" y="968"/>
                  </a:lnTo>
                  <a:lnTo>
                    <a:pt x="2456" y="966"/>
                  </a:lnTo>
                  <a:lnTo>
                    <a:pt x="2450" y="966"/>
                  </a:lnTo>
                  <a:lnTo>
                    <a:pt x="2448" y="966"/>
                  </a:lnTo>
                  <a:lnTo>
                    <a:pt x="2448" y="966"/>
                  </a:lnTo>
                  <a:lnTo>
                    <a:pt x="2448" y="966"/>
                  </a:lnTo>
                  <a:lnTo>
                    <a:pt x="2446" y="966"/>
                  </a:lnTo>
                  <a:lnTo>
                    <a:pt x="2446" y="966"/>
                  </a:lnTo>
                  <a:lnTo>
                    <a:pt x="2446" y="966"/>
                  </a:lnTo>
                  <a:lnTo>
                    <a:pt x="2444" y="966"/>
                  </a:lnTo>
                  <a:lnTo>
                    <a:pt x="2444" y="966"/>
                  </a:lnTo>
                  <a:lnTo>
                    <a:pt x="2444" y="966"/>
                  </a:lnTo>
                  <a:lnTo>
                    <a:pt x="2442" y="968"/>
                  </a:lnTo>
                  <a:lnTo>
                    <a:pt x="2442" y="968"/>
                  </a:lnTo>
                  <a:lnTo>
                    <a:pt x="2442" y="968"/>
                  </a:lnTo>
                  <a:lnTo>
                    <a:pt x="2440" y="970"/>
                  </a:lnTo>
                  <a:lnTo>
                    <a:pt x="2438" y="968"/>
                  </a:lnTo>
                  <a:lnTo>
                    <a:pt x="2436" y="968"/>
                  </a:lnTo>
                  <a:lnTo>
                    <a:pt x="2436" y="968"/>
                  </a:lnTo>
                  <a:lnTo>
                    <a:pt x="2436" y="966"/>
                  </a:lnTo>
                  <a:lnTo>
                    <a:pt x="2434" y="966"/>
                  </a:lnTo>
                  <a:lnTo>
                    <a:pt x="2434" y="966"/>
                  </a:lnTo>
                  <a:lnTo>
                    <a:pt x="2432" y="966"/>
                  </a:lnTo>
                  <a:lnTo>
                    <a:pt x="2430" y="966"/>
                  </a:lnTo>
                  <a:lnTo>
                    <a:pt x="2430" y="966"/>
                  </a:lnTo>
                  <a:lnTo>
                    <a:pt x="2430" y="966"/>
                  </a:lnTo>
                  <a:lnTo>
                    <a:pt x="2428" y="968"/>
                  </a:lnTo>
                  <a:lnTo>
                    <a:pt x="2428" y="968"/>
                  </a:lnTo>
                  <a:lnTo>
                    <a:pt x="2426" y="968"/>
                  </a:lnTo>
                  <a:lnTo>
                    <a:pt x="2426" y="970"/>
                  </a:lnTo>
                  <a:lnTo>
                    <a:pt x="2426" y="970"/>
                  </a:lnTo>
                  <a:lnTo>
                    <a:pt x="2426" y="972"/>
                  </a:lnTo>
                  <a:lnTo>
                    <a:pt x="2424" y="974"/>
                  </a:lnTo>
                  <a:lnTo>
                    <a:pt x="2424" y="974"/>
                  </a:lnTo>
                  <a:lnTo>
                    <a:pt x="2424" y="976"/>
                  </a:lnTo>
                  <a:lnTo>
                    <a:pt x="2424" y="976"/>
                  </a:lnTo>
                  <a:lnTo>
                    <a:pt x="2422" y="978"/>
                  </a:lnTo>
                  <a:lnTo>
                    <a:pt x="2422" y="980"/>
                  </a:lnTo>
                  <a:lnTo>
                    <a:pt x="2422" y="980"/>
                  </a:lnTo>
                  <a:lnTo>
                    <a:pt x="2424" y="984"/>
                  </a:lnTo>
                  <a:lnTo>
                    <a:pt x="2426" y="986"/>
                  </a:lnTo>
                  <a:lnTo>
                    <a:pt x="2428" y="986"/>
                  </a:lnTo>
                  <a:lnTo>
                    <a:pt x="2428" y="986"/>
                  </a:lnTo>
                  <a:lnTo>
                    <a:pt x="2428" y="986"/>
                  </a:lnTo>
                  <a:lnTo>
                    <a:pt x="2430" y="988"/>
                  </a:lnTo>
                  <a:lnTo>
                    <a:pt x="2432" y="988"/>
                  </a:lnTo>
                  <a:lnTo>
                    <a:pt x="2432" y="988"/>
                  </a:lnTo>
                  <a:lnTo>
                    <a:pt x="2432" y="988"/>
                  </a:lnTo>
                  <a:lnTo>
                    <a:pt x="2438" y="988"/>
                  </a:lnTo>
                  <a:lnTo>
                    <a:pt x="2440" y="988"/>
                  </a:lnTo>
                  <a:lnTo>
                    <a:pt x="2440" y="988"/>
                  </a:lnTo>
                  <a:lnTo>
                    <a:pt x="2444" y="988"/>
                  </a:lnTo>
                  <a:lnTo>
                    <a:pt x="2444" y="988"/>
                  </a:lnTo>
                  <a:lnTo>
                    <a:pt x="2446" y="990"/>
                  </a:lnTo>
                  <a:lnTo>
                    <a:pt x="2446" y="990"/>
                  </a:lnTo>
                  <a:lnTo>
                    <a:pt x="2446" y="992"/>
                  </a:lnTo>
                  <a:lnTo>
                    <a:pt x="2446" y="994"/>
                  </a:lnTo>
                  <a:lnTo>
                    <a:pt x="2446" y="996"/>
                  </a:lnTo>
                  <a:lnTo>
                    <a:pt x="2446" y="996"/>
                  </a:lnTo>
                  <a:lnTo>
                    <a:pt x="2450" y="998"/>
                  </a:lnTo>
                  <a:lnTo>
                    <a:pt x="2452" y="998"/>
                  </a:lnTo>
                  <a:lnTo>
                    <a:pt x="2456" y="998"/>
                  </a:lnTo>
                  <a:lnTo>
                    <a:pt x="2458" y="998"/>
                  </a:lnTo>
                  <a:lnTo>
                    <a:pt x="2458" y="998"/>
                  </a:lnTo>
                  <a:lnTo>
                    <a:pt x="2458" y="998"/>
                  </a:lnTo>
                  <a:lnTo>
                    <a:pt x="2460" y="998"/>
                  </a:lnTo>
                  <a:lnTo>
                    <a:pt x="2460" y="998"/>
                  </a:lnTo>
                  <a:lnTo>
                    <a:pt x="2460" y="998"/>
                  </a:lnTo>
                  <a:lnTo>
                    <a:pt x="2460" y="998"/>
                  </a:lnTo>
                  <a:lnTo>
                    <a:pt x="2462" y="1000"/>
                  </a:lnTo>
                  <a:lnTo>
                    <a:pt x="2466" y="1000"/>
                  </a:lnTo>
                  <a:lnTo>
                    <a:pt x="2466" y="1000"/>
                  </a:lnTo>
                  <a:lnTo>
                    <a:pt x="2468" y="1000"/>
                  </a:lnTo>
                  <a:lnTo>
                    <a:pt x="2470" y="1000"/>
                  </a:lnTo>
                  <a:lnTo>
                    <a:pt x="2470" y="1000"/>
                  </a:lnTo>
                  <a:lnTo>
                    <a:pt x="2470" y="998"/>
                  </a:lnTo>
                  <a:lnTo>
                    <a:pt x="2472" y="998"/>
                  </a:lnTo>
                  <a:lnTo>
                    <a:pt x="2472" y="998"/>
                  </a:lnTo>
                  <a:lnTo>
                    <a:pt x="2472" y="996"/>
                  </a:lnTo>
                  <a:lnTo>
                    <a:pt x="2474" y="996"/>
                  </a:lnTo>
                  <a:lnTo>
                    <a:pt x="2474" y="994"/>
                  </a:lnTo>
                  <a:lnTo>
                    <a:pt x="2474" y="992"/>
                  </a:lnTo>
                  <a:lnTo>
                    <a:pt x="2476" y="992"/>
                  </a:lnTo>
                  <a:lnTo>
                    <a:pt x="2476" y="990"/>
                  </a:lnTo>
                  <a:lnTo>
                    <a:pt x="2478" y="990"/>
                  </a:lnTo>
                  <a:lnTo>
                    <a:pt x="2478" y="990"/>
                  </a:lnTo>
                  <a:lnTo>
                    <a:pt x="2480" y="990"/>
                  </a:lnTo>
                  <a:lnTo>
                    <a:pt x="2480" y="988"/>
                  </a:lnTo>
                  <a:lnTo>
                    <a:pt x="2480" y="988"/>
                  </a:lnTo>
                  <a:lnTo>
                    <a:pt x="2482" y="988"/>
                  </a:lnTo>
                  <a:lnTo>
                    <a:pt x="2482" y="988"/>
                  </a:lnTo>
                  <a:lnTo>
                    <a:pt x="2482" y="988"/>
                  </a:lnTo>
                  <a:lnTo>
                    <a:pt x="2484" y="986"/>
                  </a:lnTo>
                  <a:lnTo>
                    <a:pt x="2484" y="986"/>
                  </a:lnTo>
                  <a:lnTo>
                    <a:pt x="2484" y="986"/>
                  </a:lnTo>
                  <a:lnTo>
                    <a:pt x="2482" y="982"/>
                  </a:lnTo>
                  <a:lnTo>
                    <a:pt x="2482" y="982"/>
                  </a:lnTo>
                  <a:close/>
                  <a:moveTo>
                    <a:pt x="664" y="418"/>
                  </a:moveTo>
                  <a:lnTo>
                    <a:pt x="664" y="418"/>
                  </a:lnTo>
                  <a:lnTo>
                    <a:pt x="662" y="420"/>
                  </a:lnTo>
                  <a:lnTo>
                    <a:pt x="660" y="420"/>
                  </a:lnTo>
                  <a:lnTo>
                    <a:pt x="658" y="420"/>
                  </a:lnTo>
                  <a:lnTo>
                    <a:pt x="654" y="422"/>
                  </a:lnTo>
                  <a:lnTo>
                    <a:pt x="654" y="422"/>
                  </a:lnTo>
                  <a:lnTo>
                    <a:pt x="654" y="422"/>
                  </a:lnTo>
                  <a:lnTo>
                    <a:pt x="652" y="424"/>
                  </a:lnTo>
                  <a:lnTo>
                    <a:pt x="650" y="424"/>
                  </a:lnTo>
                  <a:lnTo>
                    <a:pt x="650" y="426"/>
                  </a:lnTo>
                  <a:lnTo>
                    <a:pt x="648" y="426"/>
                  </a:lnTo>
                  <a:lnTo>
                    <a:pt x="648" y="426"/>
                  </a:lnTo>
                  <a:lnTo>
                    <a:pt x="648" y="428"/>
                  </a:lnTo>
                  <a:lnTo>
                    <a:pt x="648" y="428"/>
                  </a:lnTo>
                  <a:lnTo>
                    <a:pt x="648" y="428"/>
                  </a:lnTo>
                  <a:lnTo>
                    <a:pt x="648" y="430"/>
                  </a:lnTo>
                  <a:lnTo>
                    <a:pt x="646" y="430"/>
                  </a:lnTo>
                  <a:lnTo>
                    <a:pt x="646" y="430"/>
                  </a:lnTo>
                  <a:lnTo>
                    <a:pt x="644" y="430"/>
                  </a:lnTo>
                  <a:lnTo>
                    <a:pt x="642" y="430"/>
                  </a:lnTo>
                  <a:lnTo>
                    <a:pt x="638" y="430"/>
                  </a:lnTo>
                  <a:lnTo>
                    <a:pt x="636" y="432"/>
                  </a:lnTo>
                  <a:lnTo>
                    <a:pt x="634" y="432"/>
                  </a:lnTo>
                  <a:lnTo>
                    <a:pt x="632" y="432"/>
                  </a:lnTo>
                  <a:lnTo>
                    <a:pt x="630" y="432"/>
                  </a:lnTo>
                  <a:lnTo>
                    <a:pt x="628" y="434"/>
                  </a:lnTo>
                  <a:lnTo>
                    <a:pt x="626" y="434"/>
                  </a:lnTo>
                  <a:lnTo>
                    <a:pt x="626" y="434"/>
                  </a:lnTo>
                  <a:lnTo>
                    <a:pt x="624" y="434"/>
                  </a:lnTo>
                  <a:lnTo>
                    <a:pt x="622" y="434"/>
                  </a:lnTo>
                  <a:lnTo>
                    <a:pt x="620" y="434"/>
                  </a:lnTo>
                  <a:lnTo>
                    <a:pt x="616" y="434"/>
                  </a:lnTo>
                  <a:lnTo>
                    <a:pt x="612" y="434"/>
                  </a:lnTo>
                  <a:lnTo>
                    <a:pt x="604" y="432"/>
                  </a:lnTo>
                  <a:lnTo>
                    <a:pt x="604" y="432"/>
                  </a:lnTo>
                  <a:lnTo>
                    <a:pt x="602" y="432"/>
                  </a:lnTo>
                  <a:lnTo>
                    <a:pt x="602" y="430"/>
                  </a:lnTo>
                  <a:lnTo>
                    <a:pt x="602" y="430"/>
                  </a:lnTo>
                  <a:lnTo>
                    <a:pt x="600" y="430"/>
                  </a:lnTo>
                  <a:lnTo>
                    <a:pt x="598" y="430"/>
                  </a:lnTo>
                  <a:lnTo>
                    <a:pt x="598" y="430"/>
                  </a:lnTo>
                  <a:lnTo>
                    <a:pt x="596" y="432"/>
                  </a:lnTo>
                  <a:lnTo>
                    <a:pt x="596" y="432"/>
                  </a:lnTo>
                  <a:lnTo>
                    <a:pt x="596" y="432"/>
                  </a:lnTo>
                  <a:lnTo>
                    <a:pt x="596" y="432"/>
                  </a:lnTo>
                  <a:lnTo>
                    <a:pt x="594" y="436"/>
                  </a:lnTo>
                  <a:lnTo>
                    <a:pt x="592" y="438"/>
                  </a:lnTo>
                  <a:lnTo>
                    <a:pt x="592" y="438"/>
                  </a:lnTo>
                  <a:lnTo>
                    <a:pt x="592" y="440"/>
                  </a:lnTo>
                  <a:lnTo>
                    <a:pt x="592" y="442"/>
                  </a:lnTo>
                  <a:lnTo>
                    <a:pt x="592" y="442"/>
                  </a:lnTo>
                  <a:lnTo>
                    <a:pt x="592" y="442"/>
                  </a:lnTo>
                  <a:lnTo>
                    <a:pt x="592" y="444"/>
                  </a:lnTo>
                  <a:lnTo>
                    <a:pt x="592" y="444"/>
                  </a:lnTo>
                  <a:lnTo>
                    <a:pt x="592" y="444"/>
                  </a:lnTo>
                  <a:lnTo>
                    <a:pt x="592" y="446"/>
                  </a:lnTo>
                  <a:lnTo>
                    <a:pt x="588" y="446"/>
                  </a:lnTo>
                  <a:lnTo>
                    <a:pt x="584" y="446"/>
                  </a:lnTo>
                  <a:lnTo>
                    <a:pt x="584" y="446"/>
                  </a:lnTo>
                  <a:lnTo>
                    <a:pt x="582" y="448"/>
                  </a:lnTo>
                  <a:lnTo>
                    <a:pt x="582" y="452"/>
                  </a:lnTo>
                  <a:lnTo>
                    <a:pt x="580" y="452"/>
                  </a:lnTo>
                  <a:lnTo>
                    <a:pt x="580" y="454"/>
                  </a:lnTo>
                  <a:lnTo>
                    <a:pt x="578" y="456"/>
                  </a:lnTo>
                  <a:lnTo>
                    <a:pt x="576" y="456"/>
                  </a:lnTo>
                  <a:lnTo>
                    <a:pt x="576" y="456"/>
                  </a:lnTo>
                  <a:lnTo>
                    <a:pt x="574" y="456"/>
                  </a:lnTo>
                  <a:lnTo>
                    <a:pt x="572" y="458"/>
                  </a:lnTo>
                  <a:lnTo>
                    <a:pt x="568" y="458"/>
                  </a:lnTo>
                  <a:lnTo>
                    <a:pt x="568" y="458"/>
                  </a:lnTo>
                  <a:lnTo>
                    <a:pt x="568" y="460"/>
                  </a:lnTo>
                  <a:lnTo>
                    <a:pt x="566" y="462"/>
                  </a:lnTo>
                  <a:lnTo>
                    <a:pt x="564" y="464"/>
                  </a:lnTo>
                  <a:lnTo>
                    <a:pt x="558" y="468"/>
                  </a:lnTo>
                  <a:lnTo>
                    <a:pt x="556" y="470"/>
                  </a:lnTo>
                  <a:lnTo>
                    <a:pt x="554" y="470"/>
                  </a:lnTo>
                  <a:lnTo>
                    <a:pt x="552" y="472"/>
                  </a:lnTo>
                  <a:lnTo>
                    <a:pt x="552" y="472"/>
                  </a:lnTo>
                  <a:lnTo>
                    <a:pt x="552" y="472"/>
                  </a:lnTo>
                  <a:lnTo>
                    <a:pt x="552" y="474"/>
                  </a:lnTo>
                  <a:lnTo>
                    <a:pt x="550" y="476"/>
                  </a:lnTo>
                  <a:lnTo>
                    <a:pt x="548" y="480"/>
                  </a:lnTo>
                  <a:lnTo>
                    <a:pt x="548" y="482"/>
                  </a:lnTo>
                  <a:lnTo>
                    <a:pt x="546" y="484"/>
                  </a:lnTo>
                  <a:lnTo>
                    <a:pt x="546" y="484"/>
                  </a:lnTo>
                  <a:lnTo>
                    <a:pt x="544" y="486"/>
                  </a:lnTo>
                  <a:lnTo>
                    <a:pt x="542" y="486"/>
                  </a:lnTo>
                  <a:lnTo>
                    <a:pt x="540" y="486"/>
                  </a:lnTo>
                  <a:lnTo>
                    <a:pt x="538" y="488"/>
                  </a:lnTo>
                  <a:lnTo>
                    <a:pt x="538" y="488"/>
                  </a:lnTo>
                  <a:lnTo>
                    <a:pt x="536" y="490"/>
                  </a:lnTo>
                  <a:lnTo>
                    <a:pt x="536" y="490"/>
                  </a:lnTo>
                  <a:lnTo>
                    <a:pt x="536" y="492"/>
                  </a:lnTo>
                  <a:lnTo>
                    <a:pt x="536" y="494"/>
                  </a:lnTo>
                  <a:lnTo>
                    <a:pt x="538" y="494"/>
                  </a:lnTo>
                  <a:lnTo>
                    <a:pt x="538" y="494"/>
                  </a:lnTo>
                  <a:lnTo>
                    <a:pt x="536" y="496"/>
                  </a:lnTo>
                  <a:lnTo>
                    <a:pt x="532" y="496"/>
                  </a:lnTo>
                  <a:lnTo>
                    <a:pt x="532" y="496"/>
                  </a:lnTo>
                  <a:lnTo>
                    <a:pt x="530" y="496"/>
                  </a:lnTo>
                  <a:lnTo>
                    <a:pt x="530" y="496"/>
                  </a:lnTo>
                  <a:lnTo>
                    <a:pt x="528" y="498"/>
                  </a:lnTo>
                  <a:lnTo>
                    <a:pt x="528" y="498"/>
                  </a:lnTo>
                  <a:lnTo>
                    <a:pt x="526" y="498"/>
                  </a:lnTo>
                  <a:lnTo>
                    <a:pt x="524" y="502"/>
                  </a:lnTo>
                  <a:lnTo>
                    <a:pt x="524" y="502"/>
                  </a:lnTo>
                  <a:lnTo>
                    <a:pt x="524" y="504"/>
                  </a:lnTo>
                  <a:lnTo>
                    <a:pt x="522" y="508"/>
                  </a:lnTo>
                  <a:lnTo>
                    <a:pt x="522" y="512"/>
                  </a:lnTo>
                  <a:lnTo>
                    <a:pt x="520" y="518"/>
                  </a:lnTo>
                  <a:lnTo>
                    <a:pt x="520" y="528"/>
                  </a:lnTo>
                  <a:lnTo>
                    <a:pt x="520" y="532"/>
                  </a:lnTo>
                  <a:lnTo>
                    <a:pt x="518" y="536"/>
                  </a:lnTo>
                  <a:lnTo>
                    <a:pt x="518" y="536"/>
                  </a:lnTo>
                  <a:lnTo>
                    <a:pt x="520" y="538"/>
                  </a:lnTo>
                  <a:lnTo>
                    <a:pt x="520" y="540"/>
                  </a:lnTo>
                  <a:lnTo>
                    <a:pt x="518" y="540"/>
                  </a:lnTo>
                  <a:lnTo>
                    <a:pt x="516" y="540"/>
                  </a:lnTo>
                  <a:lnTo>
                    <a:pt x="516" y="540"/>
                  </a:lnTo>
                  <a:lnTo>
                    <a:pt x="514" y="540"/>
                  </a:lnTo>
                  <a:lnTo>
                    <a:pt x="514" y="540"/>
                  </a:lnTo>
                  <a:lnTo>
                    <a:pt x="514" y="542"/>
                  </a:lnTo>
                  <a:lnTo>
                    <a:pt x="514" y="542"/>
                  </a:lnTo>
                  <a:lnTo>
                    <a:pt x="512" y="544"/>
                  </a:lnTo>
                  <a:lnTo>
                    <a:pt x="514" y="546"/>
                  </a:lnTo>
                  <a:lnTo>
                    <a:pt x="514" y="550"/>
                  </a:lnTo>
                  <a:lnTo>
                    <a:pt x="514" y="548"/>
                  </a:lnTo>
                  <a:lnTo>
                    <a:pt x="514" y="550"/>
                  </a:lnTo>
                  <a:lnTo>
                    <a:pt x="514" y="550"/>
                  </a:lnTo>
                  <a:lnTo>
                    <a:pt x="512" y="548"/>
                  </a:lnTo>
                  <a:lnTo>
                    <a:pt x="512" y="548"/>
                  </a:lnTo>
                  <a:lnTo>
                    <a:pt x="510" y="548"/>
                  </a:lnTo>
                  <a:lnTo>
                    <a:pt x="510" y="548"/>
                  </a:lnTo>
                  <a:lnTo>
                    <a:pt x="510" y="548"/>
                  </a:lnTo>
                  <a:lnTo>
                    <a:pt x="508" y="548"/>
                  </a:lnTo>
                  <a:lnTo>
                    <a:pt x="508" y="548"/>
                  </a:lnTo>
                  <a:lnTo>
                    <a:pt x="508" y="548"/>
                  </a:lnTo>
                  <a:lnTo>
                    <a:pt x="506" y="550"/>
                  </a:lnTo>
                  <a:lnTo>
                    <a:pt x="506" y="550"/>
                  </a:lnTo>
                  <a:lnTo>
                    <a:pt x="506" y="550"/>
                  </a:lnTo>
                  <a:lnTo>
                    <a:pt x="506" y="552"/>
                  </a:lnTo>
                  <a:lnTo>
                    <a:pt x="506" y="554"/>
                  </a:lnTo>
                  <a:lnTo>
                    <a:pt x="506" y="554"/>
                  </a:lnTo>
                  <a:lnTo>
                    <a:pt x="506" y="554"/>
                  </a:lnTo>
                  <a:lnTo>
                    <a:pt x="506" y="556"/>
                  </a:lnTo>
                  <a:lnTo>
                    <a:pt x="506" y="558"/>
                  </a:lnTo>
                  <a:lnTo>
                    <a:pt x="506" y="560"/>
                  </a:lnTo>
                  <a:lnTo>
                    <a:pt x="506" y="560"/>
                  </a:lnTo>
                  <a:lnTo>
                    <a:pt x="504" y="562"/>
                  </a:lnTo>
                  <a:lnTo>
                    <a:pt x="502" y="564"/>
                  </a:lnTo>
                  <a:lnTo>
                    <a:pt x="500" y="566"/>
                  </a:lnTo>
                  <a:lnTo>
                    <a:pt x="498" y="568"/>
                  </a:lnTo>
                  <a:lnTo>
                    <a:pt x="496" y="570"/>
                  </a:lnTo>
                  <a:lnTo>
                    <a:pt x="494" y="572"/>
                  </a:lnTo>
                  <a:lnTo>
                    <a:pt x="494" y="572"/>
                  </a:lnTo>
                  <a:lnTo>
                    <a:pt x="494" y="572"/>
                  </a:lnTo>
                  <a:lnTo>
                    <a:pt x="494" y="574"/>
                  </a:lnTo>
                  <a:lnTo>
                    <a:pt x="492" y="576"/>
                  </a:lnTo>
                  <a:lnTo>
                    <a:pt x="492" y="576"/>
                  </a:lnTo>
                  <a:lnTo>
                    <a:pt x="492" y="578"/>
                  </a:lnTo>
                  <a:lnTo>
                    <a:pt x="492" y="580"/>
                  </a:lnTo>
                  <a:lnTo>
                    <a:pt x="492" y="580"/>
                  </a:lnTo>
                  <a:lnTo>
                    <a:pt x="492" y="580"/>
                  </a:lnTo>
                  <a:lnTo>
                    <a:pt x="494" y="582"/>
                  </a:lnTo>
                  <a:lnTo>
                    <a:pt x="494" y="582"/>
                  </a:lnTo>
                  <a:lnTo>
                    <a:pt x="494" y="584"/>
                  </a:lnTo>
                  <a:lnTo>
                    <a:pt x="496" y="584"/>
                  </a:lnTo>
                  <a:lnTo>
                    <a:pt x="496" y="584"/>
                  </a:lnTo>
                  <a:lnTo>
                    <a:pt x="496" y="584"/>
                  </a:lnTo>
                  <a:lnTo>
                    <a:pt x="498" y="584"/>
                  </a:lnTo>
                  <a:lnTo>
                    <a:pt x="500" y="586"/>
                  </a:lnTo>
                  <a:lnTo>
                    <a:pt x="500" y="586"/>
                  </a:lnTo>
                  <a:lnTo>
                    <a:pt x="498" y="588"/>
                  </a:lnTo>
                  <a:lnTo>
                    <a:pt x="498" y="588"/>
                  </a:lnTo>
                  <a:lnTo>
                    <a:pt x="498" y="588"/>
                  </a:lnTo>
                  <a:lnTo>
                    <a:pt x="498" y="590"/>
                  </a:lnTo>
                  <a:lnTo>
                    <a:pt x="498" y="590"/>
                  </a:lnTo>
                  <a:lnTo>
                    <a:pt x="496" y="590"/>
                  </a:lnTo>
                  <a:lnTo>
                    <a:pt x="496" y="592"/>
                  </a:lnTo>
                  <a:lnTo>
                    <a:pt x="496" y="594"/>
                  </a:lnTo>
                  <a:lnTo>
                    <a:pt x="496" y="594"/>
                  </a:lnTo>
                  <a:lnTo>
                    <a:pt x="496" y="594"/>
                  </a:lnTo>
                  <a:lnTo>
                    <a:pt x="496" y="596"/>
                  </a:lnTo>
                  <a:lnTo>
                    <a:pt x="494" y="596"/>
                  </a:lnTo>
                  <a:lnTo>
                    <a:pt x="494" y="596"/>
                  </a:lnTo>
                  <a:lnTo>
                    <a:pt x="492" y="598"/>
                  </a:lnTo>
                  <a:lnTo>
                    <a:pt x="490" y="598"/>
                  </a:lnTo>
                  <a:lnTo>
                    <a:pt x="486" y="600"/>
                  </a:lnTo>
                  <a:lnTo>
                    <a:pt x="482" y="600"/>
                  </a:lnTo>
                  <a:lnTo>
                    <a:pt x="482" y="600"/>
                  </a:lnTo>
                  <a:lnTo>
                    <a:pt x="480" y="602"/>
                  </a:lnTo>
                  <a:lnTo>
                    <a:pt x="480" y="604"/>
                  </a:lnTo>
                  <a:lnTo>
                    <a:pt x="480" y="606"/>
                  </a:lnTo>
                  <a:lnTo>
                    <a:pt x="480" y="610"/>
                  </a:lnTo>
                  <a:lnTo>
                    <a:pt x="480" y="612"/>
                  </a:lnTo>
                  <a:lnTo>
                    <a:pt x="480" y="612"/>
                  </a:lnTo>
                  <a:lnTo>
                    <a:pt x="480" y="614"/>
                  </a:lnTo>
                  <a:lnTo>
                    <a:pt x="480" y="616"/>
                  </a:lnTo>
                  <a:lnTo>
                    <a:pt x="478" y="618"/>
                  </a:lnTo>
                  <a:lnTo>
                    <a:pt x="476" y="620"/>
                  </a:lnTo>
                  <a:lnTo>
                    <a:pt x="474" y="622"/>
                  </a:lnTo>
                  <a:lnTo>
                    <a:pt x="470" y="624"/>
                  </a:lnTo>
                  <a:lnTo>
                    <a:pt x="470" y="624"/>
                  </a:lnTo>
                  <a:lnTo>
                    <a:pt x="468" y="626"/>
                  </a:lnTo>
                  <a:lnTo>
                    <a:pt x="468" y="628"/>
                  </a:lnTo>
                  <a:lnTo>
                    <a:pt x="470" y="630"/>
                  </a:lnTo>
                  <a:lnTo>
                    <a:pt x="470" y="632"/>
                  </a:lnTo>
                  <a:lnTo>
                    <a:pt x="470" y="632"/>
                  </a:lnTo>
                  <a:lnTo>
                    <a:pt x="472" y="632"/>
                  </a:lnTo>
                  <a:lnTo>
                    <a:pt x="472" y="634"/>
                  </a:lnTo>
                  <a:lnTo>
                    <a:pt x="474" y="636"/>
                  </a:lnTo>
                  <a:lnTo>
                    <a:pt x="478" y="638"/>
                  </a:lnTo>
                  <a:lnTo>
                    <a:pt x="478" y="638"/>
                  </a:lnTo>
                  <a:lnTo>
                    <a:pt x="476" y="638"/>
                  </a:lnTo>
                  <a:lnTo>
                    <a:pt x="476" y="638"/>
                  </a:lnTo>
                  <a:lnTo>
                    <a:pt x="476" y="640"/>
                  </a:lnTo>
                  <a:lnTo>
                    <a:pt x="474" y="640"/>
                  </a:lnTo>
                  <a:lnTo>
                    <a:pt x="474" y="640"/>
                  </a:lnTo>
                  <a:lnTo>
                    <a:pt x="472" y="640"/>
                  </a:lnTo>
                  <a:lnTo>
                    <a:pt x="472" y="642"/>
                  </a:lnTo>
                  <a:lnTo>
                    <a:pt x="472" y="642"/>
                  </a:lnTo>
                  <a:lnTo>
                    <a:pt x="470" y="642"/>
                  </a:lnTo>
                  <a:lnTo>
                    <a:pt x="470" y="644"/>
                  </a:lnTo>
                  <a:lnTo>
                    <a:pt x="470" y="644"/>
                  </a:lnTo>
                  <a:lnTo>
                    <a:pt x="470" y="644"/>
                  </a:lnTo>
                  <a:lnTo>
                    <a:pt x="468" y="646"/>
                  </a:lnTo>
                  <a:lnTo>
                    <a:pt x="468" y="650"/>
                  </a:lnTo>
                  <a:lnTo>
                    <a:pt x="466" y="652"/>
                  </a:lnTo>
                  <a:lnTo>
                    <a:pt x="466" y="652"/>
                  </a:lnTo>
                  <a:lnTo>
                    <a:pt x="466" y="654"/>
                  </a:lnTo>
                  <a:lnTo>
                    <a:pt x="466" y="658"/>
                  </a:lnTo>
                  <a:lnTo>
                    <a:pt x="466" y="662"/>
                  </a:lnTo>
                  <a:lnTo>
                    <a:pt x="466" y="670"/>
                  </a:lnTo>
                  <a:lnTo>
                    <a:pt x="466" y="674"/>
                  </a:lnTo>
                  <a:lnTo>
                    <a:pt x="466" y="678"/>
                  </a:lnTo>
                  <a:lnTo>
                    <a:pt x="466" y="684"/>
                  </a:lnTo>
                  <a:lnTo>
                    <a:pt x="468" y="688"/>
                  </a:lnTo>
                  <a:lnTo>
                    <a:pt x="468" y="688"/>
                  </a:lnTo>
                  <a:lnTo>
                    <a:pt x="468" y="688"/>
                  </a:lnTo>
                  <a:lnTo>
                    <a:pt x="470" y="690"/>
                  </a:lnTo>
                  <a:lnTo>
                    <a:pt x="470" y="690"/>
                  </a:lnTo>
                  <a:lnTo>
                    <a:pt x="470" y="690"/>
                  </a:lnTo>
                  <a:lnTo>
                    <a:pt x="472" y="690"/>
                  </a:lnTo>
                  <a:lnTo>
                    <a:pt x="472" y="690"/>
                  </a:lnTo>
                  <a:lnTo>
                    <a:pt x="472" y="690"/>
                  </a:lnTo>
                  <a:lnTo>
                    <a:pt x="476" y="690"/>
                  </a:lnTo>
                  <a:lnTo>
                    <a:pt x="478" y="690"/>
                  </a:lnTo>
                  <a:lnTo>
                    <a:pt x="478" y="690"/>
                  </a:lnTo>
                  <a:lnTo>
                    <a:pt x="480" y="696"/>
                  </a:lnTo>
                  <a:lnTo>
                    <a:pt x="482" y="700"/>
                  </a:lnTo>
                  <a:lnTo>
                    <a:pt x="484" y="704"/>
                  </a:lnTo>
                  <a:lnTo>
                    <a:pt x="484" y="704"/>
                  </a:lnTo>
                  <a:lnTo>
                    <a:pt x="484" y="706"/>
                  </a:lnTo>
                  <a:lnTo>
                    <a:pt x="484" y="706"/>
                  </a:lnTo>
                  <a:lnTo>
                    <a:pt x="482" y="706"/>
                  </a:lnTo>
                  <a:lnTo>
                    <a:pt x="482" y="708"/>
                  </a:lnTo>
                  <a:lnTo>
                    <a:pt x="482" y="708"/>
                  </a:lnTo>
                  <a:lnTo>
                    <a:pt x="480" y="708"/>
                  </a:lnTo>
                  <a:lnTo>
                    <a:pt x="480" y="708"/>
                  </a:lnTo>
                  <a:lnTo>
                    <a:pt x="480" y="708"/>
                  </a:lnTo>
                  <a:lnTo>
                    <a:pt x="480" y="710"/>
                  </a:lnTo>
                  <a:lnTo>
                    <a:pt x="480" y="712"/>
                  </a:lnTo>
                  <a:lnTo>
                    <a:pt x="482" y="712"/>
                  </a:lnTo>
                  <a:lnTo>
                    <a:pt x="482" y="714"/>
                  </a:lnTo>
                  <a:lnTo>
                    <a:pt x="484" y="714"/>
                  </a:lnTo>
                  <a:lnTo>
                    <a:pt x="486" y="716"/>
                  </a:lnTo>
                  <a:lnTo>
                    <a:pt x="486" y="718"/>
                  </a:lnTo>
                  <a:lnTo>
                    <a:pt x="486" y="718"/>
                  </a:lnTo>
                  <a:lnTo>
                    <a:pt x="488" y="718"/>
                  </a:lnTo>
                  <a:lnTo>
                    <a:pt x="488" y="722"/>
                  </a:lnTo>
                  <a:lnTo>
                    <a:pt x="488" y="722"/>
                  </a:lnTo>
                  <a:lnTo>
                    <a:pt x="490" y="722"/>
                  </a:lnTo>
                  <a:lnTo>
                    <a:pt x="492" y="724"/>
                  </a:lnTo>
                  <a:lnTo>
                    <a:pt x="492" y="724"/>
                  </a:lnTo>
                  <a:lnTo>
                    <a:pt x="492" y="724"/>
                  </a:lnTo>
                  <a:lnTo>
                    <a:pt x="494" y="726"/>
                  </a:lnTo>
                  <a:lnTo>
                    <a:pt x="494" y="726"/>
                  </a:lnTo>
                  <a:lnTo>
                    <a:pt x="494" y="726"/>
                  </a:lnTo>
                  <a:lnTo>
                    <a:pt x="500" y="730"/>
                  </a:lnTo>
                  <a:lnTo>
                    <a:pt x="500" y="730"/>
                  </a:lnTo>
                  <a:lnTo>
                    <a:pt x="500" y="730"/>
                  </a:lnTo>
                  <a:lnTo>
                    <a:pt x="506" y="732"/>
                  </a:lnTo>
                  <a:lnTo>
                    <a:pt x="506" y="732"/>
                  </a:lnTo>
                  <a:lnTo>
                    <a:pt x="508" y="732"/>
                  </a:lnTo>
                  <a:lnTo>
                    <a:pt x="518" y="732"/>
                  </a:lnTo>
                  <a:lnTo>
                    <a:pt x="528" y="732"/>
                  </a:lnTo>
                  <a:lnTo>
                    <a:pt x="538" y="732"/>
                  </a:lnTo>
                  <a:lnTo>
                    <a:pt x="544" y="732"/>
                  </a:lnTo>
                  <a:lnTo>
                    <a:pt x="548" y="730"/>
                  </a:lnTo>
                  <a:lnTo>
                    <a:pt x="548" y="730"/>
                  </a:lnTo>
                  <a:lnTo>
                    <a:pt x="550" y="730"/>
                  </a:lnTo>
                  <a:lnTo>
                    <a:pt x="550" y="730"/>
                  </a:lnTo>
                  <a:lnTo>
                    <a:pt x="550" y="730"/>
                  </a:lnTo>
                  <a:lnTo>
                    <a:pt x="552" y="726"/>
                  </a:lnTo>
                  <a:lnTo>
                    <a:pt x="552" y="726"/>
                  </a:lnTo>
                  <a:lnTo>
                    <a:pt x="552" y="726"/>
                  </a:lnTo>
                  <a:lnTo>
                    <a:pt x="552" y="724"/>
                  </a:lnTo>
                  <a:lnTo>
                    <a:pt x="552" y="724"/>
                  </a:lnTo>
                  <a:lnTo>
                    <a:pt x="552" y="724"/>
                  </a:lnTo>
                  <a:lnTo>
                    <a:pt x="552" y="722"/>
                  </a:lnTo>
                  <a:lnTo>
                    <a:pt x="550" y="722"/>
                  </a:lnTo>
                  <a:lnTo>
                    <a:pt x="548" y="718"/>
                  </a:lnTo>
                  <a:lnTo>
                    <a:pt x="546" y="716"/>
                  </a:lnTo>
                  <a:lnTo>
                    <a:pt x="546" y="714"/>
                  </a:lnTo>
                  <a:lnTo>
                    <a:pt x="544" y="710"/>
                  </a:lnTo>
                  <a:lnTo>
                    <a:pt x="542" y="706"/>
                  </a:lnTo>
                  <a:lnTo>
                    <a:pt x="540" y="696"/>
                  </a:lnTo>
                  <a:lnTo>
                    <a:pt x="538" y="692"/>
                  </a:lnTo>
                  <a:lnTo>
                    <a:pt x="536" y="688"/>
                  </a:lnTo>
                  <a:lnTo>
                    <a:pt x="536" y="688"/>
                  </a:lnTo>
                  <a:lnTo>
                    <a:pt x="536" y="688"/>
                  </a:lnTo>
                  <a:lnTo>
                    <a:pt x="532" y="684"/>
                  </a:lnTo>
                  <a:lnTo>
                    <a:pt x="532" y="684"/>
                  </a:lnTo>
                  <a:lnTo>
                    <a:pt x="532" y="684"/>
                  </a:lnTo>
                  <a:lnTo>
                    <a:pt x="530" y="682"/>
                  </a:lnTo>
                  <a:lnTo>
                    <a:pt x="528" y="680"/>
                  </a:lnTo>
                  <a:lnTo>
                    <a:pt x="528" y="676"/>
                  </a:lnTo>
                  <a:lnTo>
                    <a:pt x="528" y="676"/>
                  </a:lnTo>
                  <a:lnTo>
                    <a:pt x="526" y="674"/>
                  </a:lnTo>
                  <a:lnTo>
                    <a:pt x="526" y="672"/>
                  </a:lnTo>
                  <a:lnTo>
                    <a:pt x="526" y="670"/>
                  </a:lnTo>
                  <a:lnTo>
                    <a:pt x="526" y="670"/>
                  </a:lnTo>
                  <a:lnTo>
                    <a:pt x="526" y="668"/>
                  </a:lnTo>
                  <a:lnTo>
                    <a:pt x="526" y="666"/>
                  </a:lnTo>
                  <a:lnTo>
                    <a:pt x="528" y="664"/>
                  </a:lnTo>
                  <a:lnTo>
                    <a:pt x="528" y="662"/>
                  </a:lnTo>
                  <a:lnTo>
                    <a:pt x="528" y="660"/>
                  </a:lnTo>
                  <a:lnTo>
                    <a:pt x="528" y="660"/>
                  </a:lnTo>
                  <a:lnTo>
                    <a:pt x="528" y="660"/>
                  </a:lnTo>
                  <a:lnTo>
                    <a:pt x="528" y="654"/>
                  </a:lnTo>
                  <a:lnTo>
                    <a:pt x="528" y="650"/>
                  </a:lnTo>
                  <a:lnTo>
                    <a:pt x="528" y="640"/>
                  </a:lnTo>
                  <a:lnTo>
                    <a:pt x="526" y="632"/>
                  </a:lnTo>
                  <a:lnTo>
                    <a:pt x="526" y="626"/>
                  </a:lnTo>
                  <a:lnTo>
                    <a:pt x="528" y="620"/>
                  </a:lnTo>
                  <a:lnTo>
                    <a:pt x="528" y="620"/>
                  </a:lnTo>
                  <a:lnTo>
                    <a:pt x="528" y="616"/>
                  </a:lnTo>
                  <a:lnTo>
                    <a:pt x="530" y="614"/>
                  </a:lnTo>
                  <a:lnTo>
                    <a:pt x="532" y="612"/>
                  </a:lnTo>
                  <a:lnTo>
                    <a:pt x="532" y="610"/>
                  </a:lnTo>
                  <a:lnTo>
                    <a:pt x="536" y="608"/>
                  </a:lnTo>
                  <a:lnTo>
                    <a:pt x="538" y="606"/>
                  </a:lnTo>
                  <a:lnTo>
                    <a:pt x="538" y="606"/>
                  </a:lnTo>
                  <a:lnTo>
                    <a:pt x="540" y="604"/>
                  </a:lnTo>
                  <a:lnTo>
                    <a:pt x="540" y="600"/>
                  </a:lnTo>
                  <a:lnTo>
                    <a:pt x="542" y="598"/>
                  </a:lnTo>
                  <a:lnTo>
                    <a:pt x="542" y="592"/>
                  </a:lnTo>
                  <a:lnTo>
                    <a:pt x="542" y="590"/>
                  </a:lnTo>
                  <a:lnTo>
                    <a:pt x="544" y="588"/>
                  </a:lnTo>
                  <a:lnTo>
                    <a:pt x="546" y="586"/>
                  </a:lnTo>
                  <a:lnTo>
                    <a:pt x="548" y="584"/>
                  </a:lnTo>
                  <a:lnTo>
                    <a:pt x="548" y="584"/>
                  </a:lnTo>
                  <a:lnTo>
                    <a:pt x="550" y="582"/>
                  </a:lnTo>
                  <a:lnTo>
                    <a:pt x="552" y="574"/>
                  </a:lnTo>
                  <a:lnTo>
                    <a:pt x="556" y="568"/>
                  </a:lnTo>
                  <a:lnTo>
                    <a:pt x="560" y="560"/>
                  </a:lnTo>
                  <a:lnTo>
                    <a:pt x="562" y="556"/>
                  </a:lnTo>
                  <a:lnTo>
                    <a:pt x="562" y="552"/>
                  </a:lnTo>
                  <a:lnTo>
                    <a:pt x="562" y="552"/>
                  </a:lnTo>
                  <a:lnTo>
                    <a:pt x="562" y="550"/>
                  </a:lnTo>
                  <a:lnTo>
                    <a:pt x="564" y="546"/>
                  </a:lnTo>
                  <a:lnTo>
                    <a:pt x="564" y="544"/>
                  </a:lnTo>
                  <a:lnTo>
                    <a:pt x="564" y="540"/>
                  </a:lnTo>
                  <a:lnTo>
                    <a:pt x="564" y="540"/>
                  </a:lnTo>
                  <a:lnTo>
                    <a:pt x="566" y="540"/>
                  </a:lnTo>
                  <a:lnTo>
                    <a:pt x="568" y="538"/>
                  </a:lnTo>
                  <a:lnTo>
                    <a:pt x="570" y="538"/>
                  </a:lnTo>
                  <a:lnTo>
                    <a:pt x="574" y="538"/>
                  </a:lnTo>
                  <a:lnTo>
                    <a:pt x="578" y="538"/>
                  </a:lnTo>
                  <a:lnTo>
                    <a:pt x="578" y="538"/>
                  </a:lnTo>
                  <a:lnTo>
                    <a:pt x="580" y="538"/>
                  </a:lnTo>
                  <a:lnTo>
                    <a:pt x="582" y="536"/>
                  </a:lnTo>
                  <a:lnTo>
                    <a:pt x="582" y="536"/>
                  </a:lnTo>
                  <a:lnTo>
                    <a:pt x="582" y="534"/>
                  </a:lnTo>
                  <a:lnTo>
                    <a:pt x="584" y="532"/>
                  </a:lnTo>
                  <a:lnTo>
                    <a:pt x="586" y="530"/>
                  </a:lnTo>
                  <a:lnTo>
                    <a:pt x="586" y="528"/>
                  </a:lnTo>
                  <a:lnTo>
                    <a:pt x="588" y="528"/>
                  </a:lnTo>
                  <a:lnTo>
                    <a:pt x="588" y="526"/>
                  </a:lnTo>
                  <a:lnTo>
                    <a:pt x="590" y="524"/>
                  </a:lnTo>
                  <a:lnTo>
                    <a:pt x="592" y="524"/>
                  </a:lnTo>
                  <a:lnTo>
                    <a:pt x="592" y="524"/>
                  </a:lnTo>
                  <a:lnTo>
                    <a:pt x="594" y="522"/>
                  </a:lnTo>
                  <a:lnTo>
                    <a:pt x="594" y="520"/>
                  </a:lnTo>
                  <a:lnTo>
                    <a:pt x="596" y="516"/>
                  </a:lnTo>
                  <a:lnTo>
                    <a:pt x="596" y="508"/>
                  </a:lnTo>
                  <a:lnTo>
                    <a:pt x="598" y="504"/>
                  </a:lnTo>
                  <a:lnTo>
                    <a:pt x="600" y="502"/>
                  </a:lnTo>
                  <a:lnTo>
                    <a:pt x="600" y="500"/>
                  </a:lnTo>
                  <a:lnTo>
                    <a:pt x="602" y="498"/>
                  </a:lnTo>
                  <a:lnTo>
                    <a:pt x="602" y="498"/>
                  </a:lnTo>
                  <a:lnTo>
                    <a:pt x="604" y="498"/>
                  </a:lnTo>
                  <a:lnTo>
                    <a:pt x="608" y="496"/>
                  </a:lnTo>
                  <a:lnTo>
                    <a:pt x="614" y="494"/>
                  </a:lnTo>
                  <a:lnTo>
                    <a:pt x="616" y="494"/>
                  </a:lnTo>
                  <a:lnTo>
                    <a:pt x="618" y="494"/>
                  </a:lnTo>
                  <a:lnTo>
                    <a:pt x="620" y="494"/>
                  </a:lnTo>
                  <a:lnTo>
                    <a:pt x="620" y="494"/>
                  </a:lnTo>
                  <a:lnTo>
                    <a:pt x="620" y="494"/>
                  </a:lnTo>
                  <a:lnTo>
                    <a:pt x="622" y="492"/>
                  </a:lnTo>
                  <a:lnTo>
                    <a:pt x="626" y="488"/>
                  </a:lnTo>
                  <a:lnTo>
                    <a:pt x="628" y="486"/>
                  </a:lnTo>
                  <a:lnTo>
                    <a:pt x="630" y="484"/>
                  </a:lnTo>
                  <a:lnTo>
                    <a:pt x="632" y="482"/>
                  </a:lnTo>
                  <a:lnTo>
                    <a:pt x="634" y="478"/>
                  </a:lnTo>
                  <a:lnTo>
                    <a:pt x="634" y="476"/>
                  </a:lnTo>
                  <a:lnTo>
                    <a:pt x="636" y="476"/>
                  </a:lnTo>
                  <a:lnTo>
                    <a:pt x="636" y="474"/>
                  </a:lnTo>
                  <a:lnTo>
                    <a:pt x="638" y="474"/>
                  </a:lnTo>
                  <a:lnTo>
                    <a:pt x="640" y="474"/>
                  </a:lnTo>
                  <a:lnTo>
                    <a:pt x="644" y="474"/>
                  </a:lnTo>
                  <a:lnTo>
                    <a:pt x="646" y="472"/>
                  </a:lnTo>
                  <a:lnTo>
                    <a:pt x="652" y="472"/>
                  </a:lnTo>
                  <a:lnTo>
                    <a:pt x="658" y="472"/>
                  </a:lnTo>
                  <a:lnTo>
                    <a:pt x="658" y="472"/>
                  </a:lnTo>
                  <a:lnTo>
                    <a:pt x="658" y="472"/>
                  </a:lnTo>
                  <a:lnTo>
                    <a:pt x="668" y="466"/>
                  </a:lnTo>
                  <a:lnTo>
                    <a:pt x="678" y="460"/>
                  </a:lnTo>
                  <a:lnTo>
                    <a:pt x="690" y="454"/>
                  </a:lnTo>
                  <a:lnTo>
                    <a:pt x="694" y="450"/>
                  </a:lnTo>
                  <a:lnTo>
                    <a:pt x="700" y="446"/>
                  </a:lnTo>
                  <a:lnTo>
                    <a:pt x="704" y="444"/>
                  </a:lnTo>
                  <a:lnTo>
                    <a:pt x="708" y="440"/>
                  </a:lnTo>
                  <a:lnTo>
                    <a:pt x="716" y="430"/>
                  </a:lnTo>
                  <a:lnTo>
                    <a:pt x="718" y="426"/>
                  </a:lnTo>
                  <a:lnTo>
                    <a:pt x="722" y="422"/>
                  </a:lnTo>
                  <a:lnTo>
                    <a:pt x="724" y="420"/>
                  </a:lnTo>
                  <a:lnTo>
                    <a:pt x="726" y="418"/>
                  </a:lnTo>
                  <a:lnTo>
                    <a:pt x="724" y="416"/>
                  </a:lnTo>
                  <a:lnTo>
                    <a:pt x="724" y="416"/>
                  </a:lnTo>
                  <a:lnTo>
                    <a:pt x="724" y="416"/>
                  </a:lnTo>
                  <a:lnTo>
                    <a:pt x="726" y="412"/>
                  </a:lnTo>
                  <a:lnTo>
                    <a:pt x="726" y="408"/>
                  </a:lnTo>
                  <a:lnTo>
                    <a:pt x="726" y="408"/>
                  </a:lnTo>
                  <a:lnTo>
                    <a:pt x="722" y="406"/>
                  </a:lnTo>
                  <a:lnTo>
                    <a:pt x="720" y="404"/>
                  </a:lnTo>
                  <a:lnTo>
                    <a:pt x="716" y="400"/>
                  </a:lnTo>
                  <a:lnTo>
                    <a:pt x="712" y="398"/>
                  </a:lnTo>
                  <a:lnTo>
                    <a:pt x="708" y="396"/>
                  </a:lnTo>
                  <a:lnTo>
                    <a:pt x="704" y="392"/>
                  </a:lnTo>
                  <a:lnTo>
                    <a:pt x="702" y="392"/>
                  </a:lnTo>
                  <a:lnTo>
                    <a:pt x="702" y="392"/>
                  </a:lnTo>
                  <a:lnTo>
                    <a:pt x="702" y="392"/>
                  </a:lnTo>
                  <a:lnTo>
                    <a:pt x="698" y="390"/>
                  </a:lnTo>
                  <a:lnTo>
                    <a:pt x="694" y="390"/>
                  </a:lnTo>
                  <a:lnTo>
                    <a:pt x="694" y="390"/>
                  </a:lnTo>
                  <a:lnTo>
                    <a:pt x="694" y="390"/>
                  </a:lnTo>
                  <a:lnTo>
                    <a:pt x="688" y="390"/>
                  </a:lnTo>
                  <a:lnTo>
                    <a:pt x="688" y="390"/>
                  </a:lnTo>
                  <a:lnTo>
                    <a:pt x="688" y="390"/>
                  </a:lnTo>
                  <a:lnTo>
                    <a:pt x="682" y="390"/>
                  </a:lnTo>
                  <a:lnTo>
                    <a:pt x="682" y="390"/>
                  </a:lnTo>
                  <a:lnTo>
                    <a:pt x="682" y="390"/>
                  </a:lnTo>
                  <a:lnTo>
                    <a:pt x="678" y="392"/>
                  </a:lnTo>
                  <a:lnTo>
                    <a:pt x="678" y="392"/>
                  </a:lnTo>
                  <a:lnTo>
                    <a:pt x="676" y="392"/>
                  </a:lnTo>
                  <a:lnTo>
                    <a:pt x="674" y="396"/>
                  </a:lnTo>
                  <a:lnTo>
                    <a:pt x="672" y="398"/>
                  </a:lnTo>
                  <a:lnTo>
                    <a:pt x="668" y="404"/>
                  </a:lnTo>
                  <a:lnTo>
                    <a:pt x="666" y="406"/>
                  </a:lnTo>
                  <a:lnTo>
                    <a:pt x="666" y="408"/>
                  </a:lnTo>
                  <a:lnTo>
                    <a:pt x="664" y="410"/>
                  </a:lnTo>
                  <a:lnTo>
                    <a:pt x="664" y="410"/>
                  </a:lnTo>
                  <a:lnTo>
                    <a:pt x="664" y="410"/>
                  </a:lnTo>
                  <a:lnTo>
                    <a:pt x="664" y="414"/>
                  </a:lnTo>
                  <a:lnTo>
                    <a:pt x="664" y="416"/>
                  </a:lnTo>
                  <a:lnTo>
                    <a:pt x="664" y="418"/>
                  </a:lnTo>
                  <a:lnTo>
                    <a:pt x="664" y="418"/>
                  </a:lnTo>
                  <a:close/>
                  <a:moveTo>
                    <a:pt x="360" y="128"/>
                  </a:moveTo>
                  <a:lnTo>
                    <a:pt x="362" y="128"/>
                  </a:lnTo>
                  <a:lnTo>
                    <a:pt x="362" y="128"/>
                  </a:lnTo>
                  <a:lnTo>
                    <a:pt x="362" y="130"/>
                  </a:lnTo>
                  <a:lnTo>
                    <a:pt x="364" y="130"/>
                  </a:lnTo>
                  <a:lnTo>
                    <a:pt x="366" y="132"/>
                  </a:lnTo>
                  <a:lnTo>
                    <a:pt x="366" y="132"/>
                  </a:lnTo>
                  <a:lnTo>
                    <a:pt x="368" y="132"/>
                  </a:lnTo>
                  <a:lnTo>
                    <a:pt x="372" y="134"/>
                  </a:lnTo>
                  <a:lnTo>
                    <a:pt x="374" y="134"/>
                  </a:lnTo>
                  <a:lnTo>
                    <a:pt x="378" y="134"/>
                  </a:lnTo>
                  <a:lnTo>
                    <a:pt x="378" y="134"/>
                  </a:lnTo>
                  <a:lnTo>
                    <a:pt x="380" y="134"/>
                  </a:lnTo>
                  <a:lnTo>
                    <a:pt x="384" y="132"/>
                  </a:lnTo>
                  <a:lnTo>
                    <a:pt x="386" y="130"/>
                  </a:lnTo>
                  <a:lnTo>
                    <a:pt x="388" y="128"/>
                  </a:lnTo>
                  <a:lnTo>
                    <a:pt x="390" y="126"/>
                  </a:lnTo>
                  <a:lnTo>
                    <a:pt x="392" y="126"/>
                  </a:lnTo>
                  <a:lnTo>
                    <a:pt x="394" y="124"/>
                  </a:lnTo>
                  <a:lnTo>
                    <a:pt x="396" y="124"/>
                  </a:lnTo>
                  <a:lnTo>
                    <a:pt x="396" y="124"/>
                  </a:lnTo>
                  <a:lnTo>
                    <a:pt x="396" y="126"/>
                  </a:lnTo>
                  <a:lnTo>
                    <a:pt x="394" y="128"/>
                  </a:lnTo>
                  <a:lnTo>
                    <a:pt x="392" y="134"/>
                  </a:lnTo>
                  <a:lnTo>
                    <a:pt x="390" y="136"/>
                  </a:lnTo>
                  <a:lnTo>
                    <a:pt x="390" y="138"/>
                  </a:lnTo>
                  <a:lnTo>
                    <a:pt x="388" y="142"/>
                  </a:lnTo>
                  <a:lnTo>
                    <a:pt x="388" y="144"/>
                  </a:lnTo>
                  <a:lnTo>
                    <a:pt x="386" y="148"/>
                  </a:lnTo>
                  <a:lnTo>
                    <a:pt x="386" y="148"/>
                  </a:lnTo>
                  <a:lnTo>
                    <a:pt x="386" y="148"/>
                  </a:lnTo>
                  <a:lnTo>
                    <a:pt x="386" y="150"/>
                  </a:lnTo>
                  <a:lnTo>
                    <a:pt x="386" y="150"/>
                  </a:lnTo>
                  <a:lnTo>
                    <a:pt x="386" y="152"/>
                  </a:lnTo>
                  <a:lnTo>
                    <a:pt x="386" y="154"/>
                  </a:lnTo>
                  <a:lnTo>
                    <a:pt x="386" y="154"/>
                  </a:lnTo>
                  <a:lnTo>
                    <a:pt x="388" y="154"/>
                  </a:lnTo>
                  <a:lnTo>
                    <a:pt x="388" y="156"/>
                  </a:lnTo>
                  <a:lnTo>
                    <a:pt x="388" y="156"/>
                  </a:lnTo>
                  <a:lnTo>
                    <a:pt x="388" y="158"/>
                  </a:lnTo>
                  <a:lnTo>
                    <a:pt x="390" y="160"/>
                  </a:lnTo>
                  <a:lnTo>
                    <a:pt x="392" y="162"/>
                  </a:lnTo>
                  <a:lnTo>
                    <a:pt x="396" y="166"/>
                  </a:lnTo>
                  <a:lnTo>
                    <a:pt x="396" y="166"/>
                  </a:lnTo>
                  <a:lnTo>
                    <a:pt x="398" y="168"/>
                  </a:lnTo>
                  <a:lnTo>
                    <a:pt x="402" y="168"/>
                  </a:lnTo>
                  <a:lnTo>
                    <a:pt x="406" y="170"/>
                  </a:lnTo>
                  <a:lnTo>
                    <a:pt x="408" y="170"/>
                  </a:lnTo>
                  <a:lnTo>
                    <a:pt x="412" y="172"/>
                  </a:lnTo>
                  <a:lnTo>
                    <a:pt x="414" y="172"/>
                  </a:lnTo>
                  <a:lnTo>
                    <a:pt x="414" y="172"/>
                  </a:lnTo>
                  <a:lnTo>
                    <a:pt x="414" y="172"/>
                  </a:lnTo>
                  <a:lnTo>
                    <a:pt x="416" y="172"/>
                  </a:lnTo>
                  <a:lnTo>
                    <a:pt x="416" y="172"/>
                  </a:lnTo>
                  <a:lnTo>
                    <a:pt x="418" y="170"/>
                  </a:lnTo>
                  <a:lnTo>
                    <a:pt x="418" y="170"/>
                  </a:lnTo>
                  <a:lnTo>
                    <a:pt x="418" y="170"/>
                  </a:lnTo>
                  <a:lnTo>
                    <a:pt x="420" y="170"/>
                  </a:lnTo>
                  <a:lnTo>
                    <a:pt x="422" y="170"/>
                  </a:lnTo>
                  <a:lnTo>
                    <a:pt x="422" y="170"/>
                  </a:lnTo>
                  <a:lnTo>
                    <a:pt x="422" y="168"/>
                  </a:lnTo>
                  <a:lnTo>
                    <a:pt x="422" y="168"/>
                  </a:lnTo>
                  <a:lnTo>
                    <a:pt x="422" y="168"/>
                  </a:lnTo>
                  <a:lnTo>
                    <a:pt x="422" y="166"/>
                  </a:lnTo>
                  <a:lnTo>
                    <a:pt x="424" y="164"/>
                  </a:lnTo>
                  <a:lnTo>
                    <a:pt x="424" y="162"/>
                  </a:lnTo>
                  <a:lnTo>
                    <a:pt x="426" y="160"/>
                  </a:lnTo>
                  <a:lnTo>
                    <a:pt x="426" y="156"/>
                  </a:lnTo>
                  <a:lnTo>
                    <a:pt x="426" y="152"/>
                  </a:lnTo>
                  <a:lnTo>
                    <a:pt x="426" y="148"/>
                  </a:lnTo>
                  <a:lnTo>
                    <a:pt x="426" y="146"/>
                  </a:lnTo>
                  <a:lnTo>
                    <a:pt x="428" y="146"/>
                  </a:lnTo>
                  <a:lnTo>
                    <a:pt x="432" y="146"/>
                  </a:lnTo>
                  <a:lnTo>
                    <a:pt x="434" y="146"/>
                  </a:lnTo>
                  <a:lnTo>
                    <a:pt x="436" y="144"/>
                  </a:lnTo>
                  <a:lnTo>
                    <a:pt x="438" y="144"/>
                  </a:lnTo>
                  <a:lnTo>
                    <a:pt x="440" y="144"/>
                  </a:lnTo>
                  <a:lnTo>
                    <a:pt x="440" y="144"/>
                  </a:lnTo>
                  <a:lnTo>
                    <a:pt x="440" y="144"/>
                  </a:lnTo>
                  <a:lnTo>
                    <a:pt x="442" y="142"/>
                  </a:lnTo>
                  <a:lnTo>
                    <a:pt x="442" y="142"/>
                  </a:lnTo>
                  <a:lnTo>
                    <a:pt x="444" y="142"/>
                  </a:lnTo>
                  <a:lnTo>
                    <a:pt x="446" y="140"/>
                  </a:lnTo>
                  <a:lnTo>
                    <a:pt x="446" y="140"/>
                  </a:lnTo>
                  <a:lnTo>
                    <a:pt x="446" y="140"/>
                  </a:lnTo>
                  <a:lnTo>
                    <a:pt x="446" y="136"/>
                  </a:lnTo>
                  <a:lnTo>
                    <a:pt x="448" y="134"/>
                  </a:lnTo>
                  <a:lnTo>
                    <a:pt x="448" y="132"/>
                  </a:lnTo>
                  <a:lnTo>
                    <a:pt x="448" y="128"/>
                  </a:lnTo>
                  <a:lnTo>
                    <a:pt x="450" y="126"/>
                  </a:lnTo>
                  <a:lnTo>
                    <a:pt x="450" y="126"/>
                  </a:lnTo>
                  <a:lnTo>
                    <a:pt x="452" y="126"/>
                  </a:lnTo>
                  <a:lnTo>
                    <a:pt x="456" y="124"/>
                  </a:lnTo>
                  <a:lnTo>
                    <a:pt x="458" y="124"/>
                  </a:lnTo>
                  <a:lnTo>
                    <a:pt x="460" y="124"/>
                  </a:lnTo>
                  <a:lnTo>
                    <a:pt x="462" y="122"/>
                  </a:lnTo>
                  <a:lnTo>
                    <a:pt x="462" y="122"/>
                  </a:lnTo>
                  <a:lnTo>
                    <a:pt x="464" y="122"/>
                  </a:lnTo>
                  <a:lnTo>
                    <a:pt x="464" y="120"/>
                  </a:lnTo>
                  <a:lnTo>
                    <a:pt x="464" y="120"/>
                  </a:lnTo>
                  <a:lnTo>
                    <a:pt x="466" y="120"/>
                  </a:lnTo>
                  <a:lnTo>
                    <a:pt x="466" y="118"/>
                  </a:lnTo>
                  <a:lnTo>
                    <a:pt x="466" y="118"/>
                  </a:lnTo>
                  <a:lnTo>
                    <a:pt x="466" y="118"/>
                  </a:lnTo>
                  <a:lnTo>
                    <a:pt x="468" y="116"/>
                  </a:lnTo>
                  <a:lnTo>
                    <a:pt x="468" y="116"/>
                  </a:lnTo>
                  <a:lnTo>
                    <a:pt x="468" y="116"/>
                  </a:lnTo>
                  <a:lnTo>
                    <a:pt x="468" y="112"/>
                  </a:lnTo>
                  <a:lnTo>
                    <a:pt x="470" y="108"/>
                  </a:lnTo>
                  <a:lnTo>
                    <a:pt x="470" y="108"/>
                  </a:lnTo>
                  <a:lnTo>
                    <a:pt x="470" y="106"/>
                  </a:lnTo>
                  <a:lnTo>
                    <a:pt x="468" y="104"/>
                  </a:lnTo>
                  <a:lnTo>
                    <a:pt x="464" y="104"/>
                  </a:lnTo>
                  <a:lnTo>
                    <a:pt x="462" y="102"/>
                  </a:lnTo>
                  <a:lnTo>
                    <a:pt x="460" y="100"/>
                  </a:lnTo>
                  <a:lnTo>
                    <a:pt x="458" y="98"/>
                  </a:lnTo>
                  <a:lnTo>
                    <a:pt x="456" y="94"/>
                  </a:lnTo>
                  <a:lnTo>
                    <a:pt x="454" y="92"/>
                  </a:lnTo>
                  <a:lnTo>
                    <a:pt x="452" y="88"/>
                  </a:lnTo>
                  <a:lnTo>
                    <a:pt x="452" y="88"/>
                  </a:lnTo>
                  <a:lnTo>
                    <a:pt x="448" y="88"/>
                  </a:lnTo>
                  <a:lnTo>
                    <a:pt x="444" y="88"/>
                  </a:lnTo>
                  <a:lnTo>
                    <a:pt x="442" y="90"/>
                  </a:lnTo>
                  <a:lnTo>
                    <a:pt x="442" y="90"/>
                  </a:lnTo>
                  <a:lnTo>
                    <a:pt x="442" y="90"/>
                  </a:lnTo>
                  <a:lnTo>
                    <a:pt x="440" y="90"/>
                  </a:lnTo>
                  <a:lnTo>
                    <a:pt x="440" y="90"/>
                  </a:lnTo>
                  <a:lnTo>
                    <a:pt x="440" y="92"/>
                  </a:lnTo>
                  <a:lnTo>
                    <a:pt x="440" y="92"/>
                  </a:lnTo>
                  <a:lnTo>
                    <a:pt x="440" y="92"/>
                  </a:lnTo>
                  <a:lnTo>
                    <a:pt x="438" y="94"/>
                  </a:lnTo>
                  <a:lnTo>
                    <a:pt x="438" y="94"/>
                  </a:lnTo>
                  <a:lnTo>
                    <a:pt x="438" y="94"/>
                  </a:lnTo>
                  <a:lnTo>
                    <a:pt x="438" y="94"/>
                  </a:lnTo>
                  <a:lnTo>
                    <a:pt x="438" y="94"/>
                  </a:lnTo>
                  <a:lnTo>
                    <a:pt x="436" y="94"/>
                  </a:lnTo>
                  <a:lnTo>
                    <a:pt x="434" y="96"/>
                  </a:lnTo>
                  <a:lnTo>
                    <a:pt x="430" y="96"/>
                  </a:lnTo>
                  <a:lnTo>
                    <a:pt x="428" y="96"/>
                  </a:lnTo>
                  <a:lnTo>
                    <a:pt x="426" y="96"/>
                  </a:lnTo>
                  <a:lnTo>
                    <a:pt x="422" y="96"/>
                  </a:lnTo>
                  <a:lnTo>
                    <a:pt x="418" y="96"/>
                  </a:lnTo>
                  <a:lnTo>
                    <a:pt x="414" y="96"/>
                  </a:lnTo>
                  <a:lnTo>
                    <a:pt x="412" y="94"/>
                  </a:lnTo>
                  <a:lnTo>
                    <a:pt x="408" y="94"/>
                  </a:lnTo>
                  <a:lnTo>
                    <a:pt x="408" y="94"/>
                  </a:lnTo>
                  <a:lnTo>
                    <a:pt x="408" y="92"/>
                  </a:lnTo>
                  <a:lnTo>
                    <a:pt x="406" y="92"/>
                  </a:lnTo>
                  <a:lnTo>
                    <a:pt x="406" y="92"/>
                  </a:lnTo>
                  <a:lnTo>
                    <a:pt x="406" y="92"/>
                  </a:lnTo>
                  <a:lnTo>
                    <a:pt x="402" y="92"/>
                  </a:lnTo>
                  <a:lnTo>
                    <a:pt x="402" y="92"/>
                  </a:lnTo>
                  <a:lnTo>
                    <a:pt x="402" y="94"/>
                  </a:lnTo>
                  <a:lnTo>
                    <a:pt x="400" y="94"/>
                  </a:lnTo>
                  <a:lnTo>
                    <a:pt x="400" y="94"/>
                  </a:lnTo>
                  <a:lnTo>
                    <a:pt x="400" y="94"/>
                  </a:lnTo>
                  <a:lnTo>
                    <a:pt x="396" y="98"/>
                  </a:lnTo>
                  <a:lnTo>
                    <a:pt x="396" y="100"/>
                  </a:lnTo>
                  <a:lnTo>
                    <a:pt x="394" y="102"/>
                  </a:lnTo>
                  <a:lnTo>
                    <a:pt x="394" y="102"/>
                  </a:lnTo>
                  <a:lnTo>
                    <a:pt x="394" y="102"/>
                  </a:lnTo>
                  <a:lnTo>
                    <a:pt x="392" y="102"/>
                  </a:lnTo>
                  <a:lnTo>
                    <a:pt x="390" y="104"/>
                  </a:lnTo>
                  <a:lnTo>
                    <a:pt x="386" y="106"/>
                  </a:lnTo>
                  <a:lnTo>
                    <a:pt x="384" y="108"/>
                  </a:lnTo>
                  <a:lnTo>
                    <a:pt x="380" y="110"/>
                  </a:lnTo>
                  <a:lnTo>
                    <a:pt x="376" y="110"/>
                  </a:lnTo>
                  <a:lnTo>
                    <a:pt x="372" y="110"/>
                  </a:lnTo>
                  <a:lnTo>
                    <a:pt x="368" y="110"/>
                  </a:lnTo>
                  <a:lnTo>
                    <a:pt x="368" y="110"/>
                  </a:lnTo>
                  <a:lnTo>
                    <a:pt x="366" y="112"/>
                  </a:lnTo>
                  <a:lnTo>
                    <a:pt x="366" y="112"/>
                  </a:lnTo>
                  <a:lnTo>
                    <a:pt x="366" y="112"/>
                  </a:lnTo>
                  <a:lnTo>
                    <a:pt x="364" y="114"/>
                  </a:lnTo>
                  <a:lnTo>
                    <a:pt x="364" y="116"/>
                  </a:lnTo>
                  <a:lnTo>
                    <a:pt x="362" y="118"/>
                  </a:lnTo>
                  <a:lnTo>
                    <a:pt x="360" y="120"/>
                  </a:lnTo>
                  <a:lnTo>
                    <a:pt x="358" y="120"/>
                  </a:lnTo>
                  <a:lnTo>
                    <a:pt x="358" y="120"/>
                  </a:lnTo>
                  <a:lnTo>
                    <a:pt x="358" y="122"/>
                  </a:lnTo>
                  <a:lnTo>
                    <a:pt x="358" y="122"/>
                  </a:lnTo>
                  <a:lnTo>
                    <a:pt x="358" y="124"/>
                  </a:lnTo>
                  <a:lnTo>
                    <a:pt x="360" y="128"/>
                  </a:lnTo>
                  <a:close/>
                  <a:moveTo>
                    <a:pt x="548" y="10"/>
                  </a:moveTo>
                  <a:lnTo>
                    <a:pt x="550" y="14"/>
                  </a:lnTo>
                  <a:lnTo>
                    <a:pt x="550" y="14"/>
                  </a:lnTo>
                  <a:lnTo>
                    <a:pt x="550" y="16"/>
                  </a:lnTo>
                  <a:lnTo>
                    <a:pt x="552" y="20"/>
                  </a:lnTo>
                  <a:lnTo>
                    <a:pt x="552" y="20"/>
                  </a:lnTo>
                  <a:lnTo>
                    <a:pt x="552" y="20"/>
                  </a:lnTo>
                  <a:lnTo>
                    <a:pt x="554" y="22"/>
                  </a:lnTo>
                  <a:lnTo>
                    <a:pt x="556" y="24"/>
                  </a:lnTo>
                  <a:lnTo>
                    <a:pt x="556" y="24"/>
                  </a:lnTo>
                  <a:lnTo>
                    <a:pt x="558" y="26"/>
                  </a:lnTo>
                  <a:lnTo>
                    <a:pt x="558" y="26"/>
                  </a:lnTo>
                  <a:lnTo>
                    <a:pt x="560" y="26"/>
                  </a:lnTo>
                  <a:lnTo>
                    <a:pt x="562" y="24"/>
                  </a:lnTo>
                  <a:lnTo>
                    <a:pt x="564" y="24"/>
                  </a:lnTo>
                  <a:lnTo>
                    <a:pt x="568" y="24"/>
                  </a:lnTo>
                  <a:lnTo>
                    <a:pt x="570" y="22"/>
                  </a:lnTo>
                  <a:lnTo>
                    <a:pt x="570" y="22"/>
                  </a:lnTo>
                  <a:lnTo>
                    <a:pt x="570" y="22"/>
                  </a:lnTo>
                  <a:lnTo>
                    <a:pt x="572" y="22"/>
                  </a:lnTo>
                  <a:lnTo>
                    <a:pt x="572" y="20"/>
                  </a:lnTo>
                  <a:lnTo>
                    <a:pt x="572" y="20"/>
                  </a:lnTo>
                  <a:lnTo>
                    <a:pt x="574" y="20"/>
                  </a:lnTo>
                  <a:lnTo>
                    <a:pt x="574" y="18"/>
                  </a:lnTo>
                  <a:lnTo>
                    <a:pt x="576" y="16"/>
                  </a:lnTo>
                  <a:lnTo>
                    <a:pt x="578" y="14"/>
                  </a:lnTo>
                  <a:lnTo>
                    <a:pt x="578" y="14"/>
                  </a:lnTo>
                  <a:lnTo>
                    <a:pt x="578" y="12"/>
                  </a:lnTo>
                  <a:lnTo>
                    <a:pt x="578" y="10"/>
                  </a:lnTo>
                  <a:lnTo>
                    <a:pt x="578" y="10"/>
                  </a:lnTo>
                  <a:lnTo>
                    <a:pt x="578" y="10"/>
                  </a:lnTo>
                  <a:lnTo>
                    <a:pt x="578" y="8"/>
                  </a:lnTo>
                  <a:lnTo>
                    <a:pt x="578" y="8"/>
                  </a:lnTo>
                  <a:lnTo>
                    <a:pt x="578" y="8"/>
                  </a:lnTo>
                  <a:lnTo>
                    <a:pt x="578" y="6"/>
                  </a:lnTo>
                  <a:lnTo>
                    <a:pt x="578" y="6"/>
                  </a:lnTo>
                  <a:lnTo>
                    <a:pt x="576" y="4"/>
                  </a:lnTo>
                  <a:lnTo>
                    <a:pt x="576" y="4"/>
                  </a:lnTo>
                  <a:lnTo>
                    <a:pt x="576" y="4"/>
                  </a:lnTo>
                  <a:lnTo>
                    <a:pt x="574" y="2"/>
                  </a:lnTo>
                  <a:lnTo>
                    <a:pt x="572" y="2"/>
                  </a:lnTo>
                  <a:lnTo>
                    <a:pt x="568" y="2"/>
                  </a:lnTo>
                  <a:lnTo>
                    <a:pt x="562" y="2"/>
                  </a:lnTo>
                  <a:lnTo>
                    <a:pt x="558" y="2"/>
                  </a:lnTo>
                  <a:lnTo>
                    <a:pt x="552" y="0"/>
                  </a:lnTo>
                  <a:lnTo>
                    <a:pt x="552" y="0"/>
                  </a:lnTo>
                  <a:lnTo>
                    <a:pt x="550" y="2"/>
                  </a:lnTo>
                  <a:lnTo>
                    <a:pt x="550" y="2"/>
                  </a:lnTo>
                  <a:lnTo>
                    <a:pt x="548" y="4"/>
                  </a:lnTo>
                  <a:lnTo>
                    <a:pt x="548" y="6"/>
                  </a:lnTo>
                  <a:lnTo>
                    <a:pt x="548" y="10"/>
                  </a:lnTo>
                  <a:close/>
                  <a:moveTo>
                    <a:pt x="616" y="26"/>
                  </a:moveTo>
                  <a:lnTo>
                    <a:pt x="616" y="26"/>
                  </a:lnTo>
                  <a:lnTo>
                    <a:pt x="616" y="26"/>
                  </a:lnTo>
                  <a:lnTo>
                    <a:pt x="618" y="28"/>
                  </a:lnTo>
                  <a:lnTo>
                    <a:pt x="618" y="28"/>
                  </a:lnTo>
                  <a:lnTo>
                    <a:pt x="618" y="28"/>
                  </a:lnTo>
                  <a:lnTo>
                    <a:pt x="620" y="28"/>
                  </a:lnTo>
                  <a:lnTo>
                    <a:pt x="620" y="30"/>
                  </a:lnTo>
                  <a:lnTo>
                    <a:pt x="624" y="30"/>
                  </a:lnTo>
                  <a:lnTo>
                    <a:pt x="626" y="32"/>
                  </a:lnTo>
                  <a:lnTo>
                    <a:pt x="626" y="32"/>
                  </a:lnTo>
                  <a:lnTo>
                    <a:pt x="628" y="32"/>
                  </a:lnTo>
                  <a:lnTo>
                    <a:pt x="628" y="32"/>
                  </a:lnTo>
                  <a:lnTo>
                    <a:pt x="630" y="30"/>
                  </a:lnTo>
                  <a:lnTo>
                    <a:pt x="632" y="30"/>
                  </a:lnTo>
                  <a:lnTo>
                    <a:pt x="634" y="28"/>
                  </a:lnTo>
                  <a:lnTo>
                    <a:pt x="638" y="26"/>
                  </a:lnTo>
                  <a:lnTo>
                    <a:pt x="640" y="24"/>
                  </a:lnTo>
                  <a:lnTo>
                    <a:pt x="640" y="24"/>
                  </a:lnTo>
                  <a:lnTo>
                    <a:pt x="642" y="24"/>
                  </a:lnTo>
                  <a:lnTo>
                    <a:pt x="644" y="22"/>
                  </a:lnTo>
                  <a:lnTo>
                    <a:pt x="644" y="22"/>
                  </a:lnTo>
                  <a:lnTo>
                    <a:pt x="644" y="20"/>
                  </a:lnTo>
                  <a:lnTo>
                    <a:pt x="644" y="20"/>
                  </a:lnTo>
                  <a:lnTo>
                    <a:pt x="644" y="20"/>
                  </a:lnTo>
                  <a:lnTo>
                    <a:pt x="644" y="18"/>
                  </a:lnTo>
                  <a:lnTo>
                    <a:pt x="644" y="18"/>
                  </a:lnTo>
                  <a:lnTo>
                    <a:pt x="644" y="18"/>
                  </a:lnTo>
                  <a:lnTo>
                    <a:pt x="644" y="16"/>
                  </a:lnTo>
                  <a:lnTo>
                    <a:pt x="644" y="16"/>
                  </a:lnTo>
                  <a:lnTo>
                    <a:pt x="644" y="16"/>
                  </a:lnTo>
                  <a:lnTo>
                    <a:pt x="642" y="14"/>
                  </a:lnTo>
                  <a:lnTo>
                    <a:pt x="642" y="14"/>
                  </a:lnTo>
                  <a:lnTo>
                    <a:pt x="642" y="14"/>
                  </a:lnTo>
                  <a:lnTo>
                    <a:pt x="642" y="14"/>
                  </a:lnTo>
                  <a:lnTo>
                    <a:pt x="640" y="12"/>
                  </a:lnTo>
                  <a:lnTo>
                    <a:pt x="640" y="12"/>
                  </a:lnTo>
                  <a:lnTo>
                    <a:pt x="640" y="12"/>
                  </a:lnTo>
                  <a:lnTo>
                    <a:pt x="638" y="12"/>
                  </a:lnTo>
                  <a:lnTo>
                    <a:pt x="638" y="12"/>
                  </a:lnTo>
                  <a:lnTo>
                    <a:pt x="638" y="12"/>
                  </a:lnTo>
                  <a:lnTo>
                    <a:pt x="634" y="12"/>
                  </a:lnTo>
                  <a:lnTo>
                    <a:pt x="630" y="12"/>
                  </a:lnTo>
                  <a:lnTo>
                    <a:pt x="626" y="12"/>
                  </a:lnTo>
                  <a:lnTo>
                    <a:pt x="626" y="12"/>
                  </a:lnTo>
                  <a:lnTo>
                    <a:pt x="624" y="12"/>
                  </a:lnTo>
                  <a:lnTo>
                    <a:pt x="622" y="14"/>
                  </a:lnTo>
                  <a:lnTo>
                    <a:pt x="620" y="16"/>
                  </a:lnTo>
                  <a:lnTo>
                    <a:pt x="618" y="18"/>
                  </a:lnTo>
                  <a:lnTo>
                    <a:pt x="618" y="18"/>
                  </a:lnTo>
                  <a:lnTo>
                    <a:pt x="616" y="20"/>
                  </a:lnTo>
                  <a:lnTo>
                    <a:pt x="616" y="20"/>
                  </a:lnTo>
                  <a:lnTo>
                    <a:pt x="616" y="20"/>
                  </a:lnTo>
                  <a:lnTo>
                    <a:pt x="616" y="22"/>
                  </a:lnTo>
                  <a:lnTo>
                    <a:pt x="616" y="24"/>
                  </a:lnTo>
                  <a:lnTo>
                    <a:pt x="616" y="24"/>
                  </a:lnTo>
                  <a:lnTo>
                    <a:pt x="616" y="26"/>
                  </a:lnTo>
                  <a:lnTo>
                    <a:pt x="616" y="26"/>
                  </a:lnTo>
                  <a:close/>
                  <a:moveTo>
                    <a:pt x="468" y="148"/>
                  </a:moveTo>
                  <a:lnTo>
                    <a:pt x="468" y="148"/>
                  </a:lnTo>
                  <a:lnTo>
                    <a:pt x="468" y="150"/>
                  </a:lnTo>
                  <a:lnTo>
                    <a:pt x="468" y="150"/>
                  </a:lnTo>
                  <a:lnTo>
                    <a:pt x="468" y="150"/>
                  </a:lnTo>
                  <a:lnTo>
                    <a:pt x="468" y="152"/>
                  </a:lnTo>
                  <a:lnTo>
                    <a:pt x="468" y="154"/>
                  </a:lnTo>
                  <a:lnTo>
                    <a:pt x="468" y="154"/>
                  </a:lnTo>
                  <a:lnTo>
                    <a:pt x="468" y="154"/>
                  </a:lnTo>
                  <a:lnTo>
                    <a:pt x="470" y="156"/>
                  </a:lnTo>
                  <a:lnTo>
                    <a:pt x="470" y="156"/>
                  </a:lnTo>
                  <a:lnTo>
                    <a:pt x="470" y="156"/>
                  </a:lnTo>
                  <a:lnTo>
                    <a:pt x="472" y="158"/>
                  </a:lnTo>
                  <a:lnTo>
                    <a:pt x="474" y="162"/>
                  </a:lnTo>
                  <a:lnTo>
                    <a:pt x="474" y="162"/>
                  </a:lnTo>
                  <a:lnTo>
                    <a:pt x="474" y="162"/>
                  </a:lnTo>
                  <a:lnTo>
                    <a:pt x="476" y="164"/>
                  </a:lnTo>
                  <a:lnTo>
                    <a:pt x="476" y="164"/>
                  </a:lnTo>
                  <a:lnTo>
                    <a:pt x="476" y="164"/>
                  </a:lnTo>
                  <a:lnTo>
                    <a:pt x="478" y="164"/>
                  </a:lnTo>
                  <a:lnTo>
                    <a:pt x="478" y="164"/>
                  </a:lnTo>
                  <a:lnTo>
                    <a:pt x="480" y="164"/>
                  </a:lnTo>
                  <a:lnTo>
                    <a:pt x="482" y="164"/>
                  </a:lnTo>
                  <a:lnTo>
                    <a:pt x="484" y="164"/>
                  </a:lnTo>
                  <a:lnTo>
                    <a:pt x="490" y="164"/>
                  </a:lnTo>
                  <a:lnTo>
                    <a:pt x="492" y="164"/>
                  </a:lnTo>
                  <a:lnTo>
                    <a:pt x="494" y="164"/>
                  </a:lnTo>
                  <a:lnTo>
                    <a:pt x="494" y="164"/>
                  </a:lnTo>
                  <a:lnTo>
                    <a:pt x="496" y="164"/>
                  </a:lnTo>
                  <a:lnTo>
                    <a:pt x="496" y="162"/>
                  </a:lnTo>
                  <a:lnTo>
                    <a:pt x="498" y="160"/>
                  </a:lnTo>
                  <a:lnTo>
                    <a:pt x="498" y="156"/>
                  </a:lnTo>
                  <a:lnTo>
                    <a:pt x="498" y="154"/>
                  </a:lnTo>
                  <a:lnTo>
                    <a:pt x="498" y="152"/>
                  </a:lnTo>
                  <a:lnTo>
                    <a:pt x="498" y="152"/>
                  </a:lnTo>
                  <a:lnTo>
                    <a:pt x="498" y="152"/>
                  </a:lnTo>
                  <a:lnTo>
                    <a:pt x="498" y="148"/>
                  </a:lnTo>
                  <a:lnTo>
                    <a:pt x="498" y="148"/>
                  </a:lnTo>
                  <a:lnTo>
                    <a:pt x="496" y="148"/>
                  </a:lnTo>
                  <a:lnTo>
                    <a:pt x="496" y="146"/>
                  </a:lnTo>
                  <a:lnTo>
                    <a:pt x="496" y="146"/>
                  </a:lnTo>
                  <a:lnTo>
                    <a:pt x="494" y="146"/>
                  </a:lnTo>
                  <a:lnTo>
                    <a:pt x="492" y="144"/>
                  </a:lnTo>
                  <a:lnTo>
                    <a:pt x="492" y="144"/>
                  </a:lnTo>
                  <a:lnTo>
                    <a:pt x="490" y="144"/>
                  </a:lnTo>
                  <a:lnTo>
                    <a:pt x="488" y="144"/>
                  </a:lnTo>
                  <a:lnTo>
                    <a:pt x="482" y="144"/>
                  </a:lnTo>
                  <a:lnTo>
                    <a:pt x="478" y="144"/>
                  </a:lnTo>
                  <a:lnTo>
                    <a:pt x="478" y="144"/>
                  </a:lnTo>
                  <a:lnTo>
                    <a:pt x="478" y="142"/>
                  </a:lnTo>
                  <a:lnTo>
                    <a:pt x="476" y="142"/>
                  </a:lnTo>
                  <a:lnTo>
                    <a:pt x="476" y="142"/>
                  </a:lnTo>
                  <a:lnTo>
                    <a:pt x="474" y="144"/>
                  </a:lnTo>
                  <a:lnTo>
                    <a:pt x="472" y="144"/>
                  </a:lnTo>
                  <a:lnTo>
                    <a:pt x="472" y="144"/>
                  </a:lnTo>
                  <a:lnTo>
                    <a:pt x="472" y="144"/>
                  </a:lnTo>
                  <a:lnTo>
                    <a:pt x="470" y="146"/>
                  </a:lnTo>
                  <a:lnTo>
                    <a:pt x="470" y="146"/>
                  </a:lnTo>
                  <a:lnTo>
                    <a:pt x="470" y="148"/>
                  </a:lnTo>
                  <a:lnTo>
                    <a:pt x="468" y="148"/>
                  </a:lnTo>
                  <a:close/>
                  <a:moveTo>
                    <a:pt x="492" y="138"/>
                  </a:moveTo>
                  <a:lnTo>
                    <a:pt x="496" y="140"/>
                  </a:lnTo>
                  <a:lnTo>
                    <a:pt x="500" y="142"/>
                  </a:lnTo>
                  <a:lnTo>
                    <a:pt x="504" y="144"/>
                  </a:lnTo>
                  <a:lnTo>
                    <a:pt x="504" y="144"/>
                  </a:lnTo>
                  <a:lnTo>
                    <a:pt x="504" y="144"/>
                  </a:lnTo>
                  <a:lnTo>
                    <a:pt x="508" y="144"/>
                  </a:lnTo>
                  <a:lnTo>
                    <a:pt x="508" y="144"/>
                  </a:lnTo>
                  <a:lnTo>
                    <a:pt x="508" y="144"/>
                  </a:lnTo>
                  <a:lnTo>
                    <a:pt x="512" y="142"/>
                  </a:lnTo>
                  <a:lnTo>
                    <a:pt x="512" y="142"/>
                  </a:lnTo>
                  <a:lnTo>
                    <a:pt x="512" y="142"/>
                  </a:lnTo>
                  <a:lnTo>
                    <a:pt x="514" y="140"/>
                  </a:lnTo>
                  <a:lnTo>
                    <a:pt x="514" y="140"/>
                  </a:lnTo>
                  <a:lnTo>
                    <a:pt x="514" y="140"/>
                  </a:lnTo>
                  <a:lnTo>
                    <a:pt x="514" y="140"/>
                  </a:lnTo>
                  <a:lnTo>
                    <a:pt x="514" y="140"/>
                  </a:lnTo>
                  <a:lnTo>
                    <a:pt x="514" y="138"/>
                  </a:lnTo>
                  <a:lnTo>
                    <a:pt x="516" y="136"/>
                  </a:lnTo>
                  <a:lnTo>
                    <a:pt x="516" y="134"/>
                  </a:lnTo>
                  <a:lnTo>
                    <a:pt x="518" y="132"/>
                  </a:lnTo>
                  <a:lnTo>
                    <a:pt x="518" y="128"/>
                  </a:lnTo>
                  <a:lnTo>
                    <a:pt x="518" y="128"/>
                  </a:lnTo>
                  <a:lnTo>
                    <a:pt x="518" y="128"/>
                  </a:lnTo>
                  <a:lnTo>
                    <a:pt x="516" y="122"/>
                  </a:lnTo>
                  <a:lnTo>
                    <a:pt x="514" y="120"/>
                  </a:lnTo>
                  <a:lnTo>
                    <a:pt x="514" y="120"/>
                  </a:lnTo>
                  <a:lnTo>
                    <a:pt x="514" y="120"/>
                  </a:lnTo>
                  <a:lnTo>
                    <a:pt x="512" y="116"/>
                  </a:lnTo>
                  <a:lnTo>
                    <a:pt x="512" y="116"/>
                  </a:lnTo>
                  <a:lnTo>
                    <a:pt x="512" y="116"/>
                  </a:lnTo>
                  <a:lnTo>
                    <a:pt x="510" y="114"/>
                  </a:lnTo>
                  <a:lnTo>
                    <a:pt x="510" y="114"/>
                  </a:lnTo>
                  <a:lnTo>
                    <a:pt x="510" y="114"/>
                  </a:lnTo>
                  <a:lnTo>
                    <a:pt x="508" y="114"/>
                  </a:lnTo>
                  <a:lnTo>
                    <a:pt x="508" y="114"/>
                  </a:lnTo>
                  <a:lnTo>
                    <a:pt x="506" y="114"/>
                  </a:lnTo>
                  <a:lnTo>
                    <a:pt x="504" y="114"/>
                  </a:lnTo>
                  <a:lnTo>
                    <a:pt x="500" y="112"/>
                  </a:lnTo>
                  <a:lnTo>
                    <a:pt x="494" y="112"/>
                  </a:lnTo>
                  <a:lnTo>
                    <a:pt x="494" y="112"/>
                  </a:lnTo>
                  <a:lnTo>
                    <a:pt x="492" y="112"/>
                  </a:lnTo>
                  <a:lnTo>
                    <a:pt x="492" y="112"/>
                  </a:lnTo>
                  <a:lnTo>
                    <a:pt x="492" y="116"/>
                  </a:lnTo>
                  <a:lnTo>
                    <a:pt x="492" y="118"/>
                  </a:lnTo>
                  <a:lnTo>
                    <a:pt x="492" y="120"/>
                  </a:lnTo>
                  <a:lnTo>
                    <a:pt x="492" y="126"/>
                  </a:lnTo>
                  <a:lnTo>
                    <a:pt x="492" y="124"/>
                  </a:lnTo>
                  <a:lnTo>
                    <a:pt x="490" y="130"/>
                  </a:lnTo>
                  <a:lnTo>
                    <a:pt x="490" y="132"/>
                  </a:lnTo>
                  <a:lnTo>
                    <a:pt x="490" y="136"/>
                  </a:lnTo>
                  <a:lnTo>
                    <a:pt x="490" y="136"/>
                  </a:lnTo>
                  <a:lnTo>
                    <a:pt x="490" y="138"/>
                  </a:lnTo>
                  <a:lnTo>
                    <a:pt x="492" y="138"/>
                  </a:lnTo>
                  <a:lnTo>
                    <a:pt x="492" y="138"/>
                  </a:lnTo>
                  <a:close/>
                  <a:moveTo>
                    <a:pt x="532" y="142"/>
                  </a:moveTo>
                  <a:lnTo>
                    <a:pt x="528" y="142"/>
                  </a:lnTo>
                  <a:lnTo>
                    <a:pt x="528" y="142"/>
                  </a:lnTo>
                  <a:lnTo>
                    <a:pt x="528" y="142"/>
                  </a:lnTo>
                  <a:lnTo>
                    <a:pt x="526" y="142"/>
                  </a:lnTo>
                  <a:lnTo>
                    <a:pt x="526" y="142"/>
                  </a:lnTo>
                  <a:lnTo>
                    <a:pt x="526" y="142"/>
                  </a:lnTo>
                  <a:lnTo>
                    <a:pt x="524" y="144"/>
                  </a:lnTo>
                  <a:lnTo>
                    <a:pt x="524" y="144"/>
                  </a:lnTo>
                  <a:lnTo>
                    <a:pt x="524" y="144"/>
                  </a:lnTo>
                  <a:lnTo>
                    <a:pt x="524" y="144"/>
                  </a:lnTo>
                  <a:lnTo>
                    <a:pt x="524" y="144"/>
                  </a:lnTo>
                  <a:lnTo>
                    <a:pt x="524" y="146"/>
                  </a:lnTo>
                  <a:lnTo>
                    <a:pt x="524" y="146"/>
                  </a:lnTo>
                  <a:lnTo>
                    <a:pt x="524" y="146"/>
                  </a:lnTo>
                  <a:lnTo>
                    <a:pt x="524" y="148"/>
                  </a:lnTo>
                  <a:lnTo>
                    <a:pt x="524" y="150"/>
                  </a:lnTo>
                  <a:lnTo>
                    <a:pt x="524" y="154"/>
                  </a:lnTo>
                  <a:lnTo>
                    <a:pt x="526" y="158"/>
                  </a:lnTo>
                  <a:lnTo>
                    <a:pt x="528" y="162"/>
                  </a:lnTo>
                  <a:lnTo>
                    <a:pt x="530" y="166"/>
                  </a:lnTo>
                  <a:lnTo>
                    <a:pt x="530" y="166"/>
                  </a:lnTo>
                  <a:lnTo>
                    <a:pt x="530" y="168"/>
                  </a:lnTo>
                  <a:lnTo>
                    <a:pt x="532" y="170"/>
                  </a:lnTo>
                  <a:lnTo>
                    <a:pt x="532" y="170"/>
                  </a:lnTo>
                  <a:lnTo>
                    <a:pt x="532" y="170"/>
                  </a:lnTo>
                  <a:lnTo>
                    <a:pt x="534" y="172"/>
                  </a:lnTo>
                  <a:lnTo>
                    <a:pt x="534" y="172"/>
                  </a:lnTo>
                  <a:lnTo>
                    <a:pt x="534" y="172"/>
                  </a:lnTo>
                  <a:lnTo>
                    <a:pt x="534" y="172"/>
                  </a:lnTo>
                  <a:lnTo>
                    <a:pt x="534" y="172"/>
                  </a:lnTo>
                  <a:lnTo>
                    <a:pt x="538" y="172"/>
                  </a:lnTo>
                  <a:lnTo>
                    <a:pt x="538" y="170"/>
                  </a:lnTo>
                  <a:lnTo>
                    <a:pt x="540" y="168"/>
                  </a:lnTo>
                  <a:lnTo>
                    <a:pt x="542" y="164"/>
                  </a:lnTo>
                  <a:lnTo>
                    <a:pt x="542" y="164"/>
                  </a:lnTo>
                  <a:lnTo>
                    <a:pt x="544" y="166"/>
                  </a:lnTo>
                  <a:lnTo>
                    <a:pt x="544" y="166"/>
                  </a:lnTo>
                  <a:lnTo>
                    <a:pt x="546" y="166"/>
                  </a:lnTo>
                  <a:lnTo>
                    <a:pt x="550" y="168"/>
                  </a:lnTo>
                  <a:lnTo>
                    <a:pt x="550" y="168"/>
                  </a:lnTo>
                  <a:lnTo>
                    <a:pt x="552" y="168"/>
                  </a:lnTo>
                  <a:lnTo>
                    <a:pt x="554" y="168"/>
                  </a:lnTo>
                  <a:lnTo>
                    <a:pt x="554" y="166"/>
                  </a:lnTo>
                  <a:lnTo>
                    <a:pt x="554" y="164"/>
                  </a:lnTo>
                  <a:lnTo>
                    <a:pt x="556" y="162"/>
                  </a:lnTo>
                  <a:lnTo>
                    <a:pt x="556" y="160"/>
                  </a:lnTo>
                  <a:lnTo>
                    <a:pt x="558" y="160"/>
                  </a:lnTo>
                  <a:lnTo>
                    <a:pt x="558" y="158"/>
                  </a:lnTo>
                  <a:lnTo>
                    <a:pt x="558" y="156"/>
                  </a:lnTo>
                  <a:lnTo>
                    <a:pt x="560" y="154"/>
                  </a:lnTo>
                  <a:lnTo>
                    <a:pt x="560" y="152"/>
                  </a:lnTo>
                  <a:lnTo>
                    <a:pt x="560" y="150"/>
                  </a:lnTo>
                  <a:lnTo>
                    <a:pt x="562" y="150"/>
                  </a:lnTo>
                  <a:lnTo>
                    <a:pt x="564" y="148"/>
                  </a:lnTo>
                  <a:lnTo>
                    <a:pt x="566" y="148"/>
                  </a:lnTo>
                  <a:lnTo>
                    <a:pt x="566" y="148"/>
                  </a:lnTo>
                  <a:lnTo>
                    <a:pt x="568" y="148"/>
                  </a:lnTo>
                  <a:lnTo>
                    <a:pt x="568" y="146"/>
                  </a:lnTo>
                  <a:lnTo>
                    <a:pt x="568" y="146"/>
                  </a:lnTo>
                  <a:lnTo>
                    <a:pt x="570" y="146"/>
                  </a:lnTo>
                  <a:lnTo>
                    <a:pt x="570" y="144"/>
                  </a:lnTo>
                  <a:lnTo>
                    <a:pt x="570" y="144"/>
                  </a:lnTo>
                  <a:lnTo>
                    <a:pt x="570" y="144"/>
                  </a:lnTo>
                  <a:lnTo>
                    <a:pt x="572" y="142"/>
                  </a:lnTo>
                  <a:lnTo>
                    <a:pt x="572" y="142"/>
                  </a:lnTo>
                  <a:lnTo>
                    <a:pt x="572" y="142"/>
                  </a:lnTo>
                  <a:lnTo>
                    <a:pt x="572" y="140"/>
                  </a:lnTo>
                  <a:lnTo>
                    <a:pt x="572" y="140"/>
                  </a:lnTo>
                  <a:lnTo>
                    <a:pt x="572" y="138"/>
                  </a:lnTo>
                  <a:lnTo>
                    <a:pt x="570" y="136"/>
                  </a:lnTo>
                  <a:lnTo>
                    <a:pt x="570" y="136"/>
                  </a:lnTo>
                  <a:lnTo>
                    <a:pt x="568" y="134"/>
                  </a:lnTo>
                  <a:lnTo>
                    <a:pt x="562" y="132"/>
                  </a:lnTo>
                  <a:lnTo>
                    <a:pt x="558" y="130"/>
                  </a:lnTo>
                  <a:lnTo>
                    <a:pt x="554" y="130"/>
                  </a:lnTo>
                  <a:lnTo>
                    <a:pt x="554" y="130"/>
                  </a:lnTo>
                  <a:lnTo>
                    <a:pt x="554" y="130"/>
                  </a:lnTo>
                  <a:lnTo>
                    <a:pt x="550" y="130"/>
                  </a:lnTo>
                  <a:lnTo>
                    <a:pt x="550" y="130"/>
                  </a:lnTo>
                  <a:lnTo>
                    <a:pt x="548" y="130"/>
                  </a:lnTo>
                  <a:lnTo>
                    <a:pt x="546" y="132"/>
                  </a:lnTo>
                  <a:lnTo>
                    <a:pt x="546" y="132"/>
                  </a:lnTo>
                  <a:lnTo>
                    <a:pt x="546" y="132"/>
                  </a:lnTo>
                  <a:lnTo>
                    <a:pt x="544" y="132"/>
                  </a:lnTo>
                  <a:lnTo>
                    <a:pt x="544" y="132"/>
                  </a:lnTo>
                  <a:lnTo>
                    <a:pt x="544" y="134"/>
                  </a:lnTo>
                  <a:lnTo>
                    <a:pt x="542" y="134"/>
                  </a:lnTo>
                  <a:lnTo>
                    <a:pt x="542" y="136"/>
                  </a:lnTo>
                  <a:lnTo>
                    <a:pt x="542" y="136"/>
                  </a:lnTo>
                  <a:lnTo>
                    <a:pt x="540" y="138"/>
                  </a:lnTo>
                  <a:lnTo>
                    <a:pt x="540" y="140"/>
                  </a:lnTo>
                  <a:lnTo>
                    <a:pt x="540" y="142"/>
                  </a:lnTo>
                  <a:lnTo>
                    <a:pt x="538" y="142"/>
                  </a:lnTo>
                  <a:lnTo>
                    <a:pt x="538" y="142"/>
                  </a:lnTo>
                  <a:lnTo>
                    <a:pt x="536" y="140"/>
                  </a:lnTo>
                  <a:lnTo>
                    <a:pt x="534" y="142"/>
                  </a:lnTo>
                  <a:lnTo>
                    <a:pt x="534" y="142"/>
                  </a:lnTo>
                  <a:lnTo>
                    <a:pt x="532" y="142"/>
                  </a:lnTo>
                  <a:close/>
                  <a:moveTo>
                    <a:pt x="576" y="116"/>
                  </a:moveTo>
                  <a:lnTo>
                    <a:pt x="576" y="118"/>
                  </a:lnTo>
                  <a:lnTo>
                    <a:pt x="576" y="120"/>
                  </a:lnTo>
                  <a:lnTo>
                    <a:pt x="574" y="122"/>
                  </a:lnTo>
                  <a:lnTo>
                    <a:pt x="574" y="122"/>
                  </a:lnTo>
                  <a:lnTo>
                    <a:pt x="572" y="124"/>
                  </a:lnTo>
                  <a:lnTo>
                    <a:pt x="572" y="126"/>
                  </a:lnTo>
                  <a:lnTo>
                    <a:pt x="572" y="126"/>
                  </a:lnTo>
                  <a:lnTo>
                    <a:pt x="572" y="126"/>
                  </a:lnTo>
                  <a:lnTo>
                    <a:pt x="570" y="126"/>
                  </a:lnTo>
                  <a:lnTo>
                    <a:pt x="570" y="126"/>
                  </a:lnTo>
                  <a:lnTo>
                    <a:pt x="570" y="128"/>
                  </a:lnTo>
                  <a:lnTo>
                    <a:pt x="570" y="130"/>
                  </a:lnTo>
                  <a:lnTo>
                    <a:pt x="570" y="130"/>
                  </a:lnTo>
                  <a:lnTo>
                    <a:pt x="570" y="132"/>
                  </a:lnTo>
                  <a:lnTo>
                    <a:pt x="572" y="132"/>
                  </a:lnTo>
                  <a:lnTo>
                    <a:pt x="572" y="134"/>
                  </a:lnTo>
                  <a:lnTo>
                    <a:pt x="574" y="136"/>
                  </a:lnTo>
                  <a:lnTo>
                    <a:pt x="576" y="140"/>
                  </a:lnTo>
                  <a:lnTo>
                    <a:pt x="576" y="140"/>
                  </a:lnTo>
                  <a:lnTo>
                    <a:pt x="578" y="140"/>
                  </a:lnTo>
                  <a:lnTo>
                    <a:pt x="582" y="142"/>
                  </a:lnTo>
                  <a:lnTo>
                    <a:pt x="586" y="142"/>
                  </a:lnTo>
                  <a:lnTo>
                    <a:pt x="588" y="142"/>
                  </a:lnTo>
                  <a:lnTo>
                    <a:pt x="592" y="142"/>
                  </a:lnTo>
                  <a:lnTo>
                    <a:pt x="594" y="144"/>
                  </a:lnTo>
                  <a:lnTo>
                    <a:pt x="598" y="144"/>
                  </a:lnTo>
                  <a:lnTo>
                    <a:pt x="602" y="142"/>
                  </a:lnTo>
                  <a:lnTo>
                    <a:pt x="602" y="142"/>
                  </a:lnTo>
                  <a:lnTo>
                    <a:pt x="602" y="142"/>
                  </a:lnTo>
                  <a:lnTo>
                    <a:pt x="606" y="142"/>
                  </a:lnTo>
                  <a:lnTo>
                    <a:pt x="606" y="142"/>
                  </a:lnTo>
                  <a:lnTo>
                    <a:pt x="606" y="142"/>
                  </a:lnTo>
                  <a:lnTo>
                    <a:pt x="608" y="140"/>
                  </a:lnTo>
                  <a:lnTo>
                    <a:pt x="610" y="138"/>
                  </a:lnTo>
                  <a:lnTo>
                    <a:pt x="612" y="136"/>
                  </a:lnTo>
                  <a:lnTo>
                    <a:pt x="612" y="134"/>
                  </a:lnTo>
                  <a:lnTo>
                    <a:pt x="614" y="132"/>
                  </a:lnTo>
                  <a:lnTo>
                    <a:pt x="616" y="128"/>
                  </a:lnTo>
                  <a:lnTo>
                    <a:pt x="616" y="128"/>
                  </a:lnTo>
                  <a:lnTo>
                    <a:pt x="618" y="126"/>
                  </a:lnTo>
                  <a:lnTo>
                    <a:pt x="618" y="124"/>
                  </a:lnTo>
                  <a:lnTo>
                    <a:pt x="618" y="124"/>
                  </a:lnTo>
                  <a:lnTo>
                    <a:pt x="618" y="124"/>
                  </a:lnTo>
                  <a:lnTo>
                    <a:pt x="618" y="122"/>
                  </a:lnTo>
                  <a:lnTo>
                    <a:pt x="618" y="118"/>
                  </a:lnTo>
                  <a:lnTo>
                    <a:pt x="618" y="118"/>
                  </a:lnTo>
                  <a:lnTo>
                    <a:pt x="618" y="116"/>
                  </a:lnTo>
                  <a:lnTo>
                    <a:pt x="618" y="116"/>
                  </a:lnTo>
                  <a:lnTo>
                    <a:pt x="618" y="116"/>
                  </a:lnTo>
                  <a:lnTo>
                    <a:pt x="618" y="116"/>
                  </a:lnTo>
                  <a:lnTo>
                    <a:pt x="618" y="116"/>
                  </a:lnTo>
                  <a:lnTo>
                    <a:pt x="620" y="116"/>
                  </a:lnTo>
                  <a:lnTo>
                    <a:pt x="622" y="116"/>
                  </a:lnTo>
                  <a:lnTo>
                    <a:pt x="624" y="118"/>
                  </a:lnTo>
                  <a:lnTo>
                    <a:pt x="626" y="118"/>
                  </a:lnTo>
                  <a:lnTo>
                    <a:pt x="626" y="118"/>
                  </a:lnTo>
                  <a:lnTo>
                    <a:pt x="626" y="118"/>
                  </a:lnTo>
                  <a:lnTo>
                    <a:pt x="626" y="118"/>
                  </a:lnTo>
                  <a:lnTo>
                    <a:pt x="628" y="120"/>
                  </a:lnTo>
                  <a:lnTo>
                    <a:pt x="632" y="118"/>
                  </a:lnTo>
                  <a:lnTo>
                    <a:pt x="636" y="118"/>
                  </a:lnTo>
                  <a:lnTo>
                    <a:pt x="636" y="118"/>
                  </a:lnTo>
                  <a:lnTo>
                    <a:pt x="636" y="118"/>
                  </a:lnTo>
                  <a:lnTo>
                    <a:pt x="638" y="116"/>
                  </a:lnTo>
                  <a:lnTo>
                    <a:pt x="638" y="116"/>
                  </a:lnTo>
                  <a:lnTo>
                    <a:pt x="640" y="116"/>
                  </a:lnTo>
                  <a:lnTo>
                    <a:pt x="640" y="114"/>
                  </a:lnTo>
                  <a:lnTo>
                    <a:pt x="640" y="114"/>
                  </a:lnTo>
                  <a:lnTo>
                    <a:pt x="642" y="114"/>
                  </a:lnTo>
                  <a:lnTo>
                    <a:pt x="642" y="114"/>
                  </a:lnTo>
                  <a:lnTo>
                    <a:pt x="642" y="114"/>
                  </a:lnTo>
                  <a:lnTo>
                    <a:pt x="642" y="112"/>
                  </a:lnTo>
                  <a:lnTo>
                    <a:pt x="644" y="112"/>
                  </a:lnTo>
                  <a:lnTo>
                    <a:pt x="644" y="112"/>
                  </a:lnTo>
                  <a:lnTo>
                    <a:pt x="644" y="110"/>
                  </a:lnTo>
                  <a:lnTo>
                    <a:pt x="644" y="108"/>
                  </a:lnTo>
                  <a:lnTo>
                    <a:pt x="646" y="106"/>
                  </a:lnTo>
                  <a:lnTo>
                    <a:pt x="646" y="104"/>
                  </a:lnTo>
                  <a:lnTo>
                    <a:pt x="646" y="104"/>
                  </a:lnTo>
                  <a:lnTo>
                    <a:pt x="648" y="102"/>
                  </a:lnTo>
                  <a:lnTo>
                    <a:pt x="650" y="102"/>
                  </a:lnTo>
                  <a:lnTo>
                    <a:pt x="654" y="100"/>
                  </a:lnTo>
                  <a:lnTo>
                    <a:pt x="658" y="100"/>
                  </a:lnTo>
                  <a:lnTo>
                    <a:pt x="658" y="100"/>
                  </a:lnTo>
                  <a:lnTo>
                    <a:pt x="660" y="98"/>
                  </a:lnTo>
                  <a:lnTo>
                    <a:pt x="662" y="94"/>
                  </a:lnTo>
                  <a:lnTo>
                    <a:pt x="662" y="90"/>
                  </a:lnTo>
                  <a:lnTo>
                    <a:pt x="662" y="86"/>
                  </a:lnTo>
                  <a:lnTo>
                    <a:pt x="662" y="86"/>
                  </a:lnTo>
                  <a:lnTo>
                    <a:pt x="662" y="86"/>
                  </a:lnTo>
                  <a:lnTo>
                    <a:pt x="662" y="82"/>
                  </a:lnTo>
                  <a:lnTo>
                    <a:pt x="662" y="82"/>
                  </a:lnTo>
                  <a:lnTo>
                    <a:pt x="662" y="82"/>
                  </a:lnTo>
                  <a:lnTo>
                    <a:pt x="662" y="78"/>
                  </a:lnTo>
                  <a:lnTo>
                    <a:pt x="662" y="78"/>
                  </a:lnTo>
                  <a:lnTo>
                    <a:pt x="660" y="78"/>
                  </a:lnTo>
                  <a:lnTo>
                    <a:pt x="660" y="76"/>
                  </a:lnTo>
                  <a:lnTo>
                    <a:pt x="660" y="76"/>
                  </a:lnTo>
                  <a:lnTo>
                    <a:pt x="660" y="74"/>
                  </a:lnTo>
                  <a:lnTo>
                    <a:pt x="656" y="72"/>
                  </a:lnTo>
                  <a:lnTo>
                    <a:pt x="656" y="72"/>
                  </a:lnTo>
                  <a:lnTo>
                    <a:pt x="656" y="72"/>
                  </a:lnTo>
                  <a:lnTo>
                    <a:pt x="654" y="70"/>
                  </a:lnTo>
                  <a:lnTo>
                    <a:pt x="654" y="68"/>
                  </a:lnTo>
                  <a:lnTo>
                    <a:pt x="654" y="68"/>
                  </a:lnTo>
                  <a:lnTo>
                    <a:pt x="652" y="68"/>
                  </a:lnTo>
                  <a:lnTo>
                    <a:pt x="652" y="66"/>
                  </a:lnTo>
                  <a:lnTo>
                    <a:pt x="652" y="66"/>
                  </a:lnTo>
                  <a:lnTo>
                    <a:pt x="652" y="66"/>
                  </a:lnTo>
                  <a:lnTo>
                    <a:pt x="650" y="64"/>
                  </a:lnTo>
                  <a:lnTo>
                    <a:pt x="650" y="64"/>
                  </a:lnTo>
                  <a:lnTo>
                    <a:pt x="650" y="64"/>
                  </a:lnTo>
                  <a:lnTo>
                    <a:pt x="648" y="64"/>
                  </a:lnTo>
                  <a:lnTo>
                    <a:pt x="648" y="64"/>
                  </a:lnTo>
                  <a:lnTo>
                    <a:pt x="646" y="64"/>
                  </a:lnTo>
                  <a:lnTo>
                    <a:pt x="646" y="64"/>
                  </a:lnTo>
                  <a:lnTo>
                    <a:pt x="646" y="64"/>
                  </a:lnTo>
                  <a:lnTo>
                    <a:pt x="644" y="66"/>
                  </a:lnTo>
                  <a:lnTo>
                    <a:pt x="644" y="66"/>
                  </a:lnTo>
                  <a:lnTo>
                    <a:pt x="644" y="66"/>
                  </a:lnTo>
                  <a:lnTo>
                    <a:pt x="644" y="68"/>
                  </a:lnTo>
                  <a:lnTo>
                    <a:pt x="644" y="68"/>
                  </a:lnTo>
                  <a:lnTo>
                    <a:pt x="642" y="70"/>
                  </a:lnTo>
                  <a:lnTo>
                    <a:pt x="642" y="74"/>
                  </a:lnTo>
                  <a:lnTo>
                    <a:pt x="640" y="80"/>
                  </a:lnTo>
                  <a:lnTo>
                    <a:pt x="640" y="82"/>
                  </a:lnTo>
                  <a:lnTo>
                    <a:pt x="640" y="82"/>
                  </a:lnTo>
                  <a:lnTo>
                    <a:pt x="640" y="84"/>
                  </a:lnTo>
                  <a:lnTo>
                    <a:pt x="640" y="84"/>
                  </a:lnTo>
                  <a:lnTo>
                    <a:pt x="638" y="84"/>
                  </a:lnTo>
                  <a:lnTo>
                    <a:pt x="636" y="86"/>
                  </a:lnTo>
                  <a:lnTo>
                    <a:pt x="630" y="88"/>
                  </a:lnTo>
                  <a:lnTo>
                    <a:pt x="628" y="88"/>
                  </a:lnTo>
                  <a:lnTo>
                    <a:pt x="626" y="88"/>
                  </a:lnTo>
                  <a:lnTo>
                    <a:pt x="624" y="88"/>
                  </a:lnTo>
                  <a:lnTo>
                    <a:pt x="624" y="88"/>
                  </a:lnTo>
                  <a:lnTo>
                    <a:pt x="624" y="88"/>
                  </a:lnTo>
                  <a:lnTo>
                    <a:pt x="622" y="90"/>
                  </a:lnTo>
                  <a:lnTo>
                    <a:pt x="620" y="92"/>
                  </a:lnTo>
                  <a:lnTo>
                    <a:pt x="620" y="94"/>
                  </a:lnTo>
                  <a:lnTo>
                    <a:pt x="620" y="98"/>
                  </a:lnTo>
                  <a:lnTo>
                    <a:pt x="618" y="100"/>
                  </a:lnTo>
                  <a:lnTo>
                    <a:pt x="618" y="100"/>
                  </a:lnTo>
                  <a:lnTo>
                    <a:pt x="618" y="100"/>
                  </a:lnTo>
                  <a:lnTo>
                    <a:pt x="616" y="102"/>
                  </a:lnTo>
                  <a:lnTo>
                    <a:pt x="614" y="102"/>
                  </a:lnTo>
                  <a:lnTo>
                    <a:pt x="610" y="100"/>
                  </a:lnTo>
                  <a:lnTo>
                    <a:pt x="610" y="100"/>
                  </a:lnTo>
                  <a:lnTo>
                    <a:pt x="608" y="100"/>
                  </a:lnTo>
                  <a:lnTo>
                    <a:pt x="604" y="100"/>
                  </a:lnTo>
                  <a:lnTo>
                    <a:pt x="604" y="100"/>
                  </a:lnTo>
                  <a:lnTo>
                    <a:pt x="604" y="100"/>
                  </a:lnTo>
                  <a:lnTo>
                    <a:pt x="598" y="100"/>
                  </a:lnTo>
                  <a:lnTo>
                    <a:pt x="598" y="100"/>
                  </a:lnTo>
                  <a:lnTo>
                    <a:pt x="598" y="100"/>
                  </a:lnTo>
                  <a:lnTo>
                    <a:pt x="594" y="102"/>
                  </a:lnTo>
                  <a:lnTo>
                    <a:pt x="594" y="102"/>
                  </a:lnTo>
                  <a:lnTo>
                    <a:pt x="592" y="102"/>
                  </a:lnTo>
                  <a:lnTo>
                    <a:pt x="588" y="104"/>
                  </a:lnTo>
                  <a:lnTo>
                    <a:pt x="588" y="104"/>
                  </a:lnTo>
                  <a:lnTo>
                    <a:pt x="588" y="104"/>
                  </a:lnTo>
                  <a:lnTo>
                    <a:pt x="584" y="106"/>
                  </a:lnTo>
                  <a:lnTo>
                    <a:pt x="584" y="106"/>
                  </a:lnTo>
                  <a:lnTo>
                    <a:pt x="584" y="106"/>
                  </a:lnTo>
                  <a:lnTo>
                    <a:pt x="580" y="110"/>
                  </a:lnTo>
                  <a:lnTo>
                    <a:pt x="578" y="114"/>
                  </a:lnTo>
                  <a:lnTo>
                    <a:pt x="578" y="114"/>
                  </a:lnTo>
                  <a:lnTo>
                    <a:pt x="576" y="116"/>
                  </a:lnTo>
                  <a:lnTo>
                    <a:pt x="576" y="116"/>
                  </a:lnTo>
                  <a:close/>
                  <a:moveTo>
                    <a:pt x="584" y="88"/>
                  </a:moveTo>
                  <a:lnTo>
                    <a:pt x="586" y="90"/>
                  </a:lnTo>
                  <a:lnTo>
                    <a:pt x="586" y="90"/>
                  </a:lnTo>
                  <a:lnTo>
                    <a:pt x="586" y="92"/>
                  </a:lnTo>
                  <a:lnTo>
                    <a:pt x="586" y="92"/>
                  </a:lnTo>
                  <a:lnTo>
                    <a:pt x="588" y="92"/>
                  </a:lnTo>
                  <a:lnTo>
                    <a:pt x="588" y="92"/>
                  </a:lnTo>
                  <a:lnTo>
                    <a:pt x="590" y="94"/>
                  </a:lnTo>
                  <a:lnTo>
                    <a:pt x="590" y="94"/>
                  </a:lnTo>
                  <a:lnTo>
                    <a:pt x="594" y="96"/>
                  </a:lnTo>
                  <a:lnTo>
                    <a:pt x="594" y="96"/>
                  </a:lnTo>
                  <a:lnTo>
                    <a:pt x="596" y="96"/>
                  </a:lnTo>
                  <a:lnTo>
                    <a:pt x="598" y="96"/>
                  </a:lnTo>
                  <a:lnTo>
                    <a:pt x="598" y="94"/>
                  </a:lnTo>
                  <a:lnTo>
                    <a:pt x="600" y="90"/>
                  </a:lnTo>
                  <a:lnTo>
                    <a:pt x="602" y="84"/>
                  </a:lnTo>
                  <a:lnTo>
                    <a:pt x="604" y="82"/>
                  </a:lnTo>
                  <a:lnTo>
                    <a:pt x="604" y="78"/>
                  </a:lnTo>
                  <a:lnTo>
                    <a:pt x="606" y="78"/>
                  </a:lnTo>
                  <a:lnTo>
                    <a:pt x="606" y="76"/>
                  </a:lnTo>
                  <a:lnTo>
                    <a:pt x="606" y="76"/>
                  </a:lnTo>
                  <a:lnTo>
                    <a:pt x="604" y="74"/>
                  </a:lnTo>
                  <a:lnTo>
                    <a:pt x="604" y="74"/>
                  </a:lnTo>
                  <a:lnTo>
                    <a:pt x="604" y="72"/>
                  </a:lnTo>
                  <a:lnTo>
                    <a:pt x="600" y="72"/>
                  </a:lnTo>
                  <a:lnTo>
                    <a:pt x="600" y="72"/>
                  </a:lnTo>
                  <a:lnTo>
                    <a:pt x="600" y="72"/>
                  </a:lnTo>
                  <a:lnTo>
                    <a:pt x="598" y="72"/>
                  </a:lnTo>
                  <a:lnTo>
                    <a:pt x="598" y="72"/>
                  </a:lnTo>
                  <a:lnTo>
                    <a:pt x="596" y="72"/>
                  </a:lnTo>
                  <a:lnTo>
                    <a:pt x="594" y="72"/>
                  </a:lnTo>
                  <a:lnTo>
                    <a:pt x="594" y="72"/>
                  </a:lnTo>
                  <a:lnTo>
                    <a:pt x="594" y="74"/>
                  </a:lnTo>
                  <a:lnTo>
                    <a:pt x="592" y="74"/>
                  </a:lnTo>
                  <a:lnTo>
                    <a:pt x="592" y="74"/>
                  </a:lnTo>
                  <a:lnTo>
                    <a:pt x="592" y="74"/>
                  </a:lnTo>
                  <a:lnTo>
                    <a:pt x="590" y="76"/>
                  </a:lnTo>
                  <a:lnTo>
                    <a:pt x="588" y="78"/>
                  </a:lnTo>
                  <a:lnTo>
                    <a:pt x="586" y="80"/>
                  </a:lnTo>
                  <a:lnTo>
                    <a:pt x="584" y="82"/>
                  </a:lnTo>
                  <a:lnTo>
                    <a:pt x="584" y="82"/>
                  </a:lnTo>
                  <a:lnTo>
                    <a:pt x="582" y="84"/>
                  </a:lnTo>
                  <a:lnTo>
                    <a:pt x="582" y="86"/>
                  </a:lnTo>
                  <a:lnTo>
                    <a:pt x="584" y="88"/>
                  </a:lnTo>
                  <a:close/>
                  <a:moveTo>
                    <a:pt x="564" y="164"/>
                  </a:moveTo>
                  <a:lnTo>
                    <a:pt x="564" y="164"/>
                  </a:lnTo>
                  <a:lnTo>
                    <a:pt x="562" y="166"/>
                  </a:lnTo>
                  <a:lnTo>
                    <a:pt x="562" y="166"/>
                  </a:lnTo>
                  <a:lnTo>
                    <a:pt x="562" y="170"/>
                  </a:lnTo>
                  <a:lnTo>
                    <a:pt x="562" y="170"/>
                  </a:lnTo>
                  <a:lnTo>
                    <a:pt x="564" y="174"/>
                  </a:lnTo>
                  <a:lnTo>
                    <a:pt x="568" y="178"/>
                  </a:lnTo>
                  <a:lnTo>
                    <a:pt x="568" y="178"/>
                  </a:lnTo>
                  <a:lnTo>
                    <a:pt x="568" y="178"/>
                  </a:lnTo>
                  <a:lnTo>
                    <a:pt x="570" y="180"/>
                  </a:lnTo>
                  <a:lnTo>
                    <a:pt x="570" y="180"/>
                  </a:lnTo>
                  <a:lnTo>
                    <a:pt x="570" y="180"/>
                  </a:lnTo>
                  <a:lnTo>
                    <a:pt x="572" y="180"/>
                  </a:lnTo>
                  <a:lnTo>
                    <a:pt x="572" y="180"/>
                  </a:lnTo>
                  <a:lnTo>
                    <a:pt x="574" y="180"/>
                  </a:lnTo>
                  <a:lnTo>
                    <a:pt x="576" y="180"/>
                  </a:lnTo>
                  <a:lnTo>
                    <a:pt x="576" y="180"/>
                  </a:lnTo>
                  <a:lnTo>
                    <a:pt x="576" y="180"/>
                  </a:lnTo>
                  <a:lnTo>
                    <a:pt x="580" y="180"/>
                  </a:lnTo>
                  <a:lnTo>
                    <a:pt x="580" y="180"/>
                  </a:lnTo>
                  <a:lnTo>
                    <a:pt x="580" y="180"/>
                  </a:lnTo>
                  <a:lnTo>
                    <a:pt x="582" y="178"/>
                  </a:lnTo>
                  <a:lnTo>
                    <a:pt x="582" y="178"/>
                  </a:lnTo>
                  <a:lnTo>
                    <a:pt x="582" y="178"/>
                  </a:lnTo>
                  <a:lnTo>
                    <a:pt x="582" y="178"/>
                  </a:lnTo>
                  <a:lnTo>
                    <a:pt x="582" y="178"/>
                  </a:lnTo>
                  <a:lnTo>
                    <a:pt x="582" y="176"/>
                  </a:lnTo>
                  <a:lnTo>
                    <a:pt x="584" y="174"/>
                  </a:lnTo>
                  <a:lnTo>
                    <a:pt x="584" y="174"/>
                  </a:lnTo>
                  <a:lnTo>
                    <a:pt x="584" y="174"/>
                  </a:lnTo>
                  <a:lnTo>
                    <a:pt x="584" y="172"/>
                  </a:lnTo>
                  <a:lnTo>
                    <a:pt x="584" y="172"/>
                  </a:lnTo>
                  <a:lnTo>
                    <a:pt x="584" y="170"/>
                  </a:lnTo>
                  <a:lnTo>
                    <a:pt x="584" y="170"/>
                  </a:lnTo>
                  <a:lnTo>
                    <a:pt x="584" y="170"/>
                  </a:lnTo>
                  <a:lnTo>
                    <a:pt x="584" y="168"/>
                  </a:lnTo>
                  <a:lnTo>
                    <a:pt x="582" y="168"/>
                  </a:lnTo>
                  <a:lnTo>
                    <a:pt x="582" y="168"/>
                  </a:lnTo>
                  <a:lnTo>
                    <a:pt x="582" y="166"/>
                  </a:lnTo>
                  <a:lnTo>
                    <a:pt x="580" y="166"/>
                  </a:lnTo>
                  <a:lnTo>
                    <a:pt x="580" y="166"/>
                  </a:lnTo>
                  <a:lnTo>
                    <a:pt x="580" y="166"/>
                  </a:lnTo>
                  <a:lnTo>
                    <a:pt x="578" y="166"/>
                  </a:lnTo>
                  <a:lnTo>
                    <a:pt x="578" y="166"/>
                  </a:lnTo>
                  <a:lnTo>
                    <a:pt x="576" y="166"/>
                  </a:lnTo>
                  <a:lnTo>
                    <a:pt x="572" y="164"/>
                  </a:lnTo>
                  <a:lnTo>
                    <a:pt x="568" y="166"/>
                  </a:lnTo>
                  <a:lnTo>
                    <a:pt x="564" y="164"/>
                  </a:lnTo>
                  <a:close/>
                  <a:moveTo>
                    <a:pt x="500" y="104"/>
                  </a:moveTo>
                  <a:lnTo>
                    <a:pt x="500" y="104"/>
                  </a:lnTo>
                  <a:lnTo>
                    <a:pt x="500" y="104"/>
                  </a:lnTo>
                  <a:lnTo>
                    <a:pt x="500" y="106"/>
                  </a:lnTo>
                  <a:lnTo>
                    <a:pt x="502" y="108"/>
                  </a:lnTo>
                  <a:lnTo>
                    <a:pt x="502" y="108"/>
                  </a:lnTo>
                  <a:lnTo>
                    <a:pt x="504" y="108"/>
                  </a:lnTo>
                  <a:lnTo>
                    <a:pt x="506" y="110"/>
                  </a:lnTo>
                  <a:lnTo>
                    <a:pt x="506" y="110"/>
                  </a:lnTo>
                  <a:lnTo>
                    <a:pt x="506" y="110"/>
                  </a:lnTo>
                  <a:lnTo>
                    <a:pt x="510" y="110"/>
                  </a:lnTo>
                  <a:lnTo>
                    <a:pt x="514" y="110"/>
                  </a:lnTo>
                  <a:lnTo>
                    <a:pt x="516" y="112"/>
                  </a:lnTo>
                  <a:lnTo>
                    <a:pt x="516" y="112"/>
                  </a:lnTo>
                  <a:lnTo>
                    <a:pt x="516" y="112"/>
                  </a:lnTo>
                  <a:lnTo>
                    <a:pt x="516" y="114"/>
                  </a:lnTo>
                  <a:lnTo>
                    <a:pt x="516" y="114"/>
                  </a:lnTo>
                  <a:lnTo>
                    <a:pt x="516" y="116"/>
                  </a:lnTo>
                  <a:lnTo>
                    <a:pt x="516" y="118"/>
                  </a:lnTo>
                  <a:lnTo>
                    <a:pt x="516" y="118"/>
                  </a:lnTo>
                  <a:lnTo>
                    <a:pt x="518" y="118"/>
                  </a:lnTo>
                  <a:lnTo>
                    <a:pt x="518" y="120"/>
                  </a:lnTo>
                  <a:lnTo>
                    <a:pt x="518" y="120"/>
                  </a:lnTo>
                  <a:lnTo>
                    <a:pt x="520" y="120"/>
                  </a:lnTo>
                  <a:lnTo>
                    <a:pt x="520" y="122"/>
                  </a:lnTo>
                  <a:lnTo>
                    <a:pt x="520" y="122"/>
                  </a:lnTo>
                  <a:lnTo>
                    <a:pt x="522" y="122"/>
                  </a:lnTo>
                  <a:lnTo>
                    <a:pt x="524" y="122"/>
                  </a:lnTo>
                  <a:lnTo>
                    <a:pt x="524" y="122"/>
                  </a:lnTo>
                  <a:lnTo>
                    <a:pt x="524" y="122"/>
                  </a:lnTo>
                  <a:lnTo>
                    <a:pt x="530" y="122"/>
                  </a:lnTo>
                  <a:lnTo>
                    <a:pt x="530" y="122"/>
                  </a:lnTo>
                  <a:lnTo>
                    <a:pt x="530" y="122"/>
                  </a:lnTo>
                  <a:lnTo>
                    <a:pt x="536" y="122"/>
                  </a:lnTo>
                  <a:lnTo>
                    <a:pt x="542" y="122"/>
                  </a:lnTo>
                  <a:lnTo>
                    <a:pt x="548" y="120"/>
                  </a:lnTo>
                  <a:lnTo>
                    <a:pt x="550" y="120"/>
                  </a:lnTo>
                  <a:lnTo>
                    <a:pt x="550" y="120"/>
                  </a:lnTo>
                  <a:lnTo>
                    <a:pt x="550" y="120"/>
                  </a:lnTo>
                  <a:lnTo>
                    <a:pt x="552" y="120"/>
                  </a:lnTo>
                  <a:lnTo>
                    <a:pt x="554" y="118"/>
                  </a:lnTo>
                  <a:lnTo>
                    <a:pt x="556" y="118"/>
                  </a:lnTo>
                  <a:lnTo>
                    <a:pt x="562" y="118"/>
                  </a:lnTo>
                  <a:lnTo>
                    <a:pt x="564" y="116"/>
                  </a:lnTo>
                  <a:lnTo>
                    <a:pt x="566" y="116"/>
                  </a:lnTo>
                  <a:lnTo>
                    <a:pt x="566" y="116"/>
                  </a:lnTo>
                  <a:lnTo>
                    <a:pt x="568" y="116"/>
                  </a:lnTo>
                  <a:lnTo>
                    <a:pt x="570" y="116"/>
                  </a:lnTo>
                  <a:lnTo>
                    <a:pt x="570" y="116"/>
                  </a:lnTo>
                  <a:lnTo>
                    <a:pt x="570" y="114"/>
                  </a:lnTo>
                  <a:lnTo>
                    <a:pt x="572" y="112"/>
                  </a:lnTo>
                  <a:lnTo>
                    <a:pt x="572" y="112"/>
                  </a:lnTo>
                  <a:lnTo>
                    <a:pt x="572" y="112"/>
                  </a:lnTo>
                  <a:lnTo>
                    <a:pt x="574" y="110"/>
                  </a:lnTo>
                  <a:lnTo>
                    <a:pt x="574" y="110"/>
                  </a:lnTo>
                  <a:lnTo>
                    <a:pt x="574" y="110"/>
                  </a:lnTo>
                  <a:lnTo>
                    <a:pt x="574" y="108"/>
                  </a:lnTo>
                  <a:lnTo>
                    <a:pt x="574" y="108"/>
                  </a:lnTo>
                  <a:lnTo>
                    <a:pt x="574" y="108"/>
                  </a:lnTo>
                  <a:lnTo>
                    <a:pt x="572" y="104"/>
                  </a:lnTo>
                  <a:lnTo>
                    <a:pt x="572" y="104"/>
                  </a:lnTo>
                  <a:lnTo>
                    <a:pt x="572" y="104"/>
                  </a:lnTo>
                  <a:lnTo>
                    <a:pt x="570" y="102"/>
                  </a:lnTo>
                  <a:lnTo>
                    <a:pt x="570" y="102"/>
                  </a:lnTo>
                  <a:lnTo>
                    <a:pt x="570" y="100"/>
                  </a:lnTo>
                  <a:lnTo>
                    <a:pt x="568" y="100"/>
                  </a:lnTo>
                  <a:lnTo>
                    <a:pt x="568" y="100"/>
                  </a:lnTo>
                  <a:lnTo>
                    <a:pt x="568" y="98"/>
                  </a:lnTo>
                  <a:lnTo>
                    <a:pt x="566" y="98"/>
                  </a:lnTo>
                  <a:lnTo>
                    <a:pt x="562" y="96"/>
                  </a:lnTo>
                  <a:lnTo>
                    <a:pt x="560" y="96"/>
                  </a:lnTo>
                  <a:lnTo>
                    <a:pt x="558" y="94"/>
                  </a:lnTo>
                  <a:lnTo>
                    <a:pt x="558" y="92"/>
                  </a:lnTo>
                  <a:lnTo>
                    <a:pt x="558" y="90"/>
                  </a:lnTo>
                  <a:lnTo>
                    <a:pt x="558" y="90"/>
                  </a:lnTo>
                  <a:lnTo>
                    <a:pt x="558" y="88"/>
                  </a:lnTo>
                  <a:lnTo>
                    <a:pt x="560" y="88"/>
                  </a:lnTo>
                  <a:lnTo>
                    <a:pt x="562" y="88"/>
                  </a:lnTo>
                  <a:lnTo>
                    <a:pt x="564" y="86"/>
                  </a:lnTo>
                  <a:lnTo>
                    <a:pt x="568" y="86"/>
                  </a:lnTo>
                  <a:lnTo>
                    <a:pt x="568" y="86"/>
                  </a:lnTo>
                  <a:lnTo>
                    <a:pt x="570" y="84"/>
                  </a:lnTo>
                  <a:lnTo>
                    <a:pt x="570" y="84"/>
                  </a:lnTo>
                  <a:lnTo>
                    <a:pt x="570" y="80"/>
                  </a:lnTo>
                  <a:lnTo>
                    <a:pt x="568" y="80"/>
                  </a:lnTo>
                  <a:lnTo>
                    <a:pt x="566" y="78"/>
                  </a:lnTo>
                  <a:lnTo>
                    <a:pt x="562" y="74"/>
                  </a:lnTo>
                  <a:lnTo>
                    <a:pt x="558" y="70"/>
                  </a:lnTo>
                  <a:lnTo>
                    <a:pt x="556" y="68"/>
                  </a:lnTo>
                  <a:lnTo>
                    <a:pt x="556" y="68"/>
                  </a:lnTo>
                  <a:lnTo>
                    <a:pt x="556" y="68"/>
                  </a:lnTo>
                  <a:lnTo>
                    <a:pt x="558" y="66"/>
                  </a:lnTo>
                  <a:lnTo>
                    <a:pt x="558" y="66"/>
                  </a:lnTo>
                  <a:lnTo>
                    <a:pt x="560" y="64"/>
                  </a:lnTo>
                  <a:lnTo>
                    <a:pt x="564" y="64"/>
                  </a:lnTo>
                  <a:lnTo>
                    <a:pt x="566" y="64"/>
                  </a:lnTo>
                  <a:lnTo>
                    <a:pt x="568" y="64"/>
                  </a:lnTo>
                  <a:lnTo>
                    <a:pt x="572" y="62"/>
                  </a:lnTo>
                  <a:lnTo>
                    <a:pt x="572" y="62"/>
                  </a:lnTo>
                  <a:lnTo>
                    <a:pt x="574" y="60"/>
                  </a:lnTo>
                  <a:lnTo>
                    <a:pt x="576" y="56"/>
                  </a:lnTo>
                  <a:lnTo>
                    <a:pt x="576" y="56"/>
                  </a:lnTo>
                  <a:lnTo>
                    <a:pt x="576" y="56"/>
                  </a:lnTo>
                  <a:lnTo>
                    <a:pt x="576" y="50"/>
                  </a:lnTo>
                  <a:lnTo>
                    <a:pt x="576" y="50"/>
                  </a:lnTo>
                  <a:lnTo>
                    <a:pt x="576" y="50"/>
                  </a:lnTo>
                  <a:lnTo>
                    <a:pt x="574" y="46"/>
                  </a:lnTo>
                  <a:lnTo>
                    <a:pt x="574" y="46"/>
                  </a:lnTo>
                  <a:lnTo>
                    <a:pt x="574" y="46"/>
                  </a:lnTo>
                  <a:lnTo>
                    <a:pt x="572" y="42"/>
                  </a:lnTo>
                  <a:lnTo>
                    <a:pt x="572" y="42"/>
                  </a:lnTo>
                  <a:lnTo>
                    <a:pt x="572" y="42"/>
                  </a:lnTo>
                  <a:lnTo>
                    <a:pt x="570" y="38"/>
                  </a:lnTo>
                  <a:lnTo>
                    <a:pt x="568" y="36"/>
                  </a:lnTo>
                  <a:lnTo>
                    <a:pt x="564" y="32"/>
                  </a:lnTo>
                  <a:lnTo>
                    <a:pt x="560" y="30"/>
                  </a:lnTo>
                  <a:lnTo>
                    <a:pt x="560" y="30"/>
                  </a:lnTo>
                  <a:lnTo>
                    <a:pt x="558" y="30"/>
                  </a:lnTo>
                  <a:lnTo>
                    <a:pt x="554" y="30"/>
                  </a:lnTo>
                  <a:lnTo>
                    <a:pt x="550" y="30"/>
                  </a:lnTo>
                  <a:lnTo>
                    <a:pt x="544" y="30"/>
                  </a:lnTo>
                  <a:lnTo>
                    <a:pt x="544" y="30"/>
                  </a:lnTo>
                  <a:lnTo>
                    <a:pt x="544" y="30"/>
                  </a:lnTo>
                  <a:lnTo>
                    <a:pt x="542" y="30"/>
                  </a:lnTo>
                  <a:lnTo>
                    <a:pt x="542" y="30"/>
                  </a:lnTo>
                  <a:lnTo>
                    <a:pt x="542" y="30"/>
                  </a:lnTo>
                  <a:lnTo>
                    <a:pt x="540" y="32"/>
                  </a:lnTo>
                  <a:lnTo>
                    <a:pt x="536" y="34"/>
                  </a:lnTo>
                  <a:lnTo>
                    <a:pt x="534" y="34"/>
                  </a:lnTo>
                  <a:lnTo>
                    <a:pt x="532" y="38"/>
                  </a:lnTo>
                  <a:lnTo>
                    <a:pt x="532" y="38"/>
                  </a:lnTo>
                  <a:lnTo>
                    <a:pt x="532" y="38"/>
                  </a:lnTo>
                  <a:lnTo>
                    <a:pt x="530" y="42"/>
                  </a:lnTo>
                  <a:lnTo>
                    <a:pt x="528" y="46"/>
                  </a:lnTo>
                  <a:lnTo>
                    <a:pt x="526" y="48"/>
                  </a:lnTo>
                  <a:lnTo>
                    <a:pt x="524" y="52"/>
                  </a:lnTo>
                  <a:lnTo>
                    <a:pt x="520" y="54"/>
                  </a:lnTo>
                  <a:lnTo>
                    <a:pt x="518" y="54"/>
                  </a:lnTo>
                  <a:lnTo>
                    <a:pt x="516" y="56"/>
                  </a:lnTo>
                  <a:lnTo>
                    <a:pt x="516" y="56"/>
                  </a:lnTo>
                  <a:lnTo>
                    <a:pt x="514" y="56"/>
                  </a:lnTo>
                  <a:lnTo>
                    <a:pt x="514" y="56"/>
                  </a:lnTo>
                  <a:lnTo>
                    <a:pt x="514" y="60"/>
                  </a:lnTo>
                  <a:lnTo>
                    <a:pt x="516" y="64"/>
                  </a:lnTo>
                  <a:lnTo>
                    <a:pt x="518" y="68"/>
                  </a:lnTo>
                  <a:lnTo>
                    <a:pt x="520" y="72"/>
                  </a:lnTo>
                  <a:lnTo>
                    <a:pt x="520" y="78"/>
                  </a:lnTo>
                  <a:lnTo>
                    <a:pt x="520" y="80"/>
                  </a:lnTo>
                  <a:lnTo>
                    <a:pt x="518" y="80"/>
                  </a:lnTo>
                  <a:lnTo>
                    <a:pt x="516" y="80"/>
                  </a:lnTo>
                  <a:lnTo>
                    <a:pt x="514" y="78"/>
                  </a:lnTo>
                  <a:lnTo>
                    <a:pt x="514" y="76"/>
                  </a:lnTo>
                  <a:lnTo>
                    <a:pt x="512" y="76"/>
                  </a:lnTo>
                  <a:lnTo>
                    <a:pt x="510" y="76"/>
                  </a:lnTo>
                  <a:lnTo>
                    <a:pt x="510" y="76"/>
                  </a:lnTo>
                  <a:lnTo>
                    <a:pt x="508" y="76"/>
                  </a:lnTo>
                  <a:lnTo>
                    <a:pt x="506" y="76"/>
                  </a:lnTo>
                  <a:lnTo>
                    <a:pt x="506" y="76"/>
                  </a:lnTo>
                  <a:lnTo>
                    <a:pt x="506" y="76"/>
                  </a:lnTo>
                  <a:lnTo>
                    <a:pt x="504" y="76"/>
                  </a:lnTo>
                  <a:lnTo>
                    <a:pt x="504" y="76"/>
                  </a:lnTo>
                  <a:lnTo>
                    <a:pt x="504" y="78"/>
                  </a:lnTo>
                  <a:lnTo>
                    <a:pt x="502" y="80"/>
                  </a:lnTo>
                  <a:lnTo>
                    <a:pt x="502" y="80"/>
                  </a:lnTo>
                  <a:lnTo>
                    <a:pt x="502" y="80"/>
                  </a:lnTo>
                  <a:lnTo>
                    <a:pt x="500" y="80"/>
                  </a:lnTo>
                  <a:lnTo>
                    <a:pt x="500" y="80"/>
                  </a:lnTo>
                  <a:lnTo>
                    <a:pt x="500" y="80"/>
                  </a:lnTo>
                  <a:lnTo>
                    <a:pt x="502" y="82"/>
                  </a:lnTo>
                  <a:lnTo>
                    <a:pt x="500" y="84"/>
                  </a:lnTo>
                  <a:lnTo>
                    <a:pt x="500" y="84"/>
                  </a:lnTo>
                  <a:lnTo>
                    <a:pt x="500" y="84"/>
                  </a:lnTo>
                  <a:lnTo>
                    <a:pt x="502" y="88"/>
                  </a:lnTo>
                  <a:lnTo>
                    <a:pt x="502" y="92"/>
                  </a:lnTo>
                  <a:lnTo>
                    <a:pt x="504" y="96"/>
                  </a:lnTo>
                  <a:lnTo>
                    <a:pt x="504" y="96"/>
                  </a:lnTo>
                  <a:lnTo>
                    <a:pt x="504" y="96"/>
                  </a:lnTo>
                  <a:lnTo>
                    <a:pt x="502" y="98"/>
                  </a:lnTo>
                  <a:lnTo>
                    <a:pt x="502" y="98"/>
                  </a:lnTo>
                  <a:lnTo>
                    <a:pt x="500" y="98"/>
                  </a:lnTo>
                  <a:lnTo>
                    <a:pt x="500" y="98"/>
                  </a:lnTo>
                  <a:lnTo>
                    <a:pt x="500" y="98"/>
                  </a:lnTo>
                  <a:lnTo>
                    <a:pt x="500" y="100"/>
                  </a:lnTo>
                  <a:lnTo>
                    <a:pt x="498" y="100"/>
                  </a:lnTo>
                  <a:lnTo>
                    <a:pt x="498" y="100"/>
                  </a:lnTo>
                  <a:lnTo>
                    <a:pt x="498" y="102"/>
                  </a:lnTo>
                  <a:lnTo>
                    <a:pt x="500" y="102"/>
                  </a:lnTo>
                  <a:lnTo>
                    <a:pt x="500" y="102"/>
                  </a:lnTo>
                  <a:lnTo>
                    <a:pt x="500" y="104"/>
                  </a:lnTo>
                  <a:lnTo>
                    <a:pt x="500" y="104"/>
                  </a:lnTo>
                  <a:close/>
                  <a:moveTo>
                    <a:pt x="528" y="92"/>
                  </a:moveTo>
                  <a:lnTo>
                    <a:pt x="528" y="92"/>
                  </a:lnTo>
                  <a:lnTo>
                    <a:pt x="528" y="92"/>
                  </a:lnTo>
                  <a:lnTo>
                    <a:pt x="528" y="94"/>
                  </a:lnTo>
                  <a:lnTo>
                    <a:pt x="530" y="94"/>
                  </a:lnTo>
                  <a:lnTo>
                    <a:pt x="530" y="94"/>
                  </a:lnTo>
                  <a:lnTo>
                    <a:pt x="530" y="96"/>
                  </a:lnTo>
                  <a:lnTo>
                    <a:pt x="530" y="98"/>
                  </a:lnTo>
                  <a:lnTo>
                    <a:pt x="532" y="100"/>
                  </a:lnTo>
                  <a:lnTo>
                    <a:pt x="534" y="100"/>
                  </a:lnTo>
                  <a:lnTo>
                    <a:pt x="538" y="104"/>
                  </a:lnTo>
                  <a:lnTo>
                    <a:pt x="538" y="104"/>
                  </a:lnTo>
                  <a:lnTo>
                    <a:pt x="540" y="106"/>
                  </a:lnTo>
                  <a:lnTo>
                    <a:pt x="540" y="106"/>
                  </a:lnTo>
                  <a:lnTo>
                    <a:pt x="538" y="106"/>
                  </a:lnTo>
                  <a:lnTo>
                    <a:pt x="538" y="108"/>
                  </a:lnTo>
                  <a:lnTo>
                    <a:pt x="538" y="108"/>
                  </a:lnTo>
                  <a:lnTo>
                    <a:pt x="538" y="108"/>
                  </a:lnTo>
                  <a:lnTo>
                    <a:pt x="538" y="108"/>
                  </a:lnTo>
                  <a:lnTo>
                    <a:pt x="536" y="106"/>
                  </a:lnTo>
                  <a:lnTo>
                    <a:pt x="534" y="104"/>
                  </a:lnTo>
                  <a:lnTo>
                    <a:pt x="532" y="102"/>
                  </a:lnTo>
                  <a:lnTo>
                    <a:pt x="530" y="98"/>
                  </a:lnTo>
                  <a:lnTo>
                    <a:pt x="528" y="96"/>
                  </a:lnTo>
                  <a:lnTo>
                    <a:pt x="528" y="94"/>
                  </a:lnTo>
                  <a:lnTo>
                    <a:pt x="526" y="92"/>
                  </a:lnTo>
                  <a:lnTo>
                    <a:pt x="528" y="92"/>
                  </a:lnTo>
                  <a:close/>
                  <a:moveTo>
                    <a:pt x="2428" y="930"/>
                  </a:moveTo>
                  <a:lnTo>
                    <a:pt x="2432" y="926"/>
                  </a:lnTo>
                  <a:lnTo>
                    <a:pt x="2434" y="922"/>
                  </a:lnTo>
                  <a:lnTo>
                    <a:pt x="2434" y="922"/>
                  </a:lnTo>
                  <a:lnTo>
                    <a:pt x="2434" y="922"/>
                  </a:lnTo>
                  <a:lnTo>
                    <a:pt x="2434" y="922"/>
                  </a:lnTo>
                  <a:lnTo>
                    <a:pt x="2434" y="922"/>
                  </a:lnTo>
                  <a:lnTo>
                    <a:pt x="2434" y="920"/>
                  </a:lnTo>
                  <a:lnTo>
                    <a:pt x="2434" y="920"/>
                  </a:lnTo>
                  <a:lnTo>
                    <a:pt x="2434" y="920"/>
                  </a:lnTo>
                  <a:lnTo>
                    <a:pt x="2434" y="918"/>
                  </a:lnTo>
                  <a:lnTo>
                    <a:pt x="2436" y="918"/>
                  </a:lnTo>
                  <a:lnTo>
                    <a:pt x="2440" y="918"/>
                  </a:lnTo>
                  <a:lnTo>
                    <a:pt x="2442" y="918"/>
                  </a:lnTo>
                  <a:lnTo>
                    <a:pt x="2442" y="918"/>
                  </a:lnTo>
                  <a:lnTo>
                    <a:pt x="2446" y="918"/>
                  </a:lnTo>
                  <a:lnTo>
                    <a:pt x="2446" y="918"/>
                  </a:lnTo>
                  <a:lnTo>
                    <a:pt x="2446" y="918"/>
                  </a:lnTo>
                  <a:lnTo>
                    <a:pt x="2448" y="918"/>
                  </a:lnTo>
                  <a:lnTo>
                    <a:pt x="2448" y="918"/>
                  </a:lnTo>
                  <a:lnTo>
                    <a:pt x="2450" y="916"/>
                  </a:lnTo>
                  <a:lnTo>
                    <a:pt x="2452" y="916"/>
                  </a:lnTo>
                  <a:lnTo>
                    <a:pt x="2452" y="916"/>
                  </a:lnTo>
                  <a:lnTo>
                    <a:pt x="2452" y="916"/>
                  </a:lnTo>
                  <a:lnTo>
                    <a:pt x="2454" y="912"/>
                  </a:lnTo>
                  <a:lnTo>
                    <a:pt x="2456" y="912"/>
                  </a:lnTo>
                  <a:lnTo>
                    <a:pt x="2458" y="910"/>
                  </a:lnTo>
                  <a:lnTo>
                    <a:pt x="2460" y="906"/>
                  </a:lnTo>
                  <a:lnTo>
                    <a:pt x="2460" y="906"/>
                  </a:lnTo>
                  <a:lnTo>
                    <a:pt x="2460" y="904"/>
                  </a:lnTo>
                  <a:lnTo>
                    <a:pt x="2460" y="902"/>
                  </a:lnTo>
                  <a:lnTo>
                    <a:pt x="2462" y="900"/>
                  </a:lnTo>
                  <a:lnTo>
                    <a:pt x="2462" y="900"/>
                  </a:lnTo>
                  <a:lnTo>
                    <a:pt x="2462" y="900"/>
                  </a:lnTo>
                  <a:lnTo>
                    <a:pt x="2462" y="898"/>
                  </a:lnTo>
                  <a:lnTo>
                    <a:pt x="2462" y="898"/>
                  </a:lnTo>
                  <a:lnTo>
                    <a:pt x="2462" y="896"/>
                  </a:lnTo>
                  <a:lnTo>
                    <a:pt x="2460" y="894"/>
                  </a:lnTo>
                  <a:lnTo>
                    <a:pt x="2460" y="894"/>
                  </a:lnTo>
                  <a:lnTo>
                    <a:pt x="2460" y="894"/>
                  </a:lnTo>
                  <a:lnTo>
                    <a:pt x="2460" y="892"/>
                  </a:lnTo>
                  <a:lnTo>
                    <a:pt x="2460" y="892"/>
                  </a:lnTo>
                  <a:lnTo>
                    <a:pt x="2458" y="892"/>
                  </a:lnTo>
                  <a:lnTo>
                    <a:pt x="2456" y="890"/>
                  </a:lnTo>
                  <a:lnTo>
                    <a:pt x="2454" y="888"/>
                  </a:lnTo>
                  <a:lnTo>
                    <a:pt x="2452" y="886"/>
                  </a:lnTo>
                  <a:lnTo>
                    <a:pt x="2448" y="886"/>
                  </a:lnTo>
                  <a:lnTo>
                    <a:pt x="2446" y="884"/>
                  </a:lnTo>
                  <a:lnTo>
                    <a:pt x="2444" y="882"/>
                  </a:lnTo>
                  <a:lnTo>
                    <a:pt x="2444" y="882"/>
                  </a:lnTo>
                  <a:lnTo>
                    <a:pt x="2444" y="880"/>
                  </a:lnTo>
                  <a:lnTo>
                    <a:pt x="2442" y="880"/>
                  </a:lnTo>
                  <a:lnTo>
                    <a:pt x="2442" y="876"/>
                  </a:lnTo>
                  <a:lnTo>
                    <a:pt x="2442" y="872"/>
                  </a:lnTo>
                  <a:lnTo>
                    <a:pt x="2442" y="870"/>
                  </a:lnTo>
                  <a:lnTo>
                    <a:pt x="2442" y="870"/>
                  </a:lnTo>
                  <a:lnTo>
                    <a:pt x="2442" y="870"/>
                  </a:lnTo>
                  <a:lnTo>
                    <a:pt x="2442" y="868"/>
                  </a:lnTo>
                  <a:lnTo>
                    <a:pt x="2442" y="868"/>
                  </a:lnTo>
                  <a:lnTo>
                    <a:pt x="2440" y="868"/>
                  </a:lnTo>
                  <a:lnTo>
                    <a:pt x="2440" y="866"/>
                  </a:lnTo>
                  <a:lnTo>
                    <a:pt x="2440" y="866"/>
                  </a:lnTo>
                  <a:lnTo>
                    <a:pt x="2438" y="866"/>
                  </a:lnTo>
                  <a:lnTo>
                    <a:pt x="2438" y="864"/>
                  </a:lnTo>
                  <a:lnTo>
                    <a:pt x="2438" y="864"/>
                  </a:lnTo>
                  <a:lnTo>
                    <a:pt x="2436" y="864"/>
                  </a:lnTo>
                  <a:lnTo>
                    <a:pt x="2434" y="862"/>
                  </a:lnTo>
                  <a:lnTo>
                    <a:pt x="2434" y="862"/>
                  </a:lnTo>
                  <a:lnTo>
                    <a:pt x="2434" y="862"/>
                  </a:lnTo>
                  <a:lnTo>
                    <a:pt x="2432" y="862"/>
                  </a:lnTo>
                  <a:lnTo>
                    <a:pt x="2430" y="862"/>
                  </a:lnTo>
                  <a:lnTo>
                    <a:pt x="2426" y="862"/>
                  </a:lnTo>
                  <a:lnTo>
                    <a:pt x="2420" y="862"/>
                  </a:lnTo>
                  <a:lnTo>
                    <a:pt x="2416" y="862"/>
                  </a:lnTo>
                  <a:lnTo>
                    <a:pt x="2412" y="862"/>
                  </a:lnTo>
                  <a:lnTo>
                    <a:pt x="2408" y="862"/>
                  </a:lnTo>
                  <a:lnTo>
                    <a:pt x="2404" y="862"/>
                  </a:lnTo>
                  <a:lnTo>
                    <a:pt x="2404" y="862"/>
                  </a:lnTo>
                  <a:lnTo>
                    <a:pt x="2404" y="862"/>
                  </a:lnTo>
                  <a:lnTo>
                    <a:pt x="2402" y="864"/>
                  </a:lnTo>
                  <a:lnTo>
                    <a:pt x="2402" y="864"/>
                  </a:lnTo>
                  <a:lnTo>
                    <a:pt x="2402" y="864"/>
                  </a:lnTo>
                  <a:lnTo>
                    <a:pt x="2400" y="864"/>
                  </a:lnTo>
                  <a:lnTo>
                    <a:pt x="2400" y="864"/>
                  </a:lnTo>
                  <a:lnTo>
                    <a:pt x="2400" y="866"/>
                  </a:lnTo>
                  <a:lnTo>
                    <a:pt x="2400" y="868"/>
                  </a:lnTo>
                  <a:lnTo>
                    <a:pt x="2400" y="868"/>
                  </a:lnTo>
                  <a:lnTo>
                    <a:pt x="2400" y="868"/>
                  </a:lnTo>
                  <a:lnTo>
                    <a:pt x="2398" y="870"/>
                  </a:lnTo>
                  <a:lnTo>
                    <a:pt x="2398" y="870"/>
                  </a:lnTo>
                  <a:lnTo>
                    <a:pt x="2398" y="870"/>
                  </a:lnTo>
                  <a:lnTo>
                    <a:pt x="2400" y="872"/>
                  </a:lnTo>
                  <a:lnTo>
                    <a:pt x="2400" y="876"/>
                  </a:lnTo>
                  <a:lnTo>
                    <a:pt x="2400" y="876"/>
                  </a:lnTo>
                  <a:lnTo>
                    <a:pt x="2400" y="878"/>
                  </a:lnTo>
                  <a:lnTo>
                    <a:pt x="2400" y="880"/>
                  </a:lnTo>
                  <a:lnTo>
                    <a:pt x="2400" y="882"/>
                  </a:lnTo>
                  <a:lnTo>
                    <a:pt x="2400" y="886"/>
                  </a:lnTo>
                  <a:lnTo>
                    <a:pt x="2400" y="886"/>
                  </a:lnTo>
                  <a:lnTo>
                    <a:pt x="2400" y="886"/>
                  </a:lnTo>
                  <a:lnTo>
                    <a:pt x="2398" y="884"/>
                  </a:lnTo>
                  <a:lnTo>
                    <a:pt x="2396" y="882"/>
                  </a:lnTo>
                  <a:lnTo>
                    <a:pt x="2394" y="880"/>
                  </a:lnTo>
                  <a:lnTo>
                    <a:pt x="2394" y="880"/>
                  </a:lnTo>
                  <a:lnTo>
                    <a:pt x="2392" y="878"/>
                  </a:lnTo>
                  <a:lnTo>
                    <a:pt x="2392" y="876"/>
                  </a:lnTo>
                  <a:lnTo>
                    <a:pt x="2394" y="872"/>
                  </a:lnTo>
                  <a:lnTo>
                    <a:pt x="2394" y="870"/>
                  </a:lnTo>
                  <a:lnTo>
                    <a:pt x="2394" y="870"/>
                  </a:lnTo>
                  <a:lnTo>
                    <a:pt x="2394" y="868"/>
                  </a:lnTo>
                  <a:lnTo>
                    <a:pt x="2394" y="868"/>
                  </a:lnTo>
                  <a:lnTo>
                    <a:pt x="2396" y="866"/>
                  </a:lnTo>
                  <a:lnTo>
                    <a:pt x="2398" y="864"/>
                  </a:lnTo>
                  <a:lnTo>
                    <a:pt x="2398" y="864"/>
                  </a:lnTo>
                  <a:lnTo>
                    <a:pt x="2398" y="864"/>
                  </a:lnTo>
                  <a:lnTo>
                    <a:pt x="2398" y="862"/>
                  </a:lnTo>
                  <a:lnTo>
                    <a:pt x="2398" y="862"/>
                  </a:lnTo>
                  <a:lnTo>
                    <a:pt x="2398" y="860"/>
                  </a:lnTo>
                  <a:lnTo>
                    <a:pt x="2398" y="858"/>
                  </a:lnTo>
                  <a:lnTo>
                    <a:pt x="2398" y="858"/>
                  </a:lnTo>
                  <a:lnTo>
                    <a:pt x="2398" y="858"/>
                  </a:lnTo>
                  <a:lnTo>
                    <a:pt x="2398" y="854"/>
                  </a:lnTo>
                  <a:lnTo>
                    <a:pt x="2398" y="854"/>
                  </a:lnTo>
                  <a:lnTo>
                    <a:pt x="2396" y="854"/>
                  </a:lnTo>
                  <a:lnTo>
                    <a:pt x="2396" y="852"/>
                  </a:lnTo>
                  <a:lnTo>
                    <a:pt x="2394" y="850"/>
                  </a:lnTo>
                  <a:lnTo>
                    <a:pt x="2392" y="848"/>
                  </a:lnTo>
                  <a:lnTo>
                    <a:pt x="2390" y="846"/>
                  </a:lnTo>
                  <a:lnTo>
                    <a:pt x="2386" y="844"/>
                  </a:lnTo>
                  <a:lnTo>
                    <a:pt x="2384" y="840"/>
                  </a:lnTo>
                  <a:lnTo>
                    <a:pt x="2376" y="836"/>
                  </a:lnTo>
                  <a:lnTo>
                    <a:pt x="2368" y="830"/>
                  </a:lnTo>
                  <a:lnTo>
                    <a:pt x="2360" y="824"/>
                  </a:lnTo>
                  <a:lnTo>
                    <a:pt x="2354" y="818"/>
                  </a:lnTo>
                  <a:lnTo>
                    <a:pt x="2346" y="812"/>
                  </a:lnTo>
                  <a:lnTo>
                    <a:pt x="2344" y="810"/>
                  </a:lnTo>
                  <a:lnTo>
                    <a:pt x="2342" y="806"/>
                  </a:lnTo>
                  <a:lnTo>
                    <a:pt x="2338" y="802"/>
                  </a:lnTo>
                  <a:lnTo>
                    <a:pt x="2334" y="800"/>
                  </a:lnTo>
                  <a:lnTo>
                    <a:pt x="2332" y="796"/>
                  </a:lnTo>
                  <a:lnTo>
                    <a:pt x="2328" y="792"/>
                  </a:lnTo>
                  <a:lnTo>
                    <a:pt x="2324" y="788"/>
                  </a:lnTo>
                  <a:lnTo>
                    <a:pt x="2320" y="784"/>
                  </a:lnTo>
                  <a:lnTo>
                    <a:pt x="2318" y="782"/>
                  </a:lnTo>
                  <a:lnTo>
                    <a:pt x="2314" y="780"/>
                  </a:lnTo>
                  <a:lnTo>
                    <a:pt x="2308" y="776"/>
                  </a:lnTo>
                  <a:lnTo>
                    <a:pt x="2298" y="772"/>
                  </a:lnTo>
                  <a:lnTo>
                    <a:pt x="2294" y="768"/>
                  </a:lnTo>
                  <a:lnTo>
                    <a:pt x="2288" y="766"/>
                  </a:lnTo>
                  <a:lnTo>
                    <a:pt x="2284" y="764"/>
                  </a:lnTo>
                  <a:lnTo>
                    <a:pt x="2282" y="762"/>
                  </a:lnTo>
                  <a:lnTo>
                    <a:pt x="2278" y="762"/>
                  </a:lnTo>
                  <a:lnTo>
                    <a:pt x="2276" y="760"/>
                  </a:lnTo>
                  <a:lnTo>
                    <a:pt x="2274" y="760"/>
                  </a:lnTo>
                  <a:lnTo>
                    <a:pt x="2272" y="758"/>
                  </a:lnTo>
                  <a:lnTo>
                    <a:pt x="2270" y="756"/>
                  </a:lnTo>
                  <a:lnTo>
                    <a:pt x="2270" y="756"/>
                  </a:lnTo>
                  <a:lnTo>
                    <a:pt x="2270" y="756"/>
                  </a:lnTo>
                  <a:lnTo>
                    <a:pt x="2268" y="756"/>
                  </a:lnTo>
                  <a:lnTo>
                    <a:pt x="2266" y="756"/>
                  </a:lnTo>
                  <a:lnTo>
                    <a:pt x="2266" y="756"/>
                  </a:lnTo>
                  <a:lnTo>
                    <a:pt x="2260" y="756"/>
                  </a:lnTo>
                  <a:lnTo>
                    <a:pt x="2256" y="756"/>
                  </a:lnTo>
                  <a:lnTo>
                    <a:pt x="2250" y="756"/>
                  </a:lnTo>
                  <a:lnTo>
                    <a:pt x="2246" y="756"/>
                  </a:lnTo>
                  <a:lnTo>
                    <a:pt x="2240" y="754"/>
                  </a:lnTo>
                  <a:lnTo>
                    <a:pt x="2234" y="754"/>
                  </a:lnTo>
                  <a:lnTo>
                    <a:pt x="2228" y="752"/>
                  </a:lnTo>
                  <a:lnTo>
                    <a:pt x="2226" y="752"/>
                  </a:lnTo>
                  <a:lnTo>
                    <a:pt x="2222" y="750"/>
                  </a:lnTo>
                  <a:lnTo>
                    <a:pt x="2220" y="750"/>
                  </a:lnTo>
                  <a:lnTo>
                    <a:pt x="2220" y="750"/>
                  </a:lnTo>
                  <a:lnTo>
                    <a:pt x="2216" y="750"/>
                  </a:lnTo>
                  <a:lnTo>
                    <a:pt x="2214" y="748"/>
                  </a:lnTo>
                  <a:lnTo>
                    <a:pt x="2212" y="748"/>
                  </a:lnTo>
                  <a:lnTo>
                    <a:pt x="2210" y="748"/>
                  </a:lnTo>
                  <a:lnTo>
                    <a:pt x="2208" y="748"/>
                  </a:lnTo>
                  <a:lnTo>
                    <a:pt x="2206" y="746"/>
                  </a:lnTo>
                  <a:lnTo>
                    <a:pt x="2200" y="746"/>
                  </a:lnTo>
                  <a:lnTo>
                    <a:pt x="2196" y="744"/>
                  </a:lnTo>
                  <a:lnTo>
                    <a:pt x="2194" y="744"/>
                  </a:lnTo>
                  <a:lnTo>
                    <a:pt x="2192" y="744"/>
                  </a:lnTo>
                  <a:lnTo>
                    <a:pt x="2190" y="744"/>
                  </a:lnTo>
                  <a:lnTo>
                    <a:pt x="2188" y="744"/>
                  </a:lnTo>
                  <a:lnTo>
                    <a:pt x="2188" y="744"/>
                  </a:lnTo>
                  <a:lnTo>
                    <a:pt x="2188" y="744"/>
                  </a:lnTo>
                  <a:lnTo>
                    <a:pt x="2186" y="746"/>
                  </a:lnTo>
                  <a:lnTo>
                    <a:pt x="2186" y="746"/>
                  </a:lnTo>
                  <a:lnTo>
                    <a:pt x="2184" y="746"/>
                  </a:lnTo>
                  <a:lnTo>
                    <a:pt x="2182" y="750"/>
                  </a:lnTo>
                  <a:lnTo>
                    <a:pt x="2182" y="750"/>
                  </a:lnTo>
                  <a:lnTo>
                    <a:pt x="2182" y="750"/>
                  </a:lnTo>
                  <a:lnTo>
                    <a:pt x="2180" y="754"/>
                  </a:lnTo>
                  <a:lnTo>
                    <a:pt x="2180" y="754"/>
                  </a:lnTo>
                  <a:lnTo>
                    <a:pt x="2180" y="754"/>
                  </a:lnTo>
                  <a:lnTo>
                    <a:pt x="2180" y="760"/>
                  </a:lnTo>
                  <a:lnTo>
                    <a:pt x="2180" y="760"/>
                  </a:lnTo>
                  <a:lnTo>
                    <a:pt x="2182" y="762"/>
                  </a:lnTo>
                  <a:lnTo>
                    <a:pt x="2182" y="768"/>
                  </a:lnTo>
                  <a:lnTo>
                    <a:pt x="2184" y="772"/>
                  </a:lnTo>
                  <a:lnTo>
                    <a:pt x="2186" y="776"/>
                  </a:lnTo>
                  <a:lnTo>
                    <a:pt x="2188" y="780"/>
                  </a:lnTo>
                  <a:lnTo>
                    <a:pt x="2188" y="784"/>
                  </a:lnTo>
                  <a:lnTo>
                    <a:pt x="2190" y="786"/>
                  </a:lnTo>
                  <a:lnTo>
                    <a:pt x="2190" y="788"/>
                  </a:lnTo>
                  <a:lnTo>
                    <a:pt x="2190" y="788"/>
                  </a:lnTo>
                  <a:lnTo>
                    <a:pt x="2188" y="788"/>
                  </a:lnTo>
                  <a:lnTo>
                    <a:pt x="2186" y="788"/>
                  </a:lnTo>
                  <a:lnTo>
                    <a:pt x="2182" y="788"/>
                  </a:lnTo>
                  <a:lnTo>
                    <a:pt x="2178" y="786"/>
                  </a:lnTo>
                  <a:lnTo>
                    <a:pt x="2176" y="786"/>
                  </a:lnTo>
                  <a:lnTo>
                    <a:pt x="2172" y="786"/>
                  </a:lnTo>
                  <a:lnTo>
                    <a:pt x="2170" y="784"/>
                  </a:lnTo>
                  <a:lnTo>
                    <a:pt x="2164" y="784"/>
                  </a:lnTo>
                  <a:lnTo>
                    <a:pt x="2162" y="784"/>
                  </a:lnTo>
                  <a:lnTo>
                    <a:pt x="2158" y="782"/>
                  </a:lnTo>
                  <a:lnTo>
                    <a:pt x="2158" y="782"/>
                  </a:lnTo>
                  <a:lnTo>
                    <a:pt x="2156" y="780"/>
                  </a:lnTo>
                  <a:lnTo>
                    <a:pt x="2156" y="780"/>
                  </a:lnTo>
                  <a:lnTo>
                    <a:pt x="2154" y="778"/>
                  </a:lnTo>
                  <a:lnTo>
                    <a:pt x="2154" y="774"/>
                  </a:lnTo>
                  <a:lnTo>
                    <a:pt x="2154" y="772"/>
                  </a:lnTo>
                  <a:lnTo>
                    <a:pt x="2154" y="770"/>
                  </a:lnTo>
                  <a:lnTo>
                    <a:pt x="2154" y="766"/>
                  </a:lnTo>
                  <a:lnTo>
                    <a:pt x="2154" y="764"/>
                  </a:lnTo>
                  <a:lnTo>
                    <a:pt x="2154" y="764"/>
                  </a:lnTo>
                  <a:lnTo>
                    <a:pt x="2156" y="764"/>
                  </a:lnTo>
                  <a:lnTo>
                    <a:pt x="2156" y="762"/>
                  </a:lnTo>
                  <a:lnTo>
                    <a:pt x="2160" y="762"/>
                  </a:lnTo>
                  <a:lnTo>
                    <a:pt x="2162" y="762"/>
                  </a:lnTo>
                  <a:lnTo>
                    <a:pt x="2166" y="760"/>
                  </a:lnTo>
                  <a:lnTo>
                    <a:pt x="2168" y="760"/>
                  </a:lnTo>
                  <a:lnTo>
                    <a:pt x="2170" y="760"/>
                  </a:lnTo>
                  <a:lnTo>
                    <a:pt x="2170" y="760"/>
                  </a:lnTo>
                  <a:lnTo>
                    <a:pt x="2172" y="760"/>
                  </a:lnTo>
                  <a:lnTo>
                    <a:pt x="2172" y="758"/>
                  </a:lnTo>
                  <a:lnTo>
                    <a:pt x="2172" y="758"/>
                  </a:lnTo>
                  <a:lnTo>
                    <a:pt x="2172" y="756"/>
                  </a:lnTo>
                  <a:lnTo>
                    <a:pt x="2172" y="754"/>
                  </a:lnTo>
                  <a:lnTo>
                    <a:pt x="2172" y="754"/>
                  </a:lnTo>
                  <a:lnTo>
                    <a:pt x="2172" y="754"/>
                  </a:lnTo>
                  <a:lnTo>
                    <a:pt x="2170" y="752"/>
                  </a:lnTo>
                  <a:lnTo>
                    <a:pt x="2168" y="750"/>
                  </a:lnTo>
                  <a:lnTo>
                    <a:pt x="2166" y="748"/>
                  </a:lnTo>
                  <a:lnTo>
                    <a:pt x="2162" y="746"/>
                  </a:lnTo>
                  <a:lnTo>
                    <a:pt x="2160" y="746"/>
                  </a:lnTo>
                  <a:lnTo>
                    <a:pt x="2160" y="746"/>
                  </a:lnTo>
                  <a:lnTo>
                    <a:pt x="2160" y="746"/>
                  </a:lnTo>
                  <a:lnTo>
                    <a:pt x="2158" y="744"/>
                  </a:lnTo>
                  <a:lnTo>
                    <a:pt x="2158" y="744"/>
                  </a:lnTo>
                  <a:lnTo>
                    <a:pt x="2156" y="744"/>
                  </a:lnTo>
                  <a:lnTo>
                    <a:pt x="2156" y="744"/>
                  </a:lnTo>
                  <a:lnTo>
                    <a:pt x="2156" y="744"/>
                  </a:lnTo>
                  <a:lnTo>
                    <a:pt x="2154" y="746"/>
                  </a:lnTo>
                  <a:lnTo>
                    <a:pt x="2152" y="746"/>
                  </a:lnTo>
                  <a:lnTo>
                    <a:pt x="2152" y="746"/>
                  </a:lnTo>
                  <a:lnTo>
                    <a:pt x="2152" y="746"/>
                  </a:lnTo>
                  <a:lnTo>
                    <a:pt x="2150" y="748"/>
                  </a:lnTo>
                  <a:lnTo>
                    <a:pt x="2150" y="748"/>
                  </a:lnTo>
                  <a:lnTo>
                    <a:pt x="2150" y="748"/>
                  </a:lnTo>
                  <a:lnTo>
                    <a:pt x="2148" y="752"/>
                  </a:lnTo>
                  <a:lnTo>
                    <a:pt x="2146" y="754"/>
                  </a:lnTo>
                  <a:lnTo>
                    <a:pt x="2144" y="758"/>
                  </a:lnTo>
                  <a:lnTo>
                    <a:pt x="2142" y="760"/>
                  </a:lnTo>
                  <a:lnTo>
                    <a:pt x="2142" y="762"/>
                  </a:lnTo>
                  <a:lnTo>
                    <a:pt x="2138" y="766"/>
                  </a:lnTo>
                  <a:lnTo>
                    <a:pt x="2136" y="768"/>
                  </a:lnTo>
                  <a:lnTo>
                    <a:pt x="2136" y="768"/>
                  </a:lnTo>
                  <a:lnTo>
                    <a:pt x="2134" y="770"/>
                  </a:lnTo>
                  <a:lnTo>
                    <a:pt x="2134" y="770"/>
                  </a:lnTo>
                  <a:lnTo>
                    <a:pt x="2134" y="770"/>
                  </a:lnTo>
                  <a:lnTo>
                    <a:pt x="2134" y="770"/>
                  </a:lnTo>
                  <a:lnTo>
                    <a:pt x="2132" y="770"/>
                  </a:lnTo>
                  <a:lnTo>
                    <a:pt x="2130" y="768"/>
                  </a:lnTo>
                  <a:lnTo>
                    <a:pt x="2128" y="766"/>
                  </a:lnTo>
                  <a:lnTo>
                    <a:pt x="2128" y="766"/>
                  </a:lnTo>
                  <a:lnTo>
                    <a:pt x="2128" y="766"/>
                  </a:lnTo>
                  <a:lnTo>
                    <a:pt x="2126" y="766"/>
                  </a:lnTo>
                  <a:lnTo>
                    <a:pt x="2126" y="766"/>
                  </a:lnTo>
                  <a:lnTo>
                    <a:pt x="2126" y="764"/>
                  </a:lnTo>
                  <a:lnTo>
                    <a:pt x="2124" y="764"/>
                  </a:lnTo>
                  <a:lnTo>
                    <a:pt x="2124" y="764"/>
                  </a:lnTo>
                  <a:lnTo>
                    <a:pt x="2124" y="764"/>
                  </a:lnTo>
                  <a:lnTo>
                    <a:pt x="2120" y="764"/>
                  </a:lnTo>
                  <a:lnTo>
                    <a:pt x="2118" y="764"/>
                  </a:lnTo>
                  <a:lnTo>
                    <a:pt x="2112" y="764"/>
                  </a:lnTo>
                  <a:lnTo>
                    <a:pt x="2106" y="766"/>
                  </a:lnTo>
                  <a:lnTo>
                    <a:pt x="2104" y="766"/>
                  </a:lnTo>
                  <a:lnTo>
                    <a:pt x="2104" y="766"/>
                  </a:lnTo>
                  <a:lnTo>
                    <a:pt x="2104" y="766"/>
                  </a:lnTo>
                  <a:lnTo>
                    <a:pt x="2102" y="764"/>
                  </a:lnTo>
                  <a:lnTo>
                    <a:pt x="2102" y="764"/>
                  </a:lnTo>
                  <a:lnTo>
                    <a:pt x="2100" y="762"/>
                  </a:lnTo>
                  <a:lnTo>
                    <a:pt x="2100" y="758"/>
                  </a:lnTo>
                  <a:lnTo>
                    <a:pt x="2100" y="758"/>
                  </a:lnTo>
                  <a:lnTo>
                    <a:pt x="2098" y="758"/>
                  </a:lnTo>
                  <a:lnTo>
                    <a:pt x="2098" y="756"/>
                  </a:lnTo>
                  <a:lnTo>
                    <a:pt x="2098" y="756"/>
                  </a:lnTo>
                  <a:lnTo>
                    <a:pt x="2096" y="756"/>
                  </a:lnTo>
                  <a:lnTo>
                    <a:pt x="2094" y="756"/>
                  </a:lnTo>
                  <a:lnTo>
                    <a:pt x="2094" y="756"/>
                  </a:lnTo>
                  <a:lnTo>
                    <a:pt x="2094" y="756"/>
                  </a:lnTo>
                  <a:lnTo>
                    <a:pt x="2092" y="756"/>
                  </a:lnTo>
                  <a:lnTo>
                    <a:pt x="2088" y="754"/>
                  </a:lnTo>
                  <a:lnTo>
                    <a:pt x="2086" y="754"/>
                  </a:lnTo>
                  <a:lnTo>
                    <a:pt x="2082" y="756"/>
                  </a:lnTo>
                  <a:lnTo>
                    <a:pt x="2076" y="756"/>
                  </a:lnTo>
                  <a:lnTo>
                    <a:pt x="2072" y="756"/>
                  </a:lnTo>
                  <a:lnTo>
                    <a:pt x="2070" y="756"/>
                  </a:lnTo>
                  <a:lnTo>
                    <a:pt x="2066" y="758"/>
                  </a:lnTo>
                  <a:lnTo>
                    <a:pt x="2066" y="758"/>
                  </a:lnTo>
                  <a:lnTo>
                    <a:pt x="2066" y="758"/>
                  </a:lnTo>
                  <a:lnTo>
                    <a:pt x="2062" y="760"/>
                  </a:lnTo>
                  <a:lnTo>
                    <a:pt x="2062" y="760"/>
                  </a:lnTo>
                  <a:lnTo>
                    <a:pt x="2062" y="760"/>
                  </a:lnTo>
                  <a:lnTo>
                    <a:pt x="2060" y="762"/>
                  </a:lnTo>
                  <a:lnTo>
                    <a:pt x="2056" y="766"/>
                  </a:lnTo>
                  <a:lnTo>
                    <a:pt x="2054" y="768"/>
                  </a:lnTo>
                  <a:lnTo>
                    <a:pt x="2054" y="770"/>
                  </a:lnTo>
                  <a:lnTo>
                    <a:pt x="2052" y="770"/>
                  </a:lnTo>
                  <a:lnTo>
                    <a:pt x="2052" y="770"/>
                  </a:lnTo>
                  <a:lnTo>
                    <a:pt x="2052" y="770"/>
                  </a:lnTo>
                  <a:lnTo>
                    <a:pt x="2052" y="768"/>
                  </a:lnTo>
                  <a:lnTo>
                    <a:pt x="2052" y="768"/>
                  </a:lnTo>
                  <a:lnTo>
                    <a:pt x="2052" y="768"/>
                  </a:lnTo>
                  <a:lnTo>
                    <a:pt x="2052" y="766"/>
                  </a:lnTo>
                  <a:lnTo>
                    <a:pt x="2050" y="766"/>
                  </a:lnTo>
                  <a:lnTo>
                    <a:pt x="2050" y="766"/>
                  </a:lnTo>
                  <a:lnTo>
                    <a:pt x="2050" y="766"/>
                  </a:lnTo>
                  <a:lnTo>
                    <a:pt x="2048" y="762"/>
                  </a:lnTo>
                  <a:lnTo>
                    <a:pt x="2044" y="760"/>
                  </a:lnTo>
                  <a:lnTo>
                    <a:pt x="2042" y="758"/>
                  </a:lnTo>
                  <a:lnTo>
                    <a:pt x="2040" y="758"/>
                  </a:lnTo>
                  <a:lnTo>
                    <a:pt x="2040" y="758"/>
                  </a:lnTo>
                  <a:lnTo>
                    <a:pt x="2040" y="758"/>
                  </a:lnTo>
                  <a:lnTo>
                    <a:pt x="2038" y="756"/>
                  </a:lnTo>
                  <a:lnTo>
                    <a:pt x="2034" y="756"/>
                  </a:lnTo>
                  <a:lnTo>
                    <a:pt x="2032" y="756"/>
                  </a:lnTo>
                  <a:lnTo>
                    <a:pt x="2030" y="754"/>
                  </a:lnTo>
                  <a:lnTo>
                    <a:pt x="2030" y="754"/>
                  </a:lnTo>
                  <a:lnTo>
                    <a:pt x="2032" y="752"/>
                  </a:lnTo>
                  <a:lnTo>
                    <a:pt x="2036" y="750"/>
                  </a:lnTo>
                  <a:lnTo>
                    <a:pt x="2036" y="750"/>
                  </a:lnTo>
                  <a:lnTo>
                    <a:pt x="2036" y="748"/>
                  </a:lnTo>
                  <a:lnTo>
                    <a:pt x="2036" y="748"/>
                  </a:lnTo>
                  <a:lnTo>
                    <a:pt x="2036" y="748"/>
                  </a:lnTo>
                  <a:lnTo>
                    <a:pt x="2038" y="746"/>
                  </a:lnTo>
                  <a:lnTo>
                    <a:pt x="2038" y="744"/>
                  </a:lnTo>
                  <a:lnTo>
                    <a:pt x="2038" y="744"/>
                  </a:lnTo>
                  <a:lnTo>
                    <a:pt x="2038" y="744"/>
                  </a:lnTo>
                  <a:lnTo>
                    <a:pt x="2038" y="740"/>
                  </a:lnTo>
                  <a:lnTo>
                    <a:pt x="2038" y="740"/>
                  </a:lnTo>
                  <a:lnTo>
                    <a:pt x="2038" y="736"/>
                  </a:lnTo>
                  <a:lnTo>
                    <a:pt x="2038" y="736"/>
                  </a:lnTo>
                  <a:lnTo>
                    <a:pt x="2038" y="734"/>
                  </a:lnTo>
                  <a:lnTo>
                    <a:pt x="2038" y="730"/>
                  </a:lnTo>
                  <a:lnTo>
                    <a:pt x="2038" y="730"/>
                  </a:lnTo>
                  <a:lnTo>
                    <a:pt x="2038" y="730"/>
                  </a:lnTo>
                  <a:lnTo>
                    <a:pt x="2036" y="728"/>
                  </a:lnTo>
                  <a:lnTo>
                    <a:pt x="2034" y="724"/>
                  </a:lnTo>
                  <a:lnTo>
                    <a:pt x="2034" y="722"/>
                  </a:lnTo>
                  <a:lnTo>
                    <a:pt x="2032" y="718"/>
                  </a:lnTo>
                  <a:lnTo>
                    <a:pt x="2026" y="712"/>
                  </a:lnTo>
                  <a:lnTo>
                    <a:pt x="2024" y="708"/>
                  </a:lnTo>
                  <a:lnTo>
                    <a:pt x="2022" y="706"/>
                  </a:lnTo>
                  <a:lnTo>
                    <a:pt x="2022" y="706"/>
                  </a:lnTo>
                  <a:lnTo>
                    <a:pt x="2020" y="706"/>
                  </a:lnTo>
                  <a:lnTo>
                    <a:pt x="2018" y="704"/>
                  </a:lnTo>
                  <a:lnTo>
                    <a:pt x="2018" y="704"/>
                  </a:lnTo>
                  <a:lnTo>
                    <a:pt x="2016" y="702"/>
                  </a:lnTo>
                  <a:lnTo>
                    <a:pt x="2014" y="702"/>
                  </a:lnTo>
                  <a:lnTo>
                    <a:pt x="2014" y="702"/>
                  </a:lnTo>
                  <a:lnTo>
                    <a:pt x="2012" y="702"/>
                  </a:lnTo>
                  <a:lnTo>
                    <a:pt x="2008" y="700"/>
                  </a:lnTo>
                  <a:lnTo>
                    <a:pt x="2002" y="698"/>
                  </a:lnTo>
                  <a:lnTo>
                    <a:pt x="1996" y="698"/>
                  </a:lnTo>
                  <a:lnTo>
                    <a:pt x="1990" y="698"/>
                  </a:lnTo>
                  <a:lnTo>
                    <a:pt x="1984" y="696"/>
                  </a:lnTo>
                  <a:lnTo>
                    <a:pt x="1978" y="696"/>
                  </a:lnTo>
                  <a:lnTo>
                    <a:pt x="1972" y="696"/>
                  </a:lnTo>
                  <a:lnTo>
                    <a:pt x="1966" y="698"/>
                  </a:lnTo>
                  <a:lnTo>
                    <a:pt x="1966" y="698"/>
                  </a:lnTo>
                  <a:lnTo>
                    <a:pt x="1962" y="698"/>
                  </a:lnTo>
                  <a:lnTo>
                    <a:pt x="1962" y="698"/>
                  </a:lnTo>
                  <a:lnTo>
                    <a:pt x="1962" y="698"/>
                  </a:lnTo>
                  <a:lnTo>
                    <a:pt x="1960" y="700"/>
                  </a:lnTo>
                  <a:lnTo>
                    <a:pt x="1960" y="700"/>
                  </a:lnTo>
                  <a:lnTo>
                    <a:pt x="1960" y="700"/>
                  </a:lnTo>
                  <a:lnTo>
                    <a:pt x="1958" y="702"/>
                  </a:lnTo>
                  <a:lnTo>
                    <a:pt x="1958" y="702"/>
                  </a:lnTo>
                  <a:lnTo>
                    <a:pt x="1956" y="702"/>
                  </a:lnTo>
                  <a:lnTo>
                    <a:pt x="1954" y="704"/>
                  </a:lnTo>
                  <a:lnTo>
                    <a:pt x="1954" y="706"/>
                  </a:lnTo>
                  <a:lnTo>
                    <a:pt x="1952" y="708"/>
                  </a:lnTo>
                  <a:lnTo>
                    <a:pt x="1950" y="708"/>
                  </a:lnTo>
                  <a:lnTo>
                    <a:pt x="1950" y="708"/>
                  </a:lnTo>
                  <a:lnTo>
                    <a:pt x="1946" y="708"/>
                  </a:lnTo>
                  <a:lnTo>
                    <a:pt x="1944" y="708"/>
                  </a:lnTo>
                  <a:lnTo>
                    <a:pt x="1936" y="708"/>
                  </a:lnTo>
                  <a:lnTo>
                    <a:pt x="1932" y="706"/>
                  </a:lnTo>
                  <a:lnTo>
                    <a:pt x="1928" y="704"/>
                  </a:lnTo>
                  <a:lnTo>
                    <a:pt x="1924" y="704"/>
                  </a:lnTo>
                  <a:lnTo>
                    <a:pt x="1922" y="704"/>
                  </a:lnTo>
                  <a:lnTo>
                    <a:pt x="1918" y="702"/>
                  </a:lnTo>
                  <a:lnTo>
                    <a:pt x="1920" y="702"/>
                  </a:lnTo>
                  <a:lnTo>
                    <a:pt x="1918" y="702"/>
                  </a:lnTo>
                  <a:lnTo>
                    <a:pt x="1916" y="700"/>
                  </a:lnTo>
                  <a:lnTo>
                    <a:pt x="1916" y="700"/>
                  </a:lnTo>
                  <a:lnTo>
                    <a:pt x="1914" y="698"/>
                  </a:lnTo>
                  <a:lnTo>
                    <a:pt x="1912" y="696"/>
                  </a:lnTo>
                  <a:lnTo>
                    <a:pt x="1910" y="694"/>
                  </a:lnTo>
                  <a:lnTo>
                    <a:pt x="1906" y="692"/>
                  </a:lnTo>
                  <a:lnTo>
                    <a:pt x="1904" y="688"/>
                  </a:lnTo>
                  <a:lnTo>
                    <a:pt x="1900" y="684"/>
                  </a:lnTo>
                  <a:lnTo>
                    <a:pt x="1896" y="680"/>
                  </a:lnTo>
                  <a:lnTo>
                    <a:pt x="1894" y="676"/>
                  </a:lnTo>
                  <a:lnTo>
                    <a:pt x="1890" y="674"/>
                  </a:lnTo>
                  <a:lnTo>
                    <a:pt x="1888" y="670"/>
                  </a:lnTo>
                  <a:lnTo>
                    <a:pt x="1886" y="666"/>
                  </a:lnTo>
                  <a:lnTo>
                    <a:pt x="1886" y="666"/>
                  </a:lnTo>
                  <a:lnTo>
                    <a:pt x="1886" y="664"/>
                  </a:lnTo>
                  <a:lnTo>
                    <a:pt x="1886" y="660"/>
                  </a:lnTo>
                  <a:lnTo>
                    <a:pt x="1886" y="656"/>
                  </a:lnTo>
                  <a:lnTo>
                    <a:pt x="1886" y="656"/>
                  </a:lnTo>
                  <a:lnTo>
                    <a:pt x="1886" y="656"/>
                  </a:lnTo>
                  <a:lnTo>
                    <a:pt x="1886" y="654"/>
                  </a:lnTo>
                  <a:lnTo>
                    <a:pt x="1886" y="654"/>
                  </a:lnTo>
                  <a:lnTo>
                    <a:pt x="1886" y="654"/>
                  </a:lnTo>
                  <a:lnTo>
                    <a:pt x="1886" y="652"/>
                  </a:lnTo>
                  <a:lnTo>
                    <a:pt x="1886" y="652"/>
                  </a:lnTo>
                  <a:lnTo>
                    <a:pt x="1886" y="652"/>
                  </a:lnTo>
                  <a:lnTo>
                    <a:pt x="1884" y="650"/>
                  </a:lnTo>
                  <a:lnTo>
                    <a:pt x="1884" y="650"/>
                  </a:lnTo>
                  <a:lnTo>
                    <a:pt x="1884" y="648"/>
                  </a:lnTo>
                  <a:lnTo>
                    <a:pt x="1882" y="646"/>
                  </a:lnTo>
                  <a:lnTo>
                    <a:pt x="1882" y="646"/>
                  </a:lnTo>
                  <a:lnTo>
                    <a:pt x="1880" y="646"/>
                  </a:lnTo>
                  <a:lnTo>
                    <a:pt x="1878" y="644"/>
                  </a:lnTo>
                  <a:lnTo>
                    <a:pt x="1876" y="644"/>
                  </a:lnTo>
                  <a:lnTo>
                    <a:pt x="1874" y="642"/>
                  </a:lnTo>
                  <a:lnTo>
                    <a:pt x="1872" y="642"/>
                  </a:lnTo>
                  <a:lnTo>
                    <a:pt x="1868" y="640"/>
                  </a:lnTo>
                  <a:lnTo>
                    <a:pt x="1864" y="640"/>
                  </a:lnTo>
                  <a:lnTo>
                    <a:pt x="1860" y="640"/>
                  </a:lnTo>
                  <a:lnTo>
                    <a:pt x="1854" y="638"/>
                  </a:lnTo>
                  <a:lnTo>
                    <a:pt x="1850" y="638"/>
                  </a:lnTo>
                  <a:lnTo>
                    <a:pt x="1846" y="638"/>
                  </a:lnTo>
                  <a:lnTo>
                    <a:pt x="1840" y="636"/>
                  </a:lnTo>
                  <a:lnTo>
                    <a:pt x="1838" y="636"/>
                  </a:lnTo>
                  <a:lnTo>
                    <a:pt x="1834" y="634"/>
                  </a:lnTo>
                  <a:lnTo>
                    <a:pt x="1832" y="634"/>
                  </a:lnTo>
                  <a:lnTo>
                    <a:pt x="1828" y="630"/>
                  </a:lnTo>
                  <a:lnTo>
                    <a:pt x="1822" y="628"/>
                  </a:lnTo>
                  <a:lnTo>
                    <a:pt x="1818" y="626"/>
                  </a:lnTo>
                  <a:lnTo>
                    <a:pt x="1812" y="624"/>
                  </a:lnTo>
                  <a:lnTo>
                    <a:pt x="1806" y="622"/>
                  </a:lnTo>
                  <a:lnTo>
                    <a:pt x="1800" y="620"/>
                  </a:lnTo>
                  <a:lnTo>
                    <a:pt x="1800" y="620"/>
                  </a:lnTo>
                  <a:lnTo>
                    <a:pt x="1792" y="620"/>
                  </a:lnTo>
                  <a:lnTo>
                    <a:pt x="1792" y="620"/>
                  </a:lnTo>
                  <a:lnTo>
                    <a:pt x="1792" y="620"/>
                  </a:lnTo>
                  <a:lnTo>
                    <a:pt x="1788" y="620"/>
                  </a:lnTo>
                  <a:lnTo>
                    <a:pt x="1784" y="620"/>
                  </a:lnTo>
                  <a:lnTo>
                    <a:pt x="1776" y="622"/>
                  </a:lnTo>
                  <a:lnTo>
                    <a:pt x="1772" y="624"/>
                  </a:lnTo>
                  <a:lnTo>
                    <a:pt x="1768" y="624"/>
                  </a:lnTo>
                  <a:lnTo>
                    <a:pt x="1764" y="626"/>
                  </a:lnTo>
                  <a:lnTo>
                    <a:pt x="1762" y="628"/>
                  </a:lnTo>
                  <a:lnTo>
                    <a:pt x="1756" y="630"/>
                  </a:lnTo>
                  <a:lnTo>
                    <a:pt x="1752" y="632"/>
                  </a:lnTo>
                  <a:lnTo>
                    <a:pt x="1752" y="632"/>
                  </a:lnTo>
                  <a:lnTo>
                    <a:pt x="1752" y="632"/>
                  </a:lnTo>
                  <a:lnTo>
                    <a:pt x="1750" y="634"/>
                  </a:lnTo>
                  <a:lnTo>
                    <a:pt x="1750" y="634"/>
                  </a:lnTo>
                  <a:lnTo>
                    <a:pt x="1748" y="634"/>
                  </a:lnTo>
                  <a:lnTo>
                    <a:pt x="1746" y="638"/>
                  </a:lnTo>
                  <a:lnTo>
                    <a:pt x="1746" y="638"/>
                  </a:lnTo>
                  <a:lnTo>
                    <a:pt x="1746" y="638"/>
                  </a:lnTo>
                  <a:lnTo>
                    <a:pt x="1746" y="642"/>
                  </a:lnTo>
                  <a:lnTo>
                    <a:pt x="1744" y="644"/>
                  </a:lnTo>
                  <a:lnTo>
                    <a:pt x="1744" y="646"/>
                  </a:lnTo>
                  <a:lnTo>
                    <a:pt x="1744" y="642"/>
                  </a:lnTo>
                  <a:lnTo>
                    <a:pt x="1744" y="638"/>
                  </a:lnTo>
                  <a:lnTo>
                    <a:pt x="1742" y="634"/>
                  </a:lnTo>
                  <a:lnTo>
                    <a:pt x="1742" y="634"/>
                  </a:lnTo>
                  <a:lnTo>
                    <a:pt x="1742" y="634"/>
                  </a:lnTo>
                  <a:lnTo>
                    <a:pt x="1742" y="632"/>
                  </a:lnTo>
                  <a:lnTo>
                    <a:pt x="1742" y="632"/>
                  </a:lnTo>
                  <a:lnTo>
                    <a:pt x="1742" y="632"/>
                  </a:lnTo>
                  <a:lnTo>
                    <a:pt x="1740" y="630"/>
                  </a:lnTo>
                  <a:lnTo>
                    <a:pt x="1738" y="630"/>
                  </a:lnTo>
                  <a:lnTo>
                    <a:pt x="1738" y="630"/>
                  </a:lnTo>
                  <a:lnTo>
                    <a:pt x="1738" y="632"/>
                  </a:lnTo>
                  <a:lnTo>
                    <a:pt x="1736" y="632"/>
                  </a:lnTo>
                  <a:lnTo>
                    <a:pt x="1736" y="632"/>
                  </a:lnTo>
                  <a:lnTo>
                    <a:pt x="1736" y="632"/>
                  </a:lnTo>
                  <a:lnTo>
                    <a:pt x="1734" y="634"/>
                  </a:lnTo>
                  <a:lnTo>
                    <a:pt x="1734" y="634"/>
                  </a:lnTo>
                  <a:lnTo>
                    <a:pt x="1734" y="634"/>
                  </a:lnTo>
                  <a:lnTo>
                    <a:pt x="1734" y="636"/>
                  </a:lnTo>
                  <a:lnTo>
                    <a:pt x="1732" y="640"/>
                  </a:lnTo>
                  <a:lnTo>
                    <a:pt x="1730" y="642"/>
                  </a:lnTo>
                  <a:lnTo>
                    <a:pt x="1730" y="646"/>
                  </a:lnTo>
                  <a:lnTo>
                    <a:pt x="1728" y="648"/>
                  </a:lnTo>
                  <a:lnTo>
                    <a:pt x="1728" y="648"/>
                  </a:lnTo>
                  <a:lnTo>
                    <a:pt x="1728" y="650"/>
                  </a:lnTo>
                  <a:lnTo>
                    <a:pt x="1728" y="650"/>
                  </a:lnTo>
                  <a:lnTo>
                    <a:pt x="1728" y="650"/>
                  </a:lnTo>
                  <a:lnTo>
                    <a:pt x="1728" y="652"/>
                  </a:lnTo>
                  <a:lnTo>
                    <a:pt x="1728" y="654"/>
                  </a:lnTo>
                  <a:lnTo>
                    <a:pt x="1728" y="654"/>
                  </a:lnTo>
                  <a:lnTo>
                    <a:pt x="1730" y="654"/>
                  </a:lnTo>
                  <a:lnTo>
                    <a:pt x="1730" y="656"/>
                  </a:lnTo>
                  <a:lnTo>
                    <a:pt x="1730" y="656"/>
                  </a:lnTo>
                  <a:lnTo>
                    <a:pt x="1732" y="656"/>
                  </a:lnTo>
                  <a:lnTo>
                    <a:pt x="1734" y="656"/>
                  </a:lnTo>
                  <a:lnTo>
                    <a:pt x="1734" y="658"/>
                  </a:lnTo>
                  <a:lnTo>
                    <a:pt x="1738" y="658"/>
                  </a:lnTo>
                  <a:lnTo>
                    <a:pt x="1738" y="658"/>
                  </a:lnTo>
                  <a:lnTo>
                    <a:pt x="1738" y="660"/>
                  </a:lnTo>
                  <a:lnTo>
                    <a:pt x="1740" y="660"/>
                  </a:lnTo>
                  <a:lnTo>
                    <a:pt x="1740" y="662"/>
                  </a:lnTo>
                  <a:lnTo>
                    <a:pt x="1740" y="664"/>
                  </a:lnTo>
                  <a:lnTo>
                    <a:pt x="1740" y="668"/>
                  </a:lnTo>
                  <a:lnTo>
                    <a:pt x="1740" y="672"/>
                  </a:lnTo>
                  <a:lnTo>
                    <a:pt x="1742" y="674"/>
                  </a:lnTo>
                  <a:lnTo>
                    <a:pt x="1740" y="678"/>
                  </a:lnTo>
                  <a:lnTo>
                    <a:pt x="1740" y="680"/>
                  </a:lnTo>
                  <a:lnTo>
                    <a:pt x="1740" y="680"/>
                  </a:lnTo>
                  <a:lnTo>
                    <a:pt x="1738" y="680"/>
                  </a:lnTo>
                  <a:lnTo>
                    <a:pt x="1736" y="680"/>
                  </a:lnTo>
                  <a:lnTo>
                    <a:pt x="1734" y="680"/>
                  </a:lnTo>
                  <a:lnTo>
                    <a:pt x="1728" y="678"/>
                  </a:lnTo>
                  <a:lnTo>
                    <a:pt x="1724" y="676"/>
                  </a:lnTo>
                  <a:lnTo>
                    <a:pt x="1722" y="676"/>
                  </a:lnTo>
                  <a:lnTo>
                    <a:pt x="1722" y="676"/>
                  </a:lnTo>
                  <a:lnTo>
                    <a:pt x="1722" y="676"/>
                  </a:lnTo>
                  <a:lnTo>
                    <a:pt x="1720" y="676"/>
                  </a:lnTo>
                  <a:lnTo>
                    <a:pt x="1720" y="676"/>
                  </a:lnTo>
                  <a:lnTo>
                    <a:pt x="1718" y="678"/>
                  </a:lnTo>
                  <a:lnTo>
                    <a:pt x="1718" y="678"/>
                  </a:lnTo>
                  <a:lnTo>
                    <a:pt x="1716" y="678"/>
                  </a:lnTo>
                  <a:lnTo>
                    <a:pt x="1714" y="678"/>
                  </a:lnTo>
                  <a:lnTo>
                    <a:pt x="1710" y="678"/>
                  </a:lnTo>
                  <a:lnTo>
                    <a:pt x="1706" y="678"/>
                  </a:lnTo>
                  <a:lnTo>
                    <a:pt x="1702" y="678"/>
                  </a:lnTo>
                  <a:lnTo>
                    <a:pt x="1698" y="678"/>
                  </a:lnTo>
                  <a:lnTo>
                    <a:pt x="1688" y="678"/>
                  </a:lnTo>
                  <a:lnTo>
                    <a:pt x="1684" y="678"/>
                  </a:lnTo>
                  <a:lnTo>
                    <a:pt x="1682" y="678"/>
                  </a:lnTo>
                  <a:lnTo>
                    <a:pt x="1678" y="678"/>
                  </a:lnTo>
                  <a:lnTo>
                    <a:pt x="1678" y="678"/>
                  </a:lnTo>
                  <a:lnTo>
                    <a:pt x="1678" y="678"/>
                  </a:lnTo>
                  <a:lnTo>
                    <a:pt x="1676" y="680"/>
                  </a:lnTo>
                  <a:lnTo>
                    <a:pt x="1676" y="680"/>
                  </a:lnTo>
                  <a:lnTo>
                    <a:pt x="1676" y="680"/>
                  </a:lnTo>
                  <a:lnTo>
                    <a:pt x="1676" y="680"/>
                  </a:lnTo>
                  <a:lnTo>
                    <a:pt x="1676" y="680"/>
                  </a:lnTo>
                  <a:lnTo>
                    <a:pt x="1674" y="680"/>
                  </a:lnTo>
                  <a:lnTo>
                    <a:pt x="1674" y="682"/>
                  </a:lnTo>
                  <a:lnTo>
                    <a:pt x="1672" y="682"/>
                  </a:lnTo>
                  <a:lnTo>
                    <a:pt x="1672" y="684"/>
                  </a:lnTo>
                  <a:lnTo>
                    <a:pt x="1672" y="684"/>
                  </a:lnTo>
                  <a:lnTo>
                    <a:pt x="1670" y="684"/>
                  </a:lnTo>
                  <a:lnTo>
                    <a:pt x="1668" y="684"/>
                  </a:lnTo>
                  <a:lnTo>
                    <a:pt x="1664" y="686"/>
                  </a:lnTo>
                  <a:lnTo>
                    <a:pt x="1658" y="686"/>
                  </a:lnTo>
                  <a:lnTo>
                    <a:pt x="1658" y="686"/>
                  </a:lnTo>
                  <a:lnTo>
                    <a:pt x="1658" y="686"/>
                  </a:lnTo>
                  <a:lnTo>
                    <a:pt x="1656" y="686"/>
                  </a:lnTo>
                  <a:lnTo>
                    <a:pt x="1654" y="684"/>
                  </a:lnTo>
                  <a:lnTo>
                    <a:pt x="1652" y="682"/>
                  </a:lnTo>
                  <a:lnTo>
                    <a:pt x="1652" y="682"/>
                  </a:lnTo>
                  <a:lnTo>
                    <a:pt x="1650" y="678"/>
                  </a:lnTo>
                  <a:lnTo>
                    <a:pt x="1650" y="676"/>
                  </a:lnTo>
                  <a:lnTo>
                    <a:pt x="1648" y="674"/>
                  </a:lnTo>
                  <a:lnTo>
                    <a:pt x="1648" y="672"/>
                  </a:lnTo>
                  <a:lnTo>
                    <a:pt x="1648" y="666"/>
                  </a:lnTo>
                  <a:lnTo>
                    <a:pt x="1648" y="664"/>
                  </a:lnTo>
                  <a:lnTo>
                    <a:pt x="1648" y="662"/>
                  </a:lnTo>
                  <a:lnTo>
                    <a:pt x="1648" y="662"/>
                  </a:lnTo>
                  <a:lnTo>
                    <a:pt x="1648" y="660"/>
                  </a:lnTo>
                  <a:lnTo>
                    <a:pt x="1648" y="660"/>
                  </a:lnTo>
                  <a:lnTo>
                    <a:pt x="1646" y="660"/>
                  </a:lnTo>
                  <a:lnTo>
                    <a:pt x="1646" y="658"/>
                  </a:lnTo>
                  <a:lnTo>
                    <a:pt x="1646" y="658"/>
                  </a:lnTo>
                  <a:lnTo>
                    <a:pt x="1644" y="658"/>
                  </a:lnTo>
                  <a:lnTo>
                    <a:pt x="1642" y="658"/>
                  </a:lnTo>
                  <a:lnTo>
                    <a:pt x="1642" y="658"/>
                  </a:lnTo>
                  <a:lnTo>
                    <a:pt x="1642" y="658"/>
                  </a:lnTo>
                  <a:lnTo>
                    <a:pt x="1640" y="658"/>
                  </a:lnTo>
                  <a:lnTo>
                    <a:pt x="1640" y="658"/>
                  </a:lnTo>
                  <a:lnTo>
                    <a:pt x="1640" y="658"/>
                  </a:lnTo>
                  <a:lnTo>
                    <a:pt x="1638" y="660"/>
                  </a:lnTo>
                  <a:lnTo>
                    <a:pt x="1636" y="662"/>
                  </a:lnTo>
                  <a:lnTo>
                    <a:pt x="1634" y="666"/>
                  </a:lnTo>
                  <a:lnTo>
                    <a:pt x="1632" y="670"/>
                  </a:lnTo>
                  <a:lnTo>
                    <a:pt x="1632" y="670"/>
                  </a:lnTo>
                  <a:lnTo>
                    <a:pt x="1632" y="672"/>
                  </a:lnTo>
                  <a:lnTo>
                    <a:pt x="1630" y="674"/>
                  </a:lnTo>
                  <a:lnTo>
                    <a:pt x="1630" y="674"/>
                  </a:lnTo>
                  <a:lnTo>
                    <a:pt x="1630" y="676"/>
                  </a:lnTo>
                  <a:lnTo>
                    <a:pt x="1630" y="678"/>
                  </a:lnTo>
                  <a:lnTo>
                    <a:pt x="1630" y="682"/>
                  </a:lnTo>
                  <a:lnTo>
                    <a:pt x="1630" y="684"/>
                  </a:lnTo>
                  <a:lnTo>
                    <a:pt x="1630" y="688"/>
                  </a:lnTo>
                  <a:lnTo>
                    <a:pt x="1628" y="690"/>
                  </a:lnTo>
                  <a:lnTo>
                    <a:pt x="1626" y="694"/>
                  </a:lnTo>
                  <a:lnTo>
                    <a:pt x="1626" y="698"/>
                  </a:lnTo>
                  <a:lnTo>
                    <a:pt x="1624" y="704"/>
                  </a:lnTo>
                  <a:lnTo>
                    <a:pt x="1622" y="708"/>
                  </a:lnTo>
                  <a:lnTo>
                    <a:pt x="1620" y="710"/>
                  </a:lnTo>
                  <a:lnTo>
                    <a:pt x="1618" y="714"/>
                  </a:lnTo>
                  <a:lnTo>
                    <a:pt x="1618" y="716"/>
                  </a:lnTo>
                  <a:lnTo>
                    <a:pt x="1616" y="716"/>
                  </a:lnTo>
                  <a:lnTo>
                    <a:pt x="1616" y="716"/>
                  </a:lnTo>
                  <a:lnTo>
                    <a:pt x="1616" y="714"/>
                  </a:lnTo>
                  <a:lnTo>
                    <a:pt x="1614" y="712"/>
                  </a:lnTo>
                  <a:lnTo>
                    <a:pt x="1612" y="710"/>
                  </a:lnTo>
                  <a:lnTo>
                    <a:pt x="1610" y="708"/>
                  </a:lnTo>
                  <a:lnTo>
                    <a:pt x="1608" y="706"/>
                  </a:lnTo>
                  <a:lnTo>
                    <a:pt x="1606" y="702"/>
                  </a:lnTo>
                  <a:lnTo>
                    <a:pt x="1602" y="698"/>
                  </a:lnTo>
                  <a:lnTo>
                    <a:pt x="1598" y="692"/>
                  </a:lnTo>
                  <a:lnTo>
                    <a:pt x="1596" y="688"/>
                  </a:lnTo>
                  <a:lnTo>
                    <a:pt x="1594" y="684"/>
                  </a:lnTo>
                  <a:lnTo>
                    <a:pt x="1592" y="682"/>
                  </a:lnTo>
                  <a:lnTo>
                    <a:pt x="1592" y="678"/>
                  </a:lnTo>
                  <a:lnTo>
                    <a:pt x="1590" y="672"/>
                  </a:lnTo>
                  <a:lnTo>
                    <a:pt x="1590" y="664"/>
                  </a:lnTo>
                  <a:lnTo>
                    <a:pt x="1590" y="660"/>
                  </a:lnTo>
                  <a:lnTo>
                    <a:pt x="1590" y="658"/>
                  </a:lnTo>
                  <a:lnTo>
                    <a:pt x="1590" y="656"/>
                  </a:lnTo>
                  <a:lnTo>
                    <a:pt x="1590" y="656"/>
                  </a:lnTo>
                  <a:lnTo>
                    <a:pt x="1592" y="652"/>
                  </a:lnTo>
                  <a:lnTo>
                    <a:pt x="1594" y="648"/>
                  </a:lnTo>
                  <a:lnTo>
                    <a:pt x="1594" y="648"/>
                  </a:lnTo>
                  <a:lnTo>
                    <a:pt x="1594" y="646"/>
                  </a:lnTo>
                  <a:lnTo>
                    <a:pt x="1596" y="642"/>
                  </a:lnTo>
                  <a:lnTo>
                    <a:pt x="1596" y="642"/>
                  </a:lnTo>
                  <a:lnTo>
                    <a:pt x="1596" y="642"/>
                  </a:lnTo>
                  <a:lnTo>
                    <a:pt x="1596" y="636"/>
                  </a:lnTo>
                  <a:lnTo>
                    <a:pt x="1596" y="630"/>
                  </a:lnTo>
                  <a:lnTo>
                    <a:pt x="1596" y="622"/>
                  </a:lnTo>
                  <a:lnTo>
                    <a:pt x="1596" y="616"/>
                  </a:lnTo>
                  <a:lnTo>
                    <a:pt x="1596" y="616"/>
                  </a:lnTo>
                  <a:lnTo>
                    <a:pt x="1596" y="616"/>
                  </a:lnTo>
                  <a:lnTo>
                    <a:pt x="1594" y="610"/>
                  </a:lnTo>
                  <a:lnTo>
                    <a:pt x="1594" y="610"/>
                  </a:lnTo>
                  <a:lnTo>
                    <a:pt x="1594" y="610"/>
                  </a:lnTo>
                  <a:lnTo>
                    <a:pt x="1590" y="604"/>
                  </a:lnTo>
                  <a:lnTo>
                    <a:pt x="1586" y="598"/>
                  </a:lnTo>
                  <a:lnTo>
                    <a:pt x="1582" y="594"/>
                  </a:lnTo>
                  <a:lnTo>
                    <a:pt x="1582" y="594"/>
                  </a:lnTo>
                  <a:lnTo>
                    <a:pt x="1580" y="594"/>
                  </a:lnTo>
                  <a:lnTo>
                    <a:pt x="1578" y="592"/>
                  </a:lnTo>
                  <a:lnTo>
                    <a:pt x="1578" y="592"/>
                  </a:lnTo>
                  <a:lnTo>
                    <a:pt x="1578" y="592"/>
                  </a:lnTo>
                  <a:lnTo>
                    <a:pt x="1576" y="590"/>
                  </a:lnTo>
                  <a:lnTo>
                    <a:pt x="1576" y="590"/>
                  </a:lnTo>
                  <a:lnTo>
                    <a:pt x="1574" y="590"/>
                  </a:lnTo>
                  <a:lnTo>
                    <a:pt x="1568" y="590"/>
                  </a:lnTo>
                  <a:lnTo>
                    <a:pt x="1562" y="588"/>
                  </a:lnTo>
                  <a:lnTo>
                    <a:pt x="1556" y="588"/>
                  </a:lnTo>
                  <a:lnTo>
                    <a:pt x="1552" y="586"/>
                  </a:lnTo>
                  <a:lnTo>
                    <a:pt x="1548" y="584"/>
                  </a:lnTo>
                  <a:lnTo>
                    <a:pt x="1544" y="584"/>
                  </a:lnTo>
                  <a:lnTo>
                    <a:pt x="1540" y="582"/>
                  </a:lnTo>
                  <a:lnTo>
                    <a:pt x="1540" y="582"/>
                  </a:lnTo>
                  <a:lnTo>
                    <a:pt x="1538" y="580"/>
                  </a:lnTo>
                  <a:lnTo>
                    <a:pt x="1538" y="580"/>
                  </a:lnTo>
                  <a:lnTo>
                    <a:pt x="1538" y="580"/>
                  </a:lnTo>
                  <a:lnTo>
                    <a:pt x="1534" y="576"/>
                  </a:lnTo>
                  <a:lnTo>
                    <a:pt x="1532" y="574"/>
                  </a:lnTo>
                  <a:lnTo>
                    <a:pt x="1532" y="572"/>
                  </a:lnTo>
                  <a:lnTo>
                    <a:pt x="1532" y="572"/>
                  </a:lnTo>
                  <a:lnTo>
                    <a:pt x="1530" y="572"/>
                  </a:lnTo>
                  <a:lnTo>
                    <a:pt x="1530" y="570"/>
                  </a:lnTo>
                  <a:lnTo>
                    <a:pt x="1530" y="570"/>
                  </a:lnTo>
                  <a:lnTo>
                    <a:pt x="1528" y="570"/>
                  </a:lnTo>
                  <a:lnTo>
                    <a:pt x="1526" y="570"/>
                  </a:lnTo>
                  <a:lnTo>
                    <a:pt x="1526" y="570"/>
                  </a:lnTo>
                  <a:lnTo>
                    <a:pt x="1526" y="570"/>
                  </a:lnTo>
                  <a:lnTo>
                    <a:pt x="1522" y="570"/>
                  </a:lnTo>
                  <a:lnTo>
                    <a:pt x="1522" y="570"/>
                  </a:lnTo>
                  <a:lnTo>
                    <a:pt x="1522" y="570"/>
                  </a:lnTo>
                  <a:lnTo>
                    <a:pt x="1516" y="570"/>
                  </a:lnTo>
                  <a:lnTo>
                    <a:pt x="1512" y="572"/>
                  </a:lnTo>
                  <a:lnTo>
                    <a:pt x="1512" y="572"/>
                  </a:lnTo>
                  <a:lnTo>
                    <a:pt x="1510" y="572"/>
                  </a:lnTo>
                  <a:lnTo>
                    <a:pt x="1510" y="572"/>
                  </a:lnTo>
                  <a:lnTo>
                    <a:pt x="1510" y="574"/>
                  </a:lnTo>
                  <a:lnTo>
                    <a:pt x="1508" y="576"/>
                  </a:lnTo>
                  <a:lnTo>
                    <a:pt x="1508" y="576"/>
                  </a:lnTo>
                  <a:lnTo>
                    <a:pt x="1506" y="576"/>
                  </a:lnTo>
                  <a:lnTo>
                    <a:pt x="1506" y="578"/>
                  </a:lnTo>
                  <a:lnTo>
                    <a:pt x="1506" y="578"/>
                  </a:lnTo>
                  <a:lnTo>
                    <a:pt x="1504" y="578"/>
                  </a:lnTo>
                  <a:lnTo>
                    <a:pt x="1504" y="582"/>
                  </a:lnTo>
                  <a:lnTo>
                    <a:pt x="1504" y="582"/>
                  </a:lnTo>
                  <a:lnTo>
                    <a:pt x="1504" y="582"/>
                  </a:lnTo>
                  <a:lnTo>
                    <a:pt x="1504" y="586"/>
                  </a:lnTo>
                  <a:lnTo>
                    <a:pt x="1504" y="586"/>
                  </a:lnTo>
                  <a:lnTo>
                    <a:pt x="1504" y="586"/>
                  </a:lnTo>
                  <a:lnTo>
                    <a:pt x="1504" y="588"/>
                  </a:lnTo>
                  <a:lnTo>
                    <a:pt x="1504" y="588"/>
                  </a:lnTo>
                  <a:lnTo>
                    <a:pt x="1504" y="590"/>
                  </a:lnTo>
                  <a:lnTo>
                    <a:pt x="1504" y="592"/>
                  </a:lnTo>
                  <a:lnTo>
                    <a:pt x="1506" y="594"/>
                  </a:lnTo>
                  <a:lnTo>
                    <a:pt x="1508" y="596"/>
                  </a:lnTo>
                  <a:lnTo>
                    <a:pt x="1510" y="598"/>
                  </a:lnTo>
                  <a:lnTo>
                    <a:pt x="1510" y="600"/>
                  </a:lnTo>
                  <a:lnTo>
                    <a:pt x="1510" y="602"/>
                  </a:lnTo>
                  <a:lnTo>
                    <a:pt x="1512" y="604"/>
                  </a:lnTo>
                  <a:lnTo>
                    <a:pt x="1512" y="604"/>
                  </a:lnTo>
                  <a:lnTo>
                    <a:pt x="1510" y="606"/>
                  </a:lnTo>
                  <a:lnTo>
                    <a:pt x="1508" y="608"/>
                  </a:lnTo>
                  <a:lnTo>
                    <a:pt x="1506" y="610"/>
                  </a:lnTo>
                  <a:lnTo>
                    <a:pt x="1506" y="610"/>
                  </a:lnTo>
                  <a:lnTo>
                    <a:pt x="1504" y="610"/>
                  </a:lnTo>
                  <a:lnTo>
                    <a:pt x="1504" y="610"/>
                  </a:lnTo>
                  <a:lnTo>
                    <a:pt x="1504" y="608"/>
                  </a:lnTo>
                  <a:lnTo>
                    <a:pt x="1502" y="606"/>
                  </a:lnTo>
                  <a:lnTo>
                    <a:pt x="1502" y="606"/>
                  </a:lnTo>
                  <a:lnTo>
                    <a:pt x="1500" y="606"/>
                  </a:lnTo>
                  <a:lnTo>
                    <a:pt x="1500" y="606"/>
                  </a:lnTo>
                  <a:lnTo>
                    <a:pt x="1500" y="606"/>
                  </a:lnTo>
                  <a:lnTo>
                    <a:pt x="1498" y="606"/>
                  </a:lnTo>
                  <a:lnTo>
                    <a:pt x="1498" y="604"/>
                  </a:lnTo>
                  <a:lnTo>
                    <a:pt x="1496" y="604"/>
                  </a:lnTo>
                  <a:lnTo>
                    <a:pt x="1494" y="604"/>
                  </a:lnTo>
                  <a:lnTo>
                    <a:pt x="1492" y="606"/>
                  </a:lnTo>
                  <a:lnTo>
                    <a:pt x="1486" y="606"/>
                  </a:lnTo>
                  <a:lnTo>
                    <a:pt x="1482" y="608"/>
                  </a:lnTo>
                  <a:lnTo>
                    <a:pt x="1476" y="610"/>
                  </a:lnTo>
                  <a:lnTo>
                    <a:pt x="1472" y="610"/>
                  </a:lnTo>
                  <a:lnTo>
                    <a:pt x="1468" y="610"/>
                  </a:lnTo>
                  <a:lnTo>
                    <a:pt x="1462" y="610"/>
                  </a:lnTo>
                  <a:lnTo>
                    <a:pt x="1464" y="610"/>
                  </a:lnTo>
                  <a:lnTo>
                    <a:pt x="1462" y="610"/>
                  </a:lnTo>
                  <a:lnTo>
                    <a:pt x="1462" y="610"/>
                  </a:lnTo>
                  <a:lnTo>
                    <a:pt x="1462" y="610"/>
                  </a:lnTo>
                  <a:lnTo>
                    <a:pt x="1460" y="608"/>
                  </a:lnTo>
                  <a:lnTo>
                    <a:pt x="1460" y="606"/>
                  </a:lnTo>
                  <a:lnTo>
                    <a:pt x="1460" y="604"/>
                  </a:lnTo>
                  <a:lnTo>
                    <a:pt x="1460" y="602"/>
                  </a:lnTo>
                  <a:lnTo>
                    <a:pt x="1460" y="602"/>
                  </a:lnTo>
                  <a:lnTo>
                    <a:pt x="1460" y="602"/>
                  </a:lnTo>
                  <a:lnTo>
                    <a:pt x="1458" y="600"/>
                  </a:lnTo>
                  <a:lnTo>
                    <a:pt x="1458" y="600"/>
                  </a:lnTo>
                  <a:lnTo>
                    <a:pt x="1458" y="600"/>
                  </a:lnTo>
                  <a:lnTo>
                    <a:pt x="1458" y="600"/>
                  </a:lnTo>
                  <a:lnTo>
                    <a:pt x="1458" y="600"/>
                  </a:lnTo>
                  <a:lnTo>
                    <a:pt x="1454" y="600"/>
                  </a:lnTo>
                  <a:lnTo>
                    <a:pt x="1454" y="600"/>
                  </a:lnTo>
                  <a:lnTo>
                    <a:pt x="1454" y="600"/>
                  </a:lnTo>
                  <a:lnTo>
                    <a:pt x="1452" y="600"/>
                  </a:lnTo>
                  <a:lnTo>
                    <a:pt x="1452" y="600"/>
                  </a:lnTo>
                  <a:lnTo>
                    <a:pt x="1452" y="600"/>
                  </a:lnTo>
                  <a:lnTo>
                    <a:pt x="1452" y="600"/>
                  </a:lnTo>
                  <a:lnTo>
                    <a:pt x="1450" y="602"/>
                  </a:lnTo>
                  <a:lnTo>
                    <a:pt x="1450" y="604"/>
                  </a:lnTo>
                  <a:lnTo>
                    <a:pt x="1448" y="606"/>
                  </a:lnTo>
                  <a:lnTo>
                    <a:pt x="1448" y="606"/>
                  </a:lnTo>
                  <a:lnTo>
                    <a:pt x="1448" y="606"/>
                  </a:lnTo>
                  <a:lnTo>
                    <a:pt x="1446" y="606"/>
                  </a:lnTo>
                  <a:lnTo>
                    <a:pt x="1446" y="606"/>
                  </a:lnTo>
                  <a:lnTo>
                    <a:pt x="1444" y="604"/>
                  </a:lnTo>
                  <a:lnTo>
                    <a:pt x="1442" y="602"/>
                  </a:lnTo>
                  <a:lnTo>
                    <a:pt x="1442" y="600"/>
                  </a:lnTo>
                  <a:lnTo>
                    <a:pt x="1442" y="600"/>
                  </a:lnTo>
                  <a:lnTo>
                    <a:pt x="1442" y="598"/>
                  </a:lnTo>
                  <a:lnTo>
                    <a:pt x="1444" y="592"/>
                  </a:lnTo>
                  <a:lnTo>
                    <a:pt x="1444" y="590"/>
                  </a:lnTo>
                  <a:lnTo>
                    <a:pt x="1444" y="590"/>
                  </a:lnTo>
                  <a:lnTo>
                    <a:pt x="1446" y="590"/>
                  </a:lnTo>
                  <a:lnTo>
                    <a:pt x="1446" y="588"/>
                  </a:lnTo>
                  <a:lnTo>
                    <a:pt x="1446" y="588"/>
                  </a:lnTo>
                  <a:lnTo>
                    <a:pt x="1446" y="586"/>
                  </a:lnTo>
                  <a:lnTo>
                    <a:pt x="1446" y="584"/>
                  </a:lnTo>
                  <a:lnTo>
                    <a:pt x="1446" y="584"/>
                  </a:lnTo>
                  <a:lnTo>
                    <a:pt x="1444" y="584"/>
                  </a:lnTo>
                  <a:lnTo>
                    <a:pt x="1444" y="582"/>
                  </a:lnTo>
                  <a:lnTo>
                    <a:pt x="1444" y="582"/>
                  </a:lnTo>
                  <a:lnTo>
                    <a:pt x="1442" y="580"/>
                  </a:lnTo>
                  <a:lnTo>
                    <a:pt x="1440" y="580"/>
                  </a:lnTo>
                  <a:lnTo>
                    <a:pt x="1440" y="580"/>
                  </a:lnTo>
                  <a:lnTo>
                    <a:pt x="1440" y="580"/>
                  </a:lnTo>
                  <a:lnTo>
                    <a:pt x="1436" y="578"/>
                  </a:lnTo>
                  <a:lnTo>
                    <a:pt x="1432" y="578"/>
                  </a:lnTo>
                  <a:lnTo>
                    <a:pt x="1428" y="576"/>
                  </a:lnTo>
                  <a:lnTo>
                    <a:pt x="1420" y="576"/>
                  </a:lnTo>
                  <a:lnTo>
                    <a:pt x="1416" y="576"/>
                  </a:lnTo>
                  <a:lnTo>
                    <a:pt x="1412" y="576"/>
                  </a:lnTo>
                  <a:lnTo>
                    <a:pt x="1398" y="574"/>
                  </a:lnTo>
                  <a:lnTo>
                    <a:pt x="1386" y="576"/>
                  </a:lnTo>
                  <a:lnTo>
                    <a:pt x="1384" y="576"/>
                  </a:lnTo>
                  <a:lnTo>
                    <a:pt x="1380" y="576"/>
                  </a:lnTo>
                  <a:lnTo>
                    <a:pt x="1372" y="576"/>
                  </a:lnTo>
                  <a:lnTo>
                    <a:pt x="1370" y="576"/>
                  </a:lnTo>
                  <a:lnTo>
                    <a:pt x="1366" y="576"/>
                  </a:lnTo>
                  <a:lnTo>
                    <a:pt x="1366" y="576"/>
                  </a:lnTo>
                  <a:lnTo>
                    <a:pt x="1366" y="576"/>
                  </a:lnTo>
                  <a:lnTo>
                    <a:pt x="1364" y="578"/>
                  </a:lnTo>
                  <a:lnTo>
                    <a:pt x="1364" y="578"/>
                  </a:lnTo>
                  <a:lnTo>
                    <a:pt x="1362" y="578"/>
                  </a:lnTo>
                  <a:lnTo>
                    <a:pt x="1362" y="578"/>
                  </a:lnTo>
                  <a:lnTo>
                    <a:pt x="1362" y="574"/>
                  </a:lnTo>
                  <a:lnTo>
                    <a:pt x="1360" y="572"/>
                  </a:lnTo>
                  <a:lnTo>
                    <a:pt x="1360" y="572"/>
                  </a:lnTo>
                  <a:lnTo>
                    <a:pt x="1360" y="570"/>
                  </a:lnTo>
                  <a:lnTo>
                    <a:pt x="1358" y="568"/>
                  </a:lnTo>
                  <a:lnTo>
                    <a:pt x="1358" y="568"/>
                  </a:lnTo>
                  <a:lnTo>
                    <a:pt x="1358" y="568"/>
                  </a:lnTo>
                  <a:lnTo>
                    <a:pt x="1358" y="566"/>
                  </a:lnTo>
                  <a:lnTo>
                    <a:pt x="1358" y="566"/>
                  </a:lnTo>
                  <a:lnTo>
                    <a:pt x="1358" y="566"/>
                  </a:lnTo>
                  <a:lnTo>
                    <a:pt x="1356" y="564"/>
                  </a:lnTo>
                  <a:lnTo>
                    <a:pt x="1356" y="564"/>
                  </a:lnTo>
                  <a:lnTo>
                    <a:pt x="1356" y="564"/>
                  </a:lnTo>
                  <a:lnTo>
                    <a:pt x="1356" y="560"/>
                  </a:lnTo>
                  <a:lnTo>
                    <a:pt x="1356" y="560"/>
                  </a:lnTo>
                  <a:lnTo>
                    <a:pt x="1356" y="560"/>
                  </a:lnTo>
                  <a:lnTo>
                    <a:pt x="1356" y="560"/>
                  </a:lnTo>
                  <a:lnTo>
                    <a:pt x="1358" y="558"/>
                  </a:lnTo>
                  <a:lnTo>
                    <a:pt x="1358" y="558"/>
                  </a:lnTo>
                  <a:lnTo>
                    <a:pt x="1360" y="558"/>
                  </a:lnTo>
                  <a:lnTo>
                    <a:pt x="1360" y="558"/>
                  </a:lnTo>
                  <a:lnTo>
                    <a:pt x="1360" y="558"/>
                  </a:lnTo>
                  <a:lnTo>
                    <a:pt x="1362" y="556"/>
                  </a:lnTo>
                  <a:lnTo>
                    <a:pt x="1362" y="556"/>
                  </a:lnTo>
                  <a:lnTo>
                    <a:pt x="1362" y="556"/>
                  </a:lnTo>
                  <a:lnTo>
                    <a:pt x="1362" y="554"/>
                  </a:lnTo>
                  <a:lnTo>
                    <a:pt x="1362" y="552"/>
                  </a:lnTo>
                  <a:lnTo>
                    <a:pt x="1362" y="548"/>
                  </a:lnTo>
                  <a:lnTo>
                    <a:pt x="1360" y="546"/>
                  </a:lnTo>
                  <a:lnTo>
                    <a:pt x="1360" y="542"/>
                  </a:lnTo>
                  <a:lnTo>
                    <a:pt x="1358" y="540"/>
                  </a:lnTo>
                  <a:lnTo>
                    <a:pt x="1356" y="536"/>
                  </a:lnTo>
                  <a:lnTo>
                    <a:pt x="1356" y="534"/>
                  </a:lnTo>
                  <a:lnTo>
                    <a:pt x="1356" y="534"/>
                  </a:lnTo>
                  <a:lnTo>
                    <a:pt x="1354" y="534"/>
                  </a:lnTo>
                  <a:lnTo>
                    <a:pt x="1354" y="532"/>
                  </a:lnTo>
                  <a:lnTo>
                    <a:pt x="1354" y="532"/>
                  </a:lnTo>
                  <a:lnTo>
                    <a:pt x="1352" y="532"/>
                  </a:lnTo>
                  <a:lnTo>
                    <a:pt x="1352" y="530"/>
                  </a:lnTo>
                  <a:lnTo>
                    <a:pt x="1352" y="530"/>
                  </a:lnTo>
                  <a:lnTo>
                    <a:pt x="1350" y="530"/>
                  </a:lnTo>
                  <a:lnTo>
                    <a:pt x="1348" y="530"/>
                  </a:lnTo>
                  <a:lnTo>
                    <a:pt x="1348" y="530"/>
                  </a:lnTo>
                  <a:lnTo>
                    <a:pt x="1348" y="530"/>
                  </a:lnTo>
                  <a:lnTo>
                    <a:pt x="1344" y="530"/>
                  </a:lnTo>
                  <a:lnTo>
                    <a:pt x="1342" y="530"/>
                  </a:lnTo>
                  <a:lnTo>
                    <a:pt x="1340" y="530"/>
                  </a:lnTo>
                  <a:lnTo>
                    <a:pt x="1340" y="530"/>
                  </a:lnTo>
                  <a:lnTo>
                    <a:pt x="1340" y="530"/>
                  </a:lnTo>
                  <a:lnTo>
                    <a:pt x="1338" y="530"/>
                  </a:lnTo>
                  <a:lnTo>
                    <a:pt x="1338" y="530"/>
                  </a:lnTo>
                  <a:lnTo>
                    <a:pt x="1338" y="530"/>
                  </a:lnTo>
                  <a:lnTo>
                    <a:pt x="1336" y="532"/>
                  </a:lnTo>
                  <a:lnTo>
                    <a:pt x="1336" y="532"/>
                  </a:lnTo>
                  <a:lnTo>
                    <a:pt x="1336" y="532"/>
                  </a:lnTo>
                  <a:lnTo>
                    <a:pt x="1334" y="532"/>
                  </a:lnTo>
                  <a:lnTo>
                    <a:pt x="1334" y="532"/>
                  </a:lnTo>
                  <a:lnTo>
                    <a:pt x="1334" y="534"/>
                  </a:lnTo>
                  <a:lnTo>
                    <a:pt x="1334" y="534"/>
                  </a:lnTo>
                  <a:lnTo>
                    <a:pt x="1334" y="534"/>
                  </a:lnTo>
                  <a:lnTo>
                    <a:pt x="1334" y="536"/>
                  </a:lnTo>
                  <a:lnTo>
                    <a:pt x="1334" y="538"/>
                  </a:lnTo>
                  <a:lnTo>
                    <a:pt x="1334" y="538"/>
                  </a:lnTo>
                  <a:lnTo>
                    <a:pt x="1334" y="542"/>
                  </a:lnTo>
                  <a:lnTo>
                    <a:pt x="1334" y="544"/>
                  </a:lnTo>
                  <a:lnTo>
                    <a:pt x="1334" y="548"/>
                  </a:lnTo>
                  <a:lnTo>
                    <a:pt x="1334" y="548"/>
                  </a:lnTo>
                  <a:lnTo>
                    <a:pt x="1336" y="548"/>
                  </a:lnTo>
                  <a:lnTo>
                    <a:pt x="1336" y="550"/>
                  </a:lnTo>
                  <a:lnTo>
                    <a:pt x="1338" y="552"/>
                  </a:lnTo>
                  <a:lnTo>
                    <a:pt x="1338" y="552"/>
                  </a:lnTo>
                  <a:lnTo>
                    <a:pt x="1338" y="554"/>
                  </a:lnTo>
                  <a:lnTo>
                    <a:pt x="1340" y="554"/>
                  </a:lnTo>
                  <a:lnTo>
                    <a:pt x="1340" y="554"/>
                  </a:lnTo>
                  <a:lnTo>
                    <a:pt x="1340" y="554"/>
                  </a:lnTo>
                  <a:lnTo>
                    <a:pt x="1342" y="556"/>
                  </a:lnTo>
                  <a:lnTo>
                    <a:pt x="1346" y="558"/>
                  </a:lnTo>
                  <a:lnTo>
                    <a:pt x="1346" y="558"/>
                  </a:lnTo>
                  <a:lnTo>
                    <a:pt x="1346" y="558"/>
                  </a:lnTo>
                  <a:lnTo>
                    <a:pt x="1346" y="560"/>
                  </a:lnTo>
                  <a:lnTo>
                    <a:pt x="1346" y="562"/>
                  </a:lnTo>
                  <a:lnTo>
                    <a:pt x="1346" y="562"/>
                  </a:lnTo>
                  <a:lnTo>
                    <a:pt x="1346" y="562"/>
                  </a:lnTo>
                  <a:lnTo>
                    <a:pt x="1348" y="564"/>
                  </a:lnTo>
                  <a:lnTo>
                    <a:pt x="1348" y="564"/>
                  </a:lnTo>
                  <a:lnTo>
                    <a:pt x="1348" y="564"/>
                  </a:lnTo>
                  <a:lnTo>
                    <a:pt x="1350" y="566"/>
                  </a:lnTo>
                  <a:lnTo>
                    <a:pt x="1350" y="566"/>
                  </a:lnTo>
                  <a:lnTo>
                    <a:pt x="1350" y="568"/>
                  </a:lnTo>
                  <a:lnTo>
                    <a:pt x="1350" y="572"/>
                  </a:lnTo>
                  <a:lnTo>
                    <a:pt x="1348" y="574"/>
                  </a:lnTo>
                  <a:lnTo>
                    <a:pt x="1348" y="576"/>
                  </a:lnTo>
                  <a:lnTo>
                    <a:pt x="1348" y="576"/>
                  </a:lnTo>
                  <a:lnTo>
                    <a:pt x="1346" y="574"/>
                  </a:lnTo>
                  <a:lnTo>
                    <a:pt x="1344" y="570"/>
                  </a:lnTo>
                  <a:lnTo>
                    <a:pt x="1342" y="566"/>
                  </a:lnTo>
                  <a:lnTo>
                    <a:pt x="1340" y="562"/>
                  </a:lnTo>
                  <a:lnTo>
                    <a:pt x="1338" y="560"/>
                  </a:lnTo>
                  <a:lnTo>
                    <a:pt x="1338" y="560"/>
                  </a:lnTo>
                  <a:lnTo>
                    <a:pt x="1338" y="558"/>
                  </a:lnTo>
                  <a:lnTo>
                    <a:pt x="1336" y="558"/>
                  </a:lnTo>
                  <a:lnTo>
                    <a:pt x="1336" y="558"/>
                  </a:lnTo>
                  <a:lnTo>
                    <a:pt x="1336" y="558"/>
                  </a:lnTo>
                  <a:lnTo>
                    <a:pt x="1336" y="558"/>
                  </a:lnTo>
                  <a:lnTo>
                    <a:pt x="1336" y="558"/>
                  </a:lnTo>
                  <a:lnTo>
                    <a:pt x="1334" y="558"/>
                  </a:lnTo>
                  <a:lnTo>
                    <a:pt x="1332" y="558"/>
                  </a:lnTo>
                  <a:lnTo>
                    <a:pt x="1332" y="558"/>
                  </a:lnTo>
                  <a:lnTo>
                    <a:pt x="1332" y="558"/>
                  </a:lnTo>
                  <a:lnTo>
                    <a:pt x="1330" y="558"/>
                  </a:lnTo>
                  <a:lnTo>
                    <a:pt x="1330" y="558"/>
                  </a:lnTo>
                  <a:lnTo>
                    <a:pt x="1330" y="558"/>
                  </a:lnTo>
                  <a:lnTo>
                    <a:pt x="1328" y="560"/>
                  </a:lnTo>
                  <a:lnTo>
                    <a:pt x="1328" y="560"/>
                  </a:lnTo>
                  <a:lnTo>
                    <a:pt x="1328" y="560"/>
                  </a:lnTo>
                  <a:lnTo>
                    <a:pt x="1326" y="564"/>
                  </a:lnTo>
                  <a:lnTo>
                    <a:pt x="1324" y="566"/>
                  </a:lnTo>
                  <a:lnTo>
                    <a:pt x="1324" y="564"/>
                  </a:lnTo>
                  <a:lnTo>
                    <a:pt x="1324" y="564"/>
                  </a:lnTo>
                  <a:lnTo>
                    <a:pt x="1322" y="564"/>
                  </a:lnTo>
                  <a:lnTo>
                    <a:pt x="1320" y="562"/>
                  </a:lnTo>
                  <a:lnTo>
                    <a:pt x="1320" y="562"/>
                  </a:lnTo>
                  <a:lnTo>
                    <a:pt x="1320" y="562"/>
                  </a:lnTo>
                  <a:lnTo>
                    <a:pt x="1318" y="562"/>
                  </a:lnTo>
                  <a:lnTo>
                    <a:pt x="1314" y="562"/>
                  </a:lnTo>
                  <a:lnTo>
                    <a:pt x="1312" y="562"/>
                  </a:lnTo>
                  <a:lnTo>
                    <a:pt x="1310" y="562"/>
                  </a:lnTo>
                  <a:lnTo>
                    <a:pt x="1308" y="564"/>
                  </a:lnTo>
                  <a:lnTo>
                    <a:pt x="1308" y="564"/>
                  </a:lnTo>
                  <a:lnTo>
                    <a:pt x="1306" y="564"/>
                  </a:lnTo>
                  <a:lnTo>
                    <a:pt x="1306" y="564"/>
                  </a:lnTo>
                  <a:lnTo>
                    <a:pt x="1306" y="564"/>
                  </a:lnTo>
                  <a:lnTo>
                    <a:pt x="1304" y="568"/>
                  </a:lnTo>
                  <a:lnTo>
                    <a:pt x="1306" y="568"/>
                  </a:lnTo>
                  <a:lnTo>
                    <a:pt x="1306" y="568"/>
                  </a:lnTo>
                  <a:lnTo>
                    <a:pt x="1306" y="570"/>
                  </a:lnTo>
                  <a:lnTo>
                    <a:pt x="1306" y="570"/>
                  </a:lnTo>
                  <a:lnTo>
                    <a:pt x="1308" y="572"/>
                  </a:lnTo>
                  <a:lnTo>
                    <a:pt x="1310" y="576"/>
                  </a:lnTo>
                  <a:lnTo>
                    <a:pt x="1312" y="578"/>
                  </a:lnTo>
                  <a:lnTo>
                    <a:pt x="1312" y="578"/>
                  </a:lnTo>
                  <a:lnTo>
                    <a:pt x="1312" y="578"/>
                  </a:lnTo>
                  <a:lnTo>
                    <a:pt x="1310" y="580"/>
                  </a:lnTo>
                  <a:lnTo>
                    <a:pt x="1308" y="582"/>
                  </a:lnTo>
                  <a:lnTo>
                    <a:pt x="1308" y="582"/>
                  </a:lnTo>
                  <a:lnTo>
                    <a:pt x="1306" y="584"/>
                  </a:lnTo>
                  <a:lnTo>
                    <a:pt x="1302" y="586"/>
                  </a:lnTo>
                  <a:lnTo>
                    <a:pt x="1296" y="588"/>
                  </a:lnTo>
                  <a:lnTo>
                    <a:pt x="1294" y="590"/>
                  </a:lnTo>
                  <a:lnTo>
                    <a:pt x="1294" y="590"/>
                  </a:lnTo>
                  <a:lnTo>
                    <a:pt x="1292" y="590"/>
                  </a:lnTo>
                  <a:lnTo>
                    <a:pt x="1292" y="592"/>
                  </a:lnTo>
                  <a:lnTo>
                    <a:pt x="1292" y="592"/>
                  </a:lnTo>
                  <a:lnTo>
                    <a:pt x="1292" y="592"/>
                  </a:lnTo>
                  <a:lnTo>
                    <a:pt x="1290" y="594"/>
                  </a:lnTo>
                  <a:lnTo>
                    <a:pt x="1290" y="594"/>
                  </a:lnTo>
                  <a:lnTo>
                    <a:pt x="1290" y="594"/>
                  </a:lnTo>
                  <a:lnTo>
                    <a:pt x="1288" y="598"/>
                  </a:lnTo>
                  <a:lnTo>
                    <a:pt x="1286" y="600"/>
                  </a:lnTo>
                  <a:lnTo>
                    <a:pt x="1286" y="602"/>
                  </a:lnTo>
                  <a:lnTo>
                    <a:pt x="1286" y="602"/>
                  </a:lnTo>
                  <a:lnTo>
                    <a:pt x="1284" y="602"/>
                  </a:lnTo>
                  <a:lnTo>
                    <a:pt x="1282" y="604"/>
                  </a:lnTo>
                  <a:lnTo>
                    <a:pt x="1278" y="604"/>
                  </a:lnTo>
                  <a:lnTo>
                    <a:pt x="1274" y="604"/>
                  </a:lnTo>
                  <a:lnTo>
                    <a:pt x="1274" y="604"/>
                  </a:lnTo>
                  <a:lnTo>
                    <a:pt x="1274" y="604"/>
                  </a:lnTo>
                  <a:lnTo>
                    <a:pt x="1272" y="604"/>
                  </a:lnTo>
                  <a:lnTo>
                    <a:pt x="1270" y="606"/>
                  </a:lnTo>
                  <a:lnTo>
                    <a:pt x="1268" y="606"/>
                  </a:lnTo>
                  <a:lnTo>
                    <a:pt x="1266" y="608"/>
                  </a:lnTo>
                  <a:lnTo>
                    <a:pt x="1264" y="610"/>
                  </a:lnTo>
                  <a:lnTo>
                    <a:pt x="1260" y="610"/>
                  </a:lnTo>
                  <a:lnTo>
                    <a:pt x="1256" y="614"/>
                  </a:lnTo>
                  <a:lnTo>
                    <a:pt x="1254" y="616"/>
                  </a:lnTo>
                  <a:lnTo>
                    <a:pt x="1254" y="616"/>
                  </a:lnTo>
                  <a:lnTo>
                    <a:pt x="1256" y="610"/>
                  </a:lnTo>
                  <a:lnTo>
                    <a:pt x="1258" y="608"/>
                  </a:lnTo>
                  <a:lnTo>
                    <a:pt x="1260" y="606"/>
                  </a:lnTo>
                  <a:lnTo>
                    <a:pt x="1260" y="604"/>
                  </a:lnTo>
                  <a:lnTo>
                    <a:pt x="1262" y="602"/>
                  </a:lnTo>
                  <a:lnTo>
                    <a:pt x="1266" y="598"/>
                  </a:lnTo>
                  <a:lnTo>
                    <a:pt x="1266" y="596"/>
                  </a:lnTo>
                  <a:lnTo>
                    <a:pt x="1268" y="594"/>
                  </a:lnTo>
                  <a:lnTo>
                    <a:pt x="1268" y="592"/>
                  </a:lnTo>
                  <a:lnTo>
                    <a:pt x="1268" y="592"/>
                  </a:lnTo>
                  <a:lnTo>
                    <a:pt x="1270" y="592"/>
                  </a:lnTo>
                  <a:lnTo>
                    <a:pt x="1270" y="590"/>
                  </a:lnTo>
                  <a:lnTo>
                    <a:pt x="1270" y="590"/>
                  </a:lnTo>
                  <a:lnTo>
                    <a:pt x="1270" y="590"/>
                  </a:lnTo>
                  <a:lnTo>
                    <a:pt x="1268" y="588"/>
                  </a:lnTo>
                  <a:lnTo>
                    <a:pt x="1268" y="588"/>
                  </a:lnTo>
                  <a:lnTo>
                    <a:pt x="1268" y="586"/>
                  </a:lnTo>
                  <a:lnTo>
                    <a:pt x="1268" y="586"/>
                  </a:lnTo>
                  <a:lnTo>
                    <a:pt x="1268" y="586"/>
                  </a:lnTo>
                  <a:lnTo>
                    <a:pt x="1268" y="586"/>
                  </a:lnTo>
                  <a:lnTo>
                    <a:pt x="1270" y="586"/>
                  </a:lnTo>
                  <a:lnTo>
                    <a:pt x="1272" y="586"/>
                  </a:lnTo>
                  <a:lnTo>
                    <a:pt x="1272" y="586"/>
                  </a:lnTo>
                  <a:lnTo>
                    <a:pt x="1276" y="586"/>
                  </a:lnTo>
                  <a:lnTo>
                    <a:pt x="1276" y="586"/>
                  </a:lnTo>
                  <a:lnTo>
                    <a:pt x="1276" y="586"/>
                  </a:lnTo>
                  <a:lnTo>
                    <a:pt x="1280" y="584"/>
                  </a:lnTo>
                  <a:lnTo>
                    <a:pt x="1280" y="584"/>
                  </a:lnTo>
                  <a:lnTo>
                    <a:pt x="1280" y="584"/>
                  </a:lnTo>
                  <a:lnTo>
                    <a:pt x="1284" y="584"/>
                  </a:lnTo>
                  <a:lnTo>
                    <a:pt x="1284" y="584"/>
                  </a:lnTo>
                  <a:lnTo>
                    <a:pt x="1284" y="582"/>
                  </a:lnTo>
                  <a:lnTo>
                    <a:pt x="1288" y="580"/>
                  </a:lnTo>
                  <a:lnTo>
                    <a:pt x="1288" y="580"/>
                  </a:lnTo>
                  <a:lnTo>
                    <a:pt x="1288" y="580"/>
                  </a:lnTo>
                  <a:lnTo>
                    <a:pt x="1290" y="580"/>
                  </a:lnTo>
                  <a:lnTo>
                    <a:pt x="1290" y="580"/>
                  </a:lnTo>
                  <a:lnTo>
                    <a:pt x="1290" y="578"/>
                  </a:lnTo>
                  <a:lnTo>
                    <a:pt x="1292" y="576"/>
                  </a:lnTo>
                  <a:lnTo>
                    <a:pt x="1294" y="572"/>
                  </a:lnTo>
                  <a:lnTo>
                    <a:pt x="1296" y="568"/>
                  </a:lnTo>
                  <a:lnTo>
                    <a:pt x="1298" y="564"/>
                  </a:lnTo>
                  <a:lnTo>
                    <a:pt x="1302" y="558"/>
                  </a:lnTo>
                  <a:lnTo>
                    <a:pt x="1306" y="554"/>
                  </a:lnTo>
                  <a:lnTo>
                    <a:pt x="1308" y="550"/>
                  </a:lnTo>
                  <a:lnTo>
                    <a:pt x="1312" y="546"/>
                  </a:lnTo>
                  <a:lnTo>
                    <a:pt x="1318" y="540"/>
                  </a:lnTo>
                  <a:lnTo>
                    <a:pt x="1322" y="534"/>
                  </a:lnTo>
                  <a:lnTo>
                    <a:pt x="1324" y="532"/>
                  </a:lnTo>
                  <a:lnTo>
                    <a:pt x="1326" y="530"/>
                  </a:lnTo>
                  <a:lnTo>
                    <a:pt x="1328" y="528"/>
                  </a:lnTo>
                  <a:lnTo>
                    <a:pt x="1332" y="528"/>
                  </a:lnTo>
                  <a:lnTo>
                    <a:pt x="1336" y="526"/>
                  </a:lnTo>
                  <a:lnTo>
                    <a:pt x="1340" y="524"/>
                  </a:lnTo>
                  <a:lnTo>
                    <a:pt x="1342" y="522"/>
                  </a:lnTo>
                  <a:lnTo>
                    <a:pt x="1344" y="520"/>
                  </a:lnTo>
                  <a:lnTo>
                    <a:pt x="1348" y="518"/>
                  </a:lnTo>
                  <a:lnTo>
                    <a:pt x="1350" y="516"/>
                  </a:lnTo>
                  <a:lnTo>
                    <a:pt x="1354" y="512"/>
                  </a:lnTo>
                  <a:lnTo>
                    <a:pt x="1358" y="508"/>
                  </a:lnTo>
                  <a:lnTo>
                    <a:pt x="1360" y="504"/>
                  </a:lnTo>
                  <a:lnTo>
                    <a:pt x="1364" y="500"/>
                  </a:lnTo>
                  <a:lnTo>
                    <a:pt x="1366" y="496"/>
                  </a:lnTo>
                  <a:lnTo>
                    <a:pt x="1368" y="492"/>
                  </a:lnTo>
                  <a:lnTo>
                    <a:pt x="1370" y="490"/>
                  </a:lnTo>
                  <a:lnTo>
                    <a:pt x="1370" y="490"/>
                  </a:lnTo>
                  <a:lnTo>
                    <a:pt x="1370" y="488"/>
                  </a:lnTo>
                  <a:lnTo>
                    <a:pt x="1372" y="486"/>
                  </a:lnTo>
                  <a:lnTo>
                    <a:pt x="1372" y="486"/>
                  </a:lnTo>
                  <a:lnTo>
                    <a:pt x="1372" y="486"/>
                  </a:lnTo>
                  <a:lnTo>
                    <a:pt x="1372" y="484"/>
                  </a:lnTo>
                  <a:lnTo>
                    <a:pt x="1372" y="484"/>
                  </a:lnTo>
                  <a:lnTo>
                    <a:pt x="1372" y="482"/>
                  </a:lnTo>
                  <a:lnTo>
                    <a:pt x="1370" y="480"/>
                  </a:lnTo>
                  <a:lnTo>
                    <a:pt x="1370" y="480"/>
                  </a:lnTo>
                  <a:lnTo>
                    <a:pt x="1370" y="480"/>
                  </a:lnTo>
                  <a:lnTo>
                    <a:pt x="1370" y="478"/>
                  </a:lnTo>
                  <a:lnTo>
                    <a:pt x="1368" y="474"/>
                  </a:lnTo>
                  <a:lnTo>
                    <a:pt x="1368" y="474"/>
                  </a:lnTo>
                  <a:lnTo>
                    <a:pt x="1368" y="472"/>
                  </a:lnTo>
                  <a:lnTo>
                    <a:pt x="1368" y="472"/>
                  </a:lnTo>
                  <a:lnTo>
                    <a:pt x="1368" y="472"/>
                  </a:lnTo>
                  <a:lnTo>
                    <a:pt x="1372" y="470"/>
                  </a:lnTo>
                  <a:lnTo>
                    <a:pt x="1374" y="466"/>
                  </a:lnTo>
                  <a:lnTo>
                    <a:pt x="1374" y="466"/>
                  </a:lnTo>
                  <a:lnTo>
                    <a:pt x="1374" y="466"/>
                  </a:lnTo>
                  <a:lnTo>
                    <a:pt x="1374" y="464"/>
                  </a:lnTo>
                  <a:lnTo>
                    <a:pt x="1374" y="464"/>
                  </a:lnTo>
                  <a:lnTo>
                    <a:pt x="1374" y="464"/>
                  </a:lnTo>
                  <a:lnTo>
                    <a:pt x="1374" y="462"/>
                  </a:lnTo>
                  <a:lnTo>
                    <a:pt x="1374" y="462"/>
                  </a:lnTo>
                  <a:lnTo>
                    <a:pt x="1374" y="460"/>
                  </a:lnTo>
                  <a:lnTo>
                    <a:pt x="1374" y="460"/>
                  </a:lnTo>
                  <a:lnTo>
                    <a:pt x="1374" y="458"/>
                  </a:lnTo>
                  <a:lnTo>
                    <a:pt x="1374" y="456"/>
                  </a:lnTo>
                  <a:lnTo>
                    <a:pt x="1372" y="452"/>
                  </a:lnTo>
                  <a:lnTo>
                    <a:pt x="1370" y="446"/>
                  </a:lnTo>
                  <a:lnTo>
                    <a:pt x="1368" y="444"/>
                  </a:lnTo>
                  <a:lnTo>
                    <a:pt x="1368" y="444"/>
                  </a:lnTo>
                  <a:lnTo>
                    <a:pt x="1368" y="440"/>
                  </a:lnTo>
                  <a:lnTo>
                    <a:pt x="1368" y="438"/>
                  </a:lnTo>
                  <a:lnTo>
                    <a:pt x="1368" y="434"/>
                  </a:lnTo>
                  <a:lnTo>
                    <a:pt x="1370" y="430"/>
                  </a:lnTo>
                  <a:lnTo>
                    <a:pt x="1370" y="428"/>
                  </a:lnTo>
                  <a:lnTo>
                    <a:pt x="1370" y="426"/>
                  </a:lnTo>
                  <a:lnTo>
                    <a:pt x="1370" y="426"/>
                  </a:lnTo>
                  <a:lnTo>
                    <a:pt x="1370" y="426"/>
                  </a:lnTo>
                  <a:lnTo>
                    <a:pt x="1368" y="424"/>
                  </a:lnTo>
                  <a:lnTo>
                    <a:pt x="1368" y="424"/>
                  </a:lnTo>
                  <a:lnTo>
                    <a:pt x="1368" y="424"/>
                  </a:lnTo>
                  <a:lnTo>
                    <a:pt x="1366" y="422"/>
                  </a:lnTo>
                  <a:lnTo>
                    <a:pt x="1366" y="422"/>
                  </a:lnTo>
                  <a:lnTo>
                    <a:pt x="1364" y="422"/>
                  </a:lnTo>
                  <a:lnTo>
                    <a:pt x="1362" y="422"/>
                  </a:lnTo>
                  <a:lnTo>
                    <a:pt x="1362" y="422"/>
                  </a:lnTo>
                  <a:lnTo>
                    <a:pt x="1360" y="424"/>
                  </a:lnTo>
                  <a:lnTo>
                    <a:pt x="1358" y="424"/>
                  </a:lnTo>
                  <a:lnTo>
                    <a:pt x="1354" y="426"/>
                  </a:lnTo>
                  <a:lnTo>
                    <a:pt x="1352" y="426"/>
                  </a:lnTo>
                  <a:lnTo>
                    <a:pt x="1352" y="426"/>
                  </a:lnTo>
                  <a:lnTo>
                    <a:pt x="1352" y="426"/>
                  </a:lnTo>
                  <a:lnTo>
                    <a:pt x="1350" y="424"/>
                  </a:lnTo>
                  <a:lnTo>
                    <a:pt x="1350" y="420"/>
                  </a:lnTo>
                  <a:lnTo>
                    <a:pt x="1350" y="420"/>
                  </a:lnTo>
                  <a:lnTo>
                    <a:pt x="1350" y="420"/>
                  </a:lnTo>
                  <a:lnTo>
                    <a:pt x="1348" y="416"/>
                  </a:lnTo>
                  <a:lnTo>
                    <a:pt x="1348" y="416"/>
                  </a:lnTo>
                  <a:lnTo>
                    <a:pt x="1348" y="416"/>
                  </a:lnTo>
                  <a:lnTo>
                    <a:pt x="1346" y="414"/>
                  </a:lnTo>
                  <a:lnTo>
                    <a:pt x="1342" y="410"/>
                  </a:lnTo>
                  <a:lnTo>
                    <a:pt x="1340" y="410"/>
                  </a:lnTo>
                  <a:lnTo>
                    <a:pt x="1338" y="408"/>
                  </a:lnTo>
                  <a:lnTo>
                    <a:pt x="1334" y="408"/>
                  </a:lnTo>
                  <a:lnTo>
                    <a:pt x="1332" y="406"/>
                  </a:lnTo>
                  <a:lnTo>
                    <a:pt x="1328" y="406"/>
                  </a:lnTo>
                  <a:lnTo>
                    <a:pt x="1322" y="404"/>
                  </a:lnTo>
                  <a:lnTo>
                    <a:pt x="1316" y="404"/>
                  </a:lnTo>
                  <a:lnTo>
                    <a:pt x="1310" y="404"/>
                  </a:lnTo>
                  <a:lnTo>
                    <a:pt x="1304" y="402"/>
                  </a:lnTo>
                  <a:lnTo>
                    <a:pt x="1298" y="402"/>
                  </a:lnTo>
                  <a:lnTo>
                    <a:pt x="1292" y="402"/>
                  </a:lnTo>
                  <a:lnTo>
                    <a:pt x="1290" y="402"/>
                  </a:lnTo>
                  <a:lnTo>
                    <a:pt x="1288" y="402"/>
                  </a:lnTo>
                  <a:lnTo>
                    <a:pt x="1288" y="402"/>
                  </a:lnTo>
                  <a:lnTo>
                    <a:pt x="1288" y="402"/>
                  </a:lnTo>
                  <a:lnTo>
                    <a:pt x="1286" y="404"/>
                  </a:lnTo>
                  <a:lnTo>
                    <a:pt x="1286" y="404"/>
                  </a:lnTo>
                  <a:lnTo>
                    <a:pt x="1286" y="404"/>
                  </a:lnTo>
                  <a:lnTo>
                    <a:pt x="1284" y="404"/>
                  </a:lnTo>
                  <a:lnTo>
                    <a:pt x="1284" y="404"/>
                  </a:lnTo>
                  <a:lnTo>
                    <a:pt x="1282" y="406"/>
                  </a:lnTo>
                  <a:lnTo>
                    <a:pt x="1282" y="406"/>
                  </a:lnTo>
                  <a:lnTo>
                    <a:pt x="1282" y="406"/>
                  </a:lnTo>
                  <a:lnTo>
                    <a:pt x="1282" y="408"/>
                  </a:lnTo>
                  <a:lnTo>
                    <a:pt x="1282" y="410"/>
                  </a:lnTo>
                  <a:lnTo>
                    <a:pt x="1282" y="410"/>
                  </a:lnTo>
                  <a:lnTo>
                    <a:pt x="1282" y="410"/>
                  </a:lnTo>
                  <a:lnTo>
                    <a:pt x="1282" y="412"/>
                  </a:lnTo>
                  <a:lnTo>
                    <a:pt x="1282" y="412"/>
                  </a:lnTo>
                  <a:lnTo>
                    <a:pt x="1280" y="412"/>
                  </a:lnTo>
                  <a:lnTo>
                    <a:pt x="1276" y="414"/>
                  </a:lnTo>
                  <a:lnTo>
                    <a:pt x="1272" y="414"/>
                  </a:lnTo>
                  <a:lnTo>
                    <a:pt x="1270" y="416"/>
                  </a:lnTo>
                  <a:lnTo>
                    <a:pt x="1268" y="416"/>
                  </a:lnTo>
                  <a:lnTo>
                    <a:pt x="1268" y="414"/>
                  </a:lnTo>
                  <a:lnTo>
                    <a:pt x="1268" y="414"/>
                  </a:lnTo>
                  <a:lnTo>
                    <a:pt x="1268" y="414"/>
                  </a:lnTo>
                  <a:lnTo>
                    <a:pt x="1270" y="412"/>
                  </a:lnTo>
                  <a:lnTo>
                    <a:pt x="1270" y="412"/>
                  </a:lnTo>
                  <a:lnTo>
                    <a:pt x="1270" y="412"/>
                  </a:lnTo>
                  <a:lnTo>
                    <a:pt x="1272" y="410"/>
                  </a:lnTo>
                  <a:lnTo>
                    <a:pt x="1272" y="408"/>
                  </a:lnTo>
                  <a:lnTo>
                    <a:pt x="1274" y="404"/>
                  </a:lnTo>
                  <a:lnTo>
                    <a:pt x="1274" y="402"/>
                  </a:lnTo>
                  <a:lnTo>
                    <a:pt x="1276" y="398"/>
                  </a:lnTo>
                  <a:lnTo>
                    <a:pt x="1276" y="394"/>
                  </a:lnTo>
                  <a:lnTo>
                    <a:pt x="1278" y="390"/>
                  </a:lnTo>
                  <a:lnTo>
                    <a:pt x="1278" y="388"/>
                  </a:lnTo>
                  <a:lnTo>
                    <a:pt x="1278" y="388"/>
                  </a:lnTo>
                  <a:lnTo>
                    <a:pt x="1278" y="386"/>
                  </a:lnTo>
                  <a:lnTo>
                    <a:pt x="1278" y="384"/>
                  </a:lnTo>
                  <a:lnTo>
                    <a:pt x="1278" y="384"/>
                  </a:lnTo>
                  <a:lnTo>
                    <a:pt x="1276" y="384"/>
                  </a:lnTo>
                  <a:lnTo>
                    <a:pt x="1276" y="382"/>
                  </a:lnTo>
                  <a:lnTo>
                    <a:pt x="1276" y="382"/>
                  </a:lnTo>
                  <a:lnTo>
                    <a:pt x="1274" y="380"/>
                  </a:lnTo>
                  <a:lnTo>
                    <a:pt x="1272" y="380"/>
                  </a:lnTo>
                  <a:lnTo>
                    <a:pt x="1272" y="380"/>
                  </a:lnTo>
                  <a:lnTo>
                    <a:pt x="1272" y="380"/>
                  </a:lnTo>
                  <a:lnTo>
                    <a:pt x="1268" y="378"/>
                  </a:lnTo>
                  <a:lnTo>
                    <a:pt x="1266" y="378"/>
                  </a:lnTo>
                  <a:lnTo>
                    <a:pt x="1262" y="376"/>
                  </a:lnTo>
                  <a:lnTo>
                    <a:pt x="1260" y="376"/>
                  </a:lnTo>
                  <a:lnTo>
                    <a:pt x="1256" y="376"/>
                  </a:lnTo>
                  <a:lnTo>
                    <a:pt x="1258" y="376"/>
                  </a:lnTo>
                  <a:lnTo>
                    <a:pt x="1256" y="374"/>
                  </a:lnTo>
                  <a:lnTo>
                    <a:pt x="1254" y="374"/>
                  </a:lnTo>
                  <a:lnTo>
                    <a:pt x="1254" y="372"/>
                  </a:lnTo>
                  <a:lnTo>
                    <a:pt x="1252" y="370"/>
                  </a:lnTo>
                  <a:lnTo>
                    <a:pt x="1252" y="368"/>
                  </a:lnTo>
                  <a:lnTo>
                    <a:pt x="1252" y="368"/>
                  </a:lnTo>
                  <a:lnTo>
                    <a:pt x="1252" y="366"/>
                  </a:lnTo>
                  <a:lnTo>
                    <a:pt x="1252" y="366"/>
                  </a:lnTo>
                  <a:lnTo>
                    <a:pt x="1254" y="366"/>
                  </a:lnTo>
                  <a:lnTo>
                    <a:pt x="1256" y="366"/>
                  </a:lnTo>
                  <a:lnTo>
                    <a:pt x="1258" y="366"/>
                  </a:lnTo>
                  <a:lnTo>
                    <a:pt x="1262" y="366"/>
                  </a:lnTo>
                  <a:lnTo>
                    <a:pt x="1264" y="366"/>
                  </a:lnTo>
                  <a:lnTo>
                    <a:pt x="1268" y="366"/>
                  </a:lnTo>
                  <a:lnTo>
                    <a:pt x="1270" y="364"/>
                  </a:lnTo>
                  <a:lnTo>
                    <a:pt x="1270" y="364"/>
                  </a:lnTo>
                  <a:lnTo>
                    <a:pt x="1270" y="364"/>
                  </a:lnTo>
                  <a:lnTo>
                    <a:pt x="1270" y="364"/>
                  </a:lnTo>
                  <a:lnTo>
                    <a:pt x="1270" y="364"/>
                  </a:lnTo>
                  <a:lnTo>
                    <a:pt x="1272" y="364"/>
                  </a:lnTo>
                  <a:lnTo>
                    <a:pt x="1272" y="364"/>
                  </a:lnTo>
                  <a:lnTo>
                    <a:pt x="1272" y="364"/>
                  </a:lnTo>
                  <a:lnTo>
                    <a:pt x="1272" y="360"/>
                  </a:lnTo>
                  <a:lnTo>
                    <a:pt x="1272" y="360"/>
                  </a:lnTo>
                  <a:lnTo>
                    <a:pt x="1272" y="360"/>
                  </a:lnTo>
                  <a:lnTo>
                    <a:pt x="1270" y="358"/>
                  </a:lnTo>
                  <a:lnTo>
                    <a:pt x="1270" y="358"/>
                  </a:lnTo>
                  <a:lnTo>
                    <a:pt x="1268" y="356"/>
                  </a:lnTo>
                  <a:lnTo>
                    <a:pt x="1266" y="356"/>
                  </a:lnTo>
                  <a:lnTo>
                    <a:pt x="1260" y="354"/>
                  </a:lnTo>
                  <a:lnTo>
                    <a:pt x="1258" y="352"/>
                  </a:lnTo>
                  <a:lnTo>
                    <a:pt x="1256" y="352"/>
                  </a:lnTo>
                  <a:lnTo>
                    <a:pt x="1250" y="348"/>
                  </a:lnTo>
                  <a:lnTo>
                    <a:pt x="1246" y="346"/>
                  </a:lnTo>
                  <a:lnTo>
                    <a:pt x="1240" y="342"/>
                  </a:lnTo>
                  <a:lnTo>
                    <a:pt x="1236" y="342"/>
                  </a:lnTo>
                  <a:lnTo>
                    <a:pt x="1234" y="342"/>
                  </a:lnTo>
                  <a:lnTo>
                    <a:pt x="1234" y="342"/>
                  </a:lnTo>
                  <a:lnTo>
                    <a:pt x="1234" y="342"/>
                  </a:lnTo>
                  <a:lnTo>
                    <a:pt x="1228" y="340"/>
                  </a:lnTo>
                  <a:lnTo>
                    <a:pt x="1228" y="340"/>
                  </a:lnTo>
                  <a:lnTo>
                    <a:pt x="1222" y="342"/>
                  </a:lnTo>
                  <a:lnTo>
                    <a:pt x="1222" y="342"/>
                  </a:lnTo>
                  <a:lnTo>
                    <a:pt x="1222" y="342"/>
                  </a:lnTo>
                  <a:lnTo>
                    <a:pt x="1216" y="342"/>
                  </a:lnTo>
                  <a:lnTo>
                    <a:pt x="1216" y="342"/>
                  </a:lnTo>
                  <a:lnTo>
                    <a:pt x="1216" y="342"/>
                  </a:lnTo>
                  <a:lnTo>
                    <a:pt x="1210" y="346"/>
                  </a:lnTo>
                  <a:lnTo>
                    <a:pt x="1210" y="346"/>
                  </a:lnTo>
                  <a:lnTo>
                    <a:pt x="1210" y="346"/>
                  </a:lnTo>
                  <a:lnTo>
                    <a:pt x="1206" y="348"/>
                  </a:lnTo>
                  <a:lnTo>
                    <a:pt x="1204" y="350"/>
                  </a:lnTo>
                  <a:lnTo>
                    <a:pt x="1200" y="354"/>
                  </a:lnTo>
                  <a:lnTo>
                    <a:pt x="1196" y="360"/>
                  </a:lnTo>
                  <a:lnTo>
                    <a:pt x="1192" y="366"/>
                  </a:lnTo>
                  <a:lnTo>
                    <a:pt x="1188" y="372"/>
                  </a:lnTo>
                  <a:lnTo>
                    <a:pt x="1184" y="378"/>
                  </a:lnTo>
                  <a:lnTo>
                    <a:pt x="1182" y="384"/>
                  </a:lnTo>
                  <a:lnTo>
                    <a:pt x="1182" y="388"/>
                  </a:lnTo>
                  <a:lnTo>
                    <a:pt x="1182" y="388"/>
                  </a:lnTo>
                  <a:lnTo>
                    <a:pt x="1180" y="388"/>
                  </a:lnTo>
                  <a:lnTo>
                    <a:pt x="1180" y="390"/>
                  </a:lnTo>
                  <a:lnTo>
                    <a:pt x="1180" y="392"/>
                  </a:lnTo>
                  <a:lnTo>
                    <a:pt x="1182" y="394"/>
                  </a:lnTo>
                  <a:lnTo>
                    <a:pt x="1182" y="394"/>
                  </a:lnTo>
                  <a:lnTo>
                    <a:pt x="1182" y="398"/>
                  </a:lnTo>
                  <a:lnTo>
                    <a:pt x="1184" y="402"/>
                  </a:lnTo>
                  <a:lnTo>
                    <a:pt x="1184" y="402"/>
                  </a:lnTo>
                  <a:lnTo>
                    <a:pt x="1184" y="404"/>
                  </a:lnTo>
                  <a:lnTo>
                    <a:pt x="1184" y="404"/>
                  </a:lnTo>
                  <a:lnTo>
                    <a:pt x="1184" y="408"/>
                  </a:lnTo>
                  <a:lnTo>
                    <a:pt x="1182" y="412"/>
                  </a:lnTo>
                  <a:lnTo>
                    <a:pt x="1182" y="412"/>
                  </a:lnTo>
                  <a:lnTo>
                    <a:pt x="1180" y="416"/>
                  </a:lnTo>
                  <a:lnTo>
                    <a:pt x="1178" y="416"/>
                  </a:lnTo>
                  <a:lnTo>
                    <a:pt x="1178" y="418"/>
                  </a:lnTo>
                  <a:lnTo>
                    <a:pt x="1176" y="418"/>
                  </a:lnTo>
                  <a:lnTo>
                    <a:pt x="1174" y="418"/>
                  </a:lnTo>
                  <a:lnTo>
                    <a:pt x="1174" y="418"/>
                  </a:lnTo>
                  <a:lnTo>
                    <a:pt x="1166" y="418"/>
                  </a:lnTo>
                  <a:lnTo>
                    <a:pt x="1164" y="418"/>
                  </a:lnTo>
                  <a:lnTo>
                    <a:pt x="1164" y="418"/>
                  </a:lnTo>
                  <a:lnTo>
                    <a:pt x="1164" y="418"/>
                  </a:lnTo>
                  <a:lnTo>
                    <a:pt x="1162" y="418"/>
                  </a:lnTo>
                  <a:lnTo>
                    <a:pt x="1162" y="418"/>
                  </a:lnTo>
                  <a:lnTo>
                    <a:pt x="1160" y="420"/>
                  </a:lnTo>
                  <a:lnTo>
                    <a:pt x="1158" y="420"/>
                  </a:lnTo>
                  <a:lnTo>
                    <a:pt x="1158" y="420"/>
                  </a:lnTo>
                  <a:lnTo>
                    <a:pt x="1158" y="422"/>
                  </a:lnTo>
                  <a:lnTo>
                    <a:pt x="1158" y="424"/>
                  </a:lnTo>
                  <a:lnTo>
                    <a:pt x="1158" y="424"/>
                  </a:lnTo>
                  <a:lnTo>
                    <a:pt x="1156" y="424"/>
                  </a:lnTo>
                  <a:lnTo>
                    <a:pt x="1156" y="428"/>
                  </a:lnTo>
                  <a:lnTo>
                    <a:pt x="1156" y="428"/>
                  </a:lnTo>
                  <a:lnTo>
                    <a:pt x="1158" y="428"/>
                  </a:lnTo>
                  <a:lnTo>
                    <a:pt x="1158" y="430"/>
                  </a:lnTo>
                  <a:lnTo>
                    <a:pt x="1158" y="434"/>
                  </a:lnTo>
                  <a:lnTo>
                    <a:pt x="1160" y="436"/>
                  </a:lnTo>
                  <a:lnTo>
                    <a:pt x="1160" y="436"/>
                  </a:lnTo>
                  <a:lnTo>
                    <a:pt x="1160" y="436"/>
                  </a:lnTo>
                  <a:lnTo>
                    <a:pt x="1156" y="434"/>
                  </a:lnTo>
                  <a:lnTo>
                    <a:pt x="1156" y="434"/>
                  </a:lnTo>
                  <a:lnTo>
                    <a:pt x="1156" y="434"/>
                  </a:lnTo>
                  <a:lnTo>
                    <a:pt x="1154" y="434"/>
                  </a:lnTo>
                  <a:lnTo>
                    <a:pt x="1154" y="434"/>
                  </a:lnTo>
                  <a:lnTo>
                    <a:pt x="1152" y="432"/>
                  </a:lnTo>
                  <a:lnTo>
                    <a:pt x="1150" y="432"/>
                  </a:lnTo>
                  <a:lnTo>
                    <a:pt x="1150" y="432"/>
                  </a:lnTo>
                  <a:lnTo>
                    <a:pt x="1150" y="432"/>
                  </a:lnTo>
                  <a:lnTo>
                    <a:pt x="1146" y="432"/>
                  </a:lnTo>
                  <a:lnTo>
                    <a:pt x="1144" y="434"/>
                  </a:lnTo>
                  <a:lnTo>
                    <a:pt x="1144" y="434"/>
                  </a:lnTo>
                  <a:lnTo>
                    <a:pt x="1144" y="434"/>
                  </a:lnTo>
                  <a:lnTo>
                    <a:pt x="1138" y="436"/>
                  </a:lnTo>
                  <a:lnTo>
                    <a:pt x="1134" y="438"/>
                  </a:lnTo>
                  <a:lnTo>
                    <a:pt x="1128" y="440"/>
                  </a:lnTo>
                  <a:lnTo>
                    <a:pt x="1124" y="442"/>
                  </a:lnTo>
                  <a:lnTo>
                    <a:pt x="1122" y="446"/>
                  </a:lnTo>
                  <a:lnTo>
                    <a:pt x="1118" y="450"/>
                  </a:lnTo>
                  <a:lnTo>
                    <a:pt x="1116" y="452"/>
                  </a:lnTo>
                  <a:lnTo>
                    <a:pt x="1114" y="454"/>
                  </a:lnTo>
                  <a:lnTo>
                    <a:pt x="1112" y="454"/>
                  </a:lnTo>
                  <a:lnTo>
                    <a:pt x="1112" y="454"/>
                  </a:lnTo>
                  <a:lnTo>
                    <a:pt x="1112" y="454"/>
                  </a:lnTo>
                  <a:lnTo>
                    <a:pt x="1110" y="454"/>
                  </a:lnTo>
                  <a:lnTo>
                    <a:pt x="1112" y="454"/>
                  </a:lnTo>
                  <a:lnTo>
                    <a:pt x="1108" y="452"/>
                  </a:lnTo>
                  <a:lnTo>
                    <a:pt x="1106" y="450"/>
                  </a:lnTo>
                  <a:lnTo>
                    <a:pt x="1104" y="446"/>
                  </a:lnTo>
                  <a:lnTo>
                    <a:pt x="1100" y="442"/>
                  </a:lnTo>
                  <a:lnTo>
                    <a:pt x="1098" y="438"/>
                  </a:lnTo>
                  <a:lnTo>
                    <a:pt x="1096" y="434"/>
                  </a:lnTo>
                  <a:lnTo>
                    <a:pt x="1094" y="434"/>
                  </a:lnTo>
                  <a:lnTo>
                    <a:pt x="1094" y="434"/>
                  </a:lnTo>
                  <a:lnTo>
                    <a:pt x="1094" y="434"/>
                  </a:lnTo>
                  <a:lnTo>
                    <a:pt x="1092" y="432"/>
                  </a:lnTo>
                  <a:lnTo>
                    <a:pt x="1092" y="432"/>
                  </a:lnTo>
                  <a:lnTo>
                    <a:pt x="1092" y="432"/>
                  </a:lnTo>
                  <a:lnTo>
                    <a:pt x="1090" y="432"/>
                  </a:lnTo>
                  <a:lnTo>
                    <a:pt x="1090" y="432"/>
                  </a:lnTo>
                  <a:lnTo>
                    <a:pt x="1088" y="432"/>
                  </a:lnTo>
                  <a:lnTo>
                    <a:pt x="1088" y="432"/>
                  </a:lnTo>
                  <a:lnTo>
                    <a:pt x="1088" y="432"/>
                  </a:lnTo>
                  <a:lnTo>
                    <a:pt x="1086" y="432"/>
                  </a:lnTo>
                  <a:lnTo>
                    <a:pt x="1086" y="434"/>
                  </a:lnTo>
                  <a:lnTo>
                    <a:pt x="1086" y="434"/>
                  </a:lnTo>
                  <a:lnTo>
                    <a:pt x="1084" y="434"/>
                  </a:lnTo>
                  <a:lnTo>
                    <a:pt x="1082" y="436"/>
                  </a:lnTo>
                  <a:lnTo>
                    <a:pt x="1080" y="438"/>
                  </a:lnTo>
                  <a:lnTo>
                    <a:pt x="1078" y="442"/>
                  </a:lnTo>
                  <a:lnTo>
                    <a:pt x="1074" y="446"/>
                  </a:lnTo>
                  <a:lnTo>
                    <a:pt x="1072" y="450"/>
                  </a:lnTo>
                  <a:lnTo>
                    <a:pt x="1070" y="454"/>
                  </a:lnTo>
                  <a:lnTo>
                    <a:pt x="1068" y="458"/>
                  </a:lnTo>
                  <a:lnTo>
                    <a:pt x="1068" y="458"/>
                  </a:lnTo>
                  <a:lnTo>
                    <a:pt x="1068" y="458"/>
                  </a:lnTo>
                  <a:lnTo>
                    <a:pt x="1066" y="460"/>
                  </a:lnTo>
                  <a:lnTo>
                    <a:pt x="1066" y="460"/>
                  </a:lnTo>
                  <a:lnTo>
                    <a:pt x="1066" y="460"/>
                  </a:lnTo>
                  <a:lnTo>
                    <a:pt x="1066" y="462"/>
                  </a:lnTo>
                  <a:lnTo>
                    <a:pt x="1066" y="462"/>
                  </a:lnTo>
                  <a:lnTo>
                    <a:pt x="1066" y="462"/>
                  </a:lnTo>
                  <a:lnTo>
                    <a:pt x="1066" y="466"/>
                  </a:lnTo>
                  <a:lnTo>
                    <a:pt x="1066" y="466"/>
                  </a:lnTo>
                  <a:lnTo>
                    <a:pt x="1066" y="468"/>
                  </a:lnTo>
                  <a:lnTo>
                    <a:pt x="1066" y="468"/>
                  </a:lnTo>
                  <a:lnTo>
                    <a:pt x="1066" y="468"/>
                  </a:lnTo>
                  <a:lnTo>
                    <a:pt x="1066" y="468"/>
                  </a:lnTo>
                  <a:lnTo>
                    <a:pt x="1064" y="468"/>
                  </a:lnTo>
                  <a:lnTo>
                    <a:pt x="1060" y="470"/>
                  </a:lnTo>
                  <a:lnTo>
                    <a:pt x="1058" y="470"/>
                  </a:lnTo>
                  <a:lnTo>
                    <a:pt x="1052" y="470"/>
                  </a:lnTo>
                  <a:lnTo>
                    <a:pt x="1048" y="470"/>
                  </a:lnTo>
                  <a:lnTo>
                    <a:pt x="1046" y="470"/>
                  </a:lnTo>
                  <a:lnTo>
                    <a:pt x="1042" y="470"/>
                  </a:lnTo>
                  <a:lnTo>
                    <a:pt x="1040" y="470"/>
                  </a:lnTo>
                  <a:lnTo>
                    <a:pt x="1036" y="470"/>
                  </a:lnTo>
                  <a:lnTo>
                    <a:pt x="1032" y="470"/>
                  </a:lnTo>
                  <a:lnTo>
                    <a:pt x="1028" y="470"/>
                  </a:lnTo>
                  <a:lnTo>
                    <a:pt x="1026" y="470"/>
                  </a:lnTo>
                  <a:lnTo>
                    <a:pt x="1020" y="472"/>
                  </a:lnTo>
                  <a:lnTo>
                    <a:pt x="1014" y="474"/>
                  </a:lnTo>
                  <a:lnTo>
                    <a:pt x="1010" y="474"/>
                  </a:lnTo>
                  <a:lnTo>
                    <a:pt x="1008" y="476"/>
                  </a:lnTo>
                  <a:lnTo>
                    <a:pt x="1008" y="476"/>
                  </a:lnTo>
                  <a:lnTo>
                    <a:pt x="1008" y="476"/>
                  </a:lnTo>
                  <a:lnTo>
                    <a:pt x="1006" y="478"/>
                  </a:lnTo>
                  <a:lnTo>
                    <a:pt x="1006" y="478"/>
                  </a:lnTo>
                  <a:lnTo>
                    <a:pt x="1006" y="478"/>
                  </a:lnTo>
                  <a:lnTo>
                    <a:pt x="1004" y="480"/>
                  </a:lnTo>
                  <a:lnTo>
                    <a:pt x="1004" y="480"/>
                  </a:lnTo>
                  <a:lnTo>
                    <a:pt x="1004" y="480"/>
                  </a:lnTo>
                  <a:lnTo>
                    <a:pt x="1000" y="486"/>
                  </a:lnTo>
                  <a:lnTo>
                    <a:pt x="998" y="490"/>
                  </a:lnTo>
                  <a:lnTo>
                    <a:pt x="996" y="492"/>
                  </a:lnTo>
                  <a:lnTo>
                    <a:pt x="996" y="494"/>
                  </a:lnTo>
                  <a:lnTo>
                    <a:pt x="994" y="494"/>
                  </a:lnTo>
                  <a:lnTo>
                    <a:pt x="994" y="494"/>
                  </a:lnTo>
                  <a:lnTo>
                    <a:pt x="994" y="496"/>
                  </a:lnTo>
                  <a:lnTo>
                    <a:pt x="990" y="496"/>
                  </a:lnTo>
                  <a:lnTo>
                    <a:pt x="986" y="498"/>
                  </a:lnTo>
                  <a:lnTo>
                    <a:pt x="986" y="498"/>
                  </a:lnTo>
                  <a:lnTo>
                    <a:pt x="986" y="498"/>
                  </a:lnTo>
                  <a:lnTo>
                    <a:pt x="984" y="498"/>
                  </a:lnTo>
                  <a:lnTo>
                    <a:pt x="984" y="498"/>
                  </a:lnTo>
                  <a:lnTo>
                    <a:pt x="984" y="500"/>
                  </a:lnTo>
                  <a:lnTo>
                    <a:pt x="982" y="500"/>
                  </a:lnTo>
                  <a:lnTo>
                    <a:pt x="982" y="500"/>
                  </a:lnTo>
                  <a:lnTo>
                    <a:pt x="982" y="502"/>
                  </a:lnTo>
                  <a:lnTo>
                    <a:pt x="982" y="504"/>
                  </a:lnTo>
                  <a:lnTo>
                    <a:pt x="982" y="504"/>
                  </a:lnTo>
                  <a:lnTo>
                    <a:pt x="982" y="504"/>
                  </a:lnTo>
                  <a:lnTo>
                    <a:pt x="982" y="506"/>
                  </a:lnTo>
                  <a:lnTo>
                    <a:pt x="982" y="510"/>
                  </a:lnTo>
                  <a:lnTo>
                    <a:pt x="982" y="512"/>
                  </a:lnTo>
                  <a:lnTo>
                    <a:pt x="982" y="514"/>
                  </a:lnTo>
                  <a:lnTo>
                    <a:pt x="982" y="514"/>
                  </a:lnTo>
                  <a:lnTo>
                    <a:pt x="982" y="514"/>
                  </a:lnTo>
                  <a:lnTo>
                    <a:pt x="982" y="514"/>
                  </a:lnTo>
                  <a:lnTo>
                    <a:pt x="980" y="514"/>
                  </a:lnTo>
                  <a:lnTo>
                    <a:pt x="978" y="514"/>
                  </a:lnTo>
                  <a:lnTo>
                    <a:pt x="974" y="514"/>
                  </a:lnTo>
                  <a:lnTo>
                    <a:pt x="972" y="514"/>
                  </a:lnTo>
                  <a:lnTo>
                    <a:pt x="968" y="514"/>
                  </a:lnTo>
                  <a:lnTo>
                    <a:pt x="966" y="514"/>
                  </a:lnTo>
                  <a:lnTo>
                    <a:pt x="966" y="514"/>
                  </a:lnTo>
                  <a:lnTo>
                    <a:pt x="966" y="514"/>
                  </a:lnTo>
                  <a:lnTo>
                    <a:pt x="964" y="514"/>
                  </a:lnTo>
                  <a:lnTo>
                    <a:pt x="964" y="514"/>
                  </a:lnTo>
                  <a:lnTo>
                    <a:pt x="962" y="516"/>
                  </a:lnTo>
                  <a:lnTo>
                    <a:pt x="962" y="518"/>
                  </a:lnTo>
                  <a:lnTo>
                    <a:pt x="962" y="518"/>
                  </a:lnTo>
                  <a:lnTo>
                    <a:pt x="962" y="518"/>
                  </a:lnTo>
                  <a:lnTo>
                    <a:pt x="962" y="520"/>
                  </a:lnTo>
                  <a:lnTo>
                    <a:pt x="962" y="520"/>
                  </a:lnTo>
                  <a:lnTo>
                    <a:pt x="962" y="520"/>
                  </a:lnTo>
                  <a:lnTo>
                    <a:pt x="964" y="522"/>
                  </a:lnTo>
                  <a:lnTo>
                    <a:pt x="964" y="524"/>
                  </a:lnTo>
                  <a:lnTo>
                    <a:pt x="966" y="528"/>
                  </a:lnTo>
                  <a:lnTo>
                    <a:pt x="968" y="532"/>
                  </a:lnTo>
                  <a:lnTo>
                    <a:pt x="970" y="536"/>
                  </a:lnTo>
                  <a:lnTo>
                    <a:pt x="972" y="540"/>
                  </a:lnTo>
                  <a:lnTo>
                    <a:pt x="974" y="546"/>
                  </a:lnTo>
                  <a:lnTo>
                    <a:pt x="976" y="550"/>
                  </a:lnTo>
                  <a:lnTo>
                    <a:pt x="978" y="554"/>
                  </a:lnTo>
                  <a:lnTo>
                    <a:pt x="980" y="556"/>
                  </a:lnTo>
                  <a:lnTo>
                    <a:pt x="980" y="558"/>
                  </a:lnTo>
                  <a:lnTo>
                    <a:pt x="980" y="558"/>
                  </a:lnTo>
                  <a:lnTo>
                    <a:pt x="980" y="560"/>
                  </a:lnTo>
                  <a:lnTo>
                    <a:pt x="980" y="560"/>
                  </a:lnTo>
                  <a:lnTo>
                    <a:pt x="980" y="560"/>
                  </a:lnTo>
                  <a:lnTo>
                    <a:pt x="978" y="562"/>
                  </a:lnTo>
                  <a:lnTo>
                    <a:pt x="978" y="564"/>
                  </a:lnTo>
                  <a:lnTo>
                    <a:pt x="976" y="564"/>
                  </a:lnTo>
                  <a:lnTo>
                    <a:pt x="972" y="566"/>
                  </a:lnTo>
                  <a:lnTo>
                    <a:pt x="966" y="568"/>
                  </a:lnTo>
                  <a:lnTo>
                    <a:pt x="960" y="568"/>
                  </a:lnTo>
                  <a:lnTo>
                    <a:pt x="956" y="570"/>
                  </a:lnTo>
                  <a:lnTo>
                    <a:pt x="950" y="572"/>
                  </a:lnTo>
                  <a:lnTo>
                    <a:pt x="944" y="574"/>
                  </a:lnTo>
                  <a:lnTo>
                    <a:pt x="938" y="574"/>
                  </a:lnTo>
                  <a:lnTo>
                    <a:pt x="934" y="576"/>
                  </a:lnTo>
                  <a:lnTo>
                    <a:pt x="930" y="578"/>
                  </a:lnTo>
                  <a:lnTo>
                    <a:pt x="926" y="580"/>
                  </a:lnTo>
                  <a:lnTo>
                    <a:pt x="924" y="580"/>
                  </a:lnTo>
                  <a:lnTo>
                    <a:pt x="920" y="582"/>
                  </a:lnTo>
                  <a:lnTo>
                    <a:pt x="918" y="582"/>
                  </a:lnTo>
                  <a:lnTo>
                    <a:pt x="914" y="582"/>
                  </a:lnTo>
                  <a:lnTo>
                    <a:pt x="906" y="580"/>
                  </a:lnTo>
                  <a:lnTo>
                    <a:pt x="902" y="580"/>
                  </a:lnTo>
                  <a:lnTo>
                    <a:pt x="898" y="580"/>
                  </a:lnTo>
                  <a:lnTo>
                    <a:pt x="894" y="580"/>
                  </a:lnTo>
                  <a:lnTo>
                    <a:pt x="894" y="580"/>
                  </a:lnTo>
                  <a:lnTo>
                    <a:pt x="894" y="580"/>
                  </a:lnTo>
                  <a:lnTo>
                    <a:pt x="892" y="582"/>
                  </a:lnTo>
                  <a:lnTo>
                    <a:pt x="892" y="582"/>
                  </a:lnTo>
                  <a:lnTo>
                    <a:pt x="890" y="582"/>
                  </a:lnTo>
                  <a:lnTo>
                    <a:pt x="888" y="582"/>
                  </a:lnTo>
                  <a:lnTo>
                    <a:pt x="888" y="582"/>
                  </a:lnTo>
                  <a:lnTo>
                    <a:pt x="888" y="582"/>
                  </a:lnTo>
                  <a:lnTo>
                    <a:pt x="886" y="584"/>
                  </a:lnTo>
                  <a:lnTo>
                    <a:pt x="886" y="584"/>
                  </a:lnTo>
                  <a:lnTo>
                    <a:pt x="886" y="584"/>
                  </a:lnTo>
                  <a:lnTo>
                    <a:pt x="884" y="588"/>
                  </a:lnTo>
                  <a:lnTo>
                    <a:pt x="884" y="588"/>
                  </a:lnTo>
                  <a:lnTo>
                    <a:pt x="882" y="588"/>
                  </a:lnTo>
                  <a:lnTo>
                    <a:pt x="882" y="592"/>
                  </a:lnTo>
                  <a:lnTo>
                    <a:pt x="882" y="592"/>
                  </a:lnTo>
                  <a:lnTo>
                    <a:pt x="882" y="592"/>
                  </a:lnTo>
                  <a:lnTo>
                    <a:pt x="880" y="596"/>
                  </a:lnTo>
                  <a:lnTo>
                    <a:pt x="880" y="596"/>
                  </a:lnTo>
                  <a:lnTo>
                    <a:pt x="880" y="596"/>
                  </a:lnTo>
                  <a:lnTo>
                    <a:pt x="882" y="598"/>
                  </a:lnTo>
                  <a:lnTo>
                    <a:pt x="882" y="598"/>
                  </a:lnTo>
                  <a:lnTo>
                    <a:pt x="882" y="598"/>
                  </a:lnTo>
                  <a:lnTo>
                    <a:pt x="882" y="600"/>
                  </a:lnTo>
                  <a:lnTo>
                    <a:pt x="882" y="600"/>
                  </a:lnTo>
                  <a:lnTo>
                    <a:pt x="882" y="600"/>
                  </a:lnTo>
                  <a:lnTo>
                    <a:pt x="886" y="604"/>
                  </a:lnTo>
                  <a:lnTo>
                    <a:pt x="888" y="606"/>
                  </a:lnTo>
                  <a:lnTo>
                    <a:pt x="888" y="606"/>
                  </a:lnTo>
                  <a:lnTo>
                    <a:pt x="888" y="606"/>
                  </a:lnTo>
                  <a:lnTo>
                    <a:pt x="888" y="606"/>
                  </a:lnTo>
                  <a:lnTo>
                    <a:pt x="888" y="608"/>
                  </a:lnTo>
                  <a:lnTo>
                    <a:pt x="888" y="608"/>
                  </a:lnTo>
                  <a:lnTo>
                    <a:pt x="888" y="610"/>
                  </a:lnTo>
                  <a:lnTo>
                    <a:pt x="888" y="612"/>
                  </a:lnTo>
                  <a:lnTo>
                    <a:pt x="888" y="614"/>
                  </a:lnTo>
                  <a:lnTo>
                    <a:pt x="888" y="616"/>
                  </a:lnTo>
                  <a:lnTo>
                    <a:pt x="886" y="620"/>
                  </a:lnTo>
                  <a:lnTo>
                    <a:pt x="886" y="624"/>
                  </a:lnTo>
                  <a:lnTo>
                    <a:pt x="886" y="628"/>
                  </a:lnTo>
                  <a:lnTo>
                    <a:pt x="886" y="630"/>
                  </a:lnTo>
                  <a:lnTo>
                    <a:pt x="886" y="632"/>
                  </a:lnTo>
                  <a:lnTo>
                    <a:pt x="886" y="632"/>
                  </a:lnTo>
                  <a:lnTo>
                    <a:pt x="886" y="634"/>
                  </a:lnTo>
                  <a:lnTo>
                    <a:pt x="888" y="636"/>
                  </a:lnTo>
                  <a:lnTo>
                    <a:pt x="888" y="636"/>
                  </a:lnTo>
                  <a:lnTo>
                    <a:pt x="888" y="636"/>
                  </a:lnTo>
                  <a:lnTo>
                    <a:pt x="890" y="638"/>
                  </a:lnTo>
                  <a:lnTo>
                    <a:pt x="890" y="638"/>
                  </a:lnTo>
                  <a:lnTo>
                    <a:pt x="890" y="638"/>
                  </a:lnTo>
                  <a:lnTo>
                    <a:pt x="892" y="640"/>
                  </a:lnTo>
                  <a:lnTo>
                    <a:pt x="892" y="640"/>
                  </a:lnTo>
                  <a:lnTo>
                    <a:pt x="892" y="640"/>
                  </a:lnTo>
                  <a:lnTo>
                    <a:pt x="894" y="642"/>
                  </a:lnTo>
                  <a:lnTo>
                    <a:pt x="900" y="644"/>
                  </a:lnTo>
                  <a:lnTo>
                    <a:pt x="902" y="644"/>
                  </a:lnTo>
                  <a:lnTo>
                    <a:pt x="906" y="646"/>
                  </a:lnTo>
                  <a:lnTo>
                    <a:pt x="908" y="646"/>
                  </a:lnTo>
                  <a:lnTo>
                    <a:pt x="908" y="646"/>
                  </a:lnTo>
                  <a:lnTo>
                    <a:pt x="908" y="648"/>
                  </a:lnTo>
                  <a:lnTo>
                    <a:pt x="908" y="648"/>
                  </a:lnTo>
                  <a:lnTo>
                    <a:pt x="908" y="648"/>
                  </a:lnTo>
                  <a:lnTo>
                    <a:pt x="908" y="650"/>
                  </a:lnTo>
                  <a:lnTo>
                    <a:pt x="908" y="652"/>
                  </a:lnTo>
                  <a:lnTo>
                    <a:pt x="908" y="652"/>
                  </a:lnTo>
                  <a:lnTo>
                    <a:pt x="908" y="652"/>
                  </a:lnTo>
                  <a:lnTo>
                    <a:pt x="910" y="654"/>
                  </a:lnTo>
                  <a:lnTo>
                    <a:pt x="910" y="654"/>
                  </a:lnTo>
                  <a:lnTo>
                    <a:pt x="910" y="656"/>
                  </a:lnTo>
                  <a:lnTo>
                    <a:pt x="910" y="658"/>
                  </a:lnTo>
                  <a:lnTo>
                    <a:pt x="912" y="660"/>
                  </a:lnTo>
                  <a:lnTo>
                    <a:pt x="914" y="664"/>
                  </a:lnTo>
                  <a:lnTo>
                    <a:pt x="914" y="664"/>
                  </a:lnTo>
                  <a:lnTo>
                    <a:pt x="914" y="664"/>
                  </a:lnTo>
                  <a:lnTo>
                    <a:pt x="916" y="666"/>
                  </a:lnTo>
                  <a:lnTo>
                    <a:pt x="916" y="666"/>
                  </a:lnTo>
                  <a:lnTo>
                    <a:pt x="918" y="666"/>
                  </a:lnTo>
                  <a:lnTo>
                    <a:pt x="920" y="666"/>
                  </a:lnTo>
                  <a:lnTo>
                    <a:pt x="920" y="666"/>
                  </a:lnTo>
                  <a:lnTo>
                    <a:pt x="920" y="666"/>
                  </a:lnTo>
                  <a:lnTo>
                    <a:pt x="920" y="666"/>
                  </a:lnTo>
                  <a:lnTo>
                    <a:pt x="916" y="668"/>
                  </a:lnTo>
                  <a:lnTo>
                    <a:pt x="914" y="668"/>
                  </a:lnTo>
                  <a:lnTo>
                    <a:pt x="910" y="670"/>
                  </a:lnTo>
                  <a:lnTo>
                    <a:pt x="908" y="672"/>
                  </a:lnTo>
                  <a:lnTo>
                    <a:pt x="908" y="672"/>
                  </a:lnTo>
                  <a:lnTo>
                    <a:pt x="906" y="672"/>
                  </a:lnTo>
                  <a:lnTo>
                    <a:pt x="906" y="672"/>
                  </a:lnTo>
                  <a:lnTo>
                    <a:pt x="904" y="672"/>
                  </a:lnTo>
                  <a:lnTo>
                    <a:pt x="904" y="670"/>
                  </a:lnTo>
                  <a:lnTo>
                    <a:pt x="904" y="670"/>
                  </a:lnTo>
                  <a:lnTo>
                    <a:pt x="902" y="668"/>
                  </a:lnTo>
                  <a:lnTo>
                    <a:pt x="900" y="666"/>
                  </a:lnTo>
                  <a:lnTo>
                    <a:pt x="898" y="664"/>
                  </a:lnTo>
                  <a:lnTo>
                    <a:pt x="894" y="662"/>
                  </a:lnTo>
                  <a:lnTo>
                    <a:pt x="892" y="658"/>
                  </a:lnTo>
                  <a:lnTo>
                    <a:pt x="888" y="656"/>
                  </a:lnTo>
                  <a:lnTo>
                    <a:pt x="884" y="652"/>
                  </a:lnTo>
                  <a:lnTo>
                    <a:pt x="880" y="648"/>
                  </a:lnTo>
                  <a:lnTo>
                    <a:pt x="878" y="646"/>
                  </a:lnTo>
                  <a:lnTo>
                    <a:pt x="874" y="642"/>
                  </a:lnTo>
                  <a:lnTo>
                    <a:pt x="870" y="640"/>
                  </a:lnTo>
                  <a:lnTo>
                    <a:pt x="868" y="638"/>
                  </a:lnTo>
                  <a:lnTo>
                    <a:pt x="866" y="638"/>
                  </a:lnTo>
                  <a:lnTo>
                    <a:pt x="864" y="636"/>
                  </a:lnTo>
                  <a:lnTo>
                    <a:pt x="862" y="636"/>
                  </a:lnTo>
                  <a:lnTo>
                    <a:pt x="860" y="636"/>
                  </a:lnTo>
                  <a:lnTo>
                    <a:pt x="856" y="636"/>
                  </a:lnTo>
                  <a:lnTo>
                    <a:pt x="856" y="636"/>
                  </a:lnTo>
                  <a:lnTo>
                    <a:pt x="856" y="636"/>
                  </a:lnTo>
                  <a:lnTo>
                    <a:pt x="856" y="636"/>
                  </a:lnTo>
                  <a:lnTo>
                    <a:pt x="856" y="636"/>
                  </a:lnTo>
                  <a:lnTo>
                    <a:pt x="856" y="636"/>
                  </a:lnTo>
                  <a:lnTo>
                    <a:pt x="854" y="634"/>
                  </a:lnTo>
                  <a:lnTo>
                    <a:pt x="852" y="632"/>
                  </a:lnTo>
                  <a:lnTo>
                    <a:pt x="850" y="630"/>
                  </a:lnTo>
                  <a:lnTo>
                    <a:pt x="850" y="628"/>
                  </a:lnTo>
                  <a:lnTo>
                    <a:pt x="848" y="628"/>
                  </a:lnTo>
                  <a:lnTo>
                    <a:pt x="848" y="628"/>
                  </a:lnTo>
                  <a:lnTo>
                    <a:pt x="846" y="628"/>
                  </a:lnTo>
                  <a:lnTo>
                    <a:pt x="846" y="628"/>
                  </a:lnTo>
                  <a:lnTo>
                    <a:pt x="846" y="628"/>
                  </a:lnTo>
                  <a:lnTo>
                    <a:pt x="844" y="628"/>
                  </a:lnTo>
                  <a:lnTo>
                    <a:pt x="842" y="628"/>
                  </a:lnTo>
                  <a:lnTo>
                    <a:pt x="842" y="628"/>
                  </a:lnTo>
                  <a:lnTo>
                    <a:pt x="842" y="628"/>
                  </a:lnTo>
                  <a:lnTo>
                    <a:pt x="840" y="628"/>
                  </a:lnTo>
                  <a:lnTo>
                    <a:pt x="838" y="630"/>
                  </a:lnTo>
                  <a:lnTo>
                    <a:pt x="836" y="632"/>
                  </a:lnTo>
                  <a:lnTo>
                    <a:pt x="834" y="634"/>
                  </a:lnTo>
                  <a:lnTo>
                    <a:pt x="834" y="634"/>
                  </a:lnTo>
                  <a:lnTo>
                    <a:pt x="834" y="636"/>
                  </a:lnTo>
                  <a:lnTo>
                    <a:pt x="832" y="638"/>
                  </a:lnTo>
                  <a:lnTo>
                    <a:pt x="832" y="638"/>
                  </a:lnTo>
                  <a:lnTo>
                    <a:pt x="832" y="638"/>
                  </a:lnTo>
                  <a:lnTo>
                    <a:pt x="832" y="640"/>
                  </a:lnTo>
                  <a:lnTo>
                    <a:pt x="832" y="640"/>
                  </a:lnTo>
                  <a:lnTo>
                    <a:pt x="832" y="640"/>
                  </a:lnTo>
                  <a:lnTo>
                    <a:pt x="832" y="642"/>
                  </a:lnTo>
                  <a:lnTo>
                    <a:pt x="832" y="644"/>
                  </a:lnTo>
                  <a:lnTo>
                    <a:pt x="832" y="644"/>
                  </a:lnTo>
                  <a:lnTo>
                    <a:pt x="832" y="644"/>
                  </a:lnTo>
                  <a:lnTo>
                    <a:pt x="834" y="644"/>
                  </a:lnTo>
                  <a:lnTo>
                    <a:pt x="834" y="644"/>
                  </a:lnTo>
                  <a:lnTo>
                    <a:pt x="834" y="644"/>
                  </a:lnTo>
                  <a:lnTo>
                    <a:pt x="836" y="646"/>
                  </a:lnTo>
                  <a:lnTo>
                    <a:pt x="838" y="646"/>
                  </a:lnTo>
                  <a:lnTo>
                    <a:pt x="840" y="648"/>
                  </a:lnTo>
                  <a:lnTo>
                    <a:pt x="840" y="648"/>
                  </a:lnTo>
                  <a:lnTo>
                    <a:pt x="842" y="650"/>
                  </a:lnTo>
                  <a:lnTo>
                    <a:pt x="844" y="652"/>
                  </a:lnTo>
                  <a:lnTo>
                    <a:pt x="846" y="654"/>
                  </a:lnTo>
                  <a:lnTo>
                    <a:pt x="844" y="654"/>
                  </a:lnTo>
                  <a:lnTo>
                    <a:pt x="846" y="656"/>
                  </a:lnTo>
                  <a:lnTo>
                    <a:pt x="846" y="656"/>
                  </a:lnTo>
                  <a:lnTo>
                    <a:pt x="846" y="658"/>
                  </a:lnTo>
                  <a:lnTo>
                    <a:pt x="846" y="660"/>
                  </a:lnTo>
                  <a:lnTo>
                    <a:pt x="846" y="660"/>
                  </a:lnTo>
                  <a:lnTo>
                    <a:pt x="846" y="662"/>
                  </a:lnTo>
                  <a:lnTo>
                    <a:pt x="846" y="662"/>
                  </a:lnTo>
                  <a:lnTo>
                    <a:pt x="844" y="662"/>
                  </a:lnTo>
                  <a:lnTo>
                    <a:pt x="844" y="662"/>
                  </a:lnTo>
                  <a:lnTo>
                    <a:pt x="842" y="660"/>
                  </a:lnTo>
                  <a:lnTo>
                    <a:pt x="838" y="656"/>
                  </a:lnTo>
                  <a:lnTo>
                    <a:pt x="836" y="652"/>
                  </a:lnTo>
                  <a:lnTo>
                    <a:pt x="834" y="650"/>
                  </a:lnTo>
                  <a:lnTo>
                    <a:pt x="832" y="646"/>
                  </a:lnTo>
                  <a:lnTo>
                    <a:pt x="828" y="642"/>
                  </a:lnTo>
                  <a:lnTo>
                    <a:pt x="826" y="638"/>
                  </a:lnTo>
                  <a:lnTo>
                    <a:pt x="824" y="636"/>
                  </a:lnTo>
                  <a:lnTo>
                    <a:pt x="822" y="632"/>
                  </a:lnTo>
                  <a:lnTo>
                    <a:pt x="820" y="628"/>
                  </a:lnTo>
                  <a:lnTo>
                    <a:pt x="818" y="626"/>
                  </a:lnTo>
                  <a:lnTo>
                    <a:pt x="818" y="626"/>
                  </a:lnTo>
                  <a:lnTo>
                    <a:pt x="818" y="626"/>
                  </a:lnTo>
                  <a:lnTo>
                    <a:pt x="818" y="624"/>
                  </a:lnTo>
                  <a:lnTo>
                    <a:pt x="816" y="624"/>
                  </a:lnTo>
                  <a:lnTo>
                    <a:pt x="816" y="624"/>
                  </a:lnTo>
                  <a:lnTo>
                    <a:pt x="814" y="624"/>
                  </a:lnTo>
                  <a:lnTo>
                    <a:pt x="814" y="624"/>
                  </a:lnTo>
                  <a:lnTo>
                    <a:pt x="814" y="624"/>
                  </a:lnTo>
                  <a:lnTo>
                    <a:pt x="812" y="626"/>
                  </a:lnTo>
                  <a:lnTo>
                    <a:pt x="812" y="626"/>
                  </a:lnTo>
                  <a:lnTo>
                    <a:pt x="812" y="626"/>
                  </a:lnTo>
                  <a:lnTo>
                    <a:pt x="812" y="626"/>
                  </a:lnTo>
                  <a:lnTo>
                    <a:pt x="812" y="628"/>
                  </a:lnTo>
                  <a:lnTo>
                    <a:pt x="810" y="628"/>
                  </a:lnTo>
                  <a:lnTo>
                    <a:pt x="810" y="632"/>
                  </a:lnTo>
                  <a:lnTo>
                    <a:pt x="810" y="632"/>
                  </a:lnTo>
                  <a:lnTo>
                    <a:pt x="808" y="634"/>
                  </a:lnTo>
                  <a:lnTo>
                    <a:pt x="806" y="636"/>
                  </a:lnTo>
                  <a:lnTo>
                    <a:pt x="804" y="638"/>
                  </a:lnTo>
                  <a:lnTo>
                    <a:pt x="804" y="638"/>
                  </a:lnTo>
                  <a:lnTo>
                    <a:pt x="802" y="638"/>
                  </a:lnTo>
                  <a:lnTo>
                    <a:pt x="800" y="640"/>
                  </a:lnTo>
                  <a:lnTo>
                    <a:pt x="800" y="640"/>
                  </a:lnTo>
                  <a:lnTo>
                    <a:pt x="800" y="642"/>
                  </a:lnTo>
                  <a:lnTo>
                    <a:pt x="800" y="646"/>
                  </a:lnTo>
                  <a:lnTo>
                    <a:pt x="800" y="646"/>
                  </a:lnTo>
                  <a:lnTo>
                    <a:pt x="798" y="646"/>
                  </a:lnTo>
                  <a:lnTo>
                    <a:pt x="798" y="650"/>
                  </a:lnTo>
                  <a:lnTo>
                    <a:pt x="798" y="652"/>
                  </a:lnTo>
                  <a:lnTo>
                    <a:pt x="798" y="654"/>
                  </a:lnTo>
                  <a:lnTo>
                    <a:pt x="800" y="658"/>
                  </a:lnTo>
                  <a:lnTo>
                    <a:pt x="800" y="662"/>
                  </a:lnTo>
                  <a:lnTo>
                    <a:pt x="802" y="666"/>
                  </a:lnTo>
                  <a:lnTo>
                    <a:pt x="804" y="672"/>
                  </a:lnTo>
                  <a:lnTo>
                    <a:pt x="804" y="678"/>
                  </a:lnTo>
                  <a:lnTo>
                    <a:pt x="808" y="684"/>
                  </a:lnTo>
                  <a:lnTo>
                    <a:pt x="810" y="690"/>
                  </a:lnTo>
                  <a:lnTo>
                    <a:pt x="814" y="702"/>
                  </a:lnTo>
                  <a:lnTo>
                    <a:pt x="820" y="716"/>
                  </a:lnTo>
                  <a:lnTo>
                    <a:pt x="822" y="722"/>
                  </a:lnTo>
                  <a:lnTo>
                    <a:pt x="824" y="728"/>
                  </a:lnTo>
                  <a:lnTo>
                    <a:pt x="828" y="732"/>
                  </a:lnTo>
                  <a:lnTo>
                    <a:pt x="830" y="738"/>
                  </a:lnTo>
                  <a:lnTo>
                    <a:pt x="832" y="742"/>
                  </a:lnTo>
                  <a:lnTo>
                    <a:pt x="834" y="746"/>
                  </a:lnTo>
                  <a:lnTo>
                    <a:pt x="836" y="750"/>
                  </a:lnTo>
                  <a:lnTo>
                    <a:pt x="838" y="752"/>
                  </a:lnTo>
                  <a:lnTo>
                    <a:pt x="840" y="754"/>
                  </a:lnTo>
                  <a:lnTo>
                    <a:pt x="842" y="756"/>
                  </a:lnTo>
                  <a:lnTo>
                    <a:pt x="844" y="760"/>
                  </a:lnTo>
                  <a:lnTo>
                    <a:pt x="844" y="760"/>
                  </a:lnTo>
                  <a:lnTo>
                    <a:pt x="846" y="760"/>
                  </a:lnTo>
                  <a:lnTo>
                    <a:pt x="842" y="760"/>
                  </a:lnTo>
                  <a:lnTo>
                    <a:pt x="836" y="758"/>
                  </a:lnTo>
                  <a:lnTo>
                    <a:pt x="832" y="758"/>
                  </a:lnTo>
                  <a:lnTo>
                    <a:pt x="832" y="758"/>
                  </a:lnTo>
                  <a:lnTo>
                    <a:pt x="832" y="758"/>
                  </a:lnTo>
                  <a:lnTo>
                    <a:pt x="830" y="760"/>
                  </a:lnTo>
                  <a:lnTo>
                    <a:pt x="830" y="760"/>
                  </a:lnTo>
                  <a:lnTo>
                    <a:pt x="828" y="760"/>
                  </a:lnTo>
                  <a:lnTo>
                    <a:pt x="826" y="760"/>
                  </a:lnTo>
                  <a:lnTo>
                    <a:pt x="826" y="760"/>
                  </a:lnTo>
                  <a:lnTo>
                    <a:pt x="826" y="760"/>
                  </a:lnTo>
                  <a:lnTo>
                    <a:pt x="824" y="762"/>
                  </a:lnTo>
                  <a:lnTo>
                    <a:pt x="824" y="762"/>
                  </a:lnTo>
                  <a:lnTo>
                    <a:pt x="824" y="762"/>
                  </a:lnTo>
                  <a:lnTo>
                    <a:pt x="822" y="766"/>
                  </a:lnTo>
                  <a:lnTo>
                    <a:pt x="820" y="768"/>
                  </a:lnTo>
                  <a:lnTo>
                    <a:pt x="818" y="772"/>
                  </a:lnTo>
                  <a:lnTo>
                    <a:pt x="816" y="774"/>
                  </a:lnTo>
                  <a:lnTo>
                    <a:pt x="816" y="776"/>
                  </a:lnTo>
                  <a:lnTo>
                    <a:pt x="816" y="776"/>
                  </a:lnTo>
                  <a:lnTo>
                    <a:pt x="816" y="776"/>
                  </a:lnTo>
                  <a:lnTo>
                    <a:pt x="816" y="778"/>
                  </a:lnTo>
                  <a:lnTo>
                    <a:pt x="816" y="778"/>
                  </a:lnTo>
                  <a:lnTo>
                    <a:pt x="816" y="778"/>
                  </a:lnTo>
                  <a:lnTo>
                    <a:pt x="816" y="780"/>
                  </a:lnTo>
                  <a:lnTo>
                    <a:pt x="816" y="780"/>
                  </a:lnTo>
                  <a:lnTo>
                    <a:pt x="816" y="780"/>
                  </a:lnTo>
                  <a:lnTo>
                    <a:pt x="814" y="782"/>
                  </a:lnTo>
                  <a:lnTo>
                    <a:pt x="810" y="786"/>
                  </a:lnTo>
                  <a:lnTo>
                    <a:pt x="806" y="790"/>
                  </a:lnTo>
                  <a:lnTo>
                    <a:pt x="806" y="792"/>
                  </a:lnTo>
                  <a:lnTo>
                    <a:pt x="804" y="788"/>
                  </a:lnTo>
                  <a:lnTo>
                    <a:pt x="804" y="782"/>
                  </a:lnTo>
                  <a:lnTo>
                    <a:pt x="804" y="778"/>
                  </a:lnTo>
                  <a:lnTo>
                    <a:pt x="802" y="774"/>
                  </a:lnTo>
                  <a:lnTo>
                    <a:pt x="802" y="770"/>
                  </a:lnTo>
                  <a:lnTo>
                    <a:pt x="802" y="766"/>
                  </a:lnTo>
                  <a:lnTo>
                    <a:pt x="800" y="756"/>
                  </a:lnTo>
                  <a:lnTo>
                    <a:pt x="798" y="746"/>
                  </a:lnTo>
                  <a:lnTo>
                    <a:pt x="796" y="734"/>
                  </a:lnTo>
                  <a:lnTo>
                    <a:pt x="794" y="722"/>
                  </a:lnTo>
                  <a:lnTo>
                    <a:pt x="790" y="696"/>
                  </a:lnTo>
                  <a:lnTo>
                    <a:pt x="788" y="684"/>
                  </a:lnTo>
                  <a:lnTo>
                    <a:pt x="786" y="672"/>
                  </a:lnTo>
                  <a:lnTo>
                    <a:pt x="784" y="660"/>
                  </a:lnTo>
                  <a:lnTo>
                    <a:pt x="782" y="650"/>
                  </a:lnTo>
                  <a:lnTo>
                    <a:pt x="780" y="640"/>
                  </a:lnTo>
                  <a:lnTo>
                    <a:pt x="780" y="634"/>
                  </a:lnTo>
                  <a:lnTo>
                    <a:pt x="778" y="630"/>
                  </a:lnTo>
                  <a:lnTo>
                    <a:pt x="778" y="626"/>
                  </a:lnTo>
                  <a:lnTo>
                    <a:pt x="776" y="624"/>
                  </a:lnTo>
                  <a:lnTo>
                    <a:pt x="776" y="620"/>
                  </a:lnTo>
                  <a:lnTo>
                    <a:pt x="774" y="618"/>
                  </a:lnTo>
                  <a:lnTo>
                    <a:pt x="772" y="614"/>
                  </a:lnTo>
                  <a:lnTo>
                    <a:pt x="772" y="614"/>
                  </a:lnTo>
                  <a:lnTo>
                    <a:pt x="772" y="614"/>
                  </a:lnTo>
                  <a:lnTo>
                    <a:pt x="770" y="612"/>
                  </a:lnTo>
                  <a:lnTo>
                    <a:pt x="770" y="612"/>
                  </a:lnTo>
                  <a:lnTo>
                    <a:pt x="770" y="610"/>
                  </a:lnTo>
                  <a:lnTo>
                    <a:pt x="768" y="610"/>
                  </a:lnTo>
                  <a:lnTo>
                    <a:pt x="768" y="610"/>
                  </a:lnTo>
                  <a:lnTo>
                    <a:pt x="766" y="608"/>
                  </a:lnTo>
                  <a:lnTo>
                    <a:pt x="764" y="608"/>
                  </a:lnTo>
                  <a:lnTo>
                    <a:pt x="764" y="608"/>
                  </a:lnTo>
                  <a:lnTo>
                    <a:pt x="762" y="608"/>
                  </a:lnTo>
                  <a:lnTo>
                    <a:pt x="760" y="610"/>
                  </a:lnTo>
                  <a:lnTo>
                    <a:pt x="760" y="610"/>
                  </a:lnTo>
                  <a:lnTo>
                    <a:pt x="760" y="610"/>
                  </a:lnTo>
                  <a:lnTo>
                    <a:pt x="758" y="610"/>
                  </a:lnTo>
                  <a:lnTo>
                    <a:pt x="758" y="610"/>
                  </a:lnTo>
                  <a:lnTo>
                    <a:pt x="756" y="612"/>
                  </a:lnTo>
                  <a:lnTo>
                    <a:pt x="754" y="614"/>
                  </a:lnTo>
                  <a:lnTo>
                    <a:pt x="752" y="616"/>
                  </a:lnTo>
                  <a:lnTo>
                    <a:pt x="750" y="620"/>
                  </a:lnTo>
                  <a:lnTo>
                    <a:pt x="748" y="622"/>
                  </a:lnTo>
                  <a:lnTo>
                    <a:pt x="744" y="630"/>
                  </a:lnTo>
                  <a:lnTo>
                    <a:pt x="740" y="636"/>
                  </a:lnTo>
                  <a:lnTo>
                    <a:pt x="738" y="638"/>
                  </a:lnTo>
                  <a:lnTo>
                    <a:pt x="736" y="642"/>
                  </a:lnTo>
                  <a:lnTo>
                    <a:pt x="736" y="646"/>
                  </a:lnTo>
                  <a:lnTo>
                    <a:pt x="736" y="646"/>
                  </a:lnTo>
                  <a:lnTo>
                    <a:pt x="734" y="646"/>
                  </a:lnTo>
                  <a:lnTo>
                    <a:pt x="734" y="652"/>
                  </a:lnTo>
                  <a:lnTo>
                    <a:pt x="734" y="658"/>
                  </a:lnTo>
                  <a:lnTo>
                    <a:pt x="734" y="664"/>
                  </a:lnTo>
                  <a:lnTo>
                    <a:pt x="734" y="672"/>
                  </a:lnTo>
                  <a:lnTo>
                    <a:pt x="736" y="678"/>
                  </a:lnTo>
                  <a:lnTo>
                    <a:pt x="736" y="684"/>
                  </a:lnTo>
                  <a:lnTo>
                    <a:pt x="736" y="690"/>
                  </a:lnTo>
                  <a:lnTo>
                    <a:pt x="738" y="696"/>
                  </a:lnTo>
                  <a:lnTo>
                    <a:pt x="738" y="696"/>
                  </a:lnTo>
                  <a:lnTo>
                    <a:pt x="738" y="696"/>
                  </a:lnTo>
                  <a:lnTo>
                    <a:pt x="740" y="700"/>
                  </a:lnTo>
                  <a:lnTo>
                    <a:pt x="744" y="706"/>
                  </a:lnTo>
                  <a:lnTo>
                    <a:pt x="746" y="710"/>
                  </a:lnTo>
                  <a:lnTo>
                    <a:pt x="748" y="714"/>
                  </a:lnTo>
                  <a:lnTo>
                    <a:pt x="750" y="720"/>
                  </a:lnTo>
                  <a:lnTo>
                    <a:pt x="752" y="726"/>
                  </a:lnTo>
                  <a:lnTo>
                    <a:pt x="752" y="728"/>
                  </a:lnTo>
                  <a:lnTo>
                    <a:pt x="752" y="732"/>
                  </a:lnTo>
                  <a:lnTo>
                    <a:pt x="750" y="736"/>
                  </a:lnTo>
                  <a:lnTo>
                    <a:pt x="750" y="742"/>
                  </a:lnTo>
                  <a:lnTo>
                    <a:pt x="750" y="746"/>
                  </a:lnTo>
                  <a:lnTo>
                    <a:pt x="748" y="752"/>
                  </a:lnTo>
                  <a:lnTo>
                    <a:pt x="744" y="764"/>
                  </a:lnTo>
                  <a:lnTo>
                    <a:pt x="740" y="776"/>
                  </a:lnTo>
                  <a:lnTo>
                    <a:pt x="738" y="788"/>
                  </a:lnTo>
                  <a:lnTo>
                    <a:pt x="736" y="794"/>
                  </a:lnTo>
                  <a:lnTo>
                    <a:pt x="734" y="800"/>
                  </a:lnTo>
                  <a:lnTo>
                    <a:pt x="732" y="806"/>
                  </a:lnTo>
                  <a:lnTo>
                    <a:pt x="730" y="810"/>
                  </a:lnTo>
                  <a:lnTo>
                    <a:pt x="728" y="814"/>
                  </a:lnTo>
                  <a:lnTo>
                    <a:pt x="726" y="818"/>
                  </a:lnTo>
                  <a:lnTo>
                    <a:pt x="724" y="820"/>
                  </a:lnTo>
                  <a:lnTo>
                    <a:pt x="724" y="822"/>
                  </a:lnTo>
                  <a:lnTo>
                    <a:pt x="720" y="826"/>
                  </a:lnTo>
                  <a:lnTo>
                    <a:pt x="720" y="826"/>
                  </a:lnTo>
                  <a:lnTo>
                    <a:pt x="718" y="830"/>
                  </a:lnTo>
                  <a:lnTo>
                    <a:pt x="718" y="828"/>
                  </a:lnTo>
                  <a:lnTo>
                    <a:pt x="716" y="830"/>
                  </a:lnTo>
                  <a:lnTo>
                    <a:pt x="714" y="832"/>
                  </a:lnTo>
                  <a:lnTo>
                    <a:pt x="712" y="832"/>
                  </a:lnTo>
                  <a:lnTo>
                    <a:pt x="710" y="832"/>
                  </a:lnTo>
                  <a:lnTo>
                    <a:pt x="710" y="832"/>
                  </a:lnTo>
                  <a:lnTo>
                    <a:pt x="708" y="830"/>
                  </a:lnTo>
                  <a:lnTo>
                    <a:pt x="708" y="830"/>
                  </a:lnTo>
                  <a:lnTo>
                    <a:pt x="708" y="826"/>
                  </a:lnTo>
                  <a:lnTo>
                    <a:pt x="708" y="822"/>
                  </a:lnTo>
                  <a:lnTo>
                    <a:pt x="708" y="818"/>
                  </a:lnTo>
                  <a:lnTo>
                    <a:pt x="708" y="812"/>
                  </a:lnTo>
                  <a:lnTo>
                    <a:pt x="708" y="808"/>
                  </a:lnTo>
                  <a:lnTo>
                    <a:pt x="706" y="808"/>
                  </a:lnTo>
                  <a:lnTo>
                    <a:pt x="706" y="808"/>
                  </a:lnTo>
                  <a:lnTo>
                    <a:pt x="706" y="806"/>
                  </a:lnTo>
                  <a:lnTo>
                    <a:pt x="706" y="806"/>
                  </a:lnTo>
                  <a:lnTo>
                    <a:pt x="706" y="806"/>
                  </a:lnTo>
                  <a:lnTo>
                    <a:pt x="706" y="806"/>
                  </a:lnTo>
                  <a:lnTo>
                    <a:pt x="704" y="804"/>
                  </a:lnTo>
                  <a:lnTo>
                    <a:pt x="704" y="804"/>
                  </a:lnTo>
                  <a:lnTo>
                    <a:pt x="704" y="802"/>
                  </a:lnTo>
                  <a:lnTo>
                    <a:pt x="702" y="802"/>
                  </a:lnTo>
                  <a:lnTo>
                    <a:pt x="702" y="802"/>
                  </a:lnTo>
                  <a:lnTo>
                    <a:pt x="702" y="802"/>
                  </a:lnTo>
                  <a:lnTo>
                    <a:pt x="700" y="800"/>
                  </a:lnTo>
                  <a:lnTo>
                    <a:pt x="698" y="800"/>
                  </a:lnTo>
                  <a:lnTo>
                    <a:pt x="696" y="800"/>
                  </a:lnTo>
                  <a:lnTo>
                    <a:pt x="694" y="800"/>
                  </a:lnTo>
                  <a:lnTo>
                    <a:pt x="694" y="800"/>
                  </a:lnTo>
                  <a:lnTo>
                    <a:pt x="692" y="800"/>
                  </a:lnTo>
                  <a:lnTo>
                    <a:pt x="690" y="800"/>
                  </a:lnTo>
                  <a:lnTo>
                    <a:pt x="688" y="800"/>
                  </a:lnTo>
                  <a:lnTo>
                    <a:pt x="688" y="800"/>
                  </a:lnTo>
                  <a:lnTo>
                    <a:pt x="688" y="798"/>
                  </a:lnTo>
                  <a:lnTo>
                    <a:pt x="688" y="798"/>
                  </a:lnTo>
                  <a:lnTo>
                    <a:pt x="688" y="796"/>
                  </a:lnTo>
                  <a:lnTo>
                    <a:pt x="686" y="794"/>
                  </a:lnTo>
                  <a:lnTo>
                    <a:pt x="682" y="794"/>
                  </a:lnTo>
                  <a:lnTo>
                    <a:pt x="680" y="794"/>
                  </a:lnTo>
                  <a:lnTo>
                    <a:pt x="680" y="794"/>
                  </a:lnTo>
                  <a:lnTo>
                    <a:pt x="674" y="790"/>
                  </a:lnTo>
                  <a:lnTo>
                    <a:pt x="670" y="788"/>
                  </a:lnTo>
                  <a:lnTo>
                    <a:pt x="666" y="784"/>
                  </a:lnTo>
                  <a:lnTo>
                    <a:pt x="662" y="780"/>
                  </a:lnTo>
                  <a:lnTo>
                    <a:pt x="658" y="774"/>
                  </a:lnTo>
                  <a:lnTo>
                    <a:pt x="652" y="770"/>
                  </a:lnTo>
                  <a:lnTo>
                    <a:pt x="648" y="766"/>
                  </a:lnTo>
                  <a:lnTo>
                    <a:pt x="648" y="766"/>
                  </a:lnTo>
                  <a:lnTo>
                    <a:pt x="646" y="766"/>
                  </a:lnTo>
                  <a:lnTo>
                    <a:pt x="642" y="764"/>
                  </a:lnTo>
                  <a:lnTo>
                    <a:pt x="640" y="764"/>
                  </a:lnTo>
                  <a:lnTo>
                    <a:pt x="636" y="762"/>
                  </a:lnTo>
                  <a:lnTo>
                    <a:pt x="630" y="760"/>
                  </a:lnTo>
                  <a:lnTo>
                    <a:pt x="628" y="758"/>
                  </a:lnTo>
                  <a:lnTo>
                    <a:pt x="626" y="756"/>
                  </a:lnTo>
                  <a:lnTo>
                    <a:pt x="626" y="756"/>
                  </a:lnTo>
                  <a:lnTo>
                    <a:pt x="624" y="756"/>
                  </a:lnTo>
                  <a:lnTo>
                    <a:pt x="612" y="756"/>
                  </a:lnTo>
                  <a:lnTo>
                    <a:pt x="602" y="756"/>
                  </a:lnTo>
                  <a:lnTo>
                    <a:pt x="598" y="754"/>
                  </a:lnTo>
                  <a:lnTo>
                    <a:pt x="596" y="754"/>
                  </a:lnTo>
                  <a:lnTo>
                    <a:pt x="592" y="752"/>
                  </a:lnTo>
                  <a:lnTo>
                    <a:pt x="590" y="748"/>
                  </a:lnTo>
                  <a:lnTo>
                    <a:pt x="586" y="742"/>
                  </a:lnTo>
                  <a:lnTo>
                    <a:pt x="584" y="740"/>
                  </a:lnTo>
                  <a:lnTo>
                    <a:pt x="584" y="740"/>
                  </a:lnTo>
                  <a:lnTo>
                    <a:pt x="582" y="738"/>
                  </a:lnTo>
                  <a:lnTo>
                    <a:pt x="580" y="736"/>
                  </a:lnTo>
                  <a:lnTo>
                    <a:pt x="580" y="736"/>
                  </a:lnTo>
                  <a:lnTo>
                    <a:pt x="580" y="736"/>
                  </a:lnTo>
                  <a:lnTo>
                    <a:pt x="578" y="736"/>
                  </a:lnTo>
                  <a:lnTo>
                    <a:pt x="578" y="736"/>
                  </a:lnTo>
                  <a:lnTo>
                    <a:pt x="578" y="736"/>
                  </a:lnTo>
                  <a:lnTo>
                    <a:pt x="576" y="734"/>
                  </a:lnTo>
                  <a:lnTo>
                    <a:pt x="576" y="734"/>
                  </a:lnTo>
                  <a:lnTo>
                    <a:pt x="574" y="734"/>
                  </a:lnTo>
                  <a:lnTo>
                    <a:pt x="574" y="734"/>
                  </a:lnTo>
                  <a:lnTo>
                    <a:pt x="574" y="734"/>
                  </a:lnTo>
                  <a:lnTo>
                    <a:pt x="572" y="734"/>
                  </a:lnTo>
                  <a:lnTo>
                    <a:pt x="572" y="734"/>
                  </a:lnTo>
                  <a:lnTo>
                    <a:pt x="572" y="734"/>
                  </a:lnTo>
                  <a:lnTo>
                    <a:pt x="570" y="736"/>
                  </a:lnTo>
                  <a:lnTo>
                    <a:pt x="570" y="736"/>
                  </a:lnTo>
                  <a:lnTo>
                    <a:pt x="570" y="736"/>
                  </a:lnTo>
                  <a:lnTo>
                    <a:pt x="570" y="736"/>
                  </a:lnTo>
                  <a:lnTo>
                    <a:pt x="568" y="738"/>
                  </a:lnTo>
                  <a:lnTo>
                    <a:pt x="566" y="740"/>
                  </a:lnTo>
                  <a:lnTo>
                    <a:pt x="566" y="740"/>
                  </a:lnTo>
                  <a:lnTo>
                    <a:pt x="566" y="744"/>
                  </a:lnTo>
                  <a:lnTo>
                    <a:pt x="568" y="746"/>
                  </a:lnTo>
                  <a:lnTo>
                    <a:pt x="570" y="750"/>
                  </a:lnTo>
                  <a:lnTo>
                    <a:pt x="572" y="752"/>
                  </a:lnTo>
                  <a:lnTo>
                    <a:pt x="572" y="756"/>
                  </a:lnTo>
                  <a:lnTo>
                    <a:pt x="572" y="756"/>
                  </a:lnTo>
                  <a:lnTo>
                    <a:pt x="574" y="758"/>
                  </a:lnTo>
                  <a:lnTo>
                    <a:pt x="576" y="760"/>
                  </a:lnTo>
                  <a:lnTo>
                    <a:pt x="580" y="762"/>
                  </a:lnTo>
                  <a:lnTo>
                    <a:pt x="582" y="766"/>
                  </a:lnTo>
                  <a:lnTo>
                    <a:pt x="586" y="768"/>
                  </a:lnTo>
                  <a:lnTo>
                    <a:pt x="590" y="772"/>
                  </a:lnTo>
                  <a:lnTo>
                    <a:pt x="592" y="776"/>
                  </a:lnTo>
                  <a:lnTo>
                    <a:pt x="594" y="778"/>
                  </a:lnTo>
                  <a:lnTo>
                    <a:pt x="596" y="780"/>
                  </a:lnTo>
                  <a:lnTo>
                    <a:pt x="596" y="784"/>
                  </a:lnTo>
                  <a:lnTo>
                    <a:pt x="596" y="788"/>
                  </a:lnTo>
                  <a:lnTo>
                    <a:pt x="596" y="788"/>
                  </a:lnTo>
                  <a:lnTo>
                    <a:pt x="596" y="790"/>
                  </a:lnTo>
                  <a:lnTo>
                    <a:pt x="596" y="790"/>
                  </a:lnTo>
                  <a:lnTo>
                    <a:pt x="596" y="790"/>
                  </a:lnTo>
                  <a:lnTo>
                    <a:pt x="596" y="790"/>
                  </a:lnTo>
                  <a:lnTo>
                    <a:pt x="594" y="792"/>
                  </a:lnTo>
                  <a:lnTo>
                    <a:pt x="592" y="792"/>
                  </a:lnTo>
                  <a:lnTo>
                    <a:pt x="586" y="792"/>
                  </a:lnTo>
                  <a:lnTo>
                    <a:pt x="584" y="792"/>
                  </a:lnTo>
                  <a:lnTo>
                    <a:pt x="582" y="790"/>
                  </a:lnTo>
                  <a:lnTo>
                    <a:pt x="582" y="790"/>
                  </a:lnTo>
                  <a:lnTo>
                    <a:pt x="582" y="790"/>
                  </a:lnTo>
                  <a:lnTo>
                    <a:pt x="582" y="788"/>
                  </a:lnTo>
                  <a:lnTo>
                    <a:pt x="582" y="788"/>
                  </a:lnTo>
                  <a:lnTo>
                    <a:pt x="580" y="788"/>
                  </a:lnTo>
                  <a:lnTo>
                    <a:pt x="578" y="784"/>
                  </a:lnTo>
                  <a:lnTo>
                    <a:pt x="576" y="780"/>
                  </a:lnTo>
                  <a:lnTo>
                    <a:pt x="574" y="778"/>
                  </a:lnTo>
                  <a:lnTo>
                    <a:pt x="574" y="778"/>
                  </a:lnTo>
                  <a:lnTo>
                    <a:pt x="574" y="778"/>
                  </a:lnTo>
                  <a:lnTo>
                    <a:pt x="572" y="778"/>
                  </a:lnTo>
                  <a:lnTo>
                    <a:pt x="572" y="776"/>
                  </a:lnTo>
                  <a:lnTo>
                    <a:pt x="572" y="776"/>
                  </a:lnTo>
                  <a:lnTo>
                    <a:pt x="570" y="776"/>
                  </a:lnTo>
                  <a:lnTo>
                    <a:pt x="570" y="776"/>
                  </a:lnTo>
                  <a:lnTo>
                    <a:pt x="570" y="776"/>
                  </a:lnTo>
                  <a:lnTo>
                    <a:pt x="568" y="778"/>
                  </a:lnTo>
                  <a:lnTo>
                    <a:pt x="568" y="778"/>
                  </a:lnTo>
                  <a:lnTo>
                    <a:pt x="568" y="778"/>
                  </a:lnTo>
                  <a:lnTo>
                    <a:pt x="566" y="780"/>
                  </a:lnTo>
                  <a:lnTo>
                    <a:pt x="566" y="780"/>
                  </a:lnTo>
                  <a:lnTo>
                    <a:pt x="566" y="782"/>
                  </a:lnTo>
                  <a:lnTo>
                    <a:pt x="566" y="784"/>
                  </a:lnTo>
                  <a:lnTo>
                    <a:pt x="566" y="788"/>
                  </a:lnTo>
                  <a:lnTo>
                    <a:pt x="566" y="792"/>
                  </a:lnTo>
                  <a:lnTo>
                    <a:pt x="566" y="796"/>
                  </a:lnTo>
                  <a:lnTo>
                    <a:pt x="562" y="798"/>
                  </a:lnTo>
                  <a:lnTo>
                    <a:pt x="558" y="800"/>
                  </a:lnTo>
                  <a:lnTo>
                    <a:pt x="554" y="802"/>
                  </a:lnTo>
                  <a:lnTo>
                    <a:pt x="550" y="806"/>
                  </a:lnTo>
                  <a:lnTo>
                    <a:pt x="546" y="806"/>
                  </a:lnTo>
                  <a:lnTo>
                    <a:pt x="540" y="804"/>
                  </a:lnTo>
                  <a:lnTo>
                    <a:pt x="534" y="804"/>
                  </a:lnTo>
                  <a:lnTo>
                    <a:pt x="528" y="804"/>
                  </a:lnTo>
                  <a:lnTo>
                    <a:pt x="524" y="804"/>
                  </a:lnTo>
                  <a:lnTo>
                    <a:pt x="524" y="804"/>
                  </a:lnTo>
                  <a:lnTo>
                    <a:pt x="524" y="804"/>
                  </a:lnTo>
                  <a:lnTo>
                    <a:pt x="518" y="806"/>
                  </a:lnTo>
                  <a:lnTo>
                    <a:pt x="518" y="806"/>
                  </a:lnTo>
                  <a:lnTo>
                    <a:pt x="518" y="806"/>
                  </a:lnTo>
                  <a:lnTo>
                    <a:pt x="514" y="808"/>
                  </a:lnTo>
                  <a:lnTo>
                    <a:pt x="514" y="808"/>
                  </a:lnTo>
                  <a:lnTo>
                    <a:pt x="512" y="810"/>
                  </a:lnTo>
                  <a:lnTo>
                    <a:pt x="510" y="812"/>
                  </a:lnTo>
                  <a:lnTo>
                    <a:pt x="510" y="812"/>
                  </a:lnTo>
                  <a:lnTo>
                    <a:pt x="508" y="812"/>
                  </a:lnTo>
                  <a:lnTo>
                    <a:pt x="504" y="814"/>
                  </a:lnTo>
                  <a:lnTo>
                    <a:pt x="502" y="814"/>
                  </a:lnTo>
                  <a:lnTo>
                    <a:pt x="502" y="814"/>
                  </a:lnTo>
                  <a:lnTo>
                    <a:pt x="500" y="814"/>
                  </a:lnTo>
                  <a:lnTo>
                    <a:pt x="500" y="814"/>
                  </a:lnTo>
                  <a:lnTo>
                    <a:pt x="500" y="814"/>
                  </a:lnTo>
                  <a:lnTo>
                    <a:pt x="500" y="812"/>
                  </a:lnTo>
                  <a:lnTo>
                    <a:pt x="500" y="808"/>
                  </a:lnTo>
                  <a:lnTo>
                    <a:pt x="500" y="808"/>
                  </a:lnTo>
                  <a:lnTo>
                    <a:pt x="500" y="806"/>
                  </a:lnTo>
                  <a:lnTo>
                    <a:pt x="502" y="804"/>
                  </a:lnTo>
                  <a:lnTo>
                    <a:pt x="504" y="802"/>
                  </a:lnTo>
                  <a:lnTo>
                    <a:pt x="504" y="802"/>
                  </a:lnTo>
                  <a:lnTo>
                    <a:pt x="504" y="800"/>
                  </a:lnTo>
                  <a:lnTo>
                    <a:pt x="504" y="800"/>
                  </a:lnTo>
                  <a:lnTo>
                    <a:pt x="504" y="800"/>
                  </a:lnTo>
                  <a:lnTo>
                    <a:pt x="504" y="798"/>
                  </a:lnTo>
                  <a:lnTo>
                    <a:pt x="502" y="798"/>
                  </a:lnTo>
                  <a:lnTo>
                    <a:pt x="502" y="798"/>
                  </a:lnTo>
                  <a:lnTo>
                    <a:pt x="502" y="796"/>
                  </a:lnTo>
                  <a:lnTo>
                    <a:pt x="500" y="796"/>
                  </a:lnTo>
                  <a:lnTo>
                    <a:pt x="500" y="796"/>
                  </a:lnTo>
                  <a:lnTo>
                    <a:pt x="498" y="796"/>
                  </a:lnTo>
                  <a:lnTo>
                    <a:pt x="496" y="796"/>
                  </a:lnTo>
                  <a:lnTo>
                    <a:pt x="494" y="796"/>
                  </a:lnTo>
                  <a:lnTo>
                    <a:pt x="490" y="796"/>
                  </a:lnTo>
                  <a:lnTo>
                    <a:pt x="488" y="794"/>
                  </a:lnTo>
                  <a:lnTo>
                    <a:pt x="488" y="794"/>
                  </a:lnTo>
                  <a:lnTo>
                    <a:pt x="486" y="794"/>
                  </a:lnTo>
                  <a:lnTo>
                    <a:pt x="478" y="800"/>
                  </a:lnTo>
                  <a:lnTo>
                    <a:pt x="476" y="802"/>
                  </a:lnTo>
                  <a:lnTo>
                    <a:pt x="472" y="804"/>
                  </a:lnTo>
                  <a:lnTo>
                    <a:pt x="470" y="804"/>
                  </a:lnTo>
                  <a:lnTo>
                    <a:pt x="468" y="804"/>
                  </a:lnTo>
                  <a:lnTo>
                    <a:pt x="464" y="804"/>
                  </a:lnTo>
                  <a:lnTo>
                    <a:pt x="458" y="806"/>
                  </a:lnTo>
                  <a:lnTo>
                    <a:pt x="456" y="808"/>
                  </a:lnTo>
                  <a:lnTo>
                    <a:pt x="456" y="808"/>
                  </a:lnTo>
                  <a:lnTo>
                    <a:pt x="456" y="808"/>
                  </a:lnTo>
                  <a:lnTo>
                    <a:pt x="454" y="808"/>
                  </a:lnTo>
                  <a:lnTo>
                    <a:pt x="454" y="808"/>
                  </a:lnTo>
                  <a:lnTo>
                    <a:pt x="452" y="810"/>
                  </a:lnTo>
                  <a:lnTo>
                    <a:pt x="450" y="812"/>
                  </a:lnTo>
                  <a:lnTo>
                    <a:pt x="450" y="812"/>
                  </a:lnTo>
                  <a:lnTo>
                    <a:pt x="450" y="812"/>
                  </a:lnTo>
                  <a:lnTo>
                    <a:pt x="448" y="814"/>
                  </a:lnTo>
                  <a:lnTo>
                    <a:pt x="444" y="820"/>
                  </a:lnTo>
                  <a:lnTo>
                    <a:pt x="442" y="826"/>
                  </a:lnTo>
                  <a:lnTo>
                    <a:pt x="440" y="828"/>
                  </a:lnTo>
                  <a:lnTo>
                    <a:pt x="438" y="828"/>
                  </a:lnTo>
                  <a:lnTo>
                    <a:pt x="434" y="830"/>
                  </a:lnTo>
                  <a:lnTo>
                    <a:pt x="434" y="830"/>
                  </a:lnTo>
                  <a:lnTo>
                    <a:pt x="434" y="830"/>
                  </a:lnTo>
                  <a:lnTo>
                    <a:pt x="430" y="832"/>
                  </a:lnTo>
                  <a:lnTo>
                    <a:pt x="430" y="832"/>
                  </a:lnTo>
                  <a:lnTo>
                    <a:pt x="430" y="832"/>
                  </a:lnTo>
                  <a:lnTo>
                    <a:pt x="424" y="834"/>
                  </a:lnTo>
                  <a:lnTo>
                    <a:pt x="420" y="838"/>
                  </a:lnTo>
                  <a:lnTo>
                    <a:pt x="418" y="842"/>
                  </a:lnTo>
                  <a:lnTo>
                    <a:pt x="414" y="846"/>
                  </a:lnTo>
                  <a:lnTo>
                    <a:pt x="408" y="852"/>
                  </a:lnTo>
                  <a:lnTo>
                    <a:pt x="406" y="854"/>
                  </a:lnTo>
                  <a:lnTo>
                    <a:pt x="404" y="856"/>
                  </a:lnTo>
                  <a:lnTo>
                    <a:pt x="404" y="856"/>
                  </a:lnTo>
                  <a:lnTo>
                    <a:pt x="404" y="856"/>
                  </a:lnTo>
                  <a:lnTo>
                    <a:pt x="402" y="858"/>
                  </a:lnTo>
                  <a:lnTo>
                    <a:pt x="402" y="858"/>
                  </a:lnTo>
                  <a:lnTo>
                    <a:pt x="402" y="858"/>
                  </a:lnTo>
                  <a:lnTo>
                    <a:pt x="400" y="860"/>
                  </a:lnTo>
                  <a:lnTo>
                    <a:pt x="400" y="860"/>
                  </a:lnTo>
                  <a:lnTo>
                    <a:pt x="400" y="860"/>
                  </a:lnTo>
                  <a:lnTo>
                    <a:pt x="400" y="862"/>
                  </a:lnTo>
                  <a:lnTo>
                    <a:pt x="400" y="862"/>
                  </a:lnTo>
                  <a:lnTo>
                    <a:pt x="400" y="862"/>
                  </a:lnTo>
                  <a:lnTo>
                    <a:pt x="400" y="864"/>
                  </a:lnTo>
                  <a:lnTo>
                    <a:pt x="400" y="866"/>
                  </a:lnTo>
                  <a:lnTo>
                    <a:pt x="400" y="866"/>
                  </a:lnTo>
                  <a:lnTo>
                    <a:pt x="400" y="866"/>
                  </a:lnTo>
                  <a:lnTo>
                    <a:pt x="398" y="866"/>
                  </a:lnTo>
                  <a:lnTo>
                    <a:pt x="398" y="866"/>
                  </a:lnTo>
                  <a:lnTo>
                    <a:pt x="396" y="868"/>
                  </a:lnTo>
                  <a:lnTo>
                    <a:pt x="394" y="868"/>
                  </a:lnTo>
                  <a:lnTo>
                    <a:pt x="390" y="868"/>
                  </a:lnTo>
                  <a:lnTo>
                    <a:pt x="384" y="870"/>
                  </a:lnTo>
                  <a:lnTo>
                    <a:pt x="384" y="868"/>
                  </a:lnTo>
                  <a:lnTo>
                    <a:pt x="382" y="868"/>
                  </a:lnTo>
                  <a:lnTo>
                    <a:pt x="378" y="866"/>
                  </a:lnTo>
                  <a:lnTo>
                    <a:pt x="376" y="864"/>
                  </a:lnTo>
                  <a:lnTo>
                    <a:pt x="374" y="862"/>
                  </a:lnTo>
                  <a:lnTo>
                    <a:pt x="374" y="860"/>
                  </a:lnTo>
                  <a:lnTo>
                    <a:pt x="374" y="858"/>
                  </a:lnTo>
                  <a:lnTo>
                    <a:pt x="374" y="856"/>
                  </a:lnTo>
                  <a:lnTo>
                    <a:pt x="372" y="854"/>
                  </a:lnTo>
                  <a:lnTo>
                    <a:pt x="372" y="850"/>
                  </a:lnTo>
                  <a:lnTo>
                    <a:pt x="372" y="848"/>
                  </a:lnTo>
                  <a:lnTo>
                    <a:pt x="374" y="846"/>
                  </a:lnTo>
                  <a:lnTo>
                    <a:pt x="376" y="844"/>
                  </a:lnTo>
                  <a:lnTo>
                    <a:pt x="382" y="842"/>
                  </a:lnTo>
                  <a:lnTo>
                    <a:pt x="384" y="840"/>
                  </a:lnTo>
                  <a:lnTo>
                    <a:pt x="386" y="836"/>
                  </a:lnTo>
                  <a:lnTo>
                    <a:pt x="386" y="836"/>
                  </a:lnTo>
                  <a:lnTo>
                    <a:pt x="386" y="836"/>
                  </a:lnTo>
                  <a:lnTo>
                    <a:pt x="388" y="834"/>
                  </a:lnTo>
                  <a:lnTo>
                    <a:pt x="388" y="834"/>
                  </a:lnTo>
                  <a:lnTo>
                    <a:pt x="388" y="834"/>
                  </a:lnTo>
                  <a:lnTo>
                    <a:pt x="390" y="830"/>
                  </a:lnTo>
                  <a:lnTo>
                    <a:pt x="390" y="830"/>
                  </a:lnTo>
                  <a:lnTo>
                    <a:pt x="390" y="828"/>
                  </a:lnTo>
                  <a:lnTo>
                    <a:pt x="390" y="828"/>
                  </a:lnTo>
                  <a:lnTo>
                    <a:pt x="388" y="826"/>
                  </a:lnTo>
                  <a:lnTo>
                    <a:pt x="388" y="826"/>
                  </a:lnTo>
                  <a:lnTo>
                    <a:pt x="386" y="824"/>
                  </a:lnTo>
                  <a:lnTo>
                    <a:pt x="386" y="824"/>
                  </a:lnTo>
                  <a:lnTo>
                    <a:pt x="386" y="822"/>
                  </a:lnTo>
                  <a:lnTo>
                    <a:pt x="384" y="820"/>
                  </a:lnTo>
                  <a:lnTo>
                    <a:pt x="384" y="818"/>
                  </a:lnTo>
                  <a:lnTo>
                    <a:pt x="384" y="818"/>
                  </a:lnTo>
                  <a:lnTo>
                    <a:pt x="384" y="818"/>
                  </a:lnTo>
                  <a:lnTo>
                    <a:pt x="382" y="816"/>
                  </a:lnTo>
                  <a:lnTo>
                    <a:pt x="382" y="816"/>
                  </a:lnTo>
                  <a:lnTo>
                    <a:pt x="380" y="814"/>
                  </a:lnTo>
                  <a:lnTo>
                    <a:pt x="378" y="814"/>
                  </a:lnTo>
                  <a:lnTo>
                    <a:pt x="378" y="814"/>
                  </a:lnTo>
                  <a:lnTo>
                    <a:pt x="378" y="812"/>
                  </a:lnTo>
                  <a:lnTo>
                    <a:pt x="376" y="812"/>
                  </a:lnTo>
                  <a:lnTo>
                    <a:pt x="376" y="812"/>
                  </a:lnTo>
                  <a:lnTo>
                    <a:pt x="374" y="812"/>
                  </a:lnTo>
                  <a:lnTo>
                    <a:pt x="370" y="812"/>
                  </a:lnTo>
                  <a:lnTo>
                    <a:pt x="364" y="810"/>
                  </a:lnTo>
                  <a:lnTo>
                    <a:pt x="362" y="810"/>
                  </a:lnTo>
                  <a:lnTo>
                    <a:pt x="358" y="810"/>
                  </a:lnTo>
                  <a:lnTo>
                    <a:pt x="356" y="808"/>
                  </a:lnTo>
                  <a:lnTo>
                    <a:pt x="354" y="808"/>
                  </a:lnTo>
                  <a:lnTo>
                    <a:pt x="354" y="806"/>
                  </a:lnTo>
                  <a:lnTo>
                    <a:pt x="352" y="804"/>
                  </a:lnTo>
                  <a:lnTo>
                    <a:pt x="352" y="804"/>
                  </a:lnTo>
                  <a:lnTo>
                    <a:pt x="352" y="804"/>
                  </a:lnTo>
                  <a:lnTo>
                    <a:pt x="348" y="804"/>
                  </a:lnTo>
                  <a:lnTo>
                    <a:pt x="348" y="804"/>
                  </a:lnTo>
                  <a:lnTo>
                    <a:pt x="348" y="804"/>
                  </a:lnTo>
                  <a:lnTo>
                    <a:pt x="346" y="806"/>
                  </a:lnTo>
                  <a:lnTo>
                    <a:pt x="346" y="806"/>
                  </a:lnTo>
                  <a:lnTo>
                    <a:pt x="346" y="806"/>
                  </a:lnTo>
                  <a:lnTo>
                    <a:pt x="346" y="806"/>
                  </a:lnTo>
                  <a:lnTo>
                    <a:pt x="346" y="808"/>
                  </a:lnTo>
                  <a:lnTo>
                    <a:pt x="344" y="808"/>
                  </a:lnTo>
                  <a:lnTo>
                    <a:pt x="344" y="810"/>
                  </a:lnTo>
                  <a:lnTo>
                    <a:pt x="344" y="810"/>
                  </a:lnTo>
                  <a:lnTo>
                    <a:pt x="344" y="812"/>
                  </a:lnTo>
                  <a:lnTo>
                    <a:pt x="344" y="812"/>
                  </a:lnTo>
                  <a:lnTo>
                    <a:pt x="344" y="812"/>
                  </a:lnTo>
                  <a:lnTo>
                    <a:pt x="346" y="812"/>
                  </a:lnTo>
                  <a:lnTo>
                    <a:pt x="346" y="812"/>
                  </a:lnTo>
                  <a:lnTo>
                    <a:pt x="346" y="814"/>
                  </a:lnTo>
                  <a:lnTo>
                    <a:pt x="348" y="818"/>
                  </a:lnTo>
                  <a:lnTo>
                    <a:pt x="348" y="820"/>
                  </a:lnTo>
                  <a:lnTo>
                    <a:pt x="350" y="824"/>
                  </a:lnTo>
                  <a:lnTo>
                    <a:pt x="352" y="828"/>
                  </a:lnTo>
                  <a:lnTo>
                    <a:pt x="352" y="830"/>
                  </a:lnTo>
                  <a:lnTo>
                    <a:pt x="354" y="832"/>
                  </a:lnTo>
                  <a:lnTo>
                    <a:pt x="354" y="836"/>
                  </a:lnTo>
                  <a:lnTo>
                    <a:pt x="354" y="838"/>
                  </a:lnTo>
                  <a:lnTo>
                    <a:pt x="352" y="840"/>
                  </a:lnTo>
                  <a:lnTo>
                    <a:pt x="352" y="842"/>
                  </a:lnTo>
                  <a:lnTo>
                    <a:pt x="350" y="844"/>
                  </a:lnTo>
                  <a:lnTo>
                    <a:pt x="348" y="848"/>
                  </a:lnTo>
                  <a:lnTo>
                    <a:pt x="348" y="850"/>
                  </a:lnTo>
                  <a:lnTo>
                    <a:pt x="348" y="850"/>
                  </a:lnTo>
                  <a:lnTo>
                    <a:pt x="348" y="852"/>
                  </a:lnTo>
                  <a:lnTo>
                    <a:pt x="346" y="856"/>
                  </a:lnTo>
                  <a:lnTo>
                    <a:pt x="346" y="856"/>
                  </a:lnTo>
                  <a:lnTo>
                    <a:pt x="346" y="858"/>
                  </a:lnTo>
                  <a:lnTo>
                    <a:pt x="350" y="860"/>
                  </a:lnTo>
                  <a:lnTo>
                    <a:pt x="352" y="864"/>
                  </a:lnTo>
                  <a:lnTo>
                    <a:pt x="352" y="866"/>
                  </a:lnTo>
                  <a:lnTo>
                    <a:pt x="354" y="868"/>
                  </a:lnTo>
                  <a:lnTo>
                    <a:pt x="354" y="872"/>
                  </a:lnTo>
                  <a:lnTo>
                    <a:pt x="356" y="874"/>
                  </a:lnTo>
                  <a:lnTo>
                    <a:pt x="356" y="878"/>
                  </a:lnTo>
                  <a:lnTo>
                    <a:pt x="356" y="882"/>
                  </a:lnTo>
                  <a:lnTo>
                    <a:pt x="356" y="884"/>
                  </a:lnTo>
                  <a:lnTo>
                    <a:pt x="354" y="888"/>
                  </a:lnTo>
                  <a:lnTo>
                    <a:pt x="354" y="892"/>
                  </a:lnTo>
                  <a:lnTo>
                    <a:pt x="352" y="894"/>
                  </a:lnTo>
                  <a:lnTo>
                    <a:pt x="350" y="894"/>
                  </a:lnTo>
                  <a:lnTo>
                    <a:pt x="348" y="894"/>
                  </a:lnTo>
                  <a:lnTo>
                    <a:pt x="344" y="894"/>
                  </a:lnTo>
                  <a:lnTo>
                    <a:pt x="342" y="894"/>
                  </a:lnTo>
                  <a:lnTo>
                    <a:pt x="338" y="894"/>
                  </a:lnTo>
                  <a:lnTo>
                    <a:pt x="334" y="894"/>
                  </a:lnTo>
                  <a:lnTo>
                    <a:pt x="330" y="894"/>
                  </a:lnTo>
                  <a:lnTo>
                    <a:pt x="326" y="892"/>
                  </a:lnTo>
                  <a:lnTo>
                    <a:pt x="326" y="892"/>
                  </a:lnTo>
                  <a:lnTo>
                    <a:pt x="326" y="892"/>
                  </a:lnTo>
                  <a:lnTo>
                    <a:pt x="320" y="894"/>
                  </a:lnTo>
                  <a:lnTo>
                    <a:pt x="320" y="894"/>
                  </a:lnTo>
                  <a:lnTo>
                    <a:pt x="320" y="894"/>
                  </a:lnTo>
                  <a:lnTo>
                    <a:pt x="316" y="896"/>
                  </a:lnTo>
                  <a:lnTo>
                    <a:pt x="312" y="900"/>
                  </a:lnTo>
                  <a:lnTo>
                    <a:pt x="308" y="902"/>
                  </a:lnTo>
                  <a:lnTo>
                    <a:pt x="306" y="902"/>
                  </a:lnTo>
                  <a:lnTo>
                    <a:pt x="304" y="902"/>
                  </a:lnTo>
                  <a:lnTo>
                    <a:pt x="304" y="902"/>
                  </a:lnTo>
                  <a:lnTo>
                    <a:pt x="302" y="902"/>
                  </a:lnTo>
                  <a:lnTo>
                    <a:pt x="300" y="904"/>
                  </a:lnTo>
                  <a:lnTo>
                    <a:pt x="300" y="904"/>
                  </a:lnTo>
                  <a:lnTo>
                    <a:pt x="300" y="906"/>
                  </a:lnTo>
                  <a:lnTo>
                    <a:pt x="296" y="908"/>
                  </a:lnTo>
                  <a:lnTo>
                    <a:pt x="296" y="910"/>
                  </a:lnTo>
                  <a:lnTo>
                    <a:pt x="294" y="910"/>
                  </a:lnTo>
                  <a:lnTo>
                    <a:pt x="292" y="912"/>
                  </a:lnTo>
                  <a:lnTo>
                    <a:pt x="292" y="912"/>
                  </a:lnTo>
                  <a:lnTo>
                    <a:pt x="290" y="912"/>
                  </a:lnTo>
                  <a:lnTo>
                    <a:pt x="288" y="912"/>
                  </a:lnTo>
                  <a:lnTo>
                    <a:pt x="288" y="912"/>
                  </a:lnTo>
                  <a:lnTo>
                    <a:pt x="288" y="912"/>
                  </a:lnTo>
                  <a:lnTo>
                    <a:pt x="286" y="914"/>
                  </a:lnTo>
                  <a:lnTo>
                    <a:pt x="286" y="914"/>
                  </a:lnTo>
                  <a:lnTo>
                    <a:pt x="286" y="914"/>
                  </a:lnTo>
                  <a:lnTo>
                    <a:pt x="286" y="916"/>
                  </a:lnTo>
                  <a:lnTo>
                    <a:pt x="286" y="916"/>
                  </a:lnTo>
                  <a:lnTo>
                    <a:pt x="284" y="916"/>
                  </a:lnTo>
                  <a:lnTo>
                    <a:pt x="284" y="918"/>
                  </a:lnTo>
                  <a:lnTo>
                    <a:pt x="284" y="918"/>
                  </a:lnTo>
                  <a:lnTo>
                    <a:pt x="284" y="920"/>
                  </a:lnTo>
                  <a:lnTo>
                    <a:pt x="284" y="922"/>
                  </a:lnTo>
                  <a:lnTo>
                    <a:pt x="284" y="922"/>
                  </a:lnTo>
                  <a:lnTo>
                    <a:pt x="286" y="922"/>
                  </a:lnTo>
                  <a:lnTo>
                    <a:pt x="286" y="924"/>
                  </a:lnTo>
                  <a:lnTo>
                    <a:pt x="286" y="924"/>
                  </a:lnTo>
                  <a:lnTo>
                    <a:pt x="288" y="926"/>
                  </a:lnTo>
                  <a:lnTo>
                    <a:pt x="290" y="928"/>
                  </a:lnTo>
                  <a:lnTo>
                    <a:pt x="292" y="930"/>
                  </a:lnTo>
                  <a:lnTo>
                    <a:pt x="294" y="930"/>
                  </a:lnTo>
                  <a:lnTo>
                    <a:pt x="294" y="932"/>
                  </a:lnTo>
                  <a:lnTo>
                    <a:pt x="294" y="932"/>
                  </a:lnTo>
                  <a:lnTo>
                    <a:pt x="296" y="934"/>
                  </a:lnTo>
                  <a:lnTo>
                    <a:pt x="296" y="938"/>
                  </a:lnTo>
                  <a:lnTo>
                    <a:pt x="296" y="942"/>
                  </a:lnTo>
                  <a:lnTo>
                    <a:pt x="296" y="942"/>
                  </a:lnTo>
                  <a:lnTo>
                    <a:pt x="292" y="942"/>
                  </a:lnTo>
                  <a:lnTo>
                    <a:pt x="286" y="944"/>
                  </a:lnTo>
                  <a:lnTo>
                    <a:pt x="286" y="944"/>
                  </a:lnTo>
                  <a:lnTo>
                    <a:pt x="280" y="942"/>
                  </a:lnTo>
                  <a:lnTo>
                    <a:pt x="278" y="942"/>
                  </a:lnTo>
                  <a:lnTo>
                    <a:pt x="274" y="940"/>
                  </a:lnTo>
                  <a:lnTo>
                    <a:pt x="270" y="940"/>
                  </a:lnTo>
                  <a:lnTo>
                    <a:pt x="266" y="938"/>
                  </a:lnTo>
                  <a:lnTo>
                    <a:pt x="262" y="936"/>
                  </a:lnTo>
                  <a:lnTo>
                    <a:pt x="258" y="932"/>
                  </a:lnTo>
                  <a:lnTo>
                    <a:pt x="258" y="932"/>
                  </a:lnTo>
                  <a:lnTo>
                    <a:pt x="256" y="932"/>
                  </a:lnTo>
                  <a:lnTo>
                    <a:pt x="256" y="932"/>
                  </a:lnTo>
                  <a:lnTo>
                    <a:pt x="254" y="932"/>
                  </a:lnTo>
                  <a:lnTo>
                    <a:pt x="252" y="930"/>
                  </a:lnTo>
                  <a:lnTo>
                    <a:pt x="248" y="930"/>
                  </a:lnTo>
                  <a:lnTo>
                    <a:pt x="244" y="930"/>
                  </a:lnTo>
                  <a:lnTo>
                    <a:pt x="240" y="930"/>
                  </a:lnTo>
                  <a:lnTo>
                    <a:pt x="238" y="930"/>
                  </a:lnTo>
                  <a:lnTo>
                    <a:pt x="238" y="930"/>
                  </a:lnTo>
                  <a:lnTo>
                    <a:pt x="238" y="930"/>
                  </a:lnTo>
                  <a:lnTo>
                    <a:pt x="234" y="930"/>
                  </a:lnTo>
                  <a:lnTo>
                    <a:pt x="234" y="932"/>
                  </a:lnTo>
                  <a:lnTo>
                    <a:pt x="232" y="932"/>
                  </a:lnTo>
                  <a:lnTo>
                    <a:pt x="230" y="932"/>
                  </a:lnTo>
                  <a:lnTo>
                    <a:pt x="230" y="932"/>
                  </a:lnTo>
                  <a:lnTo>
                    <a:pt x="228" y="932"/>
                  </a:lnTo>
                  <a:lnTo>
                    <a:pt x="228" y="934"/>
                  </a:lnTo>
                  <a:lnTo>
                    <a:pt x="228" y="934"/>
                  </a:lnTo>
                  <a:lnTo>
                    <a:pt x="228" y="934"/>
                  </a:lnTo>
                  <a:lnTo>
                    <a:pt x="228" y="936"/>
                  </a:lnTo>
                  <a:lnTo>
                    <a:pt x="228" y="938"/>
                  </a:lnTo>
                  <a:lnTo>
                    <a:pt x="228" y="938"/>
                  </a:lnTo>
                  <a:lnTo>
                    <a:pt x="230" y="938"/>
                  </a:lnTo>
                  <a:lnTo>
                    <a:pt x="230" y="938"/>
                  </a:lnTo>
                  <a:lnTo>
                    <a:pt x="232" y="940"/>
                  </a:lnTo>
                  <a:lnTo>
                    <a:pt x="232" y="940"/>
                  </a:lnTo>
                  <a:lnTo>
                    <a:pt x="234" y="942"/>
                  </a:lnTo>
                  <a:lnTo>
                    <a:pt x="234" y="942"/>
                  </a:lnTo>
                  <a:lnTo>
                    <a:pt x="234" y="942"/>
                  </a:lnTo>
                  <a:lnTo>
                    <a:pt x="238" y="944"/>
                  </a:lnTo>
                  <a:lnTo>
                    <a:pt x="240" y="946"/>
                  </a:lnTo>
                  <a:lnTo>
                    <a:pt x="244" y="948"/>
                  </a:lnTo>
                  <a:lnTo>
                    <a:pt x="244" y="950"/>
                  </a:lnTo>
                  <a:lnTo>
                    <a:pt x="246" y="952"/>
                  </a:lnTo>
                  <a:lnTo>
                    <a:pt x="246" y="952"/>
                  </a:lnTo>
                  <a:lnTo>
                    <a:pt x="246" y="952"/>
                  </a:lnTo>
                  <a:lnTo>
                    <a:pt x="252" y="956"/>
                  </a:lnTo>
                  <a:lnTo>
                    <a:pt x="258" y="958"/>
                  </a:lnTo>
                  <a:lnTo>
                    <a:pt x="262" y="962"/>
                  </a:lnTo>
                  <a:lnTo>
                    <a:pt x="262" y="962"/>
                  </a:lnTo>
                  <a:lnTo>
                    <a:pt x="264" y="964"/>
                  </a:lnTo>
                  <a:lnTo>
                    <a:pt x="266" y="968"/>
                  </a:lnTo>
                  <a:lnTo>
                    <a:pt x="266" y="968"/>
                  </a:lnTo>
                  <a:lnTo>
                    <a:pt x="266" y="968"/>
                  </a:lnTo>
                  <a:lnTo>
                    <a:pt x="268" y="970"/>
                  </a:lnTo>
                  <a:lnTo>
                    <a:pt x="268" y="972"/>
                  </a:lnTo>
                  <a:lnTo>
                    <a:pt x="268" y="972"/>
                  </a:lnTo>
                  <a:lnTo>
                    <a:pt x="268" y="972"/>
                  </a:lnTo>
                  <a:lnTo>
                    <a:pt x="262" y="972"/>
                  </a:lnTo>
                  <a:lnTo>
                    <a:pt x="264" y="972"/>
                  </a:lnTo>
                  <a:lnTo>
                    <a:pt x="258" y="972"/>
                  </a:lnTo>
                  <a:lnTo>
                    <a:pt x="252" y="972"/>
                  </a:lnTo>
                  <a:lnTo>
                    <a:pt x="248" y="972"/>
                  </a:lnTo>
                  <a:lnTo>
                    <a:pt x="244" y="972"/>
                  </a:lnTo>
                  <a:lnTo>
                    <a:pt x="242" y="972"/>
                  </a:lnTo>
                  <a:lnTo>
                    <a:pt x="242" y="972"/>
                  </a:lnTo>
                  <a:lnTo>
                    <a:pt x="240" y="972"/>
                  </a:lnTo>
                  <a:lnTo>
                    <a:pt x="240" y="970"/>
                  </a:lnTo>
                  <a:lnTo>
                    <a:pt x="238" y="968"/>
                  </a:lnTo>
                  <a:lnTo>
                    <a:pt x="236" y="964"/>
                  </a:lnTo>
                  <a:lnTo>
                    <a:pt x="236" y="962"/>
                  </a:lnTo>
                  <a:lnTo>
                    <a:pt x="234" y="960"/>
                  </a:lnTo>
                  <a:lnTo>
                    <a:pt x="234" y="956"/>
                  </a:lnTo>
                  <a:lnTo>
                    <a:pt x="232" y="954"/>
                  </a:lnTo>
                  <a:lnTo>
                    <a:pt x="230" y="946"/>
                  </a:lnTo>
                  <a:lnTo>
                    <a:pt x="228" y="938"/>
                  </a:lnTo>
                  <a:lnTo>
                    <a:pt x="224" y="930"/>
                  </a:lnTo>
                  <a:lnTo>
                    <a:pt x="222" y="922"/>
                  </a:lnTo>
                  <a:lnTo>
                    <a:pt x="220" y="914"/>
                  </a:lnTo>
                  <a:lnTo>
                    <a:pt x="220" y="912"/>
                  </a:lnTo>
                  <a:lnTo>
                    <a:pt x="218" y="910"/>
                  </a:lnTo>
                  <a:lnTo>
                    <a:pt x="218" y="910"/>
                  </a:lnTo>
                  <a:lnTo>
                    <a:pt x="218" y="908"/>
                  </a:lnTo>
                  <a:lnTo>
                    <a:pt x="216" y="906"/>
                  </a:lnTo>
                  <a:lnTo>
                    <a:pt x="214" y="904"/>
                  </a:lnTo>
                  <a:lnTo>
                    <a:pt x="214" y="904"/>
                  </a:lnTo>
                  <a:lnTo>
                    <a:pt x="212" y="902"/>
                  </a:lnTo>
                  <a:lnTo>
                    <a:pt x="212" y="900"/>
                  </a:lnTo>
                  <a:lnTo>
                    <a:pt x="210" y="894"/>
                  </a:lnTo>
                  <a:lnTo>
                    <a:pt x="208" y="888"/>
                  </a:lnTo>
                  <a:lnTo>
                    <a:pt x="208" y="888"/>
                  </a:lnTo>
                  <a:lnTo>
                    <a:pt x="206" y="886"/>
                  </a:lnTo>
                  <a:lnTo>
                    <a:pt x="204" y="884"/>
                  </a:lnTo>
                  <a:lnTo>
                    <a:pt x="198" y="882"/>
                  </a:lnTo>
                  <a:lnTo>
                    <a:pt x="194" y="880"/>
                  </a:lnTo>
                  <a:lnTo>
                    <a:pt x="188" y="876"/>
                  </a:lnTo>
                  <a:lnTo>
                    <a:pt x="190" y="876"/>
                  </a:lnTo>
                  <a:lnTo>
                    <a:pt x="186" y="872"/>
                  </a:lnTo>
                  <a:lnTo>
                    <a:pt x="184" y="872"/>
                  </a:lnTo>
                  <a:lnTo>
                    <a:pt x="182" y="870"/>
                  </a:lnTo>
                  <a:lnTo>
                    <a:pt x="182" y="868"/>
                  </a:lnTo>
                  <a:lnTo>
                    <a:pt x="182" y="866"/>
                  </a:lnTo>
                  <a:lnTo>
                    <a:pt x="182" y="864"/>
                  </a:lnTo>
                  <a:lnTo>
                    <a:pt x="182" y="862"/>
                  </a:lnTo>
                  <a:lnTo>
                    <a:pt x="182" y="862"/>
                  </a:lnTo>
                  <a:lnTo>
                    <a:pt x="184" y="862"/>
                  </a:lnTo>
                  <a:lnTo>
                    <a:pt x="186" y="862"/>
                  </a:lnTo>
                  <a:lnTo>
                    <a:pt x="186" y="862"/>
                  </a:lnTo>
                  <a:lnTo>
                    <a:pt x="186" y="862"/>
                  </a:lnTo>
                  <a:lnTo>
                    <a:pt x="186" y="864"/>
                  </a:lnTo>
                  <a:lnTo>
                    <a:pt x="188" y="868"/>
                  </a:lnTo>
                  <a:lnTo>
                    <a:pt x="192" y="874"/>
                  </a:lnTo>
                  <a:lnTo>
                    <a:pt x="192" y="874"/>
                  </a:lnTo>
                  <a:lnTo>
                    <a:pt x="194" y="876"/>
                  </a:lnTo>
                  <a:lnTo>
                    <a:pt x="200" y="876"/>
                  </a:lnTo>
                  <a:lnTo>
                    <a:pt x="206" y="878"/>
                  </a:lnTo>
                  <a:lnTo>
                    <a:pt x="210" y="878"/>
                  </a:lnTo>
                  <a:lnTo>
                    <a:pt x="214" y="880"/>
                  </a:lnTo>
                  <a:lnTo>
                    <a:pt x="214" y="880"/>
                  </a:lnTo>
                  <a:lnTo>
                    <a:pt x="216" y="880"/>
                  </a:lnTo>
                  <a:lnTo>
                    <a:pt x="218" y="882"/>
                  </a:lnTo>
                  <a:lnTo>
                    <a:pt x="218" y="882"/>
                  </a:lnTo>
                  <a:lnTo>
                    <a:pt x="220" y="882"/>
                  </a:lnTo>
                  <a:lnTo>
                    <a:pt x="220" y="884"/>
                  </a:lnTo>
                  <a:lnTo>
                    <a:pt x="222" y="886"/>
                  </a:lnTo>
                  <a:lnTo>
                    <a:pt x="224" y="888"/>
                  </a:lnTo>
                  <a:lnTo>
                    <a:pt x="226" y="888"/>
                  </a:lnTo>
                  <a:lnTo>
                    <a:pt x="226" y="888"/>
                  </a:lnTo>
                  <a:lnTo>
                    <a:pt x="226" y="890"/>
                  </a:lnTo>
                  <a:lnTo>
                    <a:pt x="236" y="892"/>
                  </a:lnTo>
                  <a:lnTo>
                    <a:pt x="240" y="894"/>
                  </a:lnTo>
                  <a:lnTo>
                    <a:pt x="244" y="896"/>
                  </a:lnTo>
                  <a:lnTo>
                    <a:pt x="244" y="896"/>
                  </a:lnTo>
                  <a:lnTo>
                    <a:pt x="244" y="896"/>
                  </a:lnTo>
                  <a:lnTo>
                    <a:pt x="250" y="896"/>
                  </a:lnTo>
                  <a:lnTo>
                    <a:pt x="254" y="898"/>
                  </a:lnTo>
                  <a:lnTo>
                    <a:pt x="262" y="900"/>
                  </a:lnTo>
                  <a:lnTo>
                    <a:pt x="266" y="900"/>
                  </a:lnTo>
                  <a:lnTo>
                    <a:pt x="270" y="900"/>
                  </a:lnTo>
                  <a:lnTo>
                    <a:pt x="276" y="900"/>
                  </a:lnTo>
                  <a:lnTo>
                    <a:pt x="282" y="902"/>
                  </a:lnTo>
                  <a:lnTo>
                    <a:pt x="282" y="902"/>
                  </a:lnTo>
                  <a:lnTo>
                    <a:pt x="284" y="900"/>
                  </a:lnTo>
                  <a:lnTo>
                    <a:pt x="288" y="898"/>
                  </a:lnTo>
                  <a:lnTo>
                    <a:pt x="290" y="896"/>
                  </a:lnTo>
                  <a:lnTo>
                    <a:pt x="296" y="892"/>
                  </a:lnTo>
                  <a:lnTo>
                    <a:pt x="300" y="890"/>
                  </a:lnTo>
                  <a:lnTo>
                    <a:pt x="304" y="886"/>
                  </a:lnTo>
                  <a:lnTo>
                    <a:pt x="304" y="886"/>
                  </a:lnTo>
                  <a:lnTo>
                    <a:pt x="304" y="886"/>
                  </a:lnTo>
                  <a:lnTo>
                    <a:pt x="308" y="882"/>
                  </a:lnTo>
                  <a:lnTo>
                    <a:pt x="308" y="882"/>
                  </a:lnTo>
                  <a:lnTo>
                    <a:pt x="308" y="882"/>
                  </a:lnTo>
                  <a:lnTo>
                    <a:pt x="308" y="880"/>
                  </a:lnTo>
                  <a:lnTo>
                    <a:pt x="310" y="878"/>
                  </a:lnTo>
                  <a:lnTo>
                    <a:pt x="310" y="874"/>
                  </a:lnTo>
                  <a:lnTo>
                    <a:pt x="312" y="870"/>
                  </a:lnTo>
                  <a:lnTo>
                    <a:pt x="312" y="866"/>
                  </a:lnTo>
                  <a:lnTo>
                    <a:pt x="312" y="860"/>
                  </a:lnTo>
                  <a:lnTo>
                    <a:pt x="312" y="860"/>
                  </a:lnTo>
                  <a:lnTo>
                    <a:pt x="312" y="860"/>
                  </a:lnTo>
                  <a:lnTo>
                    <a:pt x="312" y="858"/>
                  </a:lnTo>
                  <a:lnTo>
                    <a:pt x="312" y="856"/>
                  </a:lnTo>
                  <a:lnTo>
                    <a:pt x="312" y="856"/>
                  </a:lnTo>
                  <a:lnTo>
                    <a:pt x="312" y="856"/>
                  </a:lnTo>
                  <a:lnTo>
                    <a:pt x="310" y="852"/>
                  </a:lnTo>
                  <a:lnTo>
                    <a:pt x="310" y="852"/>
                  </a:lnTo>
                  <a:lnTo>
                    <a:pt x="310" y="852"/>
                  </a:lnTo>
                  <a:lnTo>
                    <a:pt x="308" y="848"/>
                  </a:lnTo>
                  <a:lnTo>
                    <a:pt x="304" y="844"/>
                  </a:lnTo>
                  <a:lnTo>
                    <a:pt x="304" y="844"/>
                  </a:lnTo>
                  <a:lnTo>
                    <a:pt x="304" y="844"/>
                  </a:lnTo>
                  <a:lnTo>
                    <a:pt x="300" y="842"/>
                  </a:lnTo>
                  <a:lnTo>
                    <a:pt x="298" y="840"/>
                  </a:lnTo>
                  <a:lnTo>
                    <a:pt x="296" y="836"/>
                  </a:lnTo>
                  <a:lnTo>
                    <a:pt x="294" y="834"/>
                  </a:lnTo>
                  <a:lnTo>
                    <a:pt x="290" y="826"/>
                  </a:lnTo>
                  <a:lnTo>
                    <a:pt x="288" y="822"/>
                  </a:lnTo>
                  <a:lnTo>
                    <a:pt x="286" y="820"/>
                  </a:lnTo>
                  <a:lnTo>
                    <a:pt x="282" y="814"/>
                  </a:lnTo>
                  <a:lnTo>
                    <a:pt x="276" y="808"/>
                  </a:lnTo>
                  <a:lnTo>
                    <a:pt x="272" y="804"/>
                  </a:lnTo>
                  <a:lnTo>
                    <a:pt x="266" y="800"/>
                  </a:lnTo>
                  <a:lnTo>
                    <a:pt x="266" y="800"/>
                  </a:lnTo>
                  <a:lnTo>
                    <a:pt x="266" y="800"/>
                  </a:lnTo>
                  <a:lnTo>
                    <a:pt x="262" y="800"/>
                  </a:lnTo>
                  <a:lnTo>
                    <a:pt x="256" y="798"/>
                  </a:lnTo>
                  <a:lnTo>
                    <a:pt x="252" y="796"/>
                  </a:lnTo>
                  <a:lnTo>
                    <a:pt x="248" y="794"/>
                  </a:lnTo>
                  <a:lnTo>
                    <a:pt x="240" y="790"/>
                  </a:lnTo>
                  <a:lnTo>
                    <a:pt x="236" y="788"/>
                  </a:lnTo>
                  <a:lnTo>
                    <a:pt x="232" y="786"/>
                  </a:lnTo>
                  <a:lnTo>
                    <a:pt x="232" y="786"/>
                  </a:lnTo>
                  <a:lnTo>
                    <a:pt x="230" y="784"/>
                  </a:lnTo>
                  <a:lnTo>
                    <a:pt x="226" y="784"/>
                  </a:lnTo>
                  <a:lnTo>
                    <a:pt x="222" y="784"/>
                  </a:lnTo>
                  <a:lnTo>
                    <a:pt x="216" y="784"/>
                  </a:lnTo>
                  <a:lnTo>
                    <a:pt x="210" y="784"/>
                  </a:lnTo>
                  <a:lnTo>
                    <a:pt x="206" y="784"/>
                  </a:lnTo>
                  <a:lnTo>
                    <a:pt x="202" y="784"/>
                  </a:lnTo>
                  <a:lnTo>
                    <a:pt x="200" y="784"/>
                  </a:lnTo>
                  <a:lnTo>
                    <a:pt x="198" y="784"/>
                  </a:lnTo>
                  <a:lnTo>
                    <a:pt x="198" y="784"/>
                  </a:lnTo>
                  <a:lnTo>
                    <a:pt x="198" y="784"/>
                  </a:lnTo>
                  <a:lnTo>
                    <a:pt x="198" y="782"/>
                  </a:lnTo>
                  <a:lnTo>
                    <a:pt x="198" y="780"/>
                  </a:lnTo>
                  <a:lnTo>
                    <a:pt x="198" y="778"/>
                  </a:lnTo>
                  <a:lnTo>
                    <a:pt x="196" y="774"/>
                  </a:lnTo>
                  <a:lnTo>
                    <a:pt x="196" y="770"/>
                  </a:lnTo>
                  <a:lnTo>
                    <a:pt x="196" y="770"/>
                  </a:lnTo>
                  <a:lnTo>
                    <a:pt x="194" y="768"/>
                  </a:lnTo>
                  <a:lnTo>
                    <a:pt x="190" y="766"/>
                  </a:lnTo>
                  <a:lnTo>
                    <a:pt x="188" y="766"/>
                  </a:lnTo>
                  <a:lnTo>
                    <a:pt x="180" y="764"/>
                  </a:lnTo>
                  <a:lnTo>
                    <a:pt x="174" y="764"/>
                  </a:lnTo>
                  <a:lnTo>
                    <a:pt x="168" y="762"/>
                  </a:lnTo>
                  <a:lnTo>
                    <a:pt x="168" y="762"/>
                  </a:lnTo>
                  <a:lnTo>
                    <a:pt x="166" y="762"/>
                  </a:lnTo>
                  <a:lnTo>
                    <a:pt x="158" y="768"/>
                  </a:lnTo>
                  <a:lnTo>
                    <a:pt x="150" y="772"/>
                  </a:lnTo>
                  <a:lnTo>
                    <a:pt x="146" y="776"/>
                  </a:lnTo>
                  <a:lnTo>
                    <a:pt x="142" y="780"/>
                  </a:lnTo>
                  <a:lnTo>
                    <a:pt x="140" y="784"/>
                  </a:lnTo>
                  <a:lnTo>
                    <a:pt x="138" y="786"/>
                  </a:lnTo>
                  <a:lnTo>
                    <a:pt x="136" y="788"/>
                  </a:lnTo>
                  <a:lnTo>
                    <a:pt x="134" y="790"/>
                  </a:lnTo>
                  <a:lnTo>
                    <a:pt x="130" y="792"/>
                  </a:lnTo>
                  <a:lnTo>
                    <a:pt x="128" y="794"/>
                  </a:lnTo>
                  <a:lnTo>
                    <a:pt x="126" y="796"/>
                  </a:lnTo>
                  <a:lnTo>
                    <a:pt x="126" y="796"/>
                  </a:lnTo>
                  <a:lnTo>
                    <a:pt x="126" y="796"/>
                  </a:lnTo>
                  <a:lnTo>
                    <a:pt x="124" y="798"/>
                  </a:lnTo>
                  <a:lnTo>
                    <a:pt x="124" y="798"/>
                  </a:lnTo>
                  <a:lnTo>
                    <a:pt x="124" y="798"/>
                  </a:lnTo>
                  <a:lnTo>
                    <a:pt x="124" y="800"/>
                  </a:lnTo>
                  <a:lnTo>
                    <a:pt x="124" y="800"/>
                  </a:lnTo>
                  <a:lnTo>
                    <a:pt x="124" y="800"/>
                  </a:lnTo>
                  <a:lnTo>
                    <a:pt x="124" y="802"/>
                  </a:lnTo>
                  <a:lnTo>
                    <a:pt x="124" y="802"/>
                  </a:lnTo>
                  <a:lnTo>
                    <a:pt x="126" y="804"/>
                  </a:lnTo>
                  <a:lnTo>
                    <a:pt x="126" y="806"/>
                  </a:lnTo>
                  <a:lnTo>
                    <a:pt x="128" y="808"/>
                  </a:lnTo>
                  <a:lnTo>
                    <a:pt x="130" y="810"/>
                  </a:lnTo>
                  <a:lnTo>
                    <a:pt x="132" y="814"/>
                  </a:lnTo>
                  <a:lnTo>
                    <a:pt x="134" y="816"/>
                  </a:lnTo>
                  <a:lnTo>
                    <a:pt x="136" y="816"/>
                  </a:lnTo>
                  <a:lnTo>
                    <a:pt x="136" y="818"/>
                  </a:lnTo>
                  <a:lnTo>
                    <a:pt x="136" y="818"/>
                  </a:lnTo>
                  <a:lnTo>
                    <a:pt x="136" y="818"/>
                  </a:lnTo>
                  <a:lnTo>
                    <a:pt x="136" y="820"/>
                  </a:lnTo>
                  <a:lnTo>
                    <a:pt x="136" y="820"/>
                  </a:lnTo>
                  <a:lnTo>
                    <a:pt x="136" y="820"/>
                  </a:lnTo>
                  <a:lnTo>
                    <a:pt x="136" y="822"/>
                  </a:lnTo>
                  <a:lnTo>
                    <a:pt x="136" y="822"/>
                  </a:lnTo>
                  <a:lnTo>
                    <a:pt x="136" y="824"/>
                  </a:lnTo>
                  <a:lnTo>
                    <a:pt x="136" y="824"/>
                  </a:lnTo>
                  <a:lnTo>
                    <a:pt x="136" y="826"/>
                  </a:lnTo>
                  <a:lnTo>
                    <a:pt x="136" y="826"/>
                  </a:lnTo>
                  <a:lnTo>
                    <a:pt x="138" y="826"/>
                  </a:lnTo>
                  <a:lnTo>
                    <a:pt x="138" y="828"/>
                  </a:lnTo>
                  <a:lnTo>
                    <a:pt x="138" y="832"/>
                  </a:lnTo>
                  <a:lnTo>
                    <a:pt x="142" y="838"/>
                  </a:lnTo>
                  <a:lnTo>
                    <a:pt x="144" y="840"/>
                  </a:lnTo>
                  <a:lnTo>
                    <a:pt x="144" y="844"/>
                  </a:lnTo>
                  <a:lnTo>
                    <a:pt x="144" y="846"/>
                  </a:lnTo>
                  <a:lnTo>
                    <a:pt x="144" y="848"/>
                  </a:lnTo>
                  <a:lnTo>
                    <a:pt x="142" y="850"/>
                  </a:lnTo>
                  <a:lnTo>
                    <a:pt x="142" y="854"/>
                  </a:lnTo>
                  <a:lnTo>
                    <a:pt x="140" y="856"/>
                  </a:lnTo>
                  <a:lnTo>
                    <a:pt x="140" y="860"/>
                  </a:lnTo>
                  <a:lnTo>
                    <a:pt x="140" y="860"/>
                  </a:lnTo>
                  <a:lnTo>
                    <a:pt x="140" y="860"/>
                  </a:lnTo>
                  <a:lnTo>
                    <a:pt x="138" y="862"/>
                  </a:lnTo>
                  <a:lnTo>
                    <a:pt x="138" y="866"/>
                  </a:lnTo>
                  <a:lnTo>
                    <a:pt x="140" y="870"/>
                  </a:lnTo>
                  <a:lnTo>
                    <a:pt x="140" y="872"/>
                  </a:lnTo>
                  <a:lnTo>
                    <a:pt x="140" y="872"/>
                  </a:lnTo>
                  <a:lnTo>
                    <a:pt x="140" y="874"/>
                  </a:lnTo>
                  <a:lnTo>
                    <a:pt x="142" y="878"/>
                  </a:lnTo>
                  <a:lnTo>
                    <a:pt x="144" y="880"/>
                  </a:lnTo>
                  <a:lnTo>
                    <a:pt x="144" y="884"/>
                  </a:lnTo>
                  <a:lnTo>
                    <a:pt x="146" y="888"/>
                  </a:lnTo>
                  <a:lnTo>
                    <a:pt x="148" y="896"/>
                  </a:lnTo>
                  <a:lnTo>
                    <a:pt x="148" y="906"/>
                  </a:lnTo>
                  <a:lnTo>
                    <a:pt x="150" y="908"/>
                  </a:lnTo>
                  <a:lnTo>
                    <a:pt x="150" y="910"/>
                  </a:lnTo>
                  <a:lnTo>
                    <a:pt x="152" y="914"/>
                  </a:lnTo>
                  <a:lnTo>
                    <a:pt x="152" y="914"/>
                  </a:lnTo>
                  <a:lnTo>
                    <a:pt x="152" y="916"/>
                  </a:lnTo>
                  <a:lnTo>
                    <a:pt x="154" y="920"/>
                  </a:lnTo>
                  <a:lnTo>
                    <a:pt x="154" y="922"/>
                  </a:lnTo>
                  <a:lnTo>
                    <a:pt x="154" y="928"/>
                  </a:lnTo>
                  <a:lnTo>
                    <a:pt x="152" y="932"/>
                  </a:lnTo>
                  <a:lnTo>
                    <a:pt x="152" y="940"/>
                  </a:lnTo>
                  <a:lnTo>
                    <a:pt x="150" y="946"/>
                  </a:lnTo>
                  <a:lnTo>
                    <a:pt x="150" y="954"/>
                  </a:lnTo>
                  <a:lnTo>
                    <a:pt x="148" y="960"/>
                  </a:lnTo>
                  <a:lnTo>
                    <a:pt x="148" y="968"/>
                  </a:lnTo>
                  <a:lnTo>
                    <a:pt x="148" y="972"/>
                  </a:lnTo>
                  <a:lnTo>
                    <a:pt x="148" y="972"/>
                  </a:lnTo>
                  <a:lnTo>
                    <a:pt x="148" y="974"/>
                  </a:lnTo>
                  <a:lnTo>
                    <a:pt x="152" y="978"/>
                  </a:lnTo>
                  <a:lnTo>
                    <a:pt x="154" y="982"/>
                  </a:lnTo>
                  <a:lnTo>
                    <a:pt x="158" y="990"/>
                  </a:lnTo>
                  <a:lnTo>
                    <a:pt x="160" y="994"/>
                  </a:lnTo>
                  <a:lnTo>
                    <a:pt x="162" y="996"/>
                  </a:lnTo>
                  <a:lnTo>
                    <a:pt x="164" y="1000"/>
                  </a:lnTo>
                  <a:lnTo>
                    <a:pt x="166" y="1004"/>
                  </a:lnTo>
                  <a:lnTo>
                    <a:pt x="164" y="1010"/>
                  </a:lnTo>
                  <a:lnTo>
                    <a:pt x="164" y="1010"/>
                  </a:lnTo>
                  <a:lnTo>
                    <a:pt x="164" y="1010"/>
                  </a:lnTo>
                  <a:lnTo>
                    <a:pt x="164" y="1016"/>
                  </a:lnTo>
                  <a:lnTo>
                    <a:pt x="162" y="1022"/>
                  </a:lnTo>
                  <a:lnTo>
                    <a:pt x="162" y="1026"/>
                  </a:lnTo>
                  <a:lnTo>
                    <a:pt x="162" y="1028"/>
                  </a:lnTo>
                  <a:lnTo>
                    <a:pt x="160" y="1028"/>
                  </a:lnTo>
                  <a:lnTo>
                    <a:pt x="160" y="1028"/>
                  </a:lnTo>
                  <a:lnTo>
                    <a:pt x="158" y="1028"/>
                  </a:lnTo>
                  <a:lnTo>
                    <a:pt x="156" y="1030"/>
                  </a:lnTo>
                  <a:lnTo>
                    <a:pt x="156" y="1030"/>
                  </a:lnTo>
                  <a:lnTo>
                    <a:pt x="156" y="1030"/>
                  </a:lnTo>
                  <a:lnTo>
                    <a:pt x="154" y="1030"/>
                  </a:lnTo>
                  <a:lnTo>
                    <a:pt x="154" y="1030"/>
                  </a:lnTo>
                  <a:lnTo>
                    <a:pt x="154" y="1030"/>
                  </a:lnTo>
                  <a:lnTo>
                    <a:pt x="152" y="1032"/>
                  </a:lnTo>
                  <a:lnTo>
                    <a:pt x="152" y="1032"/>
                  </a:lnTo>
                  <a:lnTo>
                    <a:pt x="152" y="1032"/>
                  </a:lnTo>
                  <a:lnTo>
                    <a:pt x="150" y="1036"/>
                  </a:lnTo>
                  <a:lnTo>
                    <a:pt x="150" y="1036"/>
                  </a:lnTo>
                  <a:lnTo>
                    <a:pt x="150" y="1036"/>
                  </a:lnTo>
                  <a:lnTo>
                    <a:pt x="150" y="1040"/>
                  </a:lnTo>
                  <a:lnTo>
                    <a:pt x="150" y="1044"/>
                  </a:lnTo>
                  <a:lnTo>
                    <a:pt x="150" y="1044"/>
                  </a:lnTo>
                  <a:lnTo>
                    <a:pt x="150" y="1046"/>
                  </a:lnTo>
                  <a:lnTo>
                    <a:pt x="146" y="1048"/>
                  </a:lnTo>
                  <a:lnTo>
                    <a:pt x="142" y="1052"/>
                  </a:lnTo>
                  <a:lnTo>
                    <a:pt x="142" y="1052"/>
                  </a:lnTo>
                  <a:lnTo>
                    <a:pt x="142" y="1052"/>
                  </a:lnTo>
                  <a:lnTo>
                    <a:pt x="140" y="1056"/>
                  </a:lnTo>
                  <a:lnTo>
                    <a:pt x="140" y="1056"/>
                  </a:lnTo>
                  <a:lnTo>
                    <a:pt x="140" y="1056"/>
                  </a:lnTo>
                  <a:lnTo>
                    <a:pt x="138" y="1060"/>
                  </a:lnTo>
                  <a:lnTo>
                    <a:pt x="136" y="1062"/>
                  </a:lnTo>
                  <a:lnTo>
                    <a:pt x="134" y="1064"/>
                  </a:lnTo>
                  <a:lnTo>
                    <a:pt x="132" y="1066"/>
                  </a:lnTo>
                  <a:lnTo>
                    <a:pt x="130" y="1066"/>
                  </a:lnTo>
                  <a:lnTo>
                    <a:pt x="130" y="1066"/>
                  </a:lnTo>
                  <a:lnTo>
                    <a:pt x="130" y="1068"/>
                  </a:lnTo>
                  <a:lnTo>
                    <a:pt x="130" y="1070"/>
                  </a:lnTo>
                  <a:lnTo>
                    <a:pt x="130" y="1070"/>
                  </a:lnTo>
                  <a:lnTo>
                    <a:pt x="128" y="1072"/>
                  </a:lnTo>
                  <a:lnTo>
                    <a:pt x="128" y="1074"/>
                  </a:lnTo>
                  <a:lnTo>
                    <a:pt x="128" y="1074"/>
                  </a:lnTo>
                  <a:lnTo>
                    <a:pt x="128" y="1074"/>
                  </a:lnTo>
                  <a:lnTo>
                    <a:pt x="130" y="1078"/>
                  </a:lnTo>
                  <a:lnTo>
                    <a:pt x="130" y="1078"/>
                  </a:lnTo>
                  <a:lnTo>
                    <a:pt x="130" y="1078"/>
                  </a:lnTo>
                  <a:lnTo>
                    <a:pt x="132" y="1080"/>
                  </a:lnTo>
                  <a:lnTo>
                    <a:pt x="134" y="1084"/>
                  </a:lnTo>
                  <a:lnTo>
                    <a:pt x="136" y="1086"/>
                  </a:lnTo>
                  <a:lnTo>
                    <a:pt x="136" y="1086"/>
                  </a:lnTo>
                  <a:lnTo>
                    <a:pt x="136" y="1088"/>
                  </a:lnTo>
                  <a:lnTo>
                    <a:pt x="140" y="1090"/>
                  </a:lnTo>
                  <a:lnTo>
                    <a:pt x="142" y="1092"/>
                  </a:lnTo>
                  <a:lnTo>
                    <a:pt x="144" y="1096"/>
                  </a:lnTo>
                  <a:lnTo>
                    <a:pt x="146" y="1098"/>
                  </a:lnTo>
                  <a:lnTo>
                    <a:pt x="142" y="1096"/>
                  </a:lnTo>
                  <a:lnTo>
                    <a:pt x="138" y="1098"/>
                  </a:lnTo>
                  <a:lnTo>
                    <a:pt x="136" y="1098"/>
                  </a:lnTo>
                  <a:lnTo>
                    <a:pt x="136" y="1098"/>
                  </a:lnTo>
                  <a:lnTo>
                    <a:pt x="136" y="1098"/>
                  </a:lnTo>
                  <a:lnTo>
                    <a:pt x="134" y="1098"/>
                  </a:lnTo>
                  <a:lnTo>
                    <a:pt x="134" y="1098"/>
                  </a:lnTo>
                  <a:lnTo>
                    <a:pt x="132" y="1098"/>
                  </a:lnTo>
                  <a:lnTo>
                    <a:pt x="130" y="1100"/>
                  </a:lnTo>
                  <a:lnTo>
                    <a:pt x="130" y="1100"/>
                  </a:lnTo>
                  <a:lnTo>
                    <a:pt x="130" y="1100"/>
                  </a:lnTo>
                  <a:lnTo>
                    <a:pt x="128" y="1102"/>
                  </a:lnTo>
                  <a:lnTo>
                    <a:pt x="128" y="1102"/>
                  </a:lnTo>
                  <a:lnTo>
                    <a:pt x="128" y="1104"/>
                  </a:lnTo>
                  <a:lnTo>
                    <a:pt x="128" y="1106"/>
                  </a:lnTo>
                  <a:lnTo>
                    <a:pt x="126" y="1106"/>
                  </a:lnTo>
                  <a:lnTo>
                    <a:pt x="126" y="1106"/>
                  </a:lnTo>
                  <a:lnTo>
                    <a:pt x="126" y="1108"/>
                  </a:lnTo>
                  <a:lnTo>
                    <a:pt x="126" y="1108"/>
                  </a:lnTo>
                  <a:lnTo>
                    <a:pt x="126" y="1108"/>
                  </a:lnTo>
                  <a:lnTo>
                    <a:pt x="126" y="1110"/>
                  </a:lnTo>
                  <a:lnTo>
                    <a:pt x="124" y="1114"/>
                  </a:lnTo>
                  <a:lnTo>
                    <a:pt x="124" y="1118"/>
                  </a:lnTo>
                  <a:lnTo>
                    <a:pt x="124" y="1120"/>
                  </a:lnTo>
                  <a:lnTo>
                    <a:pt x="124" y="1122"/>
                  </a:lnTo>
                  <a:lnTo>
                    <a:pt x="122" y="1126"/>
                  </a:lnTo>
                  <a:lnTo>
                    <a:pt x="122" y="1130"/>
                  </a:lnTo>
                  <a:lnTo>
                    <a:pt x="122" y="1130"/>
                  </a:lnTo>
                  <a:lnTo>
                    <a:pt x="120" y="1132"/>
                  </a:lnTo>
                  <a:lnTo>
                    <a:pt x="120" y="1134"/>
                  </a:lnTo>
                  <a:lnTo>
                    <a:pt x="120" y="1136"/>
                  </a:lnTo>
                  <a:lnTo>
                    <a:pt x="120" y="1138"/>
                  </a:lnTo>
                  <a:lnTo>
                    <a:pt x="120" y="1138"/>
                  </a:lnTo>
                  <a:lnTo>
                    <a:pt x="120" y="1142"/>
                  </a:lnTo>
                  <a:lnTo>
                    <a:pt x="120" y="1144"/>
                  </a:lnTo>
                  <a:lnTo>
                    <a:pt x="118" y="1148"/>
                  </a:lnTo>
                  <a:lnTo>
                    <a:pt x="118" y="1148"/>
                  </a:lnTo>
                  <a:lnTo>
                    <a:pt x="120" y="1148"/>
                  </a:lnTo>
                  <a:lnTo>
                    <a:pt x="120" y="1150"/>
                  </a:lnTo>
                  <a:lnTo>
                    <a:pt x="120" y="1150"/>
                  </a:lnTo>
                  <a:lnTo>
                    <a:pt x="120" y="1152"/>
                  </a:lnTo>
                  <a:lnTo>
                    <a:pt x="120" y="1152"/>
                  </a:lnTo>
                  <a:lnTo>
                    <a:pt x="120" y="1152"/>
                  </a:lnTo>
                  <a:lnTo>
                    <a:pt x="122" y="1152"/>
                  </a:lnTo>
                  <a:lnTo>
                    <a:pt x="122" y="1152"/>
                  </a:lnTo>
                  <a:lnTo>
                    <a:pt x="122" y="1152"/>
                  </a:lnTo>
                  <a:lnTo>
                    <a:pt x="124" y="1154"/>
                  </a:lnTo>
                  <a:lnTo>
                    <a:pt x="124" y="1154"/>
                  </a:lnTo>
                  <a:lnTo>
                    <a:pt x="124" y="1154"/>
                  </a:lnTo>
                  <a:lnTo>
                    <a:pt x="124" y="1154"/>
                  </a:lnTo>
                  <a:lnTo>
                    <a:pt x="124" y="1154"/>
                  </a:lnTo>
                  <a:lnTo>
                    <a:pt x="126" y="1156"/>
                  </a:lnTo>
                  <a:lnTo>
                    <a:pt x="126" y="1156"/>
                  </a:lnTo>
                  <a:lnTo>
                    <a:pt x="126" y="1156"/>
                  </a:lnTo>
                  <a:lnTo>
                    <a:pt x="128" y="1158"/>
                  </a:lnTo>
                  <a:lnTo>
                    <a:pt x="128" y="1158"/>
                  </a:lnTo>
                  <a:lnTo>
                    <a:pt x="128" y="1158"/>
                  </a:lnTo>
                  <a:lnTo>
                    <a:pt x="130" y="1160"/>
                  </a:lnTo>
                  <a:lnTo>
                    <a:pt x="130" y="1160"/>
                  </a:lnTo>
                  <a:lnTo>
                    <a:pt x="130" y="1160"/>
                  </a:lnTo>
                  <a:lnTo>
                    <a:pt x="128" y="1162"/>
                  </a:lnTo>
                  <a:lnTo>
                    <a:pt x="128" y="1164"/>
                  </a:lnTo>
                  <a:lnTo>
                    <a:pt x="128" y="1168"/>
                  </a:lnTo>
                  <a:lnTo>
                    <a:pt x="126" y="1170"/>
                  </a:lnTo>
                  <a:lnTo>
                    <a:pt x="126" y="1174"/>
                  </a:lnTo>
                  <a:lnTo>
                    <a:pt x="124" y="1178"/>
                  </a:lnTo>
                  <a:lnTo>
                    <a:pt x="124" y="1182"/>
                  </a:lnTo>
                  <a:lnTo>
                    <a:pt x="124" y="1184"/>
                  </a:lnTo>
                  <a:lnTo>
                    <a:pt x="124" y="1184"/>
                  </a:lnTo>
                  <a:lnTo>
                    <a:pt x="124" y="1186"/>
                  </a:lnTo>
                  <a:lnTo>
                    <a:pt x="124" y="1188"/>
                  </a:lnTo>
                  <a:lnTo>
                    <a:pt x="124" y="1188"/>
                  </a:lnTo>
                  <a:lnTo>
                    <a:pt x="124" y="1188"/>
                  </a:lnTo>
                  <a:lnTo>
                    <a:pt x="126" y="1190"/>
                  </a:lnTo>
                  <a:lnTo>
                    <a:pt x="126" y="1190"/>
                  </a:lnTo>
                  <a:lnTo>
                    <a:pt x="126" y="1192"/>
                  </a:lnTo>
                  <a:lnTo>
                    <a:pt x="128" y="1194"/>
                  </a:lnTo>
                  <a:lnTo>
                    <a:pt x="128" y="1194"/>
                  </a:lnTo>
                  <a:lnTo>
                    <a:pt x="128" y="1194"/>
                  </a:lnTo>
                  <a:lnTo>
                    <a:pt x="132" y="1196"/>
                  </a:lnTo>
                  <a:lnTo>
                    <a:pt x="136" y="1198"/>
                  </a:lnTo>
                  <a:lnTo>
                    <a:pt x="140" y="1202"/>
                  </a:lnTo>
                  <a:lnTo>
                    <a:pt x="144" y="1204"/>
                  </a:lnTo>
                  <a:lnTo>
                    <a:pt x="146" y="1208"/>
                  </a:lnTo>
                  <a:lnTo>
                    <a:pt x="150" y="1210"/>
                  </a:lnTo>
                  <a:lnTo>
                    <a:pt x="152" y="1214"/>
                  </a:lnTo>
                  <a:lnTo>
                    <a:pt x="152" y="1214"/>
                  </a:lnTo>
                  <a:lnTo>
                    <a:pt x="152" y="1214"/>
                  </a:lnTo>
                  <a:lnTo>
                    <a:pt x="154" y="1216"/>
                  </a:lnTo>
                  <a:lnTo>
                    <a:pt x="156" y="1216"/>
                  </a:lnTo>
                  <a:lnTo>
                    <a:pt x="156" y="1218"/>
                  </a:lnTo>
                  <a:lnTo>
                    <a:pt x="158" y="1218"/>
                  </a:lnTo>
                  <a:lnTo>
                    <a:pt x="158" y="1218"/>
                  </a:lnTo>
                  <a:lnTo>
                    <a:pt x="158" y="1220"/>
                  </a:lnTo>
                  <a:lnTo>
                    <a:pt x="160" y="1224"/>
                  </a:lnTo>
                  <a:lnTo>
                    <a:pt x="162" y="1228"/>
                  </a:lnTo>
                  <a:lnTo>
                    <a:pt x="164" y="1232"/>
                  </a:lnTo>
                  <a:lnTo>
                    <a:pt x="166" y="1236"/>
                  </a:lnTo>
                  <a:lnTo>
                    <a:pt x="166" y="1242"/>
                  </a:lnTo>
                  <a:lnTo>
                    <a:pt x="166" y="1246"/>
                  </a:lnTo>
                  <a:lnTo>
                    <a:pt x="166" y="1252"/>
                  </a:lnTo>
                  <a:lnTo>
                    <a:pt x="166" y="1256"/>
                  </a:lnTo>
                  <a:lnTo>
                    <a:pt x="166" y="1260"/>
                  </a:lnTo>
                  <a:lnTo>
                    <a:pt x="166" y="1260"/>
                  </a:lnTo>
                  <a:lnTo>
                    <a:pt x="166" y="1260"/>
                  </a:lnTo>
                  <a:lnTo>
                    <a:pt x="166" y="1262"/>
                  </a:lnTo>
                  <a:lnTo>
                    <a:pt x="166" y="1264"/>
                  </a:lnTo>
                  <a:lnTo>
                    <a:pt x="166" y="1266"/>
                  </a:lnTo>
                  <a:lnTo>
                    <a:pt x="168" y="1268"/>
                  </a:lnTo>
                  <a:lnTo>
                    <a:pt x="170" y="1272"/>
                  </a:lnTo>
                  <a:lnTo>
                    <a:pt x="170" y="1274"/>
                  </a:lnTo>
                  <a:lnTo>
                    <a:pt x="170" y="1274"/>
                  </a:lnTo>
                  <a:lnTo>
                    <a:pt x="170" y="1276"/>
                  </a:lnTo>
                  <a:lnTo>
                    <a:pt x="168" y="1278"/>
                  </a:lnTo>
                  <a:lnTo>
                    <a:pt x="168" y="1278"/>
                  </a:lnTo>
                  <a:lnTo>
                    <a:pt x="166" y="1280"/>
                  </a:lnTo>
                  <a:lnTo>
                    <a:pt x="164" y="1282"/>
                  </a:lnTo>
                  <a:lnTo>
                    <a:pt x="164" y="1282"/>
                  </a:lnTo>
                  <a:lnTo>
                    <a:pt x="164" y="1284"/>
                  </a:lnTo>
                  <a:lnTo>
                    <a:pt x="164" y="1286"/>
                  </a:lnTo>
                  <a:lnTo>
                    <a:pt x="164" y="1286"/>
                  </a:lnTo>
                  <a:lnTo>
                    <a:pt x="164" y="1286"/>
                  </a:lnTo>
                  <a:lnTo>
                    <a:pt x="164" y="1288"/>
                  </a:lnTo>
                  <a:lnTo>
                    <a:pt x="164" y="1288"/>
                  </a:lnTo>
                  <a:lnTo>
                    <a:pt x="164" y="1290"/>
                  </a:lnTo>
                  <a:lnTo>
                    <a:pt x="164" y="1290"/>
                  </a:lnTo>
                  <a:lnTo>
                    <a:pt x="164" y="1290"/>
                  </a:lnTo>
                  <a:lnTo>
                    <a:pt x="166" y="1292"/>
                  </a:lnTo>
                  <a:lnTo>
                    <a:pt x="166" y="1292"/>
                  </a:lnTo>
                  <a:lnTo>
                    <a:pt x="166" y="1292"/>
                  </a:lnTo>
                  <a:lnTo>
                    <a:pt x="168" y="1294"/>
                  </a:lnTo>
                  <a:lnTo>
                    <a:pt x="168" y="1294"/>
                  </a:lnTo>
                  <a:lnTo>
                    <a:pt x="168" y="1294"/>
                  </a:lnTo>
                  <a:lnTo>
                    <a:pt x="168" y="1294"/>
                  </a:lnTo>
                  <a:lnTo>
                    <a:pt x="170" y="1294"/>
                  </a:lnTo>
                  <a:lnTo>
                    <a:pt x="176" y="1294"/>
                  </a:lnTo>
                  <a:lnTo>
                    <a:pt x="180" y="1294"/>
                  </a:lnTo>
                  <a:lnTo>
                    <a:pt x="186" y="1294"/>
                  </a:lnTo>
                  <a:lnTo>
                    <a:pt x="192" y="1294"/>
                  </a:lnTo>
                  <a:lnTo>
                    <a:pt x="198" y="1294"/>
                  </a:lnTo>
                  <a:lnTo>
                    <a:pt x="202" y="1294"/>
                  </a:lnTo>
                  <a:lnTo>
                    <a:pt x="204" y="1294"/>
                  </a:lnTo>
                  <a:lnTo>
                    <a:pt x="206" y="1296"/>
                  </a:lnTo>
                  <a:lnTo>
                    <a:pt x="208" y="1296"/>
                  </a:lnTo>
                  <a:lnTo>
                    <a:pt x="208" y="1298"/>
                  </a:lnTo>
                  <a:lnTo>
                    <a:pt x="210" y="1298"/>
                  </a:lnTo>
                  <a:lnTo>
                    <a:pt x="210" y="1300"/>
                  </a:lnTo>
                  <a:lnTo>
                    <a:pt x="210" y="1304"/>
                  </a:lnTo>
                  <a:lnTo>
                    <a:pt x="212" y="1306"/>
                  </a:lnTo>
                  <a:lnTo>
                    <a:pt x="212" y="1306"/>
                  </a:lnTo>
                  <a:lnTo>
                    <a:pt x="212" y="1306"/>
                  </a:lnTo>
                  <a:lnTo>
                    <a:pt x="212" y="1308"/>
                  </a:lnTo>
                  <a:lnTo>
                    <a:pt x="212" y="1308"/>
                  </a:lnTo>
                  <a:lnTo>
                    <a:pt x="212" y="1308"/>
                  </a:lnTo>
                  <a:lnTo>
                    <a:pt x="214" y="1310"/>
                  </a:lnTo>
                  <a:lnTo>
                    <a:pt x="214" y="1310"/>
                  </a:lnTo>
                  <a:lnTo>
                    <a:pt x="214" y="1310"/>
                  </a:lnTo>
                  <a:lnTo>
                    <a:pt x="216" y="1312"/>
                  </a:lnTo>
                  <a:lnTo>
                    <a:pt x="216" y="1312"/>
                  </a:lnTo>
                  <a:lnTo>
                    <a:pt x="216" y="1312"/>
                  </a:lnTo>
                  <a:lnTo>
                    <a:pt x="220" y="1314"/>
                  </a:lnTo>
                  <a:lnTo>
                    <a:pt x="222" y="1316"/>
                  </a:lnTo>
                  <a:lnTo>
                    <a:pt x="224" y="1318"/>
                  </a:lnTo>
                  <a:lnTo>
                    <a:pt x="226" y="1318"/>
                  </a:lnTo>
                  <a:lnTo>
                    <a:pt x="226" y="1318"/>
                  </a:lnTo>
                  <a:lnTo>
                    <a:pt x="226" y="1320"/>
                  </a:lnTo>
                  <a:lnTo>
                    <a:pt x="230" y="1322"/>
                  </a:lnTo>
                  <a:lnTo>
                    <a:pt x="234" y="1326"/>
                  </a:lnTo>
                  <a:lnTo>
                    <a:pt x="238" y="1330"/>
                  </a:lnTo>
                  <a:lnTo>
                    <a:pt x="242" y="1332"/>
                  </a:lnTo>
                  <a:lnTo>
                    <a:pt x="242" y="1332"/>
                  </a:lnTo>
                  <a:lnTo>
                    <a:pt x="244" y="1334"/>
                  </a:lnTo>
                  <a:lnTo>
                    <a:pt x="244" y="1334"/>
                  </a:lnTo>
                  <a:lnTo>
                    <a:pt x="246" y="1334"/>
                  </a:lnTo>
                  <a:lnTo>
                    <a:pt x="248" y="1334"/>
                  </a:lnTo>
                  <a:lnTo>
                    <a:pt x="250" y="1334"/>
                  </a:lnTo>
                  <a:lnTo>
                    <a:pt x="256" y="1336"/>
                  </a:lnTo>
                  <a:lnTo>
                    <a:pt x="258" y="1338"/>
                  </a:lnTo>
                  <a:lnTo>
                    <a:pt x="260" y="1338"/>
                  </a:lnTo>
                  <a:lnTo>
                    <a:pt x="262" y="1340"/>
                  </a:lnTo>
                  <a:lnTo>
                    <a:pt x="262" y="1340"/>
                  </a:lnTo>
                  <a:lnTo>
                    <a:pt x="264" y="1340"/>
                  </a:lnTo>
                  <a:lnTo>
                    <a:pt x="266" y="1340"/>
                  </a:lnTo>
                  <a:lnTo>
                    <a:pt x="266" y="1340"/>
                  </a:lnTo>
                  <a:lnTo>
                    <a:pt x="266" y="1342"/>
                  </a:lnTo>
                  <a:lnTo>
                    <a:pt x="268" y="1342"/>
                  </a:lnTo>
                  <a:lnTo>
                    <a:pt x="268" y="1342"/>
                  </a:lnTo>
                  <a:lnTo>
                    <a:pt x="268" y="1342"/>
                  </a:lnTo>
                  <a:lnTo>
                    <a:pt x="270" y="1340"/>
                  </a:lnTo>
                  <a:lnTo>
                    <a:pt x="272" y="1340"/>
                  </a:lnTo>
                  <a:lnTo>
                    <a:pt x="272" y="1340"/>
                  </a:lnTo>
                  <a:lnTo>
                    <a:pt x="274" y="1340"/>
                  </a:lnTo>
                  <a:lnTo>
                    <a:pt x="276" y="1340"/>
                  </a:lnTo>
                  <a:lnTo>
                    <a:pt x="280" y="1342"/>
                  </a:lnTo>
                  <a:lnTo>
                    <a:pt x="284" y="1344"/>
                  </a:lnTo>
                  <a:lnTo>
                    <a:pt x="290" y="1346"/>
                  </a:lnTo>
                  <a:lnTo>
                    <a:pt x="294" y="1348"/>
                  </a:lnTo>
                  <a:lnTo>
                    <a:pt x="294" y="1348"/>
                  </a:lnTo>
                  <a:lnTo>
                    <a:pt x="294" y="1350"/>
                  </a:lnTo>
                  <a:lnTo>
                    <a:pt x="296" y="1352"/>
                  </a:lnTo>
                  <a:lnTo>
                    <a:pt x="298" y="1354"/>
                  </a:lnTo>
                  <a:lnTo>
                    <a:pt x="298" y="1358"/>
                  </a:lnTo>
                  <a:lnTo>
                    <a:pt x="298" y="1358"/>
                  </a:lnTo>
                  <a:lnTo>
                    <a:pt x="298" y="1362"/>
                  </a:lnTo>
                  <a:lnTo>
                    <a:pt x="296" y="1364"/>
                  </a:lnTo>
                  <a:lnTo>
                    <a:pt x="296" y="1368"/>
                  </a:lnTo>
                  <a:lnTo>
                    <a:pt x="292" y="1376"/>
                  </a:lnTo>
                  <a:lnTo>
                    <a:pt x="292" y="1380"/>
                  </a:lnTo>
                  <a:lnTo>
                    <a:pt x="290" y="1382"/>
                  </a:lnTo>
                  <a:lnTo>
                    <a:pt x="288" y="1386"/>
                  </a:lnTo>
                  <a:lnTo>
                    <a:pt x="284" y="1390"/>
                  </a:lnTo>
                  <a:lnTo>
                    <a:pt x="282" y="1394"/>
                  </a:lnTo>
                  <a:lnTo>
                    <a:pt x="280" y="1394"/>
                  </a:lnTo>
                  <a:lnTo>
                    <a:pt x="280" y="1394"/>
                  </a:lnTo>
                  <a:lnTo>
                    <a:pt x="278" y="1396"/>
                  </a:lnTo>
                  <a:lnTo>
                    <a:pt x="278" y="1394"/>
                  </a:lnTo>
                  <a:lnTo>
                    <a:pt x="274" y="1394"/>
                  </a:lnTo>
                  <a:lnTo>
                    <a:pt x="274" y="1394"/>
                  </a:lnTo>
                  <a:lnTo>
                    <a:pt x="274" y="1394"/>
                  </a:lnTo>
                  <a:lnTo>
                    <a:pt x="272" y="1394"/>
                  </a:lnTo>
                  <a:lnTo>
                    <a:pt x="272" y="1392"/>
                  </a:lnTo>
                  <a:lnTo>
                    <a:pt x="272" y="1392"/>
                  </a:lnTo>
                  <a:lnTo>
                    <a:pt x="270" y="1394"/>
                  </a:lnTo>
                  <a:lnTo>
                    <a:pt x="270" y="1394"/>
                  </a:lnTo>
                  <a:lnTo>
                    <a:pt x="270" y="1394"/>
                  </a:lnTo>
                  <a:lnTo>
                    <a:pt x="268" y="1396"/>
                  </a:lnTo>
                  <a:lnTo>
                    <a:pt x="268" y="1398"/>
                  </a:lnTo>
                  <a:lnTo>
                    <a:pt x="268" y="1398"/>
                  </a:lnTo>
                  <a:lnTo>
                    <a:pt x="268" y="1400"/>
                  </a:lnTo>
                  <a:lnTo>
                    <a:pt x="270" y="1400"/>
                  </a:lnTo>
                  <a:lnTo>
                    <a:pt x="274" y="1402"/>
                  </a:lnTo>
                  <a:lnTo>
                    <a:pt x="276" y="1402"/>
                  </a:lnTo>
                  <a:lnTo>
                    <a:pt x="276" y="1404"/>
                  </a:lnTo>
                  <a:lnTo>
                    <a:pt x="278" y="1406"/>
                  </a:lnTo>
                  <a:lnTo>
                    <a:pt x="278" y="1408"/>
                  </a:lnTo>
                  <a:lnTo>
                    <a:pt x="278" y="1408"/>
                  </a:lnTo>
                  <a:lnTo>
                    <a:pt x="278" y="1412"/>
                  </a:lnTo>
                  <a:lnTo>
                    <a:pt x="278" y="1414"/>
                  </a:lnTo>
                  <a:lnTo>
                    <a:pt x="276" y="1416"/>
                  </a:lnTo>
                  <a:lnTo>
                    <a:pt x="276" y="1416"/>
                  </a:lnTo>
                  <a:lnTo>
                    <a:pt x="272" y="1416"/>
                  </a:lnTo>
                  <a:lnTo>
                    <a:pt x="272" y="1416"/>
                  </a:lnTo>
                  <a:lnTo>
                    <a:pt x="272" y="1416"/>
                  </a:lnTo>
                  <a:lnTo>
                    <a:pt x="270" y="1416"/>
                  </a:lnTo>
                  <a:lnTo>
                    <a:pt x="270" y="1416"/>
                  </a:lnTo>
                  <a:lnTo>
                    <a:pt x="270" y="1418"/>
                  </a:lnTo>
                  <a:lnTo>
                    <a:pt x="268" y="1420"/>
                  </a:lnTo>
                  <a:lnTo>
                    <a:pt x="268" y="1420"/>
                  </a:lnTo>
                  <a:lnTo>
                    <a:pt x="268" y="1420"/>
                  </a:lnTo>
                  <a:lnTo>
                    <a:pt x="268" y="1422"/>
                  </a:lnTo>
                  <a:lnTo>
                    <a:pt x="268" y="1426"/>
                  </a:lnTo>
                  <a:lnTo>
                    <a:pt x="268" y="1428"/>
                  </a:lnTo>
                  <a:lnTo>
                    <a:pt x="268" y="1430"/>
                  </a:lnTo>
                  <a:lnTo>
                    <a:pt x="268" y="1432"/>
                  </a:lnTo>
                  <a:lnTo>
                    <a:pt x="268" y="1434"/>
                  </a:lnTo>
                  <a:lnTo>
                    <a:pt x="266" y="1440"/>
                  </a:lnTo>
                  <a:lnTo>
                    <a:pt x="266" y="1442"/>
                  </a:lnTo>
                  <a:lnTo>
                    <a:pt x="266" y="1442"/>
                  </a:lnTo>
                  <a:lnTo>
                    <a:pt x="266" y="1442"/>
                  </a:lnTo>
                  <a:lnTo>
                    <a:pt x="264" y="1442"/>
                  </a:lnTo>
                  <a:lnTo>
                    <a:pt x="262" y="1442"/>
                  </a:lnTo>
                  <a:lnTo>
                    <a:pt x="262" y="1442"/>
                  </a:lnTo>
                  <a:lnTo>
                    <a:pt x="262" y="1442"/>
                  </a:lnTo>
                  <a:lnTo>
                    <a:pt x="260" y="1442"/>
                  </a:lnTo>
                  <a:lnTo>
                    <a:pt x="260" y="1442"/>
                  </a:lnTo>
                  <a:lnTo>
                    <a:pt x="260" y="1444"/>
                  </a:lnTo>
                  <a:lnTo>
                    <a:pt x="258" y="1444"/>
                  </a:lnTo>
                  <a:lnTo>
                    <a:pt x="258" y="1444"/>
                  </a:lnTo>
                  <a:lnTo>
                    <a:pt x="258" y="1446"/>
                  </a:lnTo>
                  <a:lnTo>
                    <a:pt x="258" y="1448"/>
                  </a:lnTo>
                  <a:lnTo>
                    <a:pt x="256" y="1448"/>
                  </a:lnTo>
                  <a:lnTo>
                    <a:pt x="256" y="1450"/>
                  </a:lnTo>
                  <a:lnTo>
                    <a:pt x="256" y="1450"/>
                  </a:lnTo>
                  <a:lnTo>
                    <a:pt x="256" y="1452"/>
                  </a:lnTo>
                  <a:lnTo>
                    <a:pt x="258" y="1454"/>
                  </a:lnTo>
                  <a:lnTo>
                    <a:pt x="264" y="1458"/>
                  </a:lnTo>
                  <a:lnTo>
                    <a:pt x="270" y="1462"/>
                  </a:lnTo>
                  <a:lnTo>
                    <a:pt x="274" y="1464"/>
                  </a:lnTo>
                  <a:lnTo>
                    <a:pt x="276" y="1466"/>
                  </a:lnTo>
                  <a:lnTo>
                    <a:pt x="278" y="1468"/>
                  </a:lnTo>
                  <a:lnTo>
                    <a:pt x="280" y="1472"/>
                  </a:lnTo>
                  <a:lnTo>
                    <a:pt x="280" y="1472"/>
                  </a:lnTo>
                  <a:lnTo>
                    <a:pt x="282" y="1474"/>
                  </a:lnTo>
                  <a:lnTo>
                    <a:pt x="284" y="1474"/>
                  </a:lnTo>
                  <a:lnTo>
                    <a:pt x="286" y="1474"/>
                  </a:lnTo>
                  <a:lnTo>
                    <a:pt x="286" y="1474"/>
                  </a:lnTo>
                  <a:lnTo>
                    <a:pt x="290" y="1476"/>
                  </a:lnTo>
                  <a:lnTo>
                    <a:pt x="294" y="1480"/>
                  </a:lnTo>
                  <a:lnTo>
                    <a:pt x="298" y="1482"/>
                  </a:lnTo>
                  <a:lnTo>
                    <a:pt x="298" y="1482"/>
                  </a:lnTo>
                  <a:lnTo>
                    <a:pt x="300" y="1482"/>
                  </a:lnTo>
                  <a:lnTo>
                    <a:pt x="306" y="1484"/>
                  </a:lnTo>
                  <a:lnTo>
                    <a:pt x="312" y="1486"/>
                  </a:lnTo>
                  <a:lnTo>
                    <a:pt x="318" y="1488"/>
                  </a:lnTo>
                  <a:lnTo>
                    <a:pt x="320" y="1488"/>
                  </a:lnTo>
                  <a:lnTo>
                    <a:pt x="322" y="1490"/>
                  </a:lnTo>
                  <a:lnTo>
                    <a:pt x="322" y="1490"/>
                  </a:lnTo>
                  <a:lnTo>
                    <a:pt x="324" y="1490"/>
                  </a:lnTo>
                  <a:lnTo>
                    <a:pt x="324" y="1490"/>
                  </a:lnTo>
                  <a:lnTo>
                    <a:pt x="326" y="1492"/>
                  </a:lnTo>
                  <a:lnTo>
                    <a:pt x="328" y="1492"/>
                  </a:lnTo>
                  <a:lnTo>
                    <a:pt x="330" y="1492"/>
                  </a:lnTo>
                  <a:lnTo>
                    <a:pt x="336" y="1492"/>
                  </a:lnTo>
                  <a:lnTo>
                    <a:pt x="338" y="1494"/>
                  </a:lnTo>
                  <a:lnTo>
                    <a:pt x="340" y="1494"/>
                  </a:lnTo>
                  <a:lnTo>
                    <a:pt x="346" y="1494"/>
                  </a:lnTo>
                  <a:lnTo>
                    <a:pt x="350" y="1496"/>
                  </a:lnTo>
                  <a:lnTo>
                    <a:pt x="356" y="1496"/>
                  </a:lnTo>
                  <a:lnTo>
                    <a:pt x="360" y="1500"/>
                  </a:lnTo>
                  <a:lnTo>
                    <a:pt x="360" y="1500"/>
                  </a:lnTo>
                  <a:lnTo>
                    <a:pt x="362" y="1500"/>
                  </a:lnTo>
                  <a:lnTo>
                    <a:pt x="366" y="1500"/>
                  </a:lnTo>
                  <a:lnTo>
                    <a:pt x="368" y="1500"/>
                  </a:lnTo>
                  <a:lnTo>
                    <a:pt x="372" y="1500"/>
                  </a:lnTo>
                  <a:lnTo>
                    <a:pt x="374" y="1502"/>
                  </a:lnTo>
                  <a:lnTo>
                    <a:pt x="376" y="1502"/>
                  </a:lnTo>
                  <a:lnTo>
                    <a:pt x="378" y="1502"/>
                  </a:lnTo>
                  <a:lnTo>
                    <a:pt x="380" y="1504"/>
                  </a:lnTo>
                  <a:lnTo>
                    <a:pt x="380" y="1504"/>
                  </a:lnTo>
                  <a:lnTo>
                    <a:pt x="382" y="1506"/>
                  </a:lnTo>
                  <a:lnTo>
                    <a:pt x="384" y="1506"/>
                  </a:lnTo>
                  <a:lnTo>
                    <a:pt x="384" y="1506"/>
                  </a:lnTo>
                  <a:lnTo>
                    <a:pt x="386" y="1508"/>
                  </a:lnTo>
                  <a:lnTo>
                    <a:pt x="386" y="1510"/>
                  </a:lnTo>
                  <a:lnTo>
                    <a:pt x="390" y="1514"/>
                  </a:lnTo>
                  <a:lnTo>
                    <a:pt x="392" y="1518"/>
                  </a:lnTo>
                  <a:lnTo>
                    <a:pt x="392" y="1518"/>
                  </a:lnTo>
                  <a:lnTo>
                    <a:pt x="392" y="1520"/>
                  </a:lnTo>
                  <a:lnTo>
                    <a:pt x="396" y="1522"/>
                  </a:lnTo>
                  <a:lnTo>
                    <a:pt x="398" y="1526"/>
                  </a:lnTo>
                  <a:lnTo>
                    <a:pt x="400" y="1528"/>
                  </a:lnTo>
                  <a:lnTo>
                    <a:pt x="402" y="1528"/>
                  </a:lnTo>
                  <a:lnTo>
                    <a:pt x="402" y="1528"/>
                  </a:lnTo>
                  <a:lnTo>
                    <a:pt x="402" y="1528"/>
                  </a:lnTo>
                  <a:lnTo>
                    <a:pt x="404" y="1528"/>
                  </a:lnTo>
                  <a:lnTo>
                    <a:pt x="404" y="1528"/>
                  </a:lnTo>
                  <a:lnTo>
                    <a:pt x="404" y="1528"/>
                  </a:lnTo>
                  <a:lnTo>
                    <a:pt x="406" y="1528"/>
                  </a:lnTo>
                  <a:lnTo>
                    <a:pt x="406" y="1528"/>
                  </a:lnTo>
                  <a:lnTo>
                    <a:pt x="408" y="1528"/>
                  </a:lnTo>
                  <a:lnTo>
                    <a:pt x="408" y="1528"/>
                  </a:lnTo>
                  <a:lnTo>
                    <a:pt x="408" y="1528"/>
                  </a:lnTo>
                  <a:lnTo>
                    <a:pt x="410" y="1526"/>
                  </a:lnTo>
                  <a:lnTo>
                    <a:pt x="410" y="1526"/>
                  </a:lnTo>
                  <a:lnTo>
                    <a:pt x="410" y="1526"/>
                  </a:lnTo>
                  <a:lnTo>
                    <a:pt x="410" y="1526"/>
                  </a:lnTo>
                  <a:lnTo>
                    <a:pt x="412" y="1524"/>
                  </a:lnTo>
                  <a:lnTo>
                    <a:pt x="412" y="1522"/>
                  </a:lnTo>
                  <a:lnTo>
                    <a:pt x="412" y="1518"/>
                  </a:lnTo>
                  <a:lnTo>
                    <a:pt x="412" y="1516"/>
                  </a:lnTo>
                  <a:lnTo>
                    <a:pt x="412" y="1514"/>
                  </a:lnTo>
                  <a:lnTo>
                    <a:pt x="412" y="1514"/>
                  </a:lnTo>
                  <a:lnTo>
                    <a:pt x="412" y="1510"/>
                  </a:lnTo>
                  <a:lnTo>
                    <a:pt x="410" y="1510"/>
                  </a:lnTo>
                  <a:lnTo>
                    <a:pt x="410" y="1510"/>
                  </a:lnTo>
                  <a:lnTo>
                    <a:pt x="408" y="1508"/>
                  </a:lnTo>
                  <a:lnTo>
                    <a:pt x="408" y="1508"/>
                  </a:lnTo>
                  <a:lnTo>
                    <a:pt x="410" y="1506"/>
                  </a:lnTo>
                  <a:lnTo>
                    <a:pt x="410" y="1500"/>
                  </a:lnTo>
                  <a:lnTo>
                    <a:pt x="412" y="1498"/>
                  </a:lnTo>
                  <a:lnTo>
                    <a:pt x="412" y="1498"/>
                  </a:lnTo>
                  <a:lnTo>
                    <a:pt x="412" y="1496"/>
                  </a:lnTo>
                  <a:lnTo>
                    <a:pt x="410" y="1494"/>
                  </a:lnTo>
                  <a:lnTo>
                    <a:pt x="410" y="1494"/>
                  </a:lnTo>
                  <a:lnTo>
                    <a:pt x="410" y="1492"/>
                  </a:lnTo>
                  <a:lnTo>
                    <a:pt x="406" y="1484"/>
                  </a:lnTo>
                  <a:lnTo>
                    <a:pt x="404" y="1476"/>
                  </a:lnTo>
                  <a:lnTo>
                    <a:pt x="402" y="1468"/>
                  </a:lnTo>
                  <a:lnTo>
                    <a:pt x="402" y="1462"/>
                  </a:lnTo>
                  <a:lnTo>
                    <a:pt x="404" y="1460"/>
                  </a:lnTo>
                  <a:lnTo>
                    <a:pt x="404" y="1458"/>
                  </a:lnTo>
                  <a:lnTo>
                    <a:pt x="406" y="1454"/>
                  </a:lnTo>
                  <a:lnTo>
                    <a:pt x="406" y="1452"/>
                  </a:lnTo>
                  <a:lnTo>
                    <a:pt x="408" y="1452"/>
                  </a:lnTo>
                  <a:lnTo>
                    <a:pt x="408" y="1452"/>
                  </a:lnTo>
                  <a:lnTo>
                    <a:pt x="408" y="1452"/>
                  </a:lnTo>
                  <a:lnTo>
                    <a:pt x="410" y="1450"/>
                  </a:lnTo>
                  <a:lnTo>
                    <a:pt x="410" y="1450"/>
                  </a:lnTo>
                  <a:lnTo>
                    <a:pt x="412" y="1448"/>
                  </a:lnTo>
                  <a:lnTo>
                    <a:pt x="412" y="1446"/>
                  </a:lnTo>
                  <a:lnTo>
                    <a:pt x="412" y="1446"/>
                  </a:lnTo>
                  <a:lnTo>
                    <a:pt x="412" y="1446"/>
                  </a:lnTo>
                  <a:lnTo>
                    <a:pt x="414" y="1444"/>
                  </a:lnTo>
                  <a:lnTo>
                    <a:pt x="414" y="1442"/>
                  </a:lnTo>
                  <a:lnTo>
                    <a:pt x="414" y="1440"/>
                  </a:lnTo>
                  <a:lnTo>
                    <a:pt x="416" y="1436"/>
                  </a:lnTo>
                  <a:lnTo>
                    <a:pt x="416" y="1434"/>
                  </a:lnTo>
                  <a:lnTo>
                    <a:pt x="418" y="1434"/>
                  </a:lnTo>
                  <a:lnTo>
                    <a:pt x="418" y="1434"/>
                  </a:lnTo>
                  <a:lnTo>
                    <a:pt x="418" y="1434"/>
                  </a:lnTo>
                  <a:lnTo>
                    <a:pt x="420" y="1432"/>
                  </a:lnTo>
                  <a:lnTo>
                    <a:pt x="420" y="1432"/>
                  </a:lnTo>
                  <a:lnTo>
                    <a:pt x="422" y="1432"/>
                  </a:lnTo>
                  <a:lnTo>
                    <a:pt x="422" y="1430"/>
                  </a:lnTo>
                  <a:lnTo>
                    <a:pt x="422" y="1430"/>
                  </a:lnTo>
                  <a:lnTo>
                    <a:pt x="422" y="1430"/>
                  </a:lnTo>
                  <a:lnTo>
                    <a:pt x="424" y="1428"/>
                  </a:lnTo>
                  <a:lnTo>
                    <a:pt x="424" y="1428"/>
                  </a:lnTo>
                  <a:lnTo>
                    <a:pt x="424" y="1426"/>
                  </a:lnTo>
                  <a:lnTo>
                    <a:pt x="424" y="1424"/>
                  </a:lnTo>
                  <a:lnTo>
                    <a:pt x="424" y="1420"/>
                  </a:lnTo>
                  <a:lnTo>
                    <a:pt x="422" y="1416"/>
                  </a:lnTo>
                  <a:lnTo>
                    <a:pt x="422" y="1416"/>
                  </a:lnTo>
                  <a:lnTo>
                    <a:pt x="420" y="1414"/>
                  </a:lnTo>
                  <a:lnTo>
                    <a:pt x="418" y="1412"/>
                  </a:lnTo>
                  <a:lnTo>
                    <a:pt x="416" y="1412"/>
                  </a:lnTo>
                  <a:lnTo>
                    <a:pt x="414" y="1412"/>
                  </a:lnTo>
                  <a:lnTo>
                    <a:pt x="414" y="1412"/>
                  </a:lnTo>
                  <a:lnTo>
                    <a:pt x="414" y="1410"/>
                  </a:lnTo>
                  <a:lnTo>
                    <a:pt x="414" y="1408"/>
                  </a:lnTo>
                  <a:lnTo>
                    <a:pt x="414" y="1406"/>
                  </a:lnTo>
                  <a:lnTo>
                    <a:pt x="414" y="1404"/>
                  </a:lnTo>
                  <a:lnTo>
                    <a:pt x="414" y="1400"/>
                  </a:lnTo>
                  <a:lnTo>
                    <a:pt x="414" y="1400"/>
                  </a:lnTo>
                  <a:lnTo>
                    <a:pt x="412" y="1398"/>
                  </a:lnTo>
                  <a:lnTo>
                    <a:pt x="408" y="1398"/>
                  </a:lnTo>
                  <a:lnTo>
                    <a:pt x="406" y="1398"/>
                  </a:lnTo>
                  <a:lnTo>
                    <a:pt x="404" y="1396"/>
                  </a:lnTo>
                  <a:lnTo>
                    <a:pt x="404" y="1396"/>
                  </a:lnTo>
                  <a:lnTo>
                    <a:pt x="404" y="1396"/>
                  </a:lnTo>
                  <a:lnTo>
                    <a:pt x="402" y="1394"/>
                  </a:lnTo>
                  <a:lnTo>
                    <a:pt x="402" y="1394"/>
                  </a:lnTo>
                  <a:lnTo>
                    <a:pt x="402" y="1392"/>
                  </a:lnTo>
                  <a:lnTo>
                    <a:pt x="398" y="1390"/>
                  </a:lnTo>
                  <a:lnTo>
                    <a:pt x="396" y="1388"/>
                  </a:lnTo>
                  <a:lnTo>
                    <a:pt x="390" y="1384"/>
                  </a:lnTo>
                  <a:lnTo>
                    <a:pt x="390" y="1384"/>
                  </a:lnTo>
                  <a:lnTo>
                    <a:pt x="388" y="1384"/>
                  </a:lnTo>
                  <a:lnTo>
                    <a:pt x="386" y="1384"/>
                  </a:lnTo>
                  <a:lnTo>
                    <a:pt x="384" y="1382"/>
                  </a:lnTo>
                  <a:lnTo>
                    <a:pt x="384" y="1382"/>
                  </a:lnTo>
                  <a:lnTo>
                    <a:pt x="384" y="1382"/>
                  </a:lnTo>
                  <a:lnTo>
                    <a:pt x="384" y="1382"/>
                  </a:lnTo>
                  <a:lnTo>
                    <a:pt x="384" y="1380"/>
                  </a:lnTo>
                  <a:lnTo>
                    <a:pt x="386" y="1376"/>
                  </a:lnTo>
                  <a:lnTo>
                    <a:pt x="386" y="1376"/>
                  </a:lnTo>
                  <a:lnTo>
                    <a:pt x="388" y="1374"/>
                  </a:lnTo>
                  <a:lnTo>
                    <a:pt x="390" y="1374"/>
                  </a:lnTo>
                  <a:lnTo>
                    <a:pt x="394" y="1372"/>
                  </a:lnTo>
                  <a:lnTo>
                    <a:pt x="394" y="1372"/>
                  </a:lnTo>
                  <a:lnTo>
                    <a:pt x="394" y="1372"/>
                  </a:lnTo>
                  <a:lnTo>
                    <a:pt x="394" y="1370"/>
                  </a:lnTo>
                  <a:lnTo>
                    <a:pt x="394" y="1370"/>
                  </a:lnTo>
                  <a:lnTo>
                    <a:pt x="396" y="1370"/>
                  </a:lnTo>
                  <a:lnTo>
                    <a:pt x="396" y="1368"/>
                  </a:lnTo>
                  <a:lnTo>
                    <a:pt x="396" y="1368"/>
                  </a:lnTo>
                  <a:lnTo>
                    <a:pt x="396" y="1368"/>
                  </a:lnTo>
                  <a:lnTo>
                    <a:pt x="398" y="1364"/>
                  </a:lnTo>
                  <a:lnTo>
                    <a:pt x="398" y="1364"/>
                  </a:lnTo>
                  <a:lnTo>
                    <a:pt x="398" y="1364"/>
                  </a:lnTo>
                  <a:lnTo>
                    <a:pt x="398" y="1360"/>
                  </a:lnTo>
                  <a:lnTo>
                    <a:pt x="398" y="1358"/>
                  </a:lnTo>
                  <a:lnTo>
                    <a:pt x="400" y="1354"/>
                  </a:lnTo>
                  <a:lnTo>
                    <a:pt x="400" y="1352"/>
                  </a:lnTo>
                  <a:lnTo>
                    <a:pt x="400" y="1352"/>
                  </a:lnTo>
                  <a:lnTo>
                    <a:pt x="400" y="1352"/>
                  </a:lnTo>
                  <a:lnTo>
                    <a:pt x="400" y="1350"/>
                  </a:lnTo>
                  <a:lnTo>
                    <a:pt x="400" y="1346"/>
                  </a:lnTo>
                  <a:lnTo>
                    <a:pt x="400" y="1342"/>
                  </a:lnTo>
                  <a:lnTo>
                    <a:pt x="400" y="1342"/>
                  </a:lnTo>
                  <a:lnTo>
                    <a:pt x="404" y="1344"/>
                  </a:lnTo>
                  <a:lnTo>
                    <a:pt x="406" y="1344"/>
                  </a:lnTo>
                  <a:lnTo>
                    <a:pt x="408" y="1346"/>
                  </a:lnTo>
                  <a:lnTo>
                    <a:pt x="410" y="1346"/>
                  </a:lnTo>
                  <a:lnTo>
                    <a:pt x="410" y="1346"/>
                  </a:lnTo>
                  <a:lnTo>
                    <a:pt x="410" y="1346"/>
                  </a:lnTo>
                  <a:lnTo>
                    <a:pt x="412" y="1348"/>
                  </a:lnTo>
                  <a:lnTo>
                    <a:pt x="412" y="1348"/>
                  </a:lnTo>
                  <a:lnTo>
                    <a:pt x="412" y="1348"/>
                  </a:lnTo>
                  <a:lnTo>
                    <a:pt x="414" y="1348"/>
                  </a:lnTo>
                  <a:lnTo>
                    <a:pt x="414" y="1348"/>
                  </a:lnTo>
                  <a:lnTo>
                    <a:pt x="416" y="1346"/>
                  </a:lnTo>
                  <a:lnTo>
                    <a:pt x="416" y="1346"/>
                  </a:lnTo>
                  <a:lnTo>
                    <a:pt x="416" y="1346"/>
                  </a:lnTo>
                  <a:lnTo>
                    <a:pt x="416" y="1344"/>
                  </a:lnTo>
                  <a:lnTo>
                    <a:pt x="418" y="1344"/>
                  </a:lnTo>
                  <a:lnTo>
                    <a:pt x="418" y="1342"/>
                  </a:lnTo>
                  <a:lnTo>
                    <a:pt x="418" y="1340"/>
                  </a:lnTo>
                  <a:lnTo>
                    <a:pt x="420" y="1338"/>
                  </a:lnTo>
                  <a:lnTo>
                    <a:pt x="420" y="1336"/>
                  </a:lnTo>
                  <a:lnTo>
                    <a:pt x="420" y="1332"/>
                  </a:lnTo>
                  <a:lnTo>
                    <a:pt x="422" y="1330"/>
                  </a:lnTo>
                  <a:lnTo>
                    <a:pt x="424" y="1330"/>
                  </a:lnTo>
                  <a:lnTo>
                    <a:pt x="424" y="1328"/>
                  </a:lnTo>
                  <a:lnTo>
                    <a:pt x="428" y="1328"/>
                  </a:lnTo>
                  <a:lnTo>
                    <a:pt x="428" y="1328"/>
                  </a:lnTo>
                  <a:lnTo>
                    <a:pt x="428" y="1328"/>
                  </a:lnTo>
                  <a:lnTo>
                    <a:pt x="428" y="1326"/>
                  </a:lnTo>
                  <a:lnTo>
                    <a:pt x="428" y="1326"/>
                  </a:lnTo>
                  <a:lnTo>
                    <a:pt x="430" y="1326"/>
                  </a:lnTo>
                  <a:lnTo>
                    <a:pt x="430" y="1326"/>
                  </a:lnTo>
                  <a:lnTo>
                    <a:pt x="430" y="1326"/>
                  </a:lnTo>
                  <a:lnTo>
                    <a:pt x="430" y="1324"/>
                  </a:lnTo>
                  <a:lnTo>
                    <a:pt x="432" y="1322"/>
                  </a:lnTo>
                  <a:lnTo>
                    <a:pt x="432" y="1322"/>
                  </a:lnTo>
                  <a:lnTo>
                    <a:pt x="432" y="1322"/>
                  </a:lnTo>
                  <a:lnTo>
                    <a:pt x="432" y="1320"/>
                  </a:lnTo>
                  <a:lnTo>
                    <a:pt x="434" y="1320"/>
                  </a:lnTo>
                  <a:lnTo>
                    <a:pt x="436" y="1318"/>
                  </a:lnTo>
                  <a:lnTo>
                    <a:pt x="440" y="1316"/>
                  </a:lnTo>
                  <a:lnTo>
                    <a:pt x="444" y="1314"/>
                  </a:lnTo>
                  <a:lnTo>
                    <a:pt x="446" y="1312"/>
                  </a:lnTo>
                  <a:lnTo>
                    <a:pt x="448" y="1310"/>
                  </a:lnTo>
                  <a:lnTo>
                    <a:pt x="458" y="1308"/>
                  </a:lnTo>
                  <a:lnTo>
                    <a:pt x="464" y="1308"/>
                  </a:lnTo>
                  <a:lnTo>
                    <a:pt x="468" y="1308"/>
                  </a:lnTo>
                  <a:lnTo>
                    <a:pt x="470" y="1308"/>
                  </a:lnTo>
                  <a:lnTo>
                    <a:pt x="472" y="1308"/>
                  </a:lnTo>
                  <a:lnTo>
                    <a:pt x="478" y="1310"/>
                  </a:lnTo>
                  <a:lnTo>
                    <a:pt x="482" y="1310"/>
                  </a:lnTo>
                  <a:lnTo>
                    <a:pt x="486" y="1312"/>
                  </a:lnTo>
                  <a:lnTo>
                    <a:pt x="486" y="1312"/>
                  </a:lnTo>
                  <a:lnTo>
                    <a:pt x="488" y="1312"/>
                  </a:lnTo>
                  <a:lnTo>
                    <a:pt x="488" y="1314"/>
                  </a:lnTo>
                  <a:lnTo>
                    <a:pt x="490" y="1314"/>
                  </a:lnTo>
                  <a:lnTo>
                    <a:pt x="492" y="1314"/>
                  </a:lnTo>
                  <a:lnTo>
                    <a:pt x="492" y="1316"/>
                  </a:lnTo>
                  <a:lnTo>
                    <a:pt x="494" y="1318"/>
                  </a:lnTo>
                  <a:lnTo>
                    <a:pt x="496" y="1320"/>
                  </a:lnTo>
                  <a:lnTo>
                    <a:pt x="498" y="1320"/>
                  </a:lnTo>
                  <a:lnTo>
                    <a:pt x="498" y="1320"/>
                  </a:lnTo>
                  <a:lnTo>
                    <a:pt x="498" y="1322"/>
                  </a:lnTo>
                  <a:lnTo>
                    <a:pt x="502" y="1322"/>
                  </a:lnTo>
                  <a:lnTo>
                    <a:pt x="504" y="1324"/>
                  </a:lnTo>
                  <a:lnTo>
                    <a:pt x="510" y="1326"/>
                  </a:lnTo>
                  <a:lnTo>
                    <a:pt x="516" y="1330"/>
                  </a:lnTo>
                  <a:lnTo>
                    <a:pt x="518" y="1330"/>
                  </a:lnTo>
                  <a:lnTo>
                    <a:pt x="522" y="1332"/>
                  </a:lnTo>
                  <a:lnTo>
                    <a:pt x="522" y="1332"/>
                  </a:lnTo>
                  <a:lnTo>
                    <a:pt x="524" y="1330"/>
                  </a:lnTo>
                  <a:lnTo>
                    <a:pt x="528" y="1330"/>
                  </a:lnTo>
                  <a:lnTo>
                    <a:pt x="530" y="1328"/>
                  </a:lnTo>
                  <a:lnTo>
                    <a:pt x="536" y="1326"/>
                  </a:lnTo>
                  <a:lnTo>
                    <a:pt x="538" y="1324"/>
                  </a:lnTo>
                  <a:lnTo>
                    <a:pt x="542" y="1324"/>
                  </a:lnTo>
                  <a:lnTo>
                    <a:pt x="544" y="1324"/>
                  </a:lnTo>
                  <a:lnTo>
                    <a:pt x="548" y="1322"/>
                  </a:lnTo>
                  <a:lnTo>
                    <a:pt x="550" y="1324"/>
                  </a:lnTo>
                  <a:lnTo>
                    <a:pt x="554" y="1324"/>
                  </a:lnTo>
                  <a:lnTo>
                    <a:pt x="556" y="1326"/>
                  </a:lnTo>
                  <a:lnTo>
                    <a:pt x="560" y="1328"/>
                  </a:lnTo>
                  <a:lnTo>
                    <a:pt x="560" y="1328"/>
                  </a:lnTo>
                  <a:lnTo>
                    <a:pt x="560" y="1328"/>
                  </a:lnTo>
                  <a:lnTo>
                    <a:pt x="564" y="1328"/>
                  </a:lnTo>
                  <a:lnTo>
                    <a:pt x="568" y="1330"/>
                  </a:lnTo>
                  <a:lnTo>
                    <a:pt x="572" y="1332"/>
                  </a:lnTo>
                  <a:lnTo>
                    <a:pt x="576" y="1334"/>
                  </a:lnTo>
                  <a:lnTo>
                    <a:pt x="576" y="1334"/>
                  </a:lnTo>
                  <a:lnTo>
                    <a:pt x="578" y="1334"/>
                  </a:lnTo>
                  <a:lnTo>
                    <a:pt x="580" y="1334"/>
                  </a:lnTo>
                  <a:lnTo>
                    <a:pt x="582" y="1334"/>
                  </a:lnTo>
                  <a:lnTo>
                    <a:pt x="588" y="1332"/>
                  </a:lnTo>
                  <a:lnTo>
                    <a:pt x="592" y="1332"/>
                  </a:lnTo>
                  <a:lnTo>
                    <a:pt x="594" y="1332"/>
                  </a:lnTo>
                  <a:lnTo>
                    <a:pt x="598" y="1330"/>
                  </a:lnTo>
                  <a:lnTo>
                    <a:pt x="600" y="1330"/>
                  </a:lnTo>
                  <a:lnTo>
                    <a:pt x="600" y="1330"/>
                  </a:lnTo>
                  <a:lnTo>
                    <a:pt x="600" y="1330"/>
                  </a:lnTo>
                  <a:lnTo>
                    <a:pt x="602" y="1328"/>
                  </a:lnTo>
                  <a:lnTo>
                    <a:pt x="602" y="1328"/>
                  </a:lnTo>
                  <a:lnTo>
                    <a:pt x="602" y="1328"/>
                  </a:lnTo>
                  <a:lnTo>
                    <a:pt x="604" y="1324"/>
                  </a:lnTo>
                  <a:lnTo>
                    <a:pt x="604" y="1324"/>
                  </a:lnTo>
                  <a:lnTo>
                    <a:pt x="604" y="1324"/>
                  </a:lnTo>
                  <a:lnTo>
                    <a:pt x="606" y="1320"/>
                  </a:lnTo>
                  <a:lnTo>
                    <a:pt x="606" y="1320"/>
                  </a:lnTo>
                  <a:lnTo>
                    <a:pt x="606" y="1320"/>
                  </a:lnTo>
                  <a:lnTo>
                    <a:pt x="606" y="1318"/>
                  </a:lnTo>
                  <a:lnTo>
                    <a:pt x="606" y="1318"/>
                  </a:lnTo>
                  <a:lnTo>
                    <a:pt x="606" y="1318"/>
                  </a:lnTo>
                  <a:lnTo>
                    <a:pt x="604" y="1316"/>
                  </a:lnTo>
                  <a:lnTo>
                    <a:pt x="604" y="1316"/>
                  </a:lnTo>
                  <a:lnTo>
                    <a:pt x="604" y="1316"/>
                  </a:lnTo>
                  <a:lnTo>
                    <a:pt x="602" y="1312"/>
                  </a:lnTo>
                  <a:lnTo>
                    <a:pt x="600" y="1310"/>
                  </a:lnTo>
                  <a:lnTo>
                    <a:pt x="594" y="1306"/>
                  </a:lnTo>
                  <a:lnTo>
                    <a:pt x="590" y="1302"/>
                  </a:lnTo>
                  <a:lnTo>
                    <a:pt x="588" y="1302"/>
                  </a:lnTo>
                  <a:lnTo>
                    <a:pt x="590" y="1300"/>
                  </a:lnTo>
                  <a:lnTo>
                    <a:pt x="590" y="1300"/>
                  </a:lnTo>
                  <a:lnTo>
                    <a:pt x="590" y="1300"/>
                  </a:lnTo>
                  <a:lnTo>
                    <a:pt x="594" y="1296"/>
                  </a:lnTo>
                  <a:lnTo>
                    <a:pt x="594" y="1296"/>
                  </a:lnTo>
                  <a:lnTo>
                    <a:pt x="594" y="1296"/>
                  </a:lnTo>
                  <a:lnTo>
                    <a:pt x="596" y="1290"/>
                  </a:lnTo>
                  <a:lnTo>
                    <a:pt x="596" y="1290"/>
                  </a:lnTo>
                  <a:lnTo>
                    <a:pt x="598" y="1290"/>
                  </a:lnTo>
                  <a:lnTo>
                    <a:pt x="598" y="1288"/>
                  </a:lnTo>
                  <a:lnTo>
                    <a:pt x="598" y="1284"/>
                  </a:lnTo>
                  <a:lnTo>
                    <a:pt x="600" y="1282"/>
                  </a:lnTo>
                  <a:lnTo>
                    <a:pt x="602" y="1278"/>
                  </a:lnTo>
                  <a:lnTo>
                    <a:pt x="602" y="1274"/>
                  </a:lnTo>
                  <a:lnTo>
                    <a:pt x="604" y="1272"/>
                  </a:lnTo>
                  <a:lnTo>
                    <a:pt x="604" y="1268"/>
                  </a:lnTo>
                  <a:lnTo>
                    <a:pt x="604" y="1264"/>
                  </a:lnTo>
                  <a:lnTo>
                    <a:pt x="604" y="1260"/>
                  </a:lnTo>
                  <a:lnTo>
                    <a:pt x="604" y="1256"/>
                  </a:lnTo>
                  <a:lnTo>
                    <a:pt x="606" y="1256"/>
                  </a:lnTo>
                  <a:lnTo>
                    <a:pt x="606" y="1254"/>
                  </a:lnTo>
                  <a:lnTo>
                    <a:pt x="608" y="1254"/>
                  </a:lnTo>
                  <a:lnTo>
                    <a:pt x="610" y="1254"/>
                  </a:lnTo>
                  <a:lnTo>
                    <a:pt x="612" y="1252"/>
                  </a:lnTo>
                  <a:lnTo>
                    <a:pt x="616" y="1252"/>
                  </a:lnTo>
                  <a:lnTo>
                    <a:pt x="620" y="1252"/>
                  </a:lnTo>
                  <a:lnTo>
                    <a:pt x="626" y="1252"/>
                  </a:lnTo>
                  <a:lnTo>
                    <a:pt x="632" y="1252"/>
                  </a:lnTo>
                  <a:lnTo>
                    <a:pt x="634" y="1250"/>
                  </a:lnTo>
                  <a:lnTo>
                    <a:pt x="638" y="1250"/>
                  </a:lnTo>
                  <a:lnTo>
                    <a:pt x="642" y="1250"/>
                  </a:lnTo>
                  <a:lnTo>
                    <a:pt x="646" y="1248"/>
                  </a:lnTo>
                  <a:lnTo>
                    <a:pt x="650" y="1248"/>
                  </a:lnTo>
                  <a:lnTo>
                    <a:pt x="650" y="1248"/>
                  </a:lnTo>
                  <a:lnTo>
                    <a:pt x="650" y="1248"/>
                  </a:lnTo>
                  <a:lnTo>
                    <a:pt x="654" y="1246"/>
                  </a:lnTo>
                  <a:lnTo>
                    <a:pt x="654" y="1246"/>
                  </a:lnTo>
                  <a:lnTo>
                    <a:pt x="654" y="1246"/>
                  </a:lnTo>
                  <a:lnTo>
                    <a:pt x="656" y="1246"/>
                  </a:lnTo>
                  <a:lnTo>
                    <a:pt x="656" y="1246"/>
                  </a:lnTo>
                  <a:lnTo>
                    <a:pt x="656" y="1246"/>
                  </a:lnTo>
                  <a:lnTo>
                    <a:pt x="658" y="1244"/>
                  </a:lnTo>
                  <a:lnTo>
                    <a:pt x="660" y="1242"/>
                  </a:lnTo>
                  <a:lnTo>
                    <a:pt x="662" y="1242"/>
                  </a:lnTo>
                  <a:lnTo>
                    <a:pt x="662" y="1240"/>
                  </a:lnTo>
                  <a:lnTo>
                    <a:pt x="664" y="1240"/>
                  </a:lnTo>
                  <a:lnTo>
                    <a:pt x="666" y="1240"/>
                  </a:lnTo>
                  <a:lnTo>
                    <a:pt x="668" y="1240"/>
                  </a:lnTo>
                  <a:lnTo>
                    <a:pt x="672" y="1238"/>
                  </a:lnTo>
                  <a:lnTo>
                    <a:pt x="674" y="1238"/>
                  </a:lnTo>
                  <a:lnTo>
                    <a:pt x="678" y="1236"/>
                  </a:lnTo>
                  <a:lnTo>
                    <a:pt x="684" y="1236"/>
                  </a:lnTo>
                  <a:lnTo>
                    <a:pt x="690" y="1234"/>
                  </a:lnTo>
                  <a:lnTo>
                    <a:pt x="692" y="1234"/>
                  </a:lnTo>
                  <a:lnTo>
                    <a:pt x="694" y="1234"/>
                  </a:lnTo>
                  <a:lnTo>
                    <a:pt x="696" y="1232"/>
                  </a:lnTo>
                  <a:lnTo>
                    <a:pt x="700" y="1230"/>
                  </a:lnTo>
                  <a:lnTo>
                    <a:pt x="704" y="1228"/>
                  </a:lnTo>
                  <a:lnTo>
                    <a:pt x="708" y="1226"/>
                  </a:lnTo>
                  <a:lnTo>
                    <a:pt x="712" y="1226"/>
                  </a:lnTo>
                  <a:lnTo>
                    <a:pt x="716" y="1224"/>
                  </a:lnTo>
                  <a:lnTo>
                    <a:pt x="718" y="1224"/>
                  </a:lnTo>
                  <a:lnTo>
                    <a:pt x="718" y="1224"/>
                  </a:lnTo>
                  <a:lnTo>
                    <a:pt x="720" y="1228"/>
                  </a:lnTo>
                  <a:lnTo>
                    <a:pt x="724" y="1232"/>
                  </a:lnTo>
                  <a:lnTo>
                    <a:pt x="728" y="1236"/>
                  </a:lnTo>
                  <a:lnTo>
                    <a:pt x="730" y="1240"/>
                  </a:lnTo>
                  <a:lnTo>
                    <a:pt x="734" y="1242"/>
                  </a:lnTo>
                  <a:lnTo>
                    <a:pt x="736" y="1244"/>
                  </a:lnTo>
                  <a:lnTo>
                    <a:pt x="736" y="1244"/>
                  </a:lnTo>
                  <a:lnTo>
                    <a:pt x="736" y="1244"/>
                  </a:lnTo>
                  <a:lnTo>
                    <a:pt x="738" y="1246"/>
                  </a:lnTo>
                  <a:lnTo>
                    <a:pt x="738" y="1246"/>
                  </a:lnTo>
                  <a:lnTo>
                    <a:pt x="738" y="1246"/>
                  </a:lnTo>
                  <a:lnTo>
                    <a:pt x="740" y="1246"/>
                  </a:lnTo>
                  <a:lnTo>
                    <a:pt x="740" y="1246"/>
                  </a:lnTo>
                  <a:lnTo>
                    <a:pt x="740" y="1246"/>
                  </a:lnTo>
                  <a:lnTo>
                    <a:pt x="740" y="1246"/>
                  </a:lnTo>
                  <a:lnTo>
                    <a:pt x="740" y="1246"/>
                  </a:lnTo>
                  <a:lnTo>
                    <a:pt x="742" y="1246"/>
                  </a:lnTo>
                  <a:lnTo>
                    <a:pt x="744" y="1244"/>
                  </a:lnTo>
                  <a:lnTo>
                    <a:pt x="744" y="1244"/>
                  </a:lnTo>
                  <a:lnTo>
                    <a:pt x="744" y="1244"/>
                  </a:lnTo>
                  <a:lnTo>
                    <a:pt x="746" y="1244"/>
                  </a:lnTo>
                  <a:lnTo>
                    <a:pt x="746" y="1244"/>
                  </a:lnTo>
                  <a:lnTo>
                    <a:pt x="746" y="1242"/>
                  </a:lnTo>
                  <a:lnTo>
                    <a:pt x="748" y="1240"/>
                  </a:lnTo>
                  <a:lnTo>
                    <a:pt x="750" y="1240"/>
                  </a:lnTo>
                  <a:lnTo>
                    <a:pt x="752" y="1238"/>
                  </a:lnTo>
                  <a:lnTo>
                    <a:pt x="754" y="1238"/>
                  </a:lnTo>
                  <a:lnTo>
                    <a:pt x="756" y="1238"/>
                  </a:lnTo>
                  <a:lnTo>
                    <a:pt x="758" y="1238"/>
                  </a:lnTo>
                  <a:lnTo>
                    <a:pt x="764" y="1240"/>
                  </a:lnTo>
                  <a:lnTo>
                    <a:pt x="768" y="1242"/>
                  </a:lnTo>
                  <a:lnTo>
                    <a:pt x="772" y="1244"/>
                  </a:lnTo>
                  <a:lnTo>
                    <a:pt x="778" y="1248"/>
                  </a:lnTo>
                  <a:lnTo>
                    <a:pt x="782" y="1250"/>
                  </a:lnTo>
                  <a:lnTo>
                    <a:pt x="786" y="1252"/>
                  </a:lnTo>
                  <a:lnTo>
                    <a:pt x="788" y="1254"/>
                  </a:lnTo>
                  <a:lnTo>
                    <a:pt x="790" y="1256"/>
                  </a:lnTo>
                  <a:lnTo>
                    <a:pt x="790" y="1256"/>
                  </a:lnTo>
                  <a:lnTo>
                    <a:pt x="790" y="1258"/>
                  </a:lnTo>
                  <a:lnTo>
                    <a:pt x="790" y="1258"/>
                  </a:lnTo>
                  <a:lnTo>
                    <a:pt x="790" y="1260"/>
                  </a:lnTo>
                  <a:lnTo>
                    <a:pt x="790" y="1260"/>
                  </a:lnTo>
                  <a:lnTo>
                    <a:pt x="788" y="1262"/>
                  </a:lnTo>
                  <a:lnTo>
                    <a:pt x="788" y="1262"/>
                  </a:lnTo>
                  <a:lnTo>
                    <a:pt x="788" y="1262"/>
                  </a:lnTo>
                  <a:lnTo>
                    <a:pt x="788" y="1264"/>
                  </a:lnTo>
                  <a:lnTo>
                    <a:pt x="788" y="1264"/>
                  </a:lnTo>
                  <a:lnTo>
                    <a:pt x="790" y="1266"/>
                  </a:lnTo>
                  <a:lnTo>
                    <a:pt x="792" y="1266"/>
                  </a:lnTo>
                  <a:lnTo>
                    <a:pt x="792" y="1266"/>
                  </a:lnTo>
                  <a:lnTo>
                    <a:pt x="792" y="1266"/>
                  </a:lnTo>
                  <a:lnTo>
                    <a:pt x="794" y="1266"/>
                  </a:lnTo>
                  <a:lnTo>
                    <a:pt x="794" y="1266"/>
                  </a:lnTo>
                  <a:lnTo>
                    <a:pt x="794" y="1266"/>
                  </a:lnTo>
                  <a:lnTo>
                    <a:pt x="796" y="1266"/>
                  </a:lnTo>
                  <a:lnTo>
                    <a:pt x="798" y="1264"/>
                  </a:lnTo>
                  <a:lnTo>
                    <a:pt x="800" y="1262"/>
                  </a:lnTo>
                  <a:lnTo>
                    <a:pt x="806" y="1260"/>
                  </a:lnTo>
                  <a:lnTo>
                    <a:pt x="810" y="1256"/>
                  </a:lnTo>
                  <a:lnTo>
                    <a:pt x="814" y="1256"/>
                  </a:lnTo>
                  <a:lnTo>
                    <a:pt x="816" y="1254"/>
                  </a:lnTo>
                  <a:lnTo>
                    <a:pt x="822" y="1250"/>
                  </a:lnTo>
                  <a:lnTo>
                    <a:pt x="824" y="1248"/>
                  </a:lnTo>
                  <a:lnTo>
                    <a:pt x="828" y="1246"/>
                  </a:lnTo>
                  <a:lnTo>
                    <a:pt x="830" y="1246"/>
                  </a:lnTo>
                  <a:lnTo>
                    <a:pt x="830" y="1246"/>
                  </a:lnTo>
                  <a:lnTo>
                    <a:pt x="830" y="1246"/>
                  </a:lnTo>
                  <a:lnTo>
                    <a:pt x="830" y="1248"/>
                  </a:lnTo>
                  <a:lnTo>
                    <a:pt x="832" y="1248"/>
                  </a:lnTo>
                  <a:lnTo>
                    <a:pt x="832" y="1252"/>
                  </a:lnTo>
                  <a:lnTo>
                    <a:pt x="832" y="1258"/>
                  </a:lnTo>
                  <a:lnTo>
                    <a:pt x="834" y="1260"/>
                  </a:lnTo>
                  <a:lnTo>
                    <a:pt x="834" y="1260"/>
                  </a:lnTo>
                  <a:lnTo>
                    <a:pt x="834" y="1260"/>
                  </a:lnTo>
                  <a:lnTo>
                    <a:pt x="834" y="1262"/>
                  </a:lnTo>
                  <a:lnTo>
                    <a:pt x="834" y="1262"/>
                  </a:lnTo>
                  <a:lnTo>
                    <a:pt x="834" y="1262"/>
                  </a:lnTo>
                  <a:lnTo>
                    <a:pt x="836" y="1264"/>
                  </a:lnTo>
                  <a:lnTo>
                    <a:pt x="836" y="1264"/>
                  </a:lnTo>
                  <a:lnTo>
                    <a:pt x="838" y="1266"/>
                  </a:lnTo>
                  <a:lnTo>
                    <a:pt x="840" y="1266"/>
                  </a:lnTo>
                  <a:lnTo>
                    <a:pt x="844" y="1270"/>
                  </a:lnTo>
                  <a:lnTo>
                    <a:pt x="850" y="1272"/>
                  </a:lnTo>
                  <a:lnTo>
                    <a:pt x="852" y="1274"/>
                  </a:lnTo>
                  <a:lnTo>
                    <a:pt x="852" y="1274"/>
                  </a:lnTo>
                  <a:lnTo>
                    <a:pt x="854" y="1276"/>
                  </a:lnTo>
                  <a:lnTo>
                    <a:pt x="858" y="1280"/>
                  </a:lnTo>
                  <a:lnTo>
                    <a:pt x="862" y="1286"/>
                  </a:lnTo>
                  <a:lnTo>
                    <a:pt x="864" y="1290"/>
                  </a:lnTo>
                  <a:lnTo>
                    <a:pt x="866" y="1296"/>
                  </a:lnTo>
                  <a:lnTo>
                    <a:pt x="866" y="1296"/>
                  </a:lnTo>
                  <a:lnTo>
                    <a:pt x="868" y="1300"/>
                  </a:lnTo>
                  <a:lnTo>
                    <a:pt x="868" y="1306"/>
                  </a:lnTo>
                  <a:lnTo>
                    <a:pt x="868" y="1312"/>
                  </a:lnTo>
                  <a:lnTo>
                    <a:pt x="868" y="1314"/>
                  </a:lnTo>
                  <a:lnTo>
                    <a:pt x="870" y="1316"/>
                  </a:lnTo>
                  <a:lnTo>
                    <a:pt x="870" y="1320"/>
                  </a:lnTo>
                  <a:lnTo>
                    <a:pt x="872" y="1322"/>
                  </a:lnTo>
                  <a:lnTo>
                    <a:pt x="872" y="1322"/>
                  </a:lnTo>
                  <a:lnTo>
                    <a:pt x="872" y="1324"/>
                  </a:lnTo>
                  <a:lnTo>
                    <a:pt x="872" y="1326"/>
                  </a:lnTo>
                  <a:lnTo>
                    <a:pt x="872" y="1326"/>
                  </a:lnTo>
                  <a:lnTo>
                    <a:pt x="874" y="1326"/>
                  </a:lnTo>
                  <a:lnTo>
                    <a:pt x="876" y="1328"/>
                  </a:lnTo>
                  <a:lnTo>
                    <a:pt x="876" y="1328"/>
                  </a:lnTo>
                  <a:lnTo>
                    <a:pt x="876" y="1328"/>
                  </a:lnTo>
                  <a:lnTo>
                    <a:pt x="878" y="1328"/>
                  </a:lnTo>
                  <a:lnTo>
                    <a:pt x="878" y="1328"/>
                  </a:lnTo>
                  <a:lnTo>
                    <a:pt x="880" y="1328"/>
                  </a:lnTo>
                  <a:lnTo>
                    <a:pt x="882" y="1328"/>
                  </a:lnTo>
                  <a:lnTo>
                    <a:pt x="884" y="1326"/>
                  </a:lnTo>
                  <a:lnTo>
                    <a:pt x="886" y="1324"/>
                  </a:lnTo>
                  <a:lnTo>
                    <a:pt x="886" y="1324"/>
                  </a:lnTo>
                  <a:lnTo>
                    <a:pt x="890" y="1322"/>
                  </a:lnTo>
                  <a:lnTo>
                    <a:pt x="892" y="1322"/>
                  </a:lnTo>
                  <a:lnTo>
                    <a:pt x="892" y="1322"/>
                  </a:lnTo>
                  <a:lnTo>
                    <a:pt x="894" y="1322"/>
                  </a:lnTo>
                  <a:lnTo>
                    <a:pt x="894" y="1322"/>
                  </a:lnTo>
                  <a:lnTo>
                    <a:pt x="896" y="1324"/>
                  </a:lnTo>
                  <a:lnTo>
                    <a:pt x="900" y="1326"/>
                  </a:lnTo>
                  <a:lnTo>
                    <a:pt x="904" y="1328"/>
                  </a:lnTo>
                  <a:lnTo>
                    <a:pt x="904" y="1328"/>
                  </a:lnTo>
                  <a:lnTo>
                    <a:pt x="904" y="1330"/>
                  </a:lnTo>
                  <a:lnTo>
                    <a:pt x="906" y="1330"/>
                  </a:lnTo>
                  <a:lnTo>
                    <a:pt x="906" y="1330"/>
                  </a:lnTo>
                  <a:lnTo>
                    <a:pt x="906" y="1330"/>
                  </a:lnTo>
                  <a:lnTo>
                    <a:pt x="910" y="1330"/>
                  </a:lnTo>
                  <a:lnTo>
                    <a:pt x="910" y="1330"/>
                  </a:lnTo>
                  <a:lnTo>
                    <a:pt x="910" y="1330"/>
                  </a:lnTo>
                  <a:lnTo>
                    <a:pt x="912" y="1330"/>
                  </a:lnTo>
                  <a:lnTo>
                    <a:pt x="912" y="1330"/>
                  </a:lnTo>
                  <a:lnTo>
                    <a:pt x="914" y="1330"/>
                  </a:lnTo>
                  <a:lnTo>
                    <a:pt x="916" y="1330"/>
                  </a:lnTo>
                  <a:lnTo>
                    <a:pt x="920" y="1328"/>
                  </a:lnTo>
                  <a:lnTo>
                    <a:pt x="922" y="1328"/>
                  </a:lnTo>
                  <a:lnTo>
                    <a:pt x="926" y="1326"/>
                  </a:lnTo>
                  <a:lnTo>
                    <a:pt x="928" y="1326"/>
                  </a:lnTo>
                  <a:lnTo>
                    <a:pt x="930" y="1326"/>
                  </a:lnTo>
                  <a:lnTo>
                    <a:pt x="932" y="1326"/>
                  </a:lnTo>
                  <a:lnTo>
                    <a:pt x="934" y="1328"/>
                  </a:lnTo>
                  <a:lnTo>
                    <a:pt x="938" y="1330"/>
                  </a:lnTo>
                  <a:lnTo>
                    <a:pt x="940" y="1334"/>
                  </a:lnTo>
                  <a:lnTo>
                    <a:pt x="944" y="1338"/>
                  </a:lnTo>
                  <a:lnTo>
                    <a:pt x="946" y="1342"/>
                  </a:lnTo>
                  <a:lnTo>
                    <a:pt x="950" y="1346"/>
                  </a:lnTo>
                  <a:lnTo>
                    <a:pt x="952" y="1348"/>
                  </a:lnTo>
                  <a:lnTo>
                    <a:pt x="956" y="1350"/>
                  </a:lnTo>
                  <a:lnTo>
                    <a:pt x="958" y="1352"/>
                  </a:lnTo>
                  <a:lnTo>
                    <a:pt x="960" y="1354"/>
                  </a:lnTo>
                  <a:lnTo>
                    <a:pt x="962" y="1354"/>
                  </a:lnTo>
                  <a:lnTo>
                    <a:pt x="964" y="1356"/>
                  </a:lnTo>
                  <a:lnTo>
                    <a:pt x="966" y="1356"/>
                  </a:lnTo>
                  <a:lnTo>
                    <a:pt x="968" y="1356"/>
                  </a:lnTo>
                  <a:lnTo>
                    <a:pt x="970" y="1356"/>
                  </a:lnTo>
                  <a:lnTo>
                    <a:pt x="974" y="1356"/>
                  </a:lnTo>
                  <a:lnTo>
                    <a:pt x="976" y="1356"/>
                  </a:lnTo>
                  <a:lnTo>
                    <a:pt x="982" y="1358"/>
                  </a:lnTo>
                  <a:lnTo>
                    <a:pt x="986" y="1358"/>
                  </a:lnTo>
                  <a:lnTo>
                    <a:pt x="992" y="1358"/>
                  </a:lnTo>
                  <a:lnTo>
                    <a:pt x="998" y="1360"/>
                  </a:lnTo>
                  <a:lnTo>
                    <a:pt x="1002" y="1360"/>
                  </a:lnTo>
                  <a:lnTo>
                    <a:pt x="1006" y="1360"/>
                  </a:lnTo>
                  <a:lnTo>
                    <a:pt x="1008" y="1360"/>
                  </a:lnTo>
                  <a:lnTo>
                    <a:pt x="1010" y="1360"/>
                  </a:lnTo>
                  <a:lnTo>
                    <a:pt x="1010" y="1360"/>
                  </a:lnTo>
                  <a:lnTo>
                    <a:pt x="1010" y="1360"/>
                  </a:lnTo>
                  <a:lnTo>
                    <a:pt x="1012" y="1360"/>
                  </a:lnTo>
                  <a:lnTo>
                    <a:pt x="1012" y="1360"/>
                  </a:lnTo>
                  <a:lnTo>
                    <a:pt x="1012" y="1358"/>
                  </a:lnTo>
                  <a:lnTo>
                    <a:pt x="1012" y="1358"/>
                  </a:lnTo>
                  <a:lnTo>
                    <a:pt x="1012" y="1358"/>
                  </a:lnTo>
                  <a:lnTo>
                    <a:pt x="1014" y="1356"/>
                  </a:lnTo>
                  <a:lnTo>
                    <a:pt x="1014" y="1354"/>
                  </a:lnTo>
                  <a:lnTo>
                    <a:pt x="1014" y="1354"/>
                  </a:lnTo>
                  <a:lnTo>
                    <a:pt x="1012" y="1354"/>
                  </a:lnTo>
                  <a:lnTo>
                    <a:pt x="1012" y="1352"/>
                  </a:lnTo>
                  <a:lnTo>
                    <a:pt x="1010" y="1350"/>
                  </a:lnTo>
                  <a:lnTo>
                    <a:pt x="1010" y="1350"/>
                  </a:lnTo>
                  <a:lnTo>
                    <a:pt x="1010" y="1350"/>
                  </a:lnTo>
                  <a:lnTo>
                    <a:pt x="1012" y="1350"/>
                  </a:lnTo>
                  <a:lnTo>
                    <a:pt x="1014" y="1350"/>
                  </a:lnTo>
                  <a:lnTo>
                    <a:pt x="1014" y="1350"/>
                  </a:lnTo>
                  <a:lnTo>
                    <a:pt x="1016" y="1350"/>
                  </a:lnTo>
                  <a:lnTo>
                    <a:pt x="1018" y="1350"/>
                  </a:lnTo>
                  <a:lnTo>
                    <a:pt x="1018" y="1350"/>
                  </a:lnTo>
                  <a:lnTo>
                    <a:pt x="1020" y="1350"/>
                  </a:lnTo>
                  <a:lnTo>
                    <a:pt x="1020" y="1350"/>
                  </a:lnTo>
                  <a:lnTo>
                    <a:pt x="1022" y="1350"/>
                  </a:lnTo>
                  <a:lnTo>
                    <a:pt x="1024" y="1348"/>
                  </a:lnTo>
                  <a:lnTo>
                    <a:pt x="1026" y="1348"/>
                  </a:lnTo>
                  <a:lnTo>
                    <a:pt x="1030" y="1344"/>
                  </a:lnTo>
                  <a:lnTo>
                    <a:pt x="1032" y="1342"/>
                  </a:lnTo>
                  <a:lnTo>
                    <a:pt x="1038" y="1338"/>
                  </a:lnTo>
                  <a:lnTo>
                    <a:pt x="1040" y="1336"/>
                  </a:lnTo>
                  <a:lnTo>
                    <a:pt x="1042" y="1336"/>
                  </a:lnTo>
                  <a:lnTo>
                    <a:pt x="1048" y="1334"/>
                  </a:lnTo>
                  <a:lnTo>
                    <a:pt x="1052" y="1332"/>
                  </a:lnTo>
                  <a:lnTo>
                    <a:pt x="1056" y="1330"/>
                  </a:lnTo>
                  <a:lnTo>
                    <a:pt x="1056" y="1330"/>
                  </a:lnTo>
                  <a:lnTo>
                    <a:pt x="1058" y="1330"/>
                  </a:lnTo>
                  <a:lnTo>
                    <a:pt x="1060" y="1330"/>
                  </a:lnTo>
                  <a:lnTo>
                    <a:pt x="1064" y="1332"/>
                  </a:lnTo>
                  <a:lnTo>
                    <a:pt x="1066" y="1332"/>
                  </a:lnTo>
                  <a:lnTo>
                    <a:pt x="1072" y="1334"/>
                  </a:lnTo>
                  <a:lnTo>
                    <a:pt x="1078" y="1336"/>
                  </a:lnTo>
                  <a:lnTo>
                    <a:pt x="1082" y="1338"/>
                  </a:lnTo>
                  <a:lnTo>
                    <a:pt x="1084" y="1340"/>
                  </a:lnTo>
                  <a:lnTo>
                    <a:pt x="1086" y="1340"/>
                  </a:lnTo>
                  <a:lnTo>
                    <a:pt x="1088" y="1342"/>
                  </a:lnTo>
                  <a:lnTo>
                    <a:pt x="1092" y="1346"/>
                  </a:lnTo>
                  <a:lnTo>
                    <a:pt x="1094" y="1348"/>
                  </a:lnTo>
                  <a:lnTo>
                    <a:pt x="1096" y="1350"/>
                  </a:lnTo>
                  <a:lnTo>
                    <a:pt x="1096" y="1350"/>
                  </a:lnTo>
                  <a:lnTo>
                    <a:pt x="1096" y="1350"/>
                  </a:lnTo>
                  <a:lnTo>
                    <a:pt x="1098" y="1352"/>
                  </a:lnTo>
                  <a:lnTo>
                    <a:pt x="1098" y="1352"/>
                  </a:lnTo>
                  <a:lnTo>
                    <a:pt x="1100" y="1352"/>
                  </a:lnTo>
                  <a:lnTo>
                    <a:pt x="1102" y="1354"/>
                  </a:lnTo>
                  <a:lnTo>
                    <a:pt x="1106" y="1354"/>
                  </a:lnTo>
                  <a:lnTo>
                    <a:pt x="1110" y="1354"/>
                  </a:lnTo>
                  <a:lnTo>
                    <a:pt x="1116" y="1354"/>
                  </a:lnTo>
                  <a:lnTo>
                    <a:pt x="1120" y="1356"/>
                  </a:lnTo>
                  <a:lnTo>
                    <a:pt x="1126" y="1354"/>
                  </a:lnTo>
                  <a:lnTo>
                    <a:pt x="1130" y="1354"/>
                  </a:lnTo>
                  <a:lnTo>
                    <a:pt x="1130" y="1354"/>
                  </a:lnTo>
                  <a:lnTo>
                    <a:pt x="1132" y="1354"/>
                  </a:lnTo>
                  <a:lnTo>
                    <a:pt x="1136" y="1352"/>
                  </a:lnTo>
                  <a:lnTo>
                    <a:pt x="1136" y="1352"/>
                  </a:lnTo>
                  <a:lnTo>
                    <a:pt x="1136" y="1352"/>
                  </a:lnTo>
                  <a:lnTo>
                    <a:pt x="1138" y="1350"/>
                  </a:lnTo>
                  <a:lnTo>
                    <a:pt x="1138" y="1350"/>
                  </a:lnTo>
                  <a:lnTo>
                    <a:pt x="1140" y="1350"/>
                  </a:lnTo>
                  <a:lnTo>
                    <a:pt x="1140" y="1348"/>
                  </a:lnTo>
                  <a:lnTo>
                    <a:pt x="1140" y="1348"/>
                  </a:lnTo>
                  <a:lnTo>
                    <a:pt x="1140" y="1348"/>
                  </a:lnTo>
                  <a:lnTo>
                    <a:pt x="1142" y="1346"/>
                  </a:lnTo>
                  <a:lnTo>
                    <a:pt x="1142" y="1346"/>
                  </a:lnTo>
                  <a:lnTo>
                    <a:pt x="1142" y="1344"/>
                  </a:lnTo>
                  <a:lnTo>
                    <a:pt x="1144" y="1340"/>
                  </a:lnTo>
                  <a:lnTo>
                    <a:pt x="1144" y="1334"/>
                  </a:lnTo>
                  <a:lnTo>
                    <a:pt x="1144" y="1328"/>
                  </a:lnTo>
                  <a:lnTo>
                    <a:pt x="1144" y="1322"/>
                  </a:lnTo>
                  <a:lnTo>
                    <a:pt x="1144" y="1316"/>
                  </a:lnTo>
                  <a:lnTo>
                    <a:pt x="1144" y="1316"/>
                  </a:lnTo>
                  <a:lnTo>
                    <a:pt x="1146" y="1312"/>
                  </a:lnTo>
                  <a:lnTo>
                    <a:pt x="1148" y="1310"/>
                  </a:lnTo>
                  <a:lnTo>
                    <a:pt x="1146" y="1310"/>
                  </a:lnTo>
                  <a:lnTo>
                    <a:pt x="1148" y="1308"/>
                  </a:lnTo>
                  <a:lnTo>
                    <a:pt x="1150" y="1308"/>
                  </a:lnTo>
                  <a:lnTo>
                    <a:pt x="1154" y="1306"/>
                  </a:lnTo>
                  <a:lnTo>
                    <a:pt x="1158" y="1306"/>
                  </a:lnTo>
                  <a:lnTo>
                    <a:pt x="1164" y="1306"/>
                  </a:lnTo>
                  <a:lnTo>
                    <a:pt x="1168" y="1308"/>
                  </a:lnTo>
                  <a:lnTo>
                    <a:pt x="1174" y="1308"/>
                  </a:lnTo>
                  <a:lnTo>
                    <a:pt x="1178" y="1310"/>
                  </a:lnTo>
                  <a:lnTo>
                    <a:pt x="1182" y="1310"/>
                  </a:lnTo>
                  <a:lnTo>
                    <a:pt x="1184" y="1312"/>
                  </a:lnTo>
                  <a:lnTo>
                    <a:pt x="1186" y="1312"/>
                  </a:lnTo>
                  <a:lnTo>
                    <a:pt x="1190" y="1314"/>
                  </a:lnTo>
                  <a:lnTo>
                    <a:pt x="1190" y="1314"/>
                  </a:lnTo>
                  <a:lnTo>
                    <a:pt x="1194" y="1316"/>
                  </a:lnTo>
                  <a:lnTo>
                    <a:pt x="1198" y="1318"/>
                  </a:lnTo>
                  <a:lnTo>
                    <a:pt x="1198" y="1320"/>
                  </a:lnTo>
                  <a:lnTo>
                    <a:pt x="1200" y="1322"/>
                  </a:lnTo>
                  <a:lnTo>
                    <a:pt x="1200" y="1326"/>
                  </a:lnTo>
                  <a:lnTo>
                    <a:pt x="1202" y="1330"/>
                  </a:lnTo>
                  <a:lnTo>
                    <a:pt x="1204" y="1332"/>
                  </a:lnTo>
                  <a:lnTo>
                    <a:pt x="1204" y="1332"/>
                  </a:lnTo>
                  <a:lnTo>
                    <a:pt x="1204" y="1332"/>
                  </a:lnTo>
                  <a:lnTo>
                    <a:pt x="1206" y="1336"/>
                  </a:lnTo>
                  <a:lnTo>
                    <a:pt x="1206" y="1336"/>
                  </a:lnTo>
                  <a:lnTo>
                    <a:pt x="1206" y="1336"/>
                  </a:lnTo>
                  <a:lnTo>
                    <a:pt x="1208" y="1338"/>
                  </a:lnTo>
                  <a:lnTo>
                    <a:pt x="1208" y="1338"/>
                  </a:lnTo>
                  <a:lnTo>
                    <a:pt x="1210" y="1340"/>
                  </a:lnTo>
                  <a:lnTo>
                    <a:pt x="1212" y="1342"/>
                  </a:lnTo>
                  <a:lnTo>
                    <a:pt x="1212" y="1342"/>
                  </a:lnTo>
                  <a:lnTo>
                    <a:pt x="1214" y="1342"/>
                  </a:lnTo>
                  <a:lnTo>
                    <a:pt x="1218" y="1342"/>
                  </a:lnTo>
                  <a:lnTo>
                    <a:pt x="1218" y="1342"/>
                  </a:lnTo>
                  <a:lnTo>
                    <a:pt x="1218" y="1342"/>
                  </a:lnTo>
                  <a:lnTo>
                    <a:pt x="1224" y="1342"/>
                  </a:lnTo>
                  <a:lnTo>
                    <a:pt x="1232" y="1342"/>
                  </a:lnTo>
                  <a:lnTo>
                    <a:pt x="1238" y="1342"/>
                  </a:lnTo>
                  <a:lnTo>
                    <a:pt x="1244" y="1340"/>
                  </a:lnTo>
                  <a:lnTo>
                    <a:pt x="1252" y="1340"/>
                  </a:lnTo>
                  <a:lnTo>
                    <a:pt x="1258" y="1340"/>
                  </a:lnTo>
                  <a:lnTo>
                    <a:pt x="1256" y="1340"/>
                  </a:lnTo>
                  <a:lnTo>
                    <a:pt x="1262" y="1342"/>
                  </a:lnTo>
                  <a:lnTo>
                    <a:pt x="1266" y="1344"/>
                  </a:lnTo>
                  <a:lnTo>
                    <a:pt x="1268" y="1346"/>
                  </a:lnTo>
                  <a:lnTo>
                    <a:pt x="1268" y="1346"/>
                  </a:lnTo>
                  <a:lnTo>
                    <a:pt x="1270" y="1348"/>
                  </a:lnTo>
                  <a:lnTo>
                    <a:pt x="1272" y="1352"/>
                  </a:lnTo>
                  <a:lnTo>
                    <a:pt x="1276" y="1356"/>
                  </a:lnTo>
                  <a:lnTo>
                    <a:pt x="1278" y="1360"/>
                  </a:lnTo>
                  <a:lnTo>
                    <a:pt x="1278" y="1360"/>
                  </a:lnTo>
                  <a:lnTo>
                    <a:pt x="1278" y="1360"/>
                  </a:lnTo>
                  <a:lnTo>
                    <a:pt x="1282" y="1362"/>
                  </a:lnTo>
                  <a:lnTo>
                    <a:pt x="1282" y="1362"/>
                  </a:lnTo>
                  <a:lnTo>
                    <a:pt x="1282" y="1362"/>
                  </a:lnTo>
                  <a:lnTo>
                    <a:pt x="1286" y="1364"/>
                  </a:lnTo>
                  <a:lnTo>
                    <a:pt x="1286" y="1364"/>
                  </a:lnTo>
                  <a:lnTo>
                    <a:pt x="1286" y="1364"/>
                  </a:lnTo>
                  <a:lnTo>
                    <a:pt x="1292" y="1366"/>
                  </a:lnTo>
                  <a:lnTo>
                    <a:pt x="1296" y="1366"/>
                  </a:lnTo>
                  <a:lnTo>
                    <a:pt x="1302" y="1368"/>
                  </a:lnTo>
                  <a:lnTo>
                    <a:pt x="1308" y="1368"/>
                  </a:lnTo>
                  <a:lnTo>
                    <a:pt x="1322" y="1366"/>
                  </a:lnTo>
                  <a:lnTo>
                    <a:pt x="1334" y="1364"/>
                  </a:lnTo>
                  <a:lnTo>
                    <a:pt x="1340" y="1364"/>
                  </a:lnTo>
                  <a:lnTo>
                    <a:pt x="1346" y="1360"/>
                  </a:lnTo>
                  <a:lnTo>
                    <a:pt x="1354" y="1358"/>
                  </a:lnTo>
                  <a:lnTo>
                    <a:pt x="1360" y="1354"/>
                  </a:lnTo>
                  <a:lnTo>
                    <a:pt x="1368" y="1350"/>
                  </a:lnTo>
                  <a:lnTo>
                    <a:pt x="1374" y="1348"/>
                  </a:lnTo>
                  <a:lnTo>
                    <a:pt x="1378" y="1346"/>
                  </a:lnTo>
                  <a:lnTo>
                    <a:pt x="1382" y="1344"/>
                  </a:lnTo>
                  <a:lnTo>
                    <a:pt x="1386" y="1344"/>
                  </a:lnTo>
                  <a:lnTo>
                    <a:pt x="1388" y="1344"/>
                  </a:lnTo>
                  <a:lnTo>
                    <a:pt x="1390" y="1346"/>
                  </a:lnTo>
                  <a:lnTo>
                    <a:pt x="1390" y="1344"/>
                  </a:lnTo>
                  <a:lnTo>
                    <a:pt x="1392" y="1346"/>
                  </a:lnTo>
                  <a:lnTo>
                    <a:pt x="1392" y="1348"/>
                  </a:lnTo>
                  <a:lnTo>
                    <a:pt x="1394" y="1348"/>
                  </a:lnTo>
                  <a:lnTo>
                    <a:pt x="1396" y="1350"/>
                  </a:lnTo>
                  <a:lnTo>
                    <a:pt x="1396" y="1350"/>
                  </a:lnTo>
                  <a:lnTo>
                    <a:pt x="1398" y="1350"/>
                  </a:lnTo>
                  <a:lnTo>
                    <a:pt x="1400" y="1350"/>
                  </a:lnTo>
                  <a:lnTo>
                    <a:pt x="1404" y="1350"/>
                  </a:lnTo>
                  <a:lnTo>
                    <a:pt x="1408" y="1350"/>
                  </a:lnTo>
                  <a:lnTo>
                    <a:pt x="1418" y="1352"/>
                  </a:lnTo>
                  <a:lnTo>
                    <a:pt x="1422" y="1352"/>
                  </a:lnTo>
                  <a:lnTo>
                    <a:pt x="1426" y="1352"/>
                  </a:lnTo>
                  <a:lnTo>
                    <a:pt x="1430" y="1350"/>
                  </a:lnTo>
                  <a:lnTo>
                    <a:pt x="1434" y="1350"/>
                  </a:lnTo>
                  <a:lnTo>
                    <a:pt x="1436" y="1350"/>
                  </a:lnTo>
                  <a:lnTo>
                    <a:pt x="1438" y="1350"/>
                  </a:lnTo>
                  <a:lnTo>
                    <a:pt x="1440" y="1348"/>
                  </a:lnTo>
                  <a:lnTo>
                    <a:pt x="1440" y="1348"/>
                  </a:lnTo>
                  <a:lnTo>
                    <a:pt x="1440" y="1348"/>
                  </a:lnTo>
                  <a:lnTo>
                    <a:pt x="1442" y="1348"/>
                  </a:lnTo>
                  <a:lnTo>
                    <a:pt x="1444" y="1346"/>
                  </a:lnTo>
                  <a:lnTo>
                    <a:pt x="1444" y="1346"/>
                  </a:lnTo>
                  <a:lnTo>
                    <a:pt x="1444" y="1346"/>
                  </a:lnTo>
                  <a:lnTo>
                    <a:pt x="1446" y="1346"/>
                  </a:lnTo>
                  <a:lnTo>
                    <a:pt x="1446" y="1346"/>
                  </a:lnTo>
                  <a:lnTo>
                    <a:pt x="1446" y="1344"/>
                  </a:lnTo>
                  <a:lnTo>
                    <a:pt x="1448" y="1342"/>
                  </a:lnTo>
                  <a:lnTo>
                    <a:pt x="1450" y="1340"/>
                  </a:lnTo>
                  <a:lnTo>
                    <a:pt x="1452" y="1336"/>
                  </a:lnTo>
                  <a:lnTo>
                    <a:pt x="1454" y="1332"/>
                  </a:lnTo>
                  <a:lnTo>
                    <a:pt x="1456" y="1328"/>
                  </a:lnTo>
                  <a:lnTo>
                    <a:pt x="1460" y="1322"/>
                  </a:lnTo>
                  <a:lnTo>
                    <a:pt x="1462" y="1316"/>
                  </a:lnTo>
                  <a:lnTo>
                    <a:pt x="1464" y="1310"/>
                  </a:lnTo>
                  <a:lnTo>
                    <a:pt x="1466" y="1304"/>
                  </a:lnTo>
                  <a:lnTo>
                    <a:pt x="1468" y="1300"/>
                  </a:lnTo>
                  <a:lnTo>
                    <a:pt x="1468" y="1298"/>
                  </a:lnTo>
                  <a:lnTo>
                    <a:pt x="1468" y="1294"/>
                  </a:lnTo>
                  <a:lnTo>
                    <a:pt x="1468" y="1294"/>
                  </a:lnTo>
                  <a:lnTo>
                    <a:pt x="1466" y="1288"/>
                  </a:lnTo>
                  <a:lnTo>
                    <a:pt x="1464" y="1284"/>
                  </a:lnTo>
                  <a:lnTo>
                    <a:pt x="1464" y="1278"/>
                  </a:lnTo>
                  <a:lnTo>
                    <a:pt x="1462" y="1274"/>
                  </a:lnTo>
                  <a:lnTo>
                    <a:pt x="1460" y="1270"/>
                  </a:lnTo>
                  <a:lnTo>
                    <a:pt x="1460" y="1268"/>
                  </a:lnTo>
                  <a:lnTo>
                    <a:pt x="1460" y="1266"/>
                  </a:lnTo>
                  <a:lnTo>
                    <a:pt x="1460" y="1266"/>
                  </a:lnTo>
                  <a:lnTo>
                    <a:pt x="1462" y="1266"/>
                  </a:lnTo>
                  <a:lnTo>
                    <a:pt x="1464" y="1264"/>
                  </a:lnTo>
                  <a:lnTo>
                    <a:pt x="1466" y="1262"/>
                  </a:lnTo>
                  <a:lnTo>
                    <a:pt x="1470" y="1260"/>
                  </a:lnTo>
                  <a:lnTo>
                    <a:pt x="1474" y="1260"/>
                  </a:lnTo>
                  <a:lnTo>
                    <a:pt x="1478" y="1258"/>
                  </a:lnTo>
                  <a:lnTo>
                    <a:pt x="1484" y="1258"/>
                  </a:lnTo>
                  <a:lnTo>
                    <a:pt x="1494" y="1258"/>
                  </a:lnTo>
                  <a:lnTo>
                    <a:pt x="1500" y="1256"/>
                  </a:lnTo>
                  <a:lnTo>
                    <a:pt x="1506" y="1256"/>
                  </a:lnTo>
                  <a:lnTo>
                    <a:pt x="1512" y="1256"/>
                  </a:lnTo>
                  <a:lnTo>
                    <a:pt x="1518" y="1258"/>
                  </a:lnTo>
                  <a:lnTo>
                    <a:pt x="1524" y="1258"/>
                  </a:lnTo>
                  <a:lnTo>
                    <a:pt x="1528" y="1258"/>
                  </a:lnTo>
                  <a:lnTo>
                    <a:pt x="1534" y="1260"/>
                  </a:lnTo>
                  <a:lnTo>
                    <a:pt x="1536" y="1262"/>
                  </a:lnTo>
                  <a:lnTo>
                    <a:pt x="1538" y="1264"/>
                  </a:lnTo>
                  <a:lnTo>
                    <a:pt x="1540" y="1268"/>
                  </a:lnTo>
                  <a:lnTo>
                    <a:pt x="1540" y="1268"/>
                  </a:lnTo>
                  <a:lnTo>
                    <a:pt x="1542" y="1272"/>
                  </a:lnTo>
                  <a:lnTo>
                    <a:pt x="1544" y="1276"/>
                  </a:lnTo>
                  <a:lnTo>
                    <a:pt x="1544" y="1282"/>
                  </a:lnTo>
                  <a:lnTo>
                    <a:pt x="1546" y="1286"/>
                  </a:lnTo>
                  <a:lnTo>
                    <a:pt x="1546" y="1290"/>
                  </a:lnTo>
                  <a:lnTo>
                    <a:pt x="1548" y="1294"/>
                  </a:lnTo>
                  <a:lnTo>
                    <a:pt x="1548" y="1294"/>
                  </a:lnTo>
                  <a:lnTo>
                    <a:pt x="1548" y="1294"/>
                  </a:lnTo>
                  <a:lnTo>
                    <a:pt x="1550" y="1298"/>
                  </a:lnTo>
                  <a:lnTo>
                    <a:pt x="1552" y="1300"/>
                  </a:lnTo>
                  <a:lnTo>
                    <a:pt x="1554" y="1302"/>
                  </a:lnTo>
                  <a:lnTo>
                    <a:pt x="1556" y="1304"/>
                  </a:lnTo>
                  <a:lnTo>
                    <a:pt x="1556" y="1306"/>
                  </a:lnTo>
                  <a:lnTo>
                    <a:pt x="1558" y="1308"/>
                  </a:lnTo>
                  <a:lnTo>
                    <a:pt x="1560" y="1310"/>
                  </a:lnTo>
                  <a:lnTo>
                    <a:pt x="1562" y="1312"/>
                  </a:lnTo>
                  <a:lnTo>
                    <a:pt x="1562" y="1312"/>
                  </a:lnTo>
                  <a:lnTo>
                    <a:pt x="1562" y="1316"/>
                  </a:lnTo>
                  <a:lnTo>
                    <a:pt x="1564" y="1320"/>
                  </a:lnTo>
                  <a:lnTo>
                    <a:pt x="1564" y="1324"/>
                  </a:lnTo>
                  <a:lnTo>
                    <a:pt x="1566" y="1330"/>
                  </a:lnTo>
                  <a:lnTo>
                    <a:pt x="1566" y="1336"/>
                  </a:lnTo>
                  <a:lnTo>
                    <a:pt x="1568" y="1340"/>
                  </a:lnTo>
                  <a:lnTo>
                    <a:pt x="1568" y="1344"/>
                  </a:lnTo>
                  <a:lnTo>
                    <a:pt x="1570" y="1348"/>
                  </a:lnTo>
                  <a:lnTo>
                    <a:pt x="1570" y="1348"/>
                  </a:lnTo>
                  <a:lnTo>
                    <a:pt x="1570" y="1350"/>
                  </a:lnTo>
                  <a:lnTo>
                    <a:pt x="1572" y="1352"/>
                  </a:lnTo>
                  <a:lnTo>
                    <a:pt x="1572" y="1352"/>
                  </a:lnTo>
                  <a:lnTo>
                    <a:pt x="1572" y="1352"/>
                  </a:lnTo>
                  <a:lnTo>
                    <a:pt x="1574" y="1354"/>
                  </a:lnTo>
                  <a:lnTo>
                    <a:pt x="1574" y="1354"/>
                  </a:lnTo>
                  <a:lnTo>
                    <a:pt x="1574" y="1354"/>
                  </a:lnTo>
                  <a:lnTo>
                    <a:pt x="1578" y="1356"/>
                  </a:lnTo>
                  <a:lnTo>
                    <a:pt x="1580" y="1358"/>
                  </a:lnTo>
                  <a:lnTo>
                    <a:pt x="1584" y="1360"/>
                  </a:lnTo>
                  <a:lnTo>
                    <a:pt x="1586" y="1360"/>
                  </a:lnTo>
                  <a:lnTo>
                    <a:pt x="1588" y="1362"/>
                  </a:lnTo>
                  <a:lnTo>
                    <a:pt x="1590" y="1362"/>
                  </a:lnTo>
                  <a:lnTo>
                    <a:pt x="1590" y="1362"/>
                  </a:lnTo>
                  <a:lnTo>
                    <a:pt x="1590" y="1362"/>
                  </a:lnTo>
                  <a:lnTo>
                    <a:pt x="1590" y="1362"/>
                  </a:lnTo>
                  <a:lnTo>
                    <a:pt x="1590" y="1362"/>
                  </a:lnTo>
                  <a:lnTo>
                    <a:pt x="1592" y="1362"/>
                  </a:lnTo>
                  <a:lnTo>
                    <a:pt x="1594" y="1360"/>
                  </a:lnTo>
                  <a:lnTo>
                    <a:pt x="1594" y="1360"/>
                  </a:lnTo>
                  <a:lnTo>
                    <a:pt x="1594" y="1360"/>
                  </a:lnTo>
                  <a:lnTo>
                    <a:pt x="1594" y="1362"/>
                  </a:lnTo>
                  <a:lnTo>
                    <a:pt x="1596" y="1362"/>
                  </a:lnTo>
                  <a:lnTo>
                    <a:pt x="1600" y="1366"/>
                  </a:lnTo>
                  <a:lnTo>
                    <a:pt x="1604" y="1370"/>
                  </a:lnTo>
                  <a:lnTo>
                    <a:pt x="1606" y="1372"/>
                  </a:lnTo>
                  <a:lnTo>
                    <a:pt x="1608" y="1374"/>
                  </a:lnTo>
                  <a:lnTo>
                    <a:pt x="1610" y="1378"/>
                  </a:lnTo>
                  <a:lnTo>
                    <a:pt x="1610" y="1380"/>
                  </a:lnTo>
                  <a:lnTo>
                    <a:pt x="1612" y="1388"/>
                  </a:lnTo>
                  <a:lnTo>
                    <a:pt x="1614" y="1392"/>
                  </a:lnTo>
                  <a:lnTo>
                    <a:pt x="1614" y="1394"/>
                  </a:lnTo>
                  <a:lnTo>
                    <a:pt x="1616" y="1396"/>
                  </a:lnTo>
                  <a:lnTo>
                    <a:pt x="1616" y="1396"/>
                  </a:lnTo>
                  <a:lnTo>
                    <a:pt x="1616" y="1398"/>
                  </a:lnTo>
                  <a:lnTo>
                    <a:pt x="1618" y="1398"/>
                  </a:lnTo>
                  <a:lnTo>
                    <a:pt x="1618" y="1398"/>
                  </a:lnTo>
                  <a:lnTo>
                    <a:pt x="1618" y="1400"/>
                  </a:lnTo>
                  <a:lnTo>
                    <a:pt x="1620" y="1400"/>
                  </a:lnTo>
                  <a:lnTo>
                    <a:pt x="1620" y="1400"/>
                  </a:lnTo>
                  <a:lnTo>
                    <a:pt x="1620" y="1400"/>
                  </a:lnTo>
                  <a:lnTo>
                    <a:pt x="1622" y="1402"/>
                  </a:lnTo>
                  <a:lnTo>
                    <a:pt x="1622" y="1402"/>
                  </a:lnTo>
                  <a:lnTo>
                    <a:pt x="1624" y="1402"/>
                  </a:lnTo>
                  <a:lnTo>
                    <a:pt x="1624" y="1402"/>
                  </a:lnTo>
                  <a:lnTo>
                    <a:pt x="1626" y="1402"/>
                  </a:lnTo>
                  <a:lnTo>
                    <a:pt x="1626" y="1402"/>
                  </a:lnTo>
                  <a:lnTo>
                    <a:pt x="1628" y="1400"/>
                  </a:lnTo>
                  <a:lnTo>
                    <a:pt x="1632" y="1400"/>
                  </a:lnTo>
                  <a:lnTo>
                    <a:pt x="1638" y="1396"/>
                  </a:lnTo>
                  <a:lnTo>
                    <a:pt x="1640" y="1396"/>
                  </a:lnTo>
                  <a:lnTo>
                    <a:pt x="1642" y="1394"/>
                  </a:lnTo>
                  <a:lnTo>
                    <a:pt x="1646" y="1390"/>
                  </a:lnTo>
                  <a:lnTo>
                    <a:pt x="1652" y="1386"/>
                  </a:lnTo>
                  <a:lnTo>
                    <a:pt x="1658" y="1382"/>
                  </a:lnTo>
                  <a:lnTo>
                    <a:pt x="1662" y="1378"/>
                  </a:lnTo>
                  <a:lnTo>
                    <a:pt x="1664" y="1378"/>
                  </a:lnTo>
                  <a:lnTo>
                    <a:pt x="1666" y="1376"/>
                  </a:lnTo>
                  <a:lnTo>
                    <a:pt x="1668" y="1376"/>
                  </a:lnTo>
                  <a:lnTo>
                    <a:pt x="1668" y="1376"/>
                  </a:lnTo>
                  <a:lnTo>
                    <a:pt x="1668" y="1378"/>
                  </a:lnTo>
                  <a:lnTo>
                    <a:pt x="1666" y="1382"/>
                  </a:lnTo>
                  <a:lnTo>
                    <a:pt x="1666" y="1386"/>
                  </a:lnTo>
                  <a:lnTo>
                    <a:pt x="1664" y="1390"/>
                  </a:lnTo>
                  <a:lnTo>
                    <a:pt x="1664" y="1396"/>
                  </a:lnTo>
                  <a:lnTo>
                    <a:pt x="1660" y="1406"/>
                  </a:lnTo>
                  <a:lnTo>
                    <a:pt x="1658" y="1416"/>
                  </a:lnTo>
                  <a:lnTo>
                    <a:pt x="1656" y="1420"/>
                  </a:lnTo>
                  <a:lnTo>
                    <a:pt x="1654" y="1426"/>
                  </a:lnTo>
                  <a:lnTo>
                    <a:pt x="1652" y="1430"/>
                  </a:lnTo>
                  <a:lnTo>
                    <a:pt x="1650" y="1434"/>
                  </a:lnTo>
                  <a:lnTo>
                    <a:pt x="1648" y="1436"/>
                  </a:lnTo>
                  <a:lnTo>
                    <a:pt x="1648" y="1440"/>
                  </a:lnTo>
                  <a:lnTo>
                    <a:pt x="1646" y="1440"/>
                  </a:lnTo>
                  <a:lnTo>
                    <a:pt x="1644" y="1442"/>
                  </a:lnTo>
                  <a:lnTo>
                    <a:pt x="1644" y="1442"/>
                  </a:lnTo>
                  <a:lnTo>
                    <a:pt x="1642" y="1442"/>
                  </a:lnTo>
                  <a:lnTo>
                    <a:pt x="1638" y="1442"/>
                  </a:lnTo>
                  <a:lnTo>
                    <a:pt x="1638" y="1442"/>
                  </a:lnTo>
                  <a:lnTo>
                    <a:pt x="1634" y="1442"/>
                  </a:lnTo>
                  <a:lnTo>
                    <a:pt x="1630" y="1440"/>
                  </a:lnTo>
                  <a:lnTo>
                    <a:pt x="1626" y="1440"/>
                  </a:lnTo>
                  <a:lnTo>
                    <a:pt x="1626" y="1440"/>
                  </a:lnTo>
                  <a:lnTo>
                    <a:pt x="1626" y="1440"/>
                  </a:lnTo>
                  <a:lnTo>
                    <a:pt x="1624" y="1440"/>
                  </a:lnTo>
                  <a:lnTo>
                    <a:pt x="1624" y="1440"/>
                  </a:lnTo>
                  <a:lnTo>
                    <a:pt x="1624" y="1440"/>
                  </a:lnTo>
                  <a:lnTo>
                    <a:pt x="1622" y="1440"/>
                  </a:lnTo>
                  <a:lnTo>
                    <a:pt x="1622" y="1440"/>
                  </a:lnTo>
                  <a:lnTo>
                    <a:pt x="1622" y="1440"/>
                  </a:lnTo>
                  <a:lnTo>
                    <a:pt x="1620" y="1440"/>
                  </a:lnTo>
                  <a:lnTo>
                    <a:pt x="1620" y="1440"/>
                  </a:lnTo>
                  <a:lnTo>
                    <a:pt x="1618" y="1442"/>
                  </a:lnTo>
                  <a:lnTo>
                    <a:pt x="1618" y="1444"/>
                  </a:lnTo>
                  <a:lnTo>
                    <a:pt x="1618" y="1444"/>
                  </a:lnTo>
                  <a:lnTo>
                    <a:pt x="1618" y="1444"/>
                  </a:lnTo>
                  <a:lnTo>
                    <a:pt x="1616" y="1446"/>
                  </a:lnTo>
                  <a:lnTo>
                    <a:pt x="1616" y="1448"/>
                  </a:lnTo>
                  <a:lnTo>
                    <a:pt x="1614" y="1452"/>
                  </a:lnTo>
                  <a:lnTo>
                    <a:pt x="1614" y="1454"/>
                  </a:lnTo>
                  <a:lnTo>
                    <a:pt x="1614" y="1462"/>
                  </a:lnTo>
                  <a:lnTo>
                    <a:pt x="1612" y="1468"/>
                  </a:lnTo>
                  <a:lnTo>
                    <a:pt x="1612" y="1476"/>
                  </a:lnTo>
                  <a:lnTo>
                    <a:pt x="1614" y="1482"/>
                  </a:lnTo>
                  <a:lnTo>
                    <a:pt x="1614" y="1486"/>
                  </a:lnTo>
                  <a:lnTo>
                    <a:pt x="1614" y="1488"/>
                  </a:lnTo>
                  <a:lnTo>
                    <a:pt x="1616" y="1490"/>
                  </a:lnTo>
                  <a:lnTo>
                    <a:pt x="1616" y="1490"/>
                  </a:lnTo>
                  <a:lnTo>
                    <a:pt x="1616" y="1492"/>
                  </a:lnTo>
                  <a:lnTo>
                    <a:pt x="1616" y="1492"/>
                  </a:lnTo>
                  <a:lnTo>
                    <a:pt x="1616" y="1492"/>
                  </a:lnTo>
                  <a:lnTo>
                    <a:pt x="1618" y="1494"/>
                  </a:lnTo>
                  <a:lnTo>
                    <a:pt x="1620" y="1496"/>
                  </a:lnTo>
                  <a:lnTo>
                    <a:pt x="1620" y="1496"/>
                  </a:lnTo>
                  <a:lnTo>
                    <a:pt x="1620" y="1496"/>
                  </a:lnTo>
                  <a:lnTo>
                    <a:pt x="1624" y="1498"/>
                  </a:lnTo>
                  <a:lnTo>
                    <a:pt x="1624" y="1498"/>
                  </a:lnTo>
                  <a:lnTo>
                    <a:pt x="1626" y="1498"/>
                  </a:lnTo>
                  <a:lnTo>
                    <a:pt x="1630" y="1500"/>
                  </a:lnTo>
                  <a:lnTo>
                    <a:pt x="1636" y="1500"/>
                  </a:lnTo>
                  <a:lnTo>
                    <a:pt x="1642" y="1500"/>
                  </a:lnTo>
                  <a:lnTo>
                    <a:pt x="1648" y="1500"/>
                  </a:lnTo>
                  <a:lnTo>
                    <a:pt x="1654" y="1498"/>
                  </a:lnTo>
                  <a:lnTo>
                    <a:pt x="1660" y="1496"/>
                  </a:lnTo>
                  <a:lnTo>
                    <a:pt x="1664" y="1494"/>
                  </a:lnTo>
                  <a:lnTo>
                    <a:pt x="1670" y="1490"/>
                  </a:lnTo>
                  <a:lnTo>
                    <a:pt x="1674" y="1486"/>
                  </a:lnTo>
                  <a:lnTo>
                    <a:pt x="1678" y="1482"/>
                  </a:lnTo>
                  <a:lnTo>
                    <a:pt x="1682" y="1478"/>
                  </a:lnTo>
                  <a:lnTo>
                    <a:pt x="1688" y="1472"/>
                  </a:lnTo>
                  <a:lnTo>
                    <a:pt x="1694" y="1466"/>
                  </a:lnTo>
                  <a:lnTo>
                    <a:pt x="1698" y="1458"/>
                  </a:lnTo>
                  <a:lnTo>
                    <a:pt x="1702" y="1454"/>
                  </a:lnTo>
                  <a:lnTo>
                    <a:pt x="1706" y="1448"/>
                  </a:lnTo>
                  <a:lnTo>
                    <a:pt x="1708" y="1444"/>
                  </a:lnTo>
                  <a:lnTo>
                    <a:pt x="1712" y="1438"/>
                  </a:lnTo>
                  <a:lnTo>
                    <a:pt x="1722" y="1424"/>
                  </a:lnTo>
                  <a:lnTo>
                    <a:pt x="1730" y="1412"/>
                  </a:lnTo>
                  <a:lnTo>
                    <a:pt x="1738" y="1398"/>
                  </a:lnTo>
                  <a:lnTo>
                    <a:pt x="1746" y="1384"/>
                  </a:lnTo>
                  <a:lnTo>
                    <a:pt x="1748" y="1378"/>
                  </a:lnTo>
                  <a:lnTo>
                    <a:pt x="1752" y="1372"/>
                  </a:lnTo>
                  <a:lnTo>
                    <a:pt x="1754" y="1368"/>
                  </a:lnTo>
                  <a:lnTo>
                    <a:pt x="1756" y="1364"/>
                  </a:lnTo>
                  <a:lnTo>
                    <a:pt x="1758" y="1360"/>
                  </a:lnTo>
                  <a:lnTo>
                    <a:pt x="1760" y="1356"/>
                  </a:lnTo>
                  <a:lnTo>
                    <a:pt x="1760" y="1352"/>
                  </a:lnTo>
                  <a:lnTo>
                    <a:pt x="1760" y="1350"/>
                  </a:lnTo>
                  <a:lnTo>
                    <a:pt x="1760" y="1344"/>
                  </a:lnTo>
                  <a:lnTo>
                    <a:pt x="1760" y="1340"/>
                  </a:lnTo>
                  <a:lnTo>
                    <a:pt x="1758" y="1336"/>
                  </a:lnTo>
                  <a:lnTo>
                    <a:pt x="1758" y="1332"/>
                  </a:lnTo>
                  <a:lnTo>
                    <a:pt x="1756" y="1328"/>
                  </a:lnTo>
                  <a:lnTo>
                    <a:pt x="1756" y="1330"/>
                  </a:lnTo>
                  <a:lnTo>
                    <a:pt x="1756" y="1326"/>
                  </a:lnTo>
                  <a:lnTo>
                    <a:pt x="1758" y="1320"/>
                  </a:lnTo>
                  <a:lnTo>
                    <a:pt x="1758" y="1316"/>
                  </a:lnTo>
                  <a:lnTo>
                    <a:pt x="1760" y="1304"/>
                  </a:lnTo>
                  <a:lnTo>
                    <a:pt x="1762" y="1300"/>
                  </a:lnTo>
                  <a:lnTo>
                    <a:pt x="1764" y="1294"/>
                  </a:lnTo>
                  <a:lnTo>
                    <a:pt x="1764" y="1290"/>
                  </a:lnTo>
                  <a:lnTo>
                    <a:pt x="1766" y="1284"/>
                  </a:lnTo>
                  <a:lnTo>
                    <a:pt x="1766" y="1280"/>
                  </a:lnTo>
                  <a:lnTo>
                    <a:pt x="1766" y="1278"/>
                  </a:lnTo>
                  <a:lnTo>
                    <a:pt x="1766" y="1274"/>
                  </a:lnTo>
                  <a:lnTo>
                    <a:pt x="1764" y="1272"/>
                  </a:lnTo>
                  <a:lnTo>
                    <a:pt x="1764" y="1272"/>
                  </a:lnTo>
                  <a:lnTo>
                    <a:pt x="1764" y="1272"/>
                  </a:lnTo>
                  <a:lnTo>
                    <a:pt x="1762" y="1266"/>
                  </a:lnTo>
                  <a:lnTo>
                    <a:pt x="1760" y="1262"/>
                  </a:lnTo>
                  <a:lnTo>
                    <a:pt x="1758" y="1258"/>
                  </a:lnTo>
                  <a:lnTo>
                    <a:pt x="1756" y="1256"/>
                  </a:lnTo>
                  <a:lnTo>
                    <a:pt x="1752" y="1250"/>
                  </a:lnTo>
                  <a:lnTo>
                    <a:pt x="1746" y="1246"/>
                  </a:lnTo>
                  <a:lnTo>
                    <a:pt x="1744" y="1244"/>
                  </a:lnTo>
                  <a:lnTo>
                    <a:pt x="1742" y="1242"/>
                  </a:lnTo>
                  <a:lnTo>
                    <a:pt x="1740" y="1242"/>
                  </a:lnTo>
                  <a:lnTo>
                    <a:pt x="1738" y="1242"/>
                  </a:lnTo>
                  <a:lnTo>
                    <a:pt x="1738" y="1242"/>
                  </a:lnTo>
                  <a:lnTo>
                    <a:pt x="1736" y="1242"/>
                  </a:lnTo>
                  <a:lnTo>
                    <a:pt x="1732" y="1240"/>
                  </a:lnTo>
                  <a:lnTo>
                    <a:pt x="1732" y="1240"/>
                  </a:lnTo>
                  <a:lnTo>
                    <a:pt x="1732" y="1240"/>
                  </a:lnTo>
                  <a:lnTo>
                    <a:pt x="1728" y="1242"/>
                  </a:lnTo>
                  <a:lnTo>
                    <a:pt x="1728" y="1242"/>
                  </a:lnTo>
                  <a:lnTo>
                    <a:pt x="1728" y="1242"/>
                  </a:lnTo>
                  <a:lnTo>
                    <a:pt x="1726" y="1244"/>
                  </a:lnTo>
                  <a:lnTo>
                    <a:pt x="1726" y="1244"/>
                  </a:lnTo>
                  <a:lnTo>
                    <a:pt x="1724" y="1246"/>
                  </a:lnTo>
                  <a:lnTo>
                    <a:pt x="1724" y="1246"/>
                  </a:lnTo>
                  <a:lnTo>
                    <a:pt x="1724" y="1246"/>
                  </a:lnTo>
                  <a:lnTo>
                    <a:pt x="1724" y="1248"/>
                  </a:lnTo>
                  <a:lnTo>
                    <a:pt x="1724" y="1250"/>
                  </a:lnTo>
                  <a:lnTo>
                    <a:pt x="1724" y="1252"/>
                  </a:lnTo>
                  <a:lnTo>
                    <a:pt x="1724" y="1256"/>
                  </a:lnTo>
                  <a:lnTo>
                    <a:pt x="1724" y="1258"/>
                  </a:lnTo>
                  <a:lnTo>
                    <a:pt x="1726" y="1260"/>
                  </a:lnTo>
                  <a:lnTo>
                    <a:pt x="1724" y="1262"/>
                  </a:lnTo>
                  <a:lnTo>
                    <a:pt x="1724" y="1262"/>
                  </a:lnTo>
                  <a:lnTo>
                    <a:pt x="1724" y="1262"/>
                  </a:lnTo>
                  <a:lnTo>
                    <a:pt x="1722" y="1262"/>
                  </a:lnTo>
                  <a:lnTo>
                    <a:pt x="1720" y="1262"/>
                  </a:lnTo>
                  <a:lnTo>
                    <a:pt x="1720" y="1262"/>
                  </a:lnTo>
                  <a:lnTo>
                    <a:pt x="1720" y="1260"/>
                  </a:lnTo>
                  <a:lnTo>
                    <a:pt x="1718" y="1260"/>
                  </a:lnTo>
                  <a:lnTo>
                    <a:pt x="1718" y="1258"/>
                  </a:lnTo>
                  <a:lnTo>
                    <a:pt x="1718" y="1258"/>
                  </a:lnTo>
                  <a:lnTo>
                    <a:pt x="1720" y="1254"/>
                  </a:lnTo>
                  <a:lnTo>
                    <a:pt x="1720" y="1250"/>
                  </a:lnTo>
                  <a:lnTo>
                    <a:pt x="1722" y="1244"/>
                  </a:lnTo>
                  <a:lnTo>
                    <a:pt x="1724" y="1238"/>
                  </a:lnTo>
                  <a:lnTo>
                    <a:pt x="1724" y="1234"/>
                  </a:lnTo>
                  <a:lnTo>
                    <a:pt x="1726" y="1230"/>
                  </a:lnTo>
                  <a:lnTo>
                    <a:pt x="1726" y="1230"/>
                  </a:lnTo>
                  <a:lnTo>
                    <a:pt x="1726" y="1228"/>
                  </a:lnTo>
                  <a:lnTo>
                    <a:pt x="1726" y="1228"/>
                  </a:lnTo>
                  <a:lnTo>
                    <a:pt x="1724" y="1226"/>
                  </a:lnTo>
                  <a:lnTo>
                    <a:pt x="1724" y="1226"/>
                  </a:lnTo>
                  <a:lnTo>
                    <a:pt x="1724" y="1226"/>
                  </a:lnTo>
                  <a:lnTo>
                    <a:pt x="1722" y="1224"/>
                  </a:lnTo>
                  <a:lnTo>
                    <a:pt x="1720" y="1224"/>
                  </a:lnTo>
                  <a:lnTo>
                    <a:pt x="1720" y="1224"/>
                  </a:lnTo>
                  <a:lnTo>
                    <a:pt x="1720" y="1226"/>
                  </a:lnTo>
                  <a:lnTo>
                    <a:pt x="1718" y="1226"/>
                  </a:lnTo>
                  <a:lnTo>
                    <a:pt x="1716" y="1228"/>
                  </a:lnTo>
                  <a:lnTo>
                    <a:pt x="1712" y="1232"/>
                  </a:lnTo>
                  <a:lnTo>
                    <a:pt x="1710" y="1234"/>
                  </a:lnTo>
                  <a:lnTo>
                    <a:pt x="1706" y="1234"/>
                  </a:lnTo>
                  <a:lnTo>
                    <a:pt x="1708" y="1234"/>
                  </a:lnTo>
                  <a:lnTo>
                    <a:pt x="1704" y="1234"/>
                  </a:lnTo>
                  <a:lnTo>
                    <a:pt x="1700" y="1236"/>
                  </a:lnTo>
                  <a:lnTo>
                    <a:pt x="1696" y="1236"/>
                  </a:lnTo>
                  <a:lnTo>
                    <a:pt x="1690" y="1236"/>
                  </a:lnTo>
                  <a:lnTo>
                    <a:pt x="1682" y="1236"/>
                  </a:lnTo>
                  <a:lnTo>
                    <a:pt x="1678" y="1236"/>
                  </a:lnTo>
                  <a:lnTo>
                    <a:pt x="1676" y="1234"/>
                  </a:lnTo>
                  <a:lnTo>
                    <a:pt x="1676" y="1234"/>
                  </a:lnTo>
                  <a:lnTo>
                    <a:pt x="1676" y="1234"/>
                  </a:lnTo>
                  <a:lnTo>
                    <a:pt x="1678" y="1232"/>
                  </a:lnTo>
                  <a:lnTo>
                    <a:pt x="1678" y="1232"/>
                  </a:lnTo>
                  <a:lnTo>
                    <a:pt x="1680" y="1228"/>
                  </a:lnTo>
                  <a:lnTo>
                    <a:pt x="1682" y="1226"/>
                  </a:lnTo>
                  <a:lnTo>
                    <a:pt x="1684" y="1224"/>
                  </a:lnTo>
                  <a:lnTo>
                    <a:pt x="1688" y="1222"/>
                  </a:lnTo>
                  <a:lnTo>
                    <a:pt x="1690" y="1220"/>
                  </a:lnTo>
                  <a:lnTo>
                    <a:pt x="1696" y="1216"/>
                  </a:lnTo>
                  <a:lnTo>
                    <a:pt x="1700" y="1212"/>
                  </a:lnTo>
                  <a:lnTo>
                    <a:pt x="1702" y="1210"/>
                  </a:lnTo>
                  <a:lnTo>
                    <a:pt x="1708" y="1206"/>
                  </a:lnTo>
                  <a:lnTo>
                    <a:pt x="1712" y="1202"/>
                  </a:lnTo>
                  <a:lnTo>
                    <a:pt x="1718" y="1198"/>
                  </a:lnTo>
                  <a:lnTo>
                    <a:pt x="1720" y="1194"/>
                  </a:lnTo>
                  <a:lnTo>
                    <a:pt x="1722" y="1192"/>
                  </a:lnTo>
                  <a:lnTo>
                    <a:pt x="1722" y="1192"/>
                  </a:lnTo>
                  <a:lnTo>
                    <a:pt x="1722" y="1192"/>
                  </a:lnTo>
                  <a:lnTo>
                    <a:pt x="1724" y="1190"/>
                  </a:lnTo>
                  <a:lnTo>
                    <a:pt x="1724" y="1190"/>
                  </a:lnTo>
                  <a:lnTo>
                    <a:pt x="1724" y="1190"/>
                  </a:lnTo>
                  <a:lnTo>
                    <a:pt x="1724" y="1186"/>
                  </a:lnTo>
                  <a:lnTo>
                    <a:pt x="1726" y="1184"/>
                  </a:lnTo>
                  <a:lnTo>
                    <a:pt x="1726" y="1182"/>
                  </a:lnTo>
                  <a:lnTo>
                    <a:pt x="1728" y="1180"/>
                  </a:lnTo>
                  <a:lnTo>
                    <a:pt x="1726" y="1182"/>
                  </a:lnTo>
                  <a:lnTo>
                    <a:pt x="1728" y="1180"/>
                  </a:lnTo>
                  <a:lnTo>
                    <a:pt x="1728" y="1180"/>
                  </a:lnTo>
                  <a:lnTo>
                    <a:pt x="1730" y="1178"/>
                  </a:lnTo>
                  <a:lnTo>
                    <a:pt x="1732" y="1176"/>
                  </a:lnTo>
                  <a:lnTo>
                    <a:pt x="1738" y="1174"/>
                  </a:lnTo>
                  <a:lnTo>
                    <a:pt x="1740" y="1174"/>
                  </a:lnTo>
                  <a:lnTo>
                    <a:pt x="1740" y="1172"/>
                  </a:lnTo>
                  <a:lnTo>
                    <a:pt x="1742" y="1170"/>
                  </a:lnTo>
                  <a:lnTo>
                    <a:pt x="1742" y="1170"/>
                  </a:lnTo>
                  <a:lnTo>
                    <a:pt x="1742" y="1170"/>
                  </a:lnTo>
                  <a:lnTo>
                    <a:pt x="1744" y="1168"/>
                  </a:lnTo>
                  <a:lnTo>
                    <a:pt x="1746" y="1166"/>
                  </a:lnTo>
                  <a:lnTo>
                    <a:pt x="1746" y="1166"/>
                  </a:lnTo>
                  <a:lnTo>
                    <a:pt x="1746" y="1166"/>
                  </a:lnTo>
                  <a:lnTo>
                    <a:pt x="1746" y="1164"/>
                  </a:lnTo>
                  <a:lnTo>
                    <a:pt x="1748" y="1162"/>
                  </a:lnTo>
                  <a:lnTo>
                    <a:pt x="1748" y="1162"/>
                  </a:lnTo>
                  <a:lnTo>
                    <a:pt x="1752" y="1158"/>
                  </a:lnTo>
                  <a:lnTo>
                    <a:pt x="1754" y="1156"/>
                  </a:lnTo>
                  <a:lnTo>
                    <a:pt x="1754" y="1156"/>
                  </a:lnTo>
                  <a:lnTo>
                    <a:pt x="1754" y="1156"/>
                  </a:lnTo>
                  <a:lnTo>
                    <a:pt x="1756" y="1154"/>
                  </a:lnTo>
                  <a:lnTo>
                    <a:pt x="1756" y="1154"/>
                  </a:lnTo>
                  <a:lnTo>
                    <a:pt x="1756" y="1154"/>
                  </a:lnTo>
                  <a:lnTo>
                    <a:pt x="1758" y="1150"/>
                  </a:lnTo>
                  <a:lnTo>
                    <a:pt x="1758" y="1148"/>
                  </a:lnTo>
                  <a:lnTo>
                    <a:pt x="1758" y="1144"/>
                  </a:lnTo>
                  <a:lnTo>
                    <a:pt x="1758" y="1142"/>
                  </a:lnTo>
                  <a:lnTo>
                    <a:pt x="1758" y="1142"/>
                  </a:lnTo>
                  <a:lnTo>
                    <a:pt x="1760" y="1140"/>
                  </a:lnTo>
                  <a:lnTo>
                    <a:pt x="1760" y="1140"/>
                  </a:lnTo>
                  <a:lnTo>
                    <a:pt x="1760" y="1140"/>
                  </a:lnTo>
                  <a:lnTo>
                    <a:pt x="1764" y="1140"/>
                  </a:lnTo>
                  <a:lnTo>
                    <a:pt x="1766" y="1140"/>
                  </a:lnTo>
                  <a:lnTo>
                    <a:pt x="1766" y="1140"/>
                  </a:lnTo>
                  <a:lnTo>
                    <a:pt x="1766" y="1140"/>
                  </a:lnTo>
                  <a:lnTo>
                    <a:pt x="1768" y="1140"/>
                  </a:lnTo>
                  <a:lnTo>
                    <a:pt x="1768" y="1140"/>
                  </a:lnTo>
                  <a:lnTo>
                    <a:pt x="1770" y="1140"/>
                  </a:lnTo>
                  <a:lnTo>
                    <a:pt x="1770" y="1140"/>
                  </a:lnTo>
                  <a:lnTo>
                    <a:pt x="1770" y="1140"/>
                  </a:lnTo>
                  <a:lnTo>
                    <a:pt x="1772" y="1140"/>
                  </a:lnTo>
                  <a:lnTo>
                    <a:pt x="1772" y="1138"/>
                  </a:lnTo>
                  <a:lnTo>
                    <a:pt x="1772" y="1138"/>
                  </a:lnTo>
                  <a:lnTo>
                    <a:pt x="1772" y="1138"/>
                  </a:lnTo>
                  <a:lnTo>
                    <a:pt x="1774" y="1136"/>
                  </a:lnTo>
                  <a:lnTo>
                    <a:pt x="1774" y="1136"/>
                  </a:lnTo>
                  <a:lnTo>
                    <a:pt x="1774" y="1136"/>
                  </a:lnTo>
                  <a:lnTo>
                    <a:pt x="1774" y="1132"/>
                  </a:lnTo>
                  <a:lnTo>
                    <a:pt x="1774" y="1130"/>
                  </a:lnTo>
                  <a:lnTo>
                    <a:pt x="1774" y="1128"/>
                  </a:lnTo>
                  <a:lnTo>
                    <a:pt x="1774" y="1128"/>
                  </a:lnTo>
                  <a:lnTo>
                    <a:pt x="1778" y="1122"/>
                  </a:lnTo>
                  <a:lnTo>
                    <a:pt x="1778" y="1118"/>
                  </a:lnTo>
                  <a:lnTo>
                    <a:pt x="1780" y="1118"/>
                  </a:lnTo>
                  <a:lnTo>
                    <a:pt x="1782" y="1116"/>
                  </a:lnTo>
                  <a:lnTo>
                    <a:pt x="1786" y="1114"/>
                  </a:lnTo>
                  <a:lnTo>
                    <a:pt x="1788" y="1114"/>
                  </a:lnTo>
                  <a:lnTo>
                    <a:pt x="1792" y="1112"/>
                  </a:lnTo>
                  <a:lnTo>
                    <a:pt x="1796" y="1112"/>
                  </a:lnTo>
                  <a:lnTo>
                    <a:pt x="1800" y="1112"/>
                  </a:lnTo>
                  <a:lnTo>
                    <a:pt x="1806" y="1112"/>
                  </a:lnTo>
                  <a:lnTo>
                    <a:pt x="1810" y="1112"/>
                  </a:lnTo>
                  <a:lnTo>
                    <a:pt x="1818" y="1112"/>
                  </a:lnTo>
                  <a:lnTo>
                    <a:pt x="1822" y="1112"/>
                  </a:lnTo>
                  <a:lnTo>
                    <a:pt x="1824" y="1112"/>
                  </a:lnTo>
                  <a:lnTo>
                    <a:pt x="1824" y="1112"/>
                  </a:lnTo>
                  <a:lnTo>
                    <a:pt x="1826" y="1114"/>
                  </a:lnTo>
                  <a:lnTo>
                    <a:pt x="1828" y="1116"/>
                  </a:lnTo>
                  <a:lnTo>
                    <a:pt x="1830" y="1118"/>
                  </a:lnTo>
                  <a:lnTo>
                    <a:pt x="1830" y="1118"/>
                  </a:lnTo>
                  <a:lnTo>
                    <a:pt x="1830" y="1120"/>
                  </a:lnTo>
                  <a:lnTo>
                    <a:pt x="1830" y="1120"/>
                  </a:lnTo>
                  <a:lnTo>
                    <a:pt x="1832" y="1120"/>
                  </a:lnTo>
                  <a:lnTo>
                    <a:pt x="1832" y="1120"/>
                  </a:lnTo>
                  <a:lnTo>
                    <a:pt x="1832" y="1120"/>
                  </a:lnTo>
                  <a:lnTo>
                    <a:pt x="1834" y="1120"/>
                  </a:lnTo>
                  <a:lnTo>
                    <a:pt x="1834" y="1120"/>
                  </a:lnTo>
                  <a:lnTo>
                    <a:pt x="1836" y="1120"/>
                  </a:lnTo>
                  <a:lnTo>
                    <a:pt x="1836" y="1118"/>
                  </a:lnTo>
                  <a:lnTo>
                    <a:pt x="1836" y="1118"/>
                  </a:lnTo>
                  <a:lnTo>
                    <a:pt x="1836" y="1118"/>
                  </a:lnTo>
                  <a:lnTo>
                    <a:pt x="1836" y="1116"/>
                  </a:lnTo>
                  <a:lnTo>
                    <a:pt x="1836" y="1116"/>
                  </a:lnTo>
                  <a:lnTo>
                    <a:pt x="1838" y="1116"/>
                  </a:lnTo>
                  <a:lnTo>
                    <a:pt x="1838" y="1116"/>
                  </a:lnTo>
                  <a:lnTo>
                    <a:pt x="1838" y="1116"/>
                  </a:lnTo>
                  <a:lnTo>
                    <a:pt x="1840" y="1118"/>
                  </a:lnTo>
                  <a:lnTo>
                    <a:pt x="1840" y="1118"/>
                  </a:lnTo>
                  <a:lnTo>
                    <a:pt x="1840" y="1118"/>
                  </a:lnTo>
                  <a:lnTo>
                    <a:pt x="1842" y="1120"/>
                  </a:lnTo>
                  <a:lnTo>
                    <a:pt x="1842" y="1120"/>
                  </a:lnTo>
                  <a:lnTo>
                    <a:pt x="1842" y="1120"/>
                  </a:lnTo>
                  <a:lnTo>
                    <a:pt x="1844" y="1120"/>
                  </a:lnTo>
                  <a:lnTo>
                    <a:pt x="1844" y="1120"/>
                  </a:lnTo>
                  <a:lnTo>
                    <a:pt x="1844" y="1120"/>
                  </a:lnTo>
                  <a:lnTo>
                    <a:pt x="1846" y="1120"/>
                  </a:lnTo>
                  <a:lnTo>
                    <a:pt x="1850" y="1120"/>
                  </a:lnTo>
                  <a:lnTo>
                    <a:pt x="1854" y="1118"/>
                  </a:lnTo>
                  <a:lnTo>
                    <a:pt x="1858" y="1116"/>
                  </a:lnTo>
                  <a:lnTo>
                    <a:pt x="1860" y="1114"/>
                  </a:lnTo>
                  <a:lnTo>
                    <a:pt x="1862" y="1114"/>
                  </a:lnTo>
                  <a:lnTo>
                    <a:pt x="1864" y="1114"/>
                  </a:lnTo>
                  <a:lnTo>
                    <a:pt x="1866" y="1114"/>
                  </a:lnTo>
                  <a:lnTo>
                    <a:pt x="1870" y="1114"/>
                  </a:lnTo>
                  <a:lnTo>
                    <a:pt x="1874" y="1116"/>
                  </a:lnTo>
                  <a:lnTo>
                    <a:pt x="1874" y="1116"/>
                  </a:lnTo>
                  <a:lnTo>
                    <a:pt x="1874" y="1116"/>
                  </a:lnTo>
                  <a:lnTo>
                    <a:pt x="1876" y="1116"/>
                  </a:lnTo>
                  <a:lnTo>
                    <a:pt x="1876" y="1116"/>
                  </a:lnTo>
                  <a:lnTo>
                    <a:pt x="1876" y="1116"/>
                  </a:lnTo>
                  <a:lnTo>
                    <a:pt x="1878" y="1114"/>
                  </a:lnTo>
                  <a:lnTo>
                    <a:pt x="1878" y="1114"/>
                  </a:lnTo>
                  <a:lnTo>
                    <a:pt x="1878" y="1114"/>
                  </a:lnTo>
                  <a:lnTo>
                    <a:pt x="1880" y="1112"/>
                  </a:lnTo>
                  <a:lnTo>
                    <a:pt x="1880" y="1112"/>
                  </a:lnTo>
                  <a:lnTo>
                    <a:pt x="1880" y="1112"/>
                  </a:lnTo>
                  <a:lnTo>
                    <a:pt x="1880" y="1110"/>
                  </a:lnTo>
                  <a:lnTo>
                    <a:pt x="1880" y="1110"/>
                  </a:lnTo>
                  <a:lnTo>
                    <a:pt x="1880" y="1106"/>
                  </a:lnTo>
                  <a:lnTo>
                    <a:pt x="1880" y="1104"/>
                  </a:lnTo>
                  <a:lnTo>
                    <a:pt x="1880" y="1102"/>
                  </a:lnTo>
                  <a:lnTo>
                    <a:pt x="1878" y="1100"/>
                  </a:lnTo>
                  <a:lnTo>
                    <a:pt x="1878" y="1100"/>
                  </a:lnTo>
                  <a:lnTo>
                    <a:pt x="1880" y="1100"/>
                  </a:lnTo>
                  <a:lnTo>
                    <a:pt x="1880" y="1098"/>
                  </a:lnTo>
                  <a:lnTo>
                    <a:pt x="1882" y="1098"/>
                  </a:lnTo>
                  <a:lnTo>
                    <a:pt x="1884" y="1100"/>
                  </a:lnTo>
                  <a:lnTo>
                    <a:pt x="1884" y="1100"/>
                  </a:lnTo>
                  <a:lnTo>
                    <a:pt x="1886" y="1102"/>
                  </a:lnTo>
                  <a:lnTo>
                    <a:pt x="1888" y="1102"/>
                  </a:lnTo>
                  <a:lnTo>
                    <a:pt x="1894" y="1106"/>
                  </a:lnTo>
                  <a:lnTo>
                    <a:pt x="1900" y="1110"/>
                  </a:lnTo>
                  <a:lnTo>
                    <a:pt x="1902" y="1112"/>
                  </a:lnTo>
                  <a:lnTo>
                    <a:pt x="1904" y="1114"/>
                  </a:lnTo>
                  <a:lnTo>
                    <a:pt x="1906" y="1116"/>
                  </a:lnTo>
                  <a:lnTo>
                    <a:pt x="1906" y="1116"/>
                  </a:lnTo>
                  <a:lnTo>
                    <a:pt x="1908" y="1120"/>
                  </a:lnTo>
                  <a:lnTo>
                    <a:pt x="1910" y="1122"/>
                  </a:lnTo>
                  <a:lnTo>
                    <a:pt x="1910" y="1122"/>
                  </a:lnTo>
                  <a:lnTo>
                    <a:pt x="1912" y="1122"/>
                  </a:lnTo>
                  <a:lnTo>
                    <a:pt x="1912" y="1122"/>
                  </a:lnTo>
                  <a:lnTo>
                    <a:pt x="1912" y="1122"/>
                  </a:lnTo>
                  <a:lnTo>
                    <a:pt x="1912" y="1124"/>
                  </a:lnTo>
                  <a:lnTo>
                    <a:pt x="1914" y="1124"/>
                  </a:lnTo>
                  <a:lnTo>
                    <a:pt x="1914" y="1124"/>
                  </a:lnTo>
                  <a:lnTo>
                    <a:pt x="1916" y="1124"/>
                  </a:lnTo>
                  <a:lnTo>
                    <a:pt x="1918" y="1124"/>
                  </a:lnTo>
                  <a:lnTo>
                    <a:pt x="1918" y="1124"/>
                  </a:lnTo>
                  <a:lnTo>
                    <a:pt x="1920" y="1124"/>
                  </a:lnTo>
                  <a:lnTo>
                    <a:pt x="1920" y="1124"/>
                  </a:lnTo>
                  <a:lnTo>
                    <a:pt x="1920" y="1124"/>
                  </a:lnTo>
                  <a:lnTo>
                    <a:pt x="1926" y="1122"/>
                  </a:lnTo>
                  <a:lnTo>
                    <a:pt x="1930" y="1120"/>
                  </a:lnTo>
                  <a:lnTo>
                    <a:pt x="1934" y="1118"/>
                  </a:lnTo>
                  <a:lnTo>
                    <a:pt x="1936" y="1118"/>
                  </a:lnTo>
                  <a:lnTo>
                    <a:pt x="1938" y="1118"/>
                  </a:lnTo>
                  <a:lnTo>
                    <a:pt x="1944" y="1118"/>
                  </a:lnTo>
                  <a:lnTo>
                    <a:pt x="1946" y="1116"/>
                  </a:lnTo>
                  <a:lnTo>
                    <a:pt x="1950" y="1116"/>
                  </a:lnTo>
                  <a:lnTo>
                    <a:pt x="1950" y="1116"/>
                  </a:lnTo>
                  <a:lnTo>
                    <a:pt x="1950" y="1116"/>
                  </a:lnTo>
                  <a:lnTo>
                    <a:pt x="1952" y="1116"/>
                  </a:lnTo>
                  <a:lnTo>
                    <a:pt x="1952" y="1116"/>
                  </a:lnTo>
                  <a:lnTo>
                    <a:pt x="1952" y="1114"/>
                  </a:lnTo>
                  <a:lnTo>
                    <a:pt x="1954" y="1114"/>
                  </a:lnTo>
                  <a:lnTo>
                    <a:pt x="1954" y="1114"/>
                  </a:lnTo>
                  <a:lnTo>
                    <a:pt x="1954" y="1112"/>
                  </a:lnTo>
                  <a:lnTo>
                    <a:pt x="1956" y="1110"/>
                  </a:lnTo>
                  <a:lnTo>
                    <a:pt x="1956" y="1110"/>
                  </a:lnTo>
                  <a:lnTo>
                    <a:pt x="1956" y="1110"/>
                  </a:lnTo>
                  <a:lnTo>
                    <a:pt x="1958" y="1108"/>
                  </a:lnTo>
                  <a:lnTo>
                    <a:pt x="1958" y="1108"/>
                  </a:lnTo>
                  <a:lnTo>
                    <a:pt x="1958" y="1106"/>
                  </a:lnTo>
                  <a:lnTo>
                    <a:pt x="1958" y="1104"/>
                  </a:lnTo>
                  <a:lnTo>
                    <a:pt x="1958" y="1100"/>
                  </a:lnTo>
                  <a:lnTo>
                    <a:pt x="1960" y="1092"/>
                  </a:lnTo>
                  <a:lnTo>
                    <a:pt x="1960" y="1090"/>
                  </a:lnTo>
                  <a:lnTo>
                    <a:pt x="1960" y="1088"/>
                  </a:lnTo>
                  <a:lnTo>
                    <a:pt x="1962" y="1086"/>
                  </a:lnTo>
                  <a:lnTo>
                    <a:pt x="1964" y="1084"/>
                  </a:lnTo>
                  <a:lnTo>
                    <a:pt x="1968" y="1082"/>
                  </a:lnTo>
                  <a:lnTo>
                    <a:pt x="1974" y="1078"/>
                  </a:lnTo>
                  <a:lnTo>
                    <a:pt x="1976" y="1076"/>
                  </a:lnTo>
                  <a:lnTo>
                    <a:pt x="1978" y="1076"/>
                  </a:lnTo>
                  <a:lnTo>
                    <a:pt x="1978" y="1076"/>
                  </a:lnTo>
                  <a:lnTo>
                    <a:pt x="1978" y="1076"/>
                  </a:lnTo>
                  <a:lnTo>
                    <a:pt x="1980" y="1074"/>
                  </a:lnTo>
                  <a:lnTo>
                    <a:pt x="1980" y="1074"/>
                  </a:lnTo>
                  <a:lnTo>
                    <a:pt x="1980" y="1074"/>
                  </a:lnTo>
                  <a:lnTo>
                    <a:pt x="1980" y="1072"/>
                  </a:lnTo>
                  <a:lnTo>
                    <a:pt x="1982" y="1068"/>
                  </a:lnTo>
                  <a:lnTo>
                    <a:pt x="1984" y="1066"/>
                  </a:lnTo>
                  <a:lnTo>
                    <a:pt x="1984" y="1062"/>
                  </a:lnTo>
                  <a:lnTo>
                    <a:pt x="1986" y="1060"/>
                  </a:lnTo>
                  <a:lnTo>
                    <a:pt x="1988" y="1056"/>
                  </a:lnTo>
                  <a:lnTo>
                    <a:pt x="1988" y="1054"/>
                  </a:lnTo>
                  <a:lnTo>
                    <a:pt x="1990" y="1052"/>
                  </a:lnTo>
                  <a:lnTo>
                    <a:pt x="1992" y="1050"/>
                  </a:lnTo>
                  <a:lnTo>
                    <a:pt x="1992" y="1048"/>
                  </a:lnTo>
                  <a:lnTo>
                    <a:pt x="1994" y="1046"/>
                  </a:lnTo>
                  <a:lnTo>
                    <a:pt x="1998" y="1044"/>
                  </a:lnTo>
                  <a:lnTo>
                    <a:pt x="2000" y="1044"/>
                  </a:lnTo>
                  <a:lnTo>
                    <a:pt x="2002" y="1044"/>
                  </a:lnTo>
                  <a:lnTo>
                    <a:pt x="2006" y="1042"/>
                  </a:lnTo>
                  <a:lnTo>
                    <a:pt x="2012" y="1040"/>
                  </a:lnTo>
                  <a:lnTo>
                    <a:pt x="2014" y="1040"/>
                  </a:lnTo>
                  <a:lnTo>
                    <a:pt x="2016" y="1040"/>
                  </a:lnTo>
                  <a:lnTo>
                    <a:pt x="2018" y="1040"/>
                  </a:lnTo>
                  <a:lnTo>
                    <a:pt x="2018" y="1040"/>
                  </a:lnTo>
                  <a:lnTo>
                    <a:pt x="2020" y="1040"/>
                  </a:lnTo>
                  <a:lnTo>
                    <a:pt x="2022" y="1042"/>
                  </a:lnTo>
                  <a:lnTo>
                    <a:pt x="2026" y="1044"/>
                  </a:lnTo>
                  <a:lnTo>
                    <a:pt x="2026" y="1046"/>
                  </a:lnTo>
                  <a:lnTo>
                    <a:pt x="2028" y="1046"/>
                  </a:lnTo>
                  <a:lnTo>
                    <a:pt x="2028" y="1046"/>
                  </a:lnTo>
                  <a:lnTo>
                    <a:pt x="2026" y="1050"/>
                  </a:lnTo>
                  <a:lnTo>
                    <a:pt x="2026" y="1054"/>
                  </a:lnTo>
                  <a:lnTo>
                    <a:pt x="2026" y="1056"/>
                  </a:lnTo>
                  <a:lnTo>
                    <a:pt x="2026" y="1058"/>
                  </a:lnTo>
                  <a:lnTo>
                    <a:pt x="2026" y="1060"/>
                  </a:lnTo>
                  <a:lnTo>
                    <a:pt x="2028" y="1062"/>
                  </a:lnTo>
                  <a:lnTo>
                    <a:pt x="2028" y="1066"/>
                  </a:lnTo>
                  <a:lnTo>
                    <a:pt x="2030" y="1070"/>
                  </a:lnTo>
                  <a:lnTo>
                    <a:pt x="2030" y="1072"/>
                  </a:lnTo>
                  <a:lnTo>
                    <a:pt x="2030" y="1072"/>
                  </a:lnTo>
                  <a:lnTo>
                    <a:pt x="2030" y="1072"/>
                  </a:lnTo>
                  <a:lnTo>
                    <a:pt x="2032" y="1074"/>
                  </a:lnTo>
                  <a:lnTo>
                    <a:pt x="2032" y="1074"/>
                  </a:lnTo>
                  <a:lnTo>
                    <a:pt x="2032" y="1074"/>
                  </a:lnTo>
                  <a:lnTo>
                    <a:pt x="2034" y="1076"/>
                  </a:lnTo>
                  <a:lnTo>
                    <a:pt x="2034" y="1076"/>
                  </a:lnTo>
                  <a:lnTo>
                    <a:pt x="2034" y="1076"/>
                  </a:lnTo>
                  <a:lnTo>
                    <a:pt x="2036" y="1076"/>
                  </a:lnTo>
                  <a:lnTo>
                    <a:pt x="2036" y="1076"/>
                  </a:lnTo>
                  <a:lnTo>
                    <a:pt x="2038" y="1076"/>
                  </a:lnTo>
                  <a:lnTo>
                    <a:pt x="2038" y="1076"/>
                  </a:lnTo>
                  <a:lnTo>
                    <a:pt x="2038" y="1076"/>
                  </a:lnTo>
                  <a:lnTo>
                    <a:pt x="2040" y="1076"/>
                  </a:lnTo>
                  <a:lnTo>
                    <a:pt x="2042" y="1076"/>
                  </a:lnTo>
                  <a:lnTo>
                    <a:pt x="2042" y="1076"/>
                  </a:lnTo>
                  <a:lnTo>
                    <a:pt x="2042" y="1076"/>
                  </a:lnTo>
                  <a:lnTo>
                    <a:pt x="2044" y="1074"/>
                  </a:lnTo>
                  <a:lnTo>
                    <a:pt x="2050" y="1072"/>
                  </a:lnTo>
                  <a:lnTo>
                    <a:pt x="2054" y="1068"/>
                  </a:lnTo>
                  <a:lnTo>
                    <a:pt x="2056" y="1066"/>
                  </a:lnTo>
                  <a:lnTo>
                    <a:pt x="2058" y="1062"/>
                  </a:lnTo>
                  <a:lnTo>
                    <a:pt x="2064" y="1056"/>
                  </a:lnTo>
                  <a:lnTo>
                    <a:pt x="2068" y="1050"/>
                  </a:lnTo>
                  <a:lnTo>
                    <a:pt x="2070" y="1048"/>
                  </a:lnTo>
                  <a:lnTo>
                    <a:pt x="2072" y="1046"/>
                  </a:lnTo>
                  <a:lnTo>
                    <a:pt x="2072" y="1044"/>
                  </a:lnTo>
                  <a:lnTo>
                    <a:pt x="2074" y="1044"/>
                  </a:lnTo>
                  <a:lnTo>
                    <a:pt x="2076" y="1042"/>
                  </a:lnTo>
                  <a:lnTo>
                    <a:pt x="2078" y="1040"/>
                  </a:lnTo>
                  <a:lnTo>
                    <a:pt x="2080" y="1040"/>
                  </a:lnTo>
                  <a:lnTo>
                    <a:pt x="2080" y="1038"/>
                  </a:lnTo>
                  <a:lnTo>
                    <a:pt x="2080" y="1038"/>
                  </a:lnTo>
                  <a:lnTo>
                    <a:pt x="2080" y="1038"/>
                  </a:lnTo>
                  <a:lnTo>
                    <a:pt x="2080" y="1036"/>
                  </a:lnTo>
                  <a:lnTo>
                    <a:pt x="2080" y="1036"/>
                  </a:lnTo>
                  <a:lnTo>
                    <a:pt x="2082" y="1036"/>
                  </a:lnTo>
                  <a:lnTo>
                    <a:pt x="2082" y="1034"/>
                  </a:lnTo>
                  <a:lnTo>
                    <a:pt x="2082" y="1034"/>
                  </a:lnTo>
                  <a:lnTo>
                    <a:pt x="2080" y="1032"/>
                  </a:lnTo>
                  <a:lnTo>
                    <a:pt x="2080" y="1032"/>
                  </a:lnTo>
                  <a:lnTo>
                    <a:pt x="2080" y="1032"/>
                  </a:lnTo>
                  <a:lnTo>
                    <a:pt x="2078" y="1024"/>
                  </a:lnTo>
                  <a:lnTo>
                    <a:pt x="2078" y="1024"/>
                  </a:lnTo>
                  <a:lnTo>
                    <a:pt x="2078" y="1024"/>
                  </a:lnTo>
                  <a:lnTo>
                    <a:pt x="2078" y="1022"/>
                  </a:lnTo>
                  <a:lnTo>
                    <a:pt x="2078" y="1020"/>
                  </a:lnTo>
                  <a:lnTo>
                    <a:pt x="2080" y="1018"/>
                  </a:lnTo>
                  <a:lnTo>
                    <a:pt x="2080" y="1016"/>
                  </a:lnTo>
                  <a:lnTo>
                    <a:pt x="2080" y="1016"/>
                  </a:lnTo>
                  <a:lnTo>
                    <a:pt x="2082" y="1014"/>
                  </a:lnTo>
                  <a:lnTo>
                    <a:pt x="2084" y="1014"/>
                  </a:lnTo>
                  <a:lnTo>
                    <a:pt x="2086" y="1014"/>
                  </a:lnTo>
                  <a:lnTo>
                    <a:pt x="2090" y="1014"/>
                  </a:lnTo>
                  <a:lnTo>
                    <a:pt x="2094" y="1014"/>
                  </a:lnTo>
                  <a:lnTo>
                    <a:pt x="2098" y="1014"/>
                  </a:lnTo>
                  <a:lnTo>
                    <a:pt x="2100" y="1014"/>
                  </a:lnTo>
                  <a:lnTo>
                    <a:pt x="2100" y="1016"/>
                  </a:lnTo>
                  <a:lnTo>
                    <a:pt x="2096" y="1020"/>
                  </a:lnTo>
                  <a:lnTo>
                    <a:pt x="2096" y="1020"/>
                  </a:lnTo>
                  <a:lnTo>
                    <a:pt x="2094" y="1020"/>
                  </a:lnTo>
                  <a:lnTo>
                    <a:pt x="2092" y="1022"/>
                  </a:lnTo>
                  <a:lnTo>
                    <a:pt x="2092" y="1022"/>
                  </a:lnTo>
                  <a:lnTo>
                    <a:pt x="2092" y="1022"/>
                  </a:lnTo>
                  <a:lnTo>
                    <a:pt x="2092" y="1026"/>
                  </a:lnTo>
                  <a:lnTo>
                    <a:pt x="2092" y="1026"/>
                  </a:lnTo>
                  <a:lnTo>
                    <a:pt x="2090" y="1026"/>
                  </a:lnTo>
                  <a:lnTo>
                    <a:pt x="2090" y="1030"/>
                  </a:lnTo>
                  <a:lnTo>
                    <a:pt x="2090" y="1030"/>
                  </a:lnTo>
                  <a:lnTo>
                    <a:pt x="2090" y="1030"/>
                  </a:lnTo>
                  <a:lnTo>
                    <a:pt x="2090" y="1034"/>
                  </a:lnTo>
                  <a:lnTo>
                    <a:pt x="2090" y="1038"/>
                  </a:lnTo>
                  <a:lnTo>
                    <a:pt x="2090" y="1048"/>
                  </a:lnTo>
                  <a:lnTo>
                    <a:pt x="2090" y="1052"/>
                  </a:lnTo>
                  <a:lnTo>
                    <a:pt x="2088" y="1058"/>
                  </a:lnTo>
                  <a:lnTo>
                    <a:pt x="2088" y="1056"/>
                  </a:lnTo>
                  <a:lnTo>
                    <a:pt x="2088" y="1060"/>
                  </a:lnTo>
                  <a:lnTo>
                    <a:pt x="2088" y="1060"/>
                  </a:lnTo>
                  <a:lnTo>
                    <a:pt x="2086" y="1062"/>
                  </a:lnTo>
                  <a:lnTo>
                    <a:pt x="2086" y="1062"/>
                  </a:lnTo>
                  <a:lnTo>
                    <a:pt x="2084" y="1064"/>
                  </a:lnTo>
                  <a:lnTo>
                    <a:pt x="2080" y="1066"/>
                  </a:lnTo>
                  <a:lnTo>
                    <a:pt x="2076" y="1068"/>
                  </a:lnTo>
                  <a:lnTo>
                    <a:pt x="2070" y="1072"/>
                  </a:lnTo>
                  <a:lnTo>
                    <a:pt x="2066" y="1074"/>
                  </a:lnTo>
                  <a:lnTo>
                    <a:pt x="2062" y="1076"/>
                  </a:lnTo>
                  <a:lnTo>
                    <a:pt x="2060" y="1078"/>
                  </a:lnTo>
                  <a:lnTo>
                    <a:pt x="2058" y="1080"/>
                  </a:lnTo>
                  <a:lnTo>
                    <a:pt x="2054" y="1084"/>
                  </a:lnTo>
                  <a:lnTo>
                    <a:pt x="2050" y="1086"/>
                  </a:lnTo>
                  <a:lnTo>
                    <a:pt x="2048" y="1088"/>
                  </a:lnTo>
                  <a:lnTo>
                    <a:pt x="2046" y="1090"/>
                  </a:lnTo>
                  <a:lnTo>
                    <a:pt x="2044" y="1092"/>
                  </a:lnTo>
                  <a:lnTo>
                    <a:pt x="2040" y="1096"/>
                  </a:lnTo>
                  <a:lnTo>
                    <a:pt x="2038" y="1100"/>
                  </a:lnTo>
                  <a:lnTo>
                    <a:pt x="2034" y="1106"/>
                  </a:lnTo>
                  <a:lnTo>
                    <a:pt x="2032" y="1110"/>
                  </a:lnTo>
                  <a:lnTo>
                    <a:pt x="2026" y="1120"/>
                  </a:lnTo>
                  <a:lnTo>
                    <a:pt x="2022" y="1124"/>
                  </a:lnTo>
                  <a:lnTo>
                    <a:pt x="2018" y="1128"/>
                  </a:lnTo>
                  <a:lnTo>
                    <a:pt x="2012" y="1134"/>
                  </a:lnTo>
                  <a:lnTo>
                    <a:pt x="2006" y="1142"/>
                  </a:lnTo>
                  <a:lnTo>
                    <a:pt x="1992" y="1154"/>
                  </a:lnTo>
                  <a:lnTo>
                    <a:pt x="1988" y="1156"/>
                  </a:lnTo>
                  <a:lnTo>
                    <a:pt x="1986" y="1160"/>
                  </a:lnTo>
                  <a:lnTo>
                    <a:pt x="1978" y="1166"/>
                  </a:lnTo>
                  <a:lnTo>
                    <a:pt x="1976" y="1168"/>
                  </a:lnTo>
                  <a:lnTo>
                    <a:pt x="1972" y="1172"/>
                  </a:lnTo>
                  <a:lnTo>
                    <a:pt x="1970" y="1176"/>
                  </a:lnTo>
                  <a:lnTo>
                    <a:pt x="1970" y="1176"/>
                  </a:lnTo>
                  <a:lnTo>
                    <a:pt x="1970" y="1176"/>
                  </a:lnTo>
                  <a:lnTo>
                    <a:pt x="1968" y="1180"/>
                  </a:lnTo>
                  <a:lnTo>
                    <a:pt x="1966" y="1186"/>
                  </a:lnTo>
                  <a:lnTo>
                    <a:pt x="1966" y="1192"/>
                  </a:lnTo>
                  <a:lnTo>
                    <a:pt x="1964" y="1200"/>
                  </a:lnTo>
                  <a:lnTo>
                    <a:pt x="1964" y="1206"/>
                  </a:lnTo>
                  <a:lnTo>
                    <a:pt x="1962" y="1214"/>
                  </a:lnTo>
                  <a:lnTo>
                    <a:pt x="1962" y="1220"/>
                  </a:lnTo>
                  <a:lnTo>
                    <a:pt x="1962" y="1226"/>
                  </a:lnTo>
                  <a:lnTo>
                    <a:pt x="1962" y="1232"/>
                  </a:lnTo>
                  <a:lnTo>
                    <a:pt x="1964" y="1236"/>
                  </a:lnTo>
                  <a:lnTo>
                    <a:pt x="1964" y="1236"/>
                  </a:lnTo>
                  <a:lnTo>
                    <a:pt x="1964" y="1236"/>
                  </a:lnTo>
                  <a:lnTo>
                    <a:pt x="1964" y="1240"/>
                  </a:lnTo>
                  <a:lnTo>
                    <a:pt x="1964" y="1240"/>
                  </a:lnTo>
                  <a:lnTo>
                    <a:pt x="1964" y="1240"/>
                  </a:lnTo>
                  <a:lnTo>
                    <a:pt x="1966" y="1242"/>
                  </a:lnTo>
                  <a:lnTo>
                    <a:pt x="1966" y="1242"/>
                  </a:lnTo>
                  <a:lnTo>
                    <a:pt x="1966" y="1242"/>
                  </a:lnTo>
                  <a:lnTo>
                    <a:pt x="1968" y="1246"/>
                  </a:lnTo>
                  <a:lnTo>
                    <a:pt x="1972" y="1248"/>
                  </a:lnTo>
                  <a:lnTo>
                    <a:pt x="1974" y="1250"/>
                  </a:lnTo>
                  <a:lnTo>
                    <a:pt x="1974" y="1252"/>
                  </a:lnTo>
                  <a:lnTo>
                    <a:pt x="1974" y="1254"/>
                  </a:lnTo>
                  <a:lnTo>
                    <a:pt x="1974" y="1258"/>
                  </a:lnTo>
                  <a:lnTo>
                    <a:pt x="1974" y="1264"/>
                  </a:lnTo>
                  <a:lnTo>
                    <a:pt x="1972" y="1272"/>
                  </a:lnTo>
                  <a:lnTo>
                    <a:pt x="1972" y="1276"/>
                  </a:lnTo>
                  <a:lnTo>
                    <a:pt x="1972" y="1278"/>
                  </a:lnTo>
                  <a:lnTo>
                    <a:pt x="1972" y="1278"/>
                  </a:lnTo>
                  <a:lnTo>
                    <a:pt x="1974" y="1280"/>
                  </a:lnTo>
                  <a:lnTo>
                    <a:pt x="1974" y="1282"/>
                  </a:lnTo>
                  <a:lnTo>
                    <a:pt x="1974" y="1284"/>
                  </a:lnTo>
                  <a:lnTo>
                    <a:pt x="1974" y="1284"/>
                  </a:lnTo>
                  <a:lnTo>
                    <a:pt x="1974" y="1284"/>
                  </a:lnTo>
                  <a:lnTo>
                    <a:pt x="1976" y="1288"/>
                  </a:lnTo>
                  <a:lnTo>
                    <a:pt x="1978" y="1292"/>
                  </a:lnTo>
                  <a:lnTo>
                    <a:pt x="1978" y="1292"/>
                  </a:lnTo>
                  <a:lnTo>
                    <a:pt x="1980" y="1294"/>
                  </a:lnTo>
                  <a:lnTo>
                    <a:pt x="1980" y="1296"/>
                  </a:lnTo>
                  <a:lnTo>
                    <a:pt x="1980" y="1298"/>
                  </a:lnTo>
                  <a:lnTo>
                    <a:pt x="1980" y="1302"/>
                  </a:lnTo>
                  <a:lnTo>
                    <a:pt x="1980" y="1306"/>
                  </a:lnTo>
                  <a:lnTo>
                    <a:pt x="1980" y="1310"/>
                  </a:lnTo>
                  <a:lnTo>
                    <a:pt x="1980" y="1314"/>
                  </a:lnTo>
                  <a:lnTo>
                    <a:pt x="1980" y="1316"/>
                  </a:lnTo>
                  <a:lnTo>
                    <a:pt x="1980" y="1320"/>
                  </a:lnTo>
                  <a:lnTo>
                    <a:pt x="1980" y="1320"/>
                  </a:lnTo>
                  <a:lnTo>
                    <a:pt x="1980" y="1320"/>
                  </a:lnTo>
                  <a:lnTo>
                    <a:pt x="1980" y="1322"/>
                  </a:lnTo>
                  <a:lnTo>
                    <a:pt x="1980" y="1322"/>
                  </a:lnTo>
                  <a:lnTo>
                    <a:pt x="1980" y="1324"/>
                  </a:lnTo>
                  <a:lnTo>
                    <a:pt x="1982" y="1324"/>
                  </a:lnTo>
                  <a:lnTo>
                    <a:pt x="1982" y="1324"/>
                  </a:lnTo>
                  <a:lnTo>
                    <a:pt x="1984" y="1324"/>
                  </a:lnTo>
                  <a:lnTo>
                    <a:pt x="1984" y="1324"/>
                  </a:lnTo>
                  <a:lnTo>
                    <a:pt x="1984" y="1324"/>
                  </a:lnTo>
                  <a:lnTo>
                    <a:pt x="1986" y="1324"/>
                  </a:lnTo>
                  <a:lnTo>
                    <a:pt x="1988" y="1322"/>
                  </a:lnTo>
                  <a:lnTo>
                    <a:pt x="1988" y="1322"/>
                  </a:lnTo>
                  <a:lnTo>
                    <a:pt x="1990" y="1320"/>
                  </a:lnTo>
                  <a:lnTo>
                    <a:pt x="1992" y="1318"/>
                  </a:lnTo>
                  <a:lnTo>
                    <a:pt x="1992" y="1318"/>
                  </a:lnTo>
                  <a:lnTo>
                    <a:pt x="1992" y="1318"/>
                  </a:lnTo>
                  <a:lnTo>
                    <a:pt x="1994" y="1318"/>
                  </a:lnTo>
                  <a:lnTo>
                    <a:pt x="1996" y="1318"/>
                  </a:lnTo>
                  <a:lnTo>
                    <a:pt x="1998" y="1318"/>
                  </a:lnTo>
                  <a:lnTo>
                    <a:pt x="1998" y="1318"/>
                  </a:lnTo>
                  <a:lnTo>
                    <a:pt x="1998" y="1318"/>
                  </a:lnTo>
                  <a:lnTo>
                    <a:pt x="2000" y="1318"/>
                  </a:lnTo>
                  <a:lnTo>
                    <a:pt x="2000" y="1318"/>
                  </a:lnTo>
                  <a:lnTo>
                    <a:pt x="2000" y="1318"/>
                  </a:lnTo>
                  <a:lnTo>
                    <a:pt x="2002" y="1318"/>
                  </a:lnTo>
                  <a:lnTo>
                    <a:pt x="2002" y="1318"/>
                  </a:lnTo>
                  <a:lnTo>
                    <a:pt x="2002" y="1316"/>
                  </a:lnTo>
                  <a:lnTo>
                    <a:pt x="2004" y="1316"/>
                  </a:lnTo>
                  <a:lnTo>
                    <a:pt x="2004" y="1316"/>
                  </a:lnTo>
                  <a:lnTo>
                    <a:pt x="2004" y="1316"/>
                  </a:lnTo>
                  <a:lnTo>
                    <a:pt x="2006" y="1312"/>
                  </a:lnTo>
                  <a:lnTo>
                    <a:pt x="2008" y="1310"/>
                  </a:lnTo>
                  <a:lnTo>
                    <a:pt x="2010" y="1306"/>
                  </a:lnTo>
                  <a:lnTo>
                    <a:pt x="2012" y="1304"/>
                  </a:lnTo>
                  <a:lnTo>
                    <a:pt x="2014" y="1296"/>
                  </a:lnTo>
                  <a:lnTo>
                    <a:pt x="2016" y="1294"/>
                  </a:lnTo>
                  <a:lnTo>
                    <a:pt x="2016" y="1290"/>
                  </a:lnTo>
                  <a:lnTo>
                    <a:pt x="2018" y="1284"/>
                  </a:lnTo>
                  <a:lnTo>
                    <a:pt x="2020" y="1280"/>
                  </a:lnTo>
                  <a:lnTo>
                    <a:pt x="2020" y="1278"/>
                  </a:lnTo>
                  <a:lnTo>
                    <a:pt x="2022" y="1276"/>
                  </a:lnTo>
                  <a:lnTo>
                    <a:pt x="2022" y="1276"/>
                  </a:lnTo>
                  <a:lnTo>
                    <a:pt x="2022" y="1276"/>
                  </a:lnTo>
                  <a:lnTo>
                    <a:pt x="2024" y="1276"/>
                  </a:lnTo>
                  <a:lnTo>
                    <a:pt x="2026" y="1278"/>
                  </a:lnTo>
                  <a:lnTo>
                    <a:pt x="2028" y="1280"/>
                  </a:lnTo>
                  <a:lnTo>
                    <a:pt x="2028" y="1280"/>
                  </a:lnTo>
                  <a:lnTo>
                    <a:pt x="2028" y="1280"/>
                  </a:lnTo>
                  <a:lnTo>
                    <a:pt x="2030" y="1282"/>
                  </a:lnTo>
                  <a:lnTo>
                    <a:pt x="2030" y="1282"/>
                  </a:lnTo>
                  <a:lnTo>
                    <a:pt x="2030" y="1282"/>
                  </a:lnTo>
                  <a:lnTo>
                    <a:pt x="2034" y="1282"/>
                  </a:lnTo>
                  <a:lnTo>
                    <a:pt x="2034" y="1280"/>
                  </a:lnTo>
                  <a:lnTo>
                    <a:pt x="2034" y="1280"/>
                  </a:lnTo>
                  <a:lnTo>
                    <a:pt x="2036" y="1278"/>
                  </a:lnTo>
                  <a:lnTo>
                    <a:pt x="2036" y="1278"/>
                  </a:lnTo>
                  <a:lnTo>
                    <a:pt x="2036" y="1278"/>
                  </a:lnTo>
                  <a:lnTo>
                    <a:pt x="2036" y="1276"/>
                  </a:lnTo>
                  <a:lnTo>
                    <a:pt x="2034" y="1274"/>
                  </a:lnTo>
                  <a:lnTo>
                    <a:pt x="2034" y="1272"/>
                  </a:lnTo>
                  <a:lnTo>
                    <a:pt x="2034" y="1268"/>
                  </a:lnTo>
                  <a:lnTo>
                    <a:pt x="2032" y="1264"/>
                  </a:lnTo>
                  <a:lnTo>
                    <a:pt x="2032" y="1262"/>
                  </a:lnTo>
                  <a:lnTo>
                    <a:pt x="2032" y="1260"/>
                  </a:lnTo>
                  <a:lnTo>
                    <a:pt x="2032" y="1258"/>
                  </a:lnTo>
                  <a:lnTo>
                    <a:pt x="2032" y="1256"/>
                  </a:lnTo>
                  <a:lnTo>
                    <a:pt x="2032" y="1256"/>
                  </a:lnTo>
                  <a:lnTo>
                    <a:pt x="2032" y="1254"/>
                  </a:lnTo>
                  <a:lnTo>
                    <a:pt x="2034" y="1254"/>
                  </a:lnTo>
                  <a:lnTo>
                    <a:pt x="2036" y="1252"/>
                  </a:lnTo>
                  <a:lnTo>
                    <a:pt x="2040" y="1246"/>
                  </a:lnTo>
                  <a:lnTo>
                    <a:pt x="2044" y="1244"/>
                  </a:lnTo>
                  <a:lnTo>
                    <a:pt x="2046" y="1244"/>
                  </a:lnTo>
                  <a:lnTo>
                    <a:pt x="2046" y="1242"/>
                  </a:lnTo>
                  <a:lnTo>
                    <a:pt x="2046" y="1242"/>
                  </a:lnTo>
                  <a:lnTo>
                    <a:pt x="2050" y="1244"/>
                  </a:lnTo>
                  <a:lnTo>
                    <a:pt x="2052" y="1244"/>
                  </a:lnTo>
                  <a:lnTo>
                    <a:pt x="2054" y="1244"/>
                  </a:lnTo>
                  <a:lnTo>
                    <a:pt x="2054" y="1244"/>
                  </a:lnTo>
                  <a:lnTo>
                    <a:pt x="2054" y="1244"/>
                  </a:lnTo>
                  <a:lnTo>
                    <a:pt x="2056" y="1244"/>
                  </a:lnTo>
                  <a:lnTo>
                    <a:pt x="2056" y="1244"/>
                  </a:lnTo>
                  <a:lnTo>
                    <a:pt x="2056" y="1244"/>
                  </a:lnTo>
                  <a:lnTo>
                    <a:pt x="2058" y="1242"/>
                  </a:lnTo>
                  <a:lnTo>
                    <a:pt x="2060" y="1240"/>
                  </a:lnTo>
                  <a:lnTo>
                    <a:pt x="2062" y="1238"/>
                  </a:lnTo>
                  <a:lnTo>
                    <a:pt x="2064" y="1236"/>
                  </a:lnTo>
                  <a:lnTo>
                    <a:pt x="2064" y="1236"/>
                  </a:lnTo>
                  <a:lnTo>
                    <a:pt x="2064" y="1236"/>
                  </a:lnTo>
                  <a:lnTo>
                    <a:pt x="2066" y="1234"/>
                  </a:lnTo>
                  <a:lnTo>
                    <a:pt x="2066" y="1234"/>
                  </a:lnTo>
                  <a:lnTo>
                    <a:pt x="2066" y="1232"/>
                  </a:lnTo>
                  <a:lnTo>
                    <a:pt x="2066" y="1230"/>
                  </a:lnTo>
                  <a:lnTo>
                    <a:pt x="2066" y="1226"/>
                  </a:lnTo>
                  <a:lnTo>
                    <a:pt x="2066" y="1224"/>
                  </a:lnTo>
                  <a:lnTo>
                    <a:pt x="2066" y="1220"/>
                  </a:lnTo>
                  <a:lnTo>
                    <a:pt x="2066" y="1216"/>
                  </a:lnTo>
                  <a:lnTo>
                    <a:pt x="2066" y="1212"/>
                  </a:lnTo>
                  <a:lnTo>
                    <a:pt x="2066" y="1208"/>
                  </a:lnTo>
                  <a:lnTo>
                    <a:pt x="2066" y="1208"/>
                  </a:lnTo>
                  <a:lnTo>
                    <a:pt x="2066" y="1206"/>
                  </a:lnTo>
                  <a:lnTo>
                    <a:pt x="2066" y="1206"/>
                  </a:lnTo>
                  <a:lnTo>
                    <a:pt x="2068" y="1206"/>
                  </a:lnTo>
                  <a:lnTo>
                    <a:pt x="2070" y="1206"/>
                  </a:lnTo>
                  <a:lnTo>
                    <a:pt x="2072" y="1208"/>
                  </a:lnTo>
                  <a:lnTo>
                    <a:pt x="2076" y="1208"/>
                  </a:lnTo>
                  <a:lnTo>
                    <a:pt x="2078" y="1208"/>
                  </a:lnTo>
                  <a:lnTo>
                    <a:pt x="2078" y="1208"/>
                  </a:lnTo>
                  <a:lnTo>
                    <a:pt x="2080" y="1208"/>
                  </a:lnTo>
                  <a:lnTo>
                    <a:pt x="2080" y="1208"/>
                  </a:lnTo>
                  <a:lnTo>
                    <a:pt x="2082" y="1208"/>
                  </a:lnTo>
                  <a:lnTo>
                    <a:pt x="2084" y="1208"/>
                  </a:lnTo>
                  <a:lnTo>
                    <a:pt x="2084" y="1208"/>
                  </a:lnTo>
                  <a:lnTo>
                    <a:pt x="2084" y="1206"/>
                  </a:lnTo>
                  <a:lnTo>
                    <a:pt x="2086" y="1204"/>
                  </a:lnTo>
                  <a:lnTo>
                    <a:pt x="2086" y="1204"/>
                  </a:lnTo>
                  <a:lnTo>
                    <a:pt x="2086" y="1204"/>
                  </a:lnTo>
                  <a:lnTo>
                    <a:pt x="2086" y="1202"/>
                  </a:lnTo>
                  <a:lnTo>
                    <a:pt x="2086" y="1200"/>
                  </a:lnTo>
                  <a:lnTo>
                    <a:pt x="2086" y="1196"/>
                  </a:lnTo>
                  <a:lnTo>
                    <a:pt x="2084" y="1192"/>
                  </a:lnTo>
                  <a:lnTo>
                    <a:pt x="2084" y="1186"/>
                  </a:lnTo>
                  <a:lnTo>
                    <a:pt x="2084" y="1184"/>
                  </a:lnTo>
                  <a:lnTo>
                    <a:pt x="2084" y="1184"/>
                  </a:lnTo>
                  <a:lnTo>
                    <a:pt x="2084" y="1184"/>
                  </a:lnTo>
                  <a:lnTo>
                    <a:pt x="2082" y="1182"/>
                  </a:lnTo>
                  <a:lnTo>
                    <a:pt x="2080" y="1176"/>
                  </a:lnTo>
                  <a:lnTo>
                    <a:pt x="2078" y="1172"/>
                  </a:lnTo>
                  <a:lnTo>
                    <a:pt x="2076" y="1170"/>
                  </a:lnTo>
                  <a:lnTo>
                    <a:pt x="2076" y="1170"/>
                  </a:lnTo>
                  <a:lnTo>
                    <a:pt x="2076" y="1168"/>
                  </a:lnTo>
                  <a:lnTo>
                    <a:pt x="2078" y="1168"/>
                  </a:lnTo>
                  <a:lnTo>
                    <a:pt x="2078" y="1166"/>
                  </a:lnTo>
                  <a:lnTo>
                    <a:pt x="2080" y="1164"/>
                  </a:lnTo>
                  <a:lnTo>
                    <a:pt x="2082" y="1162"/>
                  </a:lnTo>
                  <a:lnTo>
                    <a:pt x="2084" y="1160"/>
                  </a:lnTo>
                  <a:lnTo>
                    <a:pt x="2084" y="1158"/>
                  </a:lnTo>
                  <a:lnTo>
                    <a:pt x="2084" y="1158"/>
                  </a:lnTo>
                  <a:lnTo>
                    <a:pt x="2084" y="1158"/>
                  </a:lnTo>
                  <a:lnTo>
                    <a:pt x="2084" y="1156"/>
                  </a:lnTo>
                  <a:lnTo>
                    <a:pt x="2084" y="1156"/>
                  </a:lnTo>
                  <a:lnTo>
                    <a:pt x="2084" y="1154"/>
                  </a:lnTo>
                  <a:lnTo>
                    <a:pt x="2082" y="1152"/>
                  </a:lnTo>
                  <a:lnTo>
                    <a:pt x="2082" y="1152"/>
                  </a:lnTo>
                  <a:lnTo>
                    <a:pt x="2080" y="1152"/>
                  </a:lnTo>
                  <a:lnTo>
                    <a:pt x="2080" y="1152"/>
                  </a:lnTo>
                  <a:lnTo>
                    <a:pt x="2076" y="1154"/>
                  </a:lnTo>
                  <a:lnTo>
                    <a:pt x="2074" y="1154"/>
                  </a:lnTo>
                  <a:lnTo>
                    <a:pt x="2072" y="1154"/>
                  </a:lnTo>
                  <a:lnTo>
                    <a:pt x="2070" y="1156"/>
                  </a:lnTo>
                  <a:lnTo>
                    <a:pt x="2068" y="1156"/>
                  </a:lnTo>
                  <a:lnTo>
                    <a:pt x="2068" y="1156"/>
                  </a:lnTo>
                  <a:lnTo>
                    <a:pt x="2068" y="1154"/>
                  </a:lnTo>
                  <a:lnTo>
                    <a:pt x="2068" y="1152"/>
                  </a:lnTo>
                  <a:lnTo>
                    <a:pt x="2068" y="1148"/>
                  </a:lnTo>
                  <a:lnTo>
                    <a:pt x="2068" y="1144"/>
                  </a:lnTo>
                  <a:lnTo>
                    <a:pt x="2068" y="1136"/>
                  </a:lnTo>
                  <a:lnTo>
                    <a:pt x="2068" y="1136"/>
                  </a:lnTo>
                  <a:lnTo>
                    <a:pt x="2068" y="1134"/>
                  </a:lnTo>
                  <a:lnTo>
                    <a:pt x="2068" y="1132"/>
                  </a:lnTo>
                  <a:lnTo>
                    <a:pt x="2070" y="1130"/>
                  </a:lnTo>
                  <a:lnTo>
                    <a:pt x="2070" y="1128"/>
                  </a:lnTo>
                  <a:lnTo>
                    <a:pt x="2074" y="1126"/>
                  </a:lnTo>
                  <a:lnTo>
                    <a:pt x="2076" y="1124"/>
                  </a:lnTo>
                  <a:lnTo>
                    <a:pt x="2078" y="1124"/>
                  </a:lnTo>
                  <a:lnTo>
                    <a:pt x="2078" y="1124"/>
                  </a:lnTo>
                  <a:lnTo>
                    <a:pt x="2078" y="1124"/>
                  </a:lnTo>
                  <a:lnTo>
                    <a:pt x="2078" y="1126"/>
                  </a:lnTo>
                  <a:lnTo>
                    <a:pt x="2078" y="1128"/>
                  </a:lnTo>
                  <a:lnTo>
                    <a:pt x="2078" y="1130"/>
                  </a:lnTo>
                  <a:lnTo>
                    <a:pt x="2078" y="1130"/>
                  </a:lnTo>
                  <a:lnTo>
                    <a:pt x="2078" y="1130"/>
                  </a:lnTo>
                  <a:lnTo>
                    <a:pt x="2078" y="1132"/>
                  </a:lnTo>
                  <a:lnTo>
                    <a:pt x="2078" y="1132"/>
                  </a:lnTo>
                  <a:lnTo>
                    <a:pt x="2080" y="1134"/>
                  </a:lnTo>
                  <a:lnTo>
                    <a:pt x="2080" y="1134"/>
                  </a:lnTo>
                  <a:lnTo>
                    <a:pt x="2080" y="1134"/>
                  </a:lnTo>
                  <a:lnTo>
                    <a:pt x="2082" y="1136"/>
                  </a:lnTo>
                  <a:lnTo>
                    <a:pt x="2082" y="1136"/>
                  </a:lnTo>
                  <a:lnTo>
                    <a:pt x="2082" y="1136"/>
                  </a:lnTo>
                  <a:lnTo>
                    <a:pt x="2084" y="1136"/>
                  </a:lnTo>
                  <a:lnTo>
                    <a:pt x="2086" y="1136"/>
                  </a:lnTo>
                  <a:lnTo>
                    <a:pt x="2086" y="1136"/>
                  </a:lnTo>
                  <a:lnTo>
                    <a:pt x="2088" y="1136"/>
                  </a:lnTo>
                  <a:lnTo>
                    <a:pt x="2092" y="1136"/>
                  </a:lnTo>
                  <a:lnTo>
                    <a:pt x="2094" y="1134"/>
                  </a:lnTo>
                  <a:lnTo>
                    <a:pt x="2096" y="1134"/>
                  </a:lnTo>
                  <a:lnTo>
                    <a:pt x="2098" y="1132"/>
                  </a:lnTo>
                  <a:lnTo>
                    <a:pt x="2098" y="1132"/>
                  </a:lnTo>
                  <a:lnTo>
                    <a:pt x="2098" y="1132"/>
                  </a:lnTo>
                  <a:lnTo>
                    <a:pt x="2100" y="1130"/>
                  </a:lnTo>
                  <a:lnTo>
                    <a:pt x="2100" y="1130"/>
                  </a:lnTo>
                  <a:lnTo>
                    <a:pt x="2102" y="1130"/>
                  </a:lnTo>
                  <a:lnTo>
                    <a:pt x="2102" y="1128"/>
                  </a:lnTo>
                  <a:lnTo>
                    <a:pt x="2102" y="1128"/>
                  </a:lnTo>
                  <a:lnTo>
                    <a:pt x="2104" y="1126"/>
                  </a:lnTo>
                  <a:lnTo>
                    <a:pt x="2104" y="1124"/>
                  </a:lnTo>
                  <a:lnTo>
                    <a:pt x="2104" y="1124"/>
                  </a:lnTo>
                  <a:lnTo>
                    <a:pt x="2104" y="1122"/>
                  </a:lnTo>
                  <a:lnTo>
                    <a:pt x="2104" y="1120"/>
                  </a:lnTo>
                  <a:lnTo>
                    <a:pt x="2104" y="1120"/>
                  </a:lnTo>
                  <a:lnTo>
                    <a:pt x="2104" y="1120"/>
                  </a:lnTo>
                  <a:lnTo>
                    <a:pt x="2102" y="1118"/>
                  </a:lnTo>
                  <a:lnTo>
                    <a:pt x="2102" y="1118"/>
                  </a:lnTo>
                  <a:lnTo>
                    <a:pt x="2102" y="1118"/>
                  </a:lnTo>
                  <a:lnTo>
                    <a:pt x="2102" y="1116"/>
                  </a:lnTo>
                  <a:lnTo>
                    <a:pt x="2102" y="1116"/>
                  </a:lnTo>
                  <a:lnTo>
                    <a:pt x="2100" y="1116"/>
                  </a:lnTo>
                  <a:lnTo>
                    <a:pt x="2100" y="1116"/>
                  </a:lnTo>
                  <a:lnTo>
                    <a:pt x="2100" y="1116"/>
                  </a:lnTo>
                  <a:lnTo>
                    <a:pt x="2100" y="1114"/>
                  </a:lnTo>
                  <a:lnTo>
                    <a:pt x="2098" y="1114"/>
                  </a:lnTo>
                  <a:lnTo>
                    <a:pt x="2098" y="1114"/>
                  </a:lnTo>
                  <a:lnTo>
                    <a:pt x="2094" y="1114"/>
                  </a:lnTo>
                  <a:lnTo>
                    <a:pt x="2090" y="1116"/>
                  </a:lnTo>
                  <a:lnTo>
                    <a:pt x="2088" y="1116"/>
                  </a:lnTo>
                  <a:lnTo>
                    <a:pt x="2088" y="1116"/>
                  </a:lnTo>
                  <a:lnTo>
                    <a:pt x="2088" y="1116"/>
                  </a:lnTo>
                  <a:lnTo>
                    <a:pt x="2086" y="1114"/>
                  </a:lnTo>
                  <a:lnTo>
                    <a:pt x="2084" y="1114"/>
                  </a:lnTo>
                  <a:lnTo>
                    <a:pt x="2080" y="1112"/>
                  </a:lnTo>
                  <a:lnTo>
                    <a:pt x="2078" y="1112"/>
                  </a:lnTo>
                  <a:lnTo>
                    <a:pt x="2076" y="1112"/>
                  </a:lnTo>
                  <a:lnTo>
                    <a:pt x="2078" y="1110"/>
                  </a:lnTo>
                  <a:lnTo>
                    <a:pt x="2080" y="1110"/>
                  </a:lnTo>
                  <a:lnTo>
                    <a:pt x="2082" y="1108"/>
                  </a:lnTo>
                  <a:lnTo>
                    <a:pt x="2088" y="1104"/>
                  </a:lnTo>
                  <a:lnTo>
                    <a:pt x="2092" y="1104"/>
                  </a:lnTo>
                  <a:lnTo>
                    <a:pt x="2094" y="1102"/>
                  </a:lnTo>
                  <a:lnTo>
                    <a:pt x="2100" y="1100"/>
                  </a:lnTo>
                  <a:lnTo>
                    <a:pt x="2106" y="1098"/>
                  </a:lnTo>
                  <a:lnTo>
                    <a:pt x="2110" y="1096"/>
                  </a:lnTo>
                  <a:lnTo>
                    <a:pt x="2114" y="1096"/>
                  </a:lnTo>
                  <a:lnTo>
                    <a:pt x="2116" y="1094"/>
                  </a:lnTo>
                  <a:lnTo>
                    <a:pt x="2116" y="1094"/>
                  </a:lnTo>
                  <a:lnTo>
                    <a:pt x="2116" y="1094"/>
                  </a:lnTo>
                  <a:lnTo>
                    <a:pt x="2118" y="1092"/>
                  </a:lnTo>
                  <a:lnTo>
                    <a:pt x="2118" y="1092"/>
                  </a:lnTo>
                  <a:lnTo>
                    <a:pt x="2118" y="1092"/>
                  </a:lnTo>
                  <a:lnTo>
                    <a:pt x="2120" y="1090"/>
                  </a:lnTo>
                  <a:lnTo>
                    <a:pt x="2122" y="1084"/>
                  </a:lnTo>
                  <a:lnTo>
                    <a:pt x="2122" y="1084"/>
                  </a:lnTo>
                  <a:lnTo>
                    <a:pt x="2124" y="1088"/>
                  </a:lnTo>
                  <a:lnTo>
                    <a:pt x="2124" y="1090"/>
                  </a:lnTo>
                  <a:lnTo>
                    <a:pt x="2124" y="1090"/>
                  </a:lnTo>
                  <a:lnTo>
                    <a:pt x="2124" y="1090"/>
                  </a:lnTo>
                  <a:lnTo>
                    <a:pt x="2124" y="1092"/>
                  </a:lnTo>
                  <a:lnTo>
                    <a:pt x="2124" y="1092"/>
                  </a:lnTo>
                  <a:lnTo>
                    <a:pt x="2126" y="1092"/>
                  </a:lnTo>
                  <a:lnTo>
                    <a:pt x="2128" y="1094"/>
                  </a:lnTo>
                  <a:lnTo>
                    <a:pt x="2128" y="1094"/>
                  </a:lnTo>
                  <a:lnTo>
                    <a:pt x="2128" y="1094"/>
                  </a:lnTo>
                  <a:lnTo>
                    <a:pt x="2130" y="1094"/>
                  </a:lnTo>
                  <a:lnTo>
                    <a:pt x="2130" y="1094"/>
                  </a:lnTo>
                  <a:lnTo>
                    <a:pt x="2132" y="1094"/>
                  </a:lnTo>
                  <a:lnTo>
                    <a:pt x="2134" y="1092"/>
                  </a:lnTo>
                  <a:lnTo>
                    <a:pt x="2134" y="1092"/>
                  </a:lnTo>
                  <a:lnTo>
                    <a:pt x="2134" y="1092"/>
                  </a:lnTo>
                  <a:lnTo>
                    <a:pt x="2136" y="1092"/>
                  </a:lnTo>
                  <a:lnTo>
                    <a:pt x="2138" y="1090"/>
                  </a:lnTo>
                  <a:lnTo>
                    <a:pt x="2142" y="1086"/>
                  </a:lnTo>
                  <a:lnTo>
                    <a:pt x="2144" y="1086"/>
                  </a:lnTo>
                  <a:lnTo>
                    <a:pt x="2146" y="1084"/>
                  </a:lnTo>
                  <a:lnTo>
                    <a:pt x="2146" y="1084"/>
                  </a:lnTo>
                  <a:lnTo>
                    <a:pt x="2150" y="1084"/>
                  </a:lnTo>
                  <a:lnTo>
                    <a:pt x="2154" y="1084"/>
                  </a:lnTo>
                  <a:lnTo>
                    <a:pt x="2162" y="1082"/>
                  </a:lnTo>
                  <a:lnTo>
                    <a:pt x="2164" y="1082"/>
                  </a:lnTo>
                  <a:lnTo>
                    <a:pt x="2168" y="1082"/>
                  </a:lnTo>
                  <a:lnTo>
                    <a:pt x="2170" y="1084"/>
                  </a:lnTo>
                  <a:lnTo>
                    <a:pt x="2170" y="1084"/>
                  </a:lnTo>
                  <a:lnTo>
                    <a:pt x="2172" y="1084"/>
                  </a:lnTo>
                  <a:lnTo>
                    <a:pt x="2172" y="1086"/>
                  </a:lnTo>
                  <a:lnTo>
                    <a:pt x="2172" y="1086"/>
                  </a:lnTo>
                  <a:lnTo>
                    <a:pt x="2172" y="1090"/>
                  </a:lnTo>
                  <a:lnTo>
                    <a:pt x="2174" y="1092"/>
                  </a:lnTo>
                  <a:lnTo>
                    <a:pt x="2174" y="1094"/>
                  </a:lnTo>
                  <a:lnTo>
                    <a:pt x="2174" y="1096"/>
                  </a:lnTo>
                  <a:lnTo>
                    <a:pt x="2174" y="1096"/>
                  </a:lnTo>
                  <a:lnTo>
                    <a:pt x="2174" y="1096"/>
                  </a:lnTo>
                  <a:lnTo>
                    <a:pt x="2176" y="1096"/>
                  </a:lnTo>
                  <a:lnTo>
                    <a:pt x="2176" y="1096"/>
                  </a:lnTo>
                  <a:lnTo>
                    <a:pt x="2178" y="1098"/>
                  </a:lnTo>
                  <a:lnTo>
                    <a:pt x="2178" y="1098"/>
                  </a:lnTo>
                  <a:lnTo>
                    <a:pt x="2178" y="1098"/>
                  </a:lnTo>
                  <a:lnTo>
                    <a:pt x="2180" y="1096"/>
                  </a:lnTo>
                  <a:lnTo>
                    <a:pt x="2182" y="1096"/>
                  </a:lnTo>
                  <a:lnTo>
                    <a:pt x="2182" y="1096"/>
                  </a:lnTo>
                  <a:lnTo>
                    <a:pt x="2182" y="1096"/>
                  </a:lnTo>
                  <a:lnTo>
                    <a:pt x="2182" y="1094"/>
                  </a:lnTo>
                  <a:lnTo>
                    <a:pt x="2184" y="1092"/>
                  </a:lnTo>
                  <a:lnTo>
                    <a:pt x="2184" y="1090"/>
                  </a:lnTo>
                  <a:lnTo>
                    <a:pt x="2186" y="1088"/>
                  </a:lnTo>
                  <a:lnTo>
                    <a:pt x="2186" y="1088"/>
                  </a:lnTo>
                  <a:lnTo>
                    <a:pt x="2188" y="1086"/>
                  </a:lnTo>
                  <a:lnTo>
                    <a:pt x="2190" y="1086"/>
                  </a:lnTo>
                  <a:lnTo>
                    <a:pt x="2192" y="1084"/>
                  </a:lnTo>
                  <a:lnTo>
                    <a:pt x="2192" y="1084"/>
                  </a:lnTo>
                  <a:lnTo>
                    <a:pt x="2192" y="1084"/>
                  </a:lnTo>
                  <a:lnTo>
                    <a:pt x="2194" y="1084"/>
                  </a:lnTo>
                  <a:lnTo>
                    <a:pt x="2194" y="1082"/>
                  </a:lnTo>
                  <a:lnTo>
                    <a:pt x="2198" y="1080"/>
                  </a:lnTo>
                  <a:lnTo>
                    <a:pt x="2200" y="1078"/>
                  </a:lnTo>
                  <a:lnTo>
                    <a:pt x="2204" y="1074"/>
                  </a:lnTo>
                  <a:lnTo>
                    <a:pt x="2208" y="1068"/>
                  </a:lnTo>
                  <a:lnTo>
                    <a:pt x="2212" y="1064"/>
                  </a:lnTo>
                  <a:lnTo>
                    <a:pt x="2216" y="1060"/>
                  </a:lnTo>
                  <a:lnTo>
                    <a:pt x="2220" y="1054"/>
                  </a:lnTo>
                  <a:lnTo>
                    <a:pt x="2222" y="1052"/>
                  </a:lnTo>
                  <a:lnTo>
                    <a:pt x="2226" y="1050"/>
                  </a:lnTo>
                  <a:lnTo>
                    <a:pt x="2228" y="1048"/>
                  </a:lnTo>
                  <a:lnTo>
                    <a:pt x="2232" y="1044"/>
                  </a:lnTo>
                  <a:lnTo>
                    <a:pt x="2234" y="1044"/>
                  </a:lnTo>
                  <a:lnTo>
                    <a:pt x="2238" y="1042"/>
                  </a:lnTo>
                  <a:lnTo>
                    <a:pt x="2244" y="1038"/>
                  </a:lnTo>
                  <a:lnTo>
                    <a:pt x="2250" y="1036"/>
                  </a:lnTo>
                  <a:lnTo>
                    <a:pt x="2258" y="1032"/>
                  </a:lnTo>
                  <a:lnTo>
                    <a:pt x="2264" y="1028"/>
                  </a:lnTo>
                  <a:lnTo>
                    <a:pt x="2272" y="1026"/>
                  </a:lnTo>
                  <a:lnTo>
                    <a:pt x="2278" y="1022"/>
                  </a:lnTo>
                  <a:lnTo>
                    <a:pt x="2280" y="1022"/>
                  </a:lnTo>
                  <a:lnTo>
                    <a:pt x="2282" y="1020"/>
                  </a:lnTo>
                  <a:lnTo>
                    <a:pt x="2286" y="1018"/>
                  </a:lnTo>
                  <a:lnTo>
                    <a:pt x="2286" y="1018"/>
                  </a:lnTo>
                  <a:lnTo>
                    <a:pt x="2288" y="1018"/>
                  </a:lnTo>
                  <a:lnTo>
                    <a:pt x="2288" y="1018"/>
                  </a:lnTo>
                  <a:lnTo>
                    <a:pt x="2288" y="1018"/>
                  </a:lnTo>
                  <a:lnTo>
                    <a:pt x="2288" y="1018"/>
                  </a:lnTo>
                  <a:lnTo>
                    <a:pt x="2288" y="1018"/>
                  </a:lnTo>
                  <a:lnTo>
                    <a:pt x="2290" y="1018"/>
                  </a:lnTo>
                  <a:lnTo>
                    <a:pt x="2290" y="1018"/>
                  </a:lnTo>
                  <a:lnTo>
                    <a:pt x="2292" y="1018"/>
                  </a:lnTo>
                  <a:lnTo>
                    <a:pt x="2292" y="1018"/>
                  </a:lnTo>
                  <a:lnTo>
                    <a:pt x="2294" y="1018"/>
                  </a:lnTo>
                  <a:lnTo>
                    <a:pt x="2300" y="1022"/>
                  </a:lnTo>
                  <a:lnTo>
                    <a:pt x="2302" y="1022"/>
                  </a:lnTo>
                  <a:lnTo>
                    <a:pt x="2306" y="1024"/>
                  </a:lnTo>
                  <a:lnTo>
                    <a:pt x="2306" y="1024"/>
                  </a:lnTo>
                  <a:lnTo>
                    <a:pt x="2306" y="1024"/>
                  </a:lnTo>
                  <a:lnTo>
                    <a:pt x="2308" y="1024"/>
                  </a:lnTo>
                  <a:lnTo>
                    <a:pt x="2308" y="1024"/>
                  </a:lnTo>
                  <a:lnTo>
                    <a:pt x="2308" y="1024"/>
                  </a:lnTo>
                  <a:lnTo>
                    <a:pt x="2310" y="1024"/>
                  </a:lnTo>
                  <a:lnTo>
                    <a:pt x="2310" y="1024"/>
                  </a:lnTo>
                  <a:lnTo>
                    <a:pt x="2312" y="1024"/>
                  </a:lnTo>
                  <a:lnTo>
                    <a:pt x="2314" y="1022"/>
                  </a:lnTo>
                  <a:lnTo>
                    <a:pt x="2314" y="1022"/>
                  </a:lnTo>
                  <a:lnTo>
                    <a:pt x="2314" y="1022"/>
                  </a:lnTo>
                  <a:lnTo>
                    <a:pt x="2316" y="1020"/>
                  </a:lnTo>
                  <a:lnTo>
                    <a:pt x="2316" y="1020"/>
                  </a:lnTo>
                  <a:lnTo>
                    <a:pt x="2316" y="1020"/>
                  </a:lnTo>
                  <a:lnTo>
                    <a:pt x="2316" y="1016"/>
                  </a:lnTo>
                  <a:lnTo>
                    <a:pt x="2318" y="1014"/>
                  </a:lnTo>
                  <a:lnTo>
                    <a:pt x="2320" y="1008"/>
                  </a:lnTo>
                  <a:lnTo>
                    <a:pt x="2320" y="1006"/>
                  </a:lnTo>
                  <a:lnTo>
                    <a:pt x="2320" y="1004"/>
                  </a:lnTo>
                  <a:lnTo>
                    <a:pt x="2320" y="1002"/>
                  </a:lnTo>
                  <a:lnTo>
                    <a:pt x="2320" y="1002"/>
                  </a:lnTo>
                  <a:lnTo>
                    <a:pt x="2320" y="1002"/>
                  </a:lnTo>
                  <a:lnTo>
                    <a:pt x="2320" y="1000"/>
                  </a:lnTo>
                  <a:lnTo>
                    <a:pt x="2320" y="998"/>
                  </a:lnTo>
                  <a:lnTo>
                    <a:pt x="2320" y="998"/>
                  </a:lnTo>
                  <a:lnTo>
                    <a:pt x="2320" y="998"/>
                  </a:lnTo>
                  <a:lnTo>
                    <a:pt x="2316" y="994"/>
                  </a:lnTo>
                  <a:lnTo>
                    <a:pt x="2314" y="992"/>
                  </a:lnTo>
                  <a:lnTo>
                    <a:pt x="2312" y="988"/>
                  </a:lnTo>
                  <a:lnTo>
                    <a:pt x="2310" y="986"/>
                  </a:lnTo>
                  <a:lnTo>
                    <a:pt x="2310" y="982"/>
                  </a:lnTo>
                  <a:lnTo>
                    <a:pt x="2306" y="976"/>
                  </a:lnTo>
                  <a:lnTo>
                    <a:pt x="2304" y="974"/>
                  </a:lnTo>
                  <a:lnTo>
                    <a:pt x="2302" y="970"/>
                  </a:lnTo>
                  <a:lnTo>
                    <a:pt x="2300" y="968"/>
                  </a:lnTo>
                  <a:lnTo>
                    <a:pt x="2300" y="964"/>
                  </a:lnTo>
                  <a:lnTo>
                    <a:pt x="2298" y="962"/>
                  </a:lnTo>
                  <a:lnTo>
                    <a:pt x="2298" y="962"/>
                  </a:lnTo>
                  <a:lnTo>
                    <a:pt x="2294" y="960"/>
                  </a:lnTo>
                  <a:lnTo>
                    <a:pt x="2292" y="958"/>
                  </a:lnTo>
                  <a:lnTo>
                    <a:pt x="2290" y="956"/>
                  </a:lnTo>
                  <a:lnTo>
                    <a:pt x="2288" y="954"/>
                  </a:lnTo>
                  <a:lnTo>
                    <a:pt x="2288" y="954"/>
                  </a:lnTo>
                  <a:lnTo>
                    <a:pt x="2288" y="954"/>
                  </a:lnTo>
                  <a:lnTo>
                    <a:pt x="2286" y="952"/>
                  </a:lnTo>
                  <a:lnTo>
                    <a:pt x="2284" y="952"/>
                  </a:lnTo>
                  <a:lnTo>
                    <a:pt x="2284" y="950"/>
                  </a:lnTo>
                  <a:lnTo>
                    <a:pt x="2282" y="948"/>
                  </a:lnTo>
                  <a:lnTo>
                    <a:pt x="2280" y="944"/>
                  </a:lnTo>
                  <a:lnTo>
                    <a:pt x="2278" y="942"/>
                  </a:lnTo>
                  <a:lnTo>
                    <a:pt x="2278" y="942"/>
                  </a:lnTo>
                  <a:lnTo>
                    <a:pt x="2278" y="942"/>
                  </a:lnTo>
                  <a:lnTo>
                    <a:pt x="2278" y="940"/>
                  </a:lnTo>
                  <a:lnTo>
                    <a:pt x="2278" y="940"/>
                  </a:lnTo>
                  <a:lnTo>
                    <a:pt x="2280" y="940"/>
                  </a:lnTo>
                  <a:lnTo>
                    <a:pt x="2282" y="940"/>
                  </a:lnTo>
                  <a:lnTo>
                    <a:pt x="2284" y="940"/>
                  </a:lnTo>
                  <a:lnTo>
                    <a:pt x="2284" y="940"/>
                  </a:lnTo>
                  <a:lnTo>
                    <a:pt x="2284" y="940"/>
                  </a:lnTo>
                  <a:lnTo>
                    <a:pt x="2286" y="940"/>
                  </a:lnTo>
                  <a:lnTo>
                    <a:pt x="2288" y="944"/>
                  </a:lnTo>
                  <a:lnTo>
                    <a:pt x="2290" y="946"/>
                  </a:lnTo>
                  <a:lnTo>
                    <a:pt x="2290" y="946"/>
                  </a:lnTo>
                  <a:lnTo>
                    <a:pt x="2290" y="946"/>
                  </a:lnTo>
                  <a:lnTo>
                    <a:pt x="2292" y="948"/>
                  </a:lnTo>
                  <a:lnTo>
                    <a:pt x="2292" y="948"/>
                  </a:lnTo>
                  <a:lnTo>
                    <a:pt x="2292" y="948"/>
                  </a:lnTo>
                  <a:lnTo>
                    <a:pt x="2294" y="948"/>
                  </a:lnTo>
                  <a:lnTo>
                    <a:pt x="2294" y="948"/>
                  </a:lnTo>
                  <a:lnTo>
                    <a:pt x="2296" y="948"/>
                  </a:lnTo>
                  <a:lnTo>
                    <a:pt x="2298" y="948"/>
                  </a:lnTo>
                  <a:lnTo>
                    <a:pt x="2300" y="948"/>
                  </a:lnTo>
                  <a:lnTo>
                    <a:pt x="2306" y="948"/>
                  </a:lnTo>
                  <a:lnTo>
                    <a:pt x="2312" y="948"/>
                  </a:lnTo>
                  <a:lnTo>
                    <a:pt x="2314" y="946"/>
                  </a:lnTo>
                  <a:lnTo>
                    <a:pt x="2316" y="946"/>
                  </a:lnTo>
                  <a:lnTo>
                    <a:pt x="2316" y="946"/>
                  </a:lnTo>
                  <a:lnTo>
                    <a:pt x="2316" y="946"/>
                  </a:lnTo>
                  <a:lnTo>
                    <a:pt x="2318" y="944"/>
                  </a:lnTo>
                  <a:lnTo>
                    <a:pt x="2318" y="944"/>
                  </a:lnTo>
                  <a:lnTo>
                    <a:pt x="2320" y="942"/>
                  </a:lnTo>
                  <a:lnTo>
                    <a:pt x="2322" y="940"/>
                  </a:lnTo>
                  <a:lnTo>
                    <a:pt x="2322" y="938"/>
                  </a:lnTo>
                  <a:lnTo>
                    <a:pt x="2324" y="936"/>
                  </a:lnTo>
                  <a:lnTo>
                    <a:pt x="2326" y="934"/>
                  </a:lnTo>
                  <a:lnTo>
                    <a:pt x="2326" y="934"/>
                  </a:lnTo>
                  <a:lnTo>
                    <a:pt x="2326" y="932"/>
                  </a:lnTo>
                  <a:lnTo>
                    <a:pt x="2326" y="930"/>
                  </a:lnTo>
                  <a:lnTo>
                    <a:pt x="2326" y="928"/>
                  </a:lnTo>
                  <a:lnTo>
                    <a:pt x="2328" y="926"/>
                  </a:lnTo>
                  <a:lnTo>
                    <a:pt x="2328" y="924"/>
                  </a:lnTo>
                  <a:lnTo>
                    <a:pt x="2330" y="924"/>
                  </a:lnTo>
                  <a:lnTo>
                    <a:pt x="2332" y="920"/>
                  </a:lnTo>
                  <a:lnTo>
                    <a:pt x="2332" y="920"/>
                  </a:lnTo>
                  <a:lnTo>
                    <a:pt x="2332" y="920"/>
                  </a:lnTo>
                  <a:lnTo>
                    <a:pt x="2332" y="920"/>
                  </a:lnTo>
                  <a:lnTo>
                    <a:pt x="2332" y="920"/>
                  </a:lnTo>
                  <a:lnTo>
                    <a:pt x="2332" y="922"/>
                  </a:lnTo>
                  <a:lnTo>
                    <a:pt x="2332" y="922"/>
                  </a:lnTo>
                  <a:lnTo>
                    <a:pt x="2332" y="922"/>
                  </a:lnTo>
                  <a:lnTo>
                    <a:pt x="2334" y="924"/>
                  </a:lnTo>
                  <a:lnTo>
                    <a:pt x="2334" y="924"/>
                  </a:lnTo>
                  <a:lnTo>
                    <a:pt x="2334" y="924"/>
                  </a:lnTo>
                  <a:lnTo>
                    <a:pt x="2336" y="926"/>
                  </a:lnTo>
                  <a:lnTo>
                    <a:pt x="2338" y="926"/>
                  </a:lnTo>
                  <a:lnTo>
                    <a:pt x="2338" y="926"/>
                  </a:lnTo>
                  <a:lnTo>
                    <a:pt x="2338" y="926"/>
                  </a:lnTo>
                  <a:lnTo>
                    <a:pt x="2340" y="926"/>
                  </a:lnTo>
                  <a:lnTo>
                    <a:pt x="2344" y="926"/>
                  </a:lnTo>
                  <a:lnTo>
                    <a:pt x="2348" y="926"/>
                  </a:lnTo>
                  <a:lnTo>
                    <a:pt x="2352" y="926"/>
                  </a:lnTo>
                  <a:lnTo>
                    <a:pt x="2354" y="926"/>
                  </a:lnTo>
                  <a:lnTo>
                    <a:pt x="2356" y="924"/>
                  </a:lnTo>
                  <a:lnTo>
                    <a:pt x="2356" y="924"/>
                  </a:lnTo>
                  <a:lnTo>
                    <a:pt x="2356" y="924"/>
                  </a:lnTo>
                  <a:lnTo>
                    <a:pt x="2358" y="924"/>
                  </a:lnTo>
                  <a:lnTo>
                    <a:pt x="2362" y="922"/>
                  </a:lnTo>
                  <a:lnTo>
                    <a:pt x="2364" y="920"/>
                  </a:lnTo>
                  <a:lnTo>
                    <a:pt x="2364" y="918"/>
                  </a:lnTo>
                  <a:lnTo>
                    <a:pt x="2366" y="918"/>
                  </a:lnTo>
                  <a:lnTo>
                    <a:pt x="2368" y="920"/>
                  </a:lnTo>
                  <a:lnTo>
                    <a:pt x="2370" y="920"/>
                  </a:lnTo>
                  <a:lnTo>
                    <a:pt x="2370" y="920"/>
                  </a:lnTo>
                  <a:lnTo>
                    <a:pt x="2370" y="920"/>
                  </a:lnTo>
                  <a:lnTo>
                    <a:pt x="2370" y="922"/>
                  </a:lnTo>
                  <a:lnTo>
                    <a:pt x="2370" y="922"/>
                  </a:lnTo>
                  <a:lnTo>
                    <a:pt x="2368" y="928"/>
                  </a:lnTo>
                  <a:lnTo>
                    <a:pt x="2368" y="930"/>
                  </a:lnTo>
                  <a:lnTo>
                    <a:pt x="2368" y="932"/>
                  </a:lnTo>
                  <a:lnTo>
                    <a:pt x="2368" y="932"/>
                  </a:lnTo>
                  <a:lnTo>
                    <a:pt x="2368" y="934"/>
                  </a:lnTo>
                  <a:lnTo>
                    <a:pt x="2368" y="936"/>
                  </a:lnTo>
                  <a:lnTo>
                    <a:pt x="2368" y="936"/>
                  </a:lnTo>
                  <a:lnTo>
                    <a:pt x="2368" y="938"/>
                  </a:lnTo>
                  <a:lnTo>
                    <a:pt x="2368" y="938"/>
                  </a:lnTo>
                  <a:lnTo>
                    <a:pt x="2368" y="940"/>
                  </a:lnTo>
                  <a:lnTo>
                    <a:pt x="2370" y="940"/>
                  </a:lnTo>
                  <a:lnTo>
                    <a:pt x="2370" y="940"/>
                  </a:lnTo>
                  <a:lnTo>
                    <a:pt x="2370" y="940"/>
                  </a:lnTo>
                  <a:lnTo>
                    <a:pt x="2372" y="942"/>
                  </a:lnTo>
                  <a:lnTo>
                    <a:pt x="2372" y="942"/>
                  </a:lnTo>
                  <a:lnTo>
                    <a:pt x="2372" y="942"/>
                  </a:lnTo>
                  <a:lnTo>
                    <a:pt x="2376" y="942"/>
                  </a:lnTo>
                  <a:lnTo>
                    <a:pt x="2378" y="942"/>
                  </a:lnTo>
                  <a:lnTo>
                    <a:pt x="2382" y="944"/>
                  </a:lnTo>
                  <a:lnTo>
                    <a:pt x="2384" y="944"/>
                  </a:lnTo>
                  <a:lnTo>
                    <a:pt x="2386" y="944"/>
                  </a:lnTo>
                  <a:lnTo>
                    <a:pt x="2388" y="946"/>
                  </a:lnTo>
                  <a:lnTo>
                    <a:pt x="2388" y="946"/>
                  </a:lnTo>
                  <a:lnTo>
                    <a:pt x="2390" y="950"/>
                  </a:lnTo>
                  <a:lnTo>
                    <a:pt x="2392" y="954"/>
                  </a:lnTo>
                  <a:lnTo>
                    <a:pt x="2394" y="956"/>
                  </a:lnTo>
                  <a:lnTo>
                    <a:pt x="2394" y="956"/>
                  </a:lnTo>
                  <a:lnTo>
                    <a:pt x="2394" y="956"/>
                  </a:lnTo>
                  <a:lnTo>
                    <a:pt x="2396" y="958"/>
                  </a:lnTo>
                  <a:lnTo>
                    <a:pt x="2396" y="958"/>
                  </a:lnTo>
                  <a:lnTo>
                    <a:pt x="2398" y="960"/>
                  </a:lnTo>
                  <a:lnTo>
                    <a:pt x="2400" y="962"/>
                  </a:lnTo>
                  <a:lnTo>
                    <a:pt x="2406" y="964"/>
                  </a:lnTo>
                  <a:lnTo>
                    <a:pt x="2408" y="966"/>
                  </a:lnTo>
                  <a:lnTo>
                    <a:pt x="2408" y="966"/>
                  </a:lnTo>
                  <a:lnTo>
                    <a:pt x="2408" y="966"/>
                  </a:lnTo>
                  <a:lnTo>
                    <a:pt x="2410" y="966"/>
                  </a:lnTo>
                  <a:lnTo>
                    <a:pt x="2410" y="966"/>
                  </a:lnTo>
                  <a:lnTo>
                    <a:pt x="2410" y="966"/>
                  </a:lnTo>
                  <a:lnTo>
                    <a:pt x="2412" y="966"/>
                  </a:lnTo>
                  <a:lnTo>
                    <a:pt x="2412" y="966"/>
                  </a:lnTo>
                  <a:lnTo>
                    <a:pt x="2414" y="966"/>
                  </a:lnTo>
                  <a:lnTo>
                    <a:pt x="2416" y="966"/>
                  </a:lnTo>
                  <a:lnTo>
                    <a:pt x="2416" y="966"/>
                  </a:lnTo>
                  <a:lnTo>
                    <a:pt x="2416" y="966"/>
                  </a:lnTo>
                  <a:lnTo>
                    <a:pt x="2418" y="964"/>
                  </a:lnTo>
                  <a:lnTo>
                    <a:pt x="2418" y="964"/>
                  </a:lnTo>
                  <a:lnTo>
                    <a:pt x="2418" y="962"/>
                  </a:lnTo>
                  <a:lnTo>
                    <a:pt x="2418" y="960"/>
                  </a:lnTo>
                  <a:lnTo>
                    <a:pt x="2418" y="958"/>
                  </a:lnTo>
                  <a:lnTo>
                    <a:pt x="2418" y="956"/>
                  </a:lnTo>
                  <a:lnTo>
                    <a:pt x="2418" y="950"/>
                  </a:lnTo>
                  <a:lnTo>
                    <a:pt x="2418" y="948"/>
                  </a:lnTo>
                  <a:lnTo>
                    <a:pt x="2418" y="948"/>
                  </a:lnTo>
                  <a:lnTo>
                    <a:pt x="2418" y="946"/>
                  </a:lnTo>
                  <a:lnTo>
                    <a:pt x="2420" y="944"/>
                  </a:lnTo>
                  <a:lnTo>
                    <a:pt x="2422" y="940"/>
                  </a:lnTo>
                  <a:lnTo>
                    <a:pt x="2426" y="934"/>
                  </a:lnTo>
                  <a:lnTo>
                    <a:pt x="2428" y="930"/>
                  </a:lnTo>
                  <a:close/>
                  <a:moveTo>
                    <a:pt x="802" y="818"/>
                  </a:moveTo>
                  <a:lnTo>
                    <a:pt x="802" y="818"/>
                  </a:lnTo>
                  <a:lnTo>
                    <a:pt x="802" y="816"/>
                  </a:lnTo>
                  <a:lnTo>
                    <a:pt x="800" y="816"/>
                  </a:lnTo>
                  <a:lnTo>
                    <a:pt x="798" y="814"/>
                  </a:lnTo>
                  <a:lnTo>
                    <a:pt x="798" y="812"/>
                  </a:lnTo>
                  <a:lnTo>
                    <a:pt x="798" y="810"/>
                  </a:lnTo>
                  <a:lnTo>
                    <a:pt x="800" y="808"/>
                  </a:lnTo>
                  <a:lnTo>
                    <a:pt x="802" y="806"/>
                  </a:lnTo>
                  <a:lnTo>
                    <a:pt x="802" y="806"/>
                  </a:lnTo>
                  <a:lnTo>
                    <a:pt x="802" y="808"/>
                  </a:lnTo>
                  <a:lnTo>
                    <a:pt x="802" y="812"/>
                  </a:lnTo>
                  <a:lnTo>
                    <a:pt x="802" y="814"/>
                  </a:lnTo>
                  <a:lnTo>
                    <a:pt x="802" y="818"/>
                  </a:lnTo>
                  <a:close/>
                  <a:moveTo>
                    <a:pt x="846" y="808"/>
                  </a:moveTo>
                  <a:lnTo>
                    <a:pt x="846" y="810"/>
                  </a:lnTo>
                  <a:lnTo>
                    <a:pt x="846" y="810"/>
                  </a:lnTo>
                  <a:lnTo>
                    <a:pt x="846" y="810"/>
                  </a:lnTo>
                  <a:lnTo>
                    <a:pt x="844" y="808"/>
                  </a:lnTo>
                  <a:lnTo>
                    <a:pt x="842" y="806"/>
                  </a:lnTo>
                  <a:lnTo>
                    <a:pt x="840" y="804"/>
                  </a:lnTo>
                  <a:lnTo>
                    <a:pt x="838" y="802"/>
                  </a:lnTo>
                  <a:lnTo>
                    <a:pt x="836" y="800"/>
                  </a:lnTo>
                  <a:lnTo>
                    <a:pt x="836" y="798"/>
                  </a:lnTo>
                  <a:lnTo>
                    <a:pt x="836" y="796"/>
                  </a:lnTo>
                  <a:lnTo>
                    <a:pt x="836" y="794"/>
                  </a:lnTo>
                  <a:lnTo>
                    <a:pt x="836" y="794"/>
                  </a:lnTo>
                  <a:lnTo>
                    <a:pt x="834" y="792"/>
                  </a:lnTo>
                  <a:lnTo>
                    <a:pt x="834" y="790"/>
                  </a:lnTo>
                  <a:lnTo>
                    <a:pt x="834" y="788"/>
                  </a:lnTo>
                  <a:lnTo>
                    <a:pt x="832" y="786"/>
                  </a:lnTo>
                  <a:lnTo>
                    <a:pt x="830" y="782"/>
                  </a:lnTo>
                  <a:lnTo>
                    <a:pt x="834" y="782"/>
                  </a:lnTo>
                  <a:lnTo>
                    <a:pt x="834" y="784"/>
                  </a:lnTo>
                  <a:lnTo>
                    <a:pt x="836" y="784"/>
                  </a:lnTo>
                  <a:lnTo>
                    <a:pt x="838" y="786"/>
                  </a:lnTo>
                  <a:lnTo>
                    <a:pt x="842" y="788"/>
                  </a:lnTo>
                  <a:lnTo>
                    <a:pt x="840" y="788"/>
                  </a:lnTo>
                  <a:lnTo>
                    <a:pt x="844" y="792"/>
                  </a:lnTo>
                  <a:lnTo>
                    <a:pt x="844" y="794"/>
                  </a:lnTo>
                  <a:lnTo>
                    <a:pt x="846" y="798"/>
                  </a:lnTo>
                  <a:lnTo>
                    <a:pt x="846" y="800"/>
                  </a:lnTo>
                  <a:lnTo>
                    <a:pt x="846" y="806"/>
                  </a:lnTo>
                  <a:lnTo>
                    <a:pt x="846" y="808"/>
                  </a:lnTo>
                  <a:close/>
                  <a:moveTo>
                    <a:pt x="928" y="686"/>
                  </a:moveTo>
                  <a:lnTo>
                    <a:pt x="928" y="690"/>
                  </a:lnTo>
                  <a:lnTo>
                    <a:pt x="928" y="692"/>
                  </a:lnTo>
                  <a:lnTo>
                    <a:pt x="926" y="698"/>
                  </a:lnTo>
                  <a:lnTo>
                    <a:pt x="926" y="702"/>
                  </a:lnTo>
                  <a:lnTo>
                    <a:pt x="926" y="704"/>
                  </a:lnTo>
                  <a:lnTo>
                    <a:pt x="926" y="706"/>
                  </a:lnTo>
                  <a:lnTo>
                    <a:pt x="924" y="706"/>
                  </a:lnTo>
                  <a:lnTo>
                    <a:pt x="924" y="706"/>
                  </a:lnTo>
                  <a:lnTo>
                    <a:pt x="924" y="706"/>
                  </a:lnTo>
                  <a:lnTo>
                    <a:pt x="922" y="706"/>
                  </a:lnTo>
                  <a:lnTo>
                    <a:pt x="920" y="706"/>
                  </a:lnTo>
                  <a:lnTo>
                    <a:pt x="918" y="704"/>
                  </a:lnTo>
                  <a:lnTo>
                    <a:pt x="916" y="704"/>
                  </a:lnTo>
                  <a:lnTo>
                    <a:pt x="916" y="704"/>
                  </a:lnTo>
                  <a:lnTo>
                    <a:pt x="914" y="702"/>
                  </a:lnTo>
                  <a:lnTo>
                    <a:pt x="914" y="702"/>
                  </a:lnTo>
                  <a:lnTo>
                    <a:pt x="914" y="700"/>
                  </a:lnTo>
                  <a:lnTo>
                    <a:pt x="914" y="696"/>
                  </a:lnTo>
                  <a:lnTo>
                    <a:pt x="914" y="694"/>
                  </a:lnTo>
                  <a:lnTo>
                    <a:pt x="914" y="692"/>
                  </a:lnTo>
                  <a:lnTo>
                    <a:pt x="914" y="690"/>
                  </a:lnTo>
                  <a:lnTo>
                    <a:pt x="916" y="690"/>
                  </a:lnTo>
                  <a:lnTo>
                    <a:pt x="916" y="690"/>
                  </a:lnTo>
                  <a:lnTo>
                    <a:pt x="920" y="688"/>
                  </a:lnTo>
                  <a:lnTo>
                    <a:pt x="924" y="686"/>
                  </a:lnTo>
                  <a:lnTo>
                    <a:pt x="926" y="684"/>
                  </a:lnTo>
                  <a:lnTo>
                    <a:pt x="928" y="684"/>
                  </a:lnTo>
                  <a:lnTo>
                    <a:pt x="928" y="684"/>
                  </a:lnTo>
                  <a:lnTo>
                    <a:pt x="928" y="684"/>
                  </a:lnTo>
                  <a:lnTo>
                    <a:pt x="928" y="684"/>
                  </a:lnTo>
                  <a:lnTo>
                    <a:pt x="928" y="686"/>
                  </a:lnTo>
                  <a:close/>
                  <a:moveTo>
                    <a:pt x="1674" y="492"/>
                  </a:moveTo>
                  <a:lnTo>
                    <a:pt x="1674" y="494"/>
                  </a:lnTo>
                  <a:lnTo>
                    <a:pt x="1674" y="494"/>
                  </a:lnTo>
                  <a:lnTo>
                    <a:pt x="1674" y="494"/>
                  </a:lnTo>
                  <a:lnTo>
                    <a:pt x="1674" y="494"/>
                  </a:lnTo>
                  <a:lnTo>
                    <a:pt x="1676" y="496"/>
                  </a:lnTo>
                  <a:lnTo>
                    <a:pt x="1676" y="496"/>
                  </a:lnTo>
                  <a:lnTo>
                    <a:pt x="1676" y="496"/>
                  </a:lnTo>
                  <a:lnTo>
                    <a:pt x="1678" y="496"/>
                  </a:lnTo>
                  <a:lnTo>
                    <a:pt x="1678" y="496"/>
                  </a:lnTo>
                  <a:lnTo>
                    <a:pt x="1680" y="494"/>
                  </a:lnTo>
                  <a:lnTo>
                    <a:pt x="1680" y="494"/>
                  </a:lnTo>
                  <a:lnTo>
                    <a:pt x="1680" y="494"/>
                  </a:lnTo>
                  <a:lnTo>
                    <a:pt x="1682" y="494"/>
                  </a:lnTo>
                  <a:lnTo>
                    <a:pt x="1682" y="494"/>
                  </a:lnTo>
                  <a:lnTo>
                    <a:pt x="1684" y="494"/>
                  </a:lnTo>
                  <a:lnTo>
                    <a:pt x="1686" y="492"/>
                  </a:lnTo>
                  <a:lnTo>
                    <a:pt x="1686" y="492"/>
                  </a:lnTo>
                  <a:lnTo>
                    <a:pt x="1688" y="492"/>
                  </a:lnTo>
                  <a:lnTo>
                    <a:pt x="1690" y="490"/>
                  </a:lnTo>
                  <a:lnTo>
                    <a:pt x="1690" y="490"/>
                  </a:lnTo>
                  <a:lnTo>
                    <a:pt x="1690" y="488"/>
                  </a:lnTo>
                  <a:lnTo>
                    <a:pt x="1692" y="486"/>
                  </a:lnTo>
                  <a:lnTo>
                    <a:pt x="1692" y="486"/>
                  </a:lnTo>
                  <a:lnTo>
                    <a:pt x="1692" y="486"/>
                  </a:lnTo>
                  <a:lnTo>
                    <a:pt x="1694" y="482"/>
                  </a:lnTo>
                  <a:lnTo>
                    <a:pt x="1694" y="482"/>
                  </a:lnTo>
                  <a:lnTo>
                    <a:pt x="1694" y="482"/>
                  </a:lnTo>
                  <a:lnTo>
                    <a:pt x="1692" y="478"/>
                  </a:lnTo>
                  <a:lnTo>
                    <a:pt x="1692" y="478"/>
                  </a:lnTo>
                  <a:lnTo>
                    <a:pt x="1692" y="478"/>
                  </a:lnTo>
                  <a:lnTo>
                    <a:pt x="1690" y="474"/>
                  </a:lnTo>
                  <a:lnTo>
                    <a:pt x="1690" y="474"/>
                  </a:lnTo>
                  <a:lnTo>
                    <a:pt x="1690" y="472"/>
                  </a:lnTo>
                  <a:lnTo>
                    <a:pt x="1688" y="468"/>
                  </a:lnTo>
                  <a:lnTo>
                    <a:pt x="1686" y="466"/>
                  </a:lnTo>
                  <a:lnTo>
                    <a:pt x="1686" y="464"/>
                  </a:lnTo>
                  <a:lnTo>
                    <a:pt x="1686" y="464"/>
                  </a:lnTo>
                  <a:lnTo>
                    <a:pt x="1686" y="464"/>
                  </a:lnTo>
                  <a:lnTo>
                    <a:pt x="1686" y="462"/>
                  </a:lnTo>
                  <a:lnTo>
                    <a:pt x="1686" y="462"/>
                  </a:lnTo>
                  <a:lnTo>
                    <a:pt x="1684" y="462"/>
                  </a:lnTo>
                  <a:lnTo>
                    <a:pt x="1684" y="460"/>
                  </a:lnTo>
                  <a:lnTo>
                    <a:pt x="1684" y="460"/>
                  </a:lnTo>
                  <a:lnTo>
                    <a:pt x="1682" y="460"/>
                  </a:lnTo>
                  <a:lnTo>
                    <a:pt x="1680" y="462"/>
                  </a:lnTo>
                  <a:lnTo>
                    <a:pt x="1680" y="462"/>
                  </a:lnTo>
                  <a:lnTo>
                    <a:pt x="1680" y="462"/>
                  </a:lnTo>
                  <a:lnTo>
                    <a:pt x="1680" y="462"/>
                  </a:lnTo>
                  <a:lnTo>
                    <a:pt x="1680" y="464"/>
                  </a:lnTo>
                  <a:lnTo>
                    <a:pt x="1678" y="466"/>
                  </a:lnTo>
                  <a:lnTo>
                    <a:pt x="1678" y="468"/>
                  </a:lnTo>
                  <a:lnTo>
                    <a:pt x="1676" y="474"/>
                  </a:lnTo>
                  <a:lnTo>
                    <a:pt x="1676" y="478"/>
                  </a:lnTo>
                  <a:lnTo>
                    <a:pt x="1674" y="484"/>
                  </a:lnTo>
                  <a:lnTo>
                    <a:pt x="1674" y="486"/>
                  </a:lnTo>
                  <a:lnTo>
                    <a:pt x="1672" y="488"/>
                  </a:lnTo>
                  <a:lnTo>
                    <a:pt x="1672" y="488"/>
                  </a:lnTo>
                  <a:lnTo>
                    <a:pt x="1672" y="490"/>
                  </a:lnTo>
                  <a:lnTo>
                    <a:pt x="1674" y="492"/>
                  </a:lnTo>
                  <a:close/>
                  <a:moveTo>
                    <a:pt x="1690" y="552"/>
                  </a:moveTo>
                  <a:lnTo>
                    <a:pt x="1688" y="550"/>
                  </a:lnTo>
                  <a:lnTo>
                    <a:pt x="1688" y="550"/>
                  </a:lnTo>
                  <a:lnTo>
                    <a:pt x="1688" y="550"/>
                  </a:lnTo>
                  <a:lnTo>
                    <a:pt x="1686" y="550"/>
                  </a:lnTo>
                  <a:lnTo>
                    <a:pt x="1686" y="550"/>
                  </a:lnTo>
                  <a:lnTo>
                    <a:pt x="1684" y="548"/>
                  </a:lnTo>
                  <a:lnTo>
                    <a:pt x="1682" y="548"/>
                  </a:lnTo>
                  <a:lnTo>
                    <a:pt x="1682" y="548"/>
                  </a:lnTo>
                  <a:lnTo>
                    <a:pt x="1680" y="548"/>
                  </a:lnTo>
                  <a:lnTo>
                    <a:pt x="1676" y="552"/>
                  </a:lnTo>
                  <a:lnTo>
                    <a:pt x="1676" y="552"/>
                  </a:lnTo>
                  <a:lnTo>
                    <a:pt x="1676" y="552"/>
                  </a:lnTo>
                  <a:lnTo>
                    <a:pt x="1676" y="554"/>
                  </a:lnTo>
                  <a:lnTo>
                    <a:pt x="1676" y="554"/>
                  </a:lnTo>
                  <a:lnTo>
                    <a:pt x="1676" y="554"/>
                  </a:lnTo>
                  <a:lnTo>
                    <a:pt x="1674" y="556"/>
                  </a:lnTo>
                  <a:lnTo>
                    <a:pt x="1674" y="556"/>
                  </a:lnTo>
                  <a:lnTo>
                    <a:pt x="1674" y="556"/>
                  </a:lnTo>
                  <a:lnTo>
                    <a:pt x="1674" y="558"/>
                  </a:lnTo>
                  <a:lnTo>
                    <a:pt x="1674" y="558"/>
                  </a:lnTo>
                  <a:lnTo>
                    <a:pt x="1674" y="558"/>
                  </a:lnTo>
                  <a:lnTo>
                    <a:pt x="1676" y="560"/>
                  </a:lnTo>
                  <a:lnTo>
                    <a:pt x="1676" y="560"/>
                  </a:lnTo>
                  <a:lnTo>
                    <a:pt x="1676" y="560"/>
                  </a:lnTo>
                  <a:lnTo>
                    <a:pt x="1676" y="562"/>
                  </a:lnTo>
                  <a:lnTo>
                    <a:pt x="1678" y="564"/>
                  </a:lnTo>
                  <a:lnTo>
                    <a:pt x="1680" y="566"/>
                  </a:lnTo>
                  <a:lnTo>
                    <a:pt x="1680" y="566"/>
                  </a:lnTo>
                  <a:lnTo>
                    <a:pt x="1680" y="566"/>
                  </a:lnTo>
                  <a:lnTo>
                    <a:pt x="1684" y="568"/>
                  </a:lnTo>
                  <a:lnTo>
                    <a:pt x="1686" y="570"/>
                  </a:lnTo>
                  <a:lnTo>
                    <a:pt x="1690" y="572"/>
                  </a:lnTo>
                  <a:lnTo>
                    <a:pt x="1690" y="572"/>
                  </a:lnTo>
                  <a:lnTo>
                    <a:pt x="1690" y="572"/>
                  </a:lnTo>
                  <a:lnTo>
                    <a:pt x="1692" y="572"/>
                  </a:lnTo>
                  <a:lnTo>
                    <a:pt x="1692" y="572"/>
                  </a:lnTo>
                  <a:lnTo>
                    <a:pt x="1694" y="572"/>
                  </a:lnTo>
                  <a:lnTo>
                    <a:pt x="1694" y="572"/>
                  </a:lnTo>
                  <a:lnTo>
                    <a:pt x="1694" y="572"/>
                  </a:lnTo>
                  <a:lnTo>
                    <a:pt x="1696" y="572"/>
                  </a:lnTo>
                  <a:lnTo>
                    <a:pt x="1698" y="570"/>
                  </a:lnTo>
                  <a:lnTo>
                    <a:pt x="1698" y="570"/>
                  </a:lnTo>
                  <a:lnTo>
                    <a:pt x="1698" y="568"/>
                  </a:lnTo>
                  <a:lnTo>
                    <a:pt x="1700" y="566"/>
                  </a:lnTo>
                  <a:lnTo>
                    <a:pt x="1700" y="566"/>
                  </a:lnTo>
                  <a:lnTo>
                    <a:pt x="1700" y="566"/>
                  </a:lnTo>
                  <a:lnTo>
                    <a:pt x="1702" y="562"/>
                  </a:lnTo>
                  <a:lnTo>
                    <a:pt x="1702" y="562"/>
                  </a:lnTo>
                  <a:lnTo>
                    <a:pt x="1700" y="560"/>
                  </a:lnTo>
                  <a:lnTo>
                    <a:pt x="1700" y="560"/>
                  </a:lnTo>
                  <a:lnTo>
                    <a:pt x="1700" y="558"/>
                  </a:lnTo>
                  <a:lnTo>
                    <a:pt x="1696" y="558"/>
                  </a:lnTo>
                  <a:lnTo>
                    <a:pt x="1694" y="556"/>
                  </a:lnTo>
                  <a:lnTo>
                    <a:pt x="1694" y="556"/>
                  </a:lnTo>
                  <a:lnTo>
                    <a:pt x="1692" y="554"/>
                  </a:lnTo>
                  <a:lnTo>
                    <a:pt x="1690" y="552"/>
                  </a:lnTo>
                  <a:close/>
                  <a:moveTo>
                    <a:pt x="2298" y="710"/>
                  </a:moveTo>
                  <a:lnTo>
                    <a:pt x="2298" y="710"/>
                  </a:lnTo>
                  <a:lnTo>
                    <a:pt x="2298" y="710"/>
                  </a:lnTo>
                  <a:lnTo>
                    <a:pt x="2298" y="712"/>
                  </a:lnTo>
                  <a:lnTo>
                    <a:pt x="2298" y="712"/>
                  </a:lnTo>
                  <a:lnTo>
                    <a:pt x="2300" y="712"/>
                  </a:lnTo>
                  <a:lnTo>
                    <a:pt x="2300" y="714"/>
                  </a:lnTo>
                  <a:lnTo>
                    <a:pt x="2300" y="714"/>
                  </a:lnTo>
                  <a:lnTo>
                    <a:pt x="2302" y="714"/>
                  </a:lnTo>
                  <a:lnTo>
                    <a:pt x="2304" y="716"/>
                  </a:lnTo>
                  <a:lnTo>
                    <a:pt x="2304" y="716"/>
                  </a:lnTo>
                  <a:lnTo>
                    <a:pt x="2304" y="716"/>
                  </a:lnTo>
                  <a:lnTo>
                    <a:pt x="2306" y="716"/>
                  </a:lnTo>
                  <a:lnTo>
                    <a:pt x="2310" y="716"/>
                  </a:lnTo>
                  <a:lnTo>
                    <a:pt x="2312" y="716"/>
                  </a:lnTo>
                  <a:lnTo>
                    <a:pt x="2320" y="716"/>
                  </a:lnTo>
                  <a:lnTo>
                    <a:pt x="2322" y="716"/>
                  </a:lnTo>
                  <a:lnTo>
                    <a:pt x="2324" y="714"/>
                  </a:lnTo>
                  <a:lnTo>
                    <a:pt x="2328" y="714"/>
                  </a:lnTo>
                  <a:lnTo>
                    <a:pt x="2328" y="714"/>
                  </a:lnTo>
                  <a:lnTo>
                    <a:pt x="2328" y="714"/>
                  </a:lnTo>
                  <a:lnTo>
                    <a:pt x="2332" y="712"/>
                  </a:lnTo>
                  <a:lnTo>
                    <a:pt x="2334" y="710"/>
                  </a:lnTo>
                  <a:lnTo>
                    <a:pt x="2336" y="708"/>
                  </a:lnTo>
                  <a:lnTo>
                    <a:pt x="2338" y="708"/>
                  </a:lnTo>
                  <a:lnTo>
                    <a:pt x="2340" y="708"/>
                  </a:lnTo>
                  <a:lnTo>
                    <a:pt x="2344" y="706"/>
                  </a:lnTo>
                  <a:lnTo>
                    <a:pt x="2348" y="704"/>
                  </a:lnTo>
                  <a:lnTo>
                    <a:pt x="2350" y="704"/>
                  </a:lnTo>
                  <a:lnTo>
                    <a:pt x="2352" y="702"/>
                  </a:lnTo>
                  <a:lnTo>
                    <a:pt x="2352" y="702"/>
                  </a:lnTo>
                  <a:lnTo>
                    <a:pt x="2352" y="702"/>
                  </a:lnTo>
                  <a:lnTo>
                    <a:pt x="2352" y="700"/>
                  </a:lnTo>
                  <a:lnTo>
                    <a:pt x="2352" y="700"/>
                  </a:lnTo>
                  <a:lnTo>
                    <a:pt x="2354" y="698"/>
                  </a:lnTo>
                  <a:lnTo>
                    <a:pt x="2354" y="698"/>
                  </a:lnTo>
                  <a:lnTo>
                    <a:pt x="2354" y="698"/>
                  </a:lnTo>
                  <a:lnTo>
                    <a:pt x="2354" y="696"/>
                  </a:lnTo>
                  <a:lnTo>
                    <a:pt x="2354" y="696"/>
                  </a:lnTo>
                  <a:lnTo>
                    <a:pt x="2354" y="696"/>
                  </a:lnTo>
                  <a:lnTo>
                    <a:pt x="2354" y="694"/>
                  </a:lnTo>
                  <a:lnTo>
                    <a:pt x="2352" y="690"/>
                  </a:lnTo>
                  <a:lnTo>
                    <a:pt x="2352" y="690"/>
                  </a:lnTo>
                  <a:lnTo>
                    <a:pt x="2352" y="690"/>
                  </a:lnTo>
                  <a:lnTo>
                    <a:pt x="2348" y="686"/>
                  </a:lnTo>
                  <a:lnTo>
                    <a:pt x="2348" y="684"/>
                  </a:lnTo>
                  <a:lnTo>
                    <a:pt x="2346" y="684"/>
                  </a:lnTo>
                  <a:lnTo>
                    <a:pt x="2344" y="682"/>
                  </a:lnTo>
                  <a:lnTo>
                    <a:pt x="2340" y="680"/>
                  </a:lnTo>
                  <a:lnTo>
                    <a:pt x="2338" y="680"/>
                  </a:lnTo>
                  <a:lnTo>
                    <a:pt x="2334" y="678"/>
                  </a:lnTo>
                  <a:lnTo>
                    <a:pt x="2332" y="678"/>
                  </a:lnTo>
                  <a:lnTo>
                    <a:pt x="2328" y="676"/>
                  </a:lnTo>
                  <a:lnTo>
                    <a:pt x="2324" y="676"/>
                  </a:lnTo>
                  <a:lnTo>
                    <a:pt x="2324" y="676"/>
                  </a:lnTo>
                  <a:lnTo>
                    <a:pt x="2324" y="676"/>
                  </a:lnTo>
                  <a:lnTo>
                    <a:pt x="2320" y="676"/>
                  </a:lnTo>
                  <a:lnTo>
                    <a:pt x="2320" y="676"/>
                  </a:lnTo>
                  <a:lnTo>
                    <a:pt x="2320" y="676"/>
                  </a:lnTo>
                  <a:lnTo>
                    <a:pt x="2318" y="678"/>
                  </a:lnTo>
                  <a:lnTo>
                    <a:pt x="2318" y="678"/>
                  </a:lnTo>
                  <a:lnTo>
                    <a:pt x="2318" y="678"/>
                  </a:lnTo>
                  <a:lnTo>
                    <a:pt x="2314" y="680"/>
                  </a:lnTo>
                  <a:lnTo>
                    <a:pt x="2312" y="682"/>
                  </a:lnTo>
                  <a:lnTo>
                    <a:pt x="2308" y="684"/>
                  </a:lnTo>
                  <a:lnTo>
                    <a:pt x="2306" y="686"/>
                  </a:lnTo>
                  <a:lnTo>
                    <a:pt x="2304" y="690"/>
                  </a:lnTo>
                  <a:lnTo>
                    <a:pt x="2302" y="692"/>
                  </a:lnTo>
                  <a:lnTo>
                    <a:pt x="2300" y="694"/>
                  </a:lnTo>
                  <a:lnTo>
                    <a:pt x="2300" y="694"/>
                  </a:lnTo>
                  <a:lnTo>
                    <a:pt x="2300" y="694"/>
                  </a:lnTo>
                  <a:lnTo>
                    <a:pt x="2298" y="696"/>
                  </a:lnTo>
                  <a:lnTo>
                    <a:pt x="2298" y="698"/>
                  </a:lnTo>
                  <a:lnTo>
                    <a:pt x="2298" y="698"/>
                  </a:lnTo>
                  <a:lnTo>
                    <a:pt x="2298" y="700"/>
                  </a:lnTo>
                  <a:lnTo>
                    <a:pt x="2298" y="704"/>
                  </a:lnTo>
                  <a:lnTo>
                    <a:pt x="2298" y="706"/>
                  </a:lnTo>
                  <a:lnTo>
                    <a:pt x="2298" y="706"/>
                  </a:lnTo>
                  <a:lnTo>
                    <a:pt x="2298" y="708"/>
                  </a:lnTo>
                  <a:lnTo>
                    <a:pt x="2298" y="710"/>
                  </a:lnTo>
                  <a:close/>
                  <a:moveTo>
                    <a:pt x="1702" y="482"/>
                  </a:moveTo>
                  <a:lnTo>
                    <a:pt x="1702" y="486"/>
                  </a:lnTo>
                  <a:lnTo>
                    <a:pt x="1702" y="490"/>
                  </a:lnTo>
                  <a:lnTo>
                    <a:pt x="1702" y="492"/>
                  </a:lnTo>
                  <a:lnTo>
                    <a:pt x="1702" y="496"/>
                  </a:lnTo>
                  <a:lnTo>
                    <a:pt x="1702" y="498"/>
                  </a:lnTo>
                  <a:lnTo>
                    <a:pt x="1702" y="502"/>
                  </a:lnTo>
                  <a:lnTo>
                    <a:pt x="1702" y="502"/>
                  </a:lnTo>
                  <a:lnTo>
                    <a:pt x="1702" y="502"/>
                  </a:lnTo>
                  <a:lnTo>
                    <a:pt x="1702" y="506"/>
                  </a:lnTo>
                  <a:lnTo>
                    <a:pt x="1702" y="506"/>
                  </a:lnTo>
                  <a:lnTo>
                    <a:pt x="1702" y="506"/>
                  </a:lnTo>
                  <a:lnTo>
                    <a:pt x="1704" y="508"/>
                  </a:lnTo>
                  <a:lnTo>
                    <a:pt x="1704" y="510"/>
                  </a:lnTo>
                  <a:lnTo>
                    <a:pt x="1704" y="510"/>
                  </a:lnTo>
                  <a:lnTo>
                    <a:pt x="1704" y="510"/>
                  </a:lnTo>
                  <a:lnTo>
                    <a:pt x="1706" y="512"/>
                  </a:lnTo>
                  <a:lnTo>
                    <a:pt x="1708" y="514"/>
                  </a:lnTo>
                  <a:lnTo>
                    <a:pt x="1710" y="516"/>
                  </a:lnTo>
                  <a:lnTo>
                    <a:pt x="1714" y="518"/>
                  </a:lnTo>
                  <a:lnTo>
                    <a:pt x="1720" y="522"/>
                  </a:lnTo>
                  <a:lnTo>
                    <a:pt x="1722" y="524"/>
                  </a:lnTo>
                  <a:lnTo>
                    <a:pt x="1724" y="526"/>
                  </a:lnTo>
                  <a:lnTo>
                    <a:pt x="1728" y="528"/>
                  </a:lnTo>
                  <a:lnTo>
                    <a:pt x="1730" y="530"/>
                  </a:lnTo>
                  <a:lnTo>
                    <a:pt x="1732" y="530"/>
                  </a:lnTo>
                  <a:lnTo>
                    <a:pt x="1732" y="530"/>
                  </a:lnTo>
                  <a:lnTo>
                    <a:pt x="1732" y="530"/>
                  </a:lnTo>
                  <a:lnTo>
                    <a:pt x="1734" y="532"/>
                  </a:lnTo>
                  <a:lnTo>
                    <a:pt x="1734" y="532"/>
                  </a:lnTo>
                  <a:lnTo>
                    <a:pt x="1734" y="532"/>
                  </a:lnTo>
                  <a:lnTo>
                    <a:pt x="1736" y="532"/>
                  </a:lnTo>
                  <a:lnTo>
                    <a:pt x="1736" y="532"/>
                  </a:lnTo>
                  <a:lnTo>
                    <a:pt x="1736" y="532"/>
                  </a:lnTo>
                  <a:lnTo>
                    <a:pt x="1738" y="530"/>
                  </a:lnTo>
                  <a:lnTo>
                    <a:pt x="1738" y="530"/>
                  </a:lnTo>
                  <a:lnTo>
                    <a:pt x="1738" y="530"/>
                  </a:lnTo>
                  <a:lnTo>
                    <a:pt x="1740" y="528"/>
                  </a:lnTo>
                  <a:lnTo>
                    <a:pt x="1740" y="528"/>
                  </a:lnTo>
                  <a:lnTo>
                    <a:pt x="1740" y="526"/>
                  </a:lnTo>
                  <a:lnTo>
                    <a:pt x="1740" y="524"/>
                  </a:lnTo>
                  <a:lnTo>
                    <a:pt x="1740" y="522"/>
                  </a:lnTo>
                  <a:lnTo>
                    <a:pt x="1738" y="520"/>
                  </a:lnTo>
                  <a:lnTo>
                    <a:pt x="1738" y="518"/>
                  </a:lnTo>
                  <a:lnTo>
                    <a:pt x="1738" y="516"/>
                  </a:lnTo>
                  <a:lnTo>
                    <a:pt x="1738" y="516"/>
                  </a:lnTo>
                  <a:lnTo>
                    <a:pt x="1738" y="516"/>
                  </a:lnTo>
                  <a:lnTo>
                    <a:pt x="1740" y="516"/>
                  </a:lnTo>
                  <a:lnTo>
                    <a:pt x="1742" y="516"/>
                  </a:lnTo>
                  <a:lnTo>
                    <a:pt x="1744" y="516"/>
                  </a:lnTo>
                  <a:lnTo>
                    <a:pt x="1750" y="516"/>
                  </a:lnTo>
                  <a:lnTo>
                    <a:pt x="1752" y="518"/>
                  </a:lnTo>
                  <a:lnTo>
                    <a:pt x="1754" y="518"/>
                  </a:lnTo>
                  <a:lnTo>
                    <a:pt x="1754" y="518"/>
                  </a:lnTo>
                  <a:lnTo>
                    <a:pt x="1754" y="518"/>
                  </a:lnTo>
                  <a:lnTo>
                    <a:pt x="1756" y="516"/>
                  </a:lnTo>
                  <a:lnTo>
                    <a:pt x="1756" y="516"/>
                  </a:lnTo>
                  <a:lnTo>
                    <a:pt x="1758" y="516"/>
                  </a:lnTo>
                  <a:lnTo>
                    <a:pt x="1758" y="516"/>
                  </a:lnTo>
                  <a:lnTo>
                    <a:pt x="1762" y="514"/>
                  </a:lnTo>
                  <a:lnTo>
                    <a:pt x="1766" y="514"/>
                  </a:lnTo>
                  <a:lnTo>
                    <a:pt x="1766" y="514"/>
                  </a:lnTo>
                  <a:lnTo>
                    <a:pt x="1768" y="514"/>
                  </a:lnTo>
                  <a:lnTo>
                    <a:pt x="1768" y="514"/>
                  </a:lnTo>
                  <a:lnTo>
                    <a:pt x="1768" y="514"/>
                  </a:lnTo>
                  <a:lnTo>
                    <a:pt x="1770" y="516"/>
                  </a:lnTo>
                  <a:lnTo>
                    <a:pt x="1772" y="518"/>
                  </a:lnTo>
                  <a:lnTo>
                    <a:pt x="1772" y="518"/>
                  </a:lnTo>
                  <a:lnTo>
                    <a:pt x="1772" y="520"/>
                  </a:lnTo>
                  <a:lnTo>
                    <a:pt x="1774" y="520"/>
                  </a:lnTo>
                  <a:lnTo>
                    <a:pt x="1774" y="520"/>
                  </a:lnTo>
                  <a:lnTo>
                    <a:pt x="1774" y="520"/>
                  </a:lnTo>
                  <a:lnTo>
                    <a:pt x="1776" y="522"/>
                  </a:lnTo>
                  <a:lnTo>
                    <a:pt x="1776" y="522"/>
                  </a:lnTo>
                  <a:lnTo>
                    <a:pt x="1776" y="522"/>
                  </a:lnTo>
                  <a:lnTo>
                    <a:pt x="1778" y="524"/>
                  </a:lnTo>
                  <a:lnTo>
                    <a:pt x="1778" y="524"/>
                  </a:lnTo>
                  <a:lnTo>
                    <a:pt x="1780" y="524"/>
                  </a:lnTo>
                  <a:lnTo>
                    <a:pt x="1784" y="524"/>
                  </a:lnTo>
                  <a:lnTo>
                    <a:pt x="1784" y="524"/>
                  </a:lnTo>
                  <a:lnTo>
                    <a:pt x="1784" y="524"/>
                  </a:lnTo>
                  <a:lnTo>
                    <a:pt x="1788" y="524"/>
                  </a:lnTo>
                  <a:lnTo>
                    <a:pt x="1788" y="524"/>
                  </a:lnTo>
                  <a:lnTo>
                    <a:pt x="1788" y="522"/>
                  </a:lnTo>
                  <a:lnTo>
                    <a:pt x="1790" y="522"/>
                  </a:lnTo>
                  <a:lnTo>
                    <a:pt x="1790" y="522"/>
                  </a:lnTo>
                  <a:lnTo>
                    <a:pt x="1792" y="522"/>
                  </a:lnTo>
                  <a:lnTo>
                    <a:pt x="1792" y="520"/>
                  </a:lnTo>
                  <a:lnTo>
                    <a:pt x="1792" y="520"/>
                  </a:lnTo>
                  <a:lnTo>
                    <a:pt x="1792" y="520"/>
                  </a:lnTo>
                  <a:lnTo>
                    <a:pt x="1794" y="518"/>
                  </a:lnTo>
                  <a:lnTo>
                    <a:pt x="1794" y="518"/>
                  </a:lnTo>
                  <a:lnTo>
                    <a:pt x="1794" y="518"/>
                  </a:lnTo>
                  <a:lnTo>
                    <a:pt x="1794" y="514"/>
                  </a:lnTo>
                  <a:lnTo>
                    <a:pt x="1796" y="510"/>
                  </a:lnTo>
                  <a:lnTo>
                    <a:pt x="1796" y="510"/>
                  </a:lnTo>
                  <a:lnTo>
                    <a:pt x="1796" y="510"/>
                  </a:lnTo>
                  <a:lnTo>
                    <a:pt x="1798" y="510"/>
                  </a:lnTo>
                  <a:lnTo>
                    <a:pt x="1798" y="510"/>
                  </a:lnTo>
                  <a:lnTo>
                    <a:pt x="1802" y="510"/>
                  </a:lnTo>
                  <a:lnTo>
                    <a:pt x="1804" y="508"/>
                  </a:lnTo>
                  <a:lnTo>
                    <a:pt x="1804" y="508"/>
                  </a:lnTo>
                  <a:lnTo>
                    <a:pt x="1806" y="508"/>
                  </a:lnTo>
                  <a:lnTo>
                    <a:pt x="1806" y="508"/>
                  </a:lnTo>
                  <a:lnTo>
                    <a:pt x="1806" y="508"/>
                  </a:lnTo>
                  <a:lnTo>
                    <a:pt x="1808" y="508"/>
                  </a:lnTo>
                  <a:lnTo>
                    <a:pt x="1808" y="506"/>
                  </a:lnTo>
                  <a:lnTo>
                    <a:pt x="1808" y="506"/>
                  </a:lnTo>
                  <a:lnTo>
                    <a:pt x="1808" y="506"/>
                  </a:lnTo>
                  <a:lnTo>
                    <a:pt x="1810" y="504"/>
                  </a:lnTo>
                  <a:lnTo>
                    <a:pt x="1812" y="502"/>
                  </a:lnTo>
                  <a:lnTo>
                    <a:pt x="1814" y="498"/>
                  </a:lnTo>
                  <a:lnTo>
                    <a:pt x="1816" y="494"/>
                  </a:lnTo>
                  <a:lnTo>
                    <a:pt x="1816" y="492"/>
                  </a:lnTo>
                  <a:lnTo>
                    <a:pt x="1818" y="490"/>
                  </a:lnTo>
                  <a:lnTo>
                    <a:pt x="1820" y="486"/>
                  </a:lnTo>
                  <a:lnTo>
                    <a:pt x="1824" y="484"/>
                  </a:lnTo>
                  <a:lnTo>
                    <a:pt x="1824" y="482"/>
                  </a:lnTo>
                  <a:lnTo>
                    <a:pt x="1824" y="482"/>
                  </a:lnTo>
                  <a:lnTo>
                    <a:pt x="1824" y="482"/>
                  </a:lnTo>
                  <a:lnTo>
                    <a:pt x="1826" y="480"/>
                  </a:lnTo>
                  <a:lnTo>
                    <a:pt x="1826" y="480"/>
                  </a:lnTo>
                  <a:lnTo>
                    <a:pt x="1826" y="480"/>
                  </a:lnTo>
                  <a:lnTo>
                    <a:pt x="1826" y="478"/>
                  </a:lnTo>
                  <a:lnTo>
                    <a:pt x="1826" y="478"/>
                  </a:lnTo>
                  <a:lnTo>
                    <a:pt x="1828" y="478"/>
                  </a:lnTo>
                  <a:lnTo>
                    <a:pt x="1828" y="476"/>
                  </a:lnTo>
                  <a:lnTo>
                    <a:pt x="1828" y="476"/>
                  </a:lnTo>
                  <a:lnTo>
                    <a:pt x="1826" y="474"/>
                  </a:lnTo>
                  <a:lnTo>
                    <a:pt x="1826" y="474"/>
                  </a:lnTo>
                  <a:lnTo>
                    <a:pt x="1826" y="474"/>
                  </a:lnTo>
                  <a:lnTo>
                    <a:pt x="1826" y="472"/>
                  </a:lnTo>
                  <a:lnTo>
                    <a:pt x="1824" y="472"/>
                  </a:lnTo>
                  <a:lnTo>
                    <a:pt x="1824" y="472"/>
                  </a:lnTo>
                  <a:lnTo>
                    <a:pt x="1824" y="472"/>
                  </a:lnTo>
                  <a:lnTo>
                    <a:pt x="1822" y="470"/>
                  </a:lnTo>
                  <a:lnTo>
                    <a:pt x="1820" y="468"/>
                  </a:lnTo>
                  <a:lnTo>
                    <a:pt x="1814" y="466"/>
                  </a:lnTo>
                  <a:lnTo>
                    <a:pt x="1812" y="466"/>
                  </a:lnTo>
                  <a:lnTo>
                    <a:pt x="1812" y="464"/>
                  </a:lnTo>
                  <a:lnTo>
                    <a:pt x="1808" y="462"/>
                  </a:lnTo>
                  <a:lnTo>
                    <a:pt x="1806" y="460"/>
                  </a:lnTo>
                  <a:lnTo>
                    <a:pt x="1802" y="458"/>
                  </a:lnTo>
                  <a:lnTo>
                    <a:pt x="1800" y="456"/>
                  </a:lnTo>
                  <a:lnTo>
                    <a:pt x="1800" y="456"/>
                  </a:lnTo>
                  <a:lnTo>
                    <a:pt x="1798" y="454"/>
                  </a:lnTo>
                  <a:lnTo>
                    <a:pt x="1796" y="454"/>
                  </a:lnTo>
                  <a:lnTo>
                    <a:pt x="1796" y="454"/>
                  </a:lnTo>
                  <a:lnTo>
                    <a:pt x="1794" y="454"/>
                  </a:lnTo>
                  <a:lnTo>
                    <a:pt x="1790" y="454"/>
                  </a:lnTo>
                  <a:lnTo>
                    <a:pt x="1786" y="452"/>
                  </a:lnTo>
                  <a:lnTo>
                    <a:pt x="1784" y="452"/>
                  </a:lnTo>
                  <a:lnTo>
                    <a:pt x="1784" y="452"/>
                  </a:lnTo>
                  <a:lnTo>
                    <a:pt x="1782" y="450"/>
                  </a:lnTo>
                  <a:lnTo>
                    <a:pt x="1780" y="448"/>
                  </a:lnTo>
                  <a:lnTo>
                    <a:pt x="1778" y="446"/>
                  </a:lnTo>
                  <a:lnTo>
                    <a:pt x="1778" y="446"/>
                  </a:lnTo>
                  <a:lnTo>
                    <a:pt x="1778" y="446"/>
                  </a:lnTo>
                  <a:lnTo>
                    <a:pt x="1776" y="444"/>
                  </a:lnTo>
                  <a:lnTo>
                    <a:pt x="1776" y="444"/>
                  </a:lnTo>
                  <a:lnTo>
                    <a:pt x="1776" y="444"/>
                  </a:lnTo>
                  <a:lnTo>
                    <a:pt x="1772" y="442"/>
                  </a:lnTo>
                  <a:lnTo>
                    <a:pt x="1768" y="440"/>
                  </a:lnTo>
                  <a:lnTo>
                    <a:pt x="1768" y="440"/>
                  </a:lnTo>
                  <a:lnTo>
                    <a:pt x="1766" y="440"/>
                  </a:lnTo>
                  <a:lnTo>
                    <a:pt x="1762" y="440"/>
                  </a:lnTo>
                  <a:lnTo>
                    <a:pt x="1762" y="440"/>
                  </a:lnTo>
                  <a:lnTo>
                    <a:pt x="1762" y="440"/>
                  </a:lnTo>
                  <a:lnTo>
                    <a:pt x="1760" y="440"/>
                  </a:lnTo>
                  <a:lnTo>
                    <a:pt x="1760" y="440"/>
                  </a:lnTo>
                  <a:lnTo>
                    <a:pt x="1760" y="440"/>
                  </a:lnTo>
                  <a:lnTo>
                    <a:pt x="1758" y="440"/>
                  </a:lnTo>
                  <a:lnTo>
                    <a:pt x="1758" y="440"/>
                  </a:lnTo>
                  <a:lnTo>
                    <a:pt x="1758" y="440"/>
                  </a:lnTo>
                  <a:lnTo>
                    <a:pt x="1756" y="442"/>
                  </a:lnTo>
                  <a:lnTo>
                    <a:pt x="1756" y="442"/>
                  </a:lnTo>
                  <a:lnTo>
                    <a:pt x="1756" y="442"/>
                  </a:lnTo>
                  <a:lnTo>
                    <a:pt x="1756" y="444"/>
                  </a:lnTo>
                  <a:lnTo>
                    <a:pt x="1756" y="444"/>
                  </a:lnTo>
                  <a:lnTo>
                    <a:pt x="1754" y="444"/>
                  </a:lnTo>
                  <a:lnTo>
                    <a:pt x="1754" y="448"/>
                  </a:lnTo>
                  <a:lnTo>
                    <a:pt x="1754" y="448"/>
                  </a:lnTo>
                  <a:lnTo>
                    <a:pt x="1754" y="448"/>
                  </a:lnTo>
                  <a:lnTo>
                    <a:pt x="1754" y="452"/>
                  </a:lnTo>
                  <a:lnTo>
                    <a:pt x="1754" y="454"/>
                  </a:lnTo>
                  <a:lnTo>
                    <a:pt x="1754" y="456"/>
                  </a:lnTo>
                  <a:lnTo>
                    <a:pt x="1754" y="460"/>
                  </a:lnTo>
                  <a:lnTo>
                    <a:pt x="1754" y="462"/>
                  </a:lnTo>
                  <a:lnTo>
                    <a:pt x="1754" y="462"/>
                  </a:lnTo>
                  <a:lnTo>
                    <a:pt x="1752" y="458"/>
                  </a:lnTo>
                  <a:lnTo>
                    <a:pt x="1748" y="454"/>
                  </a:lnTo>
                  <a:lnTo>
                    <a:pt x="1746" y="450"/>
                  </a:lnTo>
                  <a:lnTo>
                    <a:pt x="1744" y="448"/>
                  </a:lnTo>
                  <a:lnTo>
                    <a:pt x="1740" y="442"/>
                  </a:lnTo>
                  <a:lnTo>
                    <a:pt x="1736" y="438"/>
                  </a:lnTo>
                  <a:lnTo>
                    <a:pt x="1734" y="436"/>
                  </a:lnTo>
                  <a:lnTo>
                    <a:pt x="1732" y="434"/>
                  </a:lnTo>
                  <a:lnTo>
                    <a:pt x="1732" y="434"/>
                  </a:lnTo>
                  <a:lnTo>
                    <a:pt x="1732" y="434"/>
                  </a:lnTo>
                  <a:lnTo>
                    <a:pt x="1730" y="432"/>
                  </a:lnTo>
                  <a:lnTo>
                    <a:pt x="1730" y="432"/>
                  </a:lnTo>
                  <a:lnTo>
                    <a:pt x="1730" y="432"/>
                  </a:lnTo>
                  <a:lnTo>
                    <a:pt x="1728" y="432"/>
                  </a:lnTo>
                  <a:lnTo>
                    <a:pt x="1728" y="432"/>
                  </a:lnTo>
                  <a:lnTo>
                    <a:pt x="1726" y="432"/>
                  </a:lnTo>
                  <a:lnTo>
                    <a:pt x="1726" y="432"/>
                  </a:lnTo>
                  <a:lnTo>
                    <a:pt x="1726" y="432"/>
                  </a:lnTo>
                  <a:lnTo>
                    <a:pt x="1724" y="434"/>
                  </a:lnTo>
                  <a:lnTo>
                    <a:pt x="1724" y="434"/>
                  </a:lnTo>
                  <a:lnTo>
                    <a:pt x="1724" y="434"/>
                  </a:lnTo>
                  <a:lnTo>
                    <a:pt x="1722" y="434"/>
                  </a:lnTo>
                  <a:lnTo>
                    <a:pt x="1722" y="436"/>
                  </a:lnTo>
                  <a:lnTo>
                    <a:pt x="1722" y="436"/>
                  </a:lnTo>
                  <a:lnTo>
                    <a:pt x="1722" y="436"/>
                  </a:lnTo>
                  <a:lnTo>
                    <a:pt x="1720" y="438"/>
                  </a:lnTo>
                  <a:lnTo>
                    <a:pt x="1718" y="442"/>
                  </a:lnTo>
                  <a:lnTo>
                    <a:pt x="1718" y="442"/>
                  </a:lnTo>
                  <a:lnTo>
                    <a:pt x="1718" y="444"/>
                  </a:lnTo>
                  <a:lnTo>
                    <a:pt x="1716" y="446"/>
                  </a:lnTo>
                  <a:lnTo>
                    <a:pt x="1714" y="446"/>
                  </a:lnTo>
                  <a:lnTo>
                    <a:pt x="1712" y="448"/>
                  </a:lnTo>
                  <a:lnTo>
                    <a:pt x="1712" y="448"/>
                  </a:lnTo>
                  <a:lnTo>
                    <a:pt x="1710" y="448"/>
                  </a:lnTo>
                  <a:lnTo>
                    <a:pt x="1708" y="450"/>
                  </a:lnTo>
                  <a:lnTo>
                    <a:pt x="1708" y="452"/>
                  </a:lnTo>
                  <a:lnTo>
                    <a:pt x="1708" y="452"/>
                  </a:lnTo>
                  <a:lnTo>
                    <a:pt x="1706" y="454"/>
                  </a:lnTo>
                  <a:lnTo>
                    <a:pt x="1706" y="454"/>
                  </a:lnTo>
                  <a:lnTo>
                    <a:pt x="1706" y="454"/>
                  </a:lnTo>
                  <a:lnTo>
                    <a:pt x="1704" y="454"/>
                  </a:lnTo>
                  <a:lnTo>
                    <a:pt x="1704" y="454"/>
                  </a:lnTo>
                  <a:lnTo>
                    <a:pt x="1704" y="454"/>
                  </a:lnTo>
                  <a:lnTo>
                    <a:pt x="1704" y="456"/>
                  </a:lnTo>
                  <a:lnTo>
                    <a:pt x="1704" y="456"/>
                  </a:lnTo>
                  <a:lnTo>
                    <a:pt x="1704" y="456"/>
                  </a:lnTo>
                  <a:lnTo>
                    <a:pt x="1702" y="458"/>
                  </a:lnTo>
                  <a:lnTo>
                    <a:pt x="1702" y="458"/>
                  </a:lnTo>
                  <a:lnTo>
                    <a:pt x="1702" y="458"/>
                  </a:lnTo>
                  <a:lnTo>
                    <a:pt x="1702" y="460"/>
                  </a:lnTo>
                  <a:lnTo>
                    <a:pt x="1702" y="464"/>
                  </a:lnTo>
                  <a:lnTo>
                    <a:pt x="1702" y="468"/>
                  </a:lnTo>
                  <a:lnTo>
                    <a:pt x="1702" y="472"/>
                  </a:lnTo>
                  <a:lnTo>
                    <a:pt x="1702" y="476"/>
                  </a:lnTo>
                  <a:lnTo>
                    <a:pt x="1702" y="482"/>
                  </a:lnTo>
                  <a:close/>
                  <a:moveTo>
                    <a:pt x="1832" y="498"/>
                  </a:moveTo>
                  <a:lnTo>
                    <a:pt x="1832" y="500"/>
                  </a:lnTo>
                  <a:lnTo>
                    <a:pt x="1832" y="500"/>
                  </a:lnTo>
                  <a:lnTo>
                    <a:pt x="1832" y="500"/>
                  </a:lnTo>
                  <a:lnTo>
                    <a:pt x="1834" y="502"/>
                  </a:lnTo>
                  <a:lnTo>
                    <a:pt x="1836" y="504"/>
                  </a:lnTo>
                  <a:lnTo>
                    <a:pt x="1838" y="506"/>
                  </a:lnTo>
                  <a:lnTo>
                    <a:pt x="1842" y="508"/>
                  </a:lnTo>
                  <a:lnTo>
                    <a:pt x="1844" y="510"/>
                  </a:lnTo>
                  <a:lnTo>
                    <a:pt x="1850" y="514"/>
                  </a:lnTo>
                  <a:lnTo>
                    <a:pt x="1852" y="516"/>
                  </a:lnTo>
                  <a:lnTo>
                    <a:pt x="1854" y="516"/>
                  </a:lnTo>
                  <a:lnTo>
                    <a:pt x="1856" y="518"/>
                  </a:lnTo>
                  <a:lnTo>
                    <a:pt x="1858" y="518"/>
                  </a:lnTo>
                  <a:lnTo>
                    <a:pt x="1856" y="518"/>
                  </a:lnTo>
                  <a:lnTo>
                    <a:pt x="1858" y="520"/>
                  </a:lnTo>
                  <a:lnTo>
                    <a:pt x="1860" y="522"/>
                  </a:lnTo>
                  <a:lnTo>
                    <a:pt x="1860" y="522"/>
                  </a:lnTo>
                  <a:lnTo>
                    <a:pt x="1860" y="522"/>
                  </a:lnTo>
                  <a:lnTo>
                    <a:pt x="1862" y="522"/>
                  </a:lnTo>
                  <a:lnTo>
                    <a:pt x="1862" y="522"/>
                  </a:lnTo>
                  <a:lnTo>
                    <a:pt x="1862" y="522"/>
                  </a:lnTo>
                  <a:lnTo>
                    <a:pt x="1864" y="524"/>
                  </a:lnTo>
                  <a:lnTo>
                    <a:pt x="1866" y="524"/>
                  </a:lnTo>
                  <a:lnTo>
                    <a:pt x="1870" y="524"/>
                  </a:lnTo>
                  <a:lnTo>
                    <a:pt x="1876" y="524"/>
                  </a:lnTo>
                  <a:lnTo>
                    <a:pt x="1878" y="524"/>
                  </a:lnTo>
                  <a:lnTo>
                    <a:pt x="1882" y="524"/>
                  </a:lnTo>
                  <a:lnTo>
                    <a:pt x="1884" y="524"/>
                  </a:lnTo>
                  <a:lnTo>
                    <a:pt x="1884" y="524"/>
                  </a:lnTo>
                  <a:lnTo>
                    <a:pt x="1886" y="524"/>
                  </a:lnTo>
                  <a:lnTo>
                    <a:pt x="1886" y="524"/>
                  </a:lnTo>
                  <a:lnTo>
                    <a:pt x="1886" y="524"/>
                  </a:lnTo>
                  <a:lnTo>
                    <a:pt x="1888" y="522"/>
                  </a:lnTo>
                  <a:lnTo>
                    <a:pt x="1890" y="522"/>
                  </a:lnTo>
                  <a:lnTo>
                    <a:pt x="1890" y="522"/>
                  </a:lnTo>
                  <a:lnTo>
                    <a:pt x="1890" y="520"/>
                  </a:lnTo>
                  <a:lnTo>
                    <a:pt x="1890" y="520"/>
                  </a:lnTo>
                  <a:lnTo>
                    <a:pt x="1890" y="520"/>
                  </a:lnTo>
                  <a:lnTo>
                    <a:pt x="1890" y="518"/>
                  </a:lnTo>
                  <a:lnTo>
                    <a:pt x="1892" y="516"/>
                  </a:lnTo>
                  <a:lnTo>
                    <a:pt x="1892" y="512"/>
                  </a:lnTo>
                  <a:lnTo>
                    <a:pt x="1892" y="512"/>
                  </a:lnTo>
                  <a:lnTo>
                    <a:pt x="1894" y="510"/>
                  </a:lnTo>
                  <a:lnTo>
                    <a:pt x="1894" y="510"/>
                  </a:lnTo>
                  <a:lnTo>
                    <a:pt x="1900" y="510"/>
                  </a:lnTo>
                  <a:lnTo>
                    <a:pt x="1902" y="512"/>
                  </a:lnTo>
                  <a:lnTo>
                    <a:pt x="1904" y="512"/>
                  </a:lnTo>
                  <a:lnTo>
                    <a:pt x="1904" y="512"/>
                  </a:lnTo>
                  <a:lnTo>
                    <a:pt x="1904" y="512"/>
                  </a:lnTo>
                  <a:lnTo>
                    <a:pt x="1906" y="510"/>
                  </a:lnTo>
                  <a:lnTo>
                    <a:pt x="1906" y="510"/>
                  </a:lnTo>
                  <a:lnTo>
                    <a:pt x="1908" y="510"/>
                  </a:lnTo>
                  <a:lnTo>
                    <a:pt x="1908" y="510"/>
                  </a:lnTo>
                  <a:lnTo>
                    <a:pt x="1908" y="510"/>
                  </a:lnTo>
                  <a:lnTo>
                    <a:pt x="1908" y="506"/>
                  </a:lnTo>
                  <a:lnTo>
                    <a:pt x="1908" y="506"/>
                  </a:lnTo>
                  <a:lnTo>
                    <a:pt x="1908" y="506"/>
                  </a:lnTo>
                  <a:lnTo>
                    <a:pt x="1908" y="504"/>
                  </a:lnTo>
                  <a:lnTo>
                    <a:pt x="1906" y="504"/>
                  </a:lnTo>
                  <a:lnTo>
                    <a:pt x="1904" y="502"/>
                  </a:lnTo>
                  <a:lnTo>
                    <a:pt x="1902" y="500"/>
                  </a:lnTo>
                  <a:lnTo>
                    <a:pt x="1896" y="496"/>
                  </a:lnTo>
                  <a:lnTo>
                    <a:pt x="1892" y="494"/>
                  </a:lnTo>
                  <a:lnTo>
                    <a:pt x="1890" y="494"/>
                  </a:lnTo>
                  <a:lnTo>
                    <a:pt x="1890" y="494"/>
                  </a:lnTo>
                  <a:lnTo>
                    <a:pt x="1890" y="494"/>
                  </a:lnTo>
                  <a:lnTo>
                    <a:pt x="1884" y="492"/>
                  </a:lnTo>
                  <a:lnTo>
                    <a:pt x="1880" y="492"/>
                  </a:lnTo>
                  <a:lnTo>
                    <a:pt x="1876" y="492"/>
                  </a:lnTo>
                  <a:lnTo>
                    <a:pt x="1874" y="490"/>
                  </a:lnTo>
                  <a:lnTo>
                    <a:pt x="1874" y="490"/>
                  </a:lnTo>
                  <a:lnTo>
                    <a:pt x="1872" y="490"/>
                  </a:lnTo>
                  <a:lnTo>
                    <a:pt x="1872" y="490"/>
                  </a:lnTo>
                  <a:lnTo>
                    <a:pt x="1872" y="490"/>
                  </a:lnTo>
                  <a:lnTo>
                    <a:pt x="1870" y="486"/>
                  </a:lnTo>
                  <a:lnTo>
                    <a:pt x="1868" y="484"/>
                  </a:lnTo>
                  <a:lnTo>
                    <a:pt x="1868" y="484"/>
                  </a:lnTo>
                  <a:lnTo>
                    <a:pt x="1868" y="482"/>
                  </a:lnTo>
                  <a:lnTo>
                    <a:pt x="1868" y="482"/>
                  </a:lnTo>
                  <a:lnTo>
                    <a:pt x="1868" y="482"/>
                  </a:lnTo>
                  <a:lnTo>
                    <a:pt x="1868" y="482"/>
                  </a:lnTo>
                  <a:lnTo>
                    <a:pt x="1866" y="480"/>
                  </a:lnTo>
                  <a:lnTo>
                    <a:pt x="1866" y="480"/>
                  </a:lnTo>
                  <a:lnTo>
                    <a:pt x="1866" y="480"/>
                  </a:lnTo>
                  <a:lnTo>
                    <a:pt x="1862" y="478"/>
                  </a:lnTo>
                  <a:lnTo>
                    <a:pt x="1862" y="478"/>
                  </a:lnTo>
                  <a:lnTo>
                    <a:pt x="1862" y="478"/>
                  </a:lnTo>
                  <a:lnTo>
                    <a:pt x="1858" y="478"/>
                  </a:lnTo>
                  <a:lnTo>
                    <a:pt x="1858" y="478"/>
                  </a:lnTo>
                  <a:lnTo>
                    <a:pt x="1858" y="478"/>
                  </a:lnTo>
                  <a:lnTo>
                    <a:pt x="1854" y="478"/>
                  </a:lnTo>
                  <a:lnTo>
                    <a:pt x="1852" y="480"/>
                  </a:lnTo>
                  <a:lnTo>
                    <a:pt x="1852" y="480"/>
                  </a:lnTo>
                  <a:lnTo>
                    <a:pt x="1852" y="480"/>
                  </a:lnTo>
                  <a:lnTo>
                    <a:pt x="1850" y="480"/>
                  </a:lnTo>
                  <a:lnTo>
                    <a:pt x="1850" y="480"/>
                  </a:lnTo>
                  <a:lnTo>
                    <a:pt x="1850" y="480"/>
                  </a:lnTo>
                  <a:lnTo>
                    <a:pt x="1848" y="482"/>
                  </a:lnTo>
                  <a:lnTo>
                    <a:pt x="1846" y="484"/>
                  </a:lnTo>
                  <a:lnTo>
                    <a:pt x="1846" y="484"/>
                  </a:lnTo>
                  <a:lnTo>
                    <a:pt x="1844" y="484"/>
                  </a:lnTo>
                  <a:lnTo>
                    <a:pt x="1844" y="482"/>
                  </a:lnTo>
                  <a:lnTo>
                    <a:pt x="1842" y="480"/>
                  </a:lnTo>
                  <a:lnTo>
                    <a:pt x="1842" y="478"/>
                  </a:lnTo>
                  <a:lnTo>
                    <a:pt x="1840" y="476"/>
                  </a:lnTo>
                  <a:lnTo>
                    <a:pt x="1840" y="476"/>
                  </a:lnTo>
                  <a:lnTo>
                    <a:pt x="1840" y="476"/>
                  </a:lnTo>
                  <a:lnTo>
                    <a:pt x="1840" y="476"/>
                  </a:lnTo>
                  <a:lnTo>
                    <a:pt x="1840" y="476"/>
                  </a:lnTo>
                  <a:lnTo>
                    <a:pt x="1836" y="476"/>
                  </a:lnTo>
                  <a:lnTo>
                    <a:pt x="1836" y="476"/>
                  </a:lnTo>
                  <a:lnTo>
                    <a:pt x="1836" y="476"/>
                  </a:lnTo>
                  <a:lnTo>
                    <a:pt x="1834" y="478"/>
                  </a:lnTo>
                  <a:lnTo>
                    <a:pt x="1834" y="478"/>
                  </a:lnTo>
                  <a:lnTo>
                    <a:pt x="1834" y="478"/>
                  </a:lnTo>
                  <a:lnTo>
                    <a:pt x="1834" y="478"/>
                  </a:lnTo>
                  <a:lnTo>
                    <a:pt x="1834" y="480"/>
                  </a:lnTo>
                  <a:lnTo>
                    <a:pt x="1832" y="482"/>
                  </a:lnTo>
                  <a:lnTo>
                    <a:pt x="1832" y="486"/>
                  </a:lnTo>
                  <a:lnTo>
                    <a:pt x="1832" y="488"/>
                  </a:lnTo>
                  <a:lnTo>
                    <a:pt x="1832" y="490"/>
                  </a:lnTo>
                  <a:lnTo>
                    <a:pt x="1832" y="492"/>
                  </a:lnTo>
                  <a:lnTo>
                    <a:pt x="1832" y="494"/>
                  </a:lnTo>
                  <a:lnTo>
                    <a:pt x="1832" y="494"/>
                  </a:lnTo>
                  <a:lnTo>
                    <a:pt x="1830" y="494"/>
                  </a:lnTo>
                  <a:lnTo>
                    <a:pt x="1830" y="496"/>
                  </a:lnTo>
                  <a:lnTo>
                    <a:pt x="1830" y="496"/>
                  </a:lnTo>
                  <a:lnTo>
                    <a:pt x="1830" y="496"/>
                  </a:lnTo>
                  <a:lnTo>
                    <a:pt x="1832" y="498"/>
                  </a:lnTo>
                  <a:lnTo>
                    <a:pt x="1832" y="498"/>
                  </a:lnTo>
                  <a:lnTo>
                    <a:pt x="1832" y="498"/>
                  </a:lnTo>
                  <a:lnTo>
                    <a:pt x="1832" y="498"/>
                  </a:lnTo>
                  <a:close/>
                  <a:moveTo>
                    <a:pt x="1758" y="584"/>
                  </a:moveTo>
                  <a:lnTo>
                    <a:pt x="1758" y="584"/>
                  </a:lnTo>
                  <a:lnTo>
                    <a:pt x="1756" y="586"/>
                  </a:lnTo>
                  <a:lnTo>
                    <a:pt x="1752" y="586"/>
                  </a:lnTo>
                  <a:lnTo>
                    <a:pt x="1750" y="586"/>
                  </a:lnTo>
                  <a:lnTo>
                    <a:pt x="1748" y="586"/>
                  </a:lnTo>
                  <a:lnTo>
                    <a:pt x="1746" y="586"/>
                  </a:lnTo>
                  <a:lnTo>
                    <a:pt x="1746" y="586"/>
                  </a:lnTo>
                  <a:lnTo>
                    <a:pt x="1744" y="588"/>
                  </a:lnTo>
                  <a:lnTo>
                    <a:pt x="1744" y="588"/>
                  </a:lnTo>
                  <a:lnTo>
                    <a:pt x="1744" y="588"/>
                  </a:lnTo>
                  <a:lnTo>
                    <a:pt x="1744" y="590"/>
                  </a:lnTo>
                  <a:lnTo>
                    <a:pt x="1744" y="590"/>
                  </a:lnTo>
                  <a:lnTo>
                    <a:pt x="1746" y="592"/>
                  </a:lnTo>
                  <a:lnTo>
                    <a:pt x="1746" y="592"/>
                  </a:lnTo>
                  <a:lnTo>
                    <a:pt x="1746" y="592"/>
                  </a:lnTo>
                  <a:lnTo>
                    <a:pt x="1746" y="592"/>
                  </a:lnTo>
                  <a:lnTo>
                    <a:pt x="1748" y="592"/>
                  </a:lnTo>
                  <a:lnTo>
                    <a:pt x="1750" y="594"/>
                  </a:lnTo>
                  <a:lnTo>
                    <a:pt x="1754" y="594"/>
                  </a:lnTo>
                  <a:lnTo>
                    <a:pt x="1758" y="594"/>
                  </a:lnTo>
                  <a:lnTo>
                    <a:pt x="1760" y="594"/>
                  </a:lnTo>
                  <a:lnTo>
                    <a:pt x="1762" y="594"/>
                  </a:lnTo>
                  <a:lnTo>
                    <a:pt x="1764" y="596"/>
                  </a:lnTo>
                  <a:lnTo>
                    <a:pt x="1766" y="596"/>
                  </a:lnTo>
                  <a:lnTo>
                    <a:pt x="1768" y="600"/>
                  </a:lnTo>
                  <a:lnTo>
                    <a:pt x="1772" y="602"/>
                  </a:lnTo>
                  <a:lnTo>
                    <a:pt x="1772" y="602"/>
                  </a:lnTo>
                  <a:lnTo>
                    <a:pt x="1772" y="602"/>
                  </a:lnTo>
                  <a:lnTo>
                    <a:pt x="1774" y="604"/>
                  </a:lnTo>
                  <a:lnTo>
                    <a:pt x="1774" y="604"/>
                  </a:lnTo>
                  <a:lnTo>
                    <a:pt x="1776" y="604"/>
                  </a:lnTo>
                  <a:lnTo>
                    <a:pt x="1778" y="604"/>
                  </a:lnTo>
                  <a:lnTo>
                    <a:pt x="1778" y="604"/>
                  </a:lnTo>
                  <a:lnTo>
                    <a:pt x="1778" y="604"/>
                  </a:lnTo>
                  <a:lnTo>
                    <a:pt x="1780" y="604"/>
                  </a:lnTo>
                  <a:lnTo>
                    <a:pt x="1784" y="606"/>
                  </a:lnTo>
                  <a:lnTo>
                    <a:pt x="1790" y="606"/>
                  </a:lnTo>
                  <a:lnTo>
                    <a:pt x="1794" y="604"/>
                  </a:lnTo>
                  <a:lnTo>
                    <a:pt x="1798" y="604"/>
                  </a:lnTo>
                  <a:lnTo>
                    <a:pt x="1798" y="604"/>
                  </a:lnTo>
                  <a:lnTo>
                    <a:pt x="1798" y="604"/>
                  </a:lnTo>
                  <a:lnTo>
                    <a:pt x="1800" y="602"/>
                  </a:lnTo>
                  <a:lnTo>
                    <a:pt x="1800" y="602"/>
                  </a:lnTo>
                  <a:lnTo>
                    <a:pt x="1800" y="602"/>
                  </a:lnTo>
                  <a:lnTo>
                    <a:pt x="1802" y="600"/>
                  </a:lnTo>
                  <a:lnTo>
                    <a:pt x="1802" y="600"/>
                  </a:lnTo>
                  <a:lnTo>
                    <a:pt x="1802" y="600"/>
                  </a:lnTo>
                  <a:lnTo>
                    <a:pt x="1804" y="598"/>
                  </a:lnTo>
                  <a:lnTo>
                    <a:pt x="1804" y="598"/>
                  </a:lnTo>
                  <a:lnTo>
                    <a:pt x="1804" y="596"/>
                  </a:lnTo>
                  <a:lnTo>
                    <a:pt x="1802" y="594"/>
                  </a:lnTo>
                  <a:lnTo>
                    <a:pt x="1802" y="594"/>
                  </a:lnTo>
                  <a:lnTo>
                    <a:pt x="1802" y="594"/>
                  </a:lnTo>
                  <a:lnTo>
                    <a:pt x="1802" y="592"/>
                  </a:lnTo>
                  <a:lnTo>
                    <a:pt x="1800" y="588"/>
                  </a:lnTo>
                  <a:lnTo>
                    <a:pt x="1796" y="582"/>
                  </a:lnTo>
                  <a:lnTo>
                    <a:pt x="1796" y="580"/>
                  </a:lnTo>
                  <a:lnTo>
                    <a:pt x="1794" y="578"/>
                  </a:lnTo>
                  <a:lnTo>
                    <a:pt x="1792" y="574"/>
                  </a:lnTo>
                  <a:lnTo>
                    <a:pt x="1792" y="572"/>
                  </a:lnTo>
                  <a:lnTo>
                    <a:pt x="1790" y="570"/>
                  </a:lnTo>
                  <a:lnTo>
                    <a:pt x="1788" y="568"/>
                  </a:lnTo>
                  <a:lnTo>
                    <a:pt x="1786" y="566"/>
                  </a:lnTo>
                  <a:lnTo>
                    <a:pt x="1784" y="564"/>
                  </a:lnTo>
                  <a:lnTo>
                    <a:pt x="1784" y="564"/>
                  </a:lnTo>
                  <a:lnTo>
                    <a:pt x="1784" y="564"/>
                  </a:lnTo>
                  <a:lnTo>
                    <a:pt x="1780" y="562"/>
                  </a:lnTo>
                  <a:lnTo>
                    <a:pt x="1780" y="562"/>
                  </a:lnTo>
                  <a:lnTo>
                    <a:pt x="1780" y="562"/>
                  </a:lnTo>
                  <a:lnTo>
                    <a:pt x="1778" y="562"/>
                  </a:lnTo>
                  <a:lnTo>
                    <a:pt x="1778" y="562"/>
                  </a:lnTo>
                  <a:lnTo>
                    <a:pt x="1776" y="562"/>
                  </a:lnTo>
                  <a:lnTo>
                    <a:pt x="1776" y="562"/>
                  </a:lnTo>
                  <a:lnTo>
                    <a:pt x="1774" y="562"/>
                  </a:lnTo>
                  <a:lnTo>
                    <a:pt x="1770" y="564"/>
                  </a:lnTo>
                  <a:lnTo>
                    <a:pt x="1770" y="564"/>
                  </a:lnTo>
                  <a:lnTo>
                    <a:pt x="1768" y="564"/>
                  </a:lnTo>
                  <a:lnTo>
                    <a:pt x="1764" y="566"/>
                  </a:lnTo>
                  <a:lnTo>
                    <a:pt x="1764" y="566"/>
                  </a:lnTo>
                  <a:lnTo>
                    <a:pt x="1764" y="566"/>
                  </a:lnTo>
                  <a:lnTo>
                    <a:pt x="1762" y="566"/>
                  </a:lnTo>
                  <a:lnTo>
                    <a:pt x="1762" y="566"/>
                  </a:lnTo>
                  <a:lnTo>
                    <a:pt x="1762" y="566"/>
                  </a:lnTo>
                  <a:lnTo>
                    <a:pt x="1760" y="568"/>
                  </a:lnTo>
                  <a:lnTo>
                    <a:pt x="1760" y="568"/>
                  </a:lnTo>
                  <a:lnTo>
                    <a:pt x="1760" y="568"/>
                  </a:lnTo>
                  <a:lnTo>
                    <a:pt x="1760" y="570"/>
                  </a:lnTo>
                  <a:lnTo>
                    <a:pt x="1760" y="570"/>
                  </a:lnTo>
                  <a:lnTo>
                    <a:pt x="1758" y="572"/>
                  </a:lnTo>
                  <a:lnTo>
                    <a:pt x="1758" y="574"/>
                  </a:lnTo>
                  <a:lnTo>
                    <a:pt x="1758" y="574"/>
                  </a:lnTo>
                  <a:lnTo>
                    <a:pt x="1758" y="574"/>
                  </a:lnTo>
                  <a:lnTo>
                    <a:pt x="1758" y="578"/>
                  </a:lnTo>
                  <a:lnTo>
                    <a:pt x="1758" y="584"/>
                  </a:lnTo>
                  <a:lnTo>
                    <a:pt x="1758" y="582"/>
                  </a:lnTo>
                  <a:lnTo>
                    <a:pt x="1758" y="584"/>
                  </a:lnTo>
                  <a:lnTo>
                    <a:pt x="1758" y="584"/>
                  </a:lnTo>
                  <a:close/>
                  <a:moveTo>
                    <a:pt x="1022" y="72"/>
                  </a:moveTo>
                  <a:lnTo>
                    <a:pt x="1024" y="74"/>
                  </a:lnTo>
                  <a:lnTo>
                    <a:pt x="1024" y="74"/>
                  </a:lnTo>
                  <a:lnTo>
                    <a:pt x="1024" y="74"/>
                  </a:lnTo>
                  <a:lnTo>
                    <a:pt x="1024" y="78"/>
                  </a:lnTo>
                  <a:lnTo>
                    <a:pt x="1026" y="80"/>
                  </a:lnTo>
                  <a:lnTo>
                    <a:pt x="1026" y="80"/>
                  </a:lnTo>
                  <a:lnTo>
                    <a:pt x="1026" y="80"/>
                  </a:lnTo>
                  <a:lnTo>
                    <a:pt x="1028" y="82"/>
                  </a:lnTo>
                  <a:lnTo>
                    <a:pt x="1028" y="82"/>
                  </a:lnTo>
                  <a:lnTo>
                    <a:pt x="1028" y="82"/>
                  </a:lnTo>
                  <a:lnTo>
                    <a:pt x="1032" y="84"/>
                  </a:lnTo>
                  <a:lnTo>
                    <a:pt x="1032" y="84"/>
                  </a:lnTo>
                  <a:lnTo>
                    <a:pt x="1032" y="84"/>
                  </a:lnTo>
                  <a:lnTo>
                    <a:pt x="1034" y="86"/>
                  </a:lnTo>
                  <a:lnTo>
                    <a:pt x="1034" y="86"/>
                  </a:lnTo>
                  <a:lnTo>
                    <a:pt x="1034" y="86"/>
                  </a:lnTo>
                  <a:lnTo>
                    <a:pt x="1036" y="86"/>
                  </a:lnTo>
                  <a:lnTo>
                    <a:pt x="1036" y="86"/>
                  </a:lnTo>
                  <a:lnTo>
                    <a:pt x="1038" y="88"/>
                  </a:lnTo>
                  <a:lnTo>
                    <a:pt x="1040" y="86"/>
                  </a:lnTo>
                  <a:lnTo>
                    <a:pt x="1044" y="86"/>
                  </a:lnTo>
                  <a:lnTo>
                    <a:pt x="1044" y="86"/>
                  </a:lnTo>
                  <a:lnTo>
                    <a:pt x="1044" y="86"/>
                  </a:lnTo>
                  <a:lnTo>
                    <a:pt x="1048" y="86"/>
                  </a:lnTo>
                  <a:lnTo>
                    <a:pt x="1048" y="86"/>
                  </a:lnTo>
                  <a:lnTo>
                    <a:pt x="1048" y="86"/>
                  </a:lnTo>
                  <a:lnTo>
                    <a:pt x="1050" y="84"/>
                  </a:lnTo>
                  <a:lnTo>
                    <a:pt x="1050" y="84"/>
                  </a:lnTo>
                  <a:lnTo>
                    <a:pt x="1050" y="84"/>
                  </a:lnTo>
                  <a:lnTo>
                    <a:pt x="1052" y="84"/>
                  </a:lnTo>
                  <a:lnTo>
                    <a:pt x="1052" y="84"/>
                  </a:lnTo>
                  <a:lnTo>
                    <a:pt x="1052" y="82"/>
                  </a:lnTo>
                  <a:lnTo>
                    <a:pt x="1052" y="80"/>
                  </a:lnTo>
                  <a:lnTo>
                    <a:pt x="1054" y="80"/>
                  </a:lnTo>
                  <a:lnTo>
                    <a:pt x="1054" y="80"/>
                  </a:lnTo>
                  <a:lnTo>
                    <a:pt x="1054" y="78"/>
                  </a:lnTo>
                  <a:lnTo>
                    <a:pt x="1054" y="74"/>
                  </a:lnTo>
                  <a:lnTo>
                    <a:pt x="1054" y="74"/>
                  </a:lnTo>
                  <a:lnTo>
                    <a:pt x="1054" y="72"/>
                  </a:lnTo>
                  <a:lnTo>
                    <a:pt x="1054" y="72"/>
                  </a:lnTo>
                  <a:lnTo>
                    <a:pt x="1054" y="72"/>
                  </a:lnTo>
                  <a:lnTo>
                    <a:pt x="1054" y="70"/>
                  </a:lnTo>
                  <a:lnTo>
                    <a:pt x="1054" y="70"/>
                  </a:lnTo>
                  <a:lnTo>
                    <a:pt x="1054" y="68"/>
                  </a:lnTo>
                  <a:lnTo>
                    <a:pt x="1052" y="66"/>
                  </a:lnTo>
                  <a:lnTo>
                    <a:pt x="1052" y="66"/>
                  </a:lnTo>
                  <a:lnTo>
                    <a:pt x="1052" y="66"/>
                  </a:lnTo>
                  <a:lnTo>
                    <a:pt x="1052" y="64"/>
                  </a:lnTo>
                  <a:lnTo>
                    <a:pt x="1052" y="64"/>
                  </a:lnTo>
                  <a:lnTo>
                    <a:pt x="1050" y="64"/>
                  </a:lnTo>
                  <a:lnTo>
                    <a:pt x="1048" y="64"/>
                  </a:lnTo>
                  <a:lnTo>
                    <a:pt x="1048" y="64"/>
                  </a:lnTo>
                  <a:lnTo>
                    <a:pt x="1048" y="64"/>
                  </a:lnTo>
                  <a:lnTo>
                    <a:pt x="1044" y="64"/>
                  </a:lnTo>
                  <a:lnTo>
                    <a:pt x="1042" y="64"/>
                  </a:lnTo>
                  <a:lnTo>
                    <a:pt x="1038" y="64"/>
                  </a:lnTo>
                  <a:lnTo>
                    <a:pt x="1034" y="64"/>
                  </a:lnTo>
                  <a:lnTo>
                    <a:pt x="1030" y="64"/>
                  </a:lnTo>
                  <a:lnTo>
                    <a:pt x="1028" y="64"/>
                  </a:lnTo>
                  <a:lnTo>
                    <a:pt x="1028" y="64"/>
                  </a:lnTo>
                  <a:lnTo>
                    <a:pt x="1028" y="64"/>
                  </a:lnTo>
                  <a:lnTo>
                    <a:pt x="1026" y="66"/>
                  </a:lnTo>
                  <a:lnTo>
                    <a:pt x="1026" y="66"/>
                  </a:lnTo>
                  <a:lnTo>
                    <a:pt x="1024" y="66"/>
                  </a:lnTo>
                  <a:lnTo>
                    <a:pt x="1024" y="66"/>
                  </a:lnTo>
                  <a:lnTo>
                    <a:pt x="1024" y="66"/>
                  </a:lnTo>
                  <a:lnTo>
                    <a:pt x="1024" y="68"/>
                  </a:lnTo>
                  <a:lnTo>
                    <a:pt x="1024" y="70"/>
                  </a:lnTo>
                  <a:lnTo>
                    <a:pt x="1024" y="70"/>
                  </a:lnTo>
                  <a:lnTo>
                    <a:pt x="1022" y="70"/>
                  </a:lnTo>
                  <a:lnTo>
                    <a:pt x="1022" y="72"/>
                  </a:lnTo>
                  <a:lnTo>
                    <a:pt x="1022" y="72"/>
                  </a:lnTo>
                  <a:close/>
                  <a:moveTo>
                    <a:pt x="1050" y="140"/>
                  </a:moveTo>
                  <a:lnTo>
                    <a:pt x="1048" y="142"/>
                  </a:lnTo>
                  <a:lnTo>
                    <a:pt x="1048" y="144"/>
                  </a:lnTo>
                  <a:lnTo>
                    <a:pt x="1048" y="144"/>
                  </a:lnTo>
                  <a:lnTo>
                    <a:pt x="1046" y="146"/>
                  </a:lnTo>
                  <a:lnTo>
                    <a:pt x="1046" y="148"/>
                  </a:lnTo>
                  <a:lnTo>
                    <a:pt x="1046" y="148"/>
                  </a:lnTo>
                  <a:lnTo>
                    <a:pt x="1046" y="148"/>
                  </a:lnTo>
                  <a:lnTo>
                    <a:pt x="1046" y="150"/>
                  </a:lnTo>
                  <a:lnTo>
                    <a:pt x="1046" y="150"/>
                  </a:lnTo>
                  <a:lnTo>
                    <a:pt x="1048" y="152"/>
                  </a:lnTo>
                  <a:lnTo>
                    <a:pt x="1048" y="152"/>
                  </a:lnTo>
                  <a:lnTo>
                    <a:pt x="1048" y="152"/>
                  </a:lnTo>
                  <a:lnTo>
                    <a:pt x="1048" y="154"/>
                  </a:lnTo>
                  <a:lnTo>
                    <a:pt x="1050" y="154"/>
                  </a:lnTo>
                  <a:lnTo>
                    <a:pt x="1050" y="154"/>
                  </a:lnTo>
                  <a:lnTo>
                    <a:pt x="1050" y="154"/>
                  </a:lnTo>
                  <a:lnTo>
                    <a:pt x="1052" y="156"/>
                  </a:lnTo>
                  <a:lnTo>
                    <a:pt x="1056" y="158"/>
                  </a:lnTo>
                  <a:lnTo>
                    <a:pt x="1058" y="158"/>
                  </a:lnTo>
                  <a:lnTo>
                    <a:pt x="1060" y="160"/>
                  </a:lnTo>
                  <a:lnTo>
                    <a:pt x="1064" y="164"/>
                  </a:lnTo>
                  <a:lnTo>
                    <a:pt x="1070" y="168"/>
                  </a:lnTo>
                  <a:lnTo>
                    <a:pt x="1074" y="174"/>
                  </a:lnTo>
                  <a:lnTo>
                    <a:pt x="1078" y="176"/>
                  </a:lnTo>
                  <a:lnTo>
                    <a:pt x="1076" y="178"/>
                  </a:lnTo>
                  <a:lnTo>
                    <a:pt x="1074" y="180"/>
                  </a:lnTo>
                  <a:lnTo>
                    <a:pt x="1074" y="182"/>
                  </a:lnTo>
                  <a:lnTo>
                    <a:pt x="1072" y="184"/>
                  </a:lnTo>
                  <a:lnTo>
                    <a:pt x="1072" y="184"/>
                  </a:lnTo>
                  <a:lnTo>
                    <a:pt x="1070" y="186"/>
                  </a:lnTo>
                  <a:lnTo>
                    <a:pt x="1068" y="188"/>
                  </a:lnTo>
                  <a:lnTo>
                    <a:pt x="1068" y="188"/>
                  </a:lnTo>
                  <a:lnTo>
                    <a:pt x="1068" y="190"/>
                  </a:lnTo>
                  <a:lnTo>
                    <a:pt x="1068" y="190"/>
                  </a:lnTo>
                  <a:lnTo>
                    <a:pt x="1062" y="166"/>
                  </a:lnTo>
                  <a:lnTo>
                    <a:pt x="1062" y="162"/>
                  </a:lnTo>
                  <a:lnTo>
                    <a:pt x="1058" y="162"/>
                  </a:lnTo>
                  <a:lnTo>
                    <a:pt x="1052" y="162"/>
                  </a:lnTo>
                  <a:lnTo>
                    <a:pt x="1048" y="162"/>
                  </a:lnTo>
                  <a:lnTo>
                    <a:pt x="1048" y="162"/>
                  </a:lnTo>
                  <a:lnTo>
                    <a:pt x="1048" y="162"/>
                  </a:lnTo>
                  <a:lnTo>
                    <a:pt x="1046" y="164"/>
                  </a:lnTo>
                  <a:lnTo>
                    <a:pt x="1046" y="164"/>
                  </a:lnTo>
                  <a:lnTo>
                    <a:pt x="1044" y="164"/>
                  </a:lnTo>
                  <a:lnTo>
                    <a:pt x="1044" y="164"/>
                  </a:lnTo>
                  <a:lnTo>
                    <a:pt x="1044" y="164"/>
                  </a:lnTo>
                  <a:lnTo>
                    <a:pt x="1042" y="166"/>
                  </a:lnTo>
                  <a:lnTo>
                    <a:pt x="1042" y="166"/>
                  </a:lnTo>
                  <a:lnTo>
                    <a:pt x="1042" y="166"/>
                  </a:lnTo>
                  <a:lnTo>
                    <a:pt x="1042" y="168"/>
                  </a:lnTo>
                  <a:lnTo>
                    <a:pt x="1040" y="170"/>
                  </a:lnTo>
                  <a:lnTo>
                    <a:pt x="1040" y="172"/>
                  </a:lnTo>
                  <a:lnTo>
                    <a:pt x="1038" y="176"/>
                  </a:lnTo>
                  <a:lnTo>
                    <a:pt x="1038" y="178"/>
                  </a:lnTo>
                  <a:lnTo>
                    <a:pt x="1038" y="180"/>
                  </a:lnTo>
                  <a:lnTo>
                    <a:pt x="1038" y="180"/>
                  </a:lnTo>
                  <a:lnTo>
                    <a:pt x="1038" y="180"/>
                  </a:lnTo>
                  <a:lnTo>
                    <a:pt x="1038" y="184"/>
                  </a:lnTo>
                  <a:lnTo>
                    <a:pt x="1038" y="184"/>
                  </a:lnTo>
                  <a:lnTo>
                    <a:pt x="1038" y="184"/>
                  </a:lnTo>
                  <a:lnTo>
                    <a:pt x="1040" y="188"/>
                  </a:lnTo>
                  <a:lnTo>
                    <a:pt x="1040" y="188"/>
                  </a:lnTo>
                  <a:lnTo>
                    <a:pt x="1040" y="188"/>
                  </a:lnTo>
                  <a:lnTo>
                    <a:pt x="1042" y="192"/>
                  </a:lnTo>
                  <a:lnTo>
                    <a:pt x="1042" y="192"/>
                  </a:lnTo>
                  <a:lnTo>
                    <a:pt x="1042" y="192"/>
                  </a:lnTo>
                  <a:lnTo>
                    <a:pt x="1042" y="194"/>
                  </a:lnTo>
                  <a:lnTo>
                    <a:pt x="1042" y="194"/>
                  </a:lnTo>
                  <a:lnTo>
                    <a:pt x="1044" y="194"/>
                  </a:lnTo>
                  <a:lnTo>
                    <a:pt x="1044" y="194"/>
                  </a:lnTo>
                  <a:lnTo>
                    <a:pt x="1044" y="194"/>
                  </a:lnTo>
                  <a:lnTo>
                    <a:pt x="1046" y="196"/>
                  </a:lnTo>
                  <a:lnTo>
                    <a:pt x="1048" y="196"/>
                  </a:lnTo>
                  <a:lnTo>
                    <a:pt x="1048" y="196"/>
                  </a:lnTo>
                  <a:lnTo>
                    <a:pt x="1048" y="196"/>
                  </a:lnTo>
                  <a:lnTo>
                    <a:pt x="1052" y="196"/>
                  </a:lnTo>
                  <a:lnTo>
                    <a:pt x="1056" y="196"/>
                  </a:lnTo>
                  <a:lnTo>
                    <a:pt x="1058" y="196"/>
                  </a:lnTo>
                  <a:lnTo>
                    <a:pt x="1064" y="198"/>
                  </a:lnTo>
                  <a:lnTo>
                    <a:pt x="1068" y="200"/>
                  </a:lnTo>
                  <a:lnTo>
                    <a:pt x="1070" y="202"/>
                  </a:lnTo>
                  <a:lnTo>
                    <a:pt x="1072" y="208"/>
                  </a:lnTo>
                  <a:lnTo>
                    <a:pt x="1072" y="210"/>
                  </a:lnTo>
                  <a:lnTo>
                    <a:pt x="1074" y="212"/>
                  </a:lnTo>
                  <a:lnTo>
                    <a:pt x="1076" y="214"/>
                  </a:lnTo>
                  <a:lnTo>
                    <a:pt x="1076" y="214"/>
                  </a:lnTo>
                  <a:lnTo>
                    <a:pt x="1076" y="214"/>
                  </a:lnTo>
                  <a:lnTo>
                    <a:pt x="1076" y="216"/>
                  </a:lnTo>
                  <a:lnTo>
                    <a:pt x="1080" y="218"/>
                  </a:lnTo>
                  <a:lnTo>
                    <a:pt x="1084" y="220"/>
                  </a:lnTo>
                  <a:lnTo>
                    <a:pt x="1084" y="222"/>
                  </a:lnTo>
                  <a:lnTo>
                    <a:pt x="1086" y="222"/>
                  </a:lnTo>
                  <a:lnTo>
                    <a:pt x="1086" y="224"/>
                  </a:lnTo>
                  <a:lnTo>
                    <a:pt x="1086" y="224"/>
                  </a:lnTo>
                  <a:lnTo>
                    <a:pt x="1086" y="228"/>
                  </a:lnTo>
                  <a:lnTo>
                    <a:pt x="1084" y="230"/>
                  </a:lnTo>
                  <a:lnTo>
                    <a:pt x="1084" y="230"/>
                  </a:lnTo>
                  <a:lnTo>
                    <a:pt x="1084" y="230"/>
                  </a:lnTo>
                  <a:lnTo>
                    <a:pt x="1086" y="234"/>
                  </a:lnTo>
                  <a:lnTo>
                    <a:pt x="1086" y="234"/>
                  </a:lnTo>
                  <a:lnTo>
                    <a:pt x="1086" y="234"/>
                  </a:lnTo>
                  <a:lnTo>
                    <a:pt x="1086" y="236"/>
                  </a:lnTo>
                  <a:lnTo>
                    <a:pt x="1086" y="238"/>
                  </a:lnTo>
                  <a:lnTo>
                    <a:pt x="1088" y="242"/>
                  </a:lnTo>
                  <a:lnTo>
                    <a:pt x="1088" y="244"/>
                  </a:lnTo>
                  <a:lnTo>
                    <a:pt x="1088" y="246"/>
                  </a:lnTo>
                  <a:lnTo>
                    <a:pt x="1088" y="246"/>
                  </a:lnTo>
                  <a:lnTo>
                    <a:pt x="1088" y="246"/>
                  </a:lnTo>
                  <a:lnTo>
                    <a:pt x="1090" y="248"/>
                  </a:lnTo>
                  <a:lnTo>
                    <a:pt x="1090" y="248"/>
                  </a:lnTo>
                  <a:lnTo>
                    <a:pt x="1090" y="248"/>
                  </a:lnTo>
                  <a:lnTo>
                    <a:pt x="1090" y="250"/>
                  </a:lnTo>
                  <a:lnTo>
                    <a:pt x="1090" y="250"/>
                  </a:lnTo>
                  <a:lnTo>
                    <a:pt x="1092" y="250"/>
                  </a:lnTo>
                  <a:lnTo>
                    <a:pt x="1094" y="250"/>
                  </a:lnTo>
                  <a:lnTo>
                    <a:pt x="1094" y="250"/>
                  </a:lnTo>
                  <a:lnTo>
                    <a:pt x="1094" y="250"/>
                  </a:lnTo>
                  <a:lnTo>
                    <a:pt x="1096" y="250"/>
                  </a:lnTo>
                  <a:lnTo>
                    <a:pt x="1096" y="250"/>
                  </a:lnTo>
                  <a:lnTo>
                    <a:pt x="1096" y="250"/>
                  </a:lnTo>
                  <a:lnTo>
                    <a:pt x="1098" y="248"/>
                  </a:lnTo>
                  <a:lnTo>
                    <a:pt x="1100" y="246"/>
                  </a:lnTo>
                  <a:lnTo>
                    <a:pt x="1100" y="246"/>
                  </a:lnTo>
                  <a:lnTo>
                    <a:pt x="1102" y="246"/>
                  </a:lnTo>
                  <a:lnTo>
                    <a:pt x="1102" y="246"/>
                  </a:lnTo>
                  <a:lnTo>
                    <a:pt x="1102" y="246"/>
                  </a:lnTo>
                  <a:lnTo>
                    <a:pt x="1104" y="248"/>
                  </a:lnTo>
                  <a:lnTo>
                    <a:pt x="1106" y="250"/>
                  </a:lnTo>
                  <a:lnTo>
                    <a:pt x="1108" y="250"/>
                  </a:lnTo>
                  <a:lnTo>
                    <a:pt x="1108" y="250"/>
                  </a:lnTo>
                  <a:lnTo>
                    <a:pt x="1108" y="250"/>
                  </a:lnTo>
                  <a:lnTo>
                    <a:pt x="1110" y="250"/>
                  </a:lnTo>
                  <a:lnTo>
                    <a:pt x="1110" y="250"/>
                  </a:lnTo>
                  <a:lnTo>
                    <a:pt x="1112" y="252"/>
                  </a:lnTo>
                  <a:lnTo>
                    <a:pt x="1114" y="252"/>
                  </a:lnTo>
                  <a:lnTo>
                    <a:pt x="1118" y="252"/>
                  </a:lnTo>
                  <a:lnTo>
                    <a:pt x="1122" y="252"/>
                  </a:lnTo>
                  <a:lnTo>
                    <a:pt x="1122" y="252"/>
                  </a:lnTo>
                  <a:lnTo>
                    <a:pt x="1122" y="252"/>
                  </a:lnTo>
                  <a:lnTo>
                    <a:pt x="1124" y="252"/>
                  </a:lnTo>
                  <a:lnTo>
                    <a:pt x="1124" y="254"/>
                  </a:lnTo>
                  <a:lnTo>
                    <a:pt x="1124" y="258"/>
                  </a:lnTo>
                  <a:lnTo>
                    <a:pt x="1126" y="260"/>
                  </a:lnTo>
                  <a:lnTo>
                    <a:pt x="1126" y="264"/>
                  </a:lnTo>
                  <a:lnTo>
                    <a:pt x="1126" y="264"/>
                  </a:lnTo>
                  <a:lnTo>
                    <a:pt x="1126" y="264"/>
                  </a:lnTo>
                  <a:lnTo>
                    <a:pt x="1128" y="266"/>
                  </a:lnTo>
                  <a:lnTo>
                    <a:pt x="1128" y="266"/>
                  </a:lnTo>
                  <a:lnTo>
                    <a:pt x="1128" y="266"/>
                  </a:lnTo>
                  <a:lnTo>
                    <a:pt x="1130" y="268"/>
                  </a:lnTo>
                  <a:lnTo>
                    <a:pt x="1130" y="268"/>
                  </a:lnTo>
                  <a:lnTo>
                    <a:pt x="1132" y="268"/>
                  </a:lnTo>
                  <a:lnTo>
                    <a:pt x="1134" y="268"/>
                  </a:lnTo>
                  <a:lnTo>
                    <a:pt x="1134" y="268"/>
                  </a:lnTo>
                  <a:lnTo>
                    <a:pt x="1134" y="268"/>
                  </a:lnTo>
                  <a:lnTo>
                    <a:pt x="1138" y="268"/>
                  </a:lnTo>
                  <a:lnTo>
                    <a:pt x="1140" y="268"/>
                  </a:lnTo>
                  <a:lnTo>
                    <a:pt x="1144" y="268"/>
                  </a:lnTo>
                  <a:lnTo>
                    <a:pt x="1148" y="266"/>
                  </a:lnTo>
                  <a:lnTo>
                    <a:pt x="1152" y="266"/>
                  </a:lnTo>
                  <a:lnTo>
                    <a:pt x="1156" y="266"/>
                  </a:lnTo>
                  <a:lnTo>
                    <a:pt x="1158" y="264"/>
                  </a:lnTo>
                  <a:lnTo>
                    <a:pt x="1162" y="264"/>
                  </a:lnTo>
                  <a:lnTo>
                    <a:pt x="1166" y="264"/>
                  </a:lnTo>
                  <a:lnTo>
                    <a:pt x="1166" y="264"/>
                  </a:lnTo>
                  <a:lnTo>
                    <a:pt x="1166" y="264"/>
                  </a:lnTo>
                  <a:lnTo>
                    <a:pt x="1170" y="262"/>
                  </a:lnTo>
                  <a:lnTo>
                    <a:pt x="1170" y="262"/>
                  </a:lnTo>
                  <a:lnTo>
                    <a:pt x="1170" y="260"/>
                  </a:lnTo>
                  <a:lnTo>
                    <a:pt x="1170" y="260"/>
                  </a:lnTo>
                  <a:lnTo>
                    <a:pt x="1170" y="260"/>
                  </a:lnTo>
                  <a:lnTo>
                    <a:pt x="1172" y="258"/>
                  </a:lnTo>
                  <a:lnTo>
                    <a:pt x="1172" y="258"/>
                  </a:lnTo>
                  <a:lnTo>
                    <a:pt x="1172" y="258"/>
                  </a:lnTo>
                  <a:lnTo>
                    <a:pt x="1172" y="256"/>
                  </a:lnTo>
                  <a:lnTo>
                    <a:pt x="1172" y="254"/>
                  </a:lnTo>
                  <a:lnTo>
                    <a:pt x="1172" y="254"/>
                  </a:lnTo>
                  <a:lnTo>
                    <a:pt x="1172" y="254"/>
                  </a:lnTo>
                  <a:lnTo>
                    <a:pt x="1172" y="252"/>
                  </a:lnTo>
                  <a:lnTo>
                    <a:pt x="1170" y="246"/>
                  </a:lnTo>
                  <a:lnTo>
                    <a:pt x="1168" y="238"/>
                  </a:lnTo>
                  <a:lnTo>
                    <a:pt x="1168" y="236"/>
                  </a:lnTo>
                  <a:lnTo>
                    <a:pt x="1168" y="234"/>
                  </a:lnTo>
                  <a:lnTo>
                    <a:pt x="1168" y="230"/>
                  </a:lnTo>
                  <a:lnTo>
                    <a:pt x="1168" y="228"/>
                  </a:lnTo>
                  <a:lnTo>
                    <a:pt x="1168" y="220"/>
                  </a:lnTo>
                  <a:lnTo>
                    <a:pt x="1168" y="212"/>
                  </a:lnTo>
                  <a:lnTo>
                    <a:pt x="1168" y="210"/>
                  </a:lnTo>
                  <a:lnTo>
                    <a:pt x="1168" y="206"/>
                  </a:lnTo>
                  <a:lnTo>
                    <a:pt x="1170" y="202"/>
                  </a:lnTo>
                  <a:lnTo>
                    <a:pt x="1170" y="198"/>
                  </a:lnTo>
                  <a:lnTo>
                    <a:pt x="1170" y="194"/>
                  </a:lnTo>
                  <a:lnTo>
                    <a:pt x="1168" y="190"/>
                  </a:lnTo>
                  <a:lnTo>
                    <a:pt x="1168" y="186"/>
                  </a:lnTo>
                  <a:lnTo>
                    <a:pt x="1168" y="182"/>
                  </a:lnTo>
                  <a:lnTo>
                    <a:pt x="1166" y="176"/>
                  </a:lnTo>
                  <a:lnTo>
                    <a:pt x="1166" y="176"/>
                  </a:lnTo>
                  <a:lnTo>
                    <a:pt x="1166" y="176"/>
                  </a:lnTo>
                  <a:lnTo>
                    <a:pt x="1164" y="172"/>
                  </a:lnTo>
                  <a:lnTo>
                    <a:pt x="1162" y="170"/>
                  </a:lnTo>
                  <a:lnTo>
                    <a:pt x="1158" y="166"/>
                  </a:lnTo>
                  <a:lnTo>
                    <a:pt x="1158" y="164"/>
                  </a:lnTo>
                  <a:lnTo>
                    <a:pt x="1158" y="164"/>
                  </a:lnTo>
                  <a:lnTo>
                    <a:pt x="1156" y="164"/>
                  </a:lnTo>
                  <a:lnTo>
                    <a:pt x="1156" y="164"/>
                  </a:lnTo>
                  <a:lnTo>
                    <a:pt x="1156" y="164"/>
                  </a:lnTo>
                  <a:lnTo>
                    <a:pt x="1154" y="164"/>
                  </a:lnTo>
                  <a:lnTo>
                    <a:pt x="1154" y="162"/>
                  </a:lnTo>
                  <a:lnTo>
                    <a:pt x="1154" y="162"/>
                  </a:lnTo>
                  <a:lnTo>
                    <a:pt x="1152" y="162"/>
                  </a:lnTo>
                  <a:lnTo>
                    <a:pt x="1152" y="162"/>
                  </a:lnTo>
                  <a:lnTo>
                    <a:pt x="1152" y="166"/>
                  </a:lnTo>
                  <a:lnTo>
                    <a:pt x="1152" y="166"/>
                  </a:lnTo>
                  <a:lnTo>
                    <a:pt x="1152" y="166"/>
                  </a:lnTo>
                  <a:lnTo>
                    <a:pt x="1146" y="162"/>
                  </a:lnTo>
                  <a:lnTo>
                    <a:pt x="1146" y="162"/>
                  </a:lnTo>
                  <a:lnTo>
                    <a:pt x="1142" y="160"/>
                  </a:lnTo>
                  <a:lnTo>
                    <a:pt x="1138" y="158"/>
                  </a:lnTo>
                  <a:lnTo>
                    <a:pt x="1138" y="158"/>
                  </a:lnTo>
                  <a:lnTo>
                    <a:pt x="1138" y="158"/>
                  </a:lnTo>
                  <a:lnTo>
                    <a:pt x="1138" y="158"/>
                  </a:lnTo>
                  <a:lnTo>
                    <a:pt x="1130" y="152"/>
                  </a:lnTo>
                  <a:lnTo>
                    <a:pt x="1130" y="148"/>
                  </a:lnTo>
                  <a:lnTo>
                    <a:pt x="1132" y="144"/>
                  </a:lnTo>
                  <a:lnTo>
                    <a:pt x="1132" y="140"/>
                  </a:lnTo>
                  <a:lnTo>
                    <a:pt x="1132" y="140"/>
                  </a:lnTo>
                  <a:lnTo>
                    <a:pt x="1132" y="138"/>
                  </a:lnTo>
                  <a:lnTo>
                    <a:pt x="1132" y="136"/>
                  </a:lnTo>
                  <a:lnTo>
                    <a:pt x="1132" y="134"/>
                  </a:lnTo>
                  <a:lnTo>
                    <a:pt x="1130" y="132"/>
                  </a:lnTo>
                  <a:lnTo>
                    <a:pt x="1128" y="128"/>
                  </a:lnTo>
                  <a:lnTo>
                    <a:pt x="1128" y="126"/>
                  </a:lnTo>
                  <a:lnTo>
                    <a:pt x="1128" y="126"/>
                  </a:lnTo>
                  <a:lnTo>
                    <a:pt x="1130" y="126"/>
                  </a:lnTo>
                  <a:lnTo>
                    <a:pt x="1130" y="126"/>
                  </a:lnTo>
                  <a:lnTo>
                    <a:pt x="1132" y="124"/>
                  </a:lnTo>
                  <a:lnTo>
                    <a:pt x="1132" y="124"/>
                  </a:lnTo>
                  <a:lnTo>
                    <a:pt x="1134" y="122"/>
                  </a:lnTo>
                  <a:lnTo>
                    <a:pt x="1136" y="120"/>
                  </a:lnTo>
                  <a:lnTo>
                    <a:pt x="1136" y="120"/>
                  </a:lnTo>
                  <a:lnTo>
                    <a:pt x="1136" y="120"/>
                  </a:lnTo>
                  <a:lnTo>
                    <a:pt x="1138" y="120"/>
                  </a:lnTo>
                  <a:lnTo>
                    <a:pt x="1138" y="120"/>
                  </a:lnTo>
                  <a:lnTo>
                    <a:pt x="1138" y="118"/>
                  </a:lnTo>
                  <a:lnTo>
                    <a:pt x="1140" y="118"/>
                  </a:lnTo>
                  <a:lnTo>
                    <a:pt x="1140" y="118"/>
                  </a:lnTo>
                  <a:lnTo>
                    <a:pt x="1140" y="116"/>
                  </a:lnTo>
                  <a:lnTo>
                    <a:pt x="1140" y="114"/>
                  </a:lnTo>
                  <a:lnTo>
                    <a:pt x="1140" y="114"/>
                  </a:lnTo>
                  <a:lnTo>
                    <a:pt x="1140" y="114"/>
                  </a:lnTo>
                  <a:lnTo>
                    <a:pt x="1140" y="112"/>
                  </a:lnTo>
                  <a:lnTo>
                    <a:pt x="1140" y="112"/>
                  </a:lnTo>
                  <a:lnTo>
                    <a:pt x="1140" y="112"/>
                  </a:lnTo>
                  <a:lnTo>
                    <a:pt x="1138" y="108"/>
                  </a:lnTo>
                  <a:lnTo>
                    <a:pt x="1136" y="104"/>
                  </a:lnTo>
                  <a:lnTo>
                    <a:pt x="1134" y="100"/>
                  </a:lnTo>
                  <a:lnTo>
                    <a:pt x="1132" y="96"/>
                  </a:lnTo>
                  <a:lnTo>
                    <a:pt x="1130" y="94"/>
                  </a:lnTo>
                  <a:lnTo>
                    <a:pt x="1128" y="88"/>
                  </a:lnTo>
                  <a:lnTo>
                    <a:pt x="1122" y="80"/>
                  </a:lnTo>
                  <a:lnTo>
                    <a:pt x="1122" y="80"/>
                  </a:lnTo>
                  <a:lnTo>
                    <a:pt x="1120" y="78"/>
                  </a:lnTo>
                  <a:lnTo>
                    <a:pt x="1120" y="74"/>
                  </a:lnTo>
                  <a:lnTo>
                    <a:pt x="1118" y="72"/>
                  </a:lnTo>
                  <a:lnTo>
                    <a:pt x="1118" y="72"/>
                  </a:lnTo>
                  <a:lnTo>
                    <a:pt x="1118" y="72"/>
                  </a:lnTo>
                  <a:lnTo>
                    <a:pt x="1116" y="68"/>
                  </a:lnTo>
                  <a:lnTo>
                    <a:pt x="1116" y="68"/>
                  </a:lnTo>
                  <a:lnTo>
                    <a:pt x="1116" y="68"/>
                  </a:lnTo>
                  <a:lnTo>
                    <a:pt x="1116" y="66"/>
                  </a:lnTo>
                  <a:lnTo>
                    <a:pt x="1114" y="66"/>
                  </a:lnTo>
                  <a:lnTo>
                    <a:pt x="1110" y="62"/>
                  </a:lnTo>
                  <a:lnTo>
                    <a:pt x="1108" y="60"/>
                  </a:lnTo>
                  <a:lnTo>
                    <a:pt x="1106" y="60"/>
                  </a:lnTo>
                  <a:lnTo>
                    <a:pt x="1106" y="60"/>
                  </a:lnTo>
                  <a:lnTo>
                    <a:pt x="1106" y="60"/>
                  </a:lnTo>
                  <a:lnTo>
                    <a:pt x="1104" y="58"/>
                  </a:lnTo>
                  <a:lnTo>
                    <a:pt x="1104" y="58"/>
                  </a:lnTo>
                  <a:lnTo>
                    <a:pt x="1104" y="58"/>
                  </a:lnTo>
                  <a:lnTo>
                    <a:pt x="1102" y="58"/>
                  </a:lnTo>
                  <a:lnTo>
                    <a:pt x="1102" y="58"/>
                  </a:lnTo>
                  <a:lnTo>
                    <a:pt x="1100" y="58"/>
                  </a:lnTo>
                  <a:lnTo>
                    <a:pt x="1098" y="60"/>
                  </a:lnTo>
                  <a:lnTo>
                    <a:pt x="1098" y="60"/>
                  </a:lnTo>
                  <a:lnTo>
                    <a:pt x="1098" y="60"/>
                  </a:lnTo>
                  <a:lnTo>
                    <a:pt x="1096" y="62"/>
                  </a:lnTo>
                  <a:lnTo>
                    <a:pt x="1094" y="64"/>
                  </a:lnTo>
                  <a:lnTo>
                    <a:pt x="1092" y="68"/>
                  </a:lnTo>
                  <a:lnTo>
                    <a:pt x="1088" y="72"/>
                  </a:lnTo>
                  <a:lnTo>
                    <a:pt x="1086" y="74"/>
                  </a:lnTo>
                  <a:lnTo>
                    <a:pt x="1086" y="76"/>
                  </a:lnTo>
                  <a:lnTo>
                    <a:pt x="1084" y="78"/>
                  </a:lnTo>
                  <a:lnTo>
                    <a:pt x="1082" y="78"/>
                  </a:lnTo>
                  <a:lnTo>
                    <a:pt x="1078" y="80"/>
                  </a:lnTo>
                  <a:lnTo>
                    <a:pt x="1074" y="80"/>
                  </a:lnTo>
                  <a:lnTo>
                    <a:pt x="1074" y="80"/>
                  </a:lnTo>
                  <a:lnTo>
                    <a:pt x="1074" y="80"/>
                  </a:lnTo>
                  <a:lnTo>
                    <a:pt x="1072" y="82"/>
                  </a:lnTo>
                  <a:lnTo>
                    <a:pt x="1072" y="82"/>
                  </a:lnTo>
                  <a:lnTo>
                    <a:pt x="1072" y="82"/>
                  </a:lnTo>
                  <a:lnTo>
                    <a:pt x="1070" y="82"/>
                  </a:lnTo>
                  <a:lnTo>
                    <a:pt x="1070" y="82"/>
                  </a:lnTo>
                  <a:lnTo>
                    <a:pt x="1070" y="84"/>
                  </a:lnTo>
                  <a:lnTo>
                    <a:pt x="1070" y="84"/>
                  </a:lnTo>
                  <a:lnTo>
                    <a:pt x="1070" y="84"/>
                  </a:lnTo>
                  <a:lnTo>
                    <a:pt x="1068" y="86"/>
                  </a:lnTo>
                  <a:lnTo>
                    <a:pt x="1068" y="86"/>
                  </a:lnTo>
                  <a:lnTo>
                    <a:pt x="1068" y="86"/>
                  </a:lnTo>
                  <a:lnTo>
                    <a:pt x="1068" y="88"/>
                  </a:lnTo>
                  <a:lnTo>
                    <a:pt x="1068" y="90"/>
                  </a:lnTo>
                  <a:lnTo>
                    <a:pt x="1070" y="92"/>
                  </a:lnTo>
                  <a:lnTo>
                    <a:pt x="1070" y="96"/>
                  </a:lnTo>
                  <a:lnTo>
                    <a:pt x="1070" y="98"/>
                  </a:lnTo>
                  <a:lnTo>
                    <a:pt x="1070" y="100"/>
                  </a:lnTo>
                  <a:lnTo>
                    <a:pt x="1068" y="106"/>
                  </a:lnTo>
                  <a:lnTo>
                    <a:pt x="1068" y="110"/>
                  </a:lnTo>
                  <a:lnTo>
                    <a:pt x="1068" y="112"/>
                  </a:lnTo>
                  <a:lnTo>
                    <a:pt x="1068" y="114"/>
                  </a:lnTo>
                  <a:lnTo>
                    <a:pt x="1066" y="114"/>
                  </a:lnTo>
                  <a:lnTo>
                    <a:pt x="1064" y="116"/>
                  </a:lnTo>
                  <a:lnTo>
                    <a:pt x="1064" y="120"/>
                  </a:lnTo>
                  <a:lnTo>
                    <a:pt x="1062" y="124"/>
                  </a:lnTo>
                  <a:lnTo>
                    <a:pt x="1062" y="128"/>
                  </a:lnTo>
                  <a:lnTo>
                    <a:pt x="1060" y="130"/>
                  </a:lnTo>
                  <a:lnTo>
                    <a:pt x="1058" y="132"/>
                  </a:lnTo>
                  <a:lnTo>
                    <a:pt x="1054" y="136"/>
                  </a:lnTo>
                  <a:lnTo>
                    <a:pt x="1050" y="140"/>
                  </a:lnTo>
                  <a:close/>
                  <a:moveTo>
                    <a:pt x="1070" y="122"/>
                  </a:moveTo>
                  <a:lnTo>
                    <a:pt x="1070" y="118"/>
                  </a:lnTo>
                  <a:lnTo>
                    <a:pt x="1070" y="116"/>
                  </a:lnTo>
                  <a:lnTo>
                    <a:pt x="1124" y="150"/>
                  </a:lnTo>
                  <a:lnTo>
                    <a:pt x="1124" y="150"/>
                  </a:lnTo>
                  <a:lnTo>
                    <a:pt x="1122" y="154"/>
                  </a:lnTo>
                  <a:lnTo>
                    <a:pt x="1120" y="154"/>
                  </a:lnTo>
                  <a:lnTo>
                    <a:pt x="1118" y="156"/>
                  </a:lnTo>
                  <a:lnTo>
                    <a:pt x="1116" y="158"/>
                  </a:lnTo>
                  <a:lnTo>
                    <a:pt x="1112" y="158"/>
                  </a:lnTo>
                  <a:lnTo>
                    <a:pt x="1110" y="158"/>
                  </a:lnTo>
                  <a:lnTo>
                    <a:pt x="1106" y="158"/>
                  </a:lnTo>
                  <a:lnTo>
                    <a:pt x="1102" y="158"/>
                  </a:lnTo>
                  <a:lnTo>
                    <a:pt x="1098" y="158"/>
                  </a:lnTo>
                  <a:lnTo>
                    <a:pt x="1096" y="158"/>
                  </a:lnTo>
                  <a:lnTo>
                    <a:pt x="1092" y="158"/>
                  </a:lnTo>
                  <a:lnTo>
                    <a:pt x="1092" y="158"/>
                  </a:lnTo>
                  <a:lnTo>
                    <a:pt x="1092" y="158"/>
                  </a:lnTo>
                  <a:lnTo>
                    <a:pt x="1090" y="158"/>
                  </a:lnTo>
                  <a:lnTo>
                    <a:pt x="1090" y="158"/>
                  </a:lnTo>
                  <a:lnTo>
                    <a:pt x="1088" y="158"/>
                  </a:lnTo>
                  <a:lnTo>
                    <a:pt x="1086" y="160"/>
                  </a:lnTo>
                  <a:lnTo>
                    <a:pt x="1086" y="160"/>
                  </a:lnTo>
                  <a:lnTo>
                    <a:pt x="1086" y="160"/>
                  </a:lnTo>
                  <a:lnTo>
                    <a:pt x="1086" y="162"/>
                  </a:lnTo>
                  <a:lnTo>
                    <a:pt x="1086" y="162"/>
                  </a:lnTo>
                  <a:lnTo>
                    <a:pt x="1084" y="162"/>
                  </a:lnTo>
                  <a:lnTo>
                    <a:pt x="1084" y="164"/>
                  </a:lnTo>
                  <a:lnTo>
                    <a:pt x="1084" y="164"/>
                  </a:lnTo>
                  <a:lnTo>
                    <a:pt x="1082" y="164"/>
                  </a:lnTo>
                  <a:lnTo>
                    <a:pt x="1082" y="166"/>
                  </a:lnTo>
                  <a:lnTo>
                    <a:pt x="1080" y="168"/>
                  </a:lnTo>
                  <a:lnTo>
                    <a:pt x="1070" y="122"/>
                  </a:lnTo>
                  <a:lnTo>
                    <a:pt x="1070" y="122"/>
                  </a:lnTo>
                  <a:close/>
                  <a:moveTo>
                    <a:pt x="1170" y="286"/>
                  </a:moveTo>
                  <a:lnTo>
                    <a:pt x="1170" y="286"/>
                  </a:lnTo>
                  <a:lnTo>
                    <a:pt x="1170" y="286"/>
                  </a:lnTo>
                  <a:lnTo>
                    <a:pt x="1170" y="290"/>
                  </a:lnTo>
                  <a:lnTo>
                    <a:pt x="1170" y="290"/>
                  </a:lnTo>
                  <a:lnTo>
                    <a:pt x="1170" y="290"/>
                  </a:lnTo>
                  <a:lnTo>
                    <a:pt x="1170" y="292"/>
                  </a:lnTo>
                  <a:lnTo>
                    <a:pt x="1170" y="296"/>
                  </a:lnTo>
                  <a:lnTo>
                    <a:pt x="1170" y="298"/>
                  </a:lnTo>
                  <a:lnTo>
                    <a:pt x="1168" y="300"/>
                  </a:lnTo>
                  <a:lnTo>
                    <a:pt x="1168" y="304"/>
                  </a:lnTo>
                  <a:lnTo>
                    <a:pt x="1166" y="308"/>
                  </a:lnTo>
                  <a:lnTo>
                    <a:pt x="1164" y="312"/>
                  </a:lnTo>
                  <a:lnTo>
                    <a:pt x="1162" y="314"/>
                  </a:lnTo>
                  <a:lnTo>
                    <a:pt x="1162" y="316"/>
                  </a:lnTo>
                  <a:lnTo>
                    <a:pt x="1162" y="316"/>
                  </a:lnTo>
                  <a:lnTo>
                    <a:pt x="1162" y="316"/>
                  </a:lnTo>
                  <a:lnTo>
                    <a:pt x="1162" y="322"/>
                  </a:lnTo>
                  <a:lnTo>
                    <a:pt x="1162" y="324"/>
                  </a:lnTo>
                  <a:lnTo>
                    <a:pt x="1164" y="326"/>
                  </a:lnTo>
                  <a:lnTo>
                    <a:pt x="1164" y="326"/>
                  </a:lnTo>
                  <a:lnTo>
                    <a:pt x="1164" y="328"/>
                  </a:lnTo>
                  <a:lnTo>
                    <a:pt x="1164" y="328"/>
                  </a:lnTo>
                  <a:lnTo>
                    <a:pt x="1164" y="328"/>
                  </a:lnTo>
                  <a:lnTo>
                    <a:pt x="1164" y="330"/>
                  </a:lnTo>
                  <a:lnTo>
                    <a:pt x="1166" y="330"/>
                  </a:lnTo>
                  <a:lnTo>
                    <a:pt x="1166" y="330"/>
                  </a:lnTo>
                  <a:lnTo>
                    <a:pt x="1168" y="330"/>
                  </a:lnTo>
                  <a:lnTo>
                    <a:pt x="1170" y="330"/>
                  </a:lnTo>
                  <a:lnTo>
                    <a:pt x="1170" y="330"/>
                  </a:lnTo>
                  <a:lnTo>
                    <a:pt x="1170" y="330"/>
                  </a:lnTo>
                  <a:lnTo>
                    <a:pt x="1172" y="328"/>
                  </a:lnTo>
                  <a:lnTo>
                    <a:pt x="1174" y="326"/>
                  </a:lnTo>
                  <a:lnTo>
                    <a:pt x="1176" y="324"/>
                  </a:lnTo>
                  <a:lnTo>
                    <a:pt x="1180" y="320"/>
                  </a:lnTo>
                  <a:lnTo>
                    <a:pt x="1180" y="318"/>
                  </a:lnTo>
                  <a:lnTo>
                    <a:pt x="1182" y="318"/>
                  </a:lnTo>
                  <a:lnTo>
                    <a:pt x="1190" y="314"/>
                  </a:lnTo>
                  <a:lnTo>
                    <a:pt x="1196" y="310"/>
                  </a:lnTo>
                  <a:lnTo>
                    <a:pt x="1200" y="308"/>
                  </a:lnTo>
                  <a:lnTo>
                    <a:pt x="1202" y="308"/>
                  </a:lnTo>
                  <a:lnTo>
                    <a:pt x="1206" y="308"/>
                  </a:lnTo>
                  <a:lnTo>
                    <a:pt x="1208" y="308"/>
                  </a:lnTo>
                  <a:lnTo>
                    <a:pt x="1212" y="306"/>
                  </a:lnTo>
                  <a:lnTo>
                    <a:pt x="1216" y="308"/>
                  </a:lnTo>
                  <a:lnTo>
                    <a:pt x="1220" y="308"/>
                  </a:lnTo>
                  <a:lnTo>
                    <a:pt x="1224" y="308"/>
                  </a:lnTo>
                  <a:lnTo>
                    <a:pt x="1228" y="306"/>
                  </a:lnTo>
                  <a:lnTo>
                    <a:pt x="1232" y="306"/>
                  </a:lnTo>
                  <a:lnTo>
                    <a:pt x="1236" y="306"/>
                  </a:lnTo>
                  <a:lnTo>
                    <a:pt x="1238" y="306"/>
                  </a:lnTo>
                  <a:lnTo>
                    <a:pt x="1238" y="306"/>
                  </a:lnTo>
                  <a:lnTo>
                    <a:pt x="1238" y="306"/>
                  </a:lnTo>
                  <a:lnTo>
                    <a:pt x="1240" y="304"/>
                  </a:lnTo>
                  <a:lnTo>
                    <a:pt x="1240" y="304"/>
                  </a:lnTo>
                  <a:lnTo>
                    <a:pt x="1240" y="304"/>
                  </a:lnTo>
                  <a:lnTo>
                    <a:pt x="1242" y="302"/>
                  </a:lnTo>
                  <a:lnTo>
                    <a:pt x="1242" y="302"/>
                  </a:lnTo>
                  <a:lnTo>
                    <a:pt x="1242" y="302"/>
                  </a:lnTo>
                  <a:lnTo>
                    <a:pt x="1244" y="300"/>
                  </a:lnTo>
                  <a:lnTo>
                    <a:pt x="1246" y="296"/>
                  </a:lnTo>
                  <a:lnTo>
                    <a:pt x="1246" y="294"/>
                  </a:lnTo>
                  <a:lnTo>
                    <a:pt x="1248" y="290"/>
                  </a:lnTo>
                  <a:lnTo>
                    <a:pt x="1250" y="284"/>
                  </a:lnTo>
                  <a:lnTo>
                    <a:pt x="1250" y="280"/>
                  </a:lnTo>
                  <a:lnTo>
                    <a:pt x="1250" y="278"/>
                  </a:lnTo>
                  <a:lnTo>
                    <a:pt x="1250" y="278"/>
                  </a:lnTo>
                  <a:lnTo>
                    <a:pt x="1250" y="276"/>
                  </a:lnTo>
                  <a:lnTo>
                    <a:pt x="1250" y="272"/>
                  </a:lnTo>
                  <a:lnTo>
                    <a:pt x="1250" y="272"/>
                  </a:lnTo>
                  <a:lnTo>
                    <a:pt x="1250" y="272"/>
                  </a:lnTo>
                  <a:lnTo>
                    <a:pt x="1248" y="268"/>
                  </a:lnTo>
                  <a:lnTo>
                    <a:pt x="1246" y="264"/>
                  </a:lnTo>
                  <a:lnTo>
                    <a:pt x="1244" y="260"/>
                  </a:lnTo>
                  <a:lnTo>
                    <a:pt x="1244" y="256"/>
                  </a:lnTo>
                  <a:lnTo>
                    <a:pt x="1242" y="254"/>
                  </a:lnTo>
                  <a:lnTo>
                    <a:pt x="1238" y="248"/>
                  </a:lnTo>
                  <a:lnTo>
                    <a:pt x="1236" y="246"/>
                  </a:lnTo>
                  <a:lnTo>
                    <a:pt x="1234" y="244"/>
                  </a:lnTo>
                  <a:lnTo>
                    <a:pt x="1234" y="244"/>
                  </a:lnTo>
                  <a:lnTo>
                    <a:pt x="1234" y="242"/>
                  </a:lnTo>
                  <a:lnTo>
                    <a:pt x="1232" y="242"/>
                  </a:lnTo>
                  <a:lnTo>
                    <a:pt x="1232" y="242"/>
                  </a:lnTo>
                  <a:lnTo>
                    <a:pt x="1230" y="240"/>
                  </a:lnTo>
                  <a:lnTo>
                    <a:pt x="1228" y="240"/>
                  </a:lnTo>
                  <a:lnTo>
                    <a:pt x="1228" y="240"/>
                  </a:lnTo>
                  <a:lnTo>
                    <a:pt x="1228" y="240"/>
                  </a:lnTo>
                  <a:lnTo>
                    <a:pt x="1226" y="240"/>
                  </a:lnTo>
                  <a:lnTo>
                    <a:pt x="1226" y="240"/>
                  </a:lnTo>
                  <a:lnTo>
                    <a:pt x="1226" y="240"/>
                  </a:lnTo>
                  <a:lnTo>
                    <a:pt x="1224" y="240"/>
                  </a:lnTo>
                  <a:lnTo>
                    <a:pt x="1224" y="240"/>
                  </a:lnTo>
                  <a:lnTo>
                    <a:pt x="1224" y="240"/>
                  </a:lnTo>
                  <a:lnTo>
                    <a:pt x="1220" y="242"/>
                  </a:lnTo>
                  <a:lnTo>
                    <a:pt x="1218" y="244"/>
                  </a:lnTo>
                  <a:lnTo>
                    <a:pt x="1214" y="246"/>
                  </a:lnTo>
                  <a:lnTo>
                    <a:pt x="1210" y="250"/>
                  </a:lnTo>
                  <a:lnTo>
                    <a:pt x="1208" y="252"/>
                  </a:lnTo>
                  <a:lnTo>
                    <a:pt x="1208" y="252"/>
                  </a:lnTo>
                  <a:lnTo>
                    <a:pt x="1208" y="250"/>
                  </a:lnTo>
                  <a:lnTo>
                    <a:pt x="1208" y="246"/>
                  </a:lnTo>
                  <a:lnTo>
                    <a:pt x="1210" y="242"/>
                  </a:lnTo>
                  <a:lnTo>
                    <a:pt x="1210" y="240"/>
                  </a:lnTo>
                  <a:lnTo>
                    <a:pt x="1210" y="240"/>
                  </a:lnTo>
                  <a:lnTo>
                    <a:pt x="1212" y="238"/>
                  </a:lnTo>
                  <a:lnTo>
                    <a:pt x="1214" y="236"/>
                  </a:lnTo>
                  <a:lnTo>
                    <a:pt x="1216" y="232"/>
                  </a:lnTo>
                  <a:lnTo>
                    <a:pt x="1216" y="232"/>
                  </a:lnTo>
                  <a:lnTo>
                    <a:pt x="1216" y="232"/>
                  </a:lnTo>
                  <a:lnTo>
                    <a:pt x="1216" y="230"/>
                  </a:lnTo>
                  <a:lnTo>
                    <a:pt x="1216" y="230"/>
                  </a:lnTo>
                  <a:lnTo>
                    <a:pt x="1216" y="230"/>
                  </a:lnTo>
                  <a:lnTo>
                    <a:pt x="1216" y="228"/>
                  </a:lnTo>
                  <a:lnTo>
                    <a:pt x="1216" y="228"/>
                  </a:lnTo>
                  <a:lnTo>
                    <a:pt x="1216" y="228"/>
                  </a:lnTo>
                  <a:lnTo>
                    <a:pt x="1216" y="226"/>
                  </a:lnTo>
                  <a:lnTo>
                    <a:pt x="1216" y="226"/>
                  </a:lnTo>
                  <a:lnTo>
                    <a:pt x="1216" y="224"/>
                  </a:lnTo>
                  <a:lnTo>
                    <a:pt x="1214" y="222"/>
                  </a:lnTo>
                  <a:lnTo>
                    <a:pt x="1214" y="222"/>
                  </a:lnTo>
                  <a:lnTo>
                    <a:pt x="1214" y="220"/>
                  </a:lnTo>
                  <a:lnTo>
                    <a:pt x="1212" y="218"/>
                  </a:lnTo>
                  <a:lnTo>
                    <a:pt x="1212" y="218"/>
                  </a:lnTo>
                  <a:lnTo>
                    <a:pt x="1212" y="218"/>
                  </a:lnTo>
                  <a:lnTo>
                    <a:pt x="1210" y="218"/>
                  </a:lnTo>
                  <a:lnTo>
                    <a:pt x="1210" y="218"/>
                  </a:lnTo>
                  <a:lnTo>
                    <a:pt x="1210" y="216"/>
                  </a:lnTo>
                  <a:lnTo>
                    <a:pt x="1208" y="216"/>
                  </a:lnTo>
                  <a:lnTo>
                    <a:pt x="1208" y="216"/>
                  </a:lnTo>
                  <a:lnTo>
                    <a:pt x="1208" y="216"/>
                  </a:lnTo>
                  <a:lnTo>
                    <a:pt x="1206" y="218"/>
                  </a:lnTo>
                  <a:lnTo>
                    <a:pt x="1206" y="218"/>
                  </a:lnTo>
                  <a:lnTo>
                    <a:pt x="1204" y="218"/>
                  </a:lnTo>
                  <a:lnTo>
                    <a:pt x="1202" y="218"/>
                  </a:lnTo>
                  <a:lnTo>
                    <a:pt x="1200" y="220"/>
                  </a:lnTo>
                  <a:lnTo>
                    <a:pt x="1196" y="222"/>
                  </a:lnTo>
                  <a:lnTo>
                    <a:pt x="1194" y="224"/>
                  </a:lnTo>
                  <a:lnTo>
                    <a:pt x="1194" y="226"/>
                  </a:lnTo>
                  <a:lnTo>
                    <a:pt x="1190" y="230"/>
                  </a:lnTo>
                  <a:lnTo>
                    <a:pt x="1186" y="234"/>
                  </a:lnTo>
                  <a:lnTo>
                    <a:pt x="1182" y="238"/>
                  </a:lnTo>
                  <a:lnTo>
                    <a:pt x="1182" y="238"/>
                  </a:lnTo>
                  <a:lnTo>
                    <a:pt x="1182" y="238"/>
                  </a:lnTo>
                  <a:lnTo>
                    <a:pt x="1180" y="242"/>
                  </a:lnTo>
                  <a:lnTo>
                    <a:pt x="1180" y="242"/>
                  </a:lnTo>
                  <a:lnTo>
                    <a:pt x="1180" y="244"/>
                  </a:lnTo>
                  <a:lnTo>
                    <a:pt x="1180" y="248"/>
                  </a:lnTo>
                  <a:lnTo>
                    <a:pt x="1180" y="254"/>
                  </a:lnTo>
                  <a:lnTo>
                    <a:pt x="1180" y="258"/>
                  </a:lnTo>
                  <a:lnTo>
                    <a:pt x="1178" y="264"/>
                  </a:lnTo>
                  <a:lnTo>
                    <a:pt x="1176" y="272"/>
                  </a:lnTo>
                  <a:lnTo>
                    <a:pt x="1174" y="274"/>
                  </a:lnTo>
                  <a:lnTo>
                    <a:pt x="1172" y="278"/>
                  </a:lnTo>
                  <a:lnTo>
                    <a:pt x="1170" y="282"/>
                  </a:lnTo>
                  <a:lnTo>
                    <a:pt x="1170" y="286"/>
                  </a:lnTo>
                  <a:close/>
                  <a:moveTo>
                    <a:pt x="1254" y="310"/>
                  </a:moveTo>
                  <a:lnTo>
                    <a:pt x="1254" y="310"/>
                  </a:lnTo>
                  <a:lnTo>
                    <a:pt x="1254" y="310"/>
                  </a:lnTo>
                  <a:lnTo>
                    <a:pt x="1256" y="312"/>
                  </a:lnTo>
                  <a:lnTo>
                    <a:pt x="1258" y="314"/>
                  </a:lnTo>
                  <a:lnTo>
                    <a:pt x="1262" y="316"/>
                  </a:lnTo>
                  <a:lnTo>
                    <a:pt x="1264" y="318"/>
                  </a:lnTo>
                  <a:lnTo>
                    <a:pt x="1266" y="320"/>
                  </a:lnTo>
                  <a:lnTo>
                    <a:pt x="1268" y="320"/>
                  </a:lnTo>
                  <a:lnTo>
                    <a:pt x="1270" y="324"/>
                  </a:lnTo>
                  <a:lnTo>
                    <a:pt x="1272" y="326"/>
                  </a:lnTo>
                  <a:lnTo>
                    <a:pt x="1274" y="328"/>
                  </a:lnTo>
                  <a:lnTo>
                    <a:pt x="1274" y="328"/>
                  </a:lnTo>
                  <a:lnTo>
                    <a:pt x="1274" y="328"/>
                  </a:lnTo>
                  <a:lnTo>
                    <a:pt x="1276" y="328"/>
                  </a:lnTo>
                  <a:lnTo>
                    <a:pt x="1276" y="328"/>
                  </a:lnTo>
                  <a:lnTo>
                    <a:pt x="1276" y="330"/>
                  </a:lnTo>
                  <a:lnTo>
                    <a:pt x="1278" y="330"/>
                  </a:lnTo>
                  <a:lnTo>
                    <a:pt x="1278" y="330"/>
                  </a:lnTo>
                  <a:lnTo>
                    <a:pt x="1280" y="330"/>
                  </a:lnTo>
                  <a:lnTo>
                    <a:pt x="1280" y="328"/>
                  </a:lnTo>
                  <a:lnTo>
                    <a:pt x="1280" y="328"/>
                  </a:lnTo>
                  <a:lnTo>
                    <a:pt x="1282" y="328"/>
                  </a:lnTo>
                  <a:lnTo>
                    <a:pt x="1282" y="326"/>
                  </a:lnTo>
                  <a:lnTo>
                    <a:pt x="1282" y="326"/>
                  </a:lnTo>
                  <a:lnTo>
                    <a:pt x="1284" y="326"/>
                  </a:lnTo>
                  <a:lnTo>
                    <a:pt x="1284" y="324"/>
                  </a:lnTo>
                  <a:lnTo>
                    <a:pt x="1286" y="322"/>
                  </a:lnTo>
                  <a:lnTo>
                    <a:pt x="1286" y="320"/>
                  </a:lnTo>
                  <a:lnTo>
                    <a:pt x="1286" y="316"/>
                  </a:lnTo>
                  <a:lnTo>
                    <a:pt x="1286" y="314"/>
                  </a:lnTo>
                  <a:lnTo>
                    <a:pt x="1286" y="314"/>
                  </a:lnTo>
                  <a:lnTo>
                    <a:pt x="1286" y="314"/>
                  </a:lnTo>
                  <a:lnTo>
                    <a:pt x="1286" y="312"/>
                  </a:lnTo>
                  <a:lnTo>
                    <a:pt x="1286" y="312"/>
                  </a:lnTo>
                  <a:lnTo>
                    <a:pt x="1286" y="310"/>
                  </a:lnTo>
                  <a:lnTo>
                    <a:pt x="1284" y="310"/>
                  </a:lnTo>
                  <a:lnTo>
                    <a:pt x="1284" y="310"/>
                  </a:lnTo>
                  <a:lnTo>
                    <a:pt x="1284" y="310"/>
                  </a:lnTo>
                  <a:lnTo>
                    <a:pt x="1282" y="308"/>
                  </a:lnTo>
                  <a:lnTo>
                    <a:pt x="1280" y="308"/>
                  </a:lnTo>
                  <a:lnTo>
                    <a:pt x="1278" y="306"/>
                  </a:lnTo>
                  <a:lnTo>
                    <a:pt x="1274" y="306"/>
                  </a:lnTo>
                  <a:lnTo>
                    <a:pt x="1272" y="304"/>
                  </a:lnTo>
                  <a:lnTo>
                    <a:pt x="1270" y="304"/>
                  </a:lnTo>
                  <a:lnTo>
                    <a:pt x="1270" y="304"/>
                  </a:lnTo>
                  <a:lnTo>
                    <a:pt x="1270" y="302"/>
                  </a:lnTo>
                  <a:lnTo>
                    <a:pt x="1270" y="298"/>
                  </a:lnTo>
                  <a:lnTo>
                    <a:pt x="1270" y="296"/>
                  </a:lnTo>
                  <a:lnTo>
                    <a:pt x="1270" y="294"/>
                  </a:lnTo>
                  <a:lnTo>
                    <a:pt x="1270" y="292"/>
                  </a:lnTo>
                  <a:lnTo>
                    <a:pt x="1270" y="292"/>
                  </a:lnTo>
                  <a:lnTo>
                    <a:pt x="1268" y="290"/>
                  </a:lnTo>
                  <a:lnTo>
                    <a:pt x="1268" y="290"/>
                  </a:lnTo>
                  <a:lnTo>
                    <a:pt x="1268" y="290"/>
                  </a:lnTo>
                  <a:lnTo>
                    <a:pt x="1266" y="290"/>
                  </a:lnTo>
                  <a:lnTo>
                    <a:pt x="1264" y="290"/>
                  </a:lnTo>
                  <a:lnTo>
                    <a:pt x="1264" y="290"/>
                  </a:lnTo>
                  <a:lnTo>
                    <a:pt x="1264" y="290"/>
                  </a:lnTo>
                  <a:lnTo>
                    <a:pt x="1262" y="292"/>
                  </a:lnTo>
                  <a:lnTo>
                    <a:pt x="1260" y="294"/>
                  </a:lnTo>
                  <a:lnTo>
                    <a:pt x="1258" y="296"/>
                  </a:lnTo>
                  <a:lnTo>
                    <a:pt x="1256" y="300"/>
                  </a:lnTo>
                  <a:lnTo>
                    <a:pt x="1254" y="302"/>
                  </a:lnTo>
                  <a:lnTo>
                    <a:pt x="1254" y="304"/>
                  </a:lnTo>
                  <a:lnTo>
                    <a:pt x="1254" y="304"/>
                  </a:lnTo>
                  <a:lnTo>
                    <a:pt x="1254" y="306"/>
                  </a:lnTo>
                  <a:lnTo>
                    <a:pt x="1254" y="306"/>
                  </a:lnTo>
                  <a:lnTo>
                    <a:pt x="1254" y="306"/>
                  </a:lnTo>
                  <a:lnTo>
                    <a:pt x="1254" y="308"/>
                  </a:lnTo>
                  <a:lnTo>
                    <a:pt x="1254" y="310"/>
                  </a:lnTo>
                  <a:close/>
                  <a:moveTo>
                    <a:pt x="1094" y="394"/>
                  </a:moveTo>
                  <a:lnTo>
                    <a:pt x="1094" y="394"/>
                  </a:lnTo>
                  <a:lnTo>
                    <a:pt x="1096" y="396"/>
                  </a:lnTo>
                  <a:lnTo>
                    <a:pt x="1098" y="396"/>
                  </a:lnTo>
                  <a:lnTo>
                    <a:pt x="1100" y="398"/>
                  </a:lnTo>
                  <a:lnTo>
                    <a:pt x="1102" y="398"/>
                  </a:lnTo>
                  <a:lnTo>
                    <a:pt x="1104" y="400"/>
                  </a:lnTo>
                  <a:lnTo>
                    <a:pt x="1104" y="402"/>
                  </a:lnTo>
                  <a:lnTo>
                    <a:pt x="1106" y="404"/>
                  </a:lnTo>
                  <a:lnTo>
                    <a:pt x="1106" y="404"/>
                  </a:lnTo>
                  <a:lnTo>
                    <a:pt x="1106" y="406"/>
                  </a:lnTo>
                  <a:lnTo>
                    <a:pt x="1106" y="406"/>
                  </a:lnTo>
                  <a:lnTo>
                    <a:pt x="1110" y="404"/>
                  </a:lnTo>
                  <a:lnTo>
                    <a:pt x="1110" y="404"/>
                  </a:lnTo>
                  <a:lnTo>
                    <a:pt x="1112" y="402"/>
                  </a:lnTo>
                  <a:lnTo>
                    <a:pt x="1118" y="402"/>
                  </a:lnTo>
                  <a:lnTo>
                    <a:pt x="1120" y="400"/>
                  </a:lnTo>
                  <a:lnTo>
                    <a:pt x="1122" y="400"/>
                  </a:lnTo>
                  <a:lnTo>
                    <a:pt x="1122" y="400"/>
                  </a:lnTo>
                  <a:lnTo>
                    <a:pt x="1122" y="400"/>
                  </a:lnTo>
                  <a:lnTo>
                    <a:pt x="1124" y="398"/>
                  </a:lnTo>
                  <a:lnTo>
                    <a:pt x="1124" y="398"/>
                  </a:lnTo>
                  <a:lnTo>
                    <a:pt x="1124" y="398"/>
                  </a:lnTo>
                  <a:lnTo>
                    <a:pt x="1126" y="396"/>
                  </a:lnTo>
                  <a:lnTo>
                    <a:pt x="1126" y="396"/>
                  </a:lnTo>
                  <a:lnTo>
                    <a:pt x="1126" y="394"/>
                  </a:lnTo>
                  <a:lnTo>
                    <a:pt x="1126" y="394"/>
                  </a:lnTo>
                  <a:lnTo>
                    <a:pt x="1124" y="392"/>
                  </a:lnTo>
                  <a:lnTo>
                    <a:pt x="1122" y="390"/>
                  </a:lnTo>
                  <a:lnTo>
                    <a:pt x="1122" y="388"/>
                  </a:lnTo>
                  <a:lnTo>
                    <a:pt x="1120" y="388"/>
                  </a:lnTo>
                  <a:lnTo>
                    <a:pt x="1120" y="386"/>
                  </a:lnTo>
                  <a:lnTo>
                    <a:pt x="1122" y="382"/>
                  </a:lnTo>
                  <a:lnTo>
                    <a:pt x="1120" y="380"/>
                  </a:lnTo>
                  <a:lnTo>
                    <a:pt x="1120" y="380"/>
                  </a:lnTo>
                  <a:lnTo>
                    <a:pt x="1120" y="378"/>
                  </a:lnTo>
                  <a:lnTo>
                    <a:pt x="1120" y="376"/>
                  </a:lnTo>
                  <a:lnTo>
                    <a:pt x="1120" y="376"/>
                  </a:lnTo>
                  <a:lnTo>
                    <a:pt x="1118" y="374"/>
                  </a:lnTo>
                  <a:lnTo>
                    <a:pt x="1118" y="374"/>
                  </a:lnTo>
                  <a:lnTo>
                    <a:pt x="1116" y="374"/>
                  </a:lnTo>
                  <a:lnTo>
                    <a:pt x="1114" y="374"/>
                  </a:lnTo>
                  <a:lnTo>
                    <a:pt x="1112" y="376"/>
                  </a:lnTo>
                  <a:lnTo>
                    <a:pt x="1110" y="376"/>
                  </a:lnTo>
                  <a:lnTo>
                    <a:pt x="1110" y="376"/>
                  </a:lnTo>
                  <a:lnTo>
                    <a:pt x="1110" y="376"/>
                  </a:lnTo>
                  <a:lnTo>
                    <a:pt x="1108" y="378"/>
                  </a:lnTo>
                  <a:lnTo>
                    <a:pt x="1108" y="378"/>
                  </a:lnTo>
                  <a:lnTo>
                    <a:pt x="1108" y="378"/>
                  </a:lnTo>
                  <a:lnTo>
                    <a:pt x="1106" y="380"/>
                  </a:lnTo>
                  <a:lnTo>
                    <a:pt x="1106" y="380"/>
                  </a:lnTo>
                  <a:lnTo>
                    <a:pt x="1106" y="380"/>
                  </a:lnTo>
                  <a:lnTo>
                    <a:pt x="1106" y="380"/>
                  </a:lnTo>
                  <a:lnTo>
                    <a:pt x="1106" y="380"/>
                  </a:lnTo>
                  <a:lnTo>
                    <a:pt x="1106" y="380"/>
                  </a:lnTo>
                  <a:lnTo>
                    <a:pt x="1106" y="380"/>
                  </a:lnTo>
                  <a:lnTo>
                    <a:pt x="1104" y="380"/>
                  </a:lnTo>
                  <a:lnTo>
                    <a:pt x="1104" y="380"/>
                  </a:lnTo>
                  <a:lnTo>
                    <a:pt x="1102" y="382"/>
                  </a:lnTo>
                  <a:lnTo>
                    <a:pt x="1100" y="384"/>
                  </a:lnTo>
                  <a:lnTo>
                    <a:pt x="1100" y="384"/>
                  </a:lnTo>
                  <a:lnTo>
                    <a:pt x="1100" y="384"/>
                  </a:lnTo>
                  <a:lnTo>
                    <a:pt x="1100" y="384"/>
                  </a:lnTo>
                  <a:lnTo>
                    <a:pt x="1096" y="384"/>
                  </a:lnTo>
                  <a:lnTo>
                    <a:pt x="1094" y="386"/>
                  </a:lnTo>
                  <a:lnTo>
                    <a:pt x="1094" y="392"/>
                  </a:lnTo>
                  <a:lnTo>
                    <a:pt x="1096" y="392"/>
                  </a:lnTo>
                  <a:lnTo>
                    <a:pt x="1096" y="392"/>
                  </a:lnTo>
                  <a:lnTo>
                    <a:pt x="1094" y="394"/>
                  </a:lnTo>
                  <a:lnTo>
                    <a:pt x="1094" y="394"/>
                  </a:lnTo>
                  <a:close/>
                  <a:moveTo>
                    <a:pt x="2142" y="1224"/>
                  </a:moveTo>
                  <a:lnTo>
                    <a:pt x="2142" y="1224"/>
                  </a:lnTo>
                  <a:lnTo>
                    <a:pt x="2142" y="1224"/>
                  </a:lnTo>
                  <a:lnTo>
                    <a:pt x="2142" y="1222"/>
                  </a:lnTo>
                  <a:lnTo>
                    <a:pt x="2142" y="1222"/>
                  </a:lnTo>
                  <a:lnTo>
                    <a:pt x="2140" y="1220"/>
                  </a:lnTo>
                  <a:lnTo>
                    <a:pt x="2138" y="1220"/>
                  </a:lnTo>
                  <a:lnTo>
                    <a:pt x="2136" y="1218"/>
                  </a:lnTo>
                  <a:lnTo>
                    <a:pt x="2132" y="1216"/>
                  </a:lnTo>
                  <a:lnTo>
                    <a:pt x="2130" y="1214"/>
                  </a:lnTo>
                  <a:lnTo>
                    <a:pt x="2126" y="1214"/>
                  </a:lnTo>
                  <a:lnTo>
                    <a:pt x="2120" y="1212"/>
                  </a:lnTo>
                  <a:lnTo>
                    <a:pt x="2116" y="1210"/>
                  </a:lnTo>
                  <a:lnTo>
                    <a:pt x="2116" y="1210"/>
                  </a:lnTo>
                  <a:lnTo>
                    <a:pt x="2114" y="1212"/>
                  </a:lnTo>
                  <a:lnTo>
                    <a:pt x="2114" y="1212"/>
                  </a:lnTo>
                  <a:lnTo>
                    <a:pt x="2112" y="1214"/>
                  </a:lnTo>
                  <a:lnTo>
                    <a:pt x="2112" y="1218"/>
                  </a:lnTo>
                  <a:lnTo>
                    <a:pt x="2112" y="1220"/>
                  </a:lnTo>
                  <a:lnTo>
                    <a:pt x="2112" y="1222"/>
                  </a:lnTo>
                  <a:lnTo>
                    <a:pt x="2112" y="1224"/>
                  </a:lnTo>
                  <a:lnTo>
                    <a:pt x="2112" y="1228"/>
                  </a:lnTo>
                  <a:lnTo>
                    <a:pt x="2112" y="1230"/>
                  </a:lnTo>
                  <a:lnTo>
                    <a:pt x="2112" y="1230"/>
                  </a:lnTo>
                  <a:lnTo>
                    <a:pt x="2112" y="1230"/>
                  </a:lnTo>
                  <a:lnTo>
                    <a:pt x="2114" y="1232"/>
                  </a:lnTo>
                  <a:lnTo>
                    <a:pt x="2116" y="1236"/>
                  </a:lnTo>
                  <a:lnTo>
                    <a:pt x="2118" y="1238"/>
                  </a:lnTo>
                  <a:lnTo>
                    <a:pt x="2118" y="1240"/>
                  </a:lnTo>
                  <a:lnTo>
                    <a:pt x="2120" y="1242"/>
                  </a:lnTo>
                  <a:lnTo>
                    <a:pt x="2122" y="1246"/>
                  </a:lnTo>
                  <a:lnTo>
                    <a:pt x="2122" y="1246"/>
                  </a:lnTo>
                  <a:lnTo>
                    <a:pt x="2124" y="1246"/>
                  </a:lnTo>
                  <a:lnTo>
                    <a:pt x="2124" y="1246"/>
                  </a:lnTo>
                  <a:lnTo>
                    <a:pt x="2126" y="1246"/>
                  </a:lnTo>
                  <a:lnTo>
                    <a:pt x="2132" y="1244"/>
                  </a:lnTo>
                  <a:lnTo>
                    <a:pt x="2136" y="1240"/>
                  </a:lnTo>
                  <a:lnTo>
                    <a:pt x="2138" y="1238"/>
                  </a:lnTo>
                  <a:lnTo>
                    <a:pt x="2140" y="1234"/>
                  </a:lnTo>
                  <a:lnTo>
                    <a:pt x="2140" y="1234"/>
                  </a:lnTo>
                  <a:lnTo>
                    <a:pt x="2142" y="1234"/>
                  </a:lnTo>
                  <a:lnTo>
                    <a:pt x="2142" y="1232"/>
                  </a:lnTo>
                  <a:lnTo>
                    <a:pt x="2142" y="1232"/>
                  </a:lnTo>
                  <a:lnTo>
                    <a:pt x="2142" y="1232"/>
                  </a:lnTo>
                  <a:lnTo>
                    <a:pt x="2144" y="1230"/>
                  </a:lnTo>
                  <a:lnTo>
                    <a:pt x="2144" y="1230"/>
                  </a:lnTo>
                  <a:lnTo>
                    <a:pt x="2144" y="1228"/>
                  </a:lnTo>
                  <a:lnTo>
                    <a:pt x="2144" y="1226"/>
                  </a:lnTo>
                  <a:lnTo>
                    <a:pt x="2144" y="1226"/>
                  </a:lnTo>
                  <a:lnTo>
                    <a:pt x="2144" y="1226"/>
                  </a:lnTo>
                  <a:lnTo>
                    <a:pt x="2142" y="1224"/>
                  </a:ln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00" name="Freeform 171"/>
            <p:cNvSpPr>
              <a:spLocks/>
            </p:cNvSpPr>
            <p:nvPr>
              <p:custDataLst>
                <p:tags r:id="rId160"/>
              </p:custDataLst>
            </p:nvPr>
          </p:nvSpPr>
          <p:spPr bwMode="gray">
            <a:xfrm>
              <a:off x="2679057" y="2311849"/>
              <a:ext cx="206191" cy="202184"/>
            </a:xfrm>
            <a:custGeom>
              <a:avLst/>
              <a:gdLst/>
              <a:ahLst/>
              <a:cxnLst/>
              <a:rect l="l" t="t" r="r" b="b"/>
              <a:pathLst>
                <a:path w="330050" h="323637">
                  <a:moveTo>
                    <a:pt x="318742" y="280797"/>
                  </a:moveTo>
                  <a:cubicBezTo>
                    <a:pt x="322512" y="280018"/>
                    <a:pt x="327275" y="280404"/>
                    <a:pt x="328069" y="281954"/>
                  </a:cubicBezTo>
                  <a:cubicBezTo>
                    <a:pt x="331241" y="292853"/>
                    <a:pt x="329653" y="303747"/>
                    <a:pt x="329653" y="314646"/>
                  </a:cubicBezTo>
                  <a:cubicBezTo>
                    <a:pt x="325154" y="323205"/>
                    <a:pt x="310605" y="326083"/>
                    <a:pt x="308223" y="321408"/>
                  </a:cubicBezTo>
                  <a:cubicBezTo>
                    <a:pt x="330450" y="318299"/>
                    <a:pt x="312195" y="305301"/>
                    <a:pt x="315368" y="286629"/>
                  </a:cubicBezTo>
                  <a:cubicBezTo>
                    <a:pt x="312194" y="283520"/>
                    <a:pt x="314972" y="281576"/>
                    <a:pt x="318742" y="280797"/>
                  </a:cubicBezTo>
                  <a:close/>
                  <a:moveTo>
                    <a:pt x="177056" y="323"/>
                  </a:moveTo>
                  <a:cubicBezTo>
                    <a:pt x="181620" y="-260"/>
                    <a:pt x="185986" y="-260"/>
                    <a:pt x="189954" y="2071"/>
                  </a:cubicBezTo>
                  <a:cubicBezTo>
                    <a:pt x="205829" y="12950"/>
                    <a:pt x="232817" y="44031"/>
                    <a:pt x="243929" y="61126"/>
                  </a:cubicBezTo>
                  <a:cubicBezTo>
                    <a:pt x="264567" y="73559"/>
                    <a:pt x="293142" y="61126"/>
                    <a:pt x="296317" y="81329"/>
                  </a:cubicBezTo>
                  <a:cubicBezTo>
                    <a:pt x="302667" y="89100"/>
                    <a:pt x="283617" y="98424"/>
                    <a:pt x="282029" y="104640"/>
                  </a:cubicBezTo>
                  <a:cubicBezTo>
                    <a:pt x="280442" y="110857"/>
                    <a:pt x="291554" y="112411"/>
                    <a:pt x="285204" y="123289"/>
                  </a:cubicBezTo>
                  <a:cubicBezTo>
                    <a:pt x="270917" y="127952"/>
                    <a:pt x="239167" y="143492"/>
                    <a:pt x="253454" y="160587"/>
                  </a:cubicBezTo>
                  <a:cubicBezTo>
                    <a:pt x="283617" y="177682"/>
                    <a:pt x="275679" y="168358"/>
                    <a:pt x="277267" y="219642"/>
                  </a:cubicBezTo>
                  <a:cubicBezTo>
                    <a:pt x="302667" y="267819"/>
                    <a:pt x="261392" y="256940"/>
                    <a:pt x="215354" y="258494"/>
                  </a:cubicBezTo>
                  <a:cubicBezTo>
                    <a:pt x="199479" y="256940"/>
                    <a:pt x="193129" y="252278"/>
                    <a:pt x="189954" y="267819"/>
                  </a:cubicBezTo>
                  <a:cubicBezTo>
                    <a:pt x="186779" y="275589"/>
                    <a:pt x="182017" y="281806"/>
                    <a:pt x="177254" y="289576"/>
                  </a:cubicBezTo>
                  <a:cubicBezTo>
                    <a:pt x="172492" y="292684"/>
                    <a:pt x="162967" y="289576"/>
                    <a:pt x="158204" y="286468"/>
                  </a:cubicBezTo>
                  <a:cubicBezTo>
                    <a:pt x="153442" y="283360"/>
                    <a:pt x="156617" y="275589"/>
                    <a:pt x="143917" y="272481"/>
                  </a:cubicBezTo>
                  <a:cubicBezTo>
                    <a:pt x="112167" y="270927"/>
                    <a:pt x="105817" y="274035"/>
                    <a:pt x="85179" y="258494"/>
                  </a:cubicBezTo>
                  <a:cubicBezTo>
                    <a:pt x="66129" y="255386"/>
                    <a:pt x="77242" y="230521"/>
                    <a:pt x="77242" y="214980"/>
                  </a:cubicBezTo>
                  <a:cubicBezTo>
                    <a:pt x="86767" y="210318"/>
                    <a:pt x="89942" y="208764"/>
                    <a:pt x="91529" y="197885"/>
                  </a:cubicBezTo>
                  <a:cubicBezTo>
                    <a:pt x="85179" y="188561"/>
                    <a:pt x="77242" y="183898"/>
                    <a:pt x="72479" y="173020"/>
                  </a:cubicBezTo>
                  <a:cubicBezTo>
                    <a:pt x="64542" y="155925"/>
                    <a:pt x="72479" y="138830"/>
                    <a:pt x="56604" y="127952"/>
                  </a:cubicBezTo>
                  <a:cubicBezTo>
                    <a:pt x="45492" y="126397"/>
                    <a:pt x="32792" y="123289"/>
                    <a:pt x="23267" y="117073"/>
                  </a:cubicBezTo>
                  <a:cubicBezTo>
                    <a:pt x="1042" y="112411"/>
                    <a:pt x="-2133" y="107748"/>
                    <a:pt x="1042" y="84437"/>
                  </a:cubicBezTo>
                  <a:cubicBezTo>
                    <a:pt x="31204" y="79775"/>
                    <a:pt x="28029" y="76667"/>
                    <a:pt x="48667" y="90654"/>
                  </a:cubicBezTo>
                  <a:cubicBezTo>
                    <a:pt x="61367" y="87545"/>
                    <a:pt x="70892" y="87545"/>
                    <a:pt x="75654" y="75113"/>
                  </a:cubicBezTo>
                  <a:cubicBezTo>
                    <a:pt x="70892" y="67342"/>
                    <a:pt x="66129" y="62680"/>
                    <a:pt x="56604" y="58018"/>
                  </a:cubicBezTo>
                  <a:cubicBezTo>
                    <a:pt x="45492" y="56464"/>
                    <a:pt x="43507" y="54133"/>
                    <a:pt x="45492" y="51413"/>
                  </a:cubicBezTo>
                  <a:lnTo>
                    <a:pt x="58192" y="42477"/>
                  </a:lnTo>
                  <a:cubicBezTo>
                    <a:pt x="69304" y="48693"/>
                    <a:pt x="75654" y="56464"/>
                    <a:pt x="85179" y="62680"/>
                  </a:cubicBezTo>
                  <a:cubicBezTo>
                    <a:pt x="148679" y="67342"/>
                    <a:pt x="110579" y="72005"/>
                    <a:pt x="129629" y="47139"/>
                  </a:cubicBezTo>
                  <a:cubicBezTo>
                    <a:pt x="155029" y="33153"/>
                    <a:pt x="132804" y="8287"/>
                    <a:pt x="162967" y="2071"/>
                  </a:cubicBezTo>
                  <a:cubicBezTo>
                    <a:pt x="167729" y="2071"/>
                    <a:pt x="172492" y="906"/>
                    <a:pt x="177056" y="323"/>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01" name="Freeform 172"/>
            <p:cNvSpPr>
              <a:spLocks/>
            </p:cNvSpPr>
            <p:nvPr>
              <p:custDataLst>
                <p:tags r:id="rId161"/>
              </p:custDataLst>
            </p:nvPr>
          </p:nvSpPr>
          <p:spPr bwMode="gray">
            <a:xfrm>
              <a:off x="2847426" y="2403117"/>
              <a:ext cx="173722" cy="194301"/>
            </a:xfrm>
            <a:custGeom>
              <a:avLst/>
              <a:gdLst/>
              <a:ahLst/>
              <a:cxnLst/>
              <a:rect l="l" t="t" r="r" b="b"/>
              <a:pathLst>
                <a:path w="278077" h="311019">
                  <a:moveTo>
                    <a:pt x="42763" y="185722"/>
                  </a:moveTo>
                  <a:cubicBezTo>
                    <a:pt x="50272" y="185101"/>
                    <a:pt x="58295" y="185679"/>
                    <a:pt x="61734" y="188662"/>
                  </a:cubicBezTo>
                  <a:cubicBezTo>
                    <a:pt x="68612" y="194629"/>
                    <a:pt x="66025" y="217687"/>
                    <a:pt x="68150" y="225777"/>
                  </a:cubicBezTo>
                  <a:cubicBezTo>
                    <a:pt x="61802" y="233553"/>
                    <a:pt x="58626" y="239786"/>
                    <a:pt x="55450" y="249118"/>
                  </a:cubicBezTo>
                  <a:cubicBezTo>
                    <a:pt x="48441" y="248550"/>
                    <a:pt x="30843" y="232229"/>
                    <a:pt x="26081" y="222364"/>
                  </a:cubicBezTo>
                  <a:cubicBezTo>
                    <a:pt x="21323" y="212524"/>
                    <a:pt x="21980" y="198485"/>
                    <a:pt x="26874" y="189981"/>
                  </a:cubicBezTo>
                  <a:cubicBezTo>
                    <a:pt x="28258" y="188165"/>
                    <a:pt x="35254" y="186344"/>
                    <a:pt x="42763" y="185722"/>
                  </a:cubicBezTo>
                  <a:close/>
                  <a:moveTo>
                    <a:pt x="34737" y="93844"/>
                  </a:moveTo>
                  <a:lnTo>
                    <a:pt x="12511" y="103195"/>
                  </a:lnTo>
                  <a:lnTo>
                    <a:pt x="22869" y="96731"/>
                  </a:lnTo>
                  <a:cubicBezTo>
                    <a:pt x="27546" y="96686"/>
                    <a:pt x="32592" y="93844"/>
                    <a:pt x="34737" y="93844"/>
                  </a:cubicBezTo>
                  <a:close/>
                  <a:moveTo>
                    <a:pt x="104795" y="94"/>
                  </a:moveTo>
                  <a:cubicBezTo>
                    <a:pt x="113330" y="-297"/>
                    <a:pt x="121268" y="477"/>
                    <a:pt x="126817" y="3589"/>
                  </a:cubicBezTo>
                  <a:cubicBezTo>
                    <a:pt x="145868" y="6716"/>
                    <a:pt x="149043" y="26934"/>
                    <a:pt x="141120" y="42509"/>
                  </a:cubicBezTo>
                  <a:cubicBezTo>
                    <a:pt x="118893" y="50280"/>
                    <a:pt x="125244" y="51828"/>
                    <a:pt x="122069" y="79850"/>
                  </a:cubicBezTo>
                  <a:lnTo>
                    <a:pt x="141120" y="107871"/>
                  </a:lnTo>
                  <a:cubicBezTo>
                    <a:pt x="153820" y="115642"/>
                    <a:pt x="161744" y="128089"/>
                    <a:pt x="168094" y="140536"/>
                  </a:cubicBezTo>
                  <a:cubicBezTo>
                    <a:pt x="176046" y="145212"/>
                    <a:pt x="179222" y="151435"/>
                    <a:pt x="183970" y="159207"/>
                  </a:cubicBezTo>
                  <a:cubicBezTo>
                    <a:pt x="183970" y="159207"/>
                    <a:pt x="203021" y="160755"/>
                    <a:pt x="212547" y="163882"/>
                  </a:cubicBezTo>
                  <a:cubicBezTo>
                    <a:pt x="217324" y="165430"/>
                    <a:pt x="217324" y="173233"/>
                    <a:pt x="222072" y="176329"/>
                  </a:cubicBezTo>
                  <a:cubicBezTo>
                    <a:pt x="234773" y="179457"/>
                    <a:pt x="249075" y="188776"/>
                    <a:pt x="255426" y="199675"/>
                  </a:cubicBezTo>
                  <a:cubicBezTo>
                    <a:pt x="255426" y="199675"/>
                    <a:pt x="274477" y="207446"/>
                    <a:pt x="277652" y="215249"/>
                  </a:cubicBezTo>
                  <a:cubicBezTo>
                    <a:pt x="279225" y="218345"/>
                    <a:pt x="276050" y="219893"/>
                    <a:pt x="274477" y="223021"/>
                  </a:cubicBezTo>
                  <a:cubicBezTo>
                    <a:pt x="256999" y="226117"/>
                    <a:pt x="255426" y="227696"/>
                    <a:pt x="250649" y="209026"/>
                  </a:cubicBezTo>
                  <a:cubicBezTo>
                    <a:pt x="241123" y="204350"/>
                    <a:pt x="236375" y="207446"/>
                    <a:pt x="234773" y="218345"/>
                  </a:cubicBezTo>
                  <a:cubicBezTo>
                    <a:pt x="230024" y="229244"/>
                    <a:pt x="237948" y="230792"/>
                    <a:pt x="244298" y="238564"/>
                  </a:cubicBezTo>
                  <a:cubicBezTo>
                    <a:pt x="239550" y="246367"/>
                    <a:pt x="234773" y="252590"/>
                    <a:pt x="230024" y="260362"/>
                  </a:cubicBezTo>
                  <a:cubicBezTo>
                    <a:pt x="206196" y="274356"/>
                    <a:pt x="214148" y="286835"/>
                    <a:pt x="203021" y="308601"/>
                  </a:cubicBezTo>
                  <a:cubicBezTo>
                    <a:pt x="183970" y="311729"/>
                    <a:pt x="182397" y="313277"/>
                    <a:pt x="168094" y="303926"/>
                  </a:cubicBezTo>
                  <a:cubicBezTo>
                    <a:pt x="158569" y="302378"/>
                    <a:pt x="152219" y="299282"/>
                    <a:pt x="144295" y="294606"/>
                  </a:cubicBezTo>
                  <a:cubicBezTo>
                    <a:pt x="129992" y="291479"/>
                    <a:pt x="129992" y="291479"/>
                    <a:pt x="126817" y="275936"/>
                  </a:cubicBezTo>
                  <a:cubicBezTo>
                    <a:pt x="180795" y="271260"/>
                    <a:pt x="209372" y="289931"/>
                    <a:pt x="212547" y="237016"/>
                  </a:cubicBezTo>
                  <a:cubicBezTo>
                    <a:pt x="210973" y="227696"/>
                    <a:pt x="206196" y="223021"/>
                    <a:pt x="201448" y="215249"/>
                  </a:cubicBezTo>
                  <a:cubicBezTo>
                    <a:pt x="190321" y="213670"/>
                    <a:pt x="193496" y="209026"/>
                    <a:pt x="187145" y="199675"/>
                  </a:cubicBezTo>
                  <a:cubicBezTo>
                    <a:pt x="176046" y="193451"/>
                    <a:pt x="174445" y="182552"/>
                    <a:pt x="163346" y="177877"/>
                  </a:cubicBezTo>
                  <a:cubicBezTo>
                    <a:pt x="147470" y="174781"/>
                    <a:pt x="123642" y="159207"/>
                    <a:pt x="117292" y="145212"/>
                  </a:cubicBezTo>
                  <a:cubicBezTo>
                    <a:pt x="107766" y="137409"/>
                    <a:pt x="106193" y="128089"/>
                    <a:pt x="96667" y="121866"/>
                  </a:cubicBezTo>
                  <a:cubicBezTo>
                    <a:pt x="82365" y="118738"/>
                    <a:pt x="83967" y="112515"/>
                    <a:pt x="82365" y="98520"/>
                  </a:cubicBezTo>
                  <a:cubicBezTo>
                    <a:pt x="76015" y="84525"/>
                    <a:pt x="56964" y="89169"/>
                    <a:pt x="44263" y="87621"/>
                  </a:cubicBezTo>
                  <a:cubicBezTo>
                    <a:pt x="35798" y="88653"/>
                    <a:pt x="29454" y="92463"/>
                    <a:pt x="22869" y="96731"/>
                  </a:cubicBezTo>
                  <a:lnTo>
                    <a:pt x="17288" y="96972"/>
                  </a:lnTo>
                  <a:cubicBezTo>
                    <a:pt x="12511" y="93844"/>
                    <a:pt x="4587" y="82946"/>
                    <a:pt x="1412" y="75174"/>
                  </a:cubicBezTo>
                  <a:cubicBezTo>
                    <a:pt x="-1763" y="67403"/>
                    <a:pt x="1412" y="58052"/>
                    <a:pt x="1412" y="50280"/>
                  </a:cubicBezTo>
                  <a:cubicBezTo>
                    <a:pt x="2986" y="42509"/>
                    <a:pt x="6161" y="36285"/>
                    <a:pt x="7763" y="28482"/>
                  </a:cubicBezTo>
                  <a:cubicBezTo>
                    <a:pt x="17288" y="26934"/>
                    <a:pt x="26814" y="28482"/>
                    <a:pt x="34737" y="22259"/>
                  </a:cubicBezTo>
                  <a:cubicBezTo>
                    <a:pt x="45865" y="17583"/>
                    <a:pt x="63314" y="6716"/>
                    <a:pt x="79190" y="3589"/>
                  </a:cubicBezTo>
                  <a:cubicBezTo>
                    <a:pt x="87128" y="2041"/>
                    <a:pt x="96260" y="485"/>
                    <a:pt x="104795" y="94"/>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02" name="Freeform 56"/>
            <p:cNvSpPr>
              <a:spLocks noEditPoints="1"/>
            </p:cNvSpPr>
            <p:nvPr/>
          </p:nvSpPr>
          <p:spPr bwMode="auto">
            <a:xfrm>
              <a:off x="4111273" y="3076836"/>
              <a:ext cx="696210" cy="249921"/>
            </a:xfrm>
            <a:custGeom>
              <a:avLst/>
              <a:gdLst>
                <a:gd name="T0" fmla="*/ 628 w 702"/>
                <a:gd name="T1" fmla="*/ 114 h 252"/>
                <a:gd name="T2" fmla="*/ 576 w 702"/>
                <a:gd name="T3" fmla="*/ 84 h 252"/>
                <a:gd name="T4" fmla="*/ 542 w 702"/>
                <a:gd name="T5" fmla="*/ 106 h 252"/>
                <a:gd name="T6" fmla="*/ 564 w 702"/>
                <a:gd name="T7" fmla="*/ 122 h 252"/>
                <a:gd name="T8" fmla="*/ 574 w 702"/>
                <a:gd name="T9" fmla="*/ 146 h 252"/>
                <a:gd name="T10" fmla="*/ 646 w 702"/>
                <a:gd name="T11" fmla="*/ 212 h 252"/>
                <a:gd name="T12" fmla="*/ 702 w 702"/>
                <a:gd name="T13" fmla="*/ 218 h 252"/>
                <a:gd name="T14" fmla="*/ 32 w 702"/>
                <a:gd name="T15" fmla="*/ 56 h 252"/>
                <a:gd name="T16" fmla="*/ 50 w 702"/>
                <a:gd name="T17" fmla="*/ 80 h 252"/>
                <a:gd name="T18" fmla="*/ 50 w 702"/>
                <a:gd name="T19" fmla="*/ 100 h 252"/>
                <a:gd name="T20" fmla="*/ 74 w 702"/>
                <a:gd name="T21" fmla="*/ 96 h 252"/>
                <a:gd name="T22" fmla="*/ 530 w 702"/>
                <a:gd name="T23" fmla="*/ 222 h 252"/>
                <a:gd name="T24" fmla="*/ 556 w 702"/>
                <a:gd name="T25" fmla="*/ 200 h 252"/>
                <a:gd name="T26" fmla="*/ 274 w 702"/>
                <a:gd name="T27" fmla="*/ 198 h 252"/>
                <a:gd name="T28" fmla="*/ 232 w 702"/>
                <a:gd name="T29" fmla="*/ 182 h 252"/>
                <a:gd name="T30" fmla="*/ 170 w 702"/>
                <a:gd name="T31" fmla="*/ 168 h 252"/>
                <a:gd name="T32" fmla="*/ 196 w 702"/>
                <a:gd name="T33" fmla="*/ 204 h 252"/>
                <a:gd name="T34" fmla="*/ 296 w 702"/>
                <a:gd name="T35" fmla="*/ 208 h 252"/>
                <a:gd name="T36" fmla="*/ 612 w 702"/>
                <a:gd name="T37" fmla="*/ 172 h 252"/>
                <a:gd name="T38" fmla="*/ 206 w 702"/>
                <a:gd name="T39" fmla="*/ 144 h 252"/>
                <a:gd name="T40" fmla="*/ 188 w 702"/>
                <a:gd name="T41" fmla="*/ 122 h 252"/>
                <a:gd name="T42" fmla="*/ 382 w 702"/>
                <a:gd name="T43" fmla="*/ 228 h 252"/>
                <a:gd name="T44" fmla="*/ 388 w 702"/>
                <a:gd name="T45" fmla="*/ 252 h 252"/>
                <a:gd name="T46" fmla="*/ 458 w 702"/>
                <a:gd name="T47" fmla="*/ 208 h 252"/>
                <a:gd name="T48" fmla="*/ 450 w 702"/>
                <a:gd name="T49" fmla="*/ 244 h 252"/>
                <a:gd name="T50" fmla="*/ 224 w 702"/>
                <a:gd name="T51" fmla="*/ 106 h 252"/>
                <a:gd name="T52" fmla="*/ 254 w 702"/>
                <a:gd name="T53" fmla="*/ 138 h 252"/>
                <a:gd name="T54" fmla="*/ 326 w 702"/>
                <a:gd name="T55" fmla="*/ 136 h 252"/>
                <a:gd name="T56" fmla="*/ 352 w 702"/>
                <a:gd name="T57" fmla="*/ 80 h 252"/>
                <a:gd name="T58" fmla="*/ 352 w 702"/>
                <a:gd name="T59" fmla="*/ 54 h 252"/>
                <a:gd name="T60" fmla="*/ 350 w 702"/>
                <a:gd name="T61" fmla="*/ 20 h 252"/>
                <a:gd name="T62" fmla="*/ 262 w 702"/>
                <a:gd name="T63" fmla="*/ 56 h 252"/>
                <a:gd name="T64" fmla="*/ 204 w 702"/>
                <a:gd name="T65" fmla="*/ 66 h 252"/>
                <a:gd name="T66" fmla="*/ 172 w 702"/>
                <a:gd name="T67" fmla="*/ 134 h 252"/>
                <a:gd name="T68" fmla="*/ 182 w 702"/>
                <a:gd name="T69" fmla="*/ 124 h 252"/>
                <a:gd name="T70" fmla="*/ 152 w 702"/>
                <a:gd name="T71" fmla="*/ 114 h 252"/>
                <a:gd name="T72" fmla="*/ 124 w 702"/>
                <a:gd name="T73" fmla="*/ 76 h 252"/>
                <a:gd name="T74" fmla="*/ 34 w 702"/>
                <a:gd name="T75" fmla="*/ 8 h 252"/>
                <a:gd name="T76" fmla="*/ 2 w 702"/>
                <a:gd name="T77" fmla="*/ 14 h 252"/>
                <a:gd name="T78" fmla="*/ 60 w 702"/>
                <a:gd name="T79" fmla="*/ 80 h 252"/>
                <a:gd name="T80" fmla="*/ 158 w 702"/>
                <a:gd name="T81" fmla="*/ 174 h 252"/>
                <a:gd name="T82" fmla="*/ 324 w 702"/>
                <a:gd name="T83" fmla="*/ 208 h 252"/>
                <a:gd name="T84" fmla="*/ 334 w 702"/>
                <a:gd name="T85" fmla="*/ 232 h 252"/>
                <a:gd name="T86" fmla="*/ 442 w 702"/>
                <a:gd name="T87" fmla="*/ 210 h 252"/>
                <a:gd name="T88" fmla="*/ 368 w 702"/>
                <a:gd name="T89" fmla="*/ 138 h 252"/>
                <a:gd name="T90" fmla="*/ 382 w 702"/>
                <a:gd name="T91" fmla="*/ 164 h 252"/>
                <a:gd name="T92" fmla="*/ 388 w 702"/>
                <a:gd name="T93" fmla="*/ 138 h 252"/>
                <a:gd name="T94" fmla="*/ 416 w 702"/>
                <a:gd name="T95" fmla="*/ 172 h 252"/>
                <a:gd name="T96" fmla="*/ 430 w 702"/>
                <a:gd name="T97" fmla="*/ 154 h 252"/>
                <a:gd name="T98" fmla="*/ 404 w 702"/>
                <a:gd name="T99" fmla="*/ 116 h 252"/>
                <a:gd name="T100" fmla="*/ 426 w 702"/>
                <a:gd name="T101" fmla="*/ 96 h 252"/>
                <a:gd name="T102" fmla="*/ 390 w 702"/>
                <a:gd name="T103" fmla="*/ 82 h 252"/>
                <a:gd name="T104" fmla="*/ 454 w 702"/>
                <a:gd name="T105" fmla="*/ 56 h 252"/>
                <a:gd name="T106" fmla="*/ 386 w 702"/>
                <a:gd name="T107" fmla="*/ 76 h 252"/>
                <a:gd name="T108" fmla="*/ 494 w 702"/>
                <a:gd name="T109" fmla="*/ 90 h 252"/>
                <a:gd name="T110" fmla="*/ 508 w 702"/>
                <a:gd name="T111" fmla="*/ 98 h 252"/>
                <a:gd name="T112" fmla="*/ 508 w 702"/>
                <a:gd name="T113" fmla="*/ 58 h 252"/>
                <a:gd name="T114" fmla="*/ 496 w 702"/>
                <a:gd name="T115" fmla="*/ 48 h 252"/>
                <a:gd name="T116" fmla="*/ 494 w 702"/>
                <a:gd name="T117" fmla="*/ 90 h 252"/>
                <a:gd name="T118" fmla="*/ 488 w 702"/>
                <a:gd name="T119" fmla="*/ 156 h 252"/>
                <a:gd name="T120" fmla="*/ 544 w 702"/>
                <a:gd name="T121" fmla="*/ 146 h 252"/>
                <a:gd name="T122" fmla="*/ 528 w 702"/>
                <a:gd name="T123" fmla="*/ 122 h 252"/>
                <a:gd name="T124" fmla="*/ 544 w 702"/>
                <a:gd name="T125" fmla="*/ 14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2" h="252">
                  <a:moveTo>
                    <a:pt x="700" y="124"/>
                  </a:moveTo>
                  <a:lnTo>
                    <a:pt x="698" y="124"/>
                  </a:lnTo>
                  <a:lnTo>
                    <a:pt x="700" y="122"/>
                  </a:lnTo>
                  <a:lnTo>
                    <a:pt x="650" y="104"/>
                  </a:lnTo>
                  <a:lnTo>
                    <a:pt x="650" y="104"/>
                  </a:lnTo>
                  <a:lnTo>
                    <a:pt x="648" y="104"/>
                  </a:lnTo>
                  <a:lnTo>
                    <a:pt x="628" y="114"/>
                  </a:lnTo>
                  <a:lnTo>
                    <a:pt x="628" y="114"/>
                  </a:lnTo>
                  <a:lnTo>
                    <a:pt x="628" y="114"/>
                  </a:lnTo>
                  <a:lnTo>
                    <a:pt x="612" y="130"/>
                  </a:lnTo>
                  <a:lnTo>
                    <a:pt x="594" y="114"/>
                  </a:lnTo>
                  <a:lnTo>
                    <a:pt x="594" y="98"/>
                  </a:lnTo>
                  <a:lnTo>
                    <a:pt x="594" y="98"/>
                  </a:lnTo>
                  <a:lnTo>
                    <a:pt x="594" y="96"/>
                  </a:lnTo>
                  <a:lnTo>
                    <a:pt x="576" y="84"/>
                  </a:lnTo>
                  <a:lnTo>
                    <a:pt x="576" y="84"/>
                  </a:lnTo>
                  <a:lnTo>
                    <a:pt x="574" y="84"/>
                  </a:lnTo>
                  <a:lnTo>
                    <a:pt x="564" y="84"/>
                  </a:lnTo>
                  <a:lnTo>
                    <a:pt x="564" y="84"/>
                  </a:lnTo>
                  <a:lnTo>
                    <a:pt x="562" y="86"/>
                  </a:lnTo>
                  <a:lnTo>
                    <a:pt x="542" y="104"/>
                  </a:lnTo>
                  <a:lnTo>
                    <a:pt x="542" y="104"/>
                  </a:lnTo>
                  <a:lnTo>
                    <a:pt x="542" y="106"/>
                  </a:lnTo>
                  <a:lnTo>
                    <a:pt x="542" y="106"/>
                  </a:lnTo>
                  <a:lnTo>
                    <a:pt x="544" y="108"/>
                  </a:lnTo>
                  <a:lnTo>
                    <a:pt x="550" y="108"/>
                  </a:lnTo>
                  <a:lnTo>
                    <a:pt x="562" y="118"/>
                  </a:lnTo>
                  <a:lnTo>
                    <a:pt x="562" y="118"/>
                  </a:lnTo>
                  <a:lnTo>
                    <a:pt x="564" y="120"/>
                  </a:lnTo>
                  <a:lnTo>
                    <a:pt x="584" y="120"/>
                  </a:lnTo>
                  <a:lnTo>
                    <a:pt x="580" y="122"/>
                  </a:lnTo>
                  <a:lnTo>
                    <a:pt x="564" y="122"/>
                  </a:lnTo>
                  <a:lnTo>
                    <a:pt x="564" y="122"/>
                  </a:lnTo>
                  <a:lnTo>
                    <a:pt x="560" y="124"/>
                  </a:lnTo>
                  <a:lnTo>
                    <a:pt x="560" y="124"/>
                  </a:lnTo>
                  <a:lnTo>
                    <a:pt x="562" y="126"/>
                  </a:lnTo>
                  <a:lnTo>
                    <a:pt x="572" y="136"/>
                  </a:lnTo>
                  <a:lnTo>
                    <a:pt x="572" y="144"/>
                  </a:lnTo>
                  <a:lnTo>
                    <a:pt x="572" y="144"/>
                  </a:lnTo>
                  <a:lnTo>
                    <a:pt x="574" y="146"/>
                  </a:lnTo>
                  <a:lnTo>
                    <a:pt x="574" y="146"/>
                  </a:lnTo>
                  <a:lnTo>
                    <a:pt x="576" y="146"/>
                  </a:lnTo>
                  <a:lnTo>
                    <a:pt x="582" y="138"/>
                  </a:lnTo>
                  <a:lnTo>
                    <a:pt x="646" y="172"/>
                  </a:lnTo>
                  <a:lnTo>
                    <a:pt x="656" y="190"/>
                  </a:lnTo>
                  <a:lnTo>
                    <a:pt x="646" y="210"/>
                  </a:lnTo>
                  <a:lnTo>
                    <a:pt x="646" y="210"/>
                  </a:lnTo>
                  <a:lnTo>
                    <a:pt x="646" y="212"/>
                  </a:lnTo>
                  <a:lnTo>
                    <a:pt x="646" y="212"/>
                  </a:lnTo>
                  <a:lnTo>
                    <a:pt x="650" y="214"/>
                  </a:lnTo>
                  <a:lnTo>
                    <a:pt x="678" y="204"/>
                  </a:lnTo>
                  <a:lnTo>
                    <a:pt x="698" y="220"/>
                  </a:lnTo>
                  <a:lnTo>
                    <a:pt x="698" y="220"/>
                  </a:lnTo>
                  <a:lnTo>
                    <a:pt x="700" y="220"/>
                  </a:lnTo>
                  <a:lnTo>
                    <a:pt x="700" y="220"/>
                  </a:lnTo>
                  <a:lnTo>
                    <a:pt x="702" y="218"/>
                  </a:lnTo>
                  <a:lnTo>
                    <a:pt x="702" y="124"/>
                  </a:lnTo>
                  <a:lnTo>
                    <a:pt x="700" y="124"/>
                  </a:lnTo>
                  <a:close/>
                  <a:moveTo>
                    <a:pt x="54" y="80"/>
                  </a:moveTo>
                  <a:lnTo>
                    <a:pt x="54" y="80"/>
                  </a:lnTo>
                  <a:lnTo>
                    <a:pt x="54" y="78"/>
                  </a:lnTo>
                  <a:lnTo>
                    <a:pt x="52" y="76"/>
                  </a:lnTo>
                  <a:lnTo>
                    <a:pt x="32" y="56"/>
                  </a:lnTo>
                  <a:lnTo>
                    <a:pt x="32" y="56"/>
                  </a:lnTo>
                  <a:lnTo>
                    <a:pt x="30" y="56"/>
                  </a:lnTo>
                  <a:lnTo>
                    <a:pt x="30" y="56"/>
                  </a:lnTo>
                  <a:lnTo>
                    <a:pt x="28" y="58"/>
                  </a:lnTo>
                  <a:lnTo>
                    <a:pt x="28" y="68"/>
                  </a:lnTo>
                  <a:lnTo>
                    <a:pt x="30" y="68"/>
                  </a:lnTo>
                  <a:lnTo>
                    <a:pt x="30" y="68"/>
                  </a:lnTo>
                  <a:lnTo>
                    <a:pt x="30" y="72"/>
                  </a:lnTo>
                  <a:lnTo>
                    <a:pt x="50" y="80"/>
                  </a:lnTo>
                  <a:lnTo>
                    <a:pt x="50" y="80"/>
                  </a:lnTo>
                  <a:lnTo>
                    <a:pt x="52" y="80"/>
                  </a:lnTo>
                  <a:lnTo>
                    <a:pt x="54" y="80"/>
                  </a:lnTo>
                  <a:lnTo>
                    <a:pt x="54" y="80"/>
                  </a:lnTo>
                  <a:close/>
                  <a:moveTo>
                    <a:pt x="72" y="96"/>
                  </a:moveTo>
                  <a:lnTo>
                    <a:pt x="52" y="96"/>
                  </a:lnTo>
                  <a:lnTo>
                    <a:pt x="52" y="98"/>
                  </a:lnTo>
                  <a:lnTo>
                    <a:pt x="50" y="100"/>
                  </a:lnTo>
                  <a:lnTo>
                    <a:pt x="70" y="118"/>
                  </a:lnTo>
                  <a:lnTo>
                    <a:pt x="70" y="118"/>
                  </a:lnTo>
                  <a:lnTo>
                    <a:pt x="74" y="118"/>
                  </a:lnTo>
                  <a:lnTo>
                    <a:pt x="74" y="118"/>
                  </a:lnTo>
                  <a:lnTo>
                    <a:pt x="74" y="114"/>
                  </a:lnTo>
                  <a:lnTo>
                    <a:pt x="74" y="98"/>
                  </a:lnTo>
                  <a:lnTo>
                    <a:pt x="74" y="98"/>
                  </a:lnTo>
                  <a:lnTo>
                    <a:pt x="74" y="96"/>
                  </a:lnTo>
                  <a:lnTo>
                    <a:pt x="72" y="96"/>
                  </a:lnTo>
                  <a:lnTo>
                    <a:pt x="72" y="96"/>
                  </a:lnTo>
                  <a:close/>
                  <a:moveTo>
                    <a:pt x="552" y="200"/>
                  </a:moveTo>
                  <a:lnTo>
                    <a:pt x="534" y="200"/>
                  </a:lnTo>
                  <a:lnTo>
                    <a:pt x="534" y="200"/>
                  </a:lnTo>
                  <a:lnTo>
                    <a:pt x="532" y="200"/>
                  </a:lnTo>
                  <a:lnTo>
                    <a:pt x="530" y="202"/>
                  </a:lnTo>
                  <a:lnTo>
                    <a:pt x="530" y="222"/>
                  </a:lnTo>
                  <a:lnTo>
                    <a:pt x="534" y="222"/>
                  </a:lnTo>
                  <a:lnTo>
                    <a:pt x="534" y="224"/>
                  </a:lnTo>
                  <a:lnTo>
                    <a:pt x="544" y="224"/>
                  </a:lnTo>
                  <a:lnTo>
                    <a:pt x="544" y="224"/>
                  </a:lnTo>
                  <a:lnTo>
                    <a:pt x="546" y="222"/>
                  </a:lnTo>
                  <a:lnTo>
                    <a:pt x="556" y="204"/>
                  </a:lnTo>
                  <a:lnTo>
                    <a:pt x="556" y="204"/>
                  </a:lnTo>
                  <a:lnTo>
                    <a:pt x="556" y="200"/>
                  </a:lnTo>
                  <a:lnTo>
                    <a:pt x="556" y="200"/>
                  </a:lnTo>
                  <a:lnTo>
                    <a:pt x="552" y="200"/>
                  </a:lnTo>
                  <a:lnTo>
                    <a:pt x="552" y="200"/>
                  </a:lnTo>
                  <a:close/>
                  <a:moveTo>
                    <a:pt x="296" y="200"/>
                  </a:moveTo>
                  <a:lnTo>
                    <a:pt x="296" y="200"/>
                  </a:lnTo>
                  <a:lnTo>
                    <a:pt x="296" y="198"/>
                  </a:lnTo>
                  <a:lnTo>
                    <a:pt x="294" y="198"/>
                  </a:lnTo>
                  <a:lnTo>
                    <a:pt x="274" y="198"/>
                  </a:lnTo>
                  <a:lnTo>
                    <a:pt x="266" y="190"/>
                  </a:lnTo>
                  <a:lnTo>
                    <a:pt x="266" y="190"/>
                  </a:lnTo>
                  <a:lnTo>
                    <a:pt x="266" y="188"/>
                  </a:lnTo>
                  <a:lnTo>
                    <a:pt x="236" y="180"/>
                  </a:lnTo>
                  <a:lnTo>
                    <a:pt x="236" y="180"/>
                  </a:lnTo>
                  <a:lnTo>
                    <a:pt x="234" y="180"/>
                  </a:lnTo>
                  <a:lnTo>
                    <a:pt x="234" y="180"/>
                  </a:lnTo>
                  <a:lnTo>
                    <a:pt x="232" y="182"/>
                  </a:lnTo>
                  <a:lnTo>
                    <a:pt x="232" y="186"/>
                  </a:lnTo>
                  <a:lnTo>
                    <a:pt x="218" y="180"/>
                  </a:lnTo>
                  <a:lnTo>
                    <a:pt x="218" y="180"/>
                  </a:lnTo>
                  <a:lnTo>
                    <a:pt x="218" y="180"/>
                  </a:lnTo>
                  <a:lnTo>
                    <a:pt x="188" y="168"/>
                  </a:lnTo>
                  <a:lnTo>
                    <a:pt x="188" y="168"/>
                  </a:lnTo>
                  <a:lnTo>
                    <a:pt x="188" y="168"/>
                  </a:lnTo>
                  <a:lnTo>
                    <a:pt x="170" y="168"/>
                  </a:lnTo>
                  <a:lnTo>
                    <a:pt x="170" y="168"/>
                  </a:lnTo>
                  <a:lnTo>
                    <a:pt x="168" y="170"/>
                  </a:lnTo>
                  <a:lnTo>
                    <a:pt x="156" y="180"/>
                  </a:lnTo>
                  <a:lnTo>
                    <a:pt x="158" y="182"/>
                  </a:lnTo>
                  <a:lnTo>
                    <a:pt x="158" y="184"/>
                  </a:lnTo>
                  <a:lnTo>
                    <a:pt x="196" y="204"/>
                  </a:lnTo>
                  <a:lnTo>
                    <a:pt x="196" y="204"/>
                  </a:lnTo>
                  <a:lnTo>
                    <a:pt x="196" y="204"/>
                  </a:lnTo>
                  <a:lnTo>
                    <a:pt x="294" y="214"/>
                  </a:lnTo>
                  <a:lnTo>
                    <a:pt x="294" y="214"/>
                  </a:lnTo>
                  <a:lnTo>
                    <a:pt x="296" y="214"/>
                  </a:lnTo>
                  <a:lnTo>
                    <a:pt x="296" y="214"/>
                  </a:lnTo>
                  <a:lnTo>
                    <a:pt x="296" y="214"/>
                  </a:lnTo>
                  <a:lnTo>
                    <a:pt x="318" y="214"/>
                  </a:lnTo>
                  <a:lnTo>
                    <a:pt x="318" y="208"/>
                  </a:lnTo>
                  <a:lnTo>
                    <a:pt x="296" y="208"/>
                  </a:lnTo>
                  <a:lnTo>
                    <a:pt x="296" y="200"/>
                  </a:lnTo>
                  <a:close/>
                  <a:moveTo>
                    <a:pt x="612" y="160"/>
                  </a:moveTo>
                  <a:lnTo>
                    <a:pt x="612" y="160"/>
                  </a:lnTo>
                  <a:lnTo>
                    <a:pt x="608" y="162"/>
                  </a:lnTo>
                  <a:lnTo>
                    <a:pt x="590" y="188"/>
                  </a:lnTo>
                  <a:lnTo>
                    <a:pt x="592" y="190"/>
                  </a:lnTo>
                  <a:lnTo>
                    <a:pt x="594" y="192"/>
                  </a:lnTo>
                  <a:lnTo>
                    <a:pt x="612" y="172"/>
                  </a:lnTo>
                  <a:lnTo>
                    <a:pt x="612" y="172"/>
                  </a:lnTo>
                  <a:lnTo>
                    <a:pt x="614" y="170"/>
                  </a:lnTo>
                  <a:lnTo>
                    <a:pt x="614" y="162"/>
                  </a:lnTo>
                  <a:lnTo>
                    <a:pt x="614" y="162"/>
                  </a:lnTo>
                  <a:lnTo>
                    <a:pt x="612" y="160"/>
                  </a:lnTo>
                  <a:lnTo>
                    <a:pt x="612" y="160"/>
                  </a:lnTo>
                  <a:close/>
                  <a:moveTo>
                    <a:pt x="188" y="144"/>
                  </a:moveTo>
                  <a:lnTo>
                    <a:pt x="206" y="144"/>
                  </a:lnTo>
                  <a:lnTo>
                    <a:pt x="206" y="144"/>
                  </a:lnTo>
                  <a:lnTo>
                    <a:pt x="208" y="144"/>
                  </a:lnTo>
                  <a:lnTo>
                    <a:pt x="210" y="142"/>
                  </a:lnTo>
                  <a:lnTo>
                    <a:pt x="210" y="124"/>
                  </a:lnTo>
                  <a:lnTo>
                    <a:pt x="210" y="124"/>
                  </a:lnTo>
                  <a:lnTo>
                    <a:pt x="208" y="122"/>
                  </a:lnTo>
                  <a:lnTo>
                    <a:pt x="206" y="122"/>
                  </a:lnTo>
                  <a:lnTo>
                    <a:pt x="188" y="122"/>
                  </a:lnTo>
                  <a:lnTo>
                    <a:pt x="188" y="122"/>
                  </a:lnTo>
                  <a:lnTo>
                    <a:pt x="186" y="122"/>
                  </a:lnTo>
                  <a:lnTo>
                    <a:pt x="184" y="124"/>
                  </a:lnTo>
                  <a:lnTo>
                    <a:pt x="184" y="142"/>
                  </a:lnTo>
                  <a:lnTo>
                    <a:pt x="188" y="142"/>
                  </a:lnTo>
                  <a:lnTo>
                    <a:pt x="188" y="144"/>
                  </a:lnTo>
                  <a:close/>
                  <a:moveTo>
                    <a:pt x="382" y="228"/>
                  </a:moveTo>
                  <a:lnTo>
                    <a:pt x="382" y="228"/>
                  </a:lnTo>
                  <a:lnTo>
                    <a:pt x="380" y="228"/>
                  </a:lnTo>
                  <a:lnTo>
                    <a:pt x="360" y="228"/>
                  </a:lnTo>
                  <a:lnTo>
                    <a:pt x="360" y="230"/>
                  </a:lnTo>
                  <a:lnTo>
                    <a:pt x="358" y="232"/>
                  </a:lnTo>
                  <a:lnTo>
                    <a:pt x="378" y="252"/>
                  </a:lnTo>
                  <a:lnTo>
                    <a:pt x="378" y="252"/>
                  </a:lnTo>
                  <a:lnTo>
                    <a:pt x="380" y="252"/>
                  </a:lnTo>
                  <a:lnTo>
                    <a:pt x="388" y="252"/>
                  </a:lnTo>
                  <a:lnTo>
                    <a:pt x="388" y="252"/>
                  </a:lnTo>
                  <a:lnTo>
                    <a:pt x="392" y="250"/>
                  </a:lnTo>
                  <a:lnTo>
                    <a:pt x="392" y="250"/>
                  </a:lnTo>
                  <a:lnTo>
                    <a:pt x="392" y="248"/>
                  </a:lnTo>
                  <a:lnTo>
                    <a:pt x="382" y="228"/>
                  </a:lnTo>
                  <a:close/>
                  <a:moveTo>
                    <a:pt x="486" y="208"/>
                  </a:moveTo>
                  <a:lnTo>
                    <a:pt x="458" y="208"/>
                  </a:lnTo>
                  <a:lnTo>
                    <a:pt x="458" y="208"/>
                  </a:lnTo>
                  <a:lnTo>
                    <a:pt x="454" y="208"/>
                  </a:lnTo>
                  <a:lnTo>
                    <a:pt x="436" y="228"/>
                  </a:lnTo>
                  <a:lnTo>
                    <a:pt x="426" y="240"/>
                  </a:lnTo>
                  <a:lnTo>
                    <a:pt x="428" y="242"/>
                  </a:lnTo>
                  <a:lnTo>
                    <a:pt x="428" y="244"/>
                  </a:lnTo>
                  <a:lnTo>
                    <a:pt x="448" y="244"/>
                  </a:lnTo>
                  <a:lnTo>
                    <a:pt x="448" y="244"/>
                  </a:lnTo>
                  <a:lnTo>
                    <a:pt x="450" y="244"/>
                  </a:lnTo>
                  <a:lnTo>
                    <a:pt x="488" y="214"/>
                  </a:lnTo>
                  <a:lnTo>
                    <a:pt x="488" y="214"/>
                  </a:lnTo>
                  <a:lnTo>
                    <a:pt x="490" y="210"/>
                  </a:lnTo>
                  <a:lnTo>
                    <a:pt x="490" y="210"/>
                  </a:lnTo>
                  <a:lnTo>
                    <a:pt x="486" y="208"/>
                  </a:lnTo>
                  <a:lnTo>
                    <a:pt x="486" y="208"/>
                  </a:lnTo>
                  <a:close/>
                  <a:moveTo>
                    <a:pt x="214" y="88"/>
                  </a:moveTo>
                  <a:lnTo>
                    <a:pt x="224" y="106"/>
                  </a:lnTo>
                  <a:lnTo>
                    <a:pt x="232" y="126"/>
                  </a:lnTo>
                  <a:lnTo>
                    <a:pt x="232" y="126"/>
                  </a:lnTo>
                  <a:lnTo>
                    <a:pt x="236" y="126"/>
                  </a:lnTo>
                  <a:lnTo>
                    <a:pt x="252" y="126"/>
                  </a:lnTo>
                  <a:lnTo>
                    <a:pt x="252" y="134"/>
                  </a:lnTo>
                  <a:lnTo>
                    <a:pt x="252" y="134"/>
                  </a:lnTo>
                  <a:lnTo>
                    <a:pt x="252" y="136"/>
                  </a:lnTo>
                  <a:lnTo>
                    <a:pt x="254" y="138"/>
                  </a:lnTo>
                  <a:lnTo>
                    <a:pt x="294" y="138"/>
                  </a:lnTo>
                  <a:lnTo>
                    <a:pt x="300" y="146"/>
                  </a:lnTo>
                  <a:lnTo>
                    <a:pt x="300" y="146"/>
                  </a:lnTo>
                  <a:lnTo>
                    <a:pt x="300" y="146"/>
                  </a:lnTo>
                  <a:lnTo>
                    <a:pt x="302" y="146"/>
                  </a:lnTo>
                  <a:lnTo>
                    <a:pt x="324" y="136"/>
                  </a:lnTo>
                  <a:lnTo>
                    <a:pt x="324" y="136"/>
                  </a:lnTo>
                  <a:lnTo>
                    <a:pt x="326" y="136"/>
                  </a:lnTo>
                  <a:lnTo>
                    <a:pt x="334" y="116"/>
                  </a:lnTo>
                  <a:lnTo>
                    <a:pt x="334" y="116"/>
                  </a:lnTo>
                  <a:lnTo>
                    <a:pt x="334" y="114"/>
                  </a:lnTo>
                  <a:lnTo>
                    <a:pt x="334" y="114"/>
                  </a:lnTo>
                  <a:lnTo>
                    <a:pt x="332" y="112"/>
                  </a:lnTo>
                  <a:lnTo>
                    <a:pt x="328" y="112"/>
                  </a:lnTo>
                  <a:lnTo>
                    <a:pt x="334" y="98"/>
                  </a:lnTo>
                  <a:lnTo>
                    <a:pt x="352" y="80"/>
                  </a:lnTo>
                  <a:lnTo>
                    <a:pt x="362" y="70"/>
                  </a:lnTo>
                  <a:lnTo>
                    <a:pt x="362" y="70"/>
                  </a:lnTo>
                  <a:lnTo>
                    <a:pt x="362" y="68"/>
                  </a:lnTo>
                  <a:lnTo>
                    <a:pt x="362" y="68"/>
                  </a:lnTo>
                  <a:lnTo>
                    <a:pt x="362" y="66"/>
                  </a:lnTo>
                  <a:lnTo>
                    <a:pt x="348" y="58"/>
                  </a:lnTo>
                  <a:lnTo>
                    <a:pt x="352" y="54"/>
                  </a:lnTo>
                  <a:lnTo>
                    <a:pt x="352" y="54"/>
                  </a:lnTo>
                  <a:lnTo>
                    <a:pt x="354" y="52"/>
                  </a:lnTo>
                  <a:lnTo>
                    <a:pt x="352" y="50"/>
                  </a:lnTo>
                  <a:lnTo>
                    <a:pt x="346" y="40"/>
                  </a:lnTo>
                  <a:lnTo>
                    <a:pt x="354" y="24"/>
                  </a:lnTo>
                  <a:lnTo>
                    <a:pt x="354" y="24"/>
                  </a:lnTo>
                  <a:lnTo>
                    <a:pt x="352" y="20"/>
                  </a:lnTo>
                  <a:lnTo>
                    <a:pt x="352" y="20"/>
                  </a:lnTo>
                  <a:lnTo>
                    <a:pt x="350" y="20"/>
                  </a:lnTo>
                  <a:lnTo>
                    <a:pt x="324" y="20"/>
                  </a:lnTo>
                  <a:lnTo>
                    <a:pt x="324" y="20"/>
                  </a:lnTo>
                  <a:lnTo>
                    <a:pt x="320" y="20"/>
                  </a:lnTo>
                  <a:lnTo>
                    <a:pt x="292" y="56"/>
                  </a:lnTo>
                  <a:lnTo>
                    <a:pt x="284" y="64"/>
                  </a:lnTo>
                  <a:lnTo>
                    <a:pt x="266" y="56"/>
                  </a:lnTo>
                  <a:lnTo>
                    <a:pt x="266" y="56"/>
                  </a:lnTo>
                  <a:lnTo>
                    <a:pt x="262" y="56"/>
                  </a:lnTo>
                  <a:lnTo>
                    <a:pt x="252" y="66"/>
                  </a:lnTo>
                  <a:lnTo>
                    <a:pt x="236" y="66"/>
                  </a:lnTo>
                  <a:lnTo>
                    <a:pt x="218" y="56"/>
                  </a:lnTo>
                  <a:lnTo>
                    <a:pt x="218" y="58"/>
                  </a:lnTo>
                  <a:lnTo>
                    <a:pt x="218" y="58"/>
                  </a:lnTo>
                  <a:lnTo>
                    <a:pt x="218" y="58"/>
                  </a:lnTo>
                  <a:lnTo>
                    <a:pt x="216" y="56"/>
                  </a:lnTo>
                  <a:lnTo>
                    <a:pt x="204" y="66"/>
                  </a:lnTo>
                  <a:lnTo>
                    <a:pt x="204" y="66"/>
                  </a:lnTo>
                  <a:lnTo>
                    <a:pt x="204" y="68"/>
                  </a:lnTo>
                  <a:lnTo>
                    <a:pt x="204" y="70"/>
                  </a:lnTo>
                  <a:lnTo>
                    <a:pt x="214" y="88"/>
                  </a:lnTo>
                  <a:close/>
                  <a:moveTo>
                    <a:pt x="160" y="172"/>
                  </a:moveTo>
                  <a:lnTo>
                    <a:pt x="172" y="136"/>
                  </a:lnTo>
                  <a:lnTo>
                    <a:pt x="172" y="136"/>
                  </a:lnTo>
                  <a:lnTo>
                    <a:pt x="172" y="134"/>
                  </a:lnTo>
                  <a:lnTo>
                    <a:pt x="168" y="128"/>
                  </a:lnTo>
                  <a:lnTo>
                    <a:pt x="176" y="136"/>
                  </a:lnTo>
                  <a:lnTo>
                    <a:pt x="176" y="136"/>
                  </a:lnTo>
                  <a:lnTo>
                    <a:pt x="180" y="138"/>
                  </a:lnTo>
                  <a:lnTo>
                    <a:pt x="180" y="138"/>
                  </a:lnTo>
                  <a:lnTo>
                    <a:pt x="182" y="134"/>
                  </a:lnTo>
                  <a:lnTo>
                    <a:pt x="182" y="124"/>
                  </a:lnTo>
                  <a:lnTo>
                    <a:pt x="182" y="124"/>
                  </a:lnTo>
                  <a:lnTo>
                    <a:pt x="182" y="122"/>
                  </a:lnTo>
                  <a:lnTo>
                    <a:pt x="172" y="104"/>
                  </a:lnTo>
                  <a:lnTo>
                    <a:pt x="172" y="104"/>
                  </a:lnTo>
                  <a:lnTo>
                    <a:pt x="168" y="102"/>
                  </a:lnTo>
                  <a:lnTo>
                    <a:pt x="168" y="102"/>
                  </a:lnTo>
                  <a:lnTo>
                    <a:pt x="166" y="104"/>
                  </a:lnTo>
                  <a:lnTo>
                    <a:pt x="156" y="114"/>
                  </a:lnTo>
                  <a:lnTo>
                    <a:pt x="152" y="114"/>
                  </a:lnTo>
                  <a:lnTo>
                    <a:pt x="142" y="96"/>
                  </a:lnTo>
                  <a:lnTo>
                    <a:pt x="142" y="96"/>
                  </a:lnTo>
                  <a:lnTo>
                    <a:pt x="140" y="94"/>
                  </a:lnTo>
                  <a:lnTo>
                    <a:pt x="134" y="94"/>
                  </a:lnTo>
                  <a:lnTo>
                    <a:pt x="134" y="88"/>
                  </a:lnTo>
                  <a:lnTo>
                    <a:pt x="134" y="88"/>
                  </a:lnTo>
                  <a:lnTo>
                    <a:pt x="134" y="84"/>
                  </a:lnTo>
                  <a:lnTo>
                    <a:pt x="124" y="76"/>
                  </a:lnTo>
                  <a:lnTo>
                    <a:pt x="124" y="68"/>
                  </a:lnTo>
                  <a:lnTo>
                    <a:pt x="124" y="68"/>
                  </a:lnTo>
                  <a:lnTo>
                    <a:pt x="122" y="66"/>
                  </a:lnTo>
                  <a:lnTo>
                    <a:pt x="94" y="48"/>
                  </a:lnTo>
                  <a:lnTo>
                    <a:pt x="94" y="48"/>
                  </a:lnTo>
                  <a:lnTo>
                    <a:pt x="92" y="48"/>
                  </a:lnTo>
                  <a:lnTo>
                    <a:pt x="82" y="48"/>
                  </a:lnTo>
                  <a:lnTo>
                    <a:pt x="34" y="8"/>
                  </a:lnTo>
                  <a:lnTo>
                    <a:pt x="34" y="8"/>
                  </a:lnTo>
                  <a:lnTo>
                    <a:pt x="34" y="8"/>
                  </a:lnTo>
                  <a:lnTo>
                    <a:pt x="4" y="0"/>
                  </a:lnTo>
                  <a:lnTo>
                    <a:pt x="4" y="2"/>
                  </a:lnTo>
                  <a:lnTo>
                    <a:pt x="0" y="2"/>
                  </a:lnTo>
                  <a:lnTo>
                    <a:pt x="0" y="12"/>
                  </a:lnTo>
                  <a:lnTo>
                    <a:pt x="0" y="12"/>
                  </a:lnTo>
                  <a:lnTo>
                    <a:pt x="2" y="14"/>
                  </a:lnTo>
                  <a:lnTo>
                    <a:pt x="24" y="32"/>
                  </a:lnTo>
                  <a:lnTo>
                    <a:pt x="40" y="52"/>
                  </a:lnTo>
                  <a:lnTo>
                    <a:pt x="40" y="52"/>
                  </a:lnTo>
                  <a:lnTo>
                    <a:pt x="42" y="54"/>
                  </a:lnTo>
                  <a:lnTo>
                    <a:pt x="52" y="60"/>
                  </a:lnTo>
                  <a:lnTo>
                    <a:pt x="60" y="78"/>
                  </a:lnTo>
                  <a:lnTo>
                    <a:pt x="60" y="78"/>
                  </a:lnTo>
                  <a:lnTo>
                    <a:pt x="60" y="80"/>
                  </a:lnTo>
                  <a:lnTo>
                    <a:pt x="78" y="100"/>
                  </a:lnTo>
                  <a:lnTo>
                    <a:pt x="100" y="136"/>
                  </a:lnTo>
                  <a:lnTo>
                    <a:pt x="100" y="136"/>
                  </a:lnTo>
                  <a:lnTo>
                    <a:pt x="100" y="138"/>
                  </a:lnTo>
                  <a:lnTo>
                    <a:pt x="138" y="174"/>
                  </a:lnTo>
                  <a:lnTo>
                    <a:pt x="138" y="174"/>
                  </a:lnTo>
                  <a:lnTo>
                    <a:pt x="140" y="174"/>
                  </a:lnTo>
                  <a:lnTo>
                    <a:pt x="158" y="174"/>
                  </a:lnTo>
                  <a:lnTo>
                    <a:pt x="158" y="174"/>
                  </a:lnTo>
                  <a:lnTo>
                    <a:pt x="160" y="172"/>
                  </a:lnTo>
                  <a:lnTo>
                    <a:pt x="160" y="172"/>
                  </a:lnTo>
                  <a:close/>
                  <a:moveTo>
                    <a:pt x="442" y="210"/>
                  </a:moveTo>
                  <a:lnTo>
                    <a:pt x="442" y="210"/>
                  </a:lnTo>
                  <a:lnTo>
                    <a:pt x="440" y="208"/>
                  </a:lnTo>
                  <a:lnTo>
                    <a:pt x="324" y="208"/>
                  </a:lnTo>
                  <a:lnTo>
                    <a:pt x="324" y="208"/>
                  </a:lnTo>
                  <a:lnTo>
                    <a:pt x="322" y="208"/>
                  </a:lnTo>
                  <a:lnTo>
                    <a:pt x="320" y="210"/>
                  </a:lnTo>
                  <a:lnTo>
                    <a:pt x="320" y="230"/>
                  </a:lnTo>
                  <a:lnTo>
                    <a:pt x="324" y="230"/>
                  </a:lnTo>
                  <a:lnTo>
                    <a:pt x="324" y="232"/>
                  </a:lnTo>
                  <a:lnTo>
                    <a:pt x="332" y="232"/>
                  </a:lnTo>
                  <a:lnTo>
                    <a:pt x="332" y="232"/>
                  </a:lnTo>
                  <a:lnTo>
                    <a:pt x="334" y="232"/>
                  </a:lnTo>
                  <a:lnTo>
                    <a:pt x="372" y="214"/>
                  </a:lnTo>
                  <a:lnTo>
                    <a:pt x="410" y="232"/>
                  </a:lnTo>
                  <a:lnTo>
                    <a:pt x="410" y="232"/>
                  </a:lnTo>
                  <a:lnTo>
                    <a:pt x="412" y="232"/>
                  </a:lnTo>
                  <a:lnTo>
                    <a:pt x="442" y="214"/>
                  </a:lnTo>
                  <a:lnTo>
                    <a:pt x="442" y="214"/>
                  </a:lnTo>
                  <a:lnTo>
                    <a:pt x="442" y="210"/>
                  </a:lnTo>
                  <a:lnTo>
                    <a:pt x="442" y="210"/>
                  </a:lnTo>
                  <a:close/>
                  <a:moveTo>
                    <a:pt x="360" y="124"/>
                  </a:moveTo>
                  <a:lnTo>
                    <a:pt x="360" y="124"/>
                  </a:lnTo>
                  <a:lnTo>
                    <a:pt x="358" y="124"/>
                  </a:lnTo>
                  <a:lnTo>
                    <a:pt x="358" y="136"/>
                  </a:lnTo>
                  <a:lnTo>
                    <a:pt x="358" y="136"/>
                  </a:lnTo>
                  <a:lnTo>
                    <a:pt x="358" y="138"/>
                  </a:lnTo>
                  <a:lnTo>
                    <a:pt x="360" y="138"/>
                  </a:lnTo>
                  <a:lnTo>
                    <a:pt x="368" y="138"/>
                  </a:lnTo>
                  <a:lnTo>
                    <a:pt x="368" y="172"/>
                  </a:lnTo>
                  <a:lnTo>
                    <a:pt x="368" y="172"/>
                  </a:lnTo>
                  <a:lnTo>
                    <a:pt x="370" y="174"/>
                  </a:lnTo>
                  <a:lnTo>
                    <a:pt x="370" y="174"/>
                  </a:lnTo>
                  <a:lnTo>
                    <a:pt x="374" y="174"/>
                  </a:lnTo>
                  <a:lnTo>
                    <a:pt x="382" y="166"/>
                  </a:lnTo>
                  <a:lnTo>
                    <a:pt x="382" y="166"/>
                  </a:lnTo>
                  <a:lnTo>
                    <a:pt x="382" y="164"/>
                  </a:lnTo>
                  <a:lnTo>
                    <a:pt x="382" y="136"/>
                  </a:lnTo>
                  <a:lnTo>
                    <a:pt x="390" y="128"/>
                  </a:lnTo>
                  <a:lnTo>
                    <a:pt x="392" y="128"/>
                  </a:lnTo>
                  <a:lnTo>
                    <a:pt x="388" y="134"/>
                  </a:lnTo>
                  <a:lnTo>
                    <a:pt x="388" y="134"/>
                  </a:lnTo>
                  <a:lnTo>
                    <a:pt x="386" y="136"/>
                  </a:lnTo>
                  <a:lnTo>
                    <a:pt x="386" y="136"/>
                  </a:lnTo>
                  <a:lnTo>
                    <a:pt x="388" y="138"/>
                  </a:lnTo>
                  <a:lnTo>
                    <a:pt x="398" y="146"/>
                  </a:lnTo>
                  <a:lnTo>
                    <a:pt x="398" y="154"/>
                  </a:lnTo>
                  <a:lnTo>
                    <a:pt x="398" y="154"/>
                  </a:lnTo>
                  <a:lnTo>
                    <a:pt x="398" y="156"/>
                  </a:lnTo>
                  <a:lnTo>
                    <a:pt x="400" y="156"/>
                  </a:lnTo>
                  <a:lnTo>
                    <a:pt x="416" y="156"/>
                  </a:lnTo>
                  <a:lnTo>
                    <a:pt x="416" y="172"/>
                  </a:lnTo>
                  <a:lnTo>
                    <a:pt x="416" y="172"/>
                  </a:lnTo>
                  <a:lnTo>
                    <a:pt x="418" y="174"/>
                  </a:lnTo>
                  <a:lnTo>
                    <a:pt x="418" y="174"/>
                  </a:lnTo>
                  <a:lnTo>
                    <a:pt x="420" y="174"/>
                  </a:lnTo>
                  <a:lnTo>
                    <a:pt x="428" y="166"/>
                  </a:lnTo>
                  <a:lnTo>
                    <a:pt x="428" y="166"/>
                  </a:lnTo>
                  <a:lnTo>
                    <a:pt x="430" y="164"/>
                  </a:lnTo>
                  <a:lnTo>
                    <a:pt x="430" y="154"/>
                  </a:lnTo>
                  <a:lnTo>
                    <a:pt x="430" y="154"/>
                  </a:lnTo>
                  <a:lnTo>
                    <a:pt x="428" y="152"/>
                  </a:lnTo>
                  <a:lnTo>
                    <a:pt x="416" y="138"/>
                  </a:lnTo>
                  <a:lnTo>
                    <a:pt x="418" y="138"/>
                  </a:lnTo>
                  <a:lnTo>
                    <a:pt x="418" y="138"/>
                  </a:lnTo>
                  <a:lnTo>
                    <a:pt x="422" y="136"/>
                  </a:lnTo>
                  <a:lnTo>
                    <a:pt x="422" y="136"/>
                  </a:lnTo>
                  <a:lnTo>
                    <a:pt x="420" y="134"/>
                  </a:lnTo>
                  <a:lnTo>
                    <a:pt x="404" y="116"/>
                  </a:lnTo>
                  <a:lnTo>
                    <a:pt x="418" y="102"/>
                  </a:lnTo>
                  <a:lnTo>
                    <a:pt x="428" y="100"/>
                  </a:lnTo>
                  <a:lnTo>
                    <a:pt x="428" y="100"/>
                  </a:lnTo>
                  <a:lnTo>
                    <a:pt x="430" y="100"/>
                  </a:lnTo>
                  <a:lnTo>
                    <a:pt x="430" y="98"/>
                  </a:lnTo>
                  <a:lnTo>
                    <a:pt x="430" y="98"/>
                  </a:lnTo>
                  <a:lnTo>
                    <a:pt x="428" y="96"/>
                  </a:lnTo>
                  <a:lnTo>
                    <a:pt x="426" y="96"/>
                  </a:lnTo>
                  <a:lnTo>
                    <a:pt x="418" y="96"/>
                  </a:lnTo>
                  <a:lnTo>
                    <a:pt x="418" y="96"/>
                  </a:lnTo>
                  <a:lnTo>
                    <a:pt x="416" y="96"/>
                  </a:lnTo>
                  <a:lnTo>
                    <a:pt x="414" y="98"/>
                  </a:lnTo>
                  <a:lnTo>
                    <a:pt x="390" y="104"/>
                  </a:lnTo>
                  <a:lnTo>
                    <a:pt x="382" y="96"/>
                  </a:lnTo>
                  <a:lnTo>
                    <a:pt x="382" y="88"/>
                  </a:lnTo>
                  <a:lnTo>
                    <a:pt x="390" y="82"/>
                  </a:lnTo>
                  <a:lnTo>
                    <a:pt x="448" y="82"/>
                  </a:lnTo>
                  <a:lnTo>
                    <a:pt x="448" y="82"/>
                  </a:lnTo>
                  <a:lnTo>
                    <a:pt x="450" y="80"/>
                  </a:lnTo>
                  <a:lnTo>
                    <a:pt x="458" y="60"/>
                  </a:lnTo>
                  <a:lnTo>
                    <a:pt x="458" y="60"/>
                  </a:lnTo>
                  <a:lnTo>
                    <a:pt x="458" y="56"/>
                  </a:lnTo>
                  <a:lnTo>
                    <a:pt x="458" y="56"/>
                  </a:lnTo>
                  <a:lnTo>
                    <a:pt x="454" y="56"/>
                  </a:lnTo>
                  <a:lnTo>
                    <a:pt x="436" y="66"/>
                  </a:lnTo>
                  <a:lnTo>
                    <a:pt x="418" y="76"/>
                  </a:lnTo>
                  <a:lnTo>
                    <a:pt x="390" y="66"/>
                  </a:lnTo>
                  <a:lnTo>
                    <a:pt x="390" y="66"/>
                  </a:lnTo>
                  <a:lnTo>
                    <a:pt x="388" y="66"/>
                  </a:lnTo>
                  <a:lnTo>
                    <a:pt x="388" y="66"/>
                  </a:lnTo>
                  <a:lnTo>
                    <a:pt x="386" y="68"/>
                  </a:lnTo>
                  <a:lnTo>
                    <a:pt x="386" y="76"/>
                  </a:lnTo>
                  <a:lnTo>
                    <a:pt x="380" y="76"/>
                  </a:lnTo>
                  <a:lnTo>
                    <a:pt x="380" y="76"/>
                  </a:lnTo>
                  <a:lnTo>
                    <a:pt x="378" y="76"/>
                  </a:lnTo>
                  <a:lnTo>
                    <a:pt x="378" y="78"/>
                  </a:lnTo>
                  <a:lnTo>
                    <a:pt x="378" y="98"/>
                  </a:lnTo>
                  <a:lnTo>
                    <a:pt x="358" y="124"/>
                  </a:lnTo>
                  <a:lnTo>
                    <a:pt x="360" y="124"/>
                  </a:lnTo>
                  <a:close/>
                  <a:moveTo>
                    <a:pt x="494" y="90"/>
                  </a:moveTo>
                  <a:lnTo>
                    <a:pt x="494" y="90"/>
                  </a:lnTo>
                  <a:lnTo>
                    <a:pt x="494" y="90"/>
                  </a:lnTo>
                  <a:lnTo>
                    <a:pt x="504" y="100"/>
                  </a:lnTo>
                  <a:lnTo>
                    <a:pt x="504" y="100"/>
                  </a:lnTo>
                  <a:lnTo>
                    <a:pt x="506" y="102"/>
                  </a:lnTo>
                  <a:lnTo>
                    <a:pt x="508" y="100"/>
                  </a:lnTo>
                  <a:lnTo>
                    <a:pt x="508" y="100"/>
                  </a:lnTo>
                  <a:lnTo>
                    <a:pt x="508" y="98"/>
                  </a:lnTo>
                  <a:lnTo>
                    <a:pt x="508" y="96"/>
                  </a:lnTo>
                  <a:lnTo>
                    <a:pt x="500" y="86"/>
                  </a:lnTo>
                  <a:lnTo>
                    <a:pt x="500" y="82"/>
                  </a:lnTo>
                  <a:lnTo>
                    <a:pt x="506" y="82"/>
                  </a:lnTo>
                  <a:lnTo>
                    <a:pt x="506" y="82"/>
                  </a:lnTo>
                  <a:lnTo>
                    <a:pt x="508" y="80"/>
                  </a:lnTo>
                  <a:lnTo>
                    <a:pt x="508" y="78"/>
                  </a:lnTo>
                  <a:lnTo>
                    <a:pt x="508" y="58"/>
                  </a:lnTo>
                  <a:lnTo>
                    <a:pt x="508" y="58"/>
                  </a:lnTo>
                  <a:lnTo>
                    <a:pt x="508" y="56"/>
                  </a:lnTo>
                  <a:lnTo>
                    <a:pt x="506" y="56"/>
                  </a:lnTo>
                  <a:lnTo>
                    <a:pt x="504" y="56"/>
                  </a:lnTo>
                  <a:lnTo>
                    <a:pt x="504" y="58"/>
                  </a:lnTo>
                  <a:lnTo>
                    <a:pt x="498" y="50"/>
                  </a:lnTo>
                  <a:lnTo>
                    <a:pt x="498" y="50"/>
                  </a:lnTo>
                  <a:lnTo>
                    <a:pt x="496" y="48"/>
                  </a:lnTo>
                  <a:lnTo>
                    <a:pt x="496" y="48"/>
                  </a:lnTo>
                  <a:lnTo>
                    <a:pt x="494" y="50"/>
                  </a:lnTo>
                  <a:lnTo>
                    <a:pt x="484" y="68"/>
                  </a:lnTo>
                  <a:lnTo>
                    <a:pt x="486" y="70"/>
                  </a:lnTo>
                  <a:lnTo>
                    <a:pt x="486" y="70"/>
                  </a:lnTo>
                  <a:lnTo>
                    <a:pt x="486" y="70"/>
                  </a:lnTo>
                  <a:lnTo>
                    <a:pt x="484" y="70"/>
                  </a:lnTo>
                  <a:lnTo>
                    <a:pt x="494" y="90"/>
                  </a:lnTo>
                  <a:close/>
                  <a:moveTo>
                    <a:pt x="486" y="132"/>
                  </a:moveTo>
                  <a:lnTo>
                    <a:pt x="468" y="132"/>
                  </a:lnTo>
                  <a:lnTo>
                    <a:pt x="468" y="136"/>
                  </a:lnTo>
                  <a:lnTo>
                    <a:pt x="466" y="138"/>
                  </a:lnTo>
                  <a:lnTo>
                    <a:pt x="484" y="156"/>
                  </a:lnTo>
                  <a:lnTo>
                    <a:pt x="484" y="156"/>
                  </a:lnTo>
                  <a:lnTo>
                    <a:pt x="488" y="156"/>
                  </a:lnTo>
                  <a:lnTo>
                    <a:pt x="488" y="156"/>
                  </a:lnTo>
                  <a:lnTo>
                    <a:pt x="490" y="154"/>
                  </a:lnTo>
                  <a:lnTo>
                    <a:pt x="490" y="136"/>
                  </a:lnTo>
                  <a:lnTo>
                    <a:pt x="490" y="136"/>
                  </a:lnTo>
                  <a:lnTo>
                    <a:pt x="488" y="134"/>
                  </a:lnTo>
                  <a:lnTo>
                    <a:pt x="486" y="132"/>
                  </a:lnTo>
                  <a:lnTo>
                    <a:pt x="486" y="132"/>
                  </a:lnTo>
                  <a:close/>
                  <a:moveTo>
                    <a:pt x="544" y="146"/>
                  </a:moveTo>
                  <a:lnTo>
                    <a:pt x="544" y="146"/>
                  </a:lnTo>
                  <a:lnTo>
                    <a:pt x="546" y="146"/>
                  </a:lnTo>
                  <a:lnTo>
                    <a:pt x="546" y="144"/>
                  </a:lnTo>
                  <a:lnTo>
                    <a:pt x="546" y="144"/>
                  </a:lnTo>
                  <a:lnTo>
                    <a:pt x="548" y="142"/>
                  </a:lnTo>
                  <a:lnTo>
                    <a:pt x="546" y="142"/>
                  </a:lnTo>
                  <a:lnTo>
                    <a:pt x="536" y="132"/>
                  </a:lnTo>
                  <a:lnTo>
                    <a:pt x="528" y="122"/>
                  </a:lnTo>
                  <a:lnTo>
                    <a:pt x="528" y="122"/>
                  </a:lnTo>
                  <a:lnTo>
                    <a:pt x="524" y="122"/>
                  </a:lnTo>
                  <a:lnTo>
                    <a:pt x="504" y="122"/>
                  </a:lnTo>
                  <a:lnTo>
                    <a:pt x="504" y="122"/>
                  </a:lnTo>
                  <a:lnTo>
                    <a:pt x="500" y="122"/>
                  </a:lnTo>
                  <a:lnTo>
                    <a:pt x="492" y="132"/>
                  </a:lnTo>
                  <a:lnTo>
                    <a:pt x="494" y="134"/>
                  </a:lnTo>
                  <a:lnTo>
                    <a:pt x="494" y="138"/>
                  </a:lnTo>
                  <a:lnTo>
                    <a:pt x="544" y="146"/>
                  </a:ln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03" name="Freeform 140"/>
            <p:cNvSpPr>
              <a:spLocks/>
            </p:cNvSpPr>
            <p:nvPr>
              <p:custDataLst>
                <p:tags r:id="rId162"/>
              </p:custDataLst>
            </p:nvPr>
          </p:nvSpPr>
          <p:spPr bwMode="gray">
            <a:xfrm>
              <a:off x="2551248" y="3011877"/>
              <a:ext cx="46613" cy="52563"/>
            </a:xfrm>
            <a:custGeom>
              <a:avLst/>
              <a:gdLst>
                <a:gd name="T0" fmla="*/ 16 w 47"/>
                <a:gd name="T1" fmla="*/ 18 h 54"/>
                <a:gd name="T2" fmla="*/ 12 w 47"/>
                <a:gd name="T3" fmla="*/ 50 h 54"/>
                <a:gd name="T4" fmla="*/ 26 w 47"/>
                <a:gd name="T5" fmla="*/ 54 h 54"/>
                <a:gd name="T6" fmla="*/ 44 w 47"/>
                <a:gd name="T7" fmla="*/ 46 h 54"/>
                <a:gd name="T8" fmla="*/ 44 w 47"/>
                <a:gd name="T9" fmla="*/ 30 h 54"/>
                <a:gd name="T10" fmla="*/ 39 w 47"/>
                <a:gd name="T11" fmla="*/ 9 h 54"/>
                <a:gd name="T12" fmla="*/ 16 w 47"/>
                <a:gd name="T13" fmla="*/ 18 h 54"/>
              </a:gdLst>
              <a:ahLst/>
              <a:cxnLst>
                <a:cxn ang="0">
                  <a:pos x="T0" y="T1"/>
                </a:cxn>
                <a:cxn ang="0">
                  <a:pos x="T2" y="T3"/>
                </a:cxn>
                <a:cxn ang="0">
                  <a:pos x="T4" y="T5"/>
                </a:cxn>
                <a:cxn ang="0">
                  <a:pos x="T6" y="T7"/>
                </a:cxn>
                <a:cxn ang="0">
                  <a:pos x="T8" y="T9"/>
                </a:cxn>
                <a:cxn ang="0">
                  <a:pos x="T10" y="T11"/>
                </a:cxn>
                <a:cxn ang="0">
                  <a:pos x="T12" y="T13"/>
                </a:cxn>
              </a:cxnLst>
              <a:rect l="0" t="0" r="r" b="b"/>
              <a:pathLst>
                <a:path w="47" h="54">
                  <a:moveTo>
                    <a:pt x="16" y="18"/>
                  </a:moveTo>
                  <a:cubicBezTo>
                    <a:pt x="3" y="22"/>
                    <a:pt x="0" y="42"/>
                    <a:pt x="12" y="50"/>
                  </a:cubicBezTo>
                  <a:cubicBezTo>
                    <a:pt x="16" y="53"/>
                    <a:pt x="21" y="52"/>
                    <a:pt x="26" y="54"/>
                  </a:cubicBezTo>
                  <a:cubicBezTo>
                    <a:pt x="40" y="49"/>
                    <a:pt x="34" y="52"/>
                    <a:pt x="44" y="46"/>
                  </a:cubicBezTo>
                  <a:cubicBezTo>
                    <a:pt x="47" y="42"/>
                    <a:pt x="45" y="36"/>
                    <a:pt x="44" y="30"/>
                  </a:cubicBezTo>
                  <a:cubicBezTo>
                    <a:pt x="43" y="24"/>
                    <a:pt x="44" y="11"/>
                    <a:pt x="39" y="9"/>
                  </a:cubicBezTo>
                  <a:cubicBezTo>
                    <a:pt x="36" y="0"/>
                    <a:pt x="25" y="15"/>
                    <a:pt x="16" y="18"/>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04" name="Freeform 248"/>
            <p:cNvSpPr>
              <a:spLocks/>
            </p:cNvSpPr>
            <p:nvPr>
              <p:custDataLst>
                <p:tags r:id="rId163"/>
              </p:custDataLst>
            </p:nvPr>
          </p:nvSpPr>
          <p:spPr bwMode="gray">
            <a:xfrm>
              <a:off x="2505627" y="2968240"/>
              <a:ext cx="59505" cy="20826"/>
            </a:xfrm>
            <a:custGeom>
              <a:avLst/>
              <a:gdLst>
                <a:gd name="T0" fmla="*/ 0 w 60"/>
                <a:gd name="T1" fmla="*/ 9 h 22"/>
                <a:gd name="T2" fmla="*/ 27 w 60"/>
                <a:gd name="T3" fmla="*/ 9 h 22"/>
                <a:gd name="T4" fmla="*/ 39 w 60"/>
                <a:gd name="T5" fmla="*/ 8 h 22"/>
                <a:gd name="T6" fmla="*/ 48 w 60"/>
                <a:gd name="T7" fmla="*/ 0 h 22"/>
                <a:gd name="T8" fmla="*/ 60 w 60"/>
                <a:gd name="T9" fmla="*/ 9 h 22"/>
                <a:gd name="T10" fmla="*/ 49 w 60"/>
                <a:gd name="T11" fmla="*/ 19 h 22"/>
                <a:gd name="T12" fmla="*/ 40 w 60"/>
                <a:gd name="T13" fmla="*/ 16 h 22"/>
                <a:gd name="T14" fmla="*/ 30 w 60"/>
                <a:gd name="T15" fmla="*/ 22 h 22"/>
                <a:gd name="T16" fmla="*/ 3 w 60"/>
                <a:gd name="T17" fmla="*/ 21 h 22"/>
                <a:gd name="T18" fmla="*/ 0 w 60"/>
                <a:gd name="T19"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22">
                  <a:moveTo>
                    <a:pt x="0" y="9"/>
                  </a:moveTo>
                  <a:lnTo>
                    <a:pt x="27" y="9"/>
                  </a:lnTo>
                  <a:lnTo>
                    <a:pt x="39" y="8"/>
                  </a:lnTo>
                  <a:lnTo>
                    <a:pt x="48" y="0"/>
                  </a:lnTo>
                  <a:lnTo>
                    <a:pt x="60" y="9"/>
                  </a:lnTo>
                  <a:lnTo>
                    <a:pt x="49" y="19"/>
                  </a:lnTo>
                  <a:lnTo>
                    <a:pt x="40" y="16"/>
                  </a:lnTo>
                  <a:lnTo>
                    <a:pt x="30" y="22"/>
                  </a:lnTo>
                  <a:lnTo>
                    <a:pt x="3" y="21"/>
                  </a:lnTo>
                  <a:lnTo>
                    <a:pt x="0" y="9"/>
                  </a:ln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05" name="Freeform 249"/>
            <p:cNvSpPr>
              <a:spLocks/>
            </p:cNvSpPr>
            <p:nvPr>
              <p:custDataLst>
                <p:tags r:id="rId164"/>
              </p:custDataLst>
            </p:nvPr>
          </p:nvSpPr>
          <p:spPr bwMode="gray">
            <a:xfrm>
              <a:off x="2506619" y="2985100"/>
              <a:ext cx="47604" cy="28760"/>
            </a:xfrm>
            <a:custGeom>
              <a:avLst/>
              <a:gdLst>
                <a:gd name="T0" fmla="*/ 0 w 48"/>
                <a:gd name="T1" fmla="*/ 23 h 29"/>
                <a:gd name="T2" fmla="*/ 21 w 48"/>
                <a:gd name="T3" fmla="*/ 29 h 29"/>
                <a:gd name="T4" fmla="*/ 30 w 48"/>
                <a:gd name="T5" fmla="*/ 21 h 29"/>
                <a:gd name="T6" fmla="*/ 48 w 48"/>
                <a:gd name="T7" fmla="*/ 0 h 29"/>
                <a:gd name="T8" fmla="*/ 26 w 48"/>
                <a:gd name="T9" fmla="*/ 3 h 29"/>
                <a:gd name="T10" fmla="*/ 3 w 48"/>
                <a:gd name="T11" fmla="*/ 3 h 29"/>
                <a:gd name="T12" fmla="*/ 2 w 48"/>
                <a:gd name="T13" fmla="*/ 14 h 29"/>
                <a:gd name="T14" fmla="*/ 0 w 48"/>
                <a:gd name="T15" fmla="*/ 23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23"/>
                  </a:moveTo>
                  <a:lnTo>
                    <a:pt x="21" y="29"/>
                  </a:lnTo>
                  <a:lnTo>
                    <a:pt x="30" y="21"/>
                  </a:lnTo>
                  <a:lnTo>
                    <a:pt x="48" y="0"/>
                  </a:lnTo>
                  <a:lnTo>
                    <a:pt x="26" y="3"/>
                  </a:lnTo>
                  <a:lnTo>
                    <a:pt x="3" y="3"/>
                  </a:lnTo>
                  <a:lnTo>
                    <a:pt x="2" y="14"/>
                  </a:lnTo>
                  <a:lnTo>
                    <a:pt x="0" y="23"/>
                  </a:ln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06" name="Freeform 250"/>
            <p:cNvSpPr>
              <a:spLocks/>
            </p:cNvSpPr>
            <p:nvPr>
              <p:custDataLst>
                <p:tags r:id="rId165"/>
              </p:custDataLst>
            </p:nvPr>
          </p:nvSpPr>
          <p:spPr bwMode="gray">
            <a:xfrm>
              <a:off x="2502652" y="2925595"/>
              <a:ext cx="78349" cy="67439"/>
            </a:xfrm>
            <a:custGeom>
              <a:avLst/>
              <a:gdLst>
                <a:gd name="T0" fmla="*/ 10 w 79"/>
                <a:gd name="T1" fmla="*/ 4 h 69"/>
                <a:gd name="T2" fmla="*/ 27 w 79"/>
                <a:gd name="T3" fmla="*/ 0 h 69"/>
                <a:gd name="T4" fmla="*/ 55 w 79"/>
                <a:gd name="T5" fmla="*/ 10 h 69"/>
                <a:gd name="T6" fmla="*/ 63 w 79"/>
                <a:gd name="T7" fmla="*/ 21 h 69"/>
                <a:gd name="T8" fmla="*/ 79 w 79"/>
                <a:gd name="T9" fmla="*/ 22 h 69"/>
                <a:gd name="T10" fmla="*/ 79 w 79"/>
                <a:gd name="T11" fmla="*/ 51 h 69"/>
                <a:gd name="T12" fmla="*/ 79 w 79"/>
                <a:gd name="T13" fmla="*/ 69 h 69"/>
                <a:gd name="T14" fmla="*/ 66 w 79"/>
                <a:gd name="T15" fmla="*/ 64 h 69"/>
                <a:gd name="T16" fmla="*/ 57 w 79"/>
                <a:gd name="T17" fmla="*/ 58 h 69"/>
                <a:gd name="T18" fmla="*/ 4 w 79"/>
                <a:gd name="T19" fmla="*/ 67 h 69"/>
                <a:gd name="T20" fmla="*/ 22 w 79"/>
                <a:gd name="T21" fmla="*/ 63 h 69"/>
                <a:gd name="T22" fmla="*/ 46 w 79"/>
                <a:gd name="T23" fmla="*/ 61 h 69"/>
                <a:gd name="T24" fmla="*/ 60 w 79"/>
                <a:gd name="T25" fmla="*/ 54 h 69"/>
                <a:gd name="T26" fmla="*/ 51 w 79"/>
                <a:gd name="T27" fmla="*/ 43 h 69"/>
                <a:gd name="T28" fmla="*/ 42 w 79"/>
                <a:gd name="T29" fmla="*/ 52 h 69"/>
                <a:gd name="T30" fmla="*/ 1 w 79"/>
                <a:gd name="T31" fmla="*/ 54 h 69"/>
                <a:gd name="T32" fmla="*/ 0 w 79"/>
                <a:gd name="T33" fmla="*/ 28 h 69"/>
                <a:gd name="T34" fmla="*/ 6 w 79"/>
                <a:gd name="T35" fmla="*/ 16 h 69"/>
                <a:gd name="T36" fmla="*/ 10 w 79"/>
                <a:gd name="T37"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 h="69">
                  <a:moveTo>
                    <a:pt x="10" y="4"/>
                  </a:moveTo>
                  <a:lnTo>
                    <a:pt x="27" y="0"/>
                  </a:lnTo>
                  <a:lnTo>
                    <a:pt x="55" y="10"/>
                  </a:lnTo>
                  <a:lnTo>
                    <a:pt x="63" y="21"/>
                  </a:lnTo>
                  <a:lnTo>
                    <a:pt x="79" y="22"/>
                  </a:lnTo>
                  <a:lnTo>
                    <a:pt x="79" y="51"/>
                  </a:lnTo>
                  <a:lnTo>
                    <a:pt x="79" y="69"/>
                  </a:lnTo>
                  <a:lnTo>
                    <a:pt x="66" y="64"/>
                  </a:lnTo>
                  <a:lnTo>
                    <a:pt x="57" y="58"/>
                  </a:lnTo>
                  <a:lnTo>
                    <a:pt x="4" y="67"/>
                  </a:lnTo>
                  <a:lnTo>
                    <a:pt x="22" y="63"/>
                  </a:lnTo>
                  <a:lnTo>
                    <a:pt x="46" y="61"/>
                  </a:lnTo>
                  <a:lnTo>
                    <a:pt x="60" y="54"/>
                  </a:lnTo>
                  <a:lnTo>
                    <a:pt x="51" y="43"/>
                  </a:lnTo>
                  <a:lnTo>
                    <a:pt x="42" y="52"/>
                  </a:lnTo>
                  <a:lnTo>
                    <a:pt x="1" y="54"/>
                  </a:lnTo>
                  <a:lnTo>
                    <a:pt x="0" y="28"/>
                  </a:lnTo>
                  <a:lnTo>
                    <a:pt x="6" y="16"/>
                  </a:lnTo>
                  <a:lnTo>
                    <a:pt x="10" y="4"/>
                  </a:ln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07" name="Freeform 206"/>
            <p:cNvSpPr/>
            <p:nvPr/>
          </p:nvSpPr>
          <p:spPr>
            <a:xfrm>
              <a:off x="2642975" y="2012661"/>
              <a:ext cx="19350" cy="30907"/>
            </a:xfrm>
            <a:custGeom>
              <a:avLst/>
              <a:gdLst>
                <a:gd name="connsiteX0" fmla="*/ 0 w 45244"/>
                <a:gd name="connsiteY0" fmla="*/ 23812 h 23812"/>
                <a:gd name="connsiteX1" fmla="*/ 45244 w 45244"/>
                <a:gd name="connsiteY1" fmla="*/ 0 h 23812"/>
                <a:gd name="connsiteX2" fmla="*/ 0 w 45244"/>
                <a:gd name="connsiteY2" fmla="*/ 23812 h 23812"/>
                <a:gd name="connsiteX0" fmla="*/ 0 w 23813"/>
                <a:gd name="connsiteY0" fmla="*/ 0 h 33338"/>
                <a:gd name="connsiteX1" fmla="*/ 23813 w 23813"/>
                <a:gd name="connsiteY1" fmla="*/ 33338 h 33338"/>
                <a:gd name="connsiteX2" fmla="*/ 0 w 23813"/>
                <a:gd name="connsiteY2" fmla="*/ 0 h 33338"/>
                <a:gd name="connsiteX0" fmla="*/ 0 w 35942"/>
                <a:gd name="connsiteY0" fmla="*/ 1209 h 55714"/>
                <a:gd name="connsiteX1" fmla="*/ 23813 w 35942"/>
                <a:gd name="connsiteY1" fmla="*/ 34547 h 55714"/>
                <a:gd name="connsiteX2" fmla="*/ 0 w 35942"/>
                <a:gd name="connsiteY2" fmla="*/ 1209 h 55714"/>
                <a:gd name="connsiteX0" fmla="*/ 262 w 24331"/>
                <a:gd name="connsiteY0" fmla="*/ 11 h 35874"/>
                <a:gd name="connsiteX1" fmla="*/ 24075 w 24331"/>
                <a:gd name="connsiteY1" fmla="*/ 33349 h 35874"/>
                <a:gd name="connsiteX2" fmla="*/ 12116 w 24331"/>
                <a:gd name="connsiteY2" fmla="*/ 29784 h 35874"/>
                <a:gd name="connsiteX3" fmla="*/ 262 w 24331"/>
                <a:gd name="connsiteY3" fmla="*/ 11 h 35874"/>
                <a:gd name="connsiteX0" fmla="*/ 639 w 34065"/>
                <a:gd name="connsiteY0" fmla="*/ 1389 h 36767"/>
                <a:gd name="connsiteX1" fmla="*/ 33087 w 34065"/>
                <a:gd name="connsiteY1" fmla="*/ 7946 h 36767"/>
                <a:gd name="connsiteX2" fmla="*/ 24452 w 34065"/>
                <a:gd name="connsiteY2" fmla="*/ 34727 h 36767"/>
                <a:gd name="connsiteX3" fmla="*/ 12493 w 34065"/>
                <a:gd name="connsiteY3" fmla="*/ 31162 h 36767"/>
                <a:gd name="connsiteX4" fmla="*/ 639 w 34065"/>
                <a:gd name="connsiteY4" fmla="*/ 1389 h 36767"/>
                <a:gd name="connsiteX0" fmla="*/ 639 w 35387"/>
                <a:gd name="connsiteY0" fmla="*/ 1389 h 44263"/>
                <a:gd name="connsiteX1" fmla="*/ 33087 w 35387"/>
                <a:gd name="connsiteY1" fmla="*/ 7946 h 44263"/>
                <a:gd name="connsiteX2" fmla="*/ 31940 w 35387"/>
                <a:gd name="connsiteY2" fmla="*/ 43432 h 44263"/>
                <a:gd name="connsiteX3" fmla="*/ 12493 w 35387"/>
                <a:gd name="connsiteY3" fmla="*/ 31162 h 44263"/>
                <a:gd name="connsiteX4" fmla="*/ 639 w 35387"/>
                <a:gd name="connsiteY4" fmla="*/ 1389 h 44263"/>
                <a:gd name="connsiteX0" fmla="*/ 639 w 35118"/>
                <a:gd name="connsiteY0" fmla="*/ 1389 h 60290"/>
                <a:gd name="connsiteX1" fmla="*/ 33087 w 35118"/>
                <a:gd name="connsiteY1" fmla="*/ 7946 h 60290"/>
                <a:gd name="connsiteX2" fmla="*/ 31940 w 35118"/>
                <a:gd name="connsiteY2" fmla="*/ 43432 h 60290"/>
                <a:gd name="connsiteX3" fmla="*/ 18293 w 35118"/>
                <a:gd name="connsiteY3" fmla="*/ 60021 h 60290"/>
                <a:gd name="connsiteX4" fmla="*/ 12493 w 35118"/>
                <a:gd name="connsiteY4" fmla="*/ 31162 h 60290"/>
                <a:gd name="connsiteX5" fmla="*/ 639 w 35118"/>
                <a:gd name="connsiteY5" fmla="*/ 1389 h 60290"/>
                <a:gd name="connsiteX0" fmla="*/ 6372 w 24002"/>
                <a:gd name="connsiteY0" fmla="*/ 12252 h 53744"/>
                <a:gd name="connsiteX1" fmla="*/ 21971 w 24002"/>
                <a:gd name="connsiteY1" fmla="*/ 1398 h 53744"/>
                <a:gd name="connsiteX2" fmla="*/ 20824 w 24002"/>
                <a:gd name="connsiteY2" fmla="*/ 36884 h 53744"/>
                <a:gd name="connsiteX3" fmla="*/ 7177 w 24002"/>
                <a:gd name="connsiteY3" fmla="*/ 53473 h 53744"/>
                <a:gd name="connsiteX4" fmla="*/ 1377 w 24002"/>
                <a:gd name="connsiteY4" fmla="*/ 24614 h 53744"/>
                <a:gd name="connsiteX5" fmla="*/ 6372 w 24002"/>
                <a:gd name="connsiteY5" fmla="*/ 12252 h 53744"/>
                <a:gd name="connsiteX0" fmla="*/ 4848 w 24350"/>
                <a:gd name="connsiteY0" fmla="*/ 1388 h 60289"/>
                <a:gd name="connsiteX1" fmla="*/ 22319 w 24350"/>
                <a:gd name="connsiteY1" fmla="*/ 7944 h 60289"/>
                <a:gd name="connsiteX2" fmla="*/ 21172 w 24350"/>
                <a:gd name="connsiteY2" fmla="*/ 43430 h 60289"/>
                <a:gd name="connsiteX3" fmla="*/ 7525 w 24350"/>
                <a:gd name="connsiteY3" fmla="*/ 60019 h 60289"/>
                <a:gd name="connsiteX4" fmla="*/ 1725 w 24350"/>
                <a:gd name="connsiteY4" fmla="*/ 31160 h 60289"/>
                <a:gd name="connsiteX5" fmla="*/ 4848 w 24350"/>
                <a:gd name="connsiteY5" fmla="*/ 1388 h 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50" h="60289">
                  <a:moveTo>
                    <a:pt x="4848" y="1388"/>
                  </a:moveTo>
                  <a:cubicBezTo>
                    <a:pt x="8280" y="-2481"/>
                    <a:pt x="18350" y="2388"/>
                    <a:pt x="22319" y="7944"/>
                  </a:cubicBezTo>
                  <a:cubicBezTo>
                    <a:pt x="26288" y="13500"/>
                    <a:pt x="23638" y="34751"/>
                    <a:pt x="21172" y="43430"/>
                  </a:cubicBezTo>
                  <a:cubicBezTo>
                    <a:pt x="18706" y="52109"/>
                    <a:pt x="10766" y="62064"/>
                    <a:pt x="7525" y="60019"/>
                  </a:cubicBezTo>
                  <a:cubicBezTo>
                    <a:pt x="4284" y="57974"/>
                    <a:pt x="4667" y="38030"/>
                    <a:pt x="1725" y="31160"/>
                  </a:cubicBezTo>
                  <a:cubicBezTo>
                    <a:pt x="-2244" y="25604"/>
                    <a:pt x="1416" y="5257"/>
                    <a:pt x="4848" y="1388"/>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chemeClr val="tx1"/>
                </a:solidFill>
                <a:latin typeface="Arial" charset="0"/>
              </a:endParaRPr>
            </a:p>
          </p:txBody>
        </p:sp>
        <p:sp>
          <p:nvSpPr>
            <p:cNvPr id="208" name="Freeform 244"/>
            <p:cNvSpPr>
              <a:spLocks/>
            </p:cNvSpPr>
            <p:nvPr>
              <p:custDataLst>
                <p:tags r:id="rId166"/>
              </p:custDataLst>
            </p:nvPr>
          </p:nvSpPr>
          <p:spPr bwMode="gray">
            <a:xfrm>
              <a:off x="2619679" y="2057906"/>
              <a:ext cx="154713" cy="285035"/>
            </a:xfrm>
            <a:custGeom>
              <a:avLst/>
              <a:gdLst>
                <a:gd name="connsiteX0" fmla="*/ 23812 w 247650"/>
                <a:gd name="connsiteY0" fmla="*/ 317472 h 526236"/>
                <a:gd name="connsiteX1" fmla="*/ 60325 w 247650"/>
                <a:gd name="connsiteY1" fmla="*/ 336156 h 526236"/>
                <a:gd name="connsiteX2" fmla="*/ 66675 w 247650"/>
                <a:gd name="connsiteY2" fmla="*/ 350169 h 526236"/>
                <a:gd name="connsiteX3" fmla="*/ 77787 w 247650"/>
                <a:gd name="connsiteY3" fmla="*/ 384422 h 526236"/>
                <a:gd name="connsiteX4" fmla="*/ 52387 w 247650"/>
                <a:gd name="connsiteY4" fmla="*/ 395321 h 526236"/>
                <a:gd name="connsiteX5" fmla="*/ 20637 w 247650"/>
                <a:gd name="connsiteY5" fmla="*/ 389093 h 526236"/>
                <a:gd name="connsiteX6" fmla="*/ 0 w 247650"/>
                <a:gd name="connsiteY6" fmla="*/ 370409 h 526236"/>
                <a:gd name="connsiteX7" fmla="*/ 4762 w 247650"/>
                <a:gd name="connsiteY7" fmla="*/ 351726 h 526236"/>
                <a:gd name="connsiteX8" fmla="*/ 23812 w 247650"/>
                <a:gd name="connsiteY8" fmla="*/ 317472 h 526236"/>
                <a:gd name="connsiteX9" fmla="*/ 147637 w 247650"/>
                <a:gd name="connsiteY9" fmla="*/ 143069 h 526236"/>
                <a:gd name="connsiteX10" fmla="*/ 150812 w 247650"/>
                <a:gd name="connsiteY10" fmla="*/ 181947 h 526236"/>
                <a:gd name="connsiteX11" fmla="*/ 122237 w 247650"/>
                <a:gd name="connsiteY11" fmla="*/ 219269 h 526236"/>
                <a:gd name="connsiteX12" fmla="*/ 174625 w 247650"/>
                <a:gd name="connsiteY12" fmla="*/ 228600 h 526236"/>
                <a:gd name="connsiteX13" fmla="*/ 152400 w 247650"/>
                <a:gd name="connsiteY13" fmla="*/ 275253 h 526236"/>
                <a:gd name="connsiteX14" fmla="*/ 161925 w 247650"/>
                <a:gd name="connsiteY14" fmla="*/ 298580 h 526236"/>
                <a:gd name="connsiteX15" fmla="*/ 174625 w 247650"/>
                <a:gd name="connsiteY15" fmla="*/ 320351 h 526236"/>
                <a:gd name="connsiteX16" fmla="*/ 185738 w 247650"/>
                <a:gd name="connsiteY16" fmla="*/ 345233 h 526236"/>
                <a:gd name="connsiteX17" fmla="*/ 214313 w 247650"/>
                <a:gd name="connsiteY17" fmla="*/ 377890 h 526236"/>
                <a:gd name="connsiteX18" fmla="*/ 223838 w 247650"/>
                <a:gd name="connsiteY18" fmla="*/ 405882 h 526236"/>
                <a:gd name="connsiteX19" fmla="*/ 247650 w 247650"/>
                <a:gd name="connsiteY19" fmla="*/ 450980 h 526236"/>
                <a:gd name="connsiteX20" fmla="*/ 219075 w 247650"/>
                <a:gd name="connsiteY20" fmla="*/ 469641 h 526236"/>
                <a:gd name="connsiteX21" fmla="*/ 236538 w 247650"/>
                <a:gd name="connsiteY21" fmla="*/ 492968 h 526236"/>
                <a:gd name="connsiteX22" fmla="*/ 204788 w 247650"/>
                <a:gd name="connsiteY22" fmla="*/ 499188 h 526236"/>
                <a:gd name="connsiteX23" fmla="*/ 150812 w 247650"/>
                <a:gd name="connsiteY23" fmla="*/ 502298 h 526236"/>
                <a:gd name="connsiteX24" fmla="*/ 127000 w 247650"/>
                <a:gd name="connsiteY24" fmla="*/ 513184 h 526236"/>
                <a:gd name="connsiteX25" fmla="*/ 98425 w 247650"/>
                <a:gd name="connsiteY25" fmla="*/ 520959 h 526236"/>
                <a:gd name="connsiteX26" fmla="*/ 76200 w 247650"/>
                <a:gd name="connsiteY26" fmla="*/ 522515 h 526236"/>
                <a:gd name="connsiteX27" fmla="*/ 61912 w 247650"/>
                <a:gd name="connsiteY27" fmla="*/ 520959 h 526236"/>
                <a:gd name="connsiteX28" fmla="*/ 69850 w 247650"/>
                <a:gd name="connsiteY28" fmla="*/ 517849 h 526236"/>
                <a:gd name="connsiteX29" fmla="*/ 98425 w 247650"/>
                <a:gd name="connsiteY29" fmla="*/ 494523 h 526236"/>
                <a:gd name="connsiteX30" fmla="*/ 112712 w 247650"/>
                <a:gd name="connsiteY30" fmla="*/ 466531 h 526236"/>
                <a:gd name="connsiteX31" fmla="*/ 93662 w 247650"/>
                <a:gd name="connsiteY31" fmla="*/ 446314 h 526236"/>
                <a:gd name="connsiteX32" fmla="*/ 107950 w 247650"/>
                <a:gd name="connsiteY32" fmla="*/ 413657 h 526236"/>
                <a:gd name="connsiteX33" fmla="*/ 104824 w 247650"/>
                <a:gd name="connsiteY33" fmla="*/ 405857 h 526236"/>
                <a:gd name="connsiteX34" fmla="*/ 136525 w 247650"/>
                <a:gd name="connsiteY34" fmla="*/ 404327 h 526236"/>
                <a:gd name="connsiteX35" fmla="*/ 138112 w 247650"/>
                <a:gd name="connsiteY35" fmla="*/ 371669 h 526236"/>
                <a:gd name="connsiteX36" fmla="*/ 127000 w 247650"/>
                <a:gd name="connsiteY36" fmla="*/ 348343 h 526236"/>
                <a:gd name="connsiteX37" fmla="*/ 128587 w 247650"/>
                <a:gd name="connsiteY37" fmla="*/ 335902 h 526236"/>
                <a:gd name="connsiteX38" fmla="*/ 90487 w 247650"/>
                <a:gd name="connsiteY38" fmla="*/ 329682 h 526236"/>
                <a:gd name="connsiteX39" fmla="*/ 60325 w 247650"/>
                <a:gd name="connsiteY39" fmla="*/ 284584 h 526236"/>
                <a:gd name="connsiteX40" fmla="*/ 61912 w 247650"/>
                <a:gd name="connsiteY40" fmla="*/ 259702 h 526236"/>
                <a:gd name="connsiteX41" fmla="*/ 36512 w 247650"/>
                <a:gd name="connsiteY41" fmla="*/ 241041 h 526236"/>
                <a:gd name="connsiteX42" fmla="*/ 38100 w 247650"/>
                <a:gd name="connsiteY42" fmla="*/ 200608 h 526236"/>
                <a:gd name="connsiteX43" fmla="*/ 61912 w 247650"/>
                <a:gd name="connsiteY43" fmla="*/ 186612 h 526236"/>
                <a:gd name="connsiteX44" fmla="*/ 74191 w 247650"/>
                <a:gd name="connsiteY44" fmla="*/ 210230 h 526236"/>
                <a:gd name="connsiteX45" fmla="*/ 76200 w 247650"/>
                <a:gd name="connsiteY45" fmla="*/ 203718 h 526236"/>
                <a:gd name="connsiteX46" fmla="*/ 104775 w 247650"/>
                <a:gd name="connsiteY46" fmla="*/ 180392 h 526236"/>
                <a:gd name="connsiteX47" fmla="*/ 128587 w 247650"/>
                <a:gd name="connsiteY47" fmla="*/ 161730 h 526236"/>
                <a:gd name="connsiteX48" fmla="*/ 147637 w 247650"/>
                <a:gd name="connsiteY48" fmla="*/ 143069 h 526236"/>
                <a:gd name="connsiteX49" fmla="*/ 195263 w 247650"/>
                <a:gd name="connsiteY49" fmla="*/ 69980 h 526236"/>
                <a:gd name="connsiteX50" fmla="*/ 204788 w 247650"/>
                <a:gd name="connsiteY50" fmla="*/ 88641 h 526236"/>
                <a:gd name="connsiteX51" fmla="*/ 193676 w 247650"/>
                <a:gd name="connsiteY51" fmla="*/ 119743 h 526236"/>
                <a:gd name="connsiteX52" fmla="*/ 179388 w 247650"/>
                <a:gd name="connsiteY52" fmla="*/ 139960 h 526236"/>
                <a:gd name="connsiteX53" fmla="*/ 174625 w 247650"/>
                <a:gd name="connsiteY53" fmla="*/ 147735 h 526236"/>
                <a:gd name="connsiteX54" fmla="*/ 176213 w 247650"/>
                <a:gd name="connsiteY54" fmla="*/ 138404 h 526236"/>
                <a:gd name="connsiteX55" fmla="*/ 179388 w 247650"/>
                <a:gd name="connsiteY55" fmla="*/ 111968 h 526236"/>
                <a:gd name="connsiteX56" fmla="*/ 176213 w 247650"/>
                <a:gd name="connsiteY56" fmla="*/ 83976 h 526236"/>
                <a:gd name="connsiteX57" fmla="*/ 195263 w 247650"/>
                <a:gd name="connsiteY57" fmla="*/ 69980 h 526236"/>
                <a:gd name="connsiteX58" fmla="*/ 46038 w 247650"/>
                <a:gd name="connsiteY58" fmla="*/ 0 h 526236"/>
                <a:gd name="connsiteX59" fmla="*/ 50800 w 247650"/>
                <a:gd name="connsiteY59" fmla="*/ 51318 h 526236"/>
                <a:gd name="connsiteX60" fmla="*/ 44798 w 247650"/>
                <a:gd name="connsiteY60" fmla="*/ 49350 h 526236"/>
                <a:gd name="connsiteX61" fmla="*/ 52388 w 247650"/>
                <a:gd name="connsiteY61" fmla="*/ 37322 h 526236"/>
                <a:gd name="connsiteX62" fmla="*/ 36513 w 247650"/>
                <a:gd name="connsiteY62" fmla="*/ 23326 h 526236"/>
                <a:gd name="connsiteX63" fmla="*/ 46038 w 247650"/>
                <a:gd name="connsiteY63" fmla="*/ 0 h 526236"/>
                <a:gd name="connsiteX0" fmla="*/ 23812 w 247650"/>
                <a:gd name="connsiteY0" fmla="*/ 317472 h 526236"/>
                <a:gd name="connsiteX1" fmla="*/ 60325 w 247650"/>
                <a:gd name="connsiteY1" fmla="*/ 336156 h 526236"/>
                <a:gd name="connsiteX2" fmla="*/ 66675 w 247650"/>
                <a:gd name="connsiteY2" fmla="*/ 350169 h 526236"/>
                <a:gd name="connsiteX3" fmla="*/ 77787 w 247650"/>
                <a:gd name="connsiteY3" fmla="*/ 384422 h 526236"/>
                <a:gd name="connsiteX4" fmla="*/ 52387 w 247650"/>
                <a:gd name="connsiteY4" fmla="*/ 395321 h 526236"/>
                <a:gd name="connsiteX5" fmla="*/ 20637 w 247650"/>
                <a:gd name="connsiteY5" fmla="*/ 389093 h 526236"/>
                <a:gd name="connsiteX6" fmla="*/ 0 w 247650"/>
                <a:gd name="connsiteY6" fmla="*/ 370409 h 526236"/>
                <a:gd name="connsiteX7" fmla="*/ 4762 w 247650"/>
                <a:gd name="connsiteY7" fmla="*/ 351726 h 526236"/>
                <a:gd name="connsiteX8" fmla="*/ 23812 w 247650"/>
                <a:gd name="connsiteY8" fmla="*/ 317472 h 526236"/>
                <a:gd name="connsiteX9" fmla="*/ 147637 w 247650"/>
                <a:gd name="connsiteY9" fmla="*/ 143069 h 526236"/>
                <a:gd name="connsiteX10" fmla="*/ 150812 w 247650"/>
                <a:gd name="connsiteY10" fmla="*/ 181947 h 526236"/>
                <a:gd name="connsiteX11" fmla="*/ 122237 w 247650"/>
                <a:gd name="connsiteY11" fmla="*/ 219269 h 526236"/>
                <a:gd name="connsiteX12" fmla="*/ 174625 w 247650"/>
                <a:gd name="connsiteY12" fmla="*/ 228600 h 526236"/>
                <a:gd name="connsiteX13" fmla="*/ 152400 w 247650"/>
                <a:gd name="connsiteY13" fmla="*/ 275253 h 526236"/>
                <a:gd name="connsiteX14" fmla="*/ 161925 w 247650"/>
                <a:gd name="connsiteY14" fmla="*/ 298580 h 526236"/>
                <a:gd name="connsiteX15" fmla="*/ 174625 w 247650"/>
                <a:gd name="connsiteY15" fmla="*/ 320351 h 526236"/>
                <a:gd name="connsiteX16" fmla="*/ 185738 w 247650"/>
                <a:gd name="connsiteY16" fmla="*/ 345233 h 526236"/>
                <a:gd name="connsiteX17" fmla="*/ 214313 w 247650"/>
                <a:gd name="connsiteY17" fmla="*/ 377890 h 526236"/>
                <a:gd name="connsiteX18" fmla="*/ 223838 w 247650"/>
                <a:gd name="connsiteY18" fmla="*/ 405882 h 526236"/>
                <a:gd name="connsiteX19" fmla="*/ 247650 w 247650"/>
                <a:gd name="connsiteY19" fmla="*/ 450980 h 526236"/>
                <a:gd name="connsiteX20" fmla="*/ 219075 w 247650"/>
                <a:gd name="connsiteY20" fmla="*/ 469641 h 526236"/>
                <a:gd name="connsiteX21" fmla="*/ 236538 w 247650"/>
                <a:gd name="connsiteY21" fmla="*/ 492968 h 526236"/>
                <a:gd name="connsiteX22" fmla="*/ 204788 w 247650"/>
                <a:gd name="connsiteY22" fmla="*/ 499188 h 526236"/>
                <a:gd name="connsiteX23" fmla="*/ 150812 w 247650"/>
                <a:gd name="connsiteY23" fmla="*/ 502298 h 526236"/>
                <a:gd name="connsiteX24" fmla="*/ 127000 w 247650"/>
                <a:gd name="connsiteY24" fmla="*/ 513184 h 526236"/>
                <a:gd name="connsiteX25" fmla="*/ 98425 w 247650"/>
                <a:gd name="connsiteY25" fmla="*/ 520959 h 526236"/>
                <a:gd name="connsiteX26" fmla="*/ 76200 w 247650"/>
                <a:gd name="connsiteY26" fmla="*/ 522515 h 526236"/>
                <a:gd name="connsiteX27" fmla="*/ 61912 w 247650"/>
                <a:gd name="connsiteY27" fmla="*/ 520959 h 526236"/>
                <a:gd name="connsiteX28" fmla="*/ 69850 w 247650"/>
                <a:gd name="connsiteY28" fmla="*/ 517849 h 526236"/>
                <a:gd name="connsiteX29" fmla="*/ 98425 w 247650"/>
                <a:gd name="connsiteY29" fmla="*/ 494523 h 526236"/>
                <a:gd name="connsiteX30" fmla="*/ 112712 w 247650"/>
                <a:gd name="connsiteY30" fmla="*/ 466531 h 526236"/>
                <a:gd name="connsiteX31" fmla="*/ 93662 w 247650"/>
                <a:gd name="connsiteY31" fmla="*/ 446314 h 526236"/>
                <a:gd name="connsiteX32" fmla="*/ 107950 w 247650"/>
                <a:gd name="connsiteY32" fmla="*/ 413657 h 526236"/>
                <a:gd name="connsiteX33" fmla="*/ 104824 w 247650"/>
                <a:gd name="connsiteY33" fmla="*/ 405857 h 526236"/>
                <a:gd name="connsiteX34" fmla="*/ 136525 w 247650"/>
                <a:gd name="connsiteY34" fmla="*/ 404327 h 526236"/>
                <a:gd name="connsiteX35" fmla="*/ 138112 w 247650"/>
                <a:gd name="connsiteY35" fmla="*/ 371669 h 526236"/>
                <a:gd name="connsiteX36" fmla="*/ 127000 w 247650"/>
                <a:gd name="connsiteY36" fmla="*/ 348343 h 526236"/>
                <a:gd name="connsiteX37" fmla="*/ 128587 w 247650"/>
                <a:gd name="connsiteY37" fmla="*/ 335902 h 526236"/>
                <a:gd name="connsiteX38" fmla="*/ 90487 w 247650"/>
                <a:gd name="connsiteY38" fmla="*/ 329682 h 526236"/>
                <a:gd name="connsiteX39" fmla="*/ 60325 w 247650"/>
                <a:gd name="connsiteY39" fmla="*/ 284584 h 526236"/>
                <a:gd name="connsiteX40" fmla="*/ 61912 w 247650"/>
                <a:gd name="connsiteY40" fmla="*/ 259702 h 526236"/>
                <a:gd name="connsiteX41" fmla="*/ 36512 w 247650"/>
                <a:gd name="connsiteY41" fmla="*/ 241041 h 526236"/>
                <a:gd name="connsiteX42" fmla="*/ 38100 w 247650"/>
                <a:gd name="connsiteY42" fmla="*/ 200608 h 526236"/>
                <a:gd name="connsiteX43" fmla="*/ 61912 w 247650"/>
                <a:gd name="connsiteY43" fmla="*/ 186612 h 526236"/>
                <a:gd name="connsiteX44" fmla="*/ 74191 w 247650"/>
                <a:gd name="connsiteY44" fmla="*/ 210230 h 526236"/>
                <a:gd name="connsiteX45" fmla="*/ 76200 w 247650"/>
                <a:gd name="connsiteY45" fmla="*/ 203718 h 526236"/>
                <a:gd name="connsiteX46" fmla="*/ 104775 w 247650"/>
                <a:gd name="connsiteY46" fmla="*/ 180392 h 526236"/>
                <a:gd name="connsiteX47" fmla="*/ 128587 w 247650"/>
                <a:gd name="connsiteY47" fmla="*/ 161730 h 526236"/>
                <a:gd name="connsiteX48" fmla="*/ 147637 w 247650"/>
                <a:gd name="connsiteY48" fmla="*/ 143069 h 526236"/>
                <a:gd name="connsiteX49" fmla="*/ 195263 w 247650"/>
                <a:gd name="connsiteY49" fmla="*/ 69980 h 526236"/>
                <a:gd name="connsiteX50" fmla="*/ 204788 w 247650"/>
                <a:gd name="connsiteY50" fmla="*/ 88641 h 526236"/>
                <a:gd name="connsiteX51" fmla="*/ 193676 w 247650"/>
                <a:gd name="connsiteY51" fmla="*/ 119743 h 526236"/>
                <a:gd name="connsiteX52" fmla="*/ 179388 w 247650"/>
                <a:gd name="connsiteY52" fmla="*/ 139960 h 526236"/>
                <a:gd name="connsiteX53" fmla="*/ 174625 w 247650"/>
                <a:gd name="connsiteY53" fmla="*/ 147735 h 526236"/>
                <a:gd name="connsiteX54" fmla="*/ 176213 w 247650"/>
                <a:gd name="connsiteY54" fmla="*/ 138404 h 526236"/>
                <a:gd name="connsiteX55" fmla="*/ 179388 w 247650"/>
                <a:gd name="connsiteY55" fmla="*/ 111968 h 526236"/>
                <a:gd name="connsiteX56" fmla="*/ 176213 w 247650"/>
                <a:gd name="connsiteY56" fmla="*/ 83976 h 526236"/>
                <a:gd name="connsiteX57" fmla="*/ 195263 w 247650"/>
                <a:gd name="connsiteY57" fmla="*/ 69980 h 526236"/>
                <a:gd name="connsiteX58" fmla="*/ 46038 w 247650"/>
                <a:gd name="connsiteY58" fmla="*/ 0 h 526236"/>
                <a:gd name="connsiteX59" fmla="*/ 50800 w 247650"/>
                <a:gd name="connsiteY59" fmla="*/ 51318 h 526236"/>
                <a:gd name="connsiteX60" fmla="*/ 44798 w 247650"/>
                <a:gd name="connsiteY60" fmla="*/ 49350 h 526236"/>
                <a:gd name="connsiteX61" fmla="*/ 36513 w 247650"/>
                <a:gd name="connsiteY61" fmla="*/ 23326 h 526236"/>
                <a:gd name="connsiteX62" fmla="*/ 46038 w 247650"/>
                <a:gd name="connsiteY62" fmla="*/ 0 h 526236"/>
                <a:gd name="connsiteX0" fmla="*/ 23812 w 247650"/>
                <a:gd name="connsiteY0" fmla="*/ 294146 h 502910"/>
                <a:gd name="connsiteX1" fmla="*/ 60325 w 247650"/>
                <a:gd name="connsiteY1" fmla="*/ 312830 h 502910"/>
                <a:gd name="connsiteX2" fmla="*/ 66675 w 247650"/>
                <a:gd name="connsiteY2" fmla="*/ 326843 h 502910"/>
                <a:gd name="connsiteX3" fmla="*/ 77787 w 247650"/>
                <a:gd name="connsiteY3" fmla="*/ 361096 h 502910"/>
                <a:gd name="connsiteX4" fmla="*/ 52387 w 247650"/>
                <a:gd name="connsiteY4" fmla="*/ 371995 h 502910"/>
                <a:gd name="connsiteX5" fmla="*/ 20637 w 247650"/>
                <a:gd name="connsiteY5" fmla="*/ 365767 h 502910"/>
                <a:gd name="connsiteX6" fmla="*/ 0 w 247650"/>
                <a:gd name="connsiteY6" fmla="*/ 347083 h 502910"/>
                <a:gd name="connsiteX7" fmla="*/ 4762 w 247650"/>
                <a:gd name="connsiteY7" fmla="*/ 328400 h 502910"/>
                <a:gd name="connsiteX8" fmla="*/ 23812 w 247650"/>
                <a:gd name="connsiteY8" fmla="*/ 294146 h 502910"/>
                <a:gd name="connsiteX9" fmla="*/ 147637 w 247650"/>
                <a:gd name="connsiteY9" fmla="*/ 119743 h 502910"/>
                <a:gd name="connsiteX10" fmla="*/ 150812 w 247650"/>
                <a:gd name="connsiteY10" fmla="*/ 158621 h 502910"/>
                <a:gd name="connsiteX11" fmla="*/ 122237 w 247650"/>
                <a:gd name="connsiteY11" fmla="*/ 195943 h 502910"/>
                <a:gd name="connsiteX12" fmla="*/ 174625 w 247650"/>
                <a:gd name="connsiteY12" fmla="*/ 205274 h 502910"/>
                <a:gd name="connsiteX13" fmla="*/ 152400 w 247650"/>
                <a:gd name="connsiteY13" fmla="*/ 251927 h 502910"/>
                <a:gd name="connsiteX14" fmla="*/ 161925 w 247650"/>
                <a:gd name="connsiteY14" fmla="*/ 275254 h 502910"/>
                <a:gd name="connsiteX15" fmla="*/ 174625 w 247650"/>
                <a:gd name="connsiteY15" fmla="*/ 297025 h 502910"/>
                <a:gd name="connsiteX16" fmla="*/ 185738 w 247650"/>
                <a:gd name="connsiteY16" fmla="*/ 321907 h 502910"/>
                <a:gd name="connsiteX17" fmla="*/ 214313 w 247650"/>
                <a:gd name="connsiteY17" fmla="*/ 354564 h 502910"/>
                <a:gd name="connsiteX18" fmla="*/ 223838 w 247650"/>
                <a:gd name="connsiteY18" fmla="*/ 382556 h 502910"/>
                <a:gd name="connsiteX19" fmla="*/ 247650 w 247650"/>
                <a:gd name="connsiteY19" fmla="*/ 427654 h 502910"/>
                <a:gd name="connsiteX20" fmla="*/ 219075 w 247650"/>
                <a:gd name="connsiteY20" fmla="*/ 446315 h 502910"/>
                <a:gd name="connsiteX21" fmla="*/ 236538 w 247650"/>
                <a:gd name="connsiteY21" fmla="*/ 469642 h 502910"/>
                <a:gd name="connsiteX22" fmla="*/ 204788 w 247650"/>
                <a:gd name="connsiteY22" fmla="*/ 475862 h 502910"/>
                <a:gd name="connsiteX23" fmla="*/ 150812 w 247650"/>
                <a:gd name="connsiteY23" fmla="*/ 478972 h 502910"/>
                <a:gd name="connsiteX24" fmla="*/ 127000 w 247650"/>
                <a:gd name="connsiteY24" fmla="*/ 489858 h 502910"/>
                <a:gd name="connsiteX25" fmla="*/ 98425 w 247650"/>
                <a:gd name="connsiteY25" fmla="*/ 497633 h 502910"/>
                <a:gd name="connsiteX26" fmla="*/ 76200 w 247650"/>
                <a:gd name="connsiteY26" fmla="*/ 499189 h 502910"/>
                <a:gd name="connsiteX27" fmla="*/ 61912 w 247650"/>
                <a:gd name="connsiteY27" fmla="*/ 497633 h 502910"/>
                <a:gd name="connsiteX28" fmla="*/ 69850 w 247650"/>
                <a:gd name="connsiteY28" fmla="*/ 494523 h 502910"/>
                <a:gd name="connsiteX29" fmla="*/ 98425 w 247650"/>
                <a:gd name="connsiteY29" fmla="*/ 471197 h 502910"/>
                <a:gd name="connsiteX30" fmla="*/ 112712 w 247650"/>
                <a:gd name="connsiteY30" fmla="*/ 443205 h 502910"/>
                <a:gd name="connsiteX31" fmla="*/ 93662 w 247650"/>
                <a:gd name="connsiteY31" fmla="*/ 422988 h 502910"/>
                <a:gd name="connsiteX32" fmla="*/ 107950 w 247650"/>
                <a:gd name="connsiteY32" fmla="*/ 390331 h 502910"/>
                <a:gd name="connsiteX33" fmla="*/ 104824 w 247650"/>
                <a:gd name="connsiteY33" fmla="*/ 382531 h 502910"/>
                <a:gd name="connsiteX34" fmla="*/ 136525 w 247650"/>
                <a:gd name="connsiteY34" fmla="*/ 381001 h 502910"/>
                <a:gd name="connsiteX35" fmla="*/ 138112 w 247650"/>
                <a:gd name="connsiteY35" fmla="*/ 348343 h 502910"/>
                <a:gd name="connsiteX36" fmla="*/ 127000 w 247650"/>
                <a:gd name="connsiteY36" fmla="*/ 325017 h 502910"/>
                <a:gd name="connsiteX37" fmla="*/ 128587 w 247650"/>
                <a:gd name="connsiteY37" fmla="*/ 312576 h 502910"/>
                <a:gd name="connsiteX38" fmla="*/ 90487 w 247650"/>
                <a:gd name="connsiteY38" fmla="*/ 306356 h 502910"/>
                <a:gd name="connsiteX39" fmla="*/ 60325 w 247650"/>
                <a:gd name="connsiteY39" fmla="*/ 261258 h 502910"/>
                <a:gd name="connsiteX40" fmla="*/ 61912 w 247650"/>
                <a:gd name="connsiteY40" fmla="*/ 236376 h 502910"/>
                <a:gd name="connsiteX41" fmla="*/ 36512 w 247650"/>
                <a:gd name="connsiteY41" fmla="*/ 217715 h 502910"/>
                <a:gd name="connsiteX42" fmla="*/ 38100 w 247650"/>
                <a:gd name="connsiteY42" fmla="*/ 177282 h 502910"/>
                <a:gd name="connsiteX43" fmla="*/ 61912 w 247650"/>
                <a:gd name="connsiteY43" fmla="*/ 163286 h 502910"/>
                <a:gd name="connsiteX44" fmla="*/ 74191 w 247650"/>
                <a:gd name="connsiteY44" fmla="*/ 186904 h 502910"/>
                <a:gd name="connsiteX45" fmla="*/ 76200 w 247650"/>
                <a:gd name="connsiteY45" fmla="*/ 180392 h 502910"/>
                <a:gd name="connsiteX46" fmla="*/ 104775 w 247650"/>
                <a:gd name="connsiteY46" fmla="*/ 157066 h 502910"/>
                <a:gd name="connsiteX47" fmla="*/ 128587 w 247650"/>
                <a:gd name="connsiteY47" fmla="*/ 138404 h 502910"/>
                <a:gd name="connsiteX48" fmla="*/ 147637 w 247650"/>
                <a:gd name="connsiteY48" fmla="*/ 119743 h 502910"/>
                <a:gd name="connsiteX49" fmla="*/ 195263 w 247650"/>
                <a:gd name="connsiteY49" fmla="*/ 46654 h 502910"/>
                <a:gd name="connsiteX50" fmla="*/ 204788 w 247650"/>
                <a:gd name="connsiteY50" fmla="*/ 65315 h 502910"/>
                <a:gd name="connsiteX51" fmla="*/ 193676 w 247650"/>
                <a:gd name="connsiteY51" fmla="*/ 96417 h 502910"/>
                <a:gd name="connsiteX52" fmla="*/ 179388 w 247650"/>
                <a:gd name="connsiteY52" fmla="*/ 116634 h 502910"/>
                <a:gd name="connsiteX53" fmla="*/ 174625 w 247650"/>
                <a:gd name="connsiteY53" fmla="*/ 124409 h 502910"/>
                <a:gd name="connsiteX54" fmla="*/ 176213 w 247650"/>
                <a:gd name="connsiteY54" fmla="*/ 115078 h 502910"/>
                <a:gd name="connsiteX55" fmla="*/ 179388 w 247650"/>
                <a:gd name="connsiteY55" fmla="*/ 88642 h 502910"/>
                <a:gd name="connsiteX56" fmla="*/ 176213 w 247650"/>
                <a:gd name="connsiteY56" fmla="*/ 60650 h 502910"/>
                <a:gd name="connsiteX57" fmla="*/ 195263 w 247650"/>
                <a:gd name="connsiteY57" fmla="*/ 46654 h 502910"/>
                <a:gd name="connsiteX58" fmla="*/ 36513 w 247650"/>
                <a:gd name="connsiteY58" fmla="*/ 0 h 502910"/>
                <a:gd name="connsiteX59" fmla="*/ 50800 w 247650"/>
                <a:gd name="connsiteY59" fmla="*/ 27992 h 502910"/>
                <a:gd name="connsiteX60" fmla="*/ 44798 w 247650"/>
                <a:gd name="connsiteY60" fmla="*/ 26024 h 502910"/>
                <a:gd name="connsiteX61" fmla="*/ 36513 w 247650"/>
                <a:gd name="connsiteY61" fmla="*/ 0 h 502910"/>
                <a:gd name="connsiteX0" fmla="*/ 23812 w 247650"/>
                <a:gd name="connsiteY0" fmla="*/ 294146 h 502910"/>
                <a:gd name="connsiteX1" fmla="*/ 60325 w 247650"/>
                <a:gd name="connsiteY1" fmla="*/ 312830 h 502910"/>
                <a:gd name="connsiteX2" fmla="*/ 66675 w 247650"/>
                <a:gd name="connsiteY2" fmla="*/ 326843 h 502910"/>
                <a:gd name="connsiteX3" fmla="*/ 77787 w 247650"/>
                <a:gd name="connsiteY3" fmla="*/ 361096 h 502910"/>
                <a:gd name="connsiteX4" fmla="*/ 52387 w 247650"/>
                <a:gd name="connsiteY4" fmla="*/ 371995 h 502910"/>
                <a:gd name="connsiteX5" fmla="*/ 20637 w 247650"/>
                <a:gd name="connsiteY5" fmla="*/ 365767 h 502910"/>
                <a:gd name="connsiteX6" fmla="*/ 0 w 247650"/>
                <a:gd name="connsiteY6" fmla="*/ 347083 h 502910"/>
                <a:gd name="connsiteX7" fmla="*/ 4762 w 247650"/>
                <a:gd name="connsiteY7" fmla="*/ 328400 h 502910"/>
                <a:gd name="connsiteX8" fmla="*/ 23812 w 247650"/>
                <a:gd name="connsiteY8" fmla="*/ 294146 h 502910"/>
                <a:gd name="connsiteX9" fmla="*/ 147637 w 247650"/>
                <a:gd name="connsiteY9" fmla="*/ 119743 h 502910"/>
                <a:gd name="connsiteX10" fmla="*/ 150812 w 247650"/>
                <a:gd name="connsiteY10" fmla="*/ 158621 h 502910"/>
                <a:gd name="connsiteX11" fmla="*/ 122237 w 247650"/>
                <a:gd name="connsiteY11" fmla="*/ 195943 h 502910"/>
                <a:gd name="connsiteX12" fmla="*/ 174625 w 247650"/>
                <a:gd name="connsiteY12" fmla="*/ 205274 h 502910"/>
                <a:gd name="connsiteX13" fmla="*/ 152400 w 247650"/>
                <a:gd name="connsiteY13" fmla="*/ 251927 h 502910"/>
                <a:gd name="connsiteX14" fmla="*/ 161925 w 247650"/>
                <a:gd name="connsiteY14" fmla="*/ 275254 h 502910"/>
                <a:gd name="connsiteX15" fmla="*/ 174625 w 247650"/>
                <a:gd name="connsiteY15" fmla="*/ 297025 h 502910"/>
                <a:gd name="connsiteX16" fmla="*/ 185738 w 247650"/>
                <a:gd name="connsiteY16" fmla="*/ 321907 h 502910"/>
                <a:gd name="connsiteX17" fmla="*/ 214313 w 247650"/>
                <a:gd name="connsiteY17" fmla="*/ 354564 h 502910"/>
                <a:gd name="connsiteX18" fmla="*/ 223838 w 247650"/>
                <a:gd name="connsiteY18" fmla="*/ 382556 h 502910"/>
                <a:gd name="connsiteX19" fmla="*/ 247650 w 247650"/>
                <a:gd name="connsiteY19" fmla="*/ 427654 h 502910"/>
                <a:gd name="connsiteX20" fmla="*/ 219075 w 247650"/>
                <a:gd name="connsiteY20" fmla="*/ 446315 h 502910"/>
                <a:gd name="connsiteX21" fmla="*/ 236538 w 247650"/>
                <a:gd name="connsiteY21" fmla="*/ 469642 h 502910"/>
                <a:gd name="connsiteX22" fmla="*/ 204788 w 247650"/>
                <a:gd name="connsiteY22" fmla="*/ 475862 h 502910"/>
                <a:gd name="connsiteX23" fmla="*/ 150812 w 247650"/>
                <a:gd name="connsiteY23" fmla="*/ 478972 h 502910"/>
                <a:gd name="connsiteX24" fmla="*/ 127000 w 247650"/>
                <a:gd name="connsiteY24" fmla="*/ 489858 h 502910"/>
                <a:gd name="connsiteX25" fmla="*/ 98425 w 247650"/>
                <a:gd name="connsiteY25" fmla="*/ 497633 h 502910"/>
                <a:gd name="connsiteX26" fmla="*/ 76200 w 247650"/>
                <a:gd name="connsiteY26" fmla="*/ 499189 h 502910"/>
                <a:gd name="connsiteX27" fmla="*/ 61912 w 247650"/>
                <a:gd name="connsiteY27" fmla="*/ 497633 h 502910"/>
                <a:gd name="connsiteX28" fmla="*/ 69850 w 247650"/>
                <a:gd name="connsiteY28" fmla="*/ 494523 h 502910"/>
                <a:gd name="connsiteX29" fmla="*/ 98425 w 247650"/>
                <a:gd name="connsiteY29" fmla="*/ 471197 h 502910"/>
                <a:gd name="connsiteX30" fmla="*/ 112712 w 247650"/>
                <a:gd name="connsiteY30" fmla="*/ 443205 h 502910"/>
                <a:gd name="connsiteX31" fmla="*/ 93662 w 247650"/>
                <a:gd name="connsiteY31" fmla="*/ 422988 h 502910"/>
                <a:gd name="connsiteX32" fmla="*/ 107950 w 247650"/>
                <a:gd name="connsiteY32" fmla="*/ 390331 h 502910"/>
                <a:gd name="connsiteX33" fmla="*/ 104824 w 247650"/>
                <a:gd name="connsiteY33" fmla="*/ 382531 h 502910"/>
                <a:gd name="connsiteX34" fmla="*/ 136525 w 247650"/>
                <a:gd name="connsiteY34" fmla="*/ 381001 h 502910"/>
                <a:gd name="connsiteX35" fmla="*/ 138112 w 247650"/>
                <a:gd name="connsiteY35" fmla="*/ 348343 h 502910"/>
                <a:gd name="connsiteX36" fmla="*/ 127000 w 247650"/>
                <a:gd name="connsiteY36" fmla="*/ 325017 h 502910"/>
                <a:gd name="connsiteX37" fmla="*/ 128587 w 247650"/>
                <a:gd name="connsiteY37" fmla="*/ 312576 h 502910"/>
                <a:gd name="connsiteX38" fmla="*/ 90487 w 247650"/>
                <a:gd name="connsiteY38" fmla="*/ 306356 h 502910"/>
                <a:gd name="connsiteX39" fmla="*/ 60325 w 247650"/>
                <a:gd name="connsiteY39" fmla="*/ 261258 h 502910"/>
                <a:gd name="connsiteX40" fmla="*/ 61912 w 247650"/>
                <a:gd name="connsiteY40" fmla="*/ 236376 h 502910"/>
                <a:gd name="connsiteX41" fmla="*/ 36512 w 247650"/>
                <a:gd name="connsiteY41" fmla="*/ 217715 h 502910"/>
                <a:gd name="connsiteX42" fmla="*/ 38100 w 247650"/>
                <a:gd name="connsiteY42" fmla="*/ 177282 h 502910"/>
                <a:gd name="connsiteX43" fmla="*/ 61912 w 247650"/>
                <a:gd name="connsiteY43" fmla="*/ 163286 h 502910"/>
                <a:gd name="connsiteX44" fmla="*/ 74191 w 247650"/>
                <a:gd name="connsiteY44" fmla="*/ 186904 h 502910"/>
                <a:gd name="connsiteX45" fmla="*/ 76200 w 247650"/>
                <a:gd name="connsiteY45" fmla="*/ 180392 h 502910"/>
                <a:gd name="connsiteX46" fmla="*/ 104775 w 247650"/>
                <a:gd name="connsiteY46" fmla="*/ 157066 h 502910"/>
                <a:gd name="connsiteX47" fmla="*/ 128587 w 247650"/>
                <a:gd name="connsiteY47" fmla="*/ 138404 h 502910"/>
                <a:gd name="connsiteX48" fmla="*/ 147637 w 247650"/>
                <a:gd name="connsiteY48" fmla="*/ 119743 h 502910"/>
                <a:gd name="connsiteX49" fmla="*/ 195263 w 247650"/>
                <a:gd name="connsiteY49" fmla="*/ 46654 h 502910"/>
                <a:gd name="connsiteX50" fmla="*/ 204788 w 247650"/>
                <a:gd name="connsiteY50" fmla="*/ 65315 h 502910"/>
                <a:gd name="connsiteX51" fmla="*/ 193676 w 247650"/>
                <a:gd name="connsiteY51" fmla="*/ 96417 h 502910"/>
                <a:gd name="connsiteX52" fmla="*/ 179388 w 247650"/>
                <a:gd name="connsiteY52" fmla="*/ 116634 h 502910"/>
                <a:gd name="connsiteX53" fmla="*/ 174625 w 247650"/>
                <a:gd name="connsiteY53" fmla="*/ 124409 h 502910"/>
                <a:gd name="connsiteX54" fmla="*/ 176213 w 247650"/>
                <a:gd name="connsiteY54" fmla="*/ 115078 h 502910"/>
                <a:gd name="connsiteX55" fmla="*/ 179388 w 247650"/>
                <a:gd name="connsiteY55" fmla="*/ 88642 h 502910"/>
                <a:gd name="connsiteX56" fmla="*/ 176213 w 247650"/>
                <a:gd name="connsiteY56" fmla="*/ 60650 h 502910"/>
                <a:gd name="connsiteX57" fmla="*/ 195263 w 247650"/>
                <a:gd name="connsiteY57" fmla="*/ 46654 h 502910"/>
                <a:gd name="connsiteX58" fmla="*/ 36513 w 247650"/>
                <a:gd name="connsiteY58" fmla="*/ 0 h 502910"/>
                <a:gd name="connsiteX59" fmla="*/ 50800 w 247650"/>
                <a:gd name="connsiteY59" fmla="*/ 27992 h 502910"/>
                <a:gd name="connsiteX60" fmla="*/ 36513 w 247650"/>
                <a:gd name="connsiteY60" fmla="*/ 0 h 502910"/>
                <a:gd name="connsiteX0" fmla="*/ 23812 w 247650"/>
                <a:gd name="connsiteY0" fmla="*/ 247492 h 456256"/>
                <a:gd name="connsiteX1" fmla="*/ 60325 w 247650"/>
                <a:gd name="connsiteY1" fmla="*/ 266176 h 456256"/>
                <a:gd name="connsiteX2" fmla="*/ 66675 w 247650"/>
                <a:gd name="connsiteY2" fmla="*/ 280189 h 456256"/>
                <a:gd name="connsiteX3" fmla="*/ 77787 w 247650"/>
                <a:gd name="connsiteY3" fmla="*/ 314442 h 456256"/>
                <a:gd name="connsiteX4" fmla="*/ 52387 w 247650"/>
                <a:gd name="connsiteY4" fmla="*/ 325341 h 456256"/>
                <a:gd name="connsiteX5" fmla="*/ 20637 w 247650"/>
                <a:gd name="connsiteY5" fmla="*/ 319113 h 456256"/>
                <a:gd name="connsiteX6" fmla="*/ 0 w 247650"/>
                <a:gd name="connsiteY6" fmla="*/ 300429 h 456256"/>
                <a:gd name="connsiteX7" fmla="*/ 4762 w 247650"/>
                <a:gd name="connsiteY7" fmla="*/ 281746 h 456256"/>
                <a:gd name="connsiteX8" fmla="*/ 23812 w 247650"/>
                <a:gd name="connsiteY8" fmla="*/ 247492 h 456256"/>
                <a:gd name="connsiteX9" fmla="*/ 147637 w 247650"/>
                <a:gd name="connsiteY9" fmla="*/ 73089 h 456256"/>
                <a:gd name="connsiteX10" fmla="*/ 150812 w 247650"/>
                <a:gd name="connsiteY10" fmla="*/ 111967 h 456256"/>
                <a:gd name="connsiteX11" fmla="*/ 122237 w 247650"/>
                <a:gd name="connsiteY11" fmla="*/ 149289 h 456256"/>
                <a:gd name="connsiteX12" fmla="*/ 174625 w 247650"/>
                <a:gd name="connsiteY12" fmla="*/ 158620 h 456256"/>
                <a:gd name="connsiteX13" fmla="*/ 152400 w 247650"/>
                <a:gd name="connsiteY13" fmla="*/ 205273 h 456256"/>
                <a:gd name="connsiteX14" fmla="*/ 161925 w 247650"/>
                <a:gd name="connsiteY14" fmla="*/ 228600 h 456256"/>
                <a:gd name="connsiteX15" fmla="*/ 174625 w 247650"/>
                <a:gd name="connsiteY15" fmla="*/ 250371 h 456256"/>
                <a:gd name="connsiteX16" fmla="*/ 185738 w 247650"/>
                <a:gd name="connsiteY16" fmla="*/ 275253 h 456256"/>
                <a:gd name="connsiteX17" fmla="*/ 214313 w 247650"/>
                <a:gd name="connsiteY17" fmla="*/ 307910 h 456256"/>
                <a:gd name="connsiteX18" fmla="*/ 223838 w 247650"/>
                <a:gd name="connsiteY18" fmla="*/ 335902 h 456256"/>
                <a:gd name="connsiteX19" fmla="*/ 247650 w 247650"/>
                <a:gd name="connsiteY19" fmla="*/ 381000 h 456256"/>
                <a:gd name="connsiteX20" fmla="*/ 219075 w 247650"/>
                <a:gd name="connsiteY20" fmla="*/ 399661 h 456256"/>
                <a:gd name="connsiteX21" fmla="*/ 236538 w 247650"/>
                <a:gd name="connsiteY21" fmla="*/ 422988 h 456256"/>
                <a:gd name="connsiteX22" fmla="*/ 204788 w 247650"/>
                <a:gd name="connsiteY22" fmla="*/ 429208 h 456256"/>
                <a:gd name="connsiteX23" fmla="*/ 150812 w 247650"/>
                <a:gd name="connsiteY23" fmla="*/ 432318 h 456256"/>
                <a:gd name="connsiteX24" fmla="*/ 127000 w 247650"/>
                <a:gd name="connsiteY24" fmla="*/ 443204 h 456256"/>
                <a:gd name="connsiteX25" fmla="*/ 98425 w 247650"/>
                <a:gd name="connsiteY25" fmla="*/ 450979 h 456256"/>
                <a:gd name="connsiteX26" fmla="*/ 76200 w 247650"/>
                <a:gd name="connsiteY26" fmla="*/ 452535 h 456256"/>
                <a:gd name="connsiteX27" fmla="*/ 61912 w 247650"/>
                <a:gd name="connsiteY27" fmla="*/ 450979 h 456256"/>
                <a:gd name="connsiteX28" fmla="*/ 69850 w 247650"/>
                <a:gd name="connsiteY28" fmla="*/ 447869 h 456256"/>
                <a:gd name="connsiteX29" fmla="*/ 98425 w 247650"/>
                <a:gd name="connsiteY29" fmla="*/ 424543 h 456256"/>
                <a:gd name="connsiteX30" fmla="*/ 112712 w 247650"/>
                <a:gd name="connsiteY30" fmla="*/ 396551 h 456256"/>
                <a:gd name="connsiteX31" fmla="*/ 93662 w 247650"/>
                <a:gd name="connsiteY31" fmla="*/ 376334 h 456256"/>
                <a:gd name="connsiteX32" fmla="*/ 107950 w 247650"/>
                <a:gd name="connsiteY32" fmla="*/ 343677 h 456256"/>
                <a:gd name="connsiteX33" fmla="*/ 104824 w 247650"/>
                <a:gd name="connsiteY33" fmla="*/ 335877 h 456256"/>
                <a:gd name="connsiteX34" fmla="*/ 136525 w 247650"/>
                <a:gd name="connsiteY34" fmla="*/ 334347 h 456256"/>
                <a:gd name="connsiteX35" fmla="*/ 138112 w 247650"/>
                <a:gd name="connsiteY35" fmla="*/ 301689 h 456256"/>
                <a:gd name="connsiteX36" fmla="*/ 127000 w 247650"/>
                <a:gd name="connsiteY36" fmla="*/ 278363 h 456256"/>
                <a:gd name="connsiteX37" fmla="*/ 128587 w 247650"/>
                <a:gd name="connsiteY37" fmla="*/ 265922 h 456256"/>
                <a:gd name="connsiteX38" fmla="*/ 90487 w 247650"/>
                <a:gd name="connsiteY38" fmla="*/ 259702 h 456256"/>
                <a:gd name="connsiteX39" fmla="*/ 60325 w 247650"/>
                <a:gd name="connsiteY39" fmla="*/ 214604 h 456256"/>
                <a:gd name="connsiteX40" fmla="*/ 61912 w 247650"/>
                <a:gd name="connsiteY40" fmla="*/ 189722 h 456256"/>
                <a:gd name="connsiteX41" fmla="*/ 36512 w 247650"/>
                <a:gd name="connsiteY41" fmla="*/ 171061 h 456256"/>
                <a:gd name="connsiteX42" fmla="*/ 38100 w 247650"/>
                <a:gd name="connsiteY42" fmla="*/ 130628 h 456256"/>
                <a:gd name="connsiteX43" fmla="*/ 61912 w 247650"/>
                <a:gd name="connsiteY43" fmla="*/ 116632 h 456256"/>
                <a:gd name="connsiteX44" fmla="*/ 74191 w 247650"/>
                <a:gd name="connsiteY44" fmla="*/ 140250 h 456256"/>
                <a:gd name="connsiteX45" fmla="*/ 76200 w 247650"/>
                <a:gd name="connsiteY45" fmla="*/ 133738 h 456256"/>
                <a:gd name="connsiteX46" fmla="*/ 104775 w 247650"/>
                <a:gd name="connsiteY46" fmla="*/ 110412 h 456256"/>
                <a:gd name="connsiteX47" fmla="*/ 128587 w 247650"/>
                <a:gd name="connsiteY47" fmla="*/ 91750 h 456256"/>
                <a:gd name="connsiteX48" fmla="*/ 147637 w 247650"/>
                <a:gd name="connsiteY48" fmla="*/ 73089 h 456256"/>
                <a:gd name="connsiteX49" fmla="*/ 195263 w 247650"/>
                <a:gd name="connsiteY49" fmla="*/ 0 h 456256"/>
                <a:gd name="connsiteX50" fmla="*/ 204788 w 247650"/>
                <a:gd name="connsiteY50" fmla="*/ 18661 h 456256"/>
                <a:gd name="connsiteX51" fmla="*/ 193676 w 247650"/>
                <a:gd name="connsiteY51" fmla="*/ 49763 h 456256"/>
                <a:gd name="connsiteX52" fmla="*/ 179388 w 247650"/>
                <a:gd name="connsiteY52" fmla="*/ 69980 h 456256"/>
                <a:gd name="connsiteX53" fmla="*/ 174625 w 247650"/>
                <a:gd name="connsiteY53" fmla="*/ 77755 h 456256"/>
                <a:gd name="connsiteX54" fmla="*/ 176213 w 247650"/>
                <a:gd name="connsiteY54" fmla="*/ 68424 h 456256"/>
                <a:gd name="connsiteX55" fmla="*/ 179388 w 247650"/>
                <a:gd name="connsiteY55" fmla="*/ 41988 h 456256"/>
                <a:gd name="connsiteX56" fmla="*/ 176213 w 247650"/>
                <a:gd name="connsiteY56" fmla="*/ 13996 h 456256"/>
                <a:gd name="connsiteX57" fmla="*/ 195263 w 247650"/>
                <a:gd name="connsiteY57" fmla="*/ 0 h 45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47650" h="456256">
                  <a:moveTo>
                    <a:pt x="23812" y="247492"/>
                  </a:moveTo>
                  <a:cubicBezTo>
                    <a:pt x="33337" y="244378"/>
                    <a:pt x="53975" y="261505"/>
                    <a:pt x="60325" y="266176"/>
                  </a:cubicBezTo>
                  <a:cubicBezTo>
                    <a:pt x="66675" y="270847"/>
                    <a:pt x="61912" y="272404"/>
                    <a:pt x="66675" y="280189"/>
                  </a:cubicBezTo>
                  <a:cubicBezTo>
                    <a:pt x="69850" y="287974"/>
                    <a:pt x="79375" y="306657"/>
                    <a:pt x="77787" y="314442"/>
                  </a:cubicBezTo>
                  <a:lnTo>
                    <a:pt x="52387" y="325341"/>
                  </a:lnTo>
                  <a:lnTo>
                    <a:pt x="20637" y="319113"/>
                  </a:lnTo>
                  <a:lnTo>
                    <a:pt x="0" y="300429"/>
                  </a:lnTo>
                  <a:lnTo>
                    <a:pt x="4762" y="281746"/>
                  </a:lnTo>
                  <a:lnTo>
                    <a:pt x="23812" y="247492"/>
                  </a:lnTo>
                  <a:close/>
                  <a:moveTo>
                    <a:pt x="147637" y="73089"/>
                  </a:moveTo>
                  <a:cubicBezTo>
                    <a:pt x="161925" y="90195"/>
                    <a:pt x="155575" y="77754"/>
                    <a:pt x="150812" y="111967"/>
                  </a:cubicBezTo>
                  <a:cubicBezTo>
                    <a:pt x="133350" y="122852"/>
                    <a:pt x="133350" y="135293"/>
                    <a:pt x="122237" y="149289"/>
                  </a:cubicBezTo>
                  <a:cubicBezTo>
                    <a:pt x="139700" y="153955"/>
                    <a:pt x="158750" y="149289"/>
                    <a:pt x="174625" y="158620"/>
                  </a:cubicBezTo>
                  <a:cubicBezTo>
                    <a:pt x="169862" y="172616"/>
                    <a:pt x="160337" y="194387"/>
                    <a:pt x="152400" y="205273"/>
                  </a:cubicBezTo>
                  <a:cubicBezTo>
                    <a:pt x="157162" y="214604"/>
                    <a:pt x="160337" y="219269"/>
                    <a:pt x="161925" y="228600"/>
                  </a:cubicBezTo>
                  <a:cubicBezTo>
                    <a:pt x="165100" y="236375"/>
                    <a:pt x="169862" y="242595"/>
                    <a:pt x="174625" y="250371"/>
                  </a:cubicBezTo>
                  <a:cubicBezTo>
                    <a:pt x="187325" y="259702"/>
                    <a:pt x="177800" y="264367"/>
                    <a:pt x="185738" y="275253"/>
                  </a:cubicBezTo>
                  <a:cubicBezTo>
                    <a:pt x="203200" y="284583"/>
                    <a:pt x="211138" y="287693"/>
                    <a:pt x="214313" y="307910"/>
                  </a:cubicBezTo>
                  <a:cubicBezTo>
                    <a:pt x="219075" y="320351"/>
                    <a:pt x="222250" y="321906"/>
                    <a:pt x="223838" y="335902"/>
                  </a:cubicBezTo>
                  <a:cubicBezTo>
                    <a:pt x="228600" y="348343"/>
                    <a:pt x="247650" y="370114"/>
                    <a:pt x="247650" y="381000"/>
                  </a:cubicBezTo>
                  <a:cubicBezTo>
                    <a:pt x="247650" y="391885"/>
                    <a:pt x="219075" y="390330"/>
                    <a:pt x="219075" y="399661"/>
                  </a:cubicBezTo>
                  <a:cubicBezTo>
                    <a:pt x="207963" y="405881"/>
                    <a:pt x="242888" y="413657"/>
                    <a:pt x="236538" y="422988"/>
                  </a:cubicBezTo>
                  <a:cubicBezTo>
                    <a:pt x="222250" y="424543"/>
                    <a:pt x="217488" y="426098"/>
                    <a:pt x="204788" y="429208"/>
                  </a:cubicBezTo>
                  <a:cubicBezTo>
                    <a:pt x="187325" y="427653"/>
                    <a:pt x="168275" y="424543"/>
                    <a:pt x="150812" y="432318"/>
                  </a:cubicBezTo>
                  <a:cubicBezTo>
                    <a:pt x="138112" y="433873"/>
                    <a:pt x="134937" y="433873"/>
                    <a:pt x="127000" y="443204"/>
                  </a:cubicBezTo>
                  <a:cubicBezTo>
                    <a:pt x="117475" y="446314"/>
                    <a:pt x="107950" y="447869"/>
                    <a:pt x="98425" y="450979"/>
                  </a:cubicBezTo>
                  <a:cubicBezTo>
                    <a:pt x="90487" y="450979"/>
                    <a:pt x="84137" y="450979"/>
                    <a:pt x="76200" y="452535"/>
                  </a:cubicBezTo>
                  <a:cubicBezTo>
                    <a:pt x="74612" y="452535"/>
                    <a:pt x="61912" y="461865"/>
                    <a:pt x="61912" y="450979"/>
                  </a:cubicBezTo>
                  <a:cubicBezTo>
                    <a:pt x="61912" y="447869"/>
                    <a:pt x="66675" y="449424"/>
                    <a:pt x="69850" y="447869"/>
                  </a:cubicBezTo>
                  <a:cubicBezTo>
                    <a:pt x="90487" y="446314"/>
                    <a:pt x="93662" y="443204"/>
                    <a:pt x="98425" y="424543"/>
                  </a:cubicBezTo>
                  <a:cubicBezTo>
                    <a:pt x="107950" y="412102"/>
                    <a:pt x="109537" y="416767"/>
                    <a:pt x="112712" y="396551"/>
                  </a:cubicBezTo>
                  <a:cubicBezTo>
                    <a:pt x="96837" y="394996"/>
                    <a:pt x="84137" y="394996"/>
                    <a:pt x="93662" y="376334"/>
                  </a:cubicBezTo>
                  <a:cubicBezTo>
                    <a:pt x="115887" y="368559"/>
                    <a:pt x="111125" y="362338"/>
                    <a:pt x="107950" y="343677"/>
                  </a:cubicBezTo>
                  <a:lnTo>
                    <a:pt x="104824" y="335877"/>
                  </a:lnTo>
                  <a:cubicBezTo>
                    <a:pt x="105569" y="335804"/>
                    <a:pt x="117475" y="353008"/>
                    <a:pt x="136525" y="334347"/>
                  </a:cubicBezTo>
                  <a:cubicBezTo>
                    <a:pt x="144462" y="326571"/>
                    <a:pt x="138112" y="312575"/>
                    <a:pt x="138112" y="301689"/>
                  </a:cubicBezTo>
                  <a:cubicBezTo>
                    <a:pt x="136525" y="289249"/>
                    <a:pt x="128587" y="290804"/>
                    <a:pt x="127000" y="278363"/>
                  </a:cubicBezTo>
                  <a:cubicBezTo>
                    <a:pt x="125412" y="272142"/>
                    <a:pt x="134937" y="269032"/>
                    <a:pt x="128587" y="265922"/>
                  </a:cubicBezTo>
                  <a:cubicBezTo>
                    <a:pt x="122717" y="260789"/>
                    <a:pt x="81223" y="253219"/>
                    <a:pt x="90487" y="259702"/>
                  </a:cubicBezTo>
                  <a:cubicBezTo>
                    <a:pt x="109537" y="256591"/>
                    <a:pt x="58737" y="228600"/>
                    <a:pt x="60325" y="214604"/>
                  </a:cubicBezTo>
                  <a:cubicBezTo>
                    <a:pt x="46037" y="211493"/>
                    <a:pt x="57150" y="202163"/>
                    <a:pt x="61912" y="189722"/>
                  </a:cubicBezTo>
                  <a:cubicBezTo>
                    <a:pt x="53975" y="178836"/>
                    <a:pt x="38100" y="186612"/>
                    <a:pt x="36512" y="171061"/>
                  </a:cubicBezTo>
                  <a:cubicBezTo>
                    <a:pt x="38100" y="158620"/>
                    <a:pt x="34925" y="143069"/>
                    <a:pt x="38100" y="130628"/>
                  </a:cubicBezTo>
                  <a:cubicBezTo>
                    <a:pt x="49212" y="124408"/>
                    <a:pt x="49212" y="119742"/>
                    <a:pt x="61912" y="116632"/>
                  </a:cubicBezTo>
                  <a:cubicBezTo>
                    <a:pt x="70247" y="120131"/>
                    <a:pt x="72330" y="139376"/>
                    <a:pt x="74191" y="140250"/>
                  </a:cubicBezTo>
                  <a:lnTo>
                    <a:pt x="76200" y="133738"/>
                  </a:lnTo>
                  <a:cubicBezTo>
                    <a:pt x="90487" y="125963"/>
                    <a:pt x="84137" y="113522"/>
                    <a:pt x="104775" y="110412"/>
                  </a:cubicBezTo>
                  <a:cubicBezTo>
                    <a:pt x="125412" y="111967"/>
                    <a:pt x="127000" y="111967"/>
                    <a:pt x="128587" y="91750"/>
                  </a:cubicBezTo>
                  <a:cubicBezTo>
                    <a:pt x="133350" y="82420"/>
                    <a:pt x="139700" y="80865"/>
                    <a:pt x="147637" y="73089"/>
                  </a:cubicBezTo>
                  <a:close/>
                  <a:moveTo>
                    <a:pt x="195263" y="0"/>
                  </a:moveTo>
                  <a:cubicBezTo>
                    <a:pt x="195263" y="13996"/>
                    <a:pt x="201613" y="3110"/>
                    <a:pt x="204788" y="18661"/>
                  </a:cubicBezTo>
                  <a:cubicBezTo>
                    <a:pt x="201613" y="34212"/>
                    <a:pt x="195263" y="29547"/>
                    <a:pt x="193676" y="49763"/>
                  </a:cubicBezTo>
                  <a:cubicBezTo>
                    <a:pt x="182563" y="55984"/>
                    <a:pt x="180975" y="57539"/>
                    <a:pt x="179388" y="69980"/>
                  </a:cubicBezTo>
                  <a:cubicBezTo>
                    <a:pt x="177800" y="73090"/>
                    <a:pt x="177800" y="79310"/>
                    <a:pt x="174625" y="77755"/>
                  </a:cubicBezTo>
                  <a:cubicBezTo>
                    <a:pt x="171450" y="76200"/>
                    <a:pt x="176213" y="71535"/>
                    <a:pt x="176213" y="68424"/>
                  </a:cubicBezTo>
                  <a:cubicBezTo>
                    <a:pt x="177800" y="59094"/>
                    <a:pt x="177800" y="51318"/>
                    <a:pt x="179388" y="41988"/>
                  </a:cubicBezTo>
                  <a:cubicBezTo>
                    <a:pt x="174625" y="32657"/>
                    <a:pt x="174625" y="24882"/>
                    <a:pt x="176213" y="13996"/>
                  </a:cubicBezTo>
                  <a:cubicBezTo>
                    <a:pt x="188913" y="12441"/>
                    <a:pt x="185738" y="7776"/>
                    <a:pt x="195263" y="0"/>
                  </a:cubicBez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sp>
          <p:nvSpPr>
            <p:cNvPr id="209" name="Freeform 7"/>
            <p:cNvSpPr>
              <a:spLocks/>
            </p:cNvSpPr>
            <p:nvPr/>
          </p:nvSpPr>
          <p:spPr bwMode="auto">
            <a:xfrm>
              <a:off x="1863030" y="4023959"/>
              <a:ext cx="57522" cy="25786"/>
            </a:xfrm>
            <a:custGeom>
              <a:avLst/>
              <a:gdLst>
                <a:gd name="T0" fmla="*/ 50 w 58"/>
                <a:gd name="T1" fmla="*/ 2 h 26"/>
                <a:gd name="T2" fmla="*/ 38 w 58"/>
                <a:gd name="T3" fmla="*/ 0 h 26"/>
                <a:gd name="T4" fmla="*/ 32 w 58"/>
                <a:gd name="T5" fmla="*/ 0 h 26"/>
                <a:gd name="T6" fmla="*/ 26 w 58"/>
                <a:gd name="T7" fmla="*/ 0 h 26"/>
                <a:gd name="T8" fmla="*/ 18 w 58"/>
                <a:gd name="T9" fmla="*/ 0 h 26"/>
                <a:gd name="T10" fmla="*/ 14 w 58"/>
                <a:gd name="T11" fmla="*/ 0 h 26"/>
                <a:gd name="T12" fmla="*/ 14 w 58"/>
                <a:gd name="T13" fmla="*/ 0 h 26"/>
                <a:gd name="T14" fmla="*/ 12 w 58"/>
                <a:gd name="T15" fmla="*/ 0 h 26"/>
                <a:gd name="T16" fmla="*/ 12 w 58"/>
                <a:gd name="T17" fmla="*/ 2 h 26"/>
                <a:gd name="T18" fmla="*/ 12 w 58"/>
                <a:gd name="T19" fmla="*/ 2 h 26"/>
                <a:gd name="T20" fmla="*/ 12 w 58"/>
                <a:gd name="T21" fmla="*/ 2 h 26"/>
                <a:gd name="T22" fmla="*/ 12 w 58"/>
                <a:gd name="T23" fmla="*/ 4 h 26"/>
                <a:gd name="T24" fmla="*/ 10 w 58"/>
                <a:gd name="T25" fmla="*/ 4 h 26"/>
                <a:gd name="T26" fmla="*/ 10 w 58"/>
                <a:gd name="T27" fmla="*/ 6 h 26"/>
                <a:gd name="T28" fmla="*/ 8 w 58"/>
                <a:gd name="T29" fmla="*/ 6 h 26"/>
                <a:gd name="T30" fmla="*/ 8 w 58"/>
                <a:gd name="T31" fmla="*/ 6 h 26"/>
                <a:gd name="T32" fmla="*/ 8 w 58"/>
                <a:gd name="T33" fmla="*/ 8 h 26"/>
                <a:gd name="T34" fmla="*/ 6 w 58"/>
                <a:gd name="T35" fmla="*/ 8 h 26"/>
                <a:gd name="T36" fmla="*/ 4 w 58"/>
                <a:gd name="T37" fmla="*/ 10 h 26"/>
                <a:gd name="T38" fmla="*/ 2 w 58"/>
                <a:gd name="T39" fmla="*/ 12 h 26"/>
                <a:gd name="T40" fmla="*/ 2 w 58"/>
                <a:gd name="T41" fmla="*/ 14 h 26"/>
                <a:gd name="T42" fmla="*/ 0 w 58"/>
                <a:gd name="T43" fmla="*/ 14 h 26"/>
                <a:gd name="T44" fmla="*/ 0 w 58"/>
                <a:gd name="T45" fmla="*/ 16 h 26"/>
                <a:gd name="T46" fmla="*/ 2 w 58"/>
                <a:gd name="T47" fmla="*/ 18 h 26"/>
                <a:gd name="T48" fmla="*/ 2 w 58"/>
                <a:gd name="T49" fmla="*/ 20 h 26"/>
                <a:gd name="T50" fmla="*/ 6 w 58"/>
                <a:gd name="T51" fmla="*/ 20 h 26"/>
                <a:gd name="T52" fmla="*/ 6 w 58"/>
                <a:gd name="T53" fmla="*/ 20 h 26"/>
                <a:gd name="T54" fmla="*/ 6 w 58"/>
                <a:gd name="T55" fmla="*/ 20 h 26"/>
                <a:gd name="T56" fmla="*/ 10 w 58"/>
                <a:gd name="T57" fmla="*/ 22 h 26"/>
                <a:gd name="T58" fmla="*/ 12 w 58"/>
                <a:gd name="T59" fmla="*/ 24 h 26"/>
                <a:gd name="T60" fmla="*/ 16 w 58"/>
                <a:gd name="T61" fmla="*/ 24 h 26"/>
                <a:gd name="T62" fmla="*/ 18 w 58"/>
                <a:gd name="T63" fmla="*/ 26 h 26"/>
                <a:gd name="T64" fmla="*/ 20 w 58"/>
                <a:gd name="T65" fmla="*/ 26 h 26"/>
                <a:gd name="T66" fmla="*/ 20 w 58"/>
                <a:gd name="T67" fmla="*/ 26 h 26"/>
                <a:gd name="T68" fmla="*/ 22 w 58"/>
                <a:gd name="T69" fmla="*/ 26 h 26"/>
                <a:gd name="T70" fmla="*/ 24 w 58"/>
                <a:gd name="T71" fmla="*/ 24 h 26"/>
                <a:gd name="T72" fmla="*/ 26 w 58"/>
                <a:gd name="T73" fmla="*/ 24 h 26"/>
                <a:gd name="T74" fmla="*/ 26 w 58"/>
                <a:gd name="T75" fmla="*/ 24 h 26"/>
                <a:gd name="T76" fmla="*/ 26 w 58"/>
                <a:gd name="T77" fmla="*/ 22 h 26"/>
                <a:gd name="T78" fmla="*/ 30 w 58"/>
                <a:gd name="T79" fmla="*/ 22 h 26"/>
                <a:gd name="T80" fmla="*/ 32 w 58"/>
                <a:gd name="T81" fmla="*/ 22 h 26"/>
                <a:gd name="T82" fmla="*/ 34 w 58"/>
                <a:gd name="T83" fmla="*/ 20 h 26"/>
                <a:gd name="T84" fmla="*/ 36 w 58"/>
                <a:gd name="T85" fmla="*/ 20 h 26"/>
                <a:gd name="T86" fmla="*/ 38 w 58"/>
                <a:gd name="T87" fmla="*/ 18 h 26"/>
                <a:gd name="T88" fmla="*/ 40 w 58"/>
                <a:gd name="T89" fmla="*/ 18 h 26"/>
                <a:gd name="T90" fmla="*/ 40 w 58"/>
                <a:gd name="T91" fmla="*/ 18 h 26"/>
                <a:gd name="T92" fmla="*/ 42 w 58"/>
                <a:gd name="T93" fmla="*/ 16 h 26"/>
                <a:gd name="T94" fmla="*/ 42 w 58"/>
                <a:gd name="T95" fmla="*/ 12 h 26"/>
                <a:gd name="T96" fmla="*/ 42 w 58"/>
                <a:gd name="T97" fmla="*/ 12 h 26"/>
                <a:gd name="T98" fmla="*/ 44 w 58"/>
                <a:gd name="T99" fmla="*/ 12 h 26"/>
                <a:gd name="T100" fmla="*/ 48 w 58"/>
                <a:gd name="T101" fmla="*/ 10 h 26"/>
                <a:gd name="T102" fmla="*/ 50 w 58"/>
                <a:gd name="T103" fmla="*/ 10 h 26"/>
                <a:gd name="T104" fmla="*/ 54 w 58"/>
                <a:gd name="T105" fmla="*/ 8 h 26"/>
                <a:gd name="T106" fmla="*/ 56 w 58"/>
                <a:gd name="T107" fmla="*/ 6 h 26"/>
                <a:gd name="T108" fmla="*/ 58 w 58"/>
                <a:gd name="T109" fmla="*/ 4 h 26"/>
                <a:gd name="T110" fmla="*/ 58 w 58"/>
                <a:gd name="T111" fmla="*/ 4 h 26"/>
                <a:gd name="T112" fmla="*/ 56 w 58"/>
                <a:gd name="T113" fmla="*/ 2 h 26"/>
                <a:gd name="T114" fmla="*/ 50 w 58"/>
                <a:gd name="T115"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8" h="26">
                  <a:moveTo>
                    <a:pt x="50" y="2"/>
                  </a:moveTo>
                  <a:lnTo>
                    <a:pt x="38" y="0"/>
                  </a:lnTo>
                  <a:lnTo>
                    <a:pt x="32" y="0"/>
                  </a:lnTo>
                  <a:lnTo>
                    <a:pt x="26" y="0"/>
                  </a:lnTo>
                  <a:lnTo>
                    <a:pt x="18" y="0"/>
                  </a:lnTo>
                  <a:lnTo>
                    <a:pt x="14" y="0"/>
                  </a:lnTo>
                  <a:lnTo>
                    <a:pt x="14" y="0"/>
                  </a:lnTo>
                  <a:lnTo>
                    <a:pt x="12" y="0"/>
                  </a:lnTo>
                  <a:lnTo>
                    <a:pt x="12" y="2"/>
                  </a:lnTo>
                  <a:lnTo>
                    <a:pt x="12" y="2"/>
                  </a:lnTo>
                  <a:lnTo>
                    <a:pt x="12" y="2"/>
                  </a:lnTo>
                  <a:lnTo>
                    <a:pt x="12" y="4"/>
                  </a:lnTo>
                  <a:lnTo>
                    <a:pt x="10" y="4"/>
                  </a:lnTo>
                  <a:lnTo>
                    <a:pt x="10" y="6"/>
                  </a:lnTo>
                  <a:lnTo>
                    <a:pt x="8" y="6"/>
                  </a:lnTo>
                  <a:lnTo>
                    <a:pt x="8" y="6"/>
                  </a:lnTo>
                  <a:lnTo>
                    <a:pt x="8" y="8"/>
                  </a:lnTo>
                  <a:lnTo>
                    <a:pt x="6" y="8"/>
                  </a:lnTo>
                  <a:lnTo>
                    <a:pt x="4" y="10"/>
                  </a:lnTo>
                  <a:lnTo>
                    <a:pt x="2" y="12"/>
                  </a:lnTo>
                  <a:lnTo>
                    <a:pt x="2" y="14"/>
                  </a:lnTo>
                  <a:lnTo>
                    <a:pt x="0" y="14"/>
                  </a:lnTo>
                  <a:lnTo>
                    <a:pt x="0" y="16"/>
                  </a:lnTo>
                  <a:lnTo>
                    <a:pt x="2" y="18"/>
                  </a:lnTo>
                  <a:lnTo>
                    <a:pt x="2" y="20"/>
                  </a:lnTo>
                  <a:lnTo>
                    <a:pt x="6" y="20"/>
                  </a:lnTo>
                  <a:lnTo>
                    <a:pt x="6" y="20"/>
                  </a:lnTo>
                  <a:lnTo>
                    <a:pt x="6" y="20"/>
                  </a:lnTo>
                  <a:lnTo>
                    <a:pt x="10" y="22"/>
                  </a:lnTo>
                  <a:lnTo>
                    <a:pt x="12" y="24"/>
                  </a:lnTo>
                  <a:lnTo>
                    <a:pt x="16" y="24"/>
                  </a:lnTo>
                  <a:lnTo>
                    <a:pt x="18" y="26"/>
                  </a:lnTo>
                  <a:lnTo>
                    <a:pt x="20" y="26"/>
                  </a:lnTo>
                  <a:lnTo>
                    <a:pt x="20" y="26"/>
                  </a:lnTo>
                  <a:lnTo>
                    <a:pt x="22" y="26"/>
                  </a:lnTo>
                  <a:lnTo>
                    <a:pt x="24" y="24"/>
                  </a:lnTo>
                  <a:lnTo>
                    <a:pt x="26" y="24"/>
                  </a:lnTo>
                  <a:lnTo>
                    <a:pt x="26" y="24"/>
                  </a:lnTo>
                  <a:lnTo>
                    <a:pt x="26" y="22"/>
                  </a:lnTo>
                  <a:lnTo>
                    <a:pt x="30" y="22"/>
                  </a:lnTo>
                  <a:lnTo>
                    <a:pt x="32" y="22"/>
                  </a:lnTo>
                  <a:lnTo>
                    <a:pt x="34" y="20"/>
                  </a:lnTo>
                  <a:lnTo>
                    <a:pt x="36" y="20"/>
                  </a:lnTo>
                  <a:lnTo>
                    <a:pt x="38" y="18"/>
                  </a:lnTo>
                  <a:lnTo>
                    <a:pt x="40" y="18"/>
                  </a:lnTo>
                  <a:lnTo>
                    <a:pt x="40" y="18"/>
                  </a:lnTo>
                  <a:lnTo>
                    <a:pt x="42" y="16"/>
                  </a:lnTo>
                  <a:lnTo>
                    <a:pt x="42" y="12"/>
                  </a:lnTo>
                  <a:lnTo>
                    <a:pt x="42" y="12"/>
                  </a:lnTo>
                  <a:lnTo>
                    <a:pt x="44" y="12"/>
                  </a:lnTo>
                  <a:lnTo>
                    <a:pt x="48" y="10"/>
                  </a:lnTo>
                  <a:lnTo>
                    <a:pt x="50" y="10"/>
                  </a:lnTo>
                  <a:lnTo>
                    <a:pt x="54" y="8"/>
                  </a:lnTo>
                  <a:lnTo>
                    <a:pt x="56" y="6"/>
                  </a:lnTo>
                  <a:lnTo>
                    <a:pt x="58" y="4"/>
                  </a:lnTo>
                  <a:lnTo>
                    <a:pt x="58" y="4"/>
                  </a:lnTo>
                  <a:lnTo>
                    <a:pt x="56" y="2"/>
                  </a:lnTo>
                  <a:lnTo>
                    <a:pt x="50" y="2"/>
                  </a:ln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10" name="Freeform 8"/>
            <p:cNvSpPr>
              <a:spLocks/>
            </p:cNvSpPr>
            <p:nvPr/>
          </p:nvSpPr>
          <p:spPr bwMode="auto">
            <a:xfrm>
              <a:off x="1692944" y="3487422"/>
              <a:ext cx="259839" cy="612902"/>
            </a:xfrm>
            <a:custGeom>
              <a:avLst/>
              <a:gdLst>
                <a:gd name="T0" fmla="*/ 78 w 262"/>
                <a:gd name="T1" fmla="*/ 590 h 618"/>
                <a:gd name="T2" fmla="*/ 70 w 262"/>
                <a:gd name="T3" fmla="*/ 566 h 618"/>
                <a:gd name="T4" fmla="*/ 60 w 262"/>
                <a:gd name="T5" fmla="*/ 542 h 618"/>
                <a:gd name="T6" fmla="*/ 60 w 262"/>
                <a:gd name="T7" fmla="*/ 518 h 618"/>
                <a:gd name="T8" fmla="*/ 68 w 262"/>
                <a:gd name="T9" fmla="*/ 512 h 618"/>
                <a:gd name="T10" fmla="*/ 82 w 262"/>
                <a:gd name="T11" fmla="*/ 506 h 618"/>
                <a:gd name="T12" fmla="*/ 82 w 262"/>
                <a:gd name="T13" fmla="*/ 488 h 618"/>
                <a:gd name="T14" fmla="*/ 98 w 262"/>
                <a:gd name="T15" fmla="*/ 474 h 618"/>
                <a:gd name="T16" fmla="*/ 102 w 262"/>
                <a:gd name="T17" fmla="*/ 450 h 618"/>
                <a:gd name="T18" fmla="*/ 84 w 262"/>
                <a:gd name="T19" fmla="*/ 438 h 618"/>
                <a:gd name="T20" fmla="*/ 80 w 262"/>
                <a:gd name="T21" fmla="*/ 418 h 618"/>
                <a:gd name="T22" fmla="*/ 88 w 262"/>
                <a:gd name="T23" fmla="*/ 410 h 618"/>
                <a:gd name="T24" fmla="*/ 104 w 262"/>
                <a:gd name="T25" fmla="*/ 402 h 618"/>
                <a:gd name="T26" fmla="*/ 108 w 262"/>
                <a:gd name="T27" fmla="*/ 394 h 618"/>
                <a:gd name="T28" fmla="*/ 114 w 262"/>
                <a:gd name="T29" fmla="*/ 370 h 618"/>
                <a:gd name="T30" fmla="*/ 120 w 262"/>
                <a:gd name="T31" fmla="*/ 362 h 618"/>
                <a:gd name="T32" fmla="*/ 136 w 262"/>
                <a:gd name="T33" fmla="*/ 354 h 618"/>
                <a:gd name="T34" fmla="*/ 118 w 262"/>
                <a:gd name="T35" fmla="*/ 342 h 618"/>
                <a:gd name="T36" fmla="*/ 118 w 262"/>
                <a:gd name="T37" fmla="*/ 330 h 618"/>
                <a:gd name="T38" fmla="*/ 122 w 262"/>
                <a:gd name="T39" fmla="*/ 324 h 618"/>
                <a:gd name="T40" fmla="*/ 146 w 262"/>
                <a:gd name="T41" fmla="*/ 322 h 618"/>
                <a:gd name="T42" fmla="*/ 154 w 262"/>
                <a:gd name="T43" fmla="*/ 314 h 618"/>
                <a:gd name="T44" fmla="*/ 160 w 262"/>
                <a:gd name="T45" fmla="*/ 296 h 618"/>
                <a:gd name="T46" fmla="*/ 168 w 262"/>
                <a:gd name="T47" fmla="*/ 290 h 618"/>
                <a:gd name="T48" fmla="*/ 204 w 262"/>
                <a:gd name="T49" fmla="*/ 280 h 618"/>
                <a:gd name="T50" fmla="*/ 232 w 262"/>
                <a:gd name="T51" fmla="*/ 250 h 618"/>
                <a:gd name="T52" fmla="*/ 238 w 262"/>
                <a:gd name="T53" fmla="*/ 240 h 618"/>
                <a:gd name="T54" fmla="*/ 228 w 262"/>
                <a:gd name="T55" fmla="*/ 214 h 618"/>
                <a:gd name="T56" fmla="*/ 218 w 262"/>
                <a:gd name="T57" fmla="*/ 188 h 618"/>
                <a:gd name="T58" fmla="*/ 220 w 262"/>
                <a:gd name="T59" fmla="*/ 140 h 618"/>
                <a:gd name="T60" fmla="*/ 234 w 262"/>
                <a:gd name="T61" fmla="*/ 122 h 618"/>
                <a:gd name="T62" fmla="*/ 256 w 262"/>
                <a:gd name="T63" fmla="*/ 94 h 618"/>
                <a:gd name="T64" fmla="*/ 262 w 262"/>
                <a:gd name="T65" fmla="*/ 86 h 618"/>
                <a:gd name="T66" fmla="*/ 246 w 262"/>
                <a:gd name="T67" fmla="*/ 86 h 618"/>
                <a:gd name="T68" fmla="*/ 224 w 262"/>
                <a:gd name="T69" fmla="*/ 80 h 618"/>
                <a:gd name="T70" fmla="*/ 222 w 262"/>
                <a:gd name="T71" fmla="*/ 64 h 618"/>
                <a:gd name="T72" fmla="*/ 194 w 262"/>
                <a:gd name="T73" fmla="*/ 32 h 618"/>
                <a:gd name="T74" fmla="*/ 160 w 262"/>
                <a:gd name="T75" fmla="*/ 10 h 618"/>
                <a:gd name="T76" fmla="*/ 138 w 262"/>
                <a:gd name="T77" fmla="*/ 2 h 618"/>
                <a:gd name="T78" fmla="*/ 106 w 262"/>
                <a:gd name="T79" fmla="*/ 0 h 618"/>
                <a:gd name="T80" fmla="*/ 94 w 262"/>
                <a:gd name="T81" fmla="*/ 12 h 618"/>
                <a:gd name="T82" fmla="*/ 84 w 262"/>
                <a:gd name="T83" fmla="*/ 32 h 618"/>
                <a:gd name="T84" fmla="*/ 78 w 262"/>
                <a:gd name="T85" fmla="*/ 40 h 618"/>
                <a:gd name="T86" fmla="*/ 74 w 262"/>
                <a:gd name="T87" fmla="*/ 62 h 618"/>
                <a:gd name="T88" fmla="*/ 74 w 262"/>
                <a:gd name="T89" fmla="*/ 82 h 618"/>
                <a:gd name="T90" fmla="*/ 66 w 262"/>
                <a:gd name="T91" fmla="*/ 94 h 618"/>
                <a:gd name="T92" fmla="*/ 48 w 262"/>
                <a:gd name="T93" fmla="*/ 118 h 618"/>
                <a:gd name="T94" fmla="*/ 50 w 262"/>
                <a:gd name="T95" fmla="*/ 182 h 618"/>
                <a:gd name="T96" fmla="*/ 46 w 262"/>
                <a:gd name="T97" fmla="*/ 224 h 618"/>
                <a:gd name="T98" fmla="*/ 30 w 262"/>
                <a:gd name="T99" fmla="*/ 286 h 618"/>
                <a:gd name="T100" fmla="*/ 16 w 262"/>
                <a:gd name="T101" fmla="*/ 340 h 618"/>
                <a:gd name="T102" fmla="*/ 28 w 262"/>
                <a:gd name="T103" fmla="*/ 380 h 618"/>
                <a:gd name="T104" fmla="*/ 26 w 262"/>
                <a:gd name="T105" fmla="*/ 430 h 618"/>
                <a:gd name="T106" fmla="*/ 12 w 262"/>
                <a:gd name="T107" fmla="*/ 484 h 618"/>
                <a:gd name="T108" fmla="*/ 0 w 262"/>
                <a:gd name="T109" fmla="*/ 514 h 618"/>
                <a:gd name="T110" fmla="*/ 20 w 262"/>
                <a:gd name="T111" fmla="*/ 530 h 618"/>
                <a:gd name="T112" fmla="*/ 22 w 262"/>
                <a:gd name="T113" fmla="*/ 536 h 618"/>
                <a:gd name="T114" fmla="*/ 14 w 262"/>
                <a:gd name="T115" fmla="*/ 558 h 618"/>
                <a:gd name="T116" fmla="*/ 28 w 262"/>
                <a:gd name="T117" fmla="*/ 568 h 618"/>
                <a:gd name="T118" fmla="*/ 58 w 262"/>
                <a:gd name="T119" fmla="*/ 606 h 618"/>
                <a:gd name="T120" fmla="*/ 68 w 262"/>
                <a:gd name="T121" fmla="*/ 616 h 618"/>
                <a:gd name="T122" fmla="*/ 98 w 262"/>
                <a:gd name="T123"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2" h="618">
                  <a:moveTo>
                    <a:pt x="94" y="610"/>
                  </a:moveTo>
                  <a:lnTo>
                    <a:pt x="90" y="606"/>
                  </a:lnTo>
                  <a:lnTo>
                    <a:pt x="88" y="600"/>
                  </a:lnTo>
                  <a:lnTo>
                    <a:pt x="86" y="598"/>
                  </a:lnTo>
                  <a:lnTo>
                    <a:pt x="82" y="596"/>
                  </a:lnTo>
                  <a:lnTo>
                    <a:pt x="82" y="596"/>
                  </a:lnTo>
                  <a:lnTo>
                    <a:pt x="82" y="594"/>
                  </a:lnTo>
                  <a:lnTo>
                    <a:pt x="80" y="592"/>
                  </a:lnTo>
                  <a:lnTo>
                    <a:pt x="78" y="590"/>
                  </a:lnTo>
                  <a:lnTo>
                    <a:pt x="76" y="588"/>
                  </a:lnTo>
                  <a:lnTo>
                    <a:pt x="74" y="588"/>
                  </a:lnTo>
                  <a:lnTo>
                    <a:pt x="72" y="586"/>
                  </a:lnTo>
                  <a:lnTo>
                    <a:pt x="72" y="586"/>
                  </a:lnTo>
                  <a:lnTo>
                    <a:pt x="70" y="584"/>
                  </a:lnTo>
                  <a:lnTo>
                    <a:pt x="70" y="578"/>
                  </a:lnTo>
                  <a:lnTo>
                    <a:pt x="70" y="574"/>
                  </a:lnTo>
                  <a:lnTo>
                    <a:pt x="70" y="570"/>
                  </a:lnTo>
                  <a:lnTo>
                    <a:pt x="70" y="566"/>
                  </a:lnTo>
                  <a:lnTo>
                    <a:pt x="70" y="562"/>
                  </a:lnTo>
                  <a:lnTo>
                    <a:pt x="68" y="560"/>
                  </a:lnTo>
                  <a:lnTo>
                    <a:pt x="68" y="556"/>
                  </a:lnTo>
                  <a:lnTo>
                    <a:pt x="64" y="552"/>
                  </a:lnTo>
                  <a:lnTo>
                    <a:pt x="64" y="552"/>
                  </a:lnTo>
                  <a:lnTo>
                    <a:pt x="64" y="552"/>
                  </a:lnTo>
                  <a:lnTo>
                    <a:pt x="64" y="548"/>
                  </a:lnTo>
                  <a:lnTo>
                    <a:pt x="62" y="544"/>
                  </a:lnTo>
                  <a:lnTo>
                    <a:pt x="60" y="542"/>
                  </a:lnTo>
                  <a:lnTo>
                    <a:pt x="58" y="538"/>
                  </a:lnTo>
                  <a:lnTo>
                    <a:pt x="58" y="538"/>
                  </a:lnTo>
                  <a:lnTo>
                    <a:pt x="58" y="536"/>
                  </a:lnTo>
                  <a:lnTo>
                    <a:pt x="58" y="532"/>
                  </a:lnTo>
                  <a:lnTo>
                    <a:pt x="58" y="530"/>
                  </a:lnTo>
                  <a:lnTo>
                    <a:pt x="60" y="526"/>
                  </a:lnTo>
                  <a:lnTo>
                    <a:pt x="60" y="524"/>
                  </a:lnTo>
                  <a:lnTo>
                    <a:pt x="60" y="520"/>
                  </a:lnTo>
                  <a:lnTo>
                    <a:pt x="60" y="518"/>
                  </a:lnTo>
                  <a:lnTo>
                    <a:pt x="60" y="518"/>
                  </a:lnTo>
                  <a:lnTo>
                    <a:pt x="60" y="518"/>
                  </a:lnTo>
                  <a:lnTo>
                    <a:pt x="62" y="516"/>
                  </a:lnTo>
                  <a:lnTo>
                    <a:pt x="62" y="516"/>
                  </a:lnTo>
                  <a:lnTo>
                    <a:pt x="62" y="514"/>
                  </a:lnTo>
                  <a:lnTo>
                    <a:pt x="64" y="512"/>
                  </a:lnTo>
                  <a:lnTo>
                    <a:pt x="64" y="512"/>
                  </a:lnTo>
                  <a:lnTo>
                    <a:pt x="66" y="512"/>
                  </a:lnTo>
                  <a:lnTo>
                    <a:pt x="68" y="512"/>
                  </a:lnTo>
                  <a:lnTo>
                    <a:pt x="70" y="510"/>
                  </a:lnTo>
                  <a:lnTo>
                    <a:pt x="72" y="510"/>
                  </a:lnTo>
                  <a:lnTo>
                    <a:pt x="74" y="510"/>
                  </a:lnTo>
                  <a:lnTo>
                    <a:pt x="78" y="510"/>
                  </a:lnTo>
                  <a:lnTo>
                    <a:pt x="80" y="510"/>
                  </a:lnTo>
                  <a:lnTo>
                    <a:pt x="80" y="510"/>
                  </a:lnTo>
                  <a:lnTo>
                    <a:pt x="82" y="508"/>
                  </a:lnTo>
                  <a:lnTo>
                    <a:pt x="82" y="506"/>
                  </a:lnTo>
                  <a:lnTo>
                    <a:pt x="82" y="506"/>
                  </a:lnTo>
                  <a:lnTo>
                    <a:pt x="82" y="504"/>
                  </a:lnTo>
                  <a:lnTo>
                    <a:pt x="82" y="504"/>
                  </a:lnTo>
                  <a:lnTo>
                    <a:pt x="78" y="500"/>
                  </a:lnTo>
                  <a:lnTo>
                    <a:pt x="78" y="500"/>
                  </a:lnTo>
                  <a:lnTo>
                    <a:pt x="78" y="498"/>
                  </a:lnTo>
                  <a:lnTo>
                    <a:pt x="80" y="492"/>
                  </a:lnTo>
                  <a:lnTo>
                    <a:pt x="80" y="492"/>
                  </a:lnTo>
                  <a:lnTo>
                    <a:pt x="80" y="492"/>
                  </a:lnTo>
                  <a:lnTo>
                    <a:pt x="82" y="488"/>
                  </a:lnTo>
                  <a:lnTo>
                    <a:pt x="82" y="488"/>
                  </a:lnTo>
                  <a:lnTo>
                    <a:pt x="82" y="488"/>
                  </a:lnTo>
                  <a:lnTo>
                    <a:pt x="84" y="486"/>
                  </a:lnTo>
                  <a:lnTo>
                    <a:pt x="84" y="486"/>
                  </a:lnTo>
                  <a:lnTo>
                    <a:pt x="84" y="486"/>
                  </a:lnTo>
                  <a:lnTo>
                    <a:pt x="86" y="482"/>
                  </a:lnTo>
                  <a:lnTo>
                    <a:pt x="92" y="478"/>
                  </a:lnTo>
                  <a:lnTo>
                    <a:pt x="94" y="476"/>
                  </a:lnTo>
                  <a:lnTo>
                    <a:pt x="98" y="474"/>
                  </a:lnTo>
                  <a:lnTo>
                    <a:pt x="100" y="470"/>
                  </a:lnTo>
                  <a:lnTo>
                    <a:pt x="102" y="468"/>
                  </a:lnTo>
                  <a:lnTo>
                    <a:pt x="104" y="464"/>
                  </a:lnTo>
                  <a:lnTo>
                    <a:pt x="106" y="462"/>
                  </a:lnTo>
                  <a:lnTo>
                    <a:pt x="104" y="460"/>
                  </a:lnTo>
                  <a:lnTo>
                    <a:pt x="104" y="456"/>
                  </a:lnTo>
                  <a:lnTo>
                    <a:pt x="104" y="454"/>
                  </a:lnTo>
                  <a:lnTo>
                    <a:pt x="102" y="452"/>
                  </a:lnTo>
                  <a:lnTo>
                    <a:pt x="102" y="450"/>
                  </a:lnTo>
                  <a:lnTo>
                    <a:pt x="100" y="450"/>
                  </a:lnTo>
                  <a:lnTo>
                    <a:pt x="98" y="448"/>
                  </a:lnTo>
                  <a:lnTo>
                    <a:pt x="94" y="448"/>
                  </a:lnTo>
                  <a:lnTo>
                    <a:pt x="94" y="448"/>
                  </a:lnTo>
                  <a:lnTo>
                    <a:pt x="92" y="448"/>
                  </a:lnTo>
                  <a:lnTo>
                    <a:pt x="88" y="444"/>
                  </a:lnTo>
                  <a:lnTo>
                    <a:pt x="88" y="444"/>
                  </a:lnTo>
                  <a:lnTo>
                    <a:pt x="88" y="444"/>
                  </a:lnTo>
                  <a:lnTo>
                    <a:pt x="84" y="438"/>
                  </a:lnTo>
                  <a:lnTo>
                    <a:pt x="82" y="434"/>
                  </a:lnTo>
                  <a:lnTo>
                    <a:pt x="78" y="430"/>
                  </a:lnTo>
                  <a:lnTo>
                    <a:pt x="78" y="430"/>
                  </a:lnTo>
                  <a:lnTo>
                    <a:pt x="78" y="428"/>
                  </a:lnTo>
                  <a:lnTo>
                    <a:pt x="78" y="424"/>
                  </a:lnTo>
                  <a:lnTo>
                    <a:pt x="80" y="422"/>
                  </a:lnTo>
                  <a:lnTo>
                    <a:pt x="80" y="420"/>
                  </a:lnTo>
                  <a:lnTo>
                    <a:pt x="80" y="418"/>
                  </a:lnTo>
                  <a:lnTo>
                    <a:pt x="80" y="418"/>
                  </a:lnTo>
                  <a:lnTo>
                    <a:pt x="80" y="418"/>
                  </a:lnTo>
                  <a:lnTo>
                    <a:pt x="82" y="414"/>
                  </a:lnTo>
                  <a:lnTo>
                    <a:pt x="82" y="414"/>
                  </a:lnTo>
                  <a:lnTo>
                    <a:pt x="82" y="414"/>
                  </a:lnTo>
                  <a:lnTo>
                    <a:pt x="84" y="412"/>
                  </a:lnTo>
                  <a:lnTo>
                    <a:pt x="84" y="412"/>
                  </a:lnTo>
                  <a:lnTo>
                    <a:pt x="84" y="412"/>
                  </a:lnTo>
                  <a:lnTo>
                    <a:pt x="88" y="410"/>
                  </a:lnTo>
                  <a:lnTo>
                    <a:pt x="88" y="410"/>
                  </a:lnTo>
                  <a:lnTo>
                    <a:pt x="88" y="410"/>
                  </a:lnTo>
                  <a:lnTo>
                    <a:pt x="92" y="410"/>
                  </a:lnTo>
                  <a:lnTo>
                    <a:pt x="94" y="410"/>
                  </a:lnTo>
                  <a:lnTo>
                    <a:pt x="96" y="410"/>
                  </a:lnTo>
                  <a:lnTo>
                    <a:pt x="100" y="410"/>
                  </a:lnTo>
                  <a:lnTo>
                    <a:pt x="102" y="410"/>
                  </a:lnTo>
                  <a:lnTo>
                    <a:pt x="102" y="410"/>
                  </a:lnTo>
                  <a:lnTo>
                    <a:pt x="102" y="406"/>
                  </a:lnTo>
                  <a:lnTo>
                    <a:pt x="104" y="402"/>
                  </a:lnTo>
                  <a:lnTo>
                    <a:pt x="104" y="400"/>
                  </a:lnTo>
                  <a:lnTo>
                    <a:pt x="104" y="400"/>
                  </a:lnTo>
                  <a:lnTo>
                    <a:pt x="104" y="400"/>
                  </a:lnTo>
                  <a:lnTo>
                    <a:pt x="106" y="398"/>
                  </a:lnTo>
                  <a:lnTo>
                    <a:pt x="106" y="398"/>
                  </a:lnTo>
                  <a:lnTo>
                    <a:pt x="106" y="396"/>
                  </a:lnTo>
                  <a:lnTo>
                    <a:pt x="108" y="394"/>
                  </a:lnTo>
                  <a:lnTo>
                    <a:pt x="108" y="394"/>
                  </a:lnTo>
                  <a:lnTo>
                    <a:pt x="108" y="394"/>
                  </a:lnTo>
                  <a:lnTo>
                    <a:pt x="110" y="394"/>
                  </a:lnTo>
                  <a:lnTo>
                    <a:pt x="112" y="390"/>
                  </a:lnTo>
                  <a:lnTo>
                    <a:pt x="114" y="386"/>
                  </a:lnTo>
                  <a:lnTo>
                    <a:pt x="114" y="382"/>
                  </a:lnTo>
                  <a:lnTo>
                    <a:pt x="116" y="378"/>
                  </a:lnTo>
                  <a:lnTo>
                    <a:pt x="114" y="376"/>
                  </a:lnTo>
                  <a:lnTo>
                    <a:pt x="114" y="372"/>
                  </a:lnTo>
                  <a:lnTo>
                    <a:pt x="114" y="370"/>
                  </a:lnTo>
                  <a:lnTo>
                    <a:pt x="114" y="370"/>
                  </a:lnTo>
                  <a:lnTo>
                    <a:pt x="114" y="370"/>
                  </a:lnTo>
                  <a:lnTo>
                    <a:pt x="116" y="368"/>
                  </a:lnTo>
                  <a:lnTo>
                    <a:pt x="116" y="368"/>
                  </a:lnTo>
                  <a:lnTo>
                    <a:pt x="116" y="368"/>
                  </a:lnTo>
                  <a:lnTo>
                    <a:pt x="116" y="366"/>
                  </a:lnTo>
                  <a:lnTo>
                    <a:pt x="116" y="366"/>
                  </a:lnTo>
                  <a:lnTo>
                    <a:pt x="118" y="364"/>
                  </a:lnTo>
                  <a:lnTo>
                    <a:pt x="120" y="362"/>
                  </a:lnTo>
                  <a:lnTo>
                    <a:pt x="120" y="362"/>
                  </a:lnTo>
                  <a:lnTo>
                    <a:pt x="120" y="362"/>
                  </a:lnTo>
                  <a:lnTo>
                    <a:pt x="124" y="360"/>
                  </a:lnTo>
                  <a:lnTo>
                    <a:pt x="124" y="360"/>
                  </a:lnTo>
                  <a:lnTo>
                    <a:pt x="124" y="360"/>
                  </a:lnTo>
                  <a:lnTo>
                    <a:pt x="128" y="360"/>
                  </a:lnTo>
                  <a:lnTo>
                    <a:pt x="132" y="360"/>
                  </a:lnTo>
                  <a:lnTo>
                    <a:pt x="136" y="360"/>
                  </a:lnTo>
                  <a:lnTo>
                    <a:pt x="136" y="358"/>
                  </a:lnTo>
                  <a:lnTo>
                    <a:pt x="136" y="354"/>
                  </a:lnTo>
                  <a:lnTo>
                    <a:pt x="136" y="352"/>
                  </a:lnTo>
                  <a:lnTo>
                    <a:pt x="134" y="352"/>
                  </a:lnTo>
                  <a:lnTo>
                    <a:pt x="132" y="350"/>
                  </a:lnTo>
                  <a:lnTo>
                    <a:pt x="130" y="348"/>
                  </a:lnTo>
                  <a:lnTo>
                    <a:pt x="126" y="348"/>
                  </a:lnTo>
                  <a:lnTo>
                    <a:pt x="120" y="348"/>
                  </a:lnTo>
                  <a:lnTo>
                    <a:pt x="120" y="348"/>
                  </a:lnTo>
                  <a:lnTo>
                    <a:pt x="118" y="346"/>
                  </a:lnTo>
                  <a:lnTo>
                    <a:pt x="118" y="342"/>
                  </a:lnTo>
                  <a:lnTo>
                    <a:pt x="118" y="338"/>
                  </a:lnTo>
                  <a:lnTo>
                    <a:pt x="116" y="336"/>
                  </a:lnTo>
                  <a:lnTo>
                    <a:pt x="116" y="334"/>
                  </a:lnTo>
                  <a:lnTo>
                    <a:pt x="116" y="334"/>
                  </a:lnTo>
                  <a:lnTo>
                    <a:pt x="116" y="332"/>
                  </a:lnTo>
                  <a:lnTo>
                    <a:pt x="116" y="330"/>
                  </a:lnTo>
                  <a:lnTo>
                    <a:pt x="116" y="330"/>
                  </a:lnTo>
                  <a:lnTo>
                    <a:pt x="116" y="330"/>
                  </a:lnTo>
                  <a:lnTo>
                    <a:pt x="118" y="330"/>
                  </a:lnTo>
                  <a:lnTo>
                    <a:pt x="118" y="330"/>
                  </a:lnTo>
                  <a:lnTo>
                    <a:pt x="118" y="328"/>
                  </a:lnTo>
                  <a:lnTo>
                    <a:pt x="118" y="328"/>
                  </a:lnTo>
                  <a:lnTo>
                    <a:pt x="118" y="328"/>
                  </a:lnTo>
                  <a:lnTo>
                    <a:pt x="118" y="326"/>
                  </a:lnTo>
                  <a:lnTo>
                    <a:pt x="120" y="326"/>
                  </a:lnTo>
                  <a:lnTo>
                    <a:pt x="120" y="326"/>
                  </a:lnTo>
                  <a:lnTo>
                    <a:pt x="120" y="326"/>
                  </a:lnTo>
                  <a:lnTo>
                    <a:pt x="122" y="324"/>
                  </a:lnTo>
                  <a:lnTo>
                    <a:pt x="122" y="324"/>
                  </a:lnTo>
                  <a:lnTo>
                    <a:pt x="122" y="324"/>
                  </a:lnTo>
                  <a:lnTo>
                    <a:pt x="124" y="324"/>
                  </a:lnTo>
                  <a:lnTo>
                    <a:pt x="128" y="324"/>
                  </a:lnTo>
                  <a:lnTo>
                    <a:pt x="130" y="324"/>
                  </a:lnTo>
                  <a:lnTo>
                    <a:pt x="134" y="324"/>
                  </a:lnTo>
                  <a:lnTo>
                    <a:pt x="138" y="322"/>
                  </a:lnTo>
                  <a:lnTo>
                    <a:pt x="142" y="322"/>
                  </a:lnTo>
                  <a:lnTo>
                    <a:pt x="146" y="322"/>
                  </a:lnTo>
                  <a:lnTo>
                    <a:pt x="148" y="320"/>
                  </a:lnTo>
                  <a:lnTo>
                    <a:pt x="150" y="316"/>
                  </a:lnTo>
                  <a:lnTo>
                    <a:pt x="150" y="316"/>
                  </a:lnTo>
                  <a:lnTo>
                    <a:pt x="150" y="316"/>
                  </a:lnTo>
                  <a:lnTo>
                    <a:pt x="152" y="316"/>
                  </a:lnTo>
                  <a:lnTo>
                    <a:pt x="152" y="316"/>
                  </a:lnTo>
                  <a:lnTo>
                    <a:pt x="152" y="314"/>
                  </a:lnTo>
                  <a:lnTo>
                    <a:pt x="154" y="314"/>
                  </a:lnTo>
                  <a:lnTo>
                    <a:pt x="154" y="314"/>
                  </a:lnTo>
                  <a:lnTo>
                    <a:pt x="154" y="314"/>
                  </a:lnTo>
                  <a:lnTo>
                    <a:pt x="156" y="314"/>
                  </a:lnTo>
                  <a:lnTo>
                    <a:pt x="156" y="312"/>
                  </a:lnTo>
                  <a:lnTo>
                    <a:pt x="158" y="312"/>
                  </a:lnTo>
                  <a:lnTo>
                    <a:pt x="158" y="308"/>
                  </a:lnTo>
                  <a:lnTo>
                    <a:pt x="158" y="302"/>
                  </a:lnTo>
                  <a:lnTo>
                    <a:pt x="158" y="300"/>
                  </a:lnTo>
                  <a:lnTo>
                    <a:pt x="160" y="296"/>
                  </a:lnTo>
                  <a:lnTo>
                    <a:pt x="160" y="296"/>
                  </a:lnTo>
                  <a:lnTo>
                    <a:pt x="160" y="296"/>
                  </a:lnTo>
                  <a:lnTo>
                    <a:pt x="162" y="294"/>
                  </a:lnTo>
                  <a:lnTo>
                    <a:pt x="162" y="294"/>
                  </a:lnTo>
                  <a:lnTo>
                    <a:pt x="162" y="292"/>
                  </a:lnTo>
                  <a:lnTo>
                    <a:pt x="164" y="290"/>
                  </a:lnTo>
                  <a:lnTo>
                    <a:pt x="164" y="290"/>
                  </a:lnTo>
                  <a:lnTo>
                    <a:pt x="166" y="290"/>
                  </a:lnTo>
                  <a:lnTo>
                    <a:pt x="166" y="290"/>
                  </a:lnTo>
                  <a:lnTo>
                    <a:pt x="168" y="290"/>
                  </a:lnTo>
                  <a:lnTo>
                    <a:pt x="170" y="288"/>
                  </a:lnTo>
                  <a:lnTo>
                    <a:pt x="172" y="288"/>
                  </a:lnTo>
                  <a:lnTo>
                    <a:pt x="174" y="288"/>
                  </a:lnTo>
                  <a:lnTo>
                    <a:pt x="178" y="286"/>
                  </a:lnTo>
                  <a:lnTo>
                    <a:pt x="184" y="286"/>
                  </a:lnTo>
                  <a:lnTo>
                    <a:pt x="192" y="284"/>
                  </a:lnTo>
                  <a:lnTo>
                    <a:pt x="198" y="282"/>
                  </a:lnTo>
                  <a:lnTo>
                    <a:pt x="202" y="282"/>
                  </a:lnTo>
                  <a:lnTo>
                    <a:pt x="204" y="280"/>
                  </a:lnTo>
                  <a:lnTo>
                    <a:pt x="206" y="280"/>
                  </a:lnTo>
                  <a:lnTo>
                    <a:pt x="206" y="280"/>
                  </a:lnTo>
                  <a:lnTo>
                    <a:pt x="210" y="278"/>
                  </a:lnTo>
                  <a:lnTo>
                    <a:pt x="214" y="276"/>
                  </a:lnTo>
                  <a:lnTo>
                    <a:pt x="218" y="272"/>
                  </a:lnTo>
                  <a:lnTo>
                    <a:pt x="220" y="268"/>
                  </a:lnTo>
                  <a:lnTo>
                    <a:pt x="226" y="262"/>
                  </a:lnTo>
                  <a:lnTo>
                    <a:pt x="232" y="252"/>
                  </a:lnTo>
                  <a:lnTo>
                    <a:pt x="232" y="250"/>
                  </a:lnTo>
                  <a:lnTo>
                    <a:pt x="232" y="250"/>
                  </a:lnTo>
                  <a:lnTo>
                    <a:pt x="232" y="250"/>
                  </a:lnTo>
                  <a:lnTo>
                    <a:pt x="234" y="248"/>
                  </a:lnTo>
                  <a:lnTo>
                    <a:pt x="234" y="248"/>
                  </a:lnTo>
                  <a:lnTo>
                    <a:pt x="234" y="248"/>
                  </a:lnTo>
                  <a:lnTo>
                    <a:pt x="236" y="246"/>
                  </a:lnTo>
                  <a:lnTo>
                    <a:pt x="238" y="242"/>
                  </a:lnTo>
                  <a:lnTo>
                    <a:pt x="238" y="242"/>
                  </a:lnTo>
                  <a:lnTo>
                    <a:pt x="238" y="240"/>
                  </a:lnTo>
                  <a:lnTo>
                    <a:pt x="238" y="238"/>
                  </a:lnTo>
                  <a:lnTo>
                    <a:pt x="238" y="234"/>
                  </a:lnTo>
                  <a:lnTo>
                    <a:pt x="238" y="230"/>
                  </a:lnTo>
                  <a:lnTo>
                    <a:pt x="236" y="226"/>
                  </a:lnTo>
                  <a:lnTo>
                    <a:pt x="236" y="224"/>
                  </a:lnTo>
                  <a:lnTo>
                    <a:pt x="234" y="220"/>
                  </a:lnTo>
                  <a:lnTo>
                    <a:pt x="234" y="218"/>
                  </a:lnTo>
                  <a:lnTo>
                    <a:pt x="230" y="216"/>
                  </a:lnTo>
                  <a:lnTo>
                    <a:pt x="228" y="214"/>
                  </a:lnTo>
                  <a:lnTo>
                    <a:pt x="226" y="212"/>
                  </a:lnTo>
                  <a:lnTo>
                    <a:pt x="226" y="212"/>
                  </a:lnTo>
                  <a:lnTo>
                    <a:pt x="226" y="212"/>
                  </a:lnTo>
                  <a:lnTo>
                    <a:pt x="224" y="206"/>
                  </a:lnTo>
                  <a:lnTo>
                    <a:pt x="220" y="200"/>
                  </a:lnTo>
                  <a:lnTo>
                    <a:pt x="220" y="194"/>
                  </a:lnTo>
                  <a:lnTo>
                    <a:pt x="218" y="188"/>
                  </a:lnTo>
                  <a:lnTo>
                    <a:pt x="218" y="188"/>
                  </a:lnTo>
                  <a:lnTo>
                    <a:pt x="218" y="188"/>
                  </a:lnTo>
                  <a:lnTo>
                    <a:pt x="218" y="186"/>
                  </a:lnTo>
                  <a:lnTo>
                    <a:pt x="218" y="182"/>
                  </a:lnTo>
                  <a:lnTo>
                    <a:pt x="218" y="180"/>
                  </a:lnTo>
                  <a:lnTo>
                    <a:pt x="216" y="176"/>
                  </a:lnTo>
                  <a:lnTo>
                    <a:pt x="216" y="168"/>
                  </a:lnTo>
                  <a:lnTo>
                    <a:pt x="216" y="160"/>
                  </a:lnTo>
                  <a:lnTo>
                    <a:pt x="218" y="152"/>
                  </a:lnTo>
                  <a:lnTo>
                    <a:pt x="220" y="144"/>
                  </a:lnTo>
                  <a:lnTo>
                    <a:pt x="220" y="140"/>
                  </a:lnTo>
                  <a:lnTo>
                    <a:pt x="222" y="136"/>
                  </a:lnTo>
                  <a:lnTo>
                    <a:pt x="222" y="136"/>
                  </a:lnTo>
                  <a:lnTo>
                    <a:pt x="222" y="136"/>
                  </a:lnTo>
                  <a:lnTo>
                    <a:pt x="224" y="134"/>
                  </a:lnTo>
                  <a:lnTo>
                    <a:pt x="224" y="134"/>
                  </a:lnTo>
                  <a:lnTo>
                    <a:pt x="226" y="134"/>
                  </a:lnTo>
                  <a:lnTo>
                    <a:pt x="228" y="132"/>
                  </a:lnTo>
                  <a:lnTo>
                    <a:pt x="230" y="126"/>
                  </a:lnTo>
                  <a:lnTo>
                    <a:pt x="234" y="122"/>
                  </a:lnTo>
                  <a:lnTo>
                    <a:pt x="238" y="118"/>
                  </a:lnTo>
                  <a:lnTo>
                    <a:pt x="242" y="114"/>
                  </a:lnTo>
                  <a:lnTo>
                    <a:pt x="244" y="110"/>
                  </a:lnTo>
                  <a:lnTo>
                    <a:pt x="246" y="108"/>
                  </a:lnTo>
                  <a:lnTo>
                    <a:pt x="248" y="104"/>
                  </a:lnTo>
                  <a:lnTo>
                    <a:pt x="252" y="102"/>
                  </a:lnTo>
                  <a:lnTo>
                    <a:pt x="254" y="98"/>
                  </a:lnTo>
                  <a:lnTo>
                    <a:pt x="256" y="94"/>
                  </a:lnTo>
                  <a:lnTo>
                    <a:pt x="256" y="94"/>
                  </a:lnTo>
                  <a:lnTo>
                    <a:pt x="256" y="94"/>
                  </a:lnTo>
                  <a:lnTo>
                    <a:pt x="258" y="92"/>
                  </a:lnTo>
                  <a:lnTo>
                    <a:pt x="258" y="92"/>
                  </a:lnTo>
                  <a:lnTo>
                    <a:pt x="260" y="92"/>
                  </a:lnTo>
                  <a:lnTo>
                    <a:pt x="262" y="90"/>
                  </a:lnTo>
                  <a:lnTo>
                    <a:pt x="262" y="90"/>
                  </a:lnTo>
                  <a:lnTo>
                    <a:pt x="262" y="88"/>
                  </a:lnTo>
                  <a:lnTo>
                    <a:pt x="262" y="86"/>
                  </a:lnTo>
                  <a:lnTo>
                    <a:pt x="262" y="86"/>
                  </a:lnTo>
                  <a:lnTo>
                    <a:pt x="262" y="84"/>
                  </a:lnTo>
                  <a:lnTo>
                    <a:pt x="262" y="84"/>
                  </a:lnTo>
                  <a:lnTo>
                    <a:pt x="262" y="84"/>
                  </a:lnTo>
                  <a:lnTo>
                    <a:pt x="260" y="84"/>
                  </a:lnTo>
                  <a:lnTo>
                    <a:pt x="260" y="84"/>
                  </a:lnTo>
                  <a:lnTo>
                    <a:pt x="260" y="86"/>
                  </a:lnTo>
                  <a:lnTo>
                    <a:pt x="256" y="86"/>
                  </a:lnTo>
                  <a:lnTo>
                    <a:pt x="252" y="86"/>
                  </a:lnTo>
                  <a:lnTo>
                    <a:pt x="246" y="86"/>
                  </a:lnTo>
                  <a:lnTo>
                    <a:pt x="238" y="84"/>
                  </a:lnTo>
                  <a:lnTo>
                    <a:pt x="234" y="84"/>
                  </a:lnTo>
                  <a:lnTo>
                    <a:pt x="232" y="82"/>
                  </a:lnTo>
                  <a:lnTo>
                    <a:pt x="232" y="82"/>
                  </a:lnTo>
                  <a:lnTo>
                    <a:pt x="230" y="82"/>
                  </a:lnTo>
                  <a:lnTo>
                    <a:pt x="228" y="82"/>
                  </a:lnTo>
                  <a:lnTo>
                    <a:pt x="226" y="82"/>
                  </a:lnTo>
                  <a:lnTo>
                    <a:pt x="224" y="80"/>
                  </a:lnTo>
                  <a:lnTo>
                    <a:pt x="224" y="80"/>
                  </a:lnTo>
                  <a:lnTo>
                    <a:pt x="222" y="78"/>
                  </a:lnTo>
                  <a:lnTo>
                    <a:pt x="220" y="76"/>
                  </a:lnTo>
                  <a:lnTo>
                    <a:pt x="220" y="76"/>
                  </a:lnTo>
                  <a:lnTo>
                    <a:pt x="220" y="76"/>
                  </a:lnTo>
                  <a:lnTo>
                    <a:pt x="218" y="72"/>
                  </a:lnTo>
                  <a:lnTo>
                    <a:pt x="218" y="72"/>
                  </a:lnTo>
                  <a:lnTo>
                    <a:pt x="218" y="70"/>
                  </a:lnTo>
                  <a:lnTo>
                    <a:pt x="220" y="66"/>
                  </a:lnTo>
                  <a:lnTo>
                    <a:pt x="222" y="64"/>
                  </a:lnTo>
                  <a:lnTo>
                    <a:pt x="222" y="60"/>
                  </a:lnTo>
                  <a:lnTo>
                    <a:pt x="224" y="58"/>
                  </a:lnTo>
                  <a:lnTo>
                    <a:pt x="220" y="56"/>
                  </a:lnTo>
                  <a:lnTo>
                    <a:pt x="218" y="52"/>
                  </a:lnTo>
                  <a:lnTo>
                    <a:pt x="210" y="46"/>
                  </a:lnTo>
                  <a:lnTo>
                    <a:pt x="202" y="38"/>
                  </a:lnTo>
                  <a:lnTo>
                    <a:pt x="194" y="32"/>
                  </a:lnTo>
                  <a:lnTo>
                    <a:pt x="194" y="32"/>
                  </a:lnTo>
                  <a:lnTo>
                    <a:pt x="194" y="32"/>
                  </a:lnTo>
                  <a:lnTo>
                    <a:pt x="190" y="28"/>
                  </a:lnTo>
                  <a:lnTo>
                    <a:pt x="190" y="30"/>
                  </a:lnTo>
                  <a:lnTo>
                    <a:pt x="188" y="26"/>
                  </a:lnTo>
                  <a:lnTo>
                    <a:pt x="184" y="24"/>
                  </a:lnTo>
                  <a:lnTo>
                    <a:pt x="178" y="20"/>
                  </a:lnTo>
                  <a:lnTo>
                    <a:pt x="174" y="16"/>
                  </a:lnTo>
                  <a:lnTo>
                    <a:pt x="168" y="14"/>
                  </a:lnTo>
                  <a:lnTo>
                    <a:pt x="164" y="12"/>
                  </a:lnTo>
                  <a:lnTo>
                    <a:pt x="160" y="10"/>
                  </a:lnTo>
                  <a:lnTo>
                    <a:pt x="160" y="10"/>
                  </a:lnTo>
                  <a:lnTo>
                    <a:pt x="158" y="10"/>
                  </a:lnTo>
                  <a:lnTo>
                    <a:pt x="156" y="8"/>
                  </a:lnTo>
                  <a:lnTo>
                    <a:pt x="154" y="8"/>
                  </a:lnTo>
                  <a:lnTo>
                    <a:pt x="152" y="6"/>
                  </a:lnTo>
                  <a:lnTo>
                    <a:pt x="150" y="6"/>
                  </a:lnTo>
                  <a:lnTo>
                    <a:pt x="144" y="4"/>
                  </a:lnTo>
                  <a:lnTo>
                    <a:pt x="140" y="2"/>
                  </a:lnTo>
                  <a:lnTo>
                    <a:pt x="138" y="2"/>
                  </a:lnTo>
                  <a:lnTo>
                    <a:pt x="134" y="2"/>
                  </a:lnTo>
                  <a:lnTo>
                    <a:pt x="130" y="2"/>
                  </a:lnTo>
                  <a:lnTo>
                    <a:pt x="126" y="2"/>
                  </a:lnTo>
                  <a:lnTo>
                    <a:pt x="122" y="2"/>
                  </a:lnTo>
                  <a:lnTo>
                    <a:pt x="118" y="2"/>
                  </a:lnTo>
                  <a:lnTo>
                    <a:pt x="116" y="2"/>
                  </a:lnTo>
                  <a:lnTo>
                    <a:pt x="112" y="2"/>
                  </a:lnTo>
                  <a:lnTo>
                    <a:pt x="110" y="2"/>
                  </a:lnTo>
                  <a:lnTo>
                    <a:pt x="106" y="0"/>
                  </a:lnTo>
                  <a:lnTo>
                    <a:pt x="104" y="0"/>
                  </a:lnTo>
                  <a:lnTo>
                    <a:pt x="102" y="0"/>
                  </a:lnTo>
                  <a:lnTo>
                    <a:pt x="102" y="0"/>
                  </a:lnTo>
                  <a:lnTo>
                    <a:pt x="102" y="0"/>
                  </a:lnTo>
                  <a:lnTo>
                    <a:pt x="100" y="2"/>
                  </a:lnTo>
                  <a:lnTo>
                    <a:pt x="96" y="4"/>
                  </a:lnTo>
                  <a:lnTo>
                    <a:pt x="94" y="6"/>
                  </a:lnTo>
                  <a:lnTo>
                    <a:pt x="94" y="8"/>
                  </a:lnTo>
                  <a:lnTo>
                    <a:pt x="94" y="12"/>
                  </a:lnTo>
                  <a:lnTo>
                    <a:pt x="92" y="16"/>
                  </a:lnTo>
                  <a:lnTo>
                    <a:pt x="90" y="20"/>
                  </a:lnTo>
                  <a:lnTo>
                    <a:pt x="90" y="24"/>
                  </a:lnTo>
                  <a:lnTo>
                    <a:pt x="90" y="24"/>
                  </a:lnTo>
                  <a:lnTo>
                    <a:pt x="90" y="26"/>
                  </a:lnTo>
                  <a:lnTo>
                    <a:pt x="88" y="28"/>
                  </a:lnTo>
                  <a:lnTo>
                    <a:pt x="88" y="28"/>
                  </a:lnTo>
                  <a:lnTo>
                    <a:pt x="86" y="30"/>
                  </a:lnTo>
                  <a:lnTo>
                    <a:pt x="84" y="32"/>
                  </a:lnTo>
                  <a:lnTo>
                    <a:pt x="84" y="32"/>
                  </a:lnTo>
                  <a:lnTo>
                    <a:pt x="84" y="32"/>
                  </a:lnTo>
                  <a:lnTo>
                    <a:pt x="82" y="34"/>
                  </a:lnTo>
                  <a:lnTo>
                    <a:pt x="82" y="34"/>
                  </a:lnTo>
                  <a:lnTo>
                    <a:pt x="82" y="34"/>
                  </a:lnTo>
                  <a:lnTo>
                    <a:pt x="80" y="34"/>
                  </a:lnTo>
                  <a:lnTo>
                    <a:pt x="80" y="36"/>
                  </a:lnTo>
                  <a:lnTo>
                    <a:pt x="78" y="38"/>
                  </a:lnTo>
                  <a:lnTo>
                    <a:pt x="78" y="40"/>
                  </a:lnTo>
                  <a:lnTo>
                    <a:pt x="76" y="42"/>
                  </a:lnTo>
                  <a:lnTo>
                    <a:pt x="76" y="48"/>
                  </a:lnTo>
                  <a:lnTo>
                    <a:pt x="74" y="52"/>
                  </a:lnTo>
                  <a:lnTo>
                    <a:pt x="72" y="54"/>
                  </a:lnTo>
                  <a:lnTo>
                    <a:pt x="72" y="56"/>
                  </a:lnTo>
                  <a:lnTo>
                    <a:pt x="72" y="58"/>
                  </a:lnTo>
                  <a:lnTo>
                    <a:pt x="72" y="58"/>
                  </a:lnTo>
                  <a:lnTo>
                    <a:pt x="72" y="60"/>
                  </a:lnTo>
                  <a:lnTo>
                    <a:pt x="74" y="62"/>
                  </a:lnTo>
                  <a:lnTo>
                    <a:pt x="76" y="66"/>
                  </a:lnTo>
                  <a:lnTo>
                    <a:pt x="76" y="68"/>
                  </a:lnTo>
                  <a:lnTo>
                    <a:pt x="76" y="70"/>
                  </a:lnTo>
                  <a:lnTo>
                    <a:pt x="76" y="70"/>
                  </a:lnTo>
                  <a:lnTo>
                    <a:pt x="76" y="72"/>
                  </a:lnTo>
                  <a:lnTo>
                    <a:pt x="76" y="76"/>
                  </a:lnTo>
                  <a:lnTo>
                    <a:pt x="76" y="76"/>
                  </a:lnTo>
                  <a:lnTo>
                    <a:pt x="76" y="76"/>
                  </a:lnTo>
                  <a:lnTo>
                    <a:pt x="74" y="82"/>
                  </a:lnTo>
                  <a:lnTo>
                    <a:pt x="72" y="86"/>
                  </a:lnTo>
                  <a:lnTo>
                    <a:pt x="70" y="90"/>
                  </a:lnTo>
                  <a:lnTo>
                    <a:pt x="70" y="90"/>
                  </a:lnTo>
                  <a:lnTo>
                    <a:pt x="70" y="90"/>
                  </a:lnTo>
                  <a:lnTo>
                    <a:pt x="68" y="92"/>
                  </a:lnTo>
                  <a:lnTo>
                    <a:pt x="68" y="92"/>
                  </a:lnTo>
                  <a:lnTo>
                    <a:pt x="68" y="92"/>
                  </a:lnTo>
                  <a:lnTo>
                    <a:pt x="66" y="94"/>
                  </a:lnTo>
                  <a:lnTo>
                    <a:pt x="66" y="94"/>
                  </a:lnTo>
                  <a:lnTo>
                    <a:pt x="66" y="94"/>
                  </a:lnTo>
                  <a:lnTo>
                    <a:pt x="62" y="96"/>
                  </a:lnTo>
                  <a:lnTo>
                    <a:pt x="60" y="96"/>
                  </a:lnTo>
                  <a:lnTo>
                    <a:pt x="58" y="98"/>
                  </a:lnTo>
                  <a:lnTo>
                    <a:pt x="56" y="100"/>
                  </a:lnTo>
                  <a:lnTo>
                    <a:pt x="54" y="102"/>
                  </a:lnTo>
                  <a:lnTo>
                    <a:pt x="52" y="108"/>
                  </a:lnTo>
                  <a:lnTo>
                    <a:pt x="50" y="112"/>
                  </a:lnTo>
                  <a:lnTo>
                    <a:pt x="48" y="118"/>
                  </a:lnTo>
                  <a:lnTo>
                    <a:pt x="48" y="124"/>
                  </a:lnTo>
                  <a:lnTo>
                    <a:pt x="46" y="130"/>
                  </a:lnTo>
                  <a:lnTo>
                    <a:pt x="46" y="138"/>
                  </a:lnTo>
                  <a:lnTo>
                    <a:pt x="46" y="144"/>
                  </a:lnTo>
                  <a:lnTo>
                    <a:pt x="46" y="150"/>
                  </a:lnTo>
                  <a:lnTo>
                    <a:pt x="46" y="156"/>
                  </a:lnTo>
                  <a:lnTo>
                    <a:pt x="48" y="162"/>
                  </a:lnTo>
                  <a:lnTo>
                    <a:pt x="48" y="176"/>
                  </a:lnTo>
                  <a:lnTo>
                    <a:pt x="50" y="182"/>
                  </a:lnTo>
                  <a:lnTo>
                    <a:pt x="50" y="188"/>
                  </a:lnTo>
                  <a:lnTo>
                    <a:pt x="52" y="194"/>
                  </a:lnTo>
                  <a:lnTo>
                    <a:pt x="54" y="200"/>
                  </a:lnTo>
                  <a:lnTo>
                    <a:pt x="54" y="200"/>
                  </a:lnTo>
                  <a:lnTo>
                    <a:pt x="54" y="202"/>
                  </a:lnTo>
                  <a:lnTo>
                    <a:pt x="52" y="206"/>
                  </a:lnTo>
                  <a:lnTo>
                    <a:pt x="52" y="212"/>
                  </a:lnTo>
                  <a:lnTo>
                    <a:pt x="48" y="218"/>
                  </a:lnTo>
                  <a:lnTo>
                    <a:pt x="46" y="224"/>
                  </a:lnTo>
                  <a:lnTo>
                    <a:pt x="44" y="230"/>
                  </a:lnTo>
                  <a:lnTo>
                    <a:pt x="40" y="234"/>
                  </a:lnTo>
                  <a:lnTo>
                    <a:pt x="38" y="240"/>
                  </a:lnTo>
                  <a:lnTo>
                    <a:pt x="36" y="244"/>
                  </a:lnTo>
                  <a:lnTo>
                    <a:pt x="36" y="242"/>
                  </a:lnTo>
                  <a:lnTo>
                    <a:pt x="34" y="254"/>
                  </a:lnTo>
                  <a:lnTo>
                    <a:pt x="32" y="264"/>
                  </a:lnTo>
                  <a:lnTo>
                    <a:pt x="32" y="276"/>
                  </a:lnTo>
                  <a:lnTo>
                    <a:pt x="30" y="286"/>
                  </a:lnTo>
                  <a:lnTo>
                    <a:pt x="28" y="296"/>
                  </a:lnTo>
                  <a:lnTo>
                    <a:pt x="26" y="306"/>
                  </a:lnTo>
                  <a:lnTo>
                    <a:pt x="24" y="316"/>
                  </a:lnTo>
                  <a:lnTo>
                    <a:pt x="22" y="324"/>
                  </a:lnTo>
                  <a:lnTo>
                    <a:pt x="20" y="328"/>
                  </a:lnTo>
                  <a:lnTo>
                    <a:pt x="20" y="332"/>
                  </a:lnTo>
                  <a:lnTo>
                    <a:pt x="18" y="334"/>
                  </a:lnTo>
                  <a:lnTo>
                    <a:pt x="18" y="338"/>
                  </a:lnTo>
                  <a:lnTo>
                    <a:pt x="16" y="340"/>
                  </a:lnTo>
                  <a:lnTo>
                    <a:pt x="16" y="342"/>
                  </a:lnTo>
                  <a:lnTo>
                    <a:pt x="14" y="346"/>
                  </a:lnTo>
                  <a:lnTo>
                    <a:pt x="14" y="348"/>
                  </a:lnTo>
                  <a:lnTo>
                    <a:pt x="16" y="352"/>
                  </a:lnTo>
                  <a:lnTo>
                    <a:pt x="18" y="358"/>
                  </a:lnTo>
                  <a:lnTo>
                    <a:pt x="20" y="362"/>
                  </a:lnTo>
                  <a:lnTo>
                    <a:pt x="22" y="368"/>
                  </a:lnTo>
                  <a:lnTo>
                    <a:pt x="26" y="374"/>
                  </a:lnTo>
                  <a:lnTo>
                    <a:pt x="28" y="380"/>
                  </a:lnTo>
                  <a:lnTo>
                    <a:pt x="30" y="386"/>
                  </a:lnTo>
                  <a:lnTo>
                    <a:pt x="30" y="392"/>
                  </a:lnTo>
                  <a:lnTo>
                    <a:pt x="30" y="392"/>
                  </a:lnTo>
                  <a:lnTo>
                    <a:pt x="30" y="392"/>
                  </a:lnTo>
                  <a:lnTo>
                    <a:pt x="30" y="400"/>
                  </a:lnTo>
                  <a:lnTo>
                    <a:pt x="30" y="408"/>
                  </a:lnTo>
                  <a:lnTo>
                    <a:pt x="28" y="414"/>
                  </a:lnTo>
                  <a:lnTo>
                    <a:pt x="28" y="422"/>
                  </a:lnTo>
                  <a:lnTo>
                    <a:pt x="26" y="430"/>
                  </a:lnTo>
                  <a:lnTo>
                    <a:pt x="24" y="436"/>
                  </a:lnTo>
                  <a:lnTo>
                    <a:pt x="22" y="444"/>
                  </a:lnTo>
                  <a:lnTo>
                    <a:pt x="20" y="450"/>
                  </a:lnTo>
                  <a:lnTo>
                    <a:pt x="20" y="454"/>
                  </a:lnTo>
                  <a:lnTo>
                    <a:pt x="18" y="460"/>
                  </a:lnTo>
                  <a:lnTo>
                    <a:pt x="18" y="464"/>
                  </a:lnTo>
                  <a:lnTo>
                    <a:pt x="16" y="468"/>
                  </a:lnTo>
                  <a:lnTo>
                    <a:pt x="14" y="476"/>
                  </a:lnTo>
                  <a:lnTo>
                    <a:pt x="12" y="484"/>
                  </a:lnTo>
                  <a:lnTo>
                    <a:pt x="12" y="488"/>
                  </a:lnTo>
                  <a:lnTo>
                    <a:pt x="8" y="492"/>
                  </a:lnTo>
                  <a:lnTo>
                    <a:pt x="4" y="500"/>
                  </a:lnTo>
                  <a:lnTo>
                    <a:pt x="2" y="504"/>
                  </a:lnTo>
                  <a:lnTo>
                    <a:pt x="0" y="508"/>
                  </a:lnTo>
                  <a:lnTo>
                    <a:pt x="0" y="510"/>
                  </a:lnTo>
                  <a:lnTo>
                    <a:pt x="0" y="512"/>
                  </a:lnTo>
                  <a:lnTo>
                    <a:pt x="0" y="514"/>
                  </a:lnTo>
                  <a:lnTo>
                    <a:pt x="0" y="514"/>
                  </a:lnTo>
                  <a:lnTo>
                    <a:pt x="2" y="518"/>
                  </a:lnTo>
                  <a:lnTo>
                    <a:pt x="6" y="520"/>
                  </a:lnTo>
                  <a:lnTo>
                    <a:pt x="10" y="522"/>
                  </a:lnTo>
                  <a:lnTo>
                    <a:pt x="14" y="524"/>
                  </a:lnTo>
                  <a:lnTo>
                    <a:pt x="16" y="526"/>
                  </a:lnTo>
                  <a:lnTo>
                    <a:pt x="16" y="526"/>
                  </a:lnTo>
                  <a:lnTo>
                    <a:pt x="18" y="526"/>
                  </a:lnTo>
                  <a:lnTo>
                    <a:pt x="20" y="530"/>
                  </a:lnTo>
                  <a:lnTo>
                    <a:pt x="20" y="530"/>
                  </a:lnTo>
                  <a:lnTo>
                    <a:pt x="20" y="530"/>
                  </a:lnTo>
                  <a:lnTo>
                    <a:pt x="20" y="530"/>
                  </a:lnTo>
                  <a:lnTo>
                    <a:pt x="20" y="530"/>
                  </a:lnTo>
                  <a:lnTo>
                    <a:pt x="22" y="532"/>
                  </a:lnTo>
                  <a:lnTo>
                    <a:pt x="22" y="534"/>
                  </a:lnTo>
                  <a:lnTo>
                    <a:pt x="22" y="534"/>
                  </a:lnTo>
                  <a:lnTo>
                    <a:pt x="22" y="534"/>
                  </a:lnTo>
                  <a:lnTo>
                    <a:pt x="22" y="536"/>
                  </a:lnTo>
                  <a:lnTo>
                    <a:pt x="22" y="536"/>
                  </a:lnTo>
                  <a:lnTo>
                    <a:pt x="22" y="538"/>
                  </a:lnTo>
                  <a:lnTo>
                    <a:pt x="22" y="542"/>
                  </a:lnTo>
                  <a:lnTo>
                    <a:pt x="22" y="542"/>
                  </a:lnTo>
                  <a:lnTo>
                    <a:pt x="22" y="542"/>
                  </a:lnTo>
                  <a:lnTo>
                    <a:pt x="20" y="546"/>
                  </a:lnTo>
                  <a:lnTo>
                    <a:pt x="18" y="548"/>
                  </a:lnTo>
                  <a:lnTo>
                    <a:pt x="18" y="552"/>
                  </a:lnTo>
                  <a:lnTo>
                    <a:pt x="16" y="556"/>
                  </a:lnTo>
                  <a:lnTo>
                    <a:pt x="14" y="558"/>
                  </a:lnTo>
                  <a:lnTo>
                    <a:pt x="14" y="560"/>
                  </a:lnTo>
                  <a:lnTo>
                    <a:pt x="16" y="560"/>
                  </a:lnTo>
                  <a:lnTo>
                    <a:pt x="16" y="562"/>
                  </a:lnTo>
                  <a:lnTo>
                    <a:pt x="18" y="562"/>
                  </a:lnTo>
                  <a:lnTo>
                    <a:pt x="20" y="564"/>
                  </a:lnTo>
                  <a:lnTo>
                    <a:pt x="26" y="566"/>
                  </a:lnTo>
                  <a:lnTo>
                    <a:pt x="28" y="568"/>
                  </a:lnTo>
                  <a:lnTo>
                    <a:pt x="28" y="568"/>
                  </a:lnTo>
                  <a:lnTo>
                    <a:pt x="28" y="568"/>
                  </a:lnTo>
                  <a:lnTo>
                    <a:pt x="30" y="570"/>
                  </a:lnTo>
                  <a:lnTo>
                    <a:pt x="34" y="574"/>
                  </a:lnTo>
                  <a:lnTo>
                    <a:pt x="38" y="578"/>
                  </a:lnTo>
                  <a:lnTo>
                    <a:pt x="44" y="582"/>
                  </a:lnTo>
                  <a:lnTo>
                    <a:pt x="48" y="588"/>
                  </a:lnTo>
                  <a:lnTo>
                    <a:pt x="50" y="592"/>
                  </a:lnTo>
                  <a:lnTo>
                    <a:pt x="52" y="596"/>
                  </a:lnTo>
                  <a:lnTo>
                    <a:pt x="56" y="602"/>
                  </a:lnTo>
                  <a:lnTo>
                    <a:pt x="58" y="606"/>
                  </a:lnTo>
                  <a:lnTo>
                    <a:pt x="60" y="610"/>
                  </a:lnTo>
                  <a:lnTo>
                    <a:pt x="62" y="612"/>
                  </a:lnTo>
                  <a:lnTo>
                    <a:pt x="64" y="614"/>
                  </a:lnTo>
                  <a:lnTo>
                    <a:pt x="64" y="616"/>
                  </a:lnTo>
                  <a:lnTo>
                    <a:pt x="64" y="616"/>
                  </a:lnTo>
                  <a:lnTo>
                    <a:pt x="64" y="616"/>
                  </a:lnTo>
                  <a:lnTo>
                    <a:pt x="66" y="616"/>
                  </a:lnTo>
                  <a:lnTo>
                    <a:pt x="68" y="616"/>
                  </a:lnTo>
                  <a:lnTo>
                    <a:pt x="68" y="616"/>
                  </a:lnTo>
                  <a:lnTo>
                    <a:pt x="68" y="616"/>
                  </a:lnTo>
                  <a:lnTo>
                    <a:pt x="70" y="616"/>
                  </a:lnTo>
                  <a:lnTo>
                    <a:pt x="72" y="616"/>
                  </a:lnTo>
                  <a:lnTo>
                    <a:pt x="74" y="616"/>
                  </a:lnTo>
                  <a:lnTo>
                    <a:pt x="78" y="616"/>
                  </a:lnTo>
                  <a:lnTo>
                    <a:pt x="82" y="616"/>
                  </a:lnTo>
                  <a:lnTo>
                    <a:pt x="90" y="616"/>
                  </a:lnTo>
                  <a:lnTo>
                    <a:pt x="98" y="618"/>
                  </a:lnTo>
                  <a:lnTo>
                    <a:pt x="98" y="618"/>
                  </a:lnTo>
                  <a:lnTo>
                    <a:pt x="98" y="618"/>
                  </a:lnTo>
                  <a:lnTo>
                    <a:pt x="98" y="616"/>
                  </a:lnTo>
                  <a:lnTo>
                    <a:pt x="94" y="610"/>
                  </a:lnTo>
                  <a:close/>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24" name="TextBox 223"/>
            <p:cNvSpPr txBox="1"/>
            <p:nvPr/>
          </p:nvSpPr>
          <p:spPr>
            <a:xfrm>
              <a:off x="2355126" y="4171314"/>
              <a:ext cx="1516890"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baseline="0">
                  <a:latin typeface="+mn-lt"/>
                </a:defRPr>
              </a:lvl1pPr>
              <a:lvl2pPr marL="1588" lvl="1" indent="0" algn="ctr" defTabSz="895255" eaLnBrk="1" hangingPunct="1">
                <a:buClr>
                  <a:schemeClr val="tx2"/>
                </a:buClr>
                <a:buSzPct val="125000"/>
                <a:buFont typeface="Arial" charset="0"/>
                <a:buNone/>
                <a:defRPr baseline="0">
                  <a:solidFill>
                    <a:schemeClr val="bg2"/>
                  </a:solidFill>
                  <a:latin typeface="Georgia" panose="02040502050405020303" pitchFamily="18" charset="0"/>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2000" b="1" dirty="0">
                  <a:solidFill>
                    <a:schemeClr val="accent3"/>
                  </a:solidFill>
                  <a:latin typeface="+mn-lt"/>
                </a:rPr>
                <a:t>South Africa</a:t>
              </a:r>
            </a:p>
          </p:txBody>
        </p:sp>
        <p:cxnSp>
          <p:nvCxnSpPr>
            <p:cNvPr id="10" name="Straight Arrow Connector 9"/>
            <p:cNvCxnSpPr/>
            <p:nvPr/>
          </p:nvCxnSpPr>
          <p:spPr>
            <a:xfrm flipV="1">
              <a:off x="3113571" y="3739348"/>
              <a:ext cx="0" cy="387946"/>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grpSp>
        <p:nvGrpSpPr>
          <p:cNvPr id="4" name="Group 3"/>
          <p:cNvGrpSpPr>
            <a:grpSpLocks/>
          </p:cNvGrpSpPr>
          <p:nvPr/>
        </p:nvGrpSpPr>
        <p:grpSpPr>
          <a:xfrm>
            <a:off x="7216103" y="2726514"/>
            <a:ext cx="1565040" cy="1497005"/>
            <a:chOff x="4999227" y="2368377"/>
            <a:chExt cx="4122537" cy="3631306"/>
          </a:xfrm>
        </p:grpSpPr>
        <p:sp>
          <p:nvSpPr>
            <p:cNvPr id="159" name="Freeform 678"/>
            <p:cNvSpPr>
              <a:spLocks/>
            </p:cNvSpPr>
            <p:nvPr>
              <p:custDataLst>
                <p:tags r:id="rId3"/>
              </p:custDataLst>
            </p:nvPr>
          </p:nvSpPr>
          <p:spPr bwMode="gray">
            <a:xfrm>
              <a:off x="4999227" y="3238379"/>
              <a:ext cx="21239" cy="27939"/>
            </a:xfrm>
            <a:custGeom>
              <a:avLst/>
              <a:gdLst>
                <a:gd name="T0" fmla="*/ 0 w 18"/>
                <a:gd name="T1" fmla="*/ 0 h 25"/>
                <a:gd name="T2" fmla="*/ 8 w 18"/>
                <a:gd name="T3" fmla="*/ 24 h 25"/>
                <a:gd name="T4" fmla="*/ 17 w 18"/>
                <a:gd name="T5" fmla="*/ 16 h 25"/>
                <a:gd name="T6" fmla="*/ 0 w 18"/>
                <a:gd name="T7" fmla="*/ 0 h 25"/>
              </a:gdLst>
              <a:ahLst/>
              <a:cxnLst>
                <a:cxn ang="0">
                  <a:pos x="T0" y="T1"/>
                </a:cxn>
                <a:cxn ang="0">
                  <a:pos x="T2" y="T3"/>
                </a:cxn>
                <a:cxn ang="0">
                  <a:pos x="T4" y="T5"/>
                </a:cxn>
                <a:cxn ang="0">
                  <a:pos x="T6" y="T7"/>
                </a:cxn>
              </a:cxnLst>
              <a:rect l="0" t="0" r="r" b="b"/>
              <a:pathLst>
                <a:path w="18" h="25">
                  <a:moveTo>
                    <a:pt x="0" y="0"/>
                  </a:moveTo>
                  <a:lnTo>
                    <a:pt x="8" y="24"/>
                  </a:lnTo>
                  <a:lnTo>
                    <a:pt x="17" y="16"/>
                  </a:lnTo>
                  <a:lnTo>
                    <a:pt x="0" y="0"/>
                  </a:lnTo>
                </a:path>
              </a:pathLst>
            </a:custGeom>
            <a:solidFill>
              <a:schemeClr val="bg1"/>
            </a:solidFill>
            <a:ln w="9525" cap="flat" cmpd="sng">
              <a:solidFill>
                <a:schemeClr val="accent6">
                  <a:lumMod val="40000"/>
                  <a:lumOff val="6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dirty="0"/>
            </a:p>
          </p:txBody>
        </p:sp>
        <p:pic>
          <p:nvPicPr>
            <p:cNvPr id="223" name="Picture 222"/>
            <p:cNvPicPr>
              <a:picLocks noChangeAspect="1"/>
            </p:cNvPicPr>
            <p:nvPr/>
          </p:nvPicPr>
          <p:blipFill>
            <a:blip r:embed="rId182" cstate="email">
              <a:extLst>
                <a:ext uri="{BEBA8EAE-BF5A-486C-A8C5-ECC9F3942E4B}">
                  <a14:imgProps xmlns:a14="http://schemas.microsoft.com/office/drawing/2010/main">
                    <a14:imgLayer r:embed="rId183">
                      <a14:imgEffect>
                        <a14:backgroundRemoval t="1538" b="100000" l="0" r="100000"/>
                      </a14:imgEffect>
                    </a14:imgLayer>
                  </a14:imgProps>
                </a:ext>
                <a:ext uri="{28A0092B-C50C-407E-A947-70E740481C1C}">
                  <a14:useLocalDpi xmlns:a14="http://schemas.microsoft.com/office/drawing/2010/main"/>
                </a:ext>
              </a:extLst>
            </a:blip>
            <a:stretch>
              <a:fillRect/>
            </a:stretch>
          </p:blipFill>
          <p:spPr>
            <a:xfrm>
              <a:off x="5539811" y="2368377"/>
              <a:ext cx="1045277" cy="1509844"/>
            </a:xfrm>
            <a:prstGeom prst="rect">
              <a:avLst/>
            </a:prstGeom>
          </p:spPr>
        </p:pic>
        <p:pic>
          <p:nvPicPr>
            <p:cNvPr id="225" name="Picture 14" descr="http://www.yogitea.com/wp-content/uploads/sites/7/2014/12/ingredient-47-Rooibos-300x300.png"/>
            <p:cNvPicPr>
              <a:picLocks noChangeArrowheads="1"/>
            </p:cNvPicPr>
            <p:nvPr/>
          </p:nvPicPr>
          <p:blipFill>
            <a:blip r:embed="rId184" cstate="email">
              <a:extLst>
                <a:ext uri="{28A0092B-C50C-407E-A947-70E740481C1C}">
                  <a14:useLocalDpi xmlns:a14="http://schemas.microsoft.com/office/drawing/2010/main"/>
                </a:ext>
              </a:extLst>
            </a:blip>
            <a:srcRect/>
            <a:stretch>
              <a:fillRect/>
            </a:stretch>
          </p:blipFill>
          <p:spPr bwMode="auto">
            <a:xfrm>
              <a:off x="7412705" y="2402145"/>
              <a:ext cx="1709059" cy="1728346"/>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225"/>
            <p:cNvPicPr>
              <a:picLocks noChangeAspect="1"/>
            </p:cNvPicPr>
            <p:nvPr/>
          </p:nvPicPr>
          <p:blipFill>
            <a:blip r:embed="rId185" cstate="email">
              <a:extLst>
                <a:ext uri="{BEBA8EAE-BF5A-486C-A8C5-ECC9F3942E4B}">
                  <a14:imgProps xmlns:a14="http://schemas.microsoft.com/office/drawing/2010/main">
                    <a14:imgLayer r:embed="rId186">
                      <a14:imgEffect>
                        <a14:backgroundRemoval t="6329" b="97722" l="5410" r="99536"/>
                      </a14:imgEffect>
                    </a14:imgLayer>
                  </a14:imgProps>
                </a:ext>
                <a:ext uri="{28A0092B-C50C-407E-A947-70E740481C1C}">
                  <a14:useLocalDpi xmlns:a14="http://schemas.microsoft.com/office/drawing/2010/main"/>
                </a:ext>
              </a:extLst>
            </a:blip>
            <a:stretch>
              <a:fillRect/>
            </a:stretch>
          </p:blipFill>
          <p:spPr>
            <a:xfrm>
              <a:off x="7020559" y="4784092"/>
              <a:ext cx="1940879" cy="1184927"/>
            </a:xfrm>
            <a:prstGeom prst="rect">
              <a:avLst/>
            </a:prstGeom>
          </p:spPr>
        </p:pic>
        <p:pic>
          <p:nvPicPr>
            <p:cNvPr id="227" name="Picture 18" descr="Aloe Vera, Plant, Medicinal"/>
            <p:cNvPicPr>
              <a:picLocks noChangeArrowheads="1"/>
            </p:cNvPicPr>
            <p:nvPr/>
          </p:nvPicPr>
          <p:blipFill>
            <a:blip r:embed="rId187" cstate="email">
              <a:extLst>
                <a:ext uri="{28A0092B-C50C-407E-A947-70E740481C1C}">
                  <a14:useLocalDpi xmlns:a14="http://schemas.microsoft.com/office/drawing/2010/main"/>
                </a:ext>
              </a:extLst>
            </a:blip>
            <a:srcRect/>
            <a:stretch>
              <a:fillRect/>
            </a:stretch>
          </p:blipFill>
          <p:spPr bwMode="auto">
            <a:xfrm>
              <a:off x="5160131" y="4526327"/>
              <a:ext cx="1659490" cy="1473356"/>
            </a:xfrm>
            <a:prstGeom prst="rect">
              <a:avLst/>
            </a:prstGeom>
            <a:noFill/>
            <a:extLst>
              <a:ext uri="{909E8E84-426E-40DD-AFC4-6F175D3DCCD1}">
                <a14:hiddenFill xmlns:a14="http://schemas.microsoft.com/office/drawing/2010/main">
                  <a:solidFill>
                    <a:srgbClr val="FFFFFF"/>
                  </a:solidFill>
                </a14:hiddenFill>
              </a:ext>
            </a:extLst>
          </p:spPr>
        </p:pic>
        <p:pic>
          <p:nvPicPr>
            <p:cNvPr id="228" name="Picture 18" descr="http://www.honeybushhealth.com/wp-content/uploads/2013/01/cyclopia.jpg"/>
            <p:cNvPicPr>
              <a:picLocks noChangeAspect="1" noChangeArrowheads="1"/>
            </p:cNvPicPr>
            <p:nvPr/>
          </p:nvPicPr>
          <p:blipFill>
            <a:blip r:embed="rId188" cstate="email">
              <a:extLst>
                <a:ext uri="{28A0092B-C50C-407E-A947-70E740481C1C}">
                  <a14:useLocalDpi xmlns:a14="http://schemas.microsoft.com/office/drawing/2010/main"/>
                </a:ext>
              </a:extLst>
            </a:blip>
            <a:srcRect/>
            <a:stretch>
              <a:fillRect/>
            </a:stretch>
          </p:blipFill>
          <p:spPr bwMode="gray">
            <a:xfrm>
              <a:off x="6655818" y="3257648"/>
              <a:ext cx="1116586" cy="1860977"/>
            </a:xfrm>
            <a:prstGeom prst="rect">
              <a:avLst/>
            </a:prstGeom>
            <a:noFill/>
            <a:extLst>
              <a:ext uri="{909E8E84-426E-40DD-AFC4-6F175D3DCCD1}">
                <a14:hiddenFill xmlns:a14="http://schemas.microsoft.com/office/drawing/2010/main">
                  <a:solidFill>
                    <a:srgbClr val="FFFFFF"/>
                  </a:solidFill>
                </a14:hiddenFill>
              </a:ext>
            </a:extLst>
          </p:spPr>
        </p:pic>
      </p:grpSp>
      <p:sp>
        <p:nvSpPr>
          <p:cNvPr id="229" name="TextBox 228"/>
          <p:cNvSpPr txBox="1"/>
          <p:nvPr/>
        </p:nvSpPr>
        <p:spPr>
          <a:xfrm>
            <a:off x="3810836" y="4707020"/>
            <a:ext cx="2827500"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lgn="ctr">
              <a:buNone/>
            </a:pPr>
            <a:r>
              <a:rPr lang="en-ZA" sz="3600" b="1" dirty="0" smtClean="0">
                <a:solidFill>
                  <a:schemeClr val="accent3"/>
                </a:solidFill>
              </a:rPr>
              <a:t>15% </a:t>
            </a:r>
            <a:r>
              <a:rPr lang="en-US" sz="2400" dirty="0">
                <a:solidFill>
                  <a:schemeClr val="accent3"/>
                </a:solidFill>
              </a:rPr>
              <a:t>of the world’s </a:t>
            </a:r>
            <a:r>
              <a:rPr lang="en-US" sz="2400" dirty="0" smtClean="0">
                <a:solidFill>
                  <a:schemeClr val="accent3"/>
                </a:solidFill>
              </a:rPr>
              <a:t>coastal </a:t>
            </a:r>
            <a:r>
              <a:rPr lang="en-US" sz="2400" dirty="0">
                <a:solidFill>
                  <a:schemeClr val="accent3"/>
                </a:solidFill>
              </a:rPr>
              <a:t>marine species</a:t>
            </a:r>
          </a:p>
        </p:txBody>
      </p:sp>
      <p:sp>
        <p:nvSpPr>
          <p:cNvPr id="230" name="TextBox 229"/>
          <p:cNvSpPr txBox="1"/>
          <p:nvPr/>
        </p:nvSpPr>
        <p:spPr>
          <a:xfrm>
            <a:off x="4702425" y="816955"/>
            <a:ext cx="2121429" cy="18466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lgn="ctr">
              <a:buNone/>
            </a:pPr>
            <a:r>
              <a:rPr lang="en-ZA" sz="3600" b="1" dirty="0" smtClean="0">
                <a:solidFill>
                  <a:schemeClr val="accent3"/>
                </a:solidFill>
              </a:rPr>
              <a:t>7% </a:t>
            </a:r>
            <a:r>
              <a:rPr lang="en-US" sz="2000" dirty="0">
                <a:solidFill>
                  <a:schemeClr val="accent3"/>
                </a:solidFill>
              </a:rPr>
              <a:t>of the world’s reptiles, birds and mammals</a:t>
            </a:r>
          </a:p>
          <a:p>
            <a:pPr marL="1588" lvl="1" indent="0" algn="ctr">
              <a:buNone/>
            </a:pPr>
            <a:endParaRPr lang="en-US" sz="2400" dirty="0">
              <a:solidFill>
                <a:schemeClr val="accent3"/>
              </a:solidFill>
            </a:endParaRPr>
          </a:p>
        </p:txBody>
      </p:sp>
      <p:grpSp>
        <p:nvGrpSpPr>
          <p:cNvPr id="231" name="Group 230"/>
          <p:cNvGrpSpPr/>
          <p:nvPr/>
        </p:nvGrpSpPr>
        <p:grpSpPr>
          <a:xfrm>
            <a:off x="7338851" y="669221"/>
            <a:ext cx="1456734" cy="1552109"/>
            <a:chOff x="2134458" y="3050457"/>
            <a:chExt cx="2639152" cy="2978399"/>
          </a:xfrm>
        </p:grpSpPr>
        <p:pic>
          <p:nvPicPr>
            <p:cNvPr id="232" name="Picture 231"/>
            <p:cNvPicPr>
              <a:picLocks noChangeAspect="1"/>
            </p:cNvPicPr>
            <p:nvPr/>
          </p:nvPicPr>
          <p:blipFill>
            <a:blip r:embed="rId189" cstate="print">
              <a:extLst>
                <a:ext uri="{BEBA8EAE-BF5A-486C-A8C5-ECC9F3942E4B}">
                  <a14:imgProps xmlns:a14="http://schemas.microsoft.com/office/drawing/2010/main">
                    <a14:imgLayer r:embed="rId190">
                      <a14:imgEffect>
                        <a14:backgroundRemoval t="9954" b="93088" l="9979" r="87686"/>
                      </a14:imgEffect>
                    </a14:imgLayer>
                  </a14:imgProps>
                </a:ext>
                <a:ext uri="{28A0092B-C50C-407E-A947-70E740481C1C}">
                  <a14:useLocalDpi xmlns:a14="http://schemas.microsoft.com/office/drawing/2010/main" val="0"/>
                </a:ext>
              </a:extLst>
            </a:blip>
            <a:stretch>
              <a:fillRect/>
            </a:stretch>
          </p:blipFill>
          <p:spPr>
            <a:xfrm>
              <a:off x="2134458" y="3155679"/>
              <a:ext cx="1213820" cy="1399107"/>
            </a:xfrm>
            <a:prstGeom prst="rect">
              <a:avLst/>
            </a:prstGeom>
          </p:spPr>
        </p:pic>
        <p:pic>
          <p:nvPicPr>
            <p:cNvPr id="233" name="Picture 232"/>
            <p:cNvPicPr>
              <a:picLocks noChangeAspect="1"/>
            </p:cNvPicPr>
            <p:nvPr/>
          </p:nvPicPr>
          <p:blipFill>
            <a:blip r:embed="rId191" cstate="print">
              <a:extLst>
                <a:ext uri="{BEBA8EAE-BF5A-486C-A8C5-ECC9F3942E4B}">
                  <a14:imgProps xmlns:a14="http://schemas.microsoft.com/office/drawing/2010/main">
                    <a14:imgLayer r:embed="rId192">
                      <a14:imgEffect>
                        <a14:backgroundRemoval t="7969" b="96184" l="10733" r="91536">
                          <a14:foregroundMark x1="73124" y1="18182" x2="68674" y2="18182"/>
                          <a14:foregroundMark x1="82373" y1="9764" x2="78098" y2="14141"/>
                        </a14:backgroundRemoval>
                      </a14:imgEffect>
                    </a14:imgLayer>
                  </a14:imgProps>
                </a:ext>
                <a:ext uri="{28A0092B-C50C-407E-A947-70E740481C1C}">
                  <a14:useLocalDpi xmlns:a14="http://schemas.microsoft.com/office/drawing/2010/main" val="0"/>
                </a:ext>
              </a:extLst>
            </a:blip>
            <a:stretch>
              <a:fillRect/>
            </a:stretch>
          </p:blipFill>
          <p:spPr>
            <a:xfrm>
              <a:off x="3370097" y="5021484"/>
              <a:ext cx="1124725" cy="874307"/>
            </a:xfrm>
            <a:prstGeom prst="rect">
              <a:avLst/>
            </a:prstGeom>
          </p:spPr>
        </p:pic>
        <p:pic>
          <p:nvPicPr>
            <p:cNvPr id="234" name="Picture 233"/>
            <p:cNvPicPr>
              <a:picLocks noChangeAspect="1"/>
            </p:cNvPicPr>
            <p:nvPr/>
          </p:nvPicPr>
          <p:blipFill>
            <a:blip r:embed="rId193" cstate="print">
              <a:extLst>
                <a:ext uri="{BEBA8EAE-BF5A-486C-A8C5-ECC9F3942E4B}">
                  <a14:imgProps xmlns:a14="http://schemas.microsoft.com/office/drawing/2010/main">
                    <a14:imgLayer r:embed="rId194">
                      <a14:imgEffect>
                        <a14:backgroundRemoval t="9952" b="90526" l="9918" r="89980">
                          <a14:foregroundMark x1="70245" y1="38373" x2="70859" y2="44211"/>
                          <a14:foregroundMark x1="74233" y1="17512" x2="68814" y2="15311"/>
                          <a14:foregroundMark x1="68609" y1="15120" x2="66667" y2="16077"/>
                        </a14:backgroundRemoval>
                      </a14:imgEffect>
                    </a14:imgLayer>
                  </a14:imgProps>
                </a:ext>
                <a:ext uri="{28A0092B-C50C-407E-A947-70E740481C1C}">
                  <a14:useLocalDpi xmlns:a14="http://schemas.microsoft.com/office/drawing/2010/main" val="0"/>
                </a:ext>
              </a:extLst>
            </a:blip>
            <a:stretch>
              <a:fillRect/>
            </a:stretch>
          </p:blipFill>
          <p:spPr>
            <a:xfrm>
              <a:off x="2994186" y="3838240"/>
              <a:ext cx="1283758" cy="1371331"/>
            </a:xfrm>
            <a:prstGeom prst="rect">
              <a:avLst/>
            </a:prstGeom>
          </p:spPr>
        </p:pic>
        <p:pic>
          <p:nvPicPr>
            <p:cNvPr id="235" name="Picture 234"/>
            <p:cNvPicPr>
              <a:picLocks noChangeAspect="1"/>
            </p:cNvPicPr>
            <p:nvPr/>
          </p:nvPicPr>
          <p:blipFill>
            <a:blip r:embed="rId195" cstate="print">
              <a:extLst>
                <a:ext uri="{BEBA8EAE-BF5A-486C-A8C5-ECC9F3942E4B}">
                  <a14:imgProps xmlns:a14="http://schemas.microsoft.com/office/drawing/2010/main">
                    <a14:imgLayer r:embed="rId196">
                      <a14:imgEffect>
                        <a14:backgroundRemoval t="9916" b="89964" l="7535" r="89926"/>
                      </a14:imgEffect>
                    </a14:imgLayer>
                  </a14:imgProps>
                </a:ext>
                <a:ext uri="{28A0092B-C50C-407E-A947-70E740481C1C}">
                  <a14:useLocalDpi xmlns:a14="http://schemas.microsoft.com/office/drawing/2010/main" val="0"/>
                </a:ext>
              </a:extLst>
            </a:blip>
            <a:stretch>
              <a:fillRect/>
            </a:stretch>
          </p:blipFill>
          <p:spPr>
            <a:xfrm>
              <a:off x="3014293" y="3050457"/>
              <a:ext cx="1759317" cy="1205634"/>
            </a:xfrm>
            <a:prstGeom prst="rect">
              <a:avLst/>
            </a:prstGeom>
          </p:spPr>
        </p:pic>
        <p:pic>
          <p:nvPicPr>
            <p:cNvPr id="236" name="Picture 235"/>
            <p:cNvPicPr>
              <a:picLocks noChangeAspect="1"/>
            </p:cNvPicPr>
            <p:nvPr/>
          </p:nvPicPr>
          <p:blipFill>
            <a:blip r:embed="rId197" cstate="print">
              <a:extLst>
                <a:ext uri="{BEBA8EAE-BF5A-486C-A8C5-ECC9F3942E4B}">
                  <a14:imgProps xmlns:a14="http://schemas.microsoft.com/office/drawing/2010/main">
                    <a14:imgLayer r:embed="rId198">
                      <a14:imgEffect>
                        <a14:backgroundRemoval t="4942" b="98062" l="2510" r="96236"/>
                      </a14:imgEffect>
                    </a14:imgLayer>
                  </a14:imgProps>
                </a:ext>
                <a:ext uri="{28A0092B-C50C-407E-A947-70E740481C1C}">
                  <a14:useLocalDpi xmlns:a14="http://schemas.microsoft.com/office/drawing/2010/main" val="0"/>
                </a:ext>
              </a:extLst>
            </a:blip>
            <a:stretch>
              <a:fillRect/>
            </a:stretch>
          </p:blipFill>
          <p:spPr>
            <a:xfrm>
              <a:off x="2194180" y="5183529"/>
              <a:ext cx="1502002" cy="845327"/>
            </a:xfrm>
            <a:prstGeom prst="rect">
              <a:avLst/>
            </a:prstGeom>
          </p:spPr>
        </p:pic>
        <p:pic>
          <p:nvPicPr>
            <p:cNvPr id="237" name="Picture 236"/>
            <p:cNvPicPr>
              <a:picLocks noChangeAspect="1"/>
            </p:cNvPicPr>
            <p:nvPr/>
          </p:nvPicPr>
          <p:blipFill>
            <a:blip r:embed="rId199" cstate="print">
              <a:extLst>
                <a:ext uri="{BEBA8EAE-BF5A-486C-A8C5-ECC9F3942E4B}">
                  <a14:imgProps xmlns:a14="http://schemas.microsoft.com/office/drawing/2010/main">
                    <a14:imgLayer r:embed="rId200">
                      <a14:imgEffect>
                        <a14:backgroundRemoval t="1799" b="89974" l="0" r="89880">
                          <a14:backgroundMark x1="23328" y1="46530" x2="23328" y2="46530"/>
                          <a14:backgroundMark x1="13894" y1="30334" x2="32762" y2="16195"/>
                          <a14:backgroundMark x1="32762" y1="16195" x2="33448" y2="70437"/>
                          <a14:backgroundMark x1="70497" y1="75578" x2="53002" y2="43445"/>
                        </a14:backgroundRemoval>
                      </a14:imgEffect>
                    </a14:imgLayer>
                  </a14:imgProps>
                </a:ext>
                <a:ext uri="{28A0092B-C50C-407E-A947-70E740481C1C}">
                  <a14:useLocalDpi xmlns:a14="http://schemas.microsoft.com/office/drawing/2010/main" val="0"/>
                </a:ext>
              </a:extLst>
            </a:blip>
            <a:stretch>
              <a:fillRect/>
            </a:stretch>
          </p:blipFill>
          <p:spPr>
            <a:xfrm>
              <a:off x="2278755" y="4373775"/>
              <a:ext cx="1230653" cy="821139"/>
            </a:xfrm>
            <a:prstGeom prst="rect">
              <a:avLst/>
            </a:prstGeom>
          </p:spPr>
        </p:pic>
        <p:pic>
          <p:nvPicPr>
            <p:cNvPr id="238" name="Picture 237"/>
            <p:cNvPicPr>
              <a:picLocks noChangeAspect="1"/>
            </p:cNvPicPr>
            <p:nvPr/>
          </p:nvPicPr>
          <p:blipFill>
            <a:blip r:embed="rId201" cstate="print">
              <a:extLst>
                <a:ext uri="{BEBA8EAE-BF5A-486C-A8C5-ECC9F3942E4B}">
                  <a14:imgProps xmlns:a14="http://schemas.microsoft.com/office/drawing/2010/main">
                    <a14:imgLayer r:embed="rId202">
                      <a14:imgEffect>
                        <a14:backgroundRemoval t="9945" b="89871" l="5420" r="94687"/>
                      </a14:imgEffect>
                    </a14:imgLayer>
                  </a14:imgProps>
                </a:ext>
                <a:ext uri="{28A0092B-C50C-407E-A947-70E740481C1C}">
                  <a14:useLocalDpi xmlns:a14="http://schemas.microsoft.com/office/drawing/2010/main" val="0"/>
                </a:ext>
              </a:extLst>
            </a:blip>
            <a:stretch>
              <a:fillRect/>
            </a:stretch>
          </p:blipFill>
          <p:spPr>
            <a:xfrm>
              <a:off x="3731141" y="4329369"/>
              <a:ext cx="815722" cy="941609"/>
            </a:xfrm>
            <a:prstGeom prst="rect">
              <a:avLst/>
            </a:prstGeom>
          </p:spPr>
        </p:pic>
      </p:grpSp>
      <p:grpSp>
        <p:nvGrpSpPr>
          <p:cNvPr id="239" name="Group 238"/>
          <p:cNvGrpSpPr>
            <a:grpSpLocks/>
          </p:cNvGrpSpPr>
          <p:nvPr/>
        </p:nvGrpSpPr>
        <p:grpSpPr>
          <a:xfrm>
            <a:off x="7216103" y="4608207"/>
            <a:ext cx="1565040" cy="1497005"/>
            <a:chOff x="6634063" y="3522051"/>
            <a:chExt cx="2371102" cy="2117699"/>
          </a:xfrm>
        </p:grpSpPr>
        <p:pic>
          <p:nvPicPr>
            <p:cNvPr id="240" name="Picture 239"/>
            <p:cNvPicPr>
              <a:picLocks noChangeAspect="1"/>
            </p:cNvPicPr>
            <p:nvPr/>
          </p:nvPicPr>
          <p:blipFill>
            <a:blip r:embed="rId203" cstate="print">
              <a:extLst>
                <a:ext uri="{BEBA8EAE-BF5A-486C-A8C5-ECC9F3942E4B}">
                  <a14:imgProps xmlns:a14="http://schemas.microsoft.com/office/drawing/2010/main">
                    <a14:imgLayer r:embed="rId204">
                      <a14:imgEffect>
                        <a14:backgroundRemoval t="9990" b="89911" l="9990" r="93571"/>
                      </a14:imgEffect>
                    </a14:imgLayer>
                  </a14:imgProps>
                </a:ext>
                <a:ext uri="{28A0092B-C50C-407E-A947-70E740481C1C}">
                  <a14:useLocalDpi xmlns:a14="http://schemas.microsoft.com/office/drawing/2010/main" val="0"/>
                </a:ext>
              </a:extLst>
            </a:blip>
            <a:stretch>
              <a:fillRect/>
            </a:stretch>
          </p:blipFill>
          <p:spPr>
            <a:xfrm>
              <a:off x="7923689" y="4558274"/>
              <a:ext cx="1081476" cy="1081476"/>
            </a:xfrm>
            <a:prstGeom prst="rect">
              <a:avLst/>
            </a:prstGeom>
          </p:spPr>
        </p:pic>
        <p:pic>
          <p:nvPicPr>
            <p:cNvPr id="241" name="Picture 240"/>
            <p:cNvPicPr>
              <a:picLocks noChangeAspect="1"/>
            </p:cNvPicPr>
            <p:nvPr/>
          </p:nvPicPr>
          <p:blipFill>
            <a:blip r:embed="rId205" cstate="print">
              <a:extLst>
                <a:ext uri="{BEBA8EAE-BF5A-486C-A8C5-ECC9F3942E4B}">
                  <a14:imgProps xmlns:a14="http://schemas.microsoft.com/office/drawing/2010/main">
                    <a14:imgLayer r:embed="rId206">
                      <a14:imgEffect>
                        <a14:backgroundRemoval t="20255" b="78599" l="4916" r="95469"/>
                      </a14:imgEffect>
                    </a14:imgLayer>
                  </a14:imgProps>
                </a:ext>
                <a:ext uri="{28A0092B-C50C-407E-A947-70E740481C1C}">
                  <a14:useLocalDpi xmlns:a14="http://schemas.microsoft.com/office/drawing/2010/main" val="0"/>
                </a:ext>
              </a:extLst>
            </a:blip>
            <a:stretch>
              <a:fillRect/>
            </a:stretch>
          </p:blipFill>
          <p:spPr>
            <a:xfrm>
              <a:off x="6746507" y="3836757"/>
              <a:ext cx="1449361" cy="873207"/>
            </a:xfrm>
            <a:prstGeom prst="rect">
              <a:avLst/>
            </a:prstGeom>
          </p:spPr>
        </p:pic>
        <p:pic>
          <p:nvPicPr>
            <p:cNvPr id="242" name="Picture 241"/>
            <p:cNvPicPr>
              <a:picLocks noChangeAspect="1"/>
            </p:cNvPicPr>
            <p:nvPr/>
          </p:nvPicPr>
          <p:blipFill>
            <a:blip r:embed="rId207" cstate="print">
              <a:extLst>
                <a:ext uri="{BEBA8EAE-BF5A-486C-A8C5-ECC9F3942E4B}">
                  <a14:imgProps xmlns:a14="http://schemas.microsoft.com/office/drawing/2010/main">
                    <a14:imgLayer r:embed="rId208">
                      <a14:imgEffect>
                        <a14:backgroundRemoval t="6528" b="92582" l="3462" r="95648"/>
                      </a14:imgEffect>
                    </a14:imgLayer>
                  </a14:imgProps>
                </a:ext>
                <a:ext uri="{28A0092B-C50C-407E-A947-70E740481C1C}">
                  <a14:useLocalDpi xmlns:a14="http://schemas.microsoft.com/office/drawing/2010/main" val="0"/>
                </a:ext>
              </a:extLst>
            </a:blip>
            <a:stretch>
              <a:fillRect/>
            </a:stretch>
          </p:blipFill>
          <p:spPr>
            <a:xfrm>
              <a:off x="7806592" y="3661741"/>
              <a:ext cx="539390" cy="539390"/>
            </a:xfrm>
            <a:prstGeom prst="rect">
              <a:avLst/>
            </a:prstGeom>
          </p:spPr>
        </p:pic>
        <p:pic>
          <p:nvPicPr>
            <p:cNvPr id="243" name="Picture 242"/>
            <p:cNvPicPr>
              <a:picLocks noChangeAspect="1"/>
            </p:cNvPicPr>
            <p:nvPr/>
          </p:nvPicPr>
          <p:blipFill>
            <a:blip r:embed="rId209" cstate="print">
              <a:extLst>
                <a:ext uri="{BEBA8EAE-BF5A-486C-A8C5-ECC9F3942E4B}">
                  <a14:imgProps xmlns:a14="http://schemas.microsoft.com/office/drawing/2010/main">
                    <a14:imgLayer r:embed="rId210">
                      <a14:imgEffect>
                        <a14:backgroundRemoval t="7879" b="89697" l="4685" r="93700"/>
                      </a14:imgEffect>
                    </a14:imgLayer>
                  </a14:imgProps>
                </a:ext>
                <a:ext uri="{28A0092B-C50C-407E-A947-70E740481C1C}">
                  <a14:useLocalDpi xmlns:a14="http://schemas.microsoft.com/office/drawing/2010/main" val="0"/>
                </a:ext>
              </a:extLst>
            </a:blip>
            <a:stretch>
              <a:fillRect/>
            </a:stretch>
          </p:blipFill>
          <p:spPr>
            <a:xfrm>
              <a:off x="6634063" y="4346771"/>
              <a:ext cx="1612607" cy="1074753"/>
            </a:xfrm>
            <a:prstGeom prst="rect">
              <a:avLst/>
            </a:prstGeom>
          </p:spPr>
        </p:pic>
        <p:pic>
          <p:nvPicPr>
            <p:cNvPr id="244" name="Picture 243"/>
            <p:cNvPicPr>
              <a:picLocks noChangeAspect="1"/>
            </p:cNvPicPr>
            <p:nvPr/>
          </p:nvPicPr>
          <p:blipFill>
            <a:blip r:embed="rId211" cstate="print">
              <a:extLst>
                <a:ext uri="{BEBA8EAE-BF5A-486C-A8C5-ECC9F3942E4B}">
                  <a14:imgProps xmlns:a14="http://schemas.microsoft.com/office/drawing/2010/main">
                    <a14:imgLayer r:embed="rId212">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8091489" y="3728132"/>
              <a:ext cx="709612" cy="1062215"/>
            </a:xfrm>
            <a:prstGeom prst="rect">
              <a:avLst/>
            </a:prstGeom>
          </p:spPr>
        </p:pic>
        <p:pic>
          <p:nvPicPr>
            <p:cNvPr id="245" name="Picture 244"/>
            <p:cNvPicPr>
              <a:picLocks noChangeAspect="1"/>
            </p:cNvPicPr>
            <p:nvPr/>
          </p:nvPicPr>
          <p:blipFill rotWithShape="1">
            <a:blip r:embed="rId213" cstate="print">
              <a:extLst>
                <a:ext uri="{BEBA8EAE-BF5A-486C-A8C5-ECC9F3942E4B}">
                  <a14:imgProps xmlns:a14="http://schemas.microsoft.com/office/drawing/2010/main">
                    <a14:imgLayer r:embed="rId214">
                      <a14:imgEffect>
                        <a14:backgroundRemoval t="62052" b="91780" l="12189" r="35930"/>
                      </a14:imgEffect>
                    </a14:imgLayer>
                  </a14:imgProps>
                </a:ext>
                <a:ext uri="{28A0092B-C50C-407E-A947-70E740481C1C}">
                  <a14:useLocalDpi xmlns:a14="http://schemas.microsoft.com/office/drawing/2010/main" val="0"/>
                </a:ext>
              </a:extLst>
            </a:blip>
            <a:srcRect l="11259" t="61429" r="62121" b="7953"/>
            <a:stretch/>
          </p:blipFill>
          <p:spPr>
            <a:xfrm>
              <a:off x="7302987" y="3522051"/>
              <a:ext cx="498796" cy="491949"/>
            </a:xfrm>
            <a:prstGeom prst="rect">
              <a:avLst/>
            </a:prstGeom>
          </p:spPr>
        </p:pic>
        <p:pic>
          <p:nvPicPr>
            <p:cNvPr id="246" name="Picture 245"/>
            <p:cNvPicPr>
              <a:picLocks noChangeAspect="1"/>
            </p:cNvPicPr>
            <p:nvPr/>
          </p:nvPicPr>
          <p:blipFill rotWithShape="1">
            <a:blip r:embed="rId215" cstate="print">
              <a:extLst>
                <a:ext uri="{BEBA8EAE-BF5A-486C-A8C5-ECC9F3942E4B}">
                  <a14:imgProps xmlns:a14="http://schemas.microsoft.com/office/drawing/2010/main">
                    <a14:imgLayer r:embed="rId216">
                      <a14:imgEffect>
                        <a14:backgroundRemoval t="43449" b="88195" l="40435" r="61155">
                          <a14:foregroundMark x1="51669" y1="45488" x2="44409" y2="49382"/>
                        </a14:backgroundRemoval>
                      </a14:imgEffect>
                    </a14:imgLayer>
                  </a14:imgProps>
                </a:ext>
                <a:ext uri="{28A0092B-C50C-407E-A947-70E740481C1C}">
                  <a14:useLocalDpi xmlns:a14="http://schemas.microsoft.com/office/drawing/2010/main" val="0"/>
                </a:ext>
              </a:extLst>
            </a:blip>
            <a:srcRect l="39287" t="43494" r="37568" b="11789"/>
            <a:stretch/>
          </p:blipFill>
          <p:spPr>
            <a:xfrm>
              <a:off x="7850121" y="4426309"/>
              <a:ext cx="284072" cy="470622"/>
            </a:xfrm>
            <a:prstGeom prst="rect">
              <a:avLst/>
            </a:prstGeom>
          </p:spPr>
        </p:pic>
      </p:grpSp>
    </p:spTree>
    <p:extLst>
      <p:ext uri="{BB962C8B-B14F-4D97-AF65-F5344CB8AC3E}">
        <p14:creationId xmlns:p14="http://schemas.microsoft.com/office/powerpoint/2010/main" val="362599053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altLang="ja-JP" dirty="0" err="1"/>
              <a:t>iTrack</a:t>
            </a:r>
            <a:r>
              <a:rPr lang="en-US" altLang="ja-JP" dirty="0"/>
              <a:t> tracks both activities and </a:t>
            </a:r>
            <a:r>
              <a:rPr lang="en-US" altLang="ja-JP" dirty="0" err="1"/>
              <a:t>KPIs</a:t>
            </a:r>
            <a:r>
              <a:rPr lang="en-US" altLang="ja-JP" dirty="0"/>
              <a:t> and provides unique use cases for different stakeholders involved in the project</a:t>
            </a:r>
            <a:endParaRPr lang="ja-JP" altLang="en-US" dirty="0"/>
          </a:p>
        </p:txBody>
      </p:sp>
      <p:grpSp>
        <p:nvGrpSpPr>
          <p:cNvPr id="5" name="Group 4"/>
          <p:cNvGrpSpPr/>
          <p:nvPr/>
        </p:nvGrpSpPr>
        <p:grpSpPr>
          <a:xfrm>
            <a:off x="0" y="1222432"/>
            <a:ext cx="8961438" cy="568548"/>
            <a:chOff x="0" y="1222432"/>
            <a:chExt cx="8961438" cy="568548"/>
          </a:xfrm>
        </p:grpSpPr>
        <p:sp>
          <p:nvSpPr>
            <p:cNvPr id="7" name="Rectangle 136"/>
            <p:cNvSpPr>
              <a:spLocks noChangeArrowheads="1"/>
            </p:cNvSpPr>
            <p:nvPr/>
          </p:nvSpPr>
          <p:spPr bwMode="auto">
            <a:xfrm>
              <a:off x="0" y="1222432"/>
              <a:ext cx="8961438" cy="568548"/>
            </a:xfrm>
            <a:prstGeom prst="rect">
              <a:avLst/>
            </a:prstGeom>
            <a:gradFill rotWithShape="1">
              <a:gsLst>
                <a:gs pos="0">
                  <a:srgbClr val="EEEEEE"/>
                </a:gs>
                <a:gs pos="100000">
                  <a:srgbClr val="EEEEEE">
                    <a:gamma/>
                    <a:tint val="0"/>
                    <a:invGamma/>
                  </a:srgb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sz="1200">
                <a:solidFill>
                  <a:srgbClr val="000000"/>
                </a:solidFill>
                <a:latin typeface="Arial"/>
              </a:endParaRPr>
            </a:p>
          </p:txBody>
        </p:sp>
        <p:cxnSp>
          <p:nvCxnSpPr>
            <p:cNvPr id="8" name="Straight Connector 7"/>
            <p:cNvCxnSpPr>
              <a:cxnSpLocks/>
            </p:cNvCxnSpPr>
            <p:nvPr/>
          </p:nvCxnSpPr>
          <p:spPr>
            <a:xfrm>
              <a:off x="0" y="1222432"/>
              <a:ext cx="8961438"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cxnSp>
        <p:nvCxnSpPr>
          <p:cNvPr id="9" name="Straight Connector 8"/>
          <p:cNvCxnSpPr>
            <a:cxnSpLocks/>
          </p:cNvCxnSpPr>
          <p:nvPr/>
        </p:nvCxnSpPr>
        <p:spPr bwMode="auto">
          <a:xfrm>
            <a:off x="2995454" y="1222431"/>
            <a:ext cx="0" cy="4927752"/>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Connector 9"/>
          <p:cNvCxnSpPr>
            <a:cxnSpLocks/>
          </p:cNvCxnSpPr>
          <p:nvPr/>
        </p:nvCxnSpPr>
        <p:spPr bwMode="auto">
          <a:xfrm>
            <a:off x="5962174" y="1222431"/>
            <a:ext cx="0" cy="4927752"/>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Rectangle 5"/>
          <p:cNvSpPr txBox="1">
            <a:spLocks/>
          </p:cNvSpPr>
          <p:nvPr/>
        </p:nvSpPr>
        <p:spPr>
          <a:xfrm>
            <a:off x="3122614" y="936853"/>
            <a:ext cx="2715577"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18288" anchor="b">
            <a:spAutoFit/>
          </a:bodyPr>
          <a:lstStyle>
            <a:defPPr>
              <a:defRPr lang="en-US"/>
            </a:defPPr>
            <a:lvl1pPr>
              <a:defRPr>
                <a:solidFill>
                  <a:schemeClr val="accent3"/>
                </a:solidFill>
                <a:latin typeface="Georgia" panose="02040502050405020303" pitchFamily="18" charset="0"/>
              </a:defRPr>
            </a:lvl1pPr>
          </a:lstStyle>
          <a:p>
            <a:r>
              <a:rPr lang="en-US" b="1" dirty="0" smtClean="0">
                <a:solidFill>
                  <a:srgbClr val="0B4623"/>
                </a:solidFill>
                <a:latin typeface="Arial"/>
              </a:rPr>
              <a:t>Delivery Unit</a:t>
            </a:r>
            <a:endParaRPr lang="en-US" b="1" dirty="0">
              <a:solidFill>
                <a:srgbClr val="0B4623"/>
              </a:solidFill>
              <a:latin typeface="Arial"/>
            </a:endParaRPr>
          </a:p>
        </p:txBody>
      </p:sp>
      <p:sp>
        <p:nvSpPr>
          <p:cNvPr id="15" name="Rectangle 28677"/>
          <p:cNvSpPr txBox="1">
            <a:spLocks/>
          </p:cNvSpPr>
          <p:nvPr/>
        </p:nvSpPr>
        <p:spPr>
          <a:xfrm>
            <a:off x="3122614" y="1297793"/>
            <a:ext cx="2715577" cy="17727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20000"/>
              </a:spcBef>
              <a:buClr>
                <a:srgbClr val="0B4623"/>
              </a:buClr>
            </a:pPr>
            <a:r>
              <a:rPr lang="en-US" b="1" dirty="0">
                <a:solidFill>
                  <a:srgbClr val="0B4623"/>
                </a:solidFill>
              </a:rPr>
              <a:t>Identify bottlenecks of implementation </a:t>
            </a:r>
            <a:r>
              <a:rPr lang="en-US" dirty="0" smtClean="0">
                <a:solidFill>
                  <a:srgbClr val="000000"/>
                </a:solidFill>
              </a:rPr>
              <a:t>with easy to understand color coding</a:t>
            </a:r>
          </a:p>
          <a:p>
            <a:pPr lvl="1">
              <a:spcBef>
                <a:spcPct val="20000"/>
              </a:spcBef>
              <a:buClr>
                <a:srgbClr val="0B4623"/>
              </a:buClr>
            </a:pPr>
            <a:r>
              <a:rPr lang="en-US" b="1" dirty="0" smtClean="0">
                <a:solidFill>
                  <a:srgbClr val="0B4623"/>
                </a:solidFill>
              </a:rPr>
              <a:t>Summarize and com-</a:t>
            </a:r>
            <a:r>
              <a:rPr lang="en-US" b="1" dirty="0" err="1" smtClean="0">
                <a:solidFill>
                  <a:srgbClr val="0B4623"/>
                </a:solidFill>
              </a:rPr>
              <a:t>municate</a:t>
            </a:r>
            <a:r>
              <a:rPr lang="en-US" b="1" dirty="0" smtClean="0">
                <a:solidFill>
                  <a:srgbClr val="0B4623"/>
                </a:solidFill>
              </a:rPr>
              <a:t> overall impact </a:t>
            </a:r>
            <a:r>
              <a:rPr lang="en-US" dirty="0" smtClean="0">
                <a:solidFill>
                  <a:srgbClr val="000000"/>
                </a:solidFill>
              </a:rPr>
              <a:t>to the leadership team on a real-time basis</a:t>
            </a:r>
            <a:endParaRPr lang="en-US" dirty="0">
              <a:solidFill>
                <a:srgbClr val="000000"/>
              </a:solidFill>
            </a:endParaRPr>
          </a:p>
        </p:txBody>
      </p:sp>
      <p:pic>
        <p:nvPicPr>
          <p:cNvPr id="17" name="Picture 79"/>
          <p:cNvPicPr>
            <a:picLocks noChangeArrowheads="1"/>
          </p:cNvPicPr>
          <p:nvPr/>
        </p:nvPicPr>
        <p:blipFill rotWithShape="1">
          <a:blip r:embed="rId2" cstate="email">
            <a:extLst>
              <a:ext uri="{28A0092B-C50C-407E-A947-70E740481C1C}">
                <a14:useLocalDpi xmlns:a14="http://schemas.microsoft.com/office/drawing/2010/main" val="0"/>
              </a:ext>
            </a:extLst>
          </a:blip>
          <a:srcRect/>
          <a:stretch/>
        </p:blipFill>
        <p:spPr bwMode="auto">
          <a:xfrm>
            <a:off x="3084197" y="3255172"/>
            <a:ext cx="2786062" cy="1381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73"/>
          <p:cNvPicPr>
            <a:picLocks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3084197" y="4768464"/>
            <a:ext cx="2786062" cy="1381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5"/>
          <p:cNvSpPr txBox="1">
            <a:spLocks/>
          </p:cNvSpPr>
          <p:nvPr/>
        </p:nvSpPr>
        <p:spPr>
          <a:xfrm>
            <a:off x="151132" y="936853"/>
            <a:ext cx="2715577"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defPPr>
              <a:defRPr lang="en-US"/>
            </a:defPPr>
            <a:lvl1pPr>
              <a:defRPr>
                <a:solidFill>
                  <a:schemeClr val="accent3"/>
                </a:solidFill>
                <a:latin typeface="Georgia" panose="02040502050405020303" pitchFamily="18" charset="0"/>
              </a:defRPr>
            </a:lvl1pPr>
          </a:lstStyle>
          <a:p>
            <a:r>
              <a:rPr lang="en-US" b="1" dirty="0" smtClean="0">
                <a:solidFill>
                  <a:srgbClr val="0B4623"/>
                </a:solidFill>
                <a:latin typeface="Arial"/>
              </a:rPr>
              <a:t>Leadership</a:t>
            </a:r>
            <a:endParaRPr lang="en-US" b="1" dirty="0">
              <a:solidFill>
                <a:srgbClr val="0B4623"/>
              </a:solidFill>
              <a:latin typeface="Arial"/>
            </a:endParaRPr>
          </a:p>
        </p:txBody>
      </p:sp>
      <p:sp>
        <p:nvSpPr>
          <p:cNvPr id="14" name="Rectangle 28677"/>
          <p:cNvSpPr txBox="1">
            <a:spLocks/>
          </p:cNvSpPr>
          <p:nvPr/>
        </p:nvSpPr>
        <p:spPr>
          <a:xfrm>
            <a:off x="151132" y="1297793"/>
            <a:ext cx="2715577" cy="17727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20000"/>
              </a:spcBef>
              <a:buClr>
                <a:srgbClr val="0B4623"/>
              </a:buClr>
            </a:pPr>
            <a:r>
              <a:rPr lang="en-US" b="1" dirty="0">
                <a:solidFill>
                  <a:srgbClr val="0B4623"/>
                </a:solidFill>
              </a:rPr>
              <a:t>Understand overall progress </a:t>
            </a:r>
            <a:r>
              <a:rPr lang="en-US" dirty="0" smtClean="0">
                <a:solidFill>
                  <a:srgbClr val="000000"/>
                </a:solidFill>
              </a:rPr>
              <a:t>of the project by activity and KPI progress</a:t>
            </a:r>
          </a:p>
          <a:p>
            <a:pPr lvl="1">
              <a:spcBef>
                <a:spcPct val="20000"/>
              </a:spcBef>
              <a:buClr>
                <a:srgbClr val="0B4623"/>
              </a:buClr>
            </a:pPr>
            <a:r>
              <a:rPr lang="en-US" b="1" dirty="0" smtClean="0">
                <a:solidFill>
                  <a:srgbClr val="0B4623"/>
                </a:solidFill>
              </a:rPr>
              <a:t>Communicate with DU and implementing agents– </a:t>
            </a:r>
            <a:r>
              <a:rPr lang="en-US" dirty="0" smtClean="0">
                <a:solidFill>
                  <a:srgbClr val="000000"/>
                </a:solidFill>
              </a:rPr>
              <a:t>instant e-mail functionality</a:t>
            </a:r>
            <a:endParaRPr lang="en-US" dirty="0">
              <a:solidFill>
                <a:srgbClr val="000000"/>
              </a:solidFill>
            </a:endParaRPr>
          </a:p>
        </p:txBody>
      </p:sp>
      <p:grpSp>
        <p:nvGrpSpPr>
          <p:cNvPr id="21" name="Group 20"/>
          <p:cNvGrpSpPr>
            <a:grpSpLocks/>
          </p:cNvGrpSpPr>
          <p:nvPr/>
        </p:nvGrpSpPr>
        <p:grpSpPr>
          <a:xfrm>
            <a:off x="151131" y="4785942"/>
            <a:ext cx="2750819" cy="1364241"/>
            <a:chOff x="119063" y="4806950"/>
            <a:chExt cx="2786062" cy="1381719"/>
          </a:xfrm>
        </p:grpSpPr>
        <p:pic>
          <p:nvPicPr>
            <p:cNvPr id="22" name="Picture 6"/>
            <p:cNvPicPr>
              <a:picLocks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119063" y="4806950"/>
              <a:ext cx="2786062" cy="1381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13"/>
            <p:cNvPicPr>
              <a:picLocks noChangeAspect="1" noChangeArrowheads="1"/>
            </p:cNvPicPr>
            <p:nvPr/>
          </p:nvPicPr>
          <p:blipFill rotWithShape="1">
            <a:blip r:embed="rId5" cstate="email">
              <a:duotone>
                <a:schemeClr val="accent3">
                  <a:shade val="45000"/>
                  <a:satMod val="135000"/>
                </a:schemeClr>
                <a:prstClr val="white"/>
              </a:duotone>
              <a:extLst>
                <a:ext uri="{28A0092B-C50C-407E-A947-70E740481C1C}">
                  <a14:useLocalDpi xmlns:a14="http://schemas.microsoft.com/office/drawing/2010/main" val="0"/>
                </a:ext>
              </a:extLst>
            </a:blip>
            <a:srcRect/>
            <a:stretch/>
          </p:blipFill>
          <p:spPr bwMode="auto">
            <a:xfrm rot="1442104">
              <a:off x="2124076" y="4965699"/>
              <a:ext cx="457200" cy="279383"/>
            </a:xfrm>
            <a:prstGeom prst="rect">
              <a:avLst/>
            </a:prstGeom>
            <a:noFill/>
            <a:ln>
              <a:noFill/>
            </a:ln>
            <a:effectLst/>
            <a:scene3d>
              <a:camera prst="orthographicFront">
                <a:rot lat="0" lon="20099993" rev="0"/>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13"/>
            <p:cNvPicPr>
              <a:picLocks noChangeAspect="1" noChangeArrowheads="1"/>
            </p:cNvPicPr>
            <p:nvPr/>
          </p:nvPicPr>
          <p:blipFill rotWithShape="1">
            <a:blip r:embed="rId6" cstate="email">
              <a:duotone>
                <a:schemeClr val="accent3">
                  <a:shade val="45000"/>
                  <a:satMod val="135000"/>
                </a:schemeClr>
                <a:prstClr val="white"/>
              </a:duotone>
              <a:extLst>
                <a:ext uri="{28A0092B-C50C-407E-A947-70E740481C1C}">
                  <a14:useLocalDpi xmlns:a14="http://schemas.microsoft.com/office/drawing/2010/main" val="0"/>
                </a:ext>
              </a:extLst>
            </a:blip>
            <a:srcRect/>
            <a:stretch/>
          </p:blipFill>
          <p:spPr bwMode="auto">
            <a:xfrm rot="1442104">
              <a:off x="2182627" y="5366780"/>
              <a:ext cx="396148" cy="242076"/>
            </a:xfrm>
            <a:prstGeom prst="rect">
              <a:avLst/>
            </a:prstGeom>
            <a:noFill/>
            <a:ln>
              <a:noFill/>
            </a:ln>
            <a:effectLst/>
            <a:scene3d>
              <a:camera prst="orthographicFront">
                <a:rot lat="0" lon="19499990" rev="0"/>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13"/>
            <p:cNvPicPr>
              <a:picLocks noChangeAspect="1" noChangeArrowheads="1"/>
            </p:cNvPicPr>
            <p:nvPr/>
          </p:nvPicPr>
          <p:blipFill rotWithShape="1">
            <a:blip r:embed="rId7" cstate="email">
              <a:duotone>
                <a:schemeClr val="accent3">
                  <a:shade val="45000"/>
                  <a:satMod val="135000"/>
                </a:schemeClr>
                <a:prstClr val="white"/>
              </a:duotone>
              <a:extLst>
                <a:ext uri="{28A0092B-C50C-407E-A947-70E740481C1C}">
                  <a14:useLocalDpi xmlns:a14="http://schemas.microsoft.com/office/drawing/2010/main" val="0"/>
                </a:ext>
              </a:extLst>
            </a:blip>
            <a:srcRect/>
            <a:stretch/>
          </p:blipFill>
          <p:spPr bwMode="auto">
            <a:xfrm rot="1442104">
              <a:off x="2520551" y="5290764"/>
              <a:ext cx="295648" cy="180663"/>
            </a:xfrm>
            <a:prstGeom prst="rect">
              <a:avLst/>
            </a:prstGeom>
            <a:noFill/>
            <a:ln>
              <a:noFill/>
            </a:ln>
            <a:effectLst/>
            <a:scene3d>
              <a:camera prst="orthographicFront">
                <a:rot lat="0" lon="20399994" rev="0"/>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13"/>
            <p:cNvPicPr>
              <a:picLocks noChangeAspect="1" noChangeArrowheads="1"/>
            </p:cNvPicPr>
            <p:nvPr/>
          </p:nvPicPr>
          <p:blipFill rotWithShape="1">
            <a:blip r:embed="rId8" cstate="email">
              <a:duotone>
                <a:schemeClr val="accent3">
                  <a:shade val="45000"/>
                  <a:satMod val="135000"/>
                </a:schemeClr>
                <a:prstClr val="white"/>
              </a:duotone>
              <a:extLst>
                <a:ext uri="{28A0092B-C50C-407E-A947-70E740481C1C}">
                  <a14:useLocalDpi xmlns:a14="http://schemas.microsoft.com/office/drawing/2010/main" val="0"/>
                </a:ext>
              </a:extLst>
            </a:blip>
            <a:srcRect/>
            <a:stretch/>
          </p:blipFill>
          <p:spPr bwMode="auto">
            <a:xfrm rot="1442104">
              <a:off x="1924836" y="5178210"/>
              <a:ext cx="349409" cy="213515"/>
            </a:xfrm>
            <a:prstGeom prst="rect">
              <a:avLst/>
            </a:prstGeom>
            <a:noFill/>
            <a:ln>
              <a:noFill/>
            </a:ln>
            <a:effectLst/>
            <a:scene3d>
              <a:camera prst="orthographicFront">
                <a:rot lat="0" lon="19199988" rev="0"/>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7" name="Picture 26"/>
          <p:cNvPicPr>
            <a:picLocks/>
          </p:cNvPicPr>
          <p:nvPr/>
        </p:nvPicPr>
        <p:blipFill rotWithShape="1">
          <a:blip r:embed="rId9" cstate="email">
            <a:extLst>
              <a:ext uri="{28A0092B-C50C-407E-A947-70E740481C1C}">
                <a14:useLocalDpi xmlns:a14="http://schemas.microsoft.com/office/drawing/2010/main" val="0"/>
              </a:ext>
            </a:extLst>
          </a:blip>
          <a:srcRect/>
          <a:stretch/>
        </p:blipFill>
        <p:spPr>
          <a:xfrm>
            <a:off x="251908" y="3253670"/>
            <a:ext cx="2549265" cy="1383221"/>
          </a:xfrm>
          <a:prstGeom prst="rect">
            <a:avLst/>
          </a:prstGeom>
        </p:spPr>
      </p:pic>
      <p:sp>
        <p:nvSpPr>
          <p:cNvPr id="16" name="Rectangle 28677"/>
          <p:cNvSpPr txBox="1">
            <a:spLocks/>
          </p:cNvSpPr>
          <p:nvPr/>
        </p:nvSpPr>
        <p:spPr>
          <a:xfrm>
            <a:off x="6100130" y="1297793"/>
            <a:ext cx="2715577" cy="18220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20000"/>
              </a:spcBef>
              <a:buClr>
                <a:srgbClr val="0B4623"/>
              </a:buClr>
            </a:pPr>
            <a:r>
              <a:rPr lang="en-US" b="1" dirty="0" smtClean="0">
                <a:solidFill>
                  <a:srgbClr val="0B4623"/>
                </a:solidFill>
              </a:rPr>
              <a:t>Find </a:t>
            </a:r>
            <a:r>
              <a:rPr lang="en-US" b="1" dirty="0">
                <a:solidFill>
                  <a:srgbClr val="0B4623"/>
                </a:solidFill>
              </a:rPr>
              <a:t>l</a:t>
            </a:r>
            <a:r>
              <a:rPr lang="en-US" b="1" dirty="0" smtClean="0">
                <a:solidFill>
                  <a:srgbClr val="0B4623"/>
                </a:solidFill>
              </a:rPr>
              <a:t>ist of </a:t>
            </a:r>
            <a:r>
              <a:rPr lang="en-US" b="1" dirty="0">
                <a:solidFill>
                  <a:srgbClr val="0B4623"/>
                </a:solidFill>
              </a:rPr>
              <a:t>necessary </a:t>
            </a:r>
            <a:r>
              <a:rPr lang="en-US" b="1" dirty="0" smtClean="0">
                <a:solidFill>
                  <a:srgbClr val="0B4623"/>
                </a:solidFill>
              </a:rPr>
              <a:t>activities</a:t>
            </a:r>
            <a:endParaRPr lang="en-US" b="1" dirty="0">
              <a:solidFill>
                <a:srgbClr val="0B4623"/>
              </a:solidFill>
            </a:endParaRPr>
          </a:p>
          <a:p>
            <a:pPr lvl="1">
              <a:spcBef>
                <a:spcPct val="20000"/>
              </a:spcBef>
              <a:buClr>
                <a:srgbClr val="0B4623"/>
              </a:buClr>
            </a:pPr>
            <a:r>
              <a:rPr lang="en-US" b="1" dirty="0" smtClean="0">
                <a:solidFill>
                  <a:srgbClr val="0B4623"/>
                </a:solidFill>
              </a:rPr>
              <a:t>Update </a:t>
            </a:r>
            <a:r>
              <a:rPr lang="en-US" b="1" dirty="0">
                <a:solidFill>
                  <a:srgbClr val="0B4623"/>
                </a:solidFill>
              </a:rPr>
              <a:t>progress </a:t>
            </a:r>
            <a:r>
              <a:rPr lang="en-US" b="1" dirty="0" smtClean="0">
                <a:solidFill>
                  <a:srgbClr val="0B4623"/>
                </a:solidFill>
              </a:rPr>
              <a:t>of activities</a:t>
            </a:r>
            <a:r>
              <a:rPr lang="ja-JP" altLang="en-US" b="1" dirty="0">
                <a:solidFill>
                  <a:srgbClr val="0B4623"/>
                </a:solidFill>
              </a:rPr>
              <a:t> </a:t>
            </a:r>
            <a:r>
              <a:rPr lang="en-US" altLang="ja-JP" dirty="0" smtClean="0">
                <a:solidFill>
                  <a:srgbClr val="000000"/>
                </a:solidFill>
              </a:rPr>
              <a:t>real time to the DU and the leadership</a:t>
            </a:r>
            <a:endParaRPr lang="en-US" dirty="0" smtClean="0">
              <a:solidFill>
                <a:srgbClr val="000000"/>
              </a:solidFill>
            </a:endParaRPr>
          </a:p>
          <a:p>
            <a:pPr lvl="1">
              <a:spcBef>
                <a:spcPct val="20000"/>
              </a:spcBef>
              <a:buClr>
                <a:srgbClr val="0B4623"/>
              </a:buClr>
            </a:pPr>
            <a:r>
              <a:rPr lang="en-US" b="1" dirty="0" smtClean="0">
                <a:solidFill>
                  <a:srgbClr val="0B4623"/>
                </a:solidFill>
              </a:rPr>
              <a:t>Easily communicate </a:t>
            </a:r>
            <a:r>
              <a:rPr lang="en-US" b="1" dirty="0">
                <a:solidFill>
                  <a:srgbClr val="0B4623"/>
                </a:solidFill>
              </a:rPr>
              <a:t>issues</a:t>
            </a:r>
            <a:r>
              <a:rPr lang="en-US" dirty="0">
                <a:solidFill>
                  <a:srgbClr val="0B4623"/>
                </a:solidFill>
              </a:rPr>
              <a:t> </a:t>
            </a:r>
            <a:r>
              <a:rPr lang="en-US" dirty="0">
                <a:solidFill>
                  <a:srgbClr val="000000"/>
                </a:solidFill>
              </a:rPr>
              <a:t>with the </a:t>
            </a:r>
            <a:r>
              <a:rPr lang="en-US" dirty="0" smtClean="0">
                <a:solidFill>
                  <a:srgbClr val="000000"/>
                </a:solidFill>
              </a:rPr>
              <a:t>DU</a:t>
            </a:r>
            <a:endParaRPr lang="en-US" dirty="0">
              <a:solidFill>
                <a:srgbClr val="000000"/>
              </a:solidFill>
            </a:endParaRPr>
          </a:p>
        </p:txBody>
      </p:sp>
      <p:sp>
        <p:nvSpPr>
          <p:cNvPr id="13" name="Rectangle 5"/>
          <p:cNvSpPr txBox="1">
            <a:spLocks/>
          </p:cNvSpPr>
          <p:nvPr/>
        </p:nvSpPr>
        <p:spPr>
          <a:xfrm>
            <a:off x="6100130" y="936853"/>
            <a:ext cx="2715577" cy="26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defPPr>
              <a:defRPr lang="en-US"/>
            </a:defPPr>
            <a:lvl1pPr>
              <a:defRPr>
                <a:solidFill>
                  <a:schemeClr val="accent3"/>
                </a:solidFill>
                <a:latin typeface="Georgia" panose="02040502050405020303" pitchFamily="18" charset="0"/>
              </a:defRPr>
            </a:lvl1pPr>
          </a:lstStyle>
          <a:p>
            <a:r>
              <a:rPr lang="en-US" b="1" dirty="0" smtClean="0">
                <a:solidFill>
                  <a:srgbClr val="0B4623"/>
                </a:solidFill>
                <a:latin typeface="Arial"/>
              </a:rPr>
              <a:t>Implementing agents</a:t>
            </a:r>
            <a:endParaRPr lang="en-US" b="1" dirty="0">
              <a:solidFill>
                <a:srgbClr val="0B4623"/>
              </a:solidFill>
              <a:latin typeface="Arial"/>
            </a:endParaRPr>
          </a:p>
        </p:txBody>
      </p:sp>
      <p:pic>
        <p:nvPicPr>
          <p:cNvPr id="20" name="Picture 86"/>
          <p:cNvPicPr>
            <a:picLocks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6052505" y="4772233"/>
            <a:ext cx="2786062" cy="1377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p:cNvPicPr>
            <a:picLocks/>
          </p:cNvPicPr>
          <p:nvPr/>
        </p:nvPicPr>
        <p:blipFill>
          <a:blip r:embed="rId11">
            <a:extLst>
              <a:ext uri="{28A0092B-C50C-407E-A947-70E740481C1C}">
                <a14:useLocalDpi xmlns:a14="http://schemas.microsoft.com/office/drawing/2010/main" val="0"/>
              </a:ext>
            </a:extLst>
          </a:blip>
          <a:stretch>
            <a:fillRect/>
          </a:stretch>
        </p:blipFill>
        <p:spPr>
          <a:xfrm>
            <a:off x="6052505" y="3255172"/>
            <a:ext cx="2786062" cy="1381719"/>
          </a:xfrm>
          <a:prstGeom prst="rect">
            <a:avLst/>
          </a:prstGeom>
        </p:spPr>
      </p:pic>
    </p:spTree>
    <p:extLst>
      <p:ext uri="{BB962C8B-B14F-4D97-AF65-F5344CB8AC3E}">
        <p14:creationId xmlns:p14="http://schemas.microsoft.com/office/powerpoint/2010/main" val="75459943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err="1" smtClean="0"/>
              <a:t>i</a:t>
            </a:r>
            <a:r>
              <a:rPr lang="en-ZA" dirty="0" smtClean="0"/>
              <a:t>-Track Log In</a:t>
            </a:r>
            <a:endParaRPr lang="en-ZA" dirty="0"/>
          </a:p>
        </p:txBody>
      </p:sp>
      <p:pic>
        <p:nvPicPr>
          <p:cNvPr id="3" name="Picture 2">
            <a:hlinkClick r:id="rId2" tooltip="i-Track Link "/>
          </p:cNvPr>
          <p:cNvPicPr>
            <a:picLocks noChangeAspect="1"/>
          </p:cNvPicPr>
          <p:nvPr/>
        </p:nvPicPr>
        <p:blipFill rotWithShape="1">
          <a:blip r:embed="rId3"/>
          <a:srcRect l="419" r="389"/>
          <a:stretch/>
        </p:blipFill>
        <p:spPr>
          <a:xfrm>
            <a:off x="425476" y="654660"/>
            <a:ext cx="8364512" cy="4917676"/>
          </a:xfrm>
          <a:prstGeom prst="rect">
            <a:avLst/>
          </a:prstGeom>
        </p:spPr>
      </p:pic>
    </p:spTree>
    <p:extLst>
      <p:ext uri="{BB962C8B-B14F-4D97-AF65-F5344CB8AC3E}">
        <p14:creationId xmlns:p14="http://schemas.microsoft.com/office/powerpoint/2010/main" val="41123438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95"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7" name="Group 6"/>
          <p:cNvGrpSpPr/>
          <p:nvPr/>
        </p:nvGrpSpPr>
        <p:grpSpPr>
          <a:xfrm>
            <a:off x="158782" y="649634"/>
            <a:ext cx="8766548" cy="5607311"/>
            <a:chOff x="158782" y="649634"/>
            <a:chExt cx="8766548" cy="5607311"/>
          </a:xfrm>
        </p:grpSpPr>
        <p:pic>
          <p:nvPicPr>
            <p:cNvPr id="68" name="Picture 10" descr="http://www.frii.se/wp-content/uploads/2012/09/Logotyp-Peace-Parks-192x192.jpe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gray">
            <a:xfrm>
              <a:off x="5240445" y="3428634"/>
              <a:ext cx="789197" cy="78919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9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09649" y="4034643"/>
              <a:ext cx="1164204" cy="496318"/>
            </a:xfrm>
            <a:prstGeom prst="rect">
              <a:avLst/>
            </a:prstGeom>
            <a:noFill/>
            <a:ln>
              <a:noFill/>
            </a:ln>
          </p:spPr>
        </p:pic>
        <p:pic>
          <p:nvPicPr>
            <p:cNvPr id="27" name="Picture 26"/>
            <p:cNvPicPr>
              <a:picLocks/>
            </p:cNvPicPr>
            <p:nvPr/>
          </p:nvPicPr>
          <p:blipFill>
            <a:blip r:embed="rId8" cstate="email">
              <a:extLst>
                <a:ext uri="{28A0092B-C50C-407E-A947-70E740481C1C}">
                  <a14:useLocalDpi xmlns:a14="http://schemas.microsoft.com/office/drawing/2010/main"/>
                </a:ext>
              </a:extLst>
            </a:blip>
            <a:stretch>
              <a:fillRect/>
            </a:stretch>
          </p:blipFill>
          <p:spPr bwMode="gray">
            <a:xfrm>
              <a:off x="208635" y="3938117"/>
              <a:ext cx="1087918" cy="561005"/>
            </a:xfrm>
            <a:prstGeom prst="rect">
              <a:avLst/>
            </a:prstGeom>
            <a:noFill/>
            <a:ln>
              <a:noFill/>
            </a:ln>
          </p:spPr>
        </p:pic>
        <p:pic>
          <p:nvPicPr>
            <p:cNvPr id="28" name="Picture 10" descr="http://adsoftheworld.com/sites/default/files/large_72.jpg"/>
            <p:cNvPicPr>
              <a:picLocks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204974" y="2702973"/>
              <a:ext cx="1517513" cy="78253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 name="Picture 12" descr="http://www.detoursa.co.za/wp-content/uploads/2015/04/SANParks_logo_blog.png"/>
            <p:cNvPicPr>
              <a:picLocks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009808" y="3823232"/>
              <a:ext cx="1517513" cy="78253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1" name="Picture 15" descr="CTFA"/>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190443" y="3465919"/>
              <a:ext cx="1477449" cy="4721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2" name="Picture 17" descr="http://www.hpasa.co.za/newsletters/img/122008/img-dsa-logo.png"/>
            <p:cNvPicPr>
              <a:picLocks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891751" y="3586167"/>
              <a:ext cx="1301557" cy="41598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3" name="Picture 20" descr="http://www.mynewsroom.co.za/wp-content/uploads/2015/09/south-african-rooibos-council-300x138.jpg"/>
            <p:cNvPicPr>
              <a:picLocks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80427" y="3021055"/>
              <a:ext cx="1620312" cy="51785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4" name="Picture 23" descr="Chameleon Logo"/>
            <p:cNvPicPr>
              <a:picLocks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73340" y="3593261"/>
              <a:ext cx="1771693" cy="37650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1726147" y="2801389"/>
              <a:ext cx="1676857"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b="1" dirty="0" err="1" smtClean="0">
                  <a:solidFill>
                    <a:schemeClr val="accent3"/>
                  </a:solidFill>
                </a:rPr>
                <a:t>GOWAR</a:t>
              </a:r>
              <a:r>
                <a:rPr lang="en-US" b="1" dirty="0" smtClean="0">
                  <a:solidFill>
                    <a:schemeClr val="accent3"/>
                  </a:solidFill>
                </a:rPr>
                <a:t> </a:t>
              </a:r>
            </a:p>
            <a:p>
              <a:pPr algn="ctr"/>
              <a:r>
                <a:rPr lang="en-US" b="1" dirty="0" smtClean="0">
                  <a:solidFill>
                    <a:schemeClr val="accent3"/>
                  </a:solidFill>
                </a:rPr>
                <a:t>ENTERPRISES</a:t>
              </a:r>
              <a:endParaRPr lang="en-US" b="1" dirty="0">
                <a:solidFill>
                  <a:schemeClr val="accent3"/>
                </a:solidFill>
              </a:endParaRPr>
            </a:p>
          </p:txBody>
        </p:sp>
        <p:pic>
          <p:nvPicPr>
            <p:cNvPr id="36" name="Picture 35"/>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158782" y="5148786"/>
              <a:ext cx="863147" cy="902376"/>
            </a:xfrm>
            <a:prstGeom prst="rect">
              <a:avLst/>
            </a:prstGeom>
            <a:noFill/>
            <a:ln>
              <a:noFill/>
            </a:ln>
          </p:spPr>
        </p:pic>
        <p:pic>
          <p:nvPicPr>
            <p:cNvPr id="37" name="Picture 36"/>
            <p:cNvPicPr preferRelativeResize="0">
              <a:picLocks/>
            </p:cNvPicPr>
            <p:nvPr/>
          </p:nvPicPr>
          <p:blipFill>
            <a:blip r:embed="rId16" cstate="email">
              <a:extLst>
                <a:ext uri="{28A0092B-C50C-407E-A947-70E740481C1C}">
                  <a14:useLocalDpi xmlns:a14="http://schemas.microsoft.com/office/drawing/2010/main"/>
                </a:ext>
              </a:extLst>
            </a:blip>
            <a:stretch>
              <a:fillRect/>
            </a:stretch>
          </p:blipFill>
          <p:spPr bwMode="gray">
            <a:xfrm>
              <a:off x="3679231" y="655558"/>
              <a:ext cx="1620311" cy="663499"/>
            </a:xfrm>
            <a:prstGeom prst="rect">
              <a:avLst/>
            </a:prstGeom>
            <a:noFill/>
            <a:ln>
              <a:noFill/>
            </a:ln>
          </p:spPr>
        </p:pic>
        <p:pic>
          <p:nvPicPr>
            <p:cNvPr id="38" name="Picture 37"/>
            <p:cNvPicPr preferRelativeResize="0">
              <a:picLocks/>
            </p:cNvPicPr>
            <p:nvPr/>
          </p:nvPicPr>
          <p:blipFill>
            <a:blip r:embed="rId17" cstate="email">
              <a:extLst>
                <a:ext uri="{28A0092B-C50C-407E-A947-70E740481C1C}">
                  <a14:useLocalDpi xmlns:a14="http://schemas.microsoft.com/office/drawing/2010/main"/>
                </a:ext>
              </a:extLst>
            </a:blip>
            <a:stretch>
              <a:fillRect/>
            </a:stretch>
          </p:blipFill>
          <p:spPr bwMode="gray">
            <a:xfrm>
              <a:off x="2015080" y="655558"/>
              <a:ext cx="1604269" cy="663499"/>
            </a:xfrm>
            <a:prstGeom prst="rect">
              <a:avLst/>
            </a:prstGeom>
            <a:noFill/>
            <a:ln>
              <a:noFill/>
            </a:ln>
          </p:spPr>
        </p:pic>
        <p:pic>
          <p:nvPicPr>
            <p:cNvPr id="40" name="Picture 39"/>
            <p:cNvPicPr preferRelativeResize="0">
              <a:picLocks/>
            </p:cNvPicPr>
            <p:nvPr/>
          </p:nvPicPr>
          <p:blipFill>
            <a:blip r:embed="rId18" cstate="email">
              <a:extLst>
                <a:ext uri="{28A0092B-C50C-407E-A947-70E740481C1C}">
                  <a14:useLocalDpi xmlns:a14="http://schemas.microsoft.com/office/drawing/2010/main"/>
                </a:ext>
              </a:extLst>
            </a:blip>
            <a:stretch>
              <a:fillRect/>
            </a:stretch>
          </p:blipFill>
          <p:spPr bwMode="gray">
            <a:xfrm>
              <a:off x="324722" y="1445062"/>
              <a:ext cx="1620311" cy="663499"/>
            </a:xfrm>
            <a:prstGeom prst="rect">
              <a:avLst/>
            </a:prstGeom>
            <a:noFill/>
            <a:ln>
              <a:noFill/>
            </a:ln>
          </p:spPr>
        </p:pic>
        <p:pic>
          <p:nvPicPr>
            <p:cNvPr id="42" name="Picture 28" descr="http://transnetjobs.org/wp-content/uploads/2014/11/ab12d_LEDET.jpg"/>
            <p:cNvPicPr>
              <a:picLocks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3679231" y="1446670"/>
              <a:ext cx="1620311" cy="66349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3" name="Picture 31" descr="http://www.sabc.co.za/wps/wcm/connect/dfbcb20043dc6e02a35fa3f0c0fe2c4c/-Mpumalanga-Tourism-Parks.jpg?MOD=AJPERES&amp;CACHEID=dfbcb20043dc6e02a35fa3f0c0fe2c4c"/>
            <p:cNvPicPr>
              <a:picLocks noChangeArrowheads="1"/>
            </p:cNvPicPr>
            <p:nvPr/>
          </p:nvPicPr>
          <p:blipFill rotWithShape="1">
            <a:blip r:embed="rId20" cstate="email">
              <a:extLst>
                <a:ext uri="{28A0092B-C50C-407E-A947-70E740481C1C}">
                  <a14:useLocalDpi xmlns:a14="http://schemas.microsoft.com/office/drawing/2010/main"/>
                </a:ext>
              </a:extLst>
            </a:blip>
            <a:srcRect/>
            <a:stretch/>
          </p:blipFill>
          <p:spPr bwMode="auto">
            <a:xfrm>
              <a:off x="5599118" y="4002150"/>
              <a:ext cx="1008467" cy="41295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4" name="Picture 34" descr="http://cycadfriends.co.za/site/wp-content/uploads/2013/05/Ezemvelo-KZN-Wildlife.jpg"/>
            <p:cNvPicPr>
              <a:picLocks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6441737" y="3352966"/>
              <a:ext cx="1326828" cy="54332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6" name="Picture 41" descr="http://www.arc.agric.za/arc-iscw/PublishingImages/Pages/LADA/LADA-Partners/TRANSARC%20Logo%20copy.png"/>
            <p:cNvPicPr>
              <a:picLocks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4849281" y="2910906"/>
              <a:ext cx="1076298" cy="55501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8" name="Picture 47"/>
            <p:cNvPicPr>
              <a:picLocks/>
            </p:cNvPicPr>
            <p:nvPr/>
          </p:nvPicPr>
          <p:blipFill>
            <a:blip r:embed="rId23"/>
            <a:stretch>
              <a:fillRect/>
            </a:stretch>
          </p:blipFill>
          <p:spPr>
            <a:xfrm>
              <a:off x="1474919" y="4030667"/>
              <a:ext cx="1327125" cy="424154"/>
            </a:xfrm>
            <a:prstGeom prst="rect">
              <a:avLst/>
            </a:prstGeom>
            <a:noFill/>
            <a:ln>
              <a:noFill/>
            </a:ln>
          </p:spPr>
        </p:pic>
        <p:pic>
          <p:nvPicPr>
            <p:cNvPr id="60" name="Picture 59"/>
            <p:cNvPicPr preferRelativeResize="0">
              <a:picLocks noChangeAspect="1"/>
            </p:cNvPicPr>
            <p:nvPr/>
          </p:nvPicPr>
          <p:blipFill>
            <a:blip r:embed="rId24" cstate="email">
              <a:extLst>
                <a:ext uri="{28A0092B-C50C-407E-A947-70E740481C1C}">
                  <a14:useLocalDpi xmlns:a14="http://schemas.microsoft.com/office/drawing/2010/main"/>
                </a:ext>
              </a:extLst>
            </a:blip>
            <a:stretch>
              <a:fillRect/>
            </a:stretch>
          </p:blipFill>
          <p:spPr bwMode="gray">
            <a:xfrm>
              <a:off x="2049988" y="1480679"/>
              <a:ext cx="1353016" cy="491317"/>
            </a:xfrm>
            <a:prstGeom prst="rect">
              <a:avLst/>
            </a:prstGeom>
          </p:spPr>
        </p:pic>
        <p:pic>
          <p:nvPicPr>
            <p:cNvPr id="61" name="Picture 60"/>
            <p:cNvPicPr preferRelativeResize="0">
              <a:picLocks noChangeAspect="1"/>
            </p:cNvPicPr>
            <p:nvPr/>
          </p:nvPicPr>
          <p:blipFill>
            <a:blip r:embed="rId25"/>
            <a:stretch>
              <a:fillRect/>
            </a:stretch>
          </p:blipFill>
          <p:spPr bwMode="gray">
            <a:xfrm>
              <a:off x="245124" y="649634"/>
              <a:ext cx="1585827" cy="625616"/>
            </a:xfrm>
            <a:prstGeom prst="rect">
              <a:avLst/>
            </a:prstGeom>
          </p:spPr>
        </p:pic>
        <p:pic>
          <p:nvPicPr>
            <p:cNvPr id="62" name="Picture 7"/>
            <p:cNvPicPr>
              <a:picLocks noChangeAspect="1" noChangeArrowheads="1"/>
            </p:cNvPicPr>
            <p:nvPr/>
          </p:nvPicPr>
          <p:blipFill>
            <a:blip r:embed="rId26" cstate="print">
              <a:extLst>
                <a:ext uri="{28A0092B-C50C-407E-A947-70E740481C1C}">
                  <a14:useLocalDpi xmlns:a14="http://schemas.microsoft.com/office/drawing/2010/main"/>
                </a:ext>
              </a:extLst>
            </a:blip>
            <a:stretch>
              <a:fillRect/>
            </a:stretch>
          </p:blipFill>
          <p:spPr bwMode="gray">
            <a:xfrm>
              <a:off x="4607829" y="4030667"/>
              <a:ext cx="863038" cy="793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 name="Picture 4" descr="http://www.irmsa.org.za/resource/resmgr/corporate_logos/department_of_eco_dev_and_en.jpg"/>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gray">
            <a:xfrm>
              <a:off x="7252275" y="732791"/>
              <a:ext cx="1673055" cy="747888"/>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16"/>
            <p:cNvPicPr>
              <a:picLocks noChangeAspect="1" noChangeArrowheads="1"/>
            </p:cNvPicPr>
            <p:nvPr/>
          </p:nvPicPr>
          <p:blipFill>
            <a:blip r:embed="rId28" cstate="email">
              <a:extLst>
                <a:ext uri="{28A0092B-C50C-407E-A947-70E740481C1C}">
                  <a14:useLocalDpi xmlns:a14="http://schemas.microsoft.com/office/drawing/2010/main"/>
                </a:ext>
              </a:extLst>
            </a:blip>
            <a:stretch>
              <a:fillRect/>
            </a:stretch>
          </p:blipFill>
          <p:spPr bwMode="gray">
            <a:xfrm>
              <a:off x="1474919" y="4530961"/>
              <a:ext cx="982533" cy="4210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 name="Picture 8" descr="https://upload.wikimedia.org/wikipedia/en/1/1a/Endangered_Wildlife_Trust00.jpg"/>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gray">
            <a:xfrm>
              <a:off x="1202324" y="5174073"/>
              <a:ext cx="742709" cy="889393"/>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2" descr="http://www.pacificbreeze353.com/newspics/scan002.gif"/>
            <p:cNvPicPr>
              <a:picLocks noChangeAspect="1" noChangeArrowheads="1"/>
            </p:cNvPicPr>
            <p:nvPr/>
          </p:nvPicPr>
          <p:blipFill rotWithShape="1">
            <a:blip r:embed="rId30" cstate="email">
              <a:extLst>
                <a:ext uri="{28A0092B-C50C-407E-A947-70E740481C1C}">
                  <a14:useLocalDpi xmlns:a14="http://schemas.microsoft.com/office/drawing/2010/main"/>
                </a:ext>
              </a:extLst>
            </a:blip>
            <a:srcRect l="13423" t="1545" r="19651" b="3359"/>
            <a:stretch/>
          </p:blipFill>
          <p:spPr bwMode="gray">
            <a:xfrm>
              <a:off x="2657008" y="4415106"/>
              <a:ext cx="1095932" cy="1019308"/>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6" descr="http://www.authenticafricanadventures.org/images/PHASA_Logo.png"/>
            <p:cNvPicPr>
              <a:picLocks noChangeAspect="1" noChangeArrowheads="1"/>
            </p:cNvPicPr>
            <p:nvPr/>
          </p:nvPicPr>
          <p:blipFill>
            <a:blip r:embed="rId31" cstate="email">
              <a:extLst>
                <a:ext uri="{28A0092B-C50C-407E-A947-70E740481C1C}">
                  <a14:useLocalDpi xmlns:a14="http://schemas.microsoft.com/office/drawing/2010/main"/>
                </a:ext>
              </a:extLst>
            </a:blip>
            <a:stretch>
              <a:fillRect/>
            </a:stretch>
          </p:blipFill>
          <p:spPr bwMode="gray">
            <a:xfrm>
              <a:off x="3992274" y="4598755"/>
              <a:ext cx="679252" cy="83565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2" name="Picture 18" descr="http://www.peaceparks.org/images/pictures/vahffhnxnximqaxr504f0593ca151.jpg"/>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gray">
            <a:xfrm>
              <a:off x="5730631" y="4639804"/>
              <a:ext cx="1450278" cy="745511"/>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1535595" y="2209514"/>
              <a:ext cx="1518167" cy="398166"/>
            </a:xfrm>
            <a:prstGeom prst="rect">
              <a:avLst/>
            </a:prstGeom>
          </p:spPr>
        </p:pic>
        <p:pic>
          <p:nvPicPr>
            <p:cNvPr id="74" name="Picture 73"/>
            <p:cNvPicPr>
              <a:picLocks noChangeAspect="1"/>
            </p:cNvPicPr>
            <p:nvPr/>
          </p:nvPicPr>
          <p:blipFill rotWithShape="1">
            <a:blip r:embed="rId34" cstate="email">
              <a:extLst>
                <a:ext uri="{28A0092B-C50C-407E-A947-70E740481C1C}">
                  <a14:useLocalDpi xmlns:a14="http://schemas.microsoft.com/office/drawing/2010/main"/>
                </a:ext>
              </a:extLst>
            </a:blip>
            <a:srcRect/>
            <a:stretch/>
          </p:blipFill>
          <p:spPr>
            <a:xfrm>
              <a:off x="180976" y="2209514"/>
              <a:ext cx="1241042" cy="710567"/>
            </a:xfrm>
            <a:prstGeom prst="rect">
              <a:avLst/>
            </a:prstGeom>
          </p:spPr>
        </p:pic>
        <p:pic>
          <p:nvPicPr>
            <p:cNvPr id="75" name="Picture 121"/>
            <p:cNvPicPr>
              <a:picLocks noChangeAspect="1"/>
            </p:cNvPicPr>
            <p:nvPr/>
          </p:nvPicPr>
          <p:blipFill>
            <a:blip r:embed="rId35" cstate="email">
              <a:extLst>
                <a:ext uri="{28A0092B-C50C-407E-A947-70E740481C1C}">
                  <a14:useLocalDpi xmlns:a14="http://schemas.microsoft.com/office/drawing/2010/main"/>
                </a:ext>
              </a:extLst>
            </a:blip>
            <a:srcRect/>
            <a:stretch>
              <a:fillRect/>
            </a:stretch>
          </p:blipFill>
          <p:spPr bwMode="auto">
            <a:xfrm>
              <a:off x="4610550" y="5599724"/>
              <a:ext cx="590016" cy="562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2"/>
            <p:cNvPicPr>
              <a:picLocks noChangeAspect="1" noChangeArrowheads="1"/>
            </p:cNvPicPr>
            <p:nvPr/>
          </p:nvPicPr>
          <p:blipFill>
            <a:blip r:embed="rId36" cstate="email">
              <a:extLst>
                <a:ext uri="{28A0092B-C50C-407E-A947-70E740481C1C}">
                  <a14:useLocalDpi xmlns:a14="http://schemas.microsoft.com/office/drawing/2010/main"/>
                </a:ext>
              </a:extLst>
            </a:blip>
            <a:stretch>
              <a:fillRect/>
            </a:stretch>
          </p:blipFill>
          <p:spPr bwMode="auto">
            <a:xfrm>
              <a:off x="3158849" y="5434414"/>
              <a:ext cx="662676" cy="687482"/>
            </a:xfrm>
            <a:prstGeom prst="rect">
              <a:avLst/>
            </a:prstGeom>
            <a:noFill/>
            <a:ln>
              <a:noFill/>
            </a:ln>
          </p:spPr>
        </p:pic>
        <p:pic>
          <p:nvPicPr>
            <p:cNvPr id="77" name="Picture 76"/>
            <p:cNvPicPr>
              <a:picLocks noChangeAspect="1"/>
            </p:cNvPicPr>
            <p:nvPr/>
          </p:nvPicPr>
          <p:blipFill rotWithShape="1">
            <a:blip r:embed="rId37" cstate="email">
              <a:extLst>
                <a:ext uri="{28A0092B-C50C-407E-A947-70E740481C1C}">
                  <a14:useLocalDpi xmlns:a14="http://schemas.microsoft.com/office/drawing/2010/main"/>
                </a:ext>
              </a:extLst>
            </a:blip>
            <a:srcRect/>
            <a:stretch/>
          </p:blipFill>
          <p:spPr>
            <a:xfrm>
              <a:off x="5465877" y="655558"/>
              <a:ext cx="1394654" cy="431651"/>
            </a:xfrm>
            <a:prstGeom prst="rect">
              <a:avLst/>
            </a:prstGeom>
            <a:noFill/>
            <a:ln>
              <a:noFill/>
            </a:ln>
          </p:spPr>
        </p:pic>
        <p:pic>
          <p:nvPicPr>
            <p:cNvPr id="78" name="Picture 77"/>
            <p:cNvPicPr/>
            <p:nvPr/>
          </p:nvPicPr>
          <p:blipFill>
            <a:blip r:embed="rId38" cstate="email">
              <a:extLst>
                <a:ext uri="{28A0092B-C50C-407E-A947-70E740481C1C}">
                  <a14:useLocalDpi xmlns:a14="http://schemas.microsoft.com/office/drawing/2010/main"/>
                </a:ext>
              </a:extLst>
            </a:blip>
            <a:stretch>
              <a:fillRect/>
            </a:stretch>
          </p:blipFill>
          <p:spPr bwMode="auto">
            <a:xfrm>
              <a:off x="6029642" y="2959359"/>
              <a:ext cx="1407464" cy="503010"/>
            </a:xfrm>
            <a:prstGeom prst="rect">
              <a:avLst/>
            </a:prstGeom>
            <a:noFill/>
            <a:ln>
              <a:noFill/>
            </a:ln>
          </p:spPr>
        </p:pic>
        <p:pic>
          <p:nvPicPr>
            <p:cNvPr id="80" name="Picture 104"/>
            <p:cNvPicPr>
              <a:picLocks/>
            </p:cNvPicPr>
            <p:nvPr/>
          </p:nvPicPr>
          <p:blipFill>
            <a:blip r:embed="rId39" cstate="email">
              <a:extLst>
                <a:ext uri="{28A0092B-C50C-407E-A947-70E740481C1C}">
                  <a14:useLocalDpi xmlns:a14="http://schemas.microsoft.com/office/drawing/2010/main"/>
                </a:ext>
              </a:extLst>
            </a:blip>
            <a:srcRect/>
            <a:stretch>
              <a:fillRect/>
            </a:stretch>
          </p:blipFill>
          <p:spPr bwMode="auto">
            <a:xfrm>
              <a:off x="7180909" y="1498289"/>
              <a:ext cx="1397522" cy="456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Picture 80"/>
            <p:cNvPicPr>
              <a:picLocks noChangeAspect="1"/>
            </p:cNvPicPr>
            <p:nvPr/>
          </p:nvPicPr>
          <p:blipFill>
            <a:blip r:embed="rId40" cstate="email">
              <a:extLst>
                <a:ext uri="{28A0092B-C50C-407E-A947-70E740481C1C}">
                  <a14:useLocalDpi xmlns:a14="http://schemas.microsoft.com/office/drawing/2010/main"/>
                </a:ext>
              </a:extLst>
            </a:blip>
            <a:stretch>
              <a:fillRect/>
            </a:stretch>
          </p:blipFill>
          <p:spPr>
            <a:xfrm>
              <a:off x="7313398" y="1941043"/>
              <a:ext cx="1476590" cy="536942"/>
            </a:xfrm>
            <a:prstGeom prst="rect">
              <a:avLst/>
            </a:prstGeom>
            <a:noFill/>
            <a:ln>
              <a:noFill/>
            </a:ln>
          </p:spPr>
        </p:pic>
        <p:pic>
          <p:nvPicPr>
            <p:cNvPr id="82" name="Picture 30"/>
            <p:cNvPicPr>
              <a:picLocks noChangeArrowheads="1"/>
            </p:cNvPicPr>
            <p:nvPr/>
          </p:nvPicPr>
          <p:blipFill>
            <a:blip r:embed="rId41">
              <a:extLst>
                <a:ext uri="{28A0092B-C50C-407E-A947-70E740481C1C}">
                  <a14:useLocalDpi xmlns:a14="http://schemas.microsoft.com/office/drawing/2010/main"/>
                </a:ext>
              </a:extLst>
            </a:blip>
            <a:srcRect/>
            <a:stretch>
              <a:fillRect/>
            </a:stretch>
          </p:blipFill>
          <p:spPr bwMode="auto">
            <a:xfrm>
              <a:off x="7296150" y="2598458"/>
              <a:ext cx="1493838" cy="4882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3" name="Picture 82"/>
            <p:cNvPicPr>
              <a:picLocks noChangeAspect="1"/>
            </p:cNvPicPr>
            <p:nvPr/>
          </p:nvPicPr>
          <p:blipFill>
            <a:blip r:embed="rId42" cstate="email">
              <a:extLst>
                <a:ext uri="{28A0092B-C50C-407E-A947-70E740481C1C}">
                  <a14:useLocalDpi xmlns:a14="http://schemas.microsoft.com/office/drawing/2010/main"/>
                </a:ext>
              </a:extLst>
            </a:blip>
            <a:stretch>
              <a:fillRect/>
            </a:stretch>
          </p:blipFill>
          <p:spPr>
            <a:xfrm>
              <a:off x="5365155" y="1434232"/>
              <a:ext cx="1495191" cy="537764"/>
            </a:xfrm>
            <a:prstGeom prst="rect">
              <a:avLst/>
            </a:prstGeom>
          </p:spPr>
        </p:pic>
        <p:pic>
          <p:nvPicPr>
            <p:cNvPr id="84" name="Picture 83"/>
            <p:cNvPicPr>
              <a:picLocks noChangeAspect="1"/>
            </p:cNvPicPr>
            <p:nvPr/>
          </p:nvPicPr>
          <p:blipFill>
            <a:blip r:embed="rId43" cstate="email">
              <a:extLst>
                <a:ext uri="{28A0092B-C50C-407E-A947-70E740481C1C}">
                  <a14:useLocalDpi xmlns:a14="http://schemas.microsoft.com/office/drawing/2010/main"/>
                </a:ext>
              </a:extLst>
            </a:blip>
            <a:stretch>
              <a:fillRect/>
            </a:stretch>
          </p:blipFill>
          <p:spPr>
            <a:xfrm>
              <a:off x="4233259" y="2173713"/>
              <a:ext cx="1232618" cy="630106"/>
            </a:xfrm>
            <a:prstGeom prst="rect">
              <a:avLst/>
            </a:prstGeom>
            <a:noFill/>
            <a:ln>
              <a:noFill/>
            </a:ln>
          </p:spPr>
        </p:pic>
        <p:pic>
          <p:nvPicPr>
            <p:cNvPr id="85" name="Picture 84"/>
            <p:cNvPicPr>
              <a:picLocks noChangeAspect="1"/>
            </p:cNvPicPr>
            <p:nvPr/>
          </p:nvPicPr>
          <p:blipFill rotWithShape="1">
            <a:blip r:embed="rId44" cstate="email">
              <a:extLst>
                <a:ext uri="{28A0092B-C50C-407E-A947-70E740481C1C}">
                  <a14:useLocalDpi xmlns:a14="http://schemas.microsoft.com/office/drawing/2010/main"/>
                </a:ext>
              </a:extLst>
            </a:blip>
            <a:srcRect/>
            <a:stretch/>
          </p:blipFill>
          <p:spPr>
            <a:xfrm>
              <a:off x="171451" y="4499122"/>
              <a:ext cx="1132300" cy="484004"/>
            </a:xfrm>
            <a:prstGeom prst="rect">
              <a:avLst/>
            </a:prstGeom>
            <a:noFill/>
            <a:ln>
              <a:noFill/>
            </a:ln>
          </p:spPr>
        </p:pic>
        <p:pic>
          <p:nvPicPr>
            <p:cNvPr id="86" name="Picture 85"/>
            <p:cNvPicPr>
              <a:picLocks noChangeAspect="1"/>
            </p:cNvPicPr>
            <p:nvPr/>
          </p:nvPicPr>
          <p:blipFill>
            <a:blip r:embed="rId45" cstate="email">
              <a:extLst>
                <a:ext uri="{28A0092B-C50C-407E-A947-70E740481C1C}">
                  <a14:useLocalDpi xmlns:a14="http://schemas.microsoft.com/office/drawing/2010/main"/>
                </a:ext>
              </a:extLst>
            </a:blip>
            <a:stretch>
              <a:fillRect/>
            </a:stretch>
          </p:blipFill>
          <p:spPr>
            <a:xfrm>
              <a:off x="7356365" y="4655700"/>
              <a:ext cx="1379648" cy="493086"/>
            </a:xfrm>
            <a:prstGeom prst="rect">
              <a:avLst/>
            </a:prstGeom>
          </p:spPr>
        </p:pic>
        <p:pic>
          <p:nvPicPr>
            <p:cNvPr id="87" name="Picture 120"/>
            <p:cNvPicPr>
              <a:picLocks/>
            </p:cNvPicPr>
            <p:nvPr/>
          </p:nvPicPr>
          <p:blipFill>
            <a:blip r:embed="rId46" cstate="email">
              <a:extLst>
                <a:ext uri="{28A0092B-C50C-407E-A947-70E740481C1C}">
                  <a14:useLocalDpi xmlns:a14="http://schemas.microsoft.com/office/drawing/2010/main"/>
                </a:ext>
              </a:extLst>
            </a:blip>
            <a:srcRect/>
            <a:stretch>
              <a:fillRect/>
            </a:stretch>
          </p:blipFill>
          <p:spPr bwMode="auto">
            <a:xfrm>
              <a:off x="5384341" y="5534523"/>
              <a:ext cx="849644" cy="678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19"/>
            <p:cNvPicPr>
              <a:picLocks noChangeAspect="1" noChangeArrowheads="1"/>
            </p:cNvPicPr>
            <p:nvPr/>
          </p:nvPicPr>
          <p:blipFill rotWithShape="1">
            <a:blip r:embed="rId47" cstate="email">
              <a:extLst>
                <a:ext uri="{28A0092B-C50C-407E-A947-70E740481C1C}">
                  <a14:useLocalDpi xmlns:a14="http://schemas.microsoft.com/office/drawing/2010/main"/>
                </a:ext>
              </a:extLst>
            </a:blip>
            <a:srcRect/>
            <a:stretch/>
          </p:blipFill>
          <p:spPr bwMode="auto">
            <a:xfrm>
              <a:off x="4900739" y="4891984"/>
              <a:ext cx="838815" cy="651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 name="Picture 88"/>
            <p:cNvPicPr>
              <a:picLocks noChangeAspect="1"/>
            </p:cNvPicPr>
            <p:nvPr/>
          </p:nvPicPr>
          <p:blipFill rotWithShape="1">
            <a:blip r:embed="rId48" cstate="email">
              <a:extLst>
                <a:ext uri="{28A0092B-C50C-407E-A947-70E740481C1C}">
                  <a14:useLocalDpi xmlns:a14="http://schemas.microsoft.com/office/drawing/2010/main"/>
                </a:ext>
              </a:extLst>
            </a:blip>
            <a:srcRect/>
            <a:stretch/>
          </p:blipFill>
          <p:spPr>
            <a:xfrm>
              <a:off x="6212130" y="5567405"/>
              <a:ext cx="1237661" cy="645222"/>
            </a:xfrm>
            <a:prstGeom prst="rect">
              <a:avLst/>
            </a:prstGeom>
          </p:spPr>
        </p:pic>
        <p:pic>
          <p:nvPicPr>
            <p:cNvPr id="91" name="Picture 90" descr="C:\Users\ANGELA~1\AppData\Local\Temp\notes90E0C8\Western Cape.png"/>
            <p:cNvPicPr/>
            <p:nvPr/>
          </p:nvPicPr>
          <p:blipFill>
            <a:blip r:embed="rId49" cstate="email">
              <a:extLst>
                <a:ext uri="{28A0092B-C50C-407E-A947-70E740481C1C}">
                  <a14:useLocalDpi xmlns:a14="http://schemas.microsoft.com/office/drawing/2010/main"/>
                </a:ext>
              </a:extLst>
            </a:blip>
            <a:srcRect/>
            <a:stretch>
              <a:fillRect/>
            </a:stretch>
          </p:blipFill>
          <p:spPr bwMode="auto">
            <a:xfrm>
              <a:off x="7418388" y="5618770"/>
              <a:ext cx="1371600" cy="638175"/>
            </a:xfrm>
            <a:prstGeom prst="rect">
              <a:avLst/>
            </a:prstGeom>
            <a:noFill/>
            <a:ln>
              <a:noFill/>
            </a:ln>
          </p:spPr>
        </p:pic>
        <p:pic>
          <p:nvPicPr>
            <p:cNvPr id="92" name="Picture 125"/>
            <p:cNvPicPr>
              <a:picLocks noChangeAspect="1"/>
            </p:cNvPicPr>
            <p:nvPr/>
          </p:nvPicPr>
          <p:blipFill>
            <a:blip r:embed="rId50" cstate="email">
              <a:extLst>
                <a:ext uri="{28A0092B-C50C-407E-A947-70E740481C1C}">
                  <a14:useLocalDpi xmlns:a14="http://schemas.microsoft.com/office/drawing/2010/main"/>
                </a:ext>
              </a:extLst>
            </a:blip>
            <a:srcRect/>
            <a:stretch>
              <a:fillRect/>
            </a:stretch>
          </p:blipFill>
          <p:spPr bwMode="auto">
            <a:xfrm>
              <a:off x="3966033" y="5543513"/>
              <a:ext cx="475826" cy="618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93" descr="BLSA_RGBlogo_lowres.jpg"/>
            <p:cNvPicPr>
              <a:picLocks noChangeAspect="1"/>
            </p:cNvPicPr>
            <p:nvPr/>
          </p:nvPicPr>
          <p:blipFill>
            <a:blip r:embed="rId51" cstate="email">
              <a:extLst>
                <a:ext uri="{28A0092B-C50C-407E-A947-70E740481C1C}">
                  <a14:useLocalDpi xmlns:a14="http://schemas.microsoft.com/office/drawing/2010/main"/>
                </a:ext>
              </a:extLst>
            </a:blip>
            <a:stretch>
              <a:fillRect/>
            </a:stretch>
          </p:blipFill>
          <p:spPr>
            <a:xfrm>
              <a:off x="2015080" y="5434414"/>
              <a:ext cx="1069010" cy="669038"/>
            </a:xfrm>
            <a:prstGeom prst="rect">
              <a:avLst/>
            </a:prstGeom>
            <a:noFill/>
            <a:ln>
              <a:noFill/>
            </a:ln>
          </p:spPr>
        </p:pic>
        <p:pic>
          <p:nvPicPr>
            <p:cNvPr id="95" name="Picture 94"/>
            <p:cNvPicPr>
              <a:picLocks noChangeAspect="1"/>
            </p:cNvPicPr>
            <p:nvPr/>
          </p:nvPicPr>
          <p:blipFill rotWithShape="1">
            <a:blip r:embed="rId52" cstate="email">
              <a:extLst>
                <a:ext uri="{28A0092B-C50C-407E-A947-70E740481C1C}">
                  <a14:useLocalDpi xmlns:a14="http://schemas.microsoft.com/office/drawing/2010/main"/>
                </a:ext>
              </a:extLst>
            </a:blip>
            <a:srcRect/>
            <a:stretch/>
          </p:blipFill>
          <p:spPr>
            <a:xfrm>
              <a:off x="3204974" y="2209514"/>
              <a:ext cx="998972" cy="476383"/>
            </a:xfrm>
            <a:prstGeom prst="rect">
              <a:avLst/>
            </a:prstGeom>
            <a:noFill/>
            <a:ln>
              <a:noFill/>
            </a:ln>
          </p:spPr>
        </p:pic>
        <p:pic>
          <p:nvPicPr>
            <p:cNvPr id="97" name="Picture 96"/>
            <p:cNvPicPr>
              <a:picLocks noChangeAspect="1"/>
            </p:cNvPicPr>
            <p:nvPr/>
          </p:nvPicPr>
          <p:blipFill>
            <a:blip r:embed="rId53" cstate="email">
              <a:extLst>
                <a:ext uri="{28A0092B-C50C-407E-A947-70E740481C1C}">
                  <a14:useLocalDpi xmlns:a14="http://schemas.microsoft.com/office/drawing/2010/main"/>
                </a:ext>
              </a:extLst>
            </a:blip>
            <a:stretch>
              <a:fillRect/>
            </a:stretch>
          </p:blipFill>
          <p:spPr>
            <a:xfrm>
              <a:off x="5387430" y="2121493"/>
              <a:ext cx="1345944" cy="495140"/>
            </a:xfrm>
            <a:prstGeom prst="rect">
              <a:avLst/>
            </a:prstGeom>
            <a:noFill/>
            <a:ln>
              <a:noFill/>
            </a:ln>
          </p:spPr>
        </p:pic>
        <p:pic>
          <p:nvPicPr>
            <p:cNvPr id="98" name="Picture 97"/>
            <p:cNvPicPr>
              <a:picLocks noChangeAspect="1"/>
            </p:cNvPicPr>
            <p:nvPr/>
          </p:nvPicPr>
          <p:blipFill>
            <a:blip r:embed="rId54" cstate="email">
              <a:extLst>
                <a:ext uri="{28A0092B-C50C-407E-A947-70E740481C1C}">
                  <a14:useLocalDpi xmlns:a14="http://schemas.microsoft.com/office/drawing/2010/main"/>
                </a:ext>
              </a:extLst>
            </a:blip>
            <a:stretch>
              <a:fillRect/>
            </a:stretch>
          </p:blipFill>
          <p:spPr>
            <a:xfrm>
              <a:off x="7525367" y="3021055"/>
              <a:ext cx="1350202" cy="601007"/>
            </a:xfrm>
            <a:prstGeom prst="rect">
              <a:avLst/>
            </a:prstGeom>
          </p:spPr>
        </p:pic>
        <p:pic>
          <p:nvPicPr>
            <p:cNvPr id="99" name="Picture 98"/>
            <p:cNvPicPr>
              <a:picLocks noChangeAspect="1"/>
            </p:cNvPicPr>
            <p:nvPr/>
          </p:nvPicPr>
          <p:blipFill>
            <a:blip r:embed="rId55" cstate="email">
              <a:extLst>
                <a:ext uri="{28A0092B-C50C-407E-A947-70E740481C1C}">
                  <a14:useLocalDpi xmlns:a14="http://schemas.microsoft.com/office/drawing/2010/main"/>
                </a:ext>
              </a:extLst>
            </a:blip>
            <a:stretch>
              <a:fillRect/>
            </a:stretch>
          </p:blipFill>
          <p:spPr>
            <a:xfrm>
              <a:off x="7582550" y="5228043"/>
              <a:ext cx="1293019" cy="503048"/>
            </a:xfrm>
            <a:prstGeom prst="rect">
              <a:avLst/>
            </a:prstGeom>
          </p:spPr>
        </p:pic>
        <p:pic>
          <p:nvPicPr>
            <p:cNvPr id="79" name="Picture 123"/>
            <p:cNvPicPr>
              <a:picLocks/>
            </p:cNvPicPr>
            <p:nvPr/>
          </p:nvPicPr>
          <p:blipFill>
            <a:blip r:embed="rId56" cstate="email">
              <a:extLst>
                <a:ext uri="{28A0092B-C50C-407E-A947-70E740481C1C}">
                  <a14:useLocalDpi xmlns:a14="http://schemas.microsoft.com/office/drawing/2010/main"/>
                </a:ext>
              </a:extLst>
            </a:blip>
            <a:stretch>
              <a:fillRect/>
            </a:stretch>
          </p:blipFill>
          <p:spPr bwMode="auto">
            <a:xfrm>
              <a:off x="6587024" y="2323821"/>
              <a:ext cx="699108" cy="562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Title 2"/>
          <p:cNvSpPr>
            <a:spLocks noGrp="1"/>
          </p:cNvSpPr>
          <p:nvPr>
            <p:ph type="title"/>
          </p:nvPr>
        </p:nvSpPr>
        <p:spPr>
          <a:xfrm>
            <a:off x="171451" y="17528"/>
            <a:ext cx="8618537" cy="584775"/>
          </a:xfrm>
        </p:spPr>
        <p:txBody>
          <a:bodyPr/>
          <a:lstStyle/>
          <a:p>
            <a:r>
              <a:rPr lang="en-US" dirty="0" smtClean="0"/>
              <a:t>In line with Operation </a:t>
            </a:r>
            <a:r>
              <a:rPr lang="en-US" dirty="0" err="1" smtClean="0"/>
              <a:t>Phakisa</a:t>
            </a:r>
            <a:r>
              <a:rPr lang="en-US" dirty="0" smtClean="0"/>
              <a:t> methodology there was </a:t>
            </a:r>
            <a:r>
              <a:rPr lang="en-GB" dirty="0" smtClean="0"/>
              <a:t>wide </a:t>
            </a:r>
            <a:r>
              <a:rPr lang="en-GB" dirty="0"/>
              <a:t>stakeholder </a:t>
            </a:r>
            <a:r>
              <a:rPr lang="en-GB" dirty="0" smtClean="0"/>
              <a:t>engagement</a:t>
            </a:r>
            <a:endParaRPr lang="en-ZA" dirty="0"/>
          </a:p>
        </p:txBody>
      </p:sp>
    </p:spTree>
    <p:extLst>
      <p:ext uri="{BB962C8B-B14F-4D97-AF65-F5344CB8AC3E}">
        <p14:creationId xmlns:p14="http://schemas.microsoft.com/office/powerpoint/2010/main" val="26057317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2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The Lab has produced 29 initiatives and several recommendations to address the key challenges experienc</a:t>
            </a:r>
            <a:r>
              <a:rPr lang="en-US" dirty="0" smtClean="0">
                <a:solidFill>
                  <a:schemeClr val="tx1"/>
                </a:solidFill>
              </a:rPr>
              <a:t>ed</a:t>
            </a:r>
            <a:r>
              <a:rPr lang="en-US" dirty="0" smtClean="0">
                <a:solidFill>
                  <a:srgbClr val="FF0000"/>
                </a:solidFill>
              </a:rPr>
              <a:t> </a:t>
            </a:r>
            <a:r>
              <a:rPr lang="en-US" dirty="0" smtClean="0"/>
              <a:t>by the streams</a:t>
            </a:r>
            <a:endParaRPr lang="en-ZA" dirty="0"/>
          </a:p>
        </p:txBody>
      </p:sp>
      <p:sp>
        <p:nvSpPr>
          <p:cNvPr id="22" name="Rectangle 21"/>
          <p:cNvSpPr>
            <a:spLocks/>
          </p:cNvSpPr>
          <p:nvPr/>
        </p:nvSpPr>
        <p:spPr>
          <a:xfrm>
            <a:off x="180975" y="1106741"/>
            <a:ext cx="2812925" cy="4663440"/>
          </a:xfrm>
          <a:prstGeom prst="rect">
            <a:avLst/>
          </a:prstGeom>
          <a:solidFill>
            <a:schemeClr val="bg2"/>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smtClean="0">
              <a:solidFill>
                <a:srgbClr val="000000"/>
              </a:solidFill>
            </a:endParaRPr>
          </a:p>
        </p:txBody>
      </p:sp>
      <p:sp>
        <p:nvSpPr>
          <p:cNvPr id="26" name="Rectangle 6"/>
          <p:cNvSpPr>
            <a:spLocks noChangeArrowheads="1"/>
          </p:cNvSpPr>
          <p:nvPr/>
        </p:nvSpPr>
        <p:spPr bwMode="gray">
          <a:xfrm>
            <a:off x="180975" y="1114435"/>
            <a:ext cx="2812925" cy="376257"/>
          </a:xfrm>
          <a:prstGeom prst="rect">
            <a:avLst/>
          </a:prstGeom>
          <a:solidFill>
            <a:schemeClr val="accent1"/>
          </a:solidFill>
          <a:ln w="19050" algn="ctr">
            <a:solidFill>
              <a:schemeClr val="accent1"/>
            </a:solidFill>
            <a:miter lim="800000"/>
            <a:headEnd/>
            <a:tailEnd/>
          </a:ln>
          <a:effectLst/>
          <a:extLst/>
        </p:spPr>
        <p:txBody>
          <a:bodyPr wrap="square" lIns="72009" tIns="72009" rIns="72009" bIns="72009" anchor="ctr" anchorCtr="0">
            <a:spAutoFit/>
          </a:bodyPr>
          <a:lstStyle/>
          <a:p>
            <a:r>
              <a:rPr lang="en-GB" sz="1500" b="1" dirty="0" smtClean="0">
                <a:solidFill>
                  <a:srgbClr val="0B4623"/>
                </a:solidFill>
                <a:latin typeface="Arial"/>
              </a:rPr>
              <a:t>Wildlife</a:t>
            </a:r>
            <a:endParaRPr lang="en-GB" sz="1500" b="1" dirty="0">
              <a:solidFill>
                <a:srgbClr val="0B4623"/>
              </a:solidFill>
              <a:latin typeface="Arial"/>
            </a:endParaRPr>
          </a:p>
        </p:txBody>
      </p:sp>
      <p:sp>
        <p:nvSpPr>
          <p:cNvPr id="24" name="Rectangle 23"/>
          <p:cNvSpPr>
            <a:spLocks/>
          </p:cNvSpPr>
          <p:nvPr/>
        </p:nvSpPr>
        <p:spPr>
          <a:xfrm>
            <a:off x="5977063" y="1106741"/>
            <a:ext cx="2812925" cy="4663440"/>
          </a:xfrm>
          <a:prstGeom prst="rect">
            <a:avLst/>
          </a:prstGeom>
          <a:solidFill>
            <a:schemeClr val="bg2"/>
          </a:solidFill>
          <a:ln w="1905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smtClean="0">
              <a:solidFill>
                <a:srgbClr val="000000"/>
              </a:solidFill>
            </a:endParaRPr>
          </a:p>
        </p:txBody>
      </p:sp>
      <p:sp>
        <p:nvSpPr>
          <p:cNvPr id="13" name="Rectangle 6"/>
          <p:cNvSpPr>
            <a:spLocks noChangeArrowheads="1"/>
          </p:cNvSpPr>
          <p:nvPr/>
        </p:nvSpPr>
        <p:spPr bwMode="gray">
          <a:xfrm>
            <a:off x="5977063" y="1114435"/>
            <a:ext cx="2812925" cy="376257"/>
          </a:xfrm>
          <a:prstGeom prst="rect">
            <a:avLst/>
          </a:prstGeom>
          <a:solidFill>
            <a:schemeClr val="accent3"/>
          </a:solidFill>
          <a:ln w="19050" algn="ctr">
            <a:solidFill>
              <a:schemeClr val="accent3"/>
            </a:solidFill>
            <a:miter lim="800000"/>
            <a:headEnd/>
            <a:tailEnd/>
          </a:ln>
          <a:effectLst/>
          <a:extLst/>
        </p:spPr>
        <p:txBody>
          <a:bodyPr wrap="square" lIns="72009" tIns="72009" rIns="72009" bIns="72009" anchor="ctr" anchorCtr="0">
            <a:spAutoFit/>
          </a:bodyPr>
          <a:lstStyle/>
          <a:p>
            <a:r>
              <a:rPr lang="en-GB" sz="1500" b="1" dirty="0" smtClean="0">
                <a:solidFill>
                  <a:srgbClr val="FFFFFF"/>
                </a:solidFill>
                <a:latin typeface="Arial"/>
              </a:rPr>
              <a:t>Bioprospecting</a:t>
            </a:r>
            <a:endParaRPr lang="en-GB" sz="1500" b="1" dirty="0">
              <a:solidFill>
                <a:srgbClr val="FFFFFF"/>
              </a:solidFill>
              <a:latin typeface="Arial"/>
            </a:endParaRPr>
          </a:p>
        </p:txBody>
      </p:sp>
      <p:sp>
        <p:nvSpPr>
          <p:cNvPr id="23" name="Rectangle 22"/>
          <p:cNvSpPr>
            <a:spLocks/>
          </p:cNvSpPr>
          <p:nvPr/>
        </p:nvSpPr>
        <p:spPr>
          <a:xfrm>
            <a:off x="3079019" y="1106741"/>
            <a:ext cx="2812925" cy="4663440"/>
          </a:xfrm>
          <a:prstGeom prst="rect">
            <a:avLst/>
          </a:prstGeom>
          <a:solidFill>
            <a:schemeClr val="bg2"/>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err="1" smtClean="0">
              <a:solidFill>
                <a:srgbClr val="000000"/>
              </a:solidFill>
            </a:endParaRPr>
          </a:p>
        </p:txBody>
      </p:sp>
      <p:sp>
        <p:nvSpPr>
          <p:cNvPr id="11" name="Rectangle 6"/>
          <p:cNvSpPr>
            <a:spLocks noChangeArrowheads="1"/>
          </p:cNvSpPr>
          <p:nvPr/>
        </p:nvSpPr>
        <p:spPr bwMode="gray">
          <a:xfrm>
            <a:off x="3079019" y="1114435"/>
            <a:ext cx="2812925" cy="376257"/>
          </a:xfrm>
          <a:prstGeom prst="rect">
            <a:avLst/>
          </a:prstGeom>
          <a:solidFill>
            <a:schemeClr val="accent2"/>
          </a:solidFill>
          <a:ln w="19050" algn="ctr">
            <a:solidFill>
              <a:schemeClr val="accent2"/>
            </a:solidFill>
            <a:miter lim="800000"/>
            <a:headEnd/>
            <a:tailEnd/>
          </a:ln>
          <a:effectLst/>
          <a:extLst/>
        </p:spPr>
        <p:txBody>
          <a:bodyPr wrap="square" lIns="72009" tIns="72009" rIns="72009" bIns="72009" anchor="ctr" anchorCtr="0">
            <a:spAutoFit/>
          </a:bodyPr>
          <a:lstStyle/>
          <a:p>
            <a:r>
              <a:rPr lang="en-GB" sz="1500" b="1" dirty="0" err="1" smtClean="0">
                <a:solidFill>
                  <a:srgbClr val="FFFFFF"/>
                </a:solidFill>
                <a:latin typeface="Arial"/>
              </a:rPr>
              <a:t>C&amp;M</a:t>
            </a:r>
            <a:r>
              <a:rPr lang="en-GB" sz="1500" b="1" dirty="0" smtClean="0">
                <a:solidFill>
                  <a:srgbClr val="FFFFFF"/>
                </a:solidFill>
                <a:latin typeface="Arial"/>
              </a:rPr>
              <a:t> Tourism</a:t>
            </a:r>
            <a:endParaRPr lang="en-GB" sz="1500" b="1" dirty="0">
              <a:solidFill>
                <a:srgbClr val="FFFFFF"/>
              </a:solidFill>
              <a:latin typeface="Arial"/>
            </a:endParaRPr>
          </a:p>
        </p:txBody>
      </p:sp>
      <p:sp>
        <p:nvSpPr>
          <p:cNvPr id="7" name="TextBox 6"/>
          <p:cNvSpPr txBox="1">
            <a:spLocks/>
          </p:cNvSpPr>
          <p:nvPr/>
        </p:nvSpPr>
        <p:spPr>
          <a:xfrm>
            <a:off x="6045523" y="1565211"/>
            <a:ext cx="2676004" cy="41549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50000"/>
              </a:spcBef>
              <a:buClr>
                <a:srgbClr val="0B4623"/>
              </a:buClr>
            </a:pPr>
            <a:r>
              <a:rPr lang="en-US" sz="1500" dirty="0" smtClean="0">
                <a:solidFill>
                  <a:srgbClr val="0B4623"/>
                </a:solidFill>
              </a:rPr>
              <a:t>Increase supply through mass cultivation and sustainable harvesting</a:t>
            </a:r>
          </a:p>
          <a:p>
            <a:pPr lvl="1">
              <a:spcBef>
                <a:spcPct val="50000"/>
              </a:spcBef>
              <a:buClr>
                <a:srgbClr val="0B4623"/>
              </a:buClr>
            </a:pPr>
            <a:r>
              <a:rPr lang="en-US" sz="1500" dirty="0">
                <a:solidFill>
                  <a:srgbClr val="0B4623"/>
                </a:solidFill>
              </a:rPr>
              <a:t>Increase demand and local value addition through better coordination of stakeholders  harnessing existing initiatives and addressing the innovation </a:t>
            </a:r>
            <a:r>
              <a:rPr lang="en-US" sz="1500" dirty="0" smtClean="0">
                <a:solidFill>
                  <a:srgbClr val="0B4623"/>
                </a:solidFill>
              </a:rPr>
              <a:t>chasm</a:t>
            </a:r>
          </a:p>
          <a:p>
            <a:pPr lvl="1">
              <a:spcBef>
                <a:spcPct val="50000"/>
              </a:spcBef>
              <a:buClr>
                <a:srgbClr val="0B4623"/>
              </a:buClr>
            </a:pPr>
            <a:r>
              <a:rPr lang="en-US" sz="1500" dirty="0" smtClean="0">
                <a:solidFill>
                  <a:srgbClr val="0B4623"/>
                </a:solidFill>
              </a:rPr>
              <a:t>Simplify the regulatory environment to enhance growth</a:t>
            </a:r>
          </a:p>
          <a:p>
            <a:pPr lvl="1">
              <a:spcBef>
                <a:spcPct val="50000"/>
              </a:spcBef>
              <a:buClr>
                <a:srgbClr val="0B4623"/>
              </a:buClr>
            </a:pPr>
            <a:r>
              <a:rPr lang="en-US" sz="1500" dirty="0" smtClean="0">
                <a:solidFill>
                  <a:srgbClr val="0B4623"/>
                </a:solidFill>
              </a:rPr>
              <a:t>Transform the sector through direct involvement of communities and TK holders</a:t>
            </a:r>
            <a:endParaRPr lang="en-US" sz="1500" dirty="0">
              <a:solidFill>
                <a:srgbClr val="0B4623"/>
              </a:solidFill>
            </a:endParaRPr>
          </a:p>
          <a:p>
            <a:pPr lvl="1">
              <a:spcBef>
                <a:spcPct val="50000"/>
              </a:spcBef>
              <a:buClr>
                <a:srgbClr val="0B4623"/>
              </a:buClr>
            </a:pPr>
            <a:endParaRPr lang="en-US" sz="1500" dirty="0">
              <a:solidFill>
                <a:srgbClr val="000000"/>
              </a:solidFill>
            </a:endParaRPr>
          </a:p>
        </p:txBody>
      </p:sp>
      <p:sp>
        <p:nvSpPr>
          <p:cNvPr id="9" name="TextBox 8"/>
          <p:cNvSpPr txBox="1">
            <a:spLocks/>
          </p:cNvSpPr>
          <p:nvPr/>
        </p:nvSpPr>
        <p:spPr>
          <a:xfrm>
            <a:off x="3147479" y="1565211"/>
            <a:ext cx="2676004" cy="346248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50000"/>
              </a:spcBef>
              <a:buClr>
                <a:srgbClr val="0B4623"/>
              </a:buClr>
            </a:pPr>
            <a:r>
              <a:rPr lang="en-US" sz="1500" dirty="0" smtClean="0">
                <a:solidFill>
                  <a:srgbClr val="0B4623"/>
                </a:solidFill>
              </a:rPr>
              <a:t>Identify and elevate events, routes and attractions along the coastline</a:t>
            </a:r>
          </a:p>
          <a:p>
            <a:pPr lvl="1">
              <a:spcBef>
                <a:spcPct val="50000"/>
              </a:spcBef>
              <a:buClr>
                <a:srgbClr val="0B4623"/>
              </a:buClr>
            </a:pPr>
            <a:r>
              <a:rPr lang="en-US" sz="1500" dirty="0" smtClean="0">
                <a:solidFill>
                  <a:srgbClr val="0B4623"/>
                </a:solidFill>
              </a:rPr>
              <a:t>Support high potential projects by unlocking roadblocks that are delaying implementation</a:t>
            </a:r>
          </a:p>
          <a:p>
            <a:pPr lvl="1">
              <a:spcBef>
                <a:spcPct val="50000"/>
              </a:spcBef>
              <a:buClr>
                <a:srgbClr val="0B4623"/>
              </a:buClr>
            </a:pPr>
            <a:r>
              <a:rPr lang="en-US" sz="1500" dirty="0" smtClean="0">
                <a:solidFill>
                  <a:srgbClr val="0B4623"/>
                </a:solidFill>
              </a:rPr>
              <a:t>Promote SA as a coastal and marine tourism</a:t>
            </a:r>
          </a:p>
          <a:p>
            <a:pPr lvl="1">
              <a:spcBef>
                <a:spcPct val="50000"/>
              </a:spcBef>
              <a:buClr>
                <a:srgbClr val="0B4623"/>
              </a:buClr>
            </a:pPr>
            <a:r>
              <a:rPr lang="en-US" sz="1500" dirty="0" smtClean="0">
                <a:solidFill>
                  <a:srgbClr val="0B4623"/>
                </a:solidFill>
              </a:rPr>
              <a:t>Enhance skills and </a:t>
            </a:r>
            <a:r>
              <a:rPr lang="en-US" sz="1500" dirty="0" err="1" smtClean="0">
                <a:solidFill>
                  <a:srgbClr val="0B4623"/>
                </a:solidFill>
              </a:rPr>
              <a:t>SMME</a:t>
            </a:r>
            <a:r>
              <a:rPr lang="en-US" sz="1500" dirty="0" smtClean="0">
                <a:solidFill>
                  <a:srgbClr val="0B4623"/>
                </a:solidFill>
              </a:rPr>
              <a:t> creation </a:t>
            </a:r>
          </a:p>
          <a:p>
            <a:pPr lvl="1">
              <a:spcBef>
                <a:spcPct val="50000"/>
              </a:spcBef>
              <a:buClr>
                <a:srgbClr val="0B4623"/>
              </a:buClr>
            </a:pPr>
            <a:r>
              <a:rPr lang="en-US" sz="1500" dirty="0" smtClean="0">
                <a:solidFill>
                  <a:srgbClr val="0B4623"/>
                </a:solidFill>
              </a:rPr>
              <a:t>Streamline and coordinate permitting</a:t>
            </a:r>
          </a:p>
        </p:txBody>
      </p:sp>
      <p:sp>
        <p:nvSpPr>
          <p:cNvPr id="18" name="TextBox 17"/>
          <p:cNvSpPr txBox="1">
            <a:spLocks/>
          </p:cNvSpPr>
          <p:nvPr/>
        </p:nvSpPr>
        <p:spPr>
          <a:xfrm>
            <a:off x="249435" y="1565211"/>
            <a:ext cx="2676004" cy="380873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255" eaLnBrk="1" hangingPunct="1">
              <a:buClr>
                <a:schemeClr val="tx2"/>
              </a:buClr>
              <a:defRPr baseline="0">
                <a:latin typeface="+mn-lt"/>
              </a:defRPr>
            </a:lvl1pPr>
            <a:lvl2pPr marL="193655" lvl="1" indent="-192067" defTabSz="895255" eaLnBrk="1" hangingPunct="1">
              <a:spcBef>
                <a:spcPct val="50000"/>
              </a:spcBef>
              <a:buClr>
                <a:srgbClr val="0B4623"/>
              </a:buClr>
              <a:buSzPct val="125000"/>
              <a:buFont typeface="Arial" charset="0"/>
              <a:buChar char="▪"/>
              <a:defRPr sz="1500" baseline="0">
                <a:solidFill>
                  <a:srgbClr val="0B4623"/>
                </a:solidFill>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dirty="0" smtClean="0"/>
              <a:t>Actively facilitate transformation of the sector through land access and support </a:t>
            </a:r>
            <a:r>
              <a:rPr lang="en-US" dirty="0" err="1" smtClean="0"/>
              <a:t>programmes</a:t>
            </a:r>
            <a:r>
              <a:rPr lang="en-US" dirty="0" smtClean="0"/>
              <a:t> for new entrants</a:t>
            </a:r>
          </a:p>
          <a:p>
            <a:pPr lvl="1"/>
            <a:r>
              <a:rPr lang="en-US" dirty="0" smtClean="0"/>
              <a:t>Drive growth </a:t>
            </a:r>
            <a:r>
              <a:rPr lang="en-US" dirty="0"/>
              <a:t>through </a:t>
            </a:r>
            <a:r>
              <a:rPr lang="en-US" dirty="0" smtClean="0"/>
              <a:t>unlocking demand, and promoting </a:t>
            </a:r>
            <a:r>
              <a:rPr lang="en-US" dirty="0"/>
              <a:t>‘value’ and </a:t>
            </a:r>
            <a:r>
              <a:rPr lang="en-US" dirty="0" smtClean="0"/>
              <a:t>products (e.g. game meat)</a:t>
            </a:r>
            <a:endParaRPr lang="en-US" dirty="0"/>
          </a:p>
          <a:p>
            <a:pPr lvl="1"/>
            <a:r>
              <a:rPr lang="en-US" dirty="0" smtClean="0"/>
              <a:t>Create an enabling environment for the wildlife sector</a:t>
            </a:r>
          </a:p>
          <a:p>
            <a:pPr lvl="1"/>
            <a:r>
              <a:rPr lang="en-US" dirty="0" smtClean="0"/>
              <a:t>Address the reputational and conservational risks of the sector</a:t>
            </a:r>
            <a:endParaRPr lang="en-US" dirty="0"/>
          </a:p>
        </p:txBody>
      </p:sp>
      <p:sp>
        <p:nvSpPr>
          <p:cNvPr id="4" name="Rectangle 3"/>
          <p:cNvSpPr txBox="1"/>
          <p:nvPr>
            <p:custDataLst>
              <p:tags r:id="rId3"/>
            </p:custDataLst>
          </p:nvPr>
        </p:nvSpPr>
        <p:spPr>
          <a:xfrm>
            <a:off x="627191" y="5574358"/>
            <a:ext cx="1920493" cy="391646"/>
          </a:xfrm>
          <a:prstGeom prst="rect">
            <a:avLst/>
          </a:prstGeom>
          <a:solidFill>
            <a:schemeClr val="accent1"/>
          </a:solidFill>
          <a:ln w="19050" algn="ctr">
            <a:solidFill>
              <a:schemeClr val="accent1"/>
            </a:solidFill>
            <a:miter lim="800000"/>
            <a:headEnd/>
            <a:tailEnd/>
          </a:ln>
          <a:effectLst/>
        </p:spPr>
        <p:txBody>
          <a:bodyPr wrap="square" lIns="72009" tIns="72009" rIns="72009" bIns="72009" anchor="ctr" anchorCtr="0">
            <a:spAutoFit/>
          </a:bodyPr>
          <a:lstStyle>
            <a:defPPr>
              <a:defRPr lang="en-US"/>
            </a:defPPr>
            <a:lvl1pPr>
              <a:defRPr sz="1500" b="1">
                <a:solidFill>
                  <a:srgbClr val="0B4623"/>
                </a:solidFill>
                <a:latin typeface="Arial"/>
              </a:defRPr>
            </a:lvl1pPr>
          </a:lstStyle>
          <a:p>
            <a:pPr marL="0" lvl="1" algn="ctr"/>
            <a:r>
              <a:rPr lang="en-US" b="1" dirty="0"/>
              <a:t>15 </a:t>
            </a:r>
            <a:r>
              <a:rPr lang="en-US" b="1" dirty="0" smtClean="0"/>
              <a:t>initiatives</a:t>
            </a:r>
            <a:endParaRPr lang="en-US" b="1" dirty="0"/>
          </a:p>
        </p:txBody>
      </p:sp>
      <p:sp>
        <p:nvSpPr>
          <p:cNvPr id="14" name="Rectangle 3"/>
          <p:cNvSpPr txBox="1"/>
          <p:nvPr>
            <p:custDataLst>
              <p:tags r:id="rId4"/>
            </p:custDataLst>
          </p:nvPr>
        </p:nvSpPr>
        <p:spPr>
          <a:xfrm>
            <a:off x="3525235" y="5574358"/>
            <a:ext cx="1920493" cy="391646"/>
          </a:xfrm>
          <a:prstGeom prst="rect">
            <a:avLst/>
          </a:prstGeom>
          <a:solidFill>
            <a:schemeClr val="accent2"/>
          </a:solidFill>
          <a:ln w="19050" algn="ctr">
            <a:solidFill>
              <a:schemeClr val="accent2"/>
            </a:solidFill>
            <a:miter lim="800000"/>
            <a:headEnd/>
            <a:tailEnd/>
          </a:ln>
          <a:effectLst/>
        </p:spPr>
        <p:txBody>
          <a:bodyPr wrap="square" lIns="72009" tIns="72009" rIns="72009" bIns="72009" anchor="ctr" anchorCtr="0">
            <a:spAutoFit/>
          </a:bodyPr>
          <a:lstStyle>
            <a:defPPr>
              <a:defRPr lang="en-US"/>
            </a:defPPr>
            <a:lvl1pPr>
              <a:defRPr sz="1500" b="1">
                <a:solidFill>
                  <a:srgbClr val="FFFFFF"/>
                </a:solidFill>
                <a:latin typeface="Arial"/>
              </a:defRPr>
            </a:lvl1pPr>
          </a:lstStyle>
          <a:p>
            <a:pPr lvl="1"/>
            <a:r>
              <a:rPr lang="en-US" b="1" dirty="0">
                <a:solidFill>
                  <a:schemeClr val="bg1"/>
                </a:solidFill>
              </a:rPr>
              <a:t>9 initiatives</a:t>
            </a:r>
          </a:p>
        </p:txBody>
      </p:sp>
      <p:sp>
        <p:nvSpPr>
          <p:cNvPr id="15" name="Rectangle 3"/>
          <p:cNvSpPr txBox="1"/>
          <p:nvPr>
            <p:custDataLst>
              <p:tags r:id="rId5"/>
            </p:custDataLst>
          </p:nvPr>
        </p:nvSpPr>
        <p:spPr>
          <a:xfrm>
            <a:off x="6423279" y="5574358"/>
            <a:ext cx="1920493" cy="391646"/>
          </a:xfrm>
          <a:prstGeom prst="rect">
            <a:avLst/>
          </a:prstGeom>
          <a:solidFill>
            <a:schemeClr val="accent3"/>
          </a:solidFill>
          <a:ln w="19050" algn="ctr">
            <a:solidFill>
              <a:schemeClr val="accent3"/>
            </a:solidFill>
            <a:miter lim="800000"/>
            <a:headEnd/>
            <a:tailEnd/>
          </a:ln>
          <a:effectLst/>
        </p:spPr>
        <p:txBody>
          <a:bodyPr wrap="square" lIns="72009" tIns="72009" rIns="72009" bIns="72009" anchor="ctr" anchorCtr="0">
            <a:spAutoFit/>
          </a:bodyPr>
          <a:lstStyle>
            <a:defPPr>
              <a:defRPr lang="en-US"/>
            </a:defPPr>
            <a:lvl1pPr>
              <a:defRPr sz="1500" b="1">
                <a:solidFill>
                  <a:srgbClr val="FFFFFF"/>
                </a:solidFill>
                <a:latin typeface="Arial"/>
              </a:defRPr>
            </a:lvl1pPr>
          </a:lstStyle>
          <a:p>
            <a:pPr lvl="1"/>
            <a:r>
              <a:rPr lang="en-US" b="1" dirty="0">
                <a:solidFill>
                  <a:schemeClr val="bg1"/>
                </a:solidFill>
              </a:rPr>
              <a:t>5 initiatives</a:t>
            </a:r>
          </a:p>
        </p:txBody>
      </p:sp>
    </p:spTree>
    <p:extLst>
      <p:ext uri="{BB962C8B-B14F-4D97-AF65-F5344CB8AC3E}">
        <p14:creationId xmlns:p14="http://schemas.microsoft.com/office/powerpoint/2010/main" val="40642940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35423" y="2799284"/>
            <a:ext cx="4213555" cy="86177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WILDLIFE STREAM OUTCOMES</a:t>
            </a:r>
            <a:endParaRPr lang="en-US" dirty="0"/>
          </a:p>
        </p:txBody>
      </p:sp>
    </p:spTree>
    <p:extLst>
      <p:ext uri="{BB962C8B-B14F-4D97-AF65-F5344CB8AC3E}">
        <p14:creationId xmlns:p14="http://schemas.microsoft.com/office/powerpoint/2010/main" val="42483148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82" name="think-cell Slide" r:id="rId5" imgW="524" imgH="526" progId="TCLayout.ActiveDocument.1">
                  <p:embed/>
                </p:oleObj>
              </mc:Choice>
              <mc:Fallback>
                <p:oleObj name="think-cell Slide" r:id="rId5" imgW="524" imgH="52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6" name="Group 35"/>
          <p:cNvGrpSpPr/>
          <p:nvPr/>
        </p:nvGrpSpPr>
        <p:grpSpPr>
          <a:xfrm>
            <a:off x="1" y="1061621"/>
            <a:ext cx="8961438" cy="914400"/>
            <a:chOff x="1" y="1221699"/>
            <a:chExt cx="8961438" cy="914400"/>
          </a:xfrm>
        </p:grpSpPr>
        <p:sp>
          <p:nvSpPr>
            <p:cNvPr id="48" name="Rectangle 47"/>
            <p:cNvSpPr>
              <a:spLocks/>
            </p:cNvSpPr>
            <p:nvPr/>
          </p:nvSpPr>
          <p:spPr>
            <a:xfrm>
              <a:off x="1" y="1221699"/>
              <a:ext cx="8961438" cy="914400"/>
            </a:xfrm>
            <a:prstGeom prst="rect">
              <a:avLst/>
            </a:prstGeom>
            <a:gradFill>
              <a:gsLst>
                <a:gs pos="0">
                  <a:schemeClr val="bg1">
                    <a:lumMod val="95000"/>
                  </a:schemeClr>
                </a:gs>
                <a:gs pos="100000">
                  <a:schemeClr val="bg1">
                    <a:alpha val="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latin typeface="+mj-lt"/>
              </a:endParaRPr>
            </a:p>
          </p:txBody>
        </p:sp>
        <p:cxnSp>
          <p:nvCxnSpPr>
            <p:cNvPr id="49" name="Straight Connector 48"/>
            <p:cNvCxnSpPr>
              <a:cxnSpLocks/>
            </p:cNvCxnSpPr>
            <p:nvPr/>
          </p:nvCxnSpPr>
          <p:spPr>
            <a:xfrm>
              <a:off x="1" y="1221699"/>
              <a:ext cx="896143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63" name="Rectangle 62"/>
          <p:cNvSpPr>
            <a:spLocks noGrp="1" noChangeArrowheads="1"/>
          </p:cNvSpPr>
          <p:nvPr/>
        </p:nvSpPr>
        <p:spPr bwMode="gray">
          <a:xfrm>
            <a:off x="171451" y="3706309"/>
            <a:ext cx="2586834" cy="64633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400" b="1" dirty="0">
                <a:solidFill>
                  <a:schemeClr val="tx2"/>
                </a:solidFill>
                <a:latin typeface="+mj-lt"/>
              </a:rPr>
              <a:t>Primary activities:</a:t>
            </a:r>
            <a:endParaRPr lang="en-US" sz="1400" dirty="0">
              <a:solidFill>
                <a:schemeClr val="tx2"/>
              </a:solidFill>
              <a:latin typeface="+mj-lt"/>
            </a:endParaRPr>
          </a:p>
          <a:p>
            <a:pPr lvl="2"/>
            <a:r>
              <a:rPr lang="en-US" sz="1400" dirty="0">
                <a:latin typeface="+mj-lt"/>
              </a:rPr>
              <a:t>Breeding </a:t>
            </a:r>
          </a:p>
          <a:p>
            <a:pPr lvl="2"/>
            <a:r>
              <a:rPr lang="en-US" sz="1400" dirty="0">
                <a:latin typeface="+mj-lt"/>
              </a:rPr>
              <a:t>Live sale</a:t>
            </a:r>
          </a:p>
        </p:txBody>
      </p:sp>
      <p:sp>
        <p:nvSpPr>
          <p:cNvPr id="64" name="Rectangle 63"/>
          <p:cNvSpPr>
            <a:spLocks noGrp="1" noChangeArrowheads="1"/>
          </p:cNvSpPr>
          <p:nvPr/>
        </p:nvSpPr>
        <p:spPr bwMode="gray">
          <a:xfrm>
            <a:off x="3156965" y="3706309"/>
            <a:ext cx="2586834" cy="86177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400" b="1" dirty="0">
                <a:solidFill>
                  <a:schemeClr val="tx2"/>
                </a:solidFill>
                <a:latin typeface="+mj-lt"/>
              </a:rPr>
              <a:t>Primary activities:</a:t>
            </a:r>
            <a:endParaRPr lang="en-US" sz="1400" dirty="0">
              <a:solidFill>
                <a:schemeClr val="tx2"/>
              </a:solidFill>
              <a:latin typeface="+mj-lt"/>
            </a:endParaRPr>
          </a:p>
          <a:p>
            <a:pPr lvl="2"/>
            <a:r>
              <a:rPr lang="en-US" sz="1400" dirty="0">
                <a:latin typeface="+mj-lt"/>
              </a:rPr>
              <a:t>Wildlife Viewing</a:t>
            </a:r>
          </a:p>
          <a:p>
            <a:pPr lvl="2"/>
            <a:r>
              <a:rPr lang="en-US" sz="1400" dirty="0">
                <a:latin typeface="+mj-lt"/>
              </a:rPr>
              <a:t>Trophy Hunting</a:t>
            </a:r>
          </a:p>
          <a:p>
            <a:pPr lvl="2"/>
            <a:r>
              <a:rPr lang="en-US" sz="1400" dirty="0">
                <a:latin typeface="+mj-lt"/>
              </a:rPr>
              <a:t>Biltong Hunting</a:t>
            </a:r>
          </a:p>
        </p:txBody>
      </p:sp>
      <p:sp>
        <p:nvSpPr>
          <p:cNvPr id="65" name="Rectangle 64"/>
          <p:cNvSpPr>
            <a:spLocks noGrp="1" noChangeArrowheads="1"/>
          </p:cNvSpPr>
          <p:nvPr/>
        </p:nvSpPr>
        <p:spPr bwMode="gray">
          <a:xfrm>
            <a:off x="6142479" y="3706309"/>
            <a:ext cx="2586833" cy="107721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400" b="1" dirty="0">
                <a:solidFill>
                  <a:schemeClr val="tx2"/>
                </a:solidFill>
                <a:latin typeface="+mj-lt"/>
              </a:rPr>
              <a:t>Primary activities:</a:t>
            </a:r>
            <a:endParaRPr lang="en-US" sz="1400" dirty="0">
              <a:solidFill>
                <a:schemeClr val="tx2"/>
              </a:solidFill>
              <a:latin typeface="+mj-lt"/>
            </a:endParaRPr>
          </a:p>
          <a:p>
            <a:pPr lvl="2"/>
            <a:r>
              <a:rPr lang="en-US" sz="1400" dirty="0">
                <a:latin typeface="+mj-lt"/>
              </a:rPr>
              <a:t>Game Meat Processing</a:t>
            </a:r>
          </a:p>
          <a:p>
            <a:pPr lvl="2"/>
            <a:r>
              <a:rPr lang="en-US" sz="1400" dirty="0">
                <a:latin typeface="+mj-lt"/>
              </a:rPr>
              <a:t>Skin and Hide Production</a:t>
            </a:r>
          </a:p>
          <a:p>
            <a:pPr lvl="2"/>
            <a:r>
              <a:rPr lang="en-US" sz="1400" dirty="0">
                <a:latin typeface="+mj-lt"/>
              </a:rPr>
              <a:t>Other products (e.g. curios and decorations)</a:t>
            </a:r>
          </a:p>
        </p:txBody>
      </p:sp>
      <p:pic>
        <p:nvPicPr>
          <p:cNvPr id="66" name="Picture 65"/>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50468" y="1145625"/>
            <a:ext cx="1828800" cy="2438400"/>
          </a:xfrm>
          <a:prstGeom prst="rect">
            <a:avLst/>
          </a:prstGeom>
          <a:effectLst>
            <a:outerShdw blurRad="63500" sx="102000" sy="102000" algn="ctr" rotWithShape="0">
              <a:prstClr val="black">
                <a:alpha val="40000"/>
              </a:prstClr>
            </a:outerShdw>
          </a:effectLst>
        </p:spPr>
      </p:pic>
      <p:pic>
        <p:nvPicPr>
          <p:cNvPr id="67" name="Picture 66"/>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535982" y="1145625"/>
            <a:ext cx="1828800" cy="2438400"/>
          </a:xfrm>
          <a:prstGeom prst="rect">
            <a:avLst/>
          </a:prstGeom>
          <a:effectLst>
            <a:outerShdw blurRad="63500" sx="102000" sy="102000" algn="ctr" rotWithShape="0">
              <a:prstClr val="black">
                <a:alpha val="40000"/>
              </a:prstClr>
            </a:outerShdw>
          </a:effectLst>
        </p:spPr>
      </p:pic>
      <p:pic>
        <p:nvPicPr>
          <p:cNvPr id="68" name="Picture 67"/>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6521495" y="1145625"/>
            <a:ext cx="1828800" cy="2438400"/>
          </a:xfrm>
          <a:prstGeom prst="rect">
            <a:avLst/>
          </a:prstGeom>
          <a:effectLst>
            <a:outerShdw blurRad="63500" sx="102000" sy="102000" algn="ctr" rotWithShape="0">
              <a:prstClr val="black">
                <a:alpha val="40000"/>
              </a:prstClr>
            </a:outerShdw>
          </a:effectLst>
        </p:spPr>
      </p:pic>
      <p:sp>
        <p:nvSpPr>
          <p:cNvPr id="69" name="Rectangle 68"/>
          <p:cNvSpPr>
            <a:spLocks noGrp="1" noChangeArrowheads="1"/>
          </p:cNvSpPr>
          <p:nvPr/>
        </p:nvSpPr>
        <p:spPr bwMode="gray">
          <a:xfrm>
            <a:off x="171451" y="4876145"/>
            <a:ext cx="2586834" cy="107721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400" b="1" dirty="0">
                <a:solidFill>
                  <a:schemeClr val="tx2"/>
                </a:solidFill>
                <a:latin typeface="+mj-lt"/>
              </a:rPr>
              <a:t>Secondary contributors: </a:t>
            </a:r>
          </a:p>
          <a:p>
            <a:pPr lvl="2"/>
            <a:r>
              <a:rPr lang="en-US" sz="1400" dirty="0">
                <a:latin typeface="+mj-lt"/>
              </a:rPr>
              <a:t>Live captures</a:t>
            </a:r>
          </a:p>
          <a:p>
            <a:pPr lvl="2"/>
            <a:r>
              <a:rPr lang="en-US" sz="1400" dirty="0">
                <a:latin typeface="+mj-lt"/>
              </a:rPr>
              <a:t>Translocation Services</a:t>
            </a:r>
          </a:p>
          <a:p>
            <a:pPr lvl="2"/>
            <a:r>
              <a:rPr lang="en-US" sz="1400" dirty="0">
                <a:latin typeface="+mj-lt"/>
              </a:rPr>
              <a:t>Veterinary Services</a:t>
            </a:r>
          </a:p>
          <a:p>
            <a:pPr lvl="2"/>
            <a:r>
              <a:rPr lang="en-US" sz="1400" dirty="0">
                <a:latin typeface="+mj-lt"/>
              </a:rPr>
              <a:t>Fencing and maintenance</a:t>
            </a:r>
          </a:p>
        </p:txBody>
      </p:sp>
      <p:sp>
        <p:nvSpPr>
          <p:cNvPr id="70" name="Rectangle 69"/>
          <p:cNvSpPr>
            <a:spLocks noGrp="1" noChangeArrowheads="1"/>
          </p:cNvSpPr>
          <p:nvPr/>
        </p:nvSpPr>
        <p:spPr bwMode="gray">
          <a:xfrm>
            <a:off x="3156965" y="4876145"/>
            <a:ext cx="2586834" cy="12926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400" b="1" dirty="0">
                <a:solidFill>
                  <a:schemeClr val="tx2"/>
                </a:solidFill>
                <a:latin typeface="+mj-lt"/>
              </a:rPr>
              <a:t>Secondary contributors: </a:t>
            </a:r>
          </a:p>
          <a:p>
            <a:pPr lvl="2"/>
            <a:r>
              <a:rPr lang="en-US" sz="1400" dirty="0">
                <a:latin typeface="+mj-lt"/>
              </a:rPr>
              <a:t>Accommodation</a:t>
            </a:r>
          </a:p>
          <a:p>
            <a:pPr lvl="2"/>
            <a:r>
              <a:rPr lang="en-US" sz="1400" dirty="0">
                <a:latin typeface="+mj-lt"/>
              </a:rPr>
              <a:t>Transport</a:t>
            </a:r>
          </a:p>
          <a:p>
            <a:pPr lvl="2"/>
            <a:r>
              <a:rPr lang="en-US" sz="1400" dirty="0">
                <a:latin typeface="+mj-lt"/>
              </a:rPr>
              <a:t>Equipment &amp; Supplies (Arms, Ammunition etc.)</a:t>
            </a:r>
          </a:p>
          <a:p>
            <a:pPr lvl="2"/>
            <a:r>
              <a:rPr lang="en-US" sz="1400" dirty="0">
                <a:latin typeface="+mj-lt"/>
              </a:rPr>
              <a:t>Taxidermy</a:t>
            </a:r>
          </a:p>
        </p:txBody>
      </p:sp>
      <p:sp>
        <p:nvSpPr>
          <p:cNvPr id="71" name="Rectangle 70"/>
          <p:cNvSpPr>
            <a:spLocks noGrp="1" noChangeArrowheads="1"/>
          </p:cNvSpPr>
          <p:nvPr/>
        </p:nvSpPr>
        <p:spPr bwMode="gray">
          <a:xfrm>
            <a:off x="6142479" y="4876145"/>
            <a:ext cx="2586833" cy="646331"/>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400" b="1" dirty="0">
                <a:solidFill>
                  <a:schemeClr val="tx2"/>
                </a:solidFill>
                <a:latin typeface="+mj-lt"/>
              </a:rPr>
              <a:t>Secondary contributors: </a:t>
            </a:r>
          </a:p>
          <a:p>
            <a:pPr lvl="2"/>
            <a:r>
              <a:rPr lang="en-US" sz="1400" dirty="0">
                <a:latin typeface="+mj-lt"/>
              </a:rPr>
              <a:t>Packaging and Transportation</a:t>
            </a:r>
          </a:p>
        </p:txBody>
      </p:sp>
      <p:sp>
        <p:nvSpPr>
          <p:cNvPr id="3" name="Title 2"/>
          <p:cNvSpPr>
            <a:spLocks noGrp="1"/>
          </p:cNvSpPr>
          <p:nvPr>
            <p:ph type="title"/>
          </p:nvPr>
        </p:nvSpPr>
        <p:spPr>
          <a:xfrm>
            <a:off x="171451" y="230188"/>
            <a:ext cx="8618537" cy="292388"/>
          </a:xfrm>
        </p:spPr>
        <p:txBody>
          <a:bodyPr/>
          <a:lstStyle/>
          <a:p>
            <a:r>
              <a:rPr lang="en-GB" dirty="0"/>
              <a:t>The wildlife sector comprises 3 sub-sectors </a:t>
            </a:r>
          </a:p>
        </p:txBody>
      </p:sp>
      <p:sp>
        <p:nvSpPr>
          <p:cNvPr id="58" name="Rectangle 8"/>
          <p:cNvSpPr>
            <a:spLocks noChangeArrowheads="1"/>
          </p:cNvSpPr>
          <p:nvPr/>
        </p:nvSpPr>
        <p:spPr bwMode="auto">
          <a:xfrm>
            <a:off x="343288" y="754041"/>
            <a:ext cx="2243160" cy="215444"/>
          </a:xfrm>
          <a:prstGeom prst="rect">
            <a:avLst/>
          </a:prstGeom>
          <a:noFill/>
          <a:ln>
            <a:noFill/>
          </a:ln>
          <a:effectLst/>
          <a:extLst/>
        </p:spPr>
        <p:txBody>
          <a:bodyPr wrap="none" lIns="0" tIns="0" rIns="0" bIns="0" anchor="ctr">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r>
              <a:rPr lang="en-GB" sz="1400" b="1" dirty="0">
                <a:solidFill>
                  <a:schemeClr val="tx2"/>
                </a:solidFill>
                <a:latin typeface="+mj-lt"/>
              </a:rPr>
              <a:t>Wildlife ranching</a:t>
            </a:r>
          </a:p>
        </p:txBody>
      </p:sp>
      <p:sp>
        <p:nvSpPr>
          <p:cNvPr id="60" name="Rectangle 8"/>
          <p:cNvSpPr>
            <a:spLocks noChangeArrowheads="1"/>
          </p:cNvSpPr>
          <p:nvPr/>
        </p:nvSpPr>
        <p:spPr bwMode="auto">
          <a:xfrm>
            <a:off x="3328802" y="754041"/>
            <a:ext cx="2243160" cy="215444"/>
          </a:xfrm>
          <a:prstGeom prst="rect">
            <a:avLst/>
          </a:prstGeom>
          <a:noFill/>
          <a:ln>
            <a:noFill/>
          </a:ln>
          <a:effectLst/>
          <a:extLst/>
        </p:spPr>
        <p:txBody>
          <a:bodyPr wrap="none" lIns="0" tIns="0" rIns="0" bIns="0" anchor="ctr">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r>
              <a:rPr lang="en-GB" sz="1400" b="1" dirty="0">
                <a:solidFill>
                  <a:schemeClr val="tx2"/>
                </a:solidFill>
                <a:latin typeface="+mj-lt"/>
              </a:rPr>
              <a:t>Wildlife activities</a:t>
            </a:r>
          </a:p>
        </p:txBody>
      </p:sp>
      <p:sp>
        <p:nvSpPr>
          <p:cNvPr id="62" name="Rectangle 8"/>
          <p:cNvSpPr>
            <a:spLocks noChangeArrowheads="1"/>
          </p:cNvSpPr>
          <p:nvPr/>
        </p:nvSpPr>
        <p:spPr bwMode="auto">
          <a:xfrm>
            <a:off x="6314315" y="754041"/>
            <a:ext cx="2243160" cy="215444"/>
          </a:xfrm>
          <a:prstGeom prst="rect">
            <a:avLst/>
          </a:prstGeom>
          <a:noFill/>
          <a:ln>
            <a:noFill/>
          </a:ln>
          <a:effectLst/>
          <a:extLst/>
        </p:spPr>
        <p:txBody>
          <a:bodyPr wrap="none" lIns="0" tIns="0" rIns="0" bIns="0" anchor="ctr">
            <a:no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ctr"/>
            <a:r>
              <a:rPr lang="en-US" altLang="zh-CN" sz="1400" b="1" dirty="0">
                <a:solidFill>
                  <a:schemeClr val="tx2"/>
                </a:solidFill>
                <a:latin typeface="+mj-lt"/>
                <a:ea typeface="宋体" pitchFamily="2" charset="-122"/>
                <a:sym typeface="Arial"/>
              </a:rPr>
              <a:t>Wildlife products</a:t>
            </a:r>
          </a:p>
        </p:txBody>
      </p:sp>
      <p:grpSp>
        <p:nvGrpSpPr>
          <p:cNvPr id="50" name="Group 49"/>
          <p:cNvGrpSpPr/>
          <p:nvPr/>
        </p:nvGrpSpPr>
        <p:grpSpPr>
          <a:xfrm>
            <a:off x="2809351" y="907153"/>
            <a:ext cx="296548" cy="296548"/>
            <a:chOff x="5039844" y="1003767"/>
            <a:chExt cx="435864" cy="435864"/>
          </a:xfrm>
        </p:grpSpPr>
        <p:sp>
          <p:nvSpPr>
            <p:cNvPr id="51" name="Oval 50"/>
            <p:cNvSpPr/>
            <p:nvPr/>
          </p:nvSpPr>
          <p:spPr>
            <a:xfrm>
              <a:off x="5039844" y="1003767"/>
              <a:ext cx="435864" cy="435864"/>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latin typeface="+mj-lt"/>
              </a:endParaRPr>
            </a:p>
          </p:txBody>
        </p:sp>
        <p:grpSp>
          <p:nvGrpSpPr>
            <p:cNvPr id="52" name="Group 51"/>
            <p:cNvGrpSpPr/>
            <p:nvPr/>
          </p:nvGrpSpPr>
          <p:grpSpPr>
            <a:xfrm>
              <a:off x="5101407" y="1091356"/>
              <a:ext cx="312739" cy="260687"/>
              <a:chOff x="5135880" y="1150276"/>
              <a:chExt cx="312739" cy="226788"/>
            </a:xfrm>
            <a:solidFill>
              <a:schemeClr val="bg1"/>
            </a:solidFill>
          </p:grpSpPr>
          <p:sp>
            <p:nvSpPr>
              <p:cNvPr id="53" name="Chevron 52"/>
              <p:cNvSpPr/>
              <p:nvPr/>
            </p:nvSpPr>
            <p:spPr>
              <a:xfrm>
                <a:off x="5135880" y="1186221"/>
                <a:ext cx="154899" cy="154899"/>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latin typeface="+mj-lt"/>
                </a:endParaRPr>
              </a:p>
            </p:txBody>
          </p:sp>
          <p:sp>
            <p:nvSpPr>
              <p:cNvPr id="54" name="Chevron 53"/>
              <p:cNvSpPr/>
              <p:nvPr/>
            </p:nvSpPr>
            <p:spPr>
              <a:xfrm>
                <a:off x="5221831" y="1150276"/>
                <a:ext cx="226788" cy="226788"/>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latin typeface="+mj-lt"/>
                </a:endParaRPr>
              </a:p>
            </p:txBody>
          </p:sp>
        </p:grpSp>
      </p:grpSp>
      <p:grpSp>
        <p:nvGrpSpPr>
          <p:cNvPr id="55" name="Group 54"/>
          <p:cNvGrpSpPr/>
          <p:nvPr/>
        </p:nvGrpSpPr>
        <p:grpSpPr>
          <a:xfrm>
            <a:off x="5794865" y="907153"/>
            <a:ext cx="296548" cy="296548"/>
            <a:chOff x="5039844" y="1003767"/>
            <a:chExt cx="435864" cy="435864"/>
          </a:xfrm>
        </p:grpSpPr>
        <p:sp>
          <p:nvSpPr>
            <p:cNvPr id="56" name="Oval 55"/>
            <p:cNvSpPr/>
            <p:nvPr/>
          </p:nvSpPr>
          <p:spPr>
            <a:xfrm>
              <a:off x="5039844" y="1003767"/>
              <a:ext cx="435864" cy="435864"/>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latin typeface="+mj-lt"/>
              </a:endParaRPr>
            </a:p>
          </p:txBody>
        </p:sp>
        <p:grpSp>
          <p:nvGrpSpPr>
            <p:cNvPr id="57" name="Group 56"/>
            <p:cNvGrpSpPr/>
            <p:nvPr/>
          </p:nvGrpSpPr>
          <p:grpSpPr>
            <a:xfrm>
              <a:off x="5101407" y="1091356"/>
              <a:ext cx="312739" cy="260687"/>
              <a:chOff x="5135880" y="1150276"/>
              <a:chExt cx="312739" cy="226788"/>
            </a:xfrm>
            <a:solidFill>
              <a:schemeClr val="bg1"/>
            </a:solidFill>
          </p:grpSpPr>
          <p:sp>
            <p:nvSpPr>
              <p:cNvPr id="59" name="Chevron 58"/>
              <p:cNvSpPr/>
              <p:nvPr/>
            </p:nvSpPr>
            <p:spPr>
              <a:xfrm>
                <a:off x="5135880" y="1186221"/>
                <a:ext cx="154899" cy="154899"/>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latin typeface="+mj-lt"/>
                </a:endParaRPr>
              </a:p>
            </p:txBody>
          </p:sp>
          <p:sp>
            <p:nvSpPr>
              <p:cNvPr id="61" name="Chevron 60"/>
              <p:cNvSpPr/>
              <p:nvPr/>
            </p:nvSpPr>
            <p:spPr>
              <a:xfrm>
                <a:off x="5221831" y="1150276"/>
                <a:ext cx="226788" cy="226788"/>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latin typeface="+mj-lt"/>
                </a:endParaRPr>
              </a:p>
            </p:txBody>
          </p:sp>
        </p:grpSp>
      </p:grpSp>
      <p:cxnSp>
        <p:nvCxnSpPr>
          <p:cNvPr id="72" name="Straight Connector 71"/>
          <p:cNvCxnSpPr/>
          <p:nvPr/>
        </p:nvCxnSpPr>
        <p:spPr>
          <a:xfrm>
            <a:off x="2957625" y="1222847"/>
            <a:ext cx="0" cy="494596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5943139" y="1222847"/>
            <a:ext cx="0" cy="494596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407068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Object 5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06" name="think-cell Slide" r:id="rId10" imgW="524" imgH="526" progId="TCLayout.ActiveDocument.1">
                  <p:embed/>
                </p:oleObj>
              </mc:Choice>
              <mc:Fallback>
                <p:oleObj name="think-cell Slide" r:id="rId10" imgW="524" imgH="526"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grpSp>
        <p:nvGrpSpPr>
          <p:cNvPr id="16" name="Group 15"/>
          <p:cNvGrpSpPr/>
          <p:nvPr/>
        </p:nvGrpSpPr>
        <p:grpSpPr>
          <a:xfrm>
            <a:off x="1" y="1460867"/>
            <a:ext cx="8961438" cy="914400"/>
            <a:chOff x="1" y="1221699"/>
            <a:chExt cx="8961438" cy="914400"/>
          </a:xfrm>
        </p:grpSpPr>
        <p:sp>
          <p:nvSpPr>
            <p:cNvPr id="17" name="Rectangle 16"/>
            <p:cNvSpPr>
              <a:spLocks/>
            </p:cNvSpPr>
            <p:nvPr/>
          </p:nvSpPr>
          <p:spPr>
            <a:xfrm>
              <a:off x="1" y="1221699"/>
              <a:ext cx="8961438" cy="914400"/>
            </a:xfrm>
            <a:prstGeom prst="rect">
              <a:avLst/>
            </a:prstGeom>
            <a:gradFill>
              <a:gsLst>
                <a:gs pos="0">
                  <a:schemeClr val="bg1">
                    <a:lumMod val="95000"/>
                  </a:schemeClr>
                </a:gs>
                <a:gs pos="100000">
                  <a:schemeClr val="bg1">
                    <a:alpha val="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cxnSp>
          <p:nvCxnSpPr>
            <p:cNvPr id="18" name="Straight Connector 17"/>
            <p:cNvCxnSpPr>
              <a:cxnSpLocks/>
            </p:cNvCxnSpPr>
            <p:nvPr/>
          </p:nvCxnSpPr>
          <p:spPr>
            <a:xfrm>
              <a:off x="1" y="1221699"/>
              <a:ext cx="896143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bwMode="gray">
          <a:xfrm>
            <a:off x="171451"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The Wildlife Economy faces several challenges preventing growth and transformation happen at full potential</a:t>
            </a:r>
          </a:p>
        </p:txBody>
      </p:sp>
      <p:grpSp>
        <p:nvGrpSpPr>
          <p:cNvPr id="13" name="Group 12"/>
          <p:cNvGrpSpPr/>
          <p:nvPr/>
        </p:nvGrpSpPr>
        <p:grpSpPr>
          <a:xfrm>
            <a:off x="2477130" y="1312592"/>
            <a:ext cx="296548" cy="4799492"/>
            <a:chOff x="2598595" y="1312592"/>
            <a:chExt cx="296548" cy="4799492"/>
          </a:xfrm>
        </p:grpSpPr>
        <p:grpSp>
          <p:nvGrpSpPr>
            <p:cNvPr id="19" name="Group 18"/>
            <p:cNvGrpSpPr/>
            <p:nvPr/>
          </p:nvGrpSpPr>
          <p:grpSpPr>
            <a:xfrm>
              <a:off x="2598595" y="1312592"/>
              <a:ext cx="296548" cy="296548"/>
              <a:chOff x="5039844" y="1003767"/>
              <a:chExt cx="435864" cy="435864"/>
            </a:xfrm>
          </p:grpSpPr>
          <p:sp>
            <p:nvSpPr>
              <p:cNvPr id="20" name="Oval 19"/>
              <p:cNvSpPr/>
              <p:nvPr/>
            </p:nvSpPr>
            <p:spPr>
              <a:xfrm>
                <a:off x="5039844" y="1003767"/>
                <a:ext cx="435864" cy="435864"/>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grpSp>
            <p:nvGrpSpPr>
              <p:cNvPr id="21" name="Group 20"/>
              <p:cNvGrpSpPr/>
              <p:nvPr/>
            </p:nvGrpSpPr>
            <p:grpSpPr>
              <a:xfrm>
                <a:off x="5101407" y="1091356"/>
                <a:ext cx="312739" cy="260687"/>
                <a:chOff x="5135880" y="1150276"/>
                <a:chExt cx="312739" cy="226788"/>
              </a:xfrm>
              <a:solidFill>
                <a:schemeClr val="bg1"/>
              </a:solidFill>
            </p:grpSpPr>
            <p:sp>
              <p:nvSpPr>
                <p:cNvPr id="22" name="Chevron 21"/>
                <p:cNvSpPr/>
                <p:nvPr/>
              </p:nvSpPr>
              <p:spPr>
                <a:xfrm>
                  <a:off x="5135880" y="1186221"/>
                  <a:ext cx="154899" cy="154899"/>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sp>
              <p:nvSpPr>
                <p:cNvPr id="23" name="Chevron 22"/>
                <p:cNvSpPr/>
                <p:nvPr/>
              </p:nvSpPr>
              <p:spPr>
                <a:xfrm>
                  <a:off x="5221831" y="1150276"/>
                  <a:ext cx="226788" cy="226788"/>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grpSp>
        </p:grpSp>
        <p:cxnSp>
          <p:nvCxnSpPr>
            <p:cNvPr id="29" name="Straight Connector 28"/>
            <p:cNvCxnSpPr/>
            <p:nvPr/>
          </p:nvCxnSpPr>
          <p:spPr>
            <a:xfrm>
              <a:off x="2746869" y="1624414"/>
              <a:ext cx="0" cy="448767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5197525" y="1312592"/>
            <a:ext cx="296548" cy="4799492"/>
            <a:chOff x="5321878" y="1312592"/>
            <a:chExt cx="296548" cy="4799492"/>
          </a:xfrm>
        </p:grpSpPr>
        <p:grpSp>
          <p:nvGrpSpPr>
            <p:cNvPr id="24" name="Group 23"/>
            <p:cNvGrpSpPr/>
            <p:nvPr/>
          </p:nvGrpSpPr>
          <p:grpSpPr>
            <a:xfrm>
              <a:off x="5321878" y="1312592"/>
              <a:ext cx="296548" cy="296548"/>
              <a:chOff x="5039844" y="1003767"/>
              <a:chExt cx="435864" cy="435864"/>
            </a:xfrm>
          </p:grpSpPr>
          <p:sp>
            <p:nvSpPr>
              <p:cNvPr id="25" name="Oval 24"/>
              <p:cNvSpPr/>
              <p:nvPr/>
            </p:nvSpPr>
            <p:spPr>
              <a:xfrm>
                <a:off x="5039844" y="1003767"/>
                <a:ext cx="435864" cy="435864"/>
              </a:xfrm>
              <a:prstGeom prst="ellipse">
                <a:avLst/>
              </a:prstGeom>
              <a:solidFill>
                <a:schemeClr val="accent3"/>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grpSp>
            <p:nvGrpSpPr>
              <p:cNvPr id="26" name="Group 25"/>
              <p:cNvGrpSpPr/>
              <p:nvPr/>
            </p:nvGrpSpPr>
            <p:grpSpPr>
              <a:xfrm>
                <a:off x="5101407" y="1091356"/>
                <a:ext cx="312739" cy="260687"/>
                <a:chOff x="5135880" y="1150276"/>
                <a:chExt cx="312739" cy="226788"/>
              </a:xfrm>
              <a:solidFill>
                <a:schemeClr val="bg1"/>
              </a:solidFill>
            </p:grpSpPr>
            <p:sp>
              <p:nvSpPr>
                <p:cNvPr id="27" name="Chevron 26"/>
                <p:cNvSpPr/>
                <p:nvPr/>
              </p:nvSpPr>
              <p:spPr>
                <a:xfrm>
                  <a:off x="5135880" y="1186221"/>
                  <a:ext cx="154899" cy="154899"/>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sp>
              <p:nvSpPr>
                <p:cNvPr id="28" name="Chevron 27"/>
                <p:cNvSpPr/>
                <p:nvPr/>
              </p:nvSpPr>
              <p:spPr>
                <a:xfrm>
                  <a:off x="5221831" y="1150276"/>
                  <a:ext cx="226788" cy="226788"/>
                </a:xfrm>
                <a:prstGeom prst="chevron">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grpSp>
        </p:grpSp>
        <p:cxnSp>
          <p:nvCxnSpPr>
            <p:cNvPr id="30" name="Straight Connector 29"/>
            <p:cNvCxnSpPr/>
            <p:nvPr/>
          </p:nvCxnSpPr>
          <p:spPr>
            <a:xfrm>
              <a:off x="5470152" y="1624414"/>
              <a:ext cx="0" cy="448767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sp>
        <p:nvSpPr>
          <p:cNvPr id="4" name="TextBox 3"/>
          <p:cNvSpPr txBox="1">
            <a:spLocks/>
          </p:cNvSpPr>
          <p:nvPr/>
        </p:nvSpPr>
        <p:spPr bwMode="gray">
          <a:xfrm>
            <a:off x="5559915" y="1570575"/>
            <a:ext cx="3230073" cy="4893647"/>
          </a:xfrm>
          <a:prstGeom prst="rect">
            <a:avLst/>
          </a:prstGeom>
          <a:noFill/>
          <a:ln w="9525">
            <a:no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200" dirty="0" smtClean="0">
                <a:ea typeface="Arial Unicode MS" panose="020B0604020202020204" pitchFamily="34" charset="-128"/>
                <a:cs typeface="Arial Unicode MS" panose="020B0604020202020204" pitchFamily="34" charset="-128"/>
              </a:rPr>
              <a:t>Insufficient </a:t>
            </a:r>
            <a:r>
              <a:rPr lang="en-US" sz="1200" b="1" dirty="0">
                <a:solidFill>
                  <a:schemeClr val="tx2"/>
                </a:solidFill>
                <a:ea typeface="Arial Unicode MS" panose="020B0604020202020204" pitchFamily="34" charset="-128"/>
                <a:cs typeface="Arial Unicode MS" panose="020B0604020202020204" pitchFamily="34" charset="-128"/>
              </a:rPr>
              <a:t>interdepartmental </a:t>
            </a:r>
            <a:r>
              <a:rPr lang="en-US" sz="1200" b="1" dirty="0" smtClean="0">
                <a:solidFill>
                  <a:schemeClr val="tx2"/>
                </a:solidFill>
                <a:ea typeface="Arial Unicode MS" panose="020B0604020202020204" pitchFamily="34" charset="-128"/>
                <a:cs typeface="Arial Unicode MS" panose="020B0604020202020204" pitchFamily="34" charset="-128"/>
              </a:rPr>
              <a:t>coordination </a:t>
            </a:r>
            <a:r>
              <a:rPr lang="en-US" sz="1200" dirty="0" smtClean="0">
                <a:ea typeface="Arial Unicode MS" panose="020B0604020202020204" pitchFamily="34" charset="-128"/>
                <a:cs typeface="Arial Unicode MS" panose="020B0604020202020204" pitchFamily="34" charset="-128"/>
              </a:rPr>
              <a:t>and understanding of the benefits of the bio-economy </a:t>
            </a:r>
          </a:p>
          <a:p>
            <a:pPr lvl="1">
              <a:spcBef>
                <a:spcPct val="50000"/>
              </a:spcBef>
            </a:pPr>
            <a:r>
              <a:rPr lang="en-US" sz="1200" dirty="0" smtClean="0">
                <a:ea typeface="Arial Unicode MS" panose="020B0604020202020204" pitchFamily="34" charset="-128"/>
                <a:cs typeface="Arial Unicode MS" panose="020B0604020202020204" pitchFamily="34" charset="-128"/>
              </a:rPr>
              <a:t>Insufficient </a:t>
            </a:r>
            <a:r>
              <a:rPr lang="en-US" sz="1200" b="1" dirty="0" smtClean="0">
                <a:solidFill>
                  <a:schemeClr val="tx2"/>
                </a:solidFill>
                <a:ea typeface="Arial Unicode MS" panose="020B0604020202020204" pitchFamily="34" charset="-128"/>
                <a:cs typeface="Arial Unicode MS" panose="020B0604020202020204" pitchFamily="34" charset="-128"/>
              </a:rPr>
              <a:t>knowledgebase</a:t>
            </a:r>
            <a:r>
              <a:rPr lang="en-US" sz="1200" dirty="0" smtClean="0">
                <a:solidFill>
                  <a:schemeClr val="tx2"/>
                </a:solidFill>
                <a:ea typeface="Arial Unicode MS" panose="020B0604020202020204" pitchFamily="34" charset="-128"/>
                <a:cs typeface="Arial Unicode MS" panose="020B0604020202020204" pitchFamily="34" charset="-128"/>
              </a:rPr>
              <a:t> </a:t>
            </a:r>
            <a:r>
              <a:rPr lang="en-US" sz="1200" dirty="0" smtClean="0">
                <a:ea typeface="Arial Unicode MS" panose="020B0604020202020204" pitchFamily="34" charset="-128"/>
                <a:cs typeface="Arial Unicode MS" panose="020B0604020202020204" pitchFamily="34" charset="-128"/>
              </a:rPr>
              <a:t>(research and access)</a:t>
            </a:r>
          </a:p>
          <a:p>
            <a:pPr lvl="1">
              <a:spcBef>
                <a:spcPct val="50000"/>
              </a:spcBef>
            </a:pPr>
            <a:r>
              <a:rPr lang="en-US" sz="1200" dirty="0" smtClean="0">
                <a:ea typeface="Arial Unicode MS" panose="020B0604020202020204" pitchFamily="34" charset="-128"/>
                <a:cs typeface="Arial Unicode MS" panose="020B0604020202020204" pitchFamily="34" charset="-128"/>
              </a:rPr>
              <a:t>Gaps in </a:t>
            </a:r>
            <a:r>
              <a:rPr lang="en-US" sz="1200" b="1" dirty="0" smtClean="0">
                <a:solidFill>
                  <a:schemeClr val="tx2"/>
                </a:solidFill>
                <a:ea typeface="Arial Unicode MS" panose="020B0604020202020204" pitchFamily="34" charset="-128"/>
                <a:cs typeface="Arial Unicode MS" panose="020B0604020202020204" pitchFamily="34" charset="-128"/>
              </a:rPr>
              <a:t>industry standards</a:t>
            </a:r>
            <a:r>
              <a:rPr lang="en-US" sz="1200" dirty="0" smtClean="0">
                <a:ea typeface="Arial Unicode MS" panose="020B0604020202020204" pitchFamily="34" charset="-128"/>
                <a:cs typeface="Arial Unicode MS" panose="020B0604020202020204" pitchFamily="34" charset="-128"/>
              </a:rPr>
              <a:t> (and compliance)</a:t>
            </a:r>
          </a:p>
          <a:p>
            <a:pPr lvl="1">
              <a:spcBef>
                <a:spcPct val="50000"/>
              </a:spcBef>
            </a:pPr>
            <a:r>
              <a:rPr lang="en-US" sz="1200" dirty="0" smtClean="0">
                <a:ea typeface="Arial Unicode MS" panose="020B0604020202020204" pitchFamily="34" charset="-128"/>
                <a:cs typeface="Arial Unicode MS" panose="020B0604020202020204" pitchFamily="34" charset="-128"/>
              </a:rPr>
              <a:t>Excessive and inefficient </a:t>
            </a:r>
            <a:r>
              <a:rPr lang="en-US" sz="1200" b="1" dirty="0" smtClean="0">
                <a:solidFill>
                  <a:schemeClr val="tx2"/>
                </a:solidFill>
                <a:ea typeface="Arial Unicode MS" panose="020B0604020202020204" pitchFamily="34" charset="-128"/>
                <a:cs typeface="Arial Unicode MS" panose="020B0604020202020204" pitchFamily="34" charset="-128"/>
              </a:rPr>
              <a:t>permitting</a:t>
            </a:r>
          </a:p>
          <a:p>
            <a:pPr lvl="1">
              <a:spcBef>
                <a:spcPct val="50000"/>
              </a:spcBef>
            </a:pPr>
            <a:r>
              <a:rPr lang="en-US" sz="1200" dirty="0" smtClean="0">
                <a:ea typeface="Arial Unicode MS" panose="020B0604020202020204" pitchFamily="34" charset="-128"/>
                <a:cs typeface="Arial Unicode MS" panose="020B0604020202020204" pitchFamily="34" charset="-128"/>
              </a:rPr>
              <a:t>Unsupportive </a:t>
            </a:r>
            <a:r>
              <a:rPr lang="en-US" sz="1200" b="1" dirty="0" smtClean="0">
                <a:solidFill>
                  <a:schemeClr val="tx2"/>
                </a:solidFill>
                <a:ea typeface="Arial Unicode MS" panose="020B0604020202020204" pitchFamily="34" charset="-128"/>
                <a:cs typeface="Arial Unicode MS" panose="020B0604020202020204" pitchFamily="34" charset="-128"/>
              </a:rPr>
              <a:t>legislative</a:t>
            </a:r>
            <a:r>
              <a:rPr lang="en-US" sz="1200" b="1" dirty="0" smtClean="0">
                <a:ea typeface="Arial Unicode MS" panose="020B0604020202020204" pitchFamily="34" charset="-128"/>
                <a:cs typeface="Arial Unicode MS" panose="020B0604020202020204" pitchFamily="34" charset="-128"/>
              </a:rPr>
              <a:t> </a:t>
            </a:r>
            <a:r>
              <a:rPr lang="en-US" sz="1200" b="1" dirty="0" smtClean="0">
                <a:solidFill>
                  <a:schemeClr val="tx2"/>
                </a:solidFill>
                <a:ea typeface="Arial Unicode MS" panose="020B0604020202020204" pitchFamily="34" charset="-128"/>
                <a:cs typeface="Arial Unicode MS" panose="020B0604020202020204" pitchFamily="34" charset="-128"/>
              </a:rPr>
              <a:t>regime</a:t>
            </a:r>
          </a:p>
          <a:p>
            <a:pPr lvl="2">
              <a:spcBef>
                <a:spcPct val="50000"/>
              </a:spcBef>
            </a:pPr>
            <a:r>
              <a:rPr lang="en-US" sz="1200" dirty="0" smtClean="0">
                <a:ea typeface="Arial Unicode MS" panose="020B0604020202020204" pitchFamily="34" charset="-128"/>
                <a:cs typeface="Arial Unicode MS" panose="020B0604020202020204" pitchFamily="34" charset="-128"/>
              </a:rPr>
              <a:t>Misalignment of </a:t>
            </a:r>
            <a:r>
              <a:rPr lang="en-US" sz="1200" dirty="0" err="1" smtClean="0">
                <a:ea typeface="Arial Unicode MS" panose="020B0604020202020204" pitchFamily="34" charset="-128"/>
                <a:cs typeface="Arial Unicode MS" panose="020B0604020202020204" pitchFamily="34" charset="-128"/>
              </a:rPr>
              <a:t>SPLUMA</a:t>
            </a:r>
            <a:r>
              <a:rPr lang="en-US" sz="1200" dirty="0" smtClean="0">
                <a:ea typeface="Arial Unicode MS" panose="020B0604020202020204" pitchFamily="34" charset="-128"/>
                <a:cs typeface="Arial Unicode MS" panose="020B0604020202020204" pitchFamily="34" charset="-128"/>
              </a:rPr>
              <a:t> and </a:t>
            </a:r>
            <a:r>
              <a:rPr lang="en-US" sz="1200" dirty="0" err="1" smtClean="0">
                <a:ea typeface="Arial Unicode MS" panose="020B0604020202020204" pitchFamily="34" charset="-128"/>
                <a:cs typeface="Arial Unicode MS" panose="020B0604020202020204" pitchFamily="34" charset="-128"/>
              </a:rPr>
              <a:t>PDALFB</a:t>
            </a:r>
            <a:r>
              <a:rPr lang="en-US" sz="1200" dirty="0" smtClean="0">
                <a:ea typeface="Arial Unicode MS" panose="020B0604020202020204" pitchFamily="34" charset="-128"/>
                <a:cs typeface="Arial Unicode MS" panose="020B0604020202020204" pitchFamily="34" charset="-128"/>
              </a:rPr>
              <a:t>  (Land use) </a:t>
            </a:r>
          </a:p>
          <a:p>
            <a:pPr lvl="2">
              <a:spcBef>
                <a:spcPct val="50000"/>
              </a:spcBef>
            </a:pPr>
            <a:r>
              <a:rPr lang="en-US" sz="1200" dirty="0" err="1" smtClean="0">
                <a:ea typeface="Arial Unicode MS" panose="020B0604020202020204" pitchFamily="34" charset="-128"/>
                <a:cs typeface="Arial Unicode MS" panose="020B0604020202020204" pitchFamily="34" charset="-128"/>
              </a:rPr>
              <a:t>NEMBA</a:t>
            </a:r>
            <a:r>
              <a:rPr lang="en-US" sz="1200" dirty="0" smtClean="0">
                <a:ea typeface="Arial Unicode MS" panose="020B0604020202020204" pitchFamily="34" charset="-128"/>
                <a:cs typeface="Arial Unicode MS" panose="020B0604020202020204" pitchFamily="34" charset="-128"/>
              </a:rPr>
              <a:t> lacking in enabling provisions</a:t>
            </a:r>
          </a:p>
          <a:p>
            <a:pPr lvl="2">
              <a:spcBef>
                <a:spcPct val="50000"/>
              </a:spcBef>
            </a:pPr>
            <a:r>
              <a:rPr lang="en-US" sz="1200" dirty="0" smtClean="0">
                <a:ea typeface="Arial Unicode MS" panose="020B0604020202020204" pitchFamily="34" charset="-128"/>
                <a:cs typeface="Arial Unicode MS" panose="020B0604020202020204" pitchFamily="34" charset="-128"/>
              </a:rPr>
              <a:t>Misalignment of provincial and/or national hunting legislation</a:t>
            </a:r>
          </a:p>
          <a:p>
            <a:pPr lvl="1">
              <a:spcBef>
                <a:spcPct val="50000"/>
              </a:spcBef>
            </a:pPr>
            <a:r>
              <a:rPr lang="en-US" sz="1200" dirty="0" smtClean="0">
                <a:ea typeface="Arial Unicode MS" panose="020B0604020202020204" pitchFamily="34" charset="-128"/>
                <a:cs typeface="Arial Unicode MS" panose="020B0604020202020204" pitchFamily="34" charset="-128"/>
              </a:rPr>
              <a:t>Lack of sufficient </a:t>
            </a:r>
            <a:r>
              <a:rPr lang="en-US" sz="1200" b="1" dirty="0" smtClean="0">
                <a:solidFill>
                  <a:schemeClr val="tx2"/>
                </a:solidFill>
                <a:ea typeface="Arial Unicode MS" panose="020B0604020202020204" pitchFamily="34" charset="-128"/>
                <a:cs typeface="Arial Unicode MS" panose="020B0604020202020204" pitchFamily="34" charset="-128"/>
              </a:rPr>
              <a:t>collaboration</a:t>
            </a:r>
            <a:r>
              <a:rPr lang="en-US" sz="1200" dirty="0" smtClean="0">
                <a:ea typeface="Arial Unicode MS" panose="020B0604020202020204" pitchFamily="34" charset="-128"/>
                <a:cs typeface="Arial Unicode MS" panose="020B0604020202020204" pitchFamily="34" charset="-128"/>
              </a:rPr>
              <a:t> platform for the industry</a:t>
            </a:r>
          </a:p>
          <a:p>
            <a:pPr lvl="1">
              <a:spcBef>
                <a:spcPct val="50000"/>
              </a:spcBef>
            </a:pPr>
            <a:r>
              <a:rPr lang="en-US" sz="1200" dirty="0" smtClean="0">
                <a:ea typeface="Arial Unicode MS" panose="020B0604020202020204" pitchFamily="34" charset="-128"/>
                <a:cs typeface="Arial Unicode MS" panose="020B0604020202020204" pitchFamily="34" charset="-128"/>
              </a:rPr>
              <a:t>Lack of </a:t>
            </a:r>
            <a:r>
              <a:rPr lang="en-US" sz="1200" b="1" dirty="0" smtClean="0">
                <a:solidFill>
                  <a:schemeClr val="tx2"/>
                </a:solidFill>
                <a:ea typeface="Arial Unicode MS" panose="020B0604020202020204" pitchFamily="34" charset="-128"/>
                <a:cs typeface="Arial Unicode MS" panose="020B0604020202020204" pitchFamily="34" charset="-128"/>
              </a:rPr>
              <a:t>capacity</a:t>
            </a:r>
            <a:r>
              <a:rPr lang="en-US" sz="1200" dirty="0" smtClean="0">
                <a:ea typeface="Arial Unicode MS" panose="020B0604020202020204" pitchFamily="34" charset="-128"/>
                <a:cs typeface="Arial Unicode MS" panose="020B0604020202020204" pitchFamily="34" charset="-128"/>
              </a:rPr>
              <a:t> (human and financial) to effectively manage and harness the potential of wildlife resources</a:t>
            </a:r>
          </a:p>
          <a:p>
            <a:pPr lvl="1">
              <a:spcBef>
                <a:spcPct val="50000"/>
              </a:spcBef>
            </a:pPr>
            <a:r>
              <a:rPr lang="en-GB" sz="1200" dirty="0">
                <a:ea typeface="Arial Unicode MS" panose="020B0604020202020204" pitchFamily="34" charset="-128"/>
                <a:cs typeface="Arial Unicode MS" panose="020B0604020202020204" pitchFamily="34" charset="-128"/>
              </a:rPr>
              <a:t>Lack of a formal </a:t>
            </a:r>
            <a:r>
              <a:rPr lang="en-GB" sz="1200" b="1" dirty="0">
                <a:solidFill>
                  <a:schemeClr val="tx2"/>
                </a:solidFill>
                <a:ea typeface="Arial Unicode MS" panose="020B0604020202020204" pitchFamily="34" charset="-128"/>
                <a:cs typeface="Arial Unicode MS" panose="020B0604020202020204" pitchFamily="34" charset="-128"/>
              </a:rPr>
              <a:t>game </a:t>
            </a:r>
            <a:r>
              <a:rPr lang="en-GB" sz="1200" b="1" dirty="0">
                <a:solidFill>
                  <a:schemeClr val="tx2"/>
                </a:solidFill>
              </a:rPr>
              <a:t>meat</a:t>
            </a:r>
            <a:r>
              <a:rPr lang="en-GB" sz="1200" b="1" dirty="0">
                <a:solidFill>
                  <a:schemeClr val="tx2"/>
                </a:solidFill>
                <a:ea typeface="Arial Unicode MS" panose="020B0604020202020204" pitchFamily="34" charset="-128"/>
                <a:cs typeface="Arial Unicode MS" panose="020B0604020202020204" pitchFamily="34" charset="-128"/>
              </a:rPr>
              <a:t> </a:t>
            </a:r>
            <a:r>
              <a:rPr lang="en-GB" sz="1200" dirty="0">
                <a:ea typeface="Arial Unicode MS" panose="020B0604020202020204" pitchFamily="34" charset="-128"/>
                <a:cs typeface="Arial Unicode MS" panose="020B0604020202020204" pitchFamily="34" charset="-128"/>
              </a:rPr>
              <a:t>industry</a:t>
            </a:r>
          </a:p>
          <a:p>
            <a:pPr lvl="1">
              <a:spcBef>
                <a:spcPct val="50000"/>
              </a:spcBef>
            </a:pPr>
            <a:endParaRPr lang="en-US" sz="1200" dirty="0" smtClean="0">
              <a:ea typeface="Arial Unicode MS" panose="020B0604020202020204" pitchFamily="34" charset="-128"/>
              <a:cs typeface="Arial Unicode MS" panose="020B0604020202020204" pitchFamily="34" charset="-128"/>
            </a:endParaRPr>
          </a:p>
        </p:txBody>
      </p:sp>
      <p:sp>
        <p:nvSpPr>
          <p:cNvPr id="5" name="TextBox 4"/>
          <p:cNvSpPr txBox="1">
            <a:spLocks/>
          </p:cNvSpPr>
          <p:nvPr/>
        </p:nvSpPr>
        <p:spPr>
          <a:xfrm>
            <a:off x="129693" y="1570575"/>
            <a:ext cx="2430520" cy="34163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200" dirty="0" smtClean="0">
                <a:ea typeface="Arial Unicode MS" panose="020B0604020202020204" pitchFamily="34" charset="-128"/>
                <a:cs typeface="Arial Unicode MS" panose="020B0604020202020204" pitchFamily="34" charset="-128"/>
              </a:rPr>
              <a:t>Insufficient access, ownership and inefficient utilization of </a:t>
            </a:r>
            <a:r>
              <a:rPr lang="en-US" sz="1200" b="1" dirty="0" smtClean="0">
                <a:solidFill>
                  <a:schemeClr val="accent3"/>
                </a:solidFill>
                <a:ea typeface="Arial Unicode MS" panose="020B0604020202020204" pitchFamily="34" charset="-128"/>
                <a:cs typeface="Arial Unicode MS" panose="020B0604020202020204" pitchFamily="34" charset="-128"/>
              </a:rPr>
              <a:t>land</a:t>
            </a:r>
          </a:p>
          <a:p>
            <a:pPr lvl="1">
              <a:spcBef>
                <a:spcPct val="50000"/>
              </a:spcBef>
            </a:pPr>
            <a:r>
              <a:rPr lang="en-US" sz="1200" dirty="0" smtClean="0">
                <a:ea typeface="Arial Unicode MS" panose="020B0604020202020204" pitchFamily="34" charset="-128"/>
                <a:cs typeface="Arial Unicode MS" panose="020B0604020202020204" pitchFamily="34" charset="-128"/>
              </a:rPr>
              <a:t>Lack of </a:t>
            </a:r>
            <a:r>
              <a:rPr lang="en-US" sz="1200" b="1" dirty="0" smtClean="0">
                <a:solidFill>
                  <a:schemeClr val="accent3"/>
                </a:solidFill>
                <a:ea typeface="Arial Unicode MS" panose="020B0604020202020204" pitchFamily="34" charset="-128"/>
                <a:cs typeface="Arial Unicode MS" panose="020B0604020202020204" pitchFamily="34" charset="-128"/>
              </a:rPr>
              <a:t>infrastructure </a:t>
            </a:r>
            <a:r>
              <a:rPr lang="en-US" sz="1200" b="1" dirty="0" smtClean="0">
                <a:solidFill>
                  <a:schemeClr val="accent3"/>
                </a:solidFill>
              </a:rPr>
              <a:t>development</a:t>
            </a:r>
            <a:r>
              <a:rPr lang="en-US" sz="1200" dirty="0" smtClean="0">
                <a:solidFill>
                  <a:schemeClr val="accent3"/>
                </a:solidFill>
                <a:ea typeface="Arial Unicode MS" panose="020B0604020202020204" pitchFamily="34" charset="-128"/>
                <a:cs typeface="Arial Unicode MS" panose="020B0604020202020204" pitchFamily="34" charset="-128"/>
              </a:rPr>
              <a:t> </a:t>
            </a:r>
            <a:r>
              <a:rPr lang="en-US" sz="1200" dirty="0" smtClean="0">
                <a:ea typeface="Arial Unicode MS" panose="020B0604020202020204" pitchFamily="34" charset="-128"/>
                <a:cs typeface="Arial Unicode MS" panose="020B0604020202020204" pitchFamily="34" charset="-128"/>
              </a:rPr>
              <a:t>support for entrepreneurs</a:t>
            </a:r>
          </a:p>
          <a:p>
            <a:pPr lvl="1">
              <a:spcBef>
                <a:spcPct val="50000"/>
              </a:spcBef>
            </a:pPr>
            <a:r>
              <a:rPr lang="en-US" sz="1200" dirty="0" smtClean="0">
                <a:ea typeface="Arial Unicode MS" panose="020B0604020202020204" pitchFamily="34" charset="-128"/>
                <a:cs typeface="Arial Unicode MS" panose="020B0604020202020204" pitchFamily="34" charset="-128"/>
              </a:rPr>
              <a:t>Lack of access to </a:t>
            </a:r>
            <a:r>
              <a:rPr lang="en-US" sz="1200" b="1" dirty="0" smtClean="0">
                <a:ea typeface="Arial Unicode MS" panose="020B0604020202020204" pitchFamily="34" charset="-128"/>
                <a:cs typeface="Arial Unicode MS" panose="020B0604020202020204" pitchFamily="34" charset="-128"/>
              </a:rPr>
              <a:t>‘</a:t>
            </a:r>
            <a:r>
              <a:rPr lang="en-US" sz="1200" b="1" dirty="0" smtClean="0">
                <a:solidFill>
                  <a:schemeClr val="accent3"/>
                </a:solidFill>
                <a:ea typeface="Arial Unicode MS" panose="020B0604020202020204" pitchFamily="34" charset="-128"/>
                <a:cs typeface="Arial Unicode MS" panose="020B0604020202020204" pitchFamily="34" charset="-128"/>
              </a:rPr>
              <a:t>startup’ game</a:t>
            </a:r>
          </a:p>
          <a:p>
            <a:pPr lvl="1">
              <a:spcBef>
                <a:spcPct val="50000"/>
              </a:spcBef>
            </a:pPr>
            <a:r>
              <a:rPr lang="en-US" sz="1200" dirty="0" smtClean="0">
                <a:ea typeface="Arial Unicode MS" panose="020B0604020202020204" pitchFamily="34" charset="-128"/>
                <a:cs typeface="Arial Unicode MS" panose="020B0604020202020204" pitchFamily="34" charset="-128"/>
              </a:rPr>
              <a:t>Lack of </a:t>
            </a:r>
            <a:r>
              <a:rPr lang="en-US" sz="1200" b="1" dirty="0" smtClean="0">
                <a:solidFill>
                  <a:schemeClr val="accent3"/>
                </a:solidFill>
                <a:ea typeface="Arial Unicode MS" panose="020B0604020202020204" pitchFamily="34" charset="-128"/>
                <a:cs typeface="Arial Unicode MS" panose="020B0604020202020204" pitchFamily="34" charset="-128"/>
              </a:rPr>
              <a:t>organized </a:t>
            </a:r>
            <a:r>
              <a:rPr lang="en-US" sz="1200" b="1" dirty="0" smtClean="0">
                <a:solidFill>
                  <a:schemeClr val="accent3"/>
                </a:solidFill>
              </a:rPr>
              <a:t>governance</a:t>
            </a:r>
            <a:r>
              <a:rPr lang="en-US" sz="1200" dirty="0" smtClean="0">
                <a:solidFill>
                  <a:schemeClr val="accent3"/>
                </a:solidFill>
                <a:ea typeface="Arial Unicode MS" panose="020B0604020202020204" pitchFamily="34" charset="-128"/>
                <a:cs typeface="Arial Unicode MS" panose="020B0604020202020204" pitchFamily="34" charset="-128"/>
              </a:rPr>
              <a:t> </a:t>
            </a:r>
            <a:r>
              <a:rPr lang="en-US" sz="1200" dirty="0" smtClean="0">
                <a:ea typeface="Arial Unicode MS" panose="020B0604020202020204" pitchFamily="34" charset="-128"/>
                <a:cs typeface="Arial Unicode MS" panose="020B0604020202020204" pitchFamily="34" charset="-128"/>
              </a:rPr>
              <a:t>amongst community and emerging entrepreneurs</a:t>
            </a:r>
          </a:p>
          <a:p>
            <a:pPr lvl="1">
              <a:spcBef>
                <a:spcPct val="50000"/>
              </a:spcBef>
            </a:pPr>
            <a:r>
              <a:rPr lang="en-US" sz="1200" dirty="0" smtClean="0">
                <a:ea typeface="Arial Unicode MS" panose="020B0604020202020204" pitchFamily="34" charset="-128"/>
                <a:cs typeface="Arial Unicode MS" panose="020B0604020202020204" pitchFamily="34" charset="-128"/>
              </a:rPr>
              <a:t>Lack of </a:t>
            </a:r>
            <a:r>
              <a:rPr lang="en-US" sz="1200" b="1" dirty="0" smtClean="0">
                <a:solidFill>
                  <a:schemeClr val="accent3"/>
                </a:solidFill>
                <a:ea typeface="Arial Unicode MS" panose="020B0604020202020204" pitchFamily="34" charset="-128"/>
                <a:cs typeface="Arial Unicode MS" panose="020B0604020202020204" pitchFamily="34" charset="-128"/>
              </a:rPr>
              <a:t>technical </a:t>
            </a:r>
            <a:r>
              <a:rPr lang="en-US" sz="1200" b="1" dirty="0" smtClean="0">
                <a:solidFill>
                  <a:schemeClr val="accent3"/>
                </a:solidFill>
              </a:rPr>
              <a:t>skills</a:t>
            </a:r>
            <a:r>
              <a:rPr lang="en-US" sz="1200" dirty="0" smtClean="0">
                <a:solidFill>
                  <a:schemeClr val="accent3"/>
                </a:solidFill>
                <a:ea typeface="Arial Unicode MS" panose="020B0604020202020204" pitchFamily="34" charset="-128"/>
                <a:cs typeface="Arial Unicode MS" panose="020B0604020202020204" pitchFamily="34" charset="-128"/>
              </a:rPr>
              <a:t>,</a:t>
            </a:r>
            <a:r>
              <a:rPr lang="en-US" sz="1200" dirty="0" smtClean="0">
                <a:ea typeface="Arial Unicode MS" panose="020B0604020202020204" pitchFamily="34" charset="-128"/>
                <a:cs typeface="Arial Unicode MS" panose="020B0604020202020204" pitchFamily="34" charset="-128"/>
              </a:rPr>
              <a:t> oversight, business support and effective business and partnership models</a:t>
            </a:r>
          </a:p>
          <a:p>
            <a:pPr lvl="1">
              <a:spcBef>
                <a:spcPct val="50000"/>
              </a:spcBef>
            </a:pPr>
            <a:r>
              <a:rPr lang="en-US" sz="1200" dirty="0" smtClean="0">
                <a:ea typeface="Arial Unicode MS" panose="020B0604020202020204" pitchFamily="34" charset="-128"/>
                <a:cs typeface="Arial Unicode MS" panose="020B0604020202020204" pitchFamily="34" charset="-128"/>
              </a:rPr>
              <a:t>Lack of </a:t>
            </a:r>
            <a:r>
              <a:rPr lang="en-US" sz="1200" b="1" dirty="0" smtClean="0">
                <a:solidFill>
                  <a:schemeClr val="accent3"/>
                </a:solidFill>
                <a:ea typeface="Arial Unicode MS" panose="020B0604020202020204" pitchFamily="34" charset="-128"/>
                <a:cs typeface="Arial Unicode MS" panose="020B0604020202020204" pitchFamily="34" charset="-128"/>
              </a:rPr>
              <a:t>access </a:t>
            </a:r>
            <a:r>
              <a:rPr lang="en-US" sz="1200" b="1" dirty="0" smtClean="0">
                <a:solidFill>
                  <a:schemeClr val="accent3"/>
                </a:solidFill>
              </a:rPr>
              <a:t>to</a:t>
            </a:r>
            <a:r>
              <a:rPr lang="en-US" sz="1200" b="1" dirty="0" smtClean="0">
                <a:solidFill>
                  <a:schemeClr val="accent3"/>
                </a:solidFill>
                <a:ea typeface="Arial Unicode MS" panose="020B0604020202020204" pitchFamily="34" charset="-128"/>
                <a:cs typeface="Arial Unicode MS" panose="020B0604020202020204" pitchFamily="34" charset="-128"/>
              </a:rPr>
              <a:t> finance</a:t>
            </a:r>
            <a:r>
              <a:rPr lang="en-US" sz="1200" dirty="0" smtClean="0">
                <a:solidFill>
                  <a:schemeClr val="accent3"/>
                </a:solidFill>
                <a:ea typeface="Arial Unicode MS" panose="020B0604020202020204" pitchFamily="34" charset="-128"/>
                <a:cs typeface="Arial Unicode MS" panose="020B0604020202020204" pitchFamily="34" charset="-128"/>
              </a:rPr>
              <a:t> </a:t>
            </a:r>
            <a:r>
              <a:rPr lang="en-US" sz="1200" dirty="0" smtClean="0">
                <a:ea typeface="Arial Unicode MS" panose="020B0604020202020204" pitchFamily="34" charset="-128"/>
                <a:cs typeface="Arial Unicode MS" panose="020B0604020202020204" pitchFamily="34" charset="-128"/>
              </a:rPr>
              <a:t>and incentives for transformation</a:t>
            </a:r>
            <a:endParaRPr lang="en-US" sz="1200" dirty="0">
              <a:ea typeface="Arial Unicode MS" panose="020B0604020202020204" pitchFamily="34" charset="-128"/>
              <a:cs typeface="Arial Unicode MS" panose="020B0604020202020204" pitchFamily="34" charset="-128"/>
            </a:endParaRPr>
          </a:p>
        </p:txBody>
      </p:sp>
      <p:sp>
        <p:nvSpPr>
          <p:cNvPr id="8" name="TextBox 7"/>
          <p:cNvSpPr txBox="1">
            <a:spLocks/>
          </p:cNvSpPr>
          <p:nvPr/>
        </p:nvSpPr>
        <p:spPr>
          <a:xfrm>
            <a:off x="2807553" y="1570575"/>
            <a:ext cx="2430520" cy="38779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GB" sz="1200" dirty="0" smtClean="0">
                <a:ea typeface="Arial Unicode MS" panose="020B0604020202020204" pitchFamily="34" charset="-128"/>
                <a:cs typeface="Arial Unicode MS" panose="020B0604020202020204" pitchFamily="34" charset="-128"/>
              </a:rPr>
              <a:t>Insufficient </a:t>
            </a:r>
            <a:r>
              <a:rPr lang="en-GB" sz="1200" b="1" dirty="0" smtClean="0">
                <a:solidFill>
                  <a:schemeClr val="tx2"/>
                </a:solidFill>
                <a:ea typeface="Arial Unicode MS" panose="020B0604020202020204" pitchFamily="34" charset="-128"/>
                <a:cs typeface="Arial Unicode MS" panose="020B0604020202020204" pitchFamily="34" charset="-128"/>
              </a:rPr>
              <a:t>government </a:t>
            </a:r>
            <a:r>
              <a:rPr lang="en-GB" sz="1200" b="1" dirty="0" smtClean="0">
                <a:solidFill>
                  <a:schemeClr val="tx2"/>
                </a:solidFill>
              </a:rPr>
              <a:t>endorsement</a:t>
            </a:r>
            <a:r>
              <a:rPr lang="en-GB" sz="1200" b="1" dirty="0" smtClean="0">
                <a:solidFill>
                  <a:schemeClr val="tx2"/>
                </a:solidFill>
                <a:ea typeface="Arial Unicode MS" panose="020B0604020202020204" pitchFamily="34" charset="-128"/>
                <a:cs typeface="Arial Unicode MS" panose="020B0604020202020204" pitchFamily="34" charset="-128"/>
              </a:rPr>
              <a:t> for hunting</a:t>
            </a:r>
            <a:r>
              <a:rPr lang="en-GB" sz="1200" dirty="0" smtClean="0">
                <a:solidFill>
                  <a:schemeClr val="tx2"/>
                </a:solidFill>
                <a:ea typeface="Arial Unicode MS" panose="020B0604020202020204" pitchFamily="34" charset="-128"/>
                <a:cs typeface="Arial Unicode MS" panose="020B0604020202020204" pitchFamily="34" charset="-128"/>
              </a:rPr>
              <a:t> </a:t>
            </a:r>
            <a:r>
              <a:rPr lang="en-GB" sz="1200" dirty="0" smtClean="0">
                <a:ea typeface="Arial Unicode MS" panose="020B0604020202020204" pitchFamily="34" charset="-128"/>
                <a:cs typeface="Arial Unicode MS" panose="020B0604020202020204" pitchFamily="34" charset="-128"/>
              </a:rPr>
              <a:t>as a tourism activity</a:t>
            </a:r>
          </a:p>
          <a:p>
            <a:pPr lvl="1">
              <a:spcBef>
                <a:spcPct val="50000"/>
              </a:spcBef>
            </a:pPr>
            <a:r>
              <a:rPr lang="en-GB" sz="1200" dirty="0" smtClean="0">
                <a:ea typeface="Arial Unicode MS" panose="020B0604020202020204" pitchFamily="34" charset="-128"/>
                <a:cs typeface="Arial Unicode MS" panose="020B0604020202020204" pitchFamily="34" charset="-128"/>
              </a:rPr>
              <a:t>Untapped </a:t>
            </a:r>
            <a:r>
              <a:rPr lang="en-GB" sz="1200" b="1" dirty="0" smtClean="0">
                <a:solidFill>
                  <a:schemeClr val="tx2"/>
                </a:solidFill>
                <a:ea typeface="Arial Unicode MS" panose="020B0604020202020204" pitchFamily="34" charset="-128"/>
                <a:cs typeface="Arial Unicode MS" panose="020B0604020202020204" pitchFamily="34" charset="-128"/>
              </a:rPr>
              <a:t>black </a:t>
            </a:r>
            <a:r>
              <a:rPr lang="en-GB" sz="1200" b="1" dirty="0" smtClean="0">
                <a:solidFill>
                  <a:schemeClr val="tx2"/>
                </a:solidFill>
              </a:rPr>
              <a:t>consumer</a:t>
            </a:r>
            <a:r>
              <a:rPr lang="en-GB" sz="1200" b="1" dirty="0" smtClean="0">
                <a:solidFill>
                  <a:schemeClr val="tx2"/>
                </a:solidFill>
                <a:ea typeface="Arial Unicode MS" panose="020B0604020202020204" pitchFamily="34" charset="-128"/>
                <a:cs typeface="Arial Unicode MS" panose="020B0604020202020204" pitchFamily="34" charset="-128"/>
              </a:rPr>
              <a:t> potential</a:t>
            </a:r>
          </a:p>
          <a:p>
            <a:pPr lvl="1">
              <a:spcBef>
                <a:spcPct val="50000"/>
              </a:spcBef>
            </a:pPr>
            <a:r>
              <a:rPr lang="en-GB" sz="1200" dirty="0" smtClean="0">
                <a:ea typeface="Arial Unicode MS" panose="020B0604020202020204" pitchFamily="34" charset="-128"/>
                <a:cs typeface="Arial Unicode MS" panose="020B0604020202020204" pitchFamily="34" charset="-128"/>
              </a:rPr>
              <a:t>Insufficient </a:t>
            </a:r>
            <a:r>
              <a:rPr lang="en-GB" sz="1200" b="1" dirty="0" smtClean="0">
                <a:solidFill>
                  <a:schemeClr val="tx2"/>
                </a:solidFill>
                <a:ea typeface="Arial Unicode MS" panose="020B0604020202020204" pitchFamily="34" charset="-128"/>
                <a:cs typeface="Arial Unicode MS" panose="020B0604020202020204" pitchFamily="34" charset="-128"/>
              </a:rPr>
              <a:t>societal </a:t>
            </a:r>
            <a:r>
              <a:rPr lang="en-GB" sz="1200" b="1" dirty="0" smtClean="0">
                <a:solidFill>
                  <a:schemeClr val="tx2"/>
                </a:solidFill>
              </a:rPr>
              <a:t>value</a:t>
            </a:r>
            <a:r>
              <a:rPr lang="en-GB" sz="1200" dirty="0" smtClean="0">
                <a:solidFill>
                  <a:schemeClr val="tx2"/>
                </a:solidFill>
                <a:ea typeface="Arial Unicode MS" panose="020B0604020202020204" pitchFamily="34" charset="-128"/>
                <a:cs typeface="Arial Unicode MS" panose="020B0604020202020204" pitchFamily="34" charset="-128"/>
              </a:rPr>
              <a:t> </a:t>
            </a:r>
            <a:r>
              <a:rPr lang="en-GB" sz="1200" dirty="0" smtClean="0">
                <a:ea typeface="Arial Unicode MS" panose="020B0604020202020204" pitchFamily="34" charset="-128"/>
                <a:cs typeface="Arial Unicode MS" panose="020B0604020202020204" pitchFamily="34" charset="-128"/>
              </a:rPr>
              <a:t>given to wildlife resources and understanding of the sustainable use concept</a:t>
            </a:r>
          </a:p>
          <a:p>
            <a:pPr lvl="1">
              <a:spcBef>
                <a:spcPct val="50000"/>
              </a:spcBef>
            </a:pPr>
            <a:r>
              <a:rPr lang="en-GB" sz="1200" dirty="0" smtClean="0">
                <a:ea typeface="Arial Unicode MS" panose="020B0604020202020204" pitchFamily="34" charset="-128"/>
                <a:cs typeface="Arial Unicode MS" panose="020B0604020202020204" pitchFamily="34" charset="-128"/>
              </a:rPr>
              <a:t>Insufficient awareness and capitalisation of the value of </a:t>
            </a:r>
            <a:r>
              <a:rPr lang="en-GB" sz="1200" b="1" dirty="0" smtClean="0">
                <a:solidFill>
                  <a:schemeClr val="tx2"/>
                </a:solidFill>
                <a:ea typeface="Arial Unicode MS" panose="020B0604020202020204" pitchFamily="34" charset="-128"/>
                <a:cs typeface="Arial Unicode MS" panose="020B0604020202020204" pitchFamily="34" charset="-128"/>
              </a:rPr>
              <a:t>mixed wildlife/livestock interfaces </a:t>
            </a:r>
          </a:p>
          <a:p>
            <a:pPr lvl="1">
              <a:spcBef>
                <a:spcPct val="50000"/>
              </a:spcBef>
            </a:pPr>
            <a:r>
              <a:rPr lang="en-GB" sz="1200" dirty="0" smtClean="0">
                <a:ea typeface="Arial Unicode MS" panose="020B0604020202020204" pitchFamily="34" charset="-128"/>
                <a:cs typeface="Arial Unicode MS" panose="020B0604020202020204" pitchFamily="34" charset="-128"/>
              </a:rPr>
              <a:t>Insufficient mechanism addressing and containing </a:t>
            </a:r>
            <a:r>
              <a:rPr lang="en-GB" sz="1200" b="1" dirty="0" smtClean="0">
                <a:solidFill>
                  <a:schemeClr val="tx2"/>
                </a:solidFill>
                <a:ea typeface="Arial Unicode MS" panose="020B0604020202020204" pitchFamily="34" charset="-128"/>
                <a:cs typeface="Arial Unicode MS" panose="020B0604020202020204" pitchFamily="34" charset="-128"/>
              </a:rPr>
              <a:t>risks and threats to the ecological resource base</a:t>
            </a:r>
            <a:r>
              <a:rPr lang="en-GB" sz="1200" dirty="0" smtClean="0">
                <a:solidFill>
                  <a:schemeClr val="tx2"/>
                </a:solidFill>
                <a:ea typeface="Arial Unicode MS" panose="020B0604020202020204" pitchFamily="34" charset="-128"/>
                <a:cs typeface="Arial Unicode MS" panose="020B0604020202020204" pitchFamily="34" charset="-128"/>
              </a:rPr>
              <a:t> </a:t>
            </a:r>
            <a:r>
              <a:rPr lang="en-GB" sz="1200" dirty="0" smtClean="0">
                <a:ea typeface="Arial Unicode MS" panose="020B0604020202020204" pitchFamily="34" charset="-128"/>
                <a:cs typeface="Arial Unicode MS" panose="020B0604020202020204" pitchFamily="34" charset="-128"/>
              </a:rPr>
              <a:t>in further growing the biodiversity economy</a:t>
            </a:r>
            <a:endParaRPr lang="en-GB" sz="1200" dirty="0"/>
          </a:p>
        </p:txBody>
      </p:sp>
      <p:sp>
        <p:nvSpPr>
          <p:cNvPr id="45" name="Rectangle 87"/>
          <p:cNvSpPr txBox="1">
            <a:spLocks/>
          </p:cNvSpPr>
          <p:nvPr>
            <p:custDataLst>
              <p:tags r:id="rId3"/>
            </p:custDataLst>
          </p:nvPr>
        </p:nvSpPr>
        <p:spPr bwMode="gray">
          <a:xfrm>
            <a:off x="3174780" y="1032618"/>
            <a:ext cx="2063293" cy="369332"/>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a:t>Risk of future growth stagnation</a:t>
            </a:r>
          </a:p>
        </p:txBody>
      </p:sp>
      <p:sp>
        <p:nvSpPr>
          <p:cNvPr id="47" name="Oval 2"/>
          <p:cNvSpPr txBox="1"/>
          <p:nvPr>
            <p:custDataLst>
              <p:tags r:id="rId4"/>
            </p:custDataLst>
          </p:nvPr>
        </p:nvSpPr>
        <p:spPr>
          <a:xfrm>
            <a:off x="2807553" y="1051150"/>
            <a:ext cx="323124" cy="332268"/>
          </a:xfrm>
          <a:prstGeom prst="ellipse">
            <a:avLst/>
          </a:prstGeom>
          <a:solidFill>
            <a:schemeClr val="accent3"/>
          </a:solidFill>
          <a:ln w="19050">
            <a:solidFill>
              <a:schemeClr val="accent3"/>
            </a:solidFill>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200" b="1" dirty="0"/>
              <a:t>II</a:t>
            </a:r>
          </a:p>
        </p:txBody>
      </p:sp>
      <p:sp>
        <p:nvSpPr>
          <p:cNvPr id="46" name="Rectangle 87"/>
          <p:cNvSpPr txBox="1">
            <a:spLocks/>
          </p:cNvSpPr>
          <p:nvPr>
            <p:custDataLst>
              <p:tags r:id="rId5"/>
            </p:custDataLst>
          </p:nvPr>
        </p:nvSpPr>
        <p:spPr bwMode="gray">
          <a:xfrm>
            <a:off x="5927143" y="1124951"/>
            <a:ext cx="2862845" cy="184666"/>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a:t>Unsupportive enabling environment</a:t>
            </a:r>
          </a:p>
        </p:txBody>
      </p:sp>
      <p:sp>
        <p:nvSpPr>
          <p:cNvPr id="48" name="Oval 2"/>
          <p:cNvSpPr txBox="1"/>
          <p:nvPr>
            <p:custDataLst>
              <p:tags r:id="rId6"/>
            </p:custDataLst>
          </p:nvPr>
        </p:nvSpPr>
        <p:spPr>
          <a:xfrm>
            <a:off x="5559916" y="1051150"/>
            <a:ext cx="323124" cy="332268"/>
          </a:xfrm>
          <a:prstGeom prst="ellipse">
            <a:avLst/>
          </a:prstGeom>
          <a:solidFill>
            <a:schemeClr val="accent3"/>
          </a:solidFill>
          <a:ln w="19050">
            <a:solidFill>
              <a:schemeClr val="accent3"/>
            </a:solidFill>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200" b="1" dirty="0"/>
              <a:t>III</a:t>
            </a:r>
          </a:p>
        </p:txBody>
      </p:sp>
      <p:sp>
        <p:nvSpPr>
          <p:cNvPr id="44" name="Rectangle 87"/>
          <p:cNvSpPr txBox="1">
            <a:spLocks/>
          </p:cNvSpPr>
          <p:nvPr>
            <p:custDataLst>
              <p:tags r:id="rId7"/>
            </p:custDataLst>
          </p:nvPr>
        </p:nvSpPr>
        <p:spPr bwMode="gray">
          <a:xfrm>
            <a:off x="496920" y="1124951"/>
            <a:ext cx="2063293" cy="184666"/>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a:t>Barriers to transformation</a:t>
            </a:r>
          </a:p>
        </p:txBody>
      </p:sp>
      <p:sp>
        <p:nvSpPr>
          <p:cNvPr id="40" name="Oval 2"/>
          <p:cNvSpPr txBox="1"/>
          <p:nvPr>
            <p:custDataLst>
              <p:tags r:id="rId8"/>
            </p:custDataLst>
          </p:nvPr>
        </p:nvSpPr>
        <p:spPr>
          <a:xfrm>
            <a:off x="129693" y="1051150"/>
            <a:ext cx="323124" cy="332268"/>
          </a:xfrm>
          <a:prstGeom prst="ellipse">
            <a:avLst/>
          </a:prstGeom>
          <a:solidFill>
            <a:schemeClr val="accent3"/>
          </a:solidFill>
          <a:ln w="19050">
            <a:solidFill>
              <a:schemeClr val="accent3"/>
            </a:solidFill>
          </a:ln>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200" b="1" dirty="0"/>
              <a:t>I</a:t>
            </a:r>
          </a:p>
        </p:txBody>
      </p:sp>
    </p:spTree>
    <p:extLst>
      <p:ext uri="{BB962C8B-B14F-4D97-AF65-F5344CB8AC3E}">
        <p14:creationId xmlns:p14="http://schemas.microsoft.com/office/powerpoint/2010/main" val="3759114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UNDODONOTDELETE" val="0"/>
  <p:tag name="ISNEWSLIDENUMBER" val="False"/>
  <p:tag name="PREVIOUSNAME" val="C:\Users\Cynthia Ntini\Desktop\Biodiversity labs\Week 5\20160513 Final Biodiversity and Tourism Lab Presentation FOR CIRCULATION.pptx"/>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Soe77Pwi00eRip2eI7Vao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NbIXSaDHA064kTbHjEuNk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7aPkhIQ3bE64ku9pwy.q_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ifPBQNnU06cHFSzkdJS1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SXkZMA7qke2iRX5EE5yW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tHiHmLBEIE.tXtbiXP_tx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5bEkQt9oXEKAS2BA7Y6As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CwUU2RG80mwnk05_SZ6F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SL6MNJZsykGzJuiW7BYKh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w88P76gUqE2FY4hStEDm8w"/>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s.WO.kHzTEefXziJyKzzi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77kMVgYqUGqGgJgwi7W.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zfnBfvAwgU.9HxAMzfhl4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XNbZAR5dEWfLJFQvK9rG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495Gu.YlJk.HaHnrVlLMX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gkNFyRzK0ylB0tIaAkh5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H.q1bkCCt0u7lzglRKdhM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QGIZA8QGF0q0A0yRq6lhH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aUY3lVzg_0O4pN8lzH3Nu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Sl0ktyxQ10qwGuw0WAtzwQ"/>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MoKaHlCqekGLDijFIDpw8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uNcTf6GofkGB6EcwJew.e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jyYcmGg0zUmBcz4lc_wwe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80mDt73.nUmnMptFbW459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8z8vG_9NrU6uJbsLOXZMg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SK.SLIu7EKH1IF0WpbUp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uGvd5XHbEUKwI4nj7FzKJ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53CH7eETgk6OR9nE_Z.42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TcbEZaaqVUGUPLIsu7y4k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Th1CjEHeq0uNiLxa6iKQ6w"/>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85psBn410GLEJrboTTsP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k9ZsUuTHQ0u3Ip22UwntR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vyx4LskDHkGnzqnXJ40ni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ko2LyHUXSkGx1ULUcIKk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8hH_IKTa0qkxplimt4v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mgxqRTW9.EeLCORoQs2lx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7NPSuFFl0CruMzI2rslK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xWcZGt20HUaEwfUYSl1D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C6mDaLrE5kmZQmjypd_rZ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ZCb4.RyUUu1uEwfei4_4g"/>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9eEwiK.SUKUCMEce72H4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R6UBYhycEOQi1sOlDzvI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v1mdbCZmkO7rCBpsz7op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KjaGn_rpOUGzYzlnK_I_k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ey_EjSteSEmOLqJETiHr8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j9NCjPtJXES7.u3piJmKr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YOZE8LwE702FZPbeWMvCb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Aj1DLj.z_0esWCE64MZxN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7BNNRuIIlEOTZGe8255o8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3KfKZC1JUKLxV_bvQSOTQ"/>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C.c1yKDNUyQXowXSrGZu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HL3qkivWMk2S8Niq9wy9U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702Kl5f1P0Sz.Cbg4LY21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KgZUyCMBBU6JvKqr36a7n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IVwU1bd3f0qQUWwum2ZSG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NzYnz.YY0yNJ4tz16p17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QdVoU2x5ZEO.xDf4YpBjY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Yz0gwtGUG0eEm7w77aUXI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iHMlezFQs0mFYwF2u7tKm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qWkhBoFCd0yoQMrD93HG_w"/>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eXI0LSxgnEml1MoTCfeFn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CqfxIboXLEmNM_qQRpW1x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XxdU.r5F.kaAODY3mCmes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FlrsoW3uUyiFqY0jjTJE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txOQ_A20pkShTjnVYL8kY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Q.aqGSeBx0uHALb3AaTw5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xLYFfqNvkOACMqa042BQ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HVnS8LTlkS5yk7_UWLvl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GyniLPjyGEmmJ5_Jv1o_W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1qt9G3hwEicv.UcIVc2Mw"/>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W09PjFpAHUS.oxi6Q_d25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lgTzdFIL0S1d.Pif9i9E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htePFR8J0mzUrqzBkIh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3FX0DrIq406XDaTDEv3.U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WnIIzubpYEO9m50b_ncx8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lRefh4cX9kuwO.7suNXEJ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wfPpdhBcEmgV3nN5D6bW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E6BKbPMYGUSEFyNgMwElG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ewzgsiPVHUan_xuiUpatE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0yCJvjutI0C.C4QXt5k6YA"/>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9nsupbFuu0.T2ZXfMv.7i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nlNKchfCFE2_tsy7wXOIw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mImg361hUO.uM6t21M8i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4aCA6S38Pk6GT0G65NBwC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Xd4xqw0340G8QndMh_jfx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kqez7IQ12k.qiwmc1Gptl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P0jVSpGgLUmE4U_Z51vai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U3KQm_D1.0G4C78Q8Gqn8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UxMeFfF5YEqohmdJDtixs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4zTAwCcPoUi03MUO8KXWtQ"/>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ZhDLRL17jUqjcyWmCXTAS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xi3CBAz2Jkubfj6VEhvAm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FrtKeKL4EqCRUhV.muNn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sIuQOV12jUiQqmUDUsYP8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DKAOqpzzI0OirYZQwU1Qq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HL5TCX_WvEKvN4acEwTu6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1qqDVdN70qpNnDKAHqzm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G50YroJoV0ebxrOXnWWUd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k1HQpALeWkGFWmKX5UeGR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p1GQwx6xLUW58Bfx_COO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gsV4.ABHK0mf.9PGgSzzG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CYYd0ixAcUKD2.vTQ9olM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qniaH97EREy8629nVLAq8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u5mP_0HiVUCe3q4FObXvv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E4rCiu3UIkSuer4wINS46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mISCILc.dk.jmAu9ravsC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FsiI6PIu0K4og5isOgD6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x2mcTX6diUKvPNxHF.owU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_duGoyagjUSI220bQZpwz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BQW_0Xd0vEOs9wkyugmX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S2KkCawZg02TTa_UFiSSW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trE0LHjpUCbmlQtHaSt0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Gq9EhcwDsEag2u3yh6Sc5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eW0XSGgCoUaWa20A_AePP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DgZOxNdIgUWEODBklV5Vb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AjpD1HFT4UKSiAKlK6QIj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h4fQGyaG5EW9FlbP4a.s5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Q74_Bqvh0eRrcfXEKQ3G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4ofHTWDiwU.ap.RnJxJMK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jos.sPi73E2WHj2UTLgb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Qb2KjP3f1UexI5DGpxanx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2_nHa0IENkmo85H8Lp5wj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asth_KW5BE2Fpr1CXJO30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GchuJXJiEyJjRlvMkLzX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9QBX20NS4UKd_Veq7d_l2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1l6PyeI3IE6S0M2eReOO_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w6J6Pp6f1E6H403_CbR.q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UY3k2ghz3EGW5T8XOUE__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6fmHBSjOw0GVKuhsqefTr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9MDLjNqZUSKqtUaz176Wg"/>
</p:tagLst>
</file>

<file path=ppt/tags/tag2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T09Q2IOngkOBrjKcLtHEP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koXNYGdI70SiqiCU.3rsf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Sh82K41_t0KrJE4Svx9Rd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r4ijWU9UEmQ0tm1HnLPo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bliR5am2tEyq50Ks7Ss4v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9j0yUrN.LUOh3601oERdC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5qFcqHAF7kut7Y8bJW.HY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BG5g4QvapkSBkTiDnWGmK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gT9KICvMv0eX7Lai35jo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fc_u6NRWq0CCz3nlEk0XLw"/>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FRv6pjJrOUOBHL1Bj3XIF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jnVJG7mLZ0uWF9poJcmgK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S6hdn9sS9EGP7wQIzS.jA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nENOSPYMD0quMvUyuWtnz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NAME" val="Rectangle"/>
</p:tagLst>
</file>

<file path=ppt/tags/tag247.xml><?xml version="1.0" encoding="utf-8"?>
<p:tagLst xmlns:a="http://schemas.openxmlformats.org/drawingml/2006/main" xmlns:r="http://schemas.openxmlformats.org/officeDocument/2006/relationships" xmlns:p="http://schemas.openxmlformats.org/presentationml/2006/main">
  <p:tag name="NAME" val="Rectangle"/>
</p:tagLst>
</file>

<file path=ppt/tags/tag248.xml><?xml version="1.0" encoding="utf-8"?>
<p:tagLst xmlns:a="http://schemas.openxmlformats.org/drawingml/2006/main" xmlns:r="http://schemas.openxmlformats.org/officeDocument/2006/relationships" xmlns:p="http://schemas.openxmlformats.org/presentationml/2006/main">
  <p:tag name="NAME" val="Rectangl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NAME" val="Rectangle"/>
</p:tagLst>
</file>

<file path=ppt/tags/tag252.xml><?xml version="1.0" encoding="utf-8"?>
<p:tagLst xmlns:a="http://schemas.openxmlformats.org/drawingml/2006/main" xmlns:r="http://schemas.openxmlformats.org/officeDocument/2006/relationships" xmlns:p="http://schemas.openxmlformats.org/presentationml/2006/main">
  <p:tag name="NAME" val="Oval"/>
</p:tagLst>
</file>

<file path=ppt/tags/tag253.xml><?xml version="1.0" encoding="utf-8"?>
<p:tagLst xmlns:a="http://schemas.openxmlformats.org/drawingml/2006/main" xmlns:r="http://schemas.openxmlformats.org/officeDocument/2006/relationships" xmlns:p="http://schemas.openxmlformats.org/presentationml/2006/main">
  <p:tag name="NAME" val="Rectangle"/>
</p:tagLst>
</file>

<file path=ppt/tags/tag254.xml><?xml version="1.0" encoding="utf-8"?>
<p:tagLst xmlns:a="http://schemas.openxmlformats.org/drawingml/2006/main" xmlns:r="http://schemas.openxmlformats.org/officeDocument/2006/relationships" xmlns:p="http://schemas.openxmlformats.org/presentationml/2006/main">
  <p:tag name="NAME" val="Oval"/>
</p:tagLst>
</file>

<file path=ppt/tags/tag255.xml><?xml version="1.0" encoding="utf-8"?>
<p:tagLst xmlns:a="http://schemas.openxmlformats.org/drawingml/2006/main" xmlns:r="http://schemas.openxmlformats.org/officeDocument/2006/relationships" xmlns:p="http://schemas.openxmlformats.org/presentationml/2006/main">
  <p:tag name="NAME" val="Rectangle"/>
</p:tagLst>
</file>

<file path=ppt/tags/tag256.xml><?xml version="1.0" encoding="utf-8"?>
<p:tagLst xmlns:a="http://schemas.openxmlformats.org/drawingml/2006/main" xmlns:r="http://schemas.openxmlformats.org/officeDocument/2006/relationships" xmlns:p="http://schemas.openxmlformats.org/presentationml/2006/main">
  <p:tag name="NAME" val="Oval"/>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NAME" val="Rectangle"/>
</p:tagLst>
</file>

<file path=ppt/tags/tag259.xml><?xml version="1.0" encoding="utf-8"?>
<p:tagLst xmlns:a="http://schemas.openxmlformats.org/drawingml/2006/main" xmlns:r="http://schemas.openxmlformats.org/officeDocument/2006/relationships" xmlns:p="http://schemas.openxmlformats.org/presentationml/2006/main">
  <p:tag name="NAME" val="Rectangle"/>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NAME" val="Rectangle"/>
</p:tagLst>
</file>

<file path=ppt/tags/tag261.xml><?xml version="1.0" encoding="utf-8"?>
<p:tagLst xmlns:a="http://schemas.openxmlformats.org/drawingml/2006/main" xmlns:r="http://schemas.openxmlformats.org/officeDocument/2006/relationships" xmlns:p="http://schemas.openxmlformats.org/presentationml/2006/main">
  <p:tag name="NAME" val="Rectangl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eUxKuSbU7EeB_1HIMDCu9g"/>
</p:tagLst>
</file>

<file path=ppt/tags/tag264.xml><?xml version="1.0" encoding="utf-8"?>
<p:tagLst xmlns:a="http://schemas.openxmlformats.org/drawingml/2006/main" xmlns:r="http://schemas.openxmlformats.org/officeDocument/2006/relationships" xmlns:p="http://schemas.openxmlformats.org/presentationml/2006/main">
  <p:tag name="NAME" val="Rectangle"/>
</p:tagLst>
</file>

<file path=ppt/tags/tag265.xml><?xml version="1.0" encoding="utf-8"?>
<p:tagLst xmlns:a="http://schemas.openxmlformats.org/drawingml/2006/main" xmlns:r="http://schemas.openxmlformats.org/officeDocument/2006/relationships" xmlns:p="http://schemas.openxmlformats.org/presentationml/2006/main">
  <p:tag name="NAME" val="Rectangl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uDB8vaTIxUiKvtsllvS0A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SKkNhE0D1U6EhnGu0ZjtU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9Ql_Y1uzB0yLoJ45nRrRD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aP5eweJGuUu430kir8h3aA"/>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70.xml><?xml version="1.0" encoding="utf-8"?>
<p:tagLst xmlns:a="http://schemas.openxmlformats.org/drawingml/2006/main" xmlns:r="http://schemas.openxmlformats.org/officeDocument/2006/relationships" xmlns:p="http://schemas.openxmlformats.org/presentationml/2006/main">
  <p:tag name="NAME" val="Oval"/>
</p:tagLst>
</file>

<file path=ppt/tags/tag271.xml><?xml version="1.0" encoding="utf-8"?>
<p:tagLst xmlns:a="http://schemas.openxmlformats.org/drawingml/2006/main" xmlns:r="http://schemas.openxmlformats.org/officeDocument/2006/relationships" xmlns:p="http://schemas.openxmlformats.org/presentationml/2006/main">
  <p:tag name="NAME" val="Oval"/>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NAME" val="Rectangle"/>
</p:tagLst>
</file>

<file path=ppt/tags/tag274.xml><?xml version="1.0" encoding="utf-8"?>
<p:tagLst xmlns:a="http://schemas.openxmlformats.org/drawingml/2006/main" xmlns:r="http://schemas.openxmlformats.org/officeDocument/2006/relationships" xmlns:p="http://schemas.openxmlformats.org/presentationml/2006/main">
  <p:tag name="NAME" val="Rectangl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rE0U5WEcm0iIoA1BUwNQK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ygqUSZsi3E6gd0ialBOgY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AilW75ZF5kajdlgPdEuQS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RrpVh7IHHUC9sSDK0BoZu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1Kqav3FIxkauEr5O7hretw"/>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bsGvNTevs0iECtQl8pBgP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GJOdSHjoE0aSAUAvgTQNN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nW1gi5Hp4kCnk8wo_NA_s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04bPeW2a3kunpwVzarCma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NAME" val="Rectangle"/>
</p:tagLst>
</file>

<file path=ppt/tags/tag287.xml><?xml version="1.0" encoding="utf-8"?>
<p:tagLst xmlns:a="http://schemas.openxmlformats.org/drawingml/2006/main" xmlns:r="http://schemas.openxmlformats.org/officeDocument/2006/relationships" xmlns:p="http://schemas.openxmlformats.org/presentationml/2006/main">
  <p:tag name="NAME" val="Oval"/>
  <p:tag name="THINKCELLSHAPEDONOTDELETE" val="pH1FDCJAmY0ejh.hR3Dzkk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EEVQpsv90U23XVsg_KKpu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IOvDnoSj1kiXma6hBxvTyw"/>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291.xml><?xml version="1.0" encoding="utf-8"?>
<p:tagLst xmlns:a="http://schemas.openxmlformats.org/drawingml/2006/main" xmlns:r="http://schemas.openxmlformats.org/officeDocument/2006/relationships" xmlns:p="http://schemas.openxmlformats.org/presentationml/2006/main">
  <p:tag name="NAME" val="SingleBoatText"/>
</p:tagLst>
</file>

<file path=ppt/tags/tag292.xml><?xml version="1.0" encoding="utf-8"?>
<p:tagLst xmlns:a="http://schemas.openxmlformats.org/drawingml/2006/main" xmlns:r="http://schemas.openxmlformats.org/officeDocument/2006/relationships" xmlns:p="http://schemas.openxmlformats.org/presentationml/2006/main">
  <p:tag name="NAME" val="SingleBoatShape"/>
</p:tagLst>
</file>

<file path=ppt/tags/tag293.xml><?xml version="1.0" encoding="utf-8"?>
<p:tagLst xmlns:a="http://schemas.openxmlformats.org/drawingml/2006/main" xmlns:r="http://schemas.openxmlformats.org/officeDocument/2006/relationships" xmlns:p="http://schemas.openxmlformats.org/presentationml/2006/main">
  <p:tag name="NAME" val="SingleBoatText"/>
</p:tagLst>
</file>

<file path=ppt/tags/tag294.xml><?xml version="1.0" encoding="utf-8"?>
<p:tagLst xmlns:a="http://schemas.openxmlformats.org/drawingml/2006/main" xmlns:r="http://schemas.openxmlformats.org/officeDocument/2006/relationships" xmlns:p="http://schemas.openxmlformats.org/presentationml/2006/main">
  <p:tag name="NAME" val="Rectangle"/>
</p:tagLst>
</file>

<file path=ppt/tags/tag295.xml><?xml version="1.0" encoding="utf-8"?>
<p:tagLst xmlns:a="http://schemas.openxmlformats.org/drawingml/2006/main" xmlns:r="http://schemas.openxmlformats.org/officeDocument/2006/relationships" xmlns:p="http://schemas.openxmlformats.org/presentationml/2006/main">
  <p:tag name="NAME" val="Rectangle"/>
</p:tagLst>
</file>

<file path=ppt/tags/tag296.xml><?xml version="1.0" encoding="utf-8"?>
<p:tagLst xmlns:a="http://schemas.openxmlformats.org/drawingml/2006/main" xmlns:r="http://schemas.openxmlformats.org/officeDocument/2006/relationships" xmlns:p="http://schemas.openxmlformats.org/presentationml/2006/main">
  <p:tag name="NAME" val="Rectangle"/>
</p:tagLst>
</file>

<file path=ppt/tags/tag297.xml><?xml version="1.0" encoding="utf-8"?>
<p:tagLst xmlns:a="http://schemas.openxmlformats.org/drawingml/2006/main" xmlns:r="http://schemas.openxmlformats.org/officeDocument/2006/relationships" xmlns:p="http://schemas.openxmlformats.org/presentationml/2006/main">
  <p:tag name="NAME" val="Rectangle"/>
</p:tagLst>
</file>

<file path=ppt/tags/tag298.xml><?xml version="1.0" encoding="utf-8"?>
<p:tagLst xmlns:a="http://schemas.openxmlformats.org/drawingml/2006/main" xmlns:r="http://schemas.openxmlformats.org/officeDocument/2006/relationships" xmlns:p="http://schemas.openxmlformats.org/presentationml/2006/main">
  <p:tag name="NAME" val="Rectangl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VsL0doO11UyYLT6pJKEiog"/>
</p:tagLst>
</file>

<file path=ppt/tags/tag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00.xml><?xml version="1.0" encoding="utf-8"?>
<p:tagLst xmlns:a="http://schemas.openxmlformats.org/drawingml/2006/main" xmlns:r="http://schemas.openxmlformats.org/officeDocument/2006/relationships" xmlns:p="http://schemas.openxmlformats.org/presentationml/2006/main">
  <p:tag name="NAME" val="SingleBoatText"/>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VsL0doO11UyYLT6pJKEiog"/>
</p:tagLst>
</file>

<file path=ppt/tags/tag302.xml><?xml version="1.0" encoding="utf-8"?>
<p:tagLst xmlns:a="http://schemas.openxmlformats.org/drawingml/2006/main" xmlns:r="http://schemas.openxmlformats.org/officeDocument/2006/relationships" xmlns:p="http://schemas.openxmlformats.org/presentationml/2006/main">
  <p:tag name="NAME" val="SingleBoatText"/>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Y45CNhW4yECoa_4wV2SRuA"/>
</p:tagLst>
</file>

<file path=ppt/tags/tag304.xml><?xml version="1.0" encoding="utf-8"?>
<p:tagLst xmlns:a="http://schemas.openxmlformats.org/drawingml/2006/main" xmlns:r="http://schemas.openxmlformats.org/officeDocument/2006/relationships" xmlns:p="http://schemas.openxmlformats.org/presentationml/2006/main">
  <p:tag name="NAME" val="SingleBoatText"/>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XjeIr3wRwEeSMtbd8Shg0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rE0U5WEcm0iIoA1BUwNQK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ygqUSZsi3E6gd0ialBOgY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AilW75ZF5kajdlgPdEuQSQ"/>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RrpVh7IHHUC9sSDK0BoZu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1Kqav3FIxkauEr5O7hret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bsGvNTevs0iECtQl8pBgP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GJOdSHjoE0aSAUAvgTQNN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nW1gi5Hp4kCnk8wo_NA_s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04bPeW2a3kunpwVzarCma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NAME" val="Rectangle"/>
</p:tagLst>
</file>

<file path=ppt/tags/tag318.xml><?xml version="1.0" encoding="utf-8"?>
<p:tagLst xmlns:a="http://schemas.openxmlformats.org/drawingml/2006/main" xmlns:r="http://schemas.openxmlformats.org/officeDocument/2006/relationships" xmlns:p="http://schemas.openxmlformats.org/presentationml/2006/main">
  <p:tag name="NAME" val="Bracket"/>
</p:tagLst>
</file>

<file path=ppt/tags/tag319.xml><?xml version="1.0" encoding="utf-8"?>
<p:tagLst xmlns:a="http://schemas.openxmlformats.org/drawingml/2006/main" xmlns:r="http://schemas.openxmlformats.org/officeDocument/2006/relationships" xmlns:p="http://schemas.openxmlformats.org/presentationml/2006/main">
  <p:tag name="NAME" val="Rectangle"/>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VsL0doO11UyYLT6pJKEiog"/>
</p:tagLst>
</file>

<file path=ppt/tags/tag321.xml><?xml version="1.0" encoding="utf-8"?>
<p:tagLst xmlns:a="http://schemas.openxmlformats.org/drawingml/2006/main" xmlns:r="http://schemas.openxmlformats.org/officeDocument/2006/relationships" xmlns:p="http://schemas.openxmlformats.org/presentationml/2006/main">
  <p:tag name="NAME" val="SingleBoatText"/>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VsL0doO11UyYLT6pJKEiog"/>
</p:tagLst>
</file>

<file path=ppt/tags/tag323.xml><?xml version="1.0" encoding="utf-8"?>
<p:tagLst xmlns:a="http://schemas.openxmlformats.org/drawingml/2006/main" xmlns:r="http://schemas.openxmlformats.org/officeDocument/2006/relationships" xmlns:p="http://schemas.openxmlformats.org/presentationml/2006/main">
  <p:tag name="NAME" val="SingleBoatText"/>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Y45CNhW4yECoa_4wV2SRuA"/>
</p:tagLst>
</file>

<file path=ppt/tags/tag325.xml><?xml version="1.0" encoding="utf-8"?>
<p:tagLst xmlns:a="http://schemas.openxmlformats.org/drawingml/2006/main" xmlns:r="http://schemas.openxmlformats.org/officeDocument/2006/relationships" xmlns:p="http://schemas.openxmlformats.org/presentationml/2006/main">
  <p:tag name="NAME" val="SingleBoatText"/>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VsL0doO11UyYLT6pJKEiog"/>
</p:tagLst>
</file>

<file path=ppt/tags/tag327.xml><?xml version="1.0" encoding="utf-8"?>
<p:tagLst xmlns:a="http://schemas.openxmlformats.org/drawingml/2006/main" xmlns:r="http://schemas.openxmlformats.org/officeDocument/2006/relationships" xmlns:p="http://schemas.openxmlformats.org/presentationml/2006/main">
  <p:tag name="NAME" val="SingleBoatText"/>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VsL0doO11UyYLT6pJKEiog"/>
</p:tagLst>
</file>

<file path=ppt/tags/tag329.xml><?xml version="1.0" encoding="utf-8"?>
<p:tagLst xmlns:a="http://schemas.openxmlformats.org/drawingml/2006/main" xmlns:r="http://schemas.openxmlformats.org/officeDocument/2006/relationships" xmlns:p="http://schemas.openxmlformats.org/presentationml/2006/main">
  <p:tag name="NAME" val="SingleBoatText"/>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AApey1tuIkKabuTacXBHP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A3YoDSIkDUSuhZD8_aJ0v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KYqBNKeISkCpORsWvvsdP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qKjOy4wOskGU8PT2lhJ23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NAME" val="Oval"/>
</p:tagLst>
</file>

<file path=ppt/tags/tag338.xml><?xml version="1.0" encoding="utf-8"?>
<p:tagLst xmlns:a="http://schemas.openxmlformats.org/drawingml/2006/main" xmlns:r="http://schemas.openxmlformats.org/officeDocument/2006/relationships" xmlns:p="http://schemas.openxmlformats.org/presentationml/2006/main">
  <p:tag name="NAME" val="Oval"/>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AApey1tuIkKabuTacXBHP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A3YoDSIkDUSuhZD8_aJ0v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KYqBNKeISkCpORsWvvsdP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KjOy4wOskGU8PT2lhJ23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E0U5WEcm0iIoA1BUwNQK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ygqUSZsi3E6gd0ialBOgYw"/>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AilW75ZF5kajdlgPdEuQS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RrpVh7IHHUC9sSDK0BoZu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1Kqav3FIxkauEr5O7hret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bsGvNTevs0iECtQl8pBg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GJOdSHjoE0aSAUAvgTQNN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nW1gi5Hp4kCnk8wo_NA_s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04bPeW2a3kunpwVzarCmag"/>
</p:tagLst>
</file>

<file path=ppt/tags/tag357.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8.0Kr03CN0iPSu425CMwnw"/>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Lj0iAed6cEqUiIbt.lR4y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SKs9C3e6DEaQ0ST_wF9l1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2nuQvZme0qKNKsHWgYrF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0xFA6lMHFkeGWpcuz995f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tOIHzqGj.U.Gf.KJqCd6P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PpRWn2QP6kGFwefBSba3T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CUJoPqDqWUmPG17ICb9SK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uO.W7IG.UUW6_KFU5dcg6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9lHz24jFd0G0QrxKqDDrc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tJyOq2qmESnOTUjMv2rcg"/>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YXFRwuJq02iQI4BQeata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CluTaDbn20qF0insm_AnN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iEV6gz0XTU2O.ziyMdabF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b.IT71cgn0mIohCOgwZb_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NAME" val="Oval"/>
</p:tagLst>
</file>

<file path=ppt/tags/tag376.xml><?xml version="1.0" encoding="utf-8"?>
<p:tagLst xmlns:a="http://schemas.openxmlformats.org/drawingml/2006/main" xmlns:r="http://schemas.openxmlformats.org/officeDocument/2006/relationships" xmlns:p="http://schemas.openxmlformats.org/presentationml/2006/main">
  <p:tag name="NAME" val="Oval"/>
</p:tagLst>
</file>

<file path=ppt/tags/tag377.xml><?xml version="1.0" encoding="utf-8"?>
<p:tagLst xmlns:a="http://schemas.openxmlformats.org/drawingml/2006/main" xmlns:r="http://schemas.openxmlformats.org/officeDocument/2006/relationships" xmlns:p="http://schemas.openxmlformats.org/presentationml/2006/main">
  <p:tag name="NAME" val="Oval"/>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X22WSoo2yUSlEpoTxD3UiA"/>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h6PpM7SkyU.V390yuTj8G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pqDVLOTVJ0u3Gtl5Tkjb9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WYMuRkFdDki0oDVDckbwg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CvBiHQWF4k.F5ejfABqfQ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QOB9L48tiEOF1DUobuh_w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FAVORITESLIDE" val="1"/>
</p:tagLst>
</file>

<file path=ppt/tags/tag389.xml><?xml version="1.0" encoding="utf-8"?>
<p:tagLst xmlns:a="http://schemas.openxmlformats.org/drawingml/2006/main" xmlns:r="http://schemas.openxmlformats.org/officeDocument/2006/relationships" xmlns:p="http://schemas.openxmlformats.org/presentationml/2006/main">
  <p:tag name="FAVORITESLIDE" val="1"/>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FAVORITESLIDE" val="1"/>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FAVORITESLIDE" val="1"/>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XjeIr3wRwEeSMtbd8Shg0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GWRHgbPDoUiRPm25.LSAl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lzAwndlmuEKTrCtPwuSKB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t0bZApm0qEGtVd2PKxOYHA"/>
</p:tagLst>
</file>

<file path=ppt/tags/tag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C6OngDYHx0OYzuAPoRSbg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iieIZwJVTEaH_NRHoRDTt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RCOj_L2dqk.tKhiSyMbux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R.zi.QboIUOWWCmq2FQL1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emHD7LTPFUulHTeuOF61m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FyPjB7UbKkS3sSjcWTGIaw"/>
</p:tagLst>
</file>

<file path=ppt/tags/tag406.xml><?xml version="1.0" encoding="utf-8"?>
<p:tagLst xmlns:a="http://schemas.openxmlformats.org/drawingml/2006/main" xmlns:r="http://schemas.openxmlformats.org/officeDocument/2006/relationships" xmlns:p="http://schemas.openxmlformats.org/presentationml/2006/main">
  <p:tag name="NAME" val="Rectangle"/>
</p:tagLst>
</file>

<file path=ppt/tags/tag407.xml><?xml version="1.0" encoding="utf-8"?>
<p:tagLst xmlns:a="http://schemas.openxmlformats.org/drawingml/2006/main" xmlns:r="http://schemas.openxmlformats.org/officeDocument/2006/relationships" xmlns:p="http://schemas.openxmlformats.org/presentationml/2006/main">
  <p:tag name="NAME" val="Rectangl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nKsYxnGqy0qgTYFnukR6m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fX.FZwLUS068oSgGv9LN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1xAvI24ewkiJukQgxXaOa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5bALo6VWL0.nlszjo3dKn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XjvBBgyNik6kOiqPDs4ZW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euN1yTGy.Ey4UR6uJesg8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iUneRzffk0ic4plty5Nv2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UxYQXkJJtU.JZh2bKVsoT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ikb7udZHNEu9YF.9sTMzx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Gln.zzdP_EeUMDWVLpLqc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2PKEb6XDJk6BOvPVXNOi1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xOU_9de3WkeOH5srBqNGq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QrCPk5.Et0mMPXPDWR0FX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xMldaJD7e0e6XWNJbvbXE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Q6oNnPnUoEi1g_XPHm2.B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yBFBkek5gUS5pZpY9hHme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bA0Z9a735EOenKY7i.N1q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Zj0dKiG8Sp.a7CDxl2YM4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3vOgNipGRWWfYbel7zHF8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6.9iy4WNRZeMup47msvZf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gZ4ecX4jRYCdmxtWusyrPw"/>
</p:tagLst>
</file>

<file path=ppt/tags/tag43.xml><?xml version="1.0" encoding="utf-8"?>
<p:tagLst xmlns:a="http://schemas.openxmlformats.org/drawingml/2006/main" xmlns:r="http://schemas.openxmlformats.org/officeDocument/2006/relationships" xmlns:p="http://schemas.openxmlformats.org/presentationml/2006/main">
  <p:tag name="NAME" val="Rectangle"/>
</p:tagLst>
</file>

<file path=ppt/tags/tag43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Rectangle"/>
</p:tagLst>
</file>

<file path=ppt/tags/tag45.xml><?xml version="1.0" encoding="utf-8"?>
<p:tagLst xmlns:a="http://schemas.openxmlformats.org/drawingml/2006/main" xmlns:r="http://schemas.openxmlformats.org/officeDocument/2006/relationships" xmlns:p="http://schemas.openxmlformats.org/presentationml/2006/main">
  <p:tag name="NAME" val="Rectangle"/>
</p:tagLst>
</file>

<file path=ppt/tags/tag46.xml><?xml version="1.0" encoding="utf-8"?>
<p:tagLst xmlns:a="http://schemas.openxmlformats.org/drawingml/2006/main" xmlns:r="http://schemas.openxmlformats.org/officeDocument/2006/relationships" xmlns:p="http://schemas.openxmlformats.org/presentationml/2006/main">
  <p:tag name="NAME" val="Rectangle"/>
</p:tagLst>
</file>

<file path=ppt/tags/tag47.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0.xml><?xml version="1.0" encoding="utf-8"?>
<p:tagLst xmlns:a="http://schemas.openxmlformats.org/drawingml/2006/main" xmlns:r="http://schemas.openxmlformats.org/officeDocument/2006/relationships" xmlns:p="http://schemas.openxmlformats.org/presentationml/2006/main">
  <p:tag name="NAME" val="Rectangle"/>
</p:tagLst>
</file>

<file path=ppt/tags/tag51.xml><?xml version="1.0" encoding="utf-8"?>
<p:tagLst xmlns:a="http://schemas.openxmlformats.org/drawingml/2006/main" xmlns:r="http://schemas.openxmlformats.org/officeDocument/2006/relationships" xmlns:p="http://schemas.openxmlformats.org/presentationml/2006/main">
  <p:tag name="NAME" val="Rectangle"/>
</p:tagLst>
</file>

<file path=ppt/tags/tag52.xml><?xml version="1.0" encoding="utf-8"?>
<p:tagLst xmlns:a="http://schemas.openxmlformats.org/drawingml/2006/main" xmlns:r="http://schemas.openxmlformats.org/officeDocument/2006/relationships" xmlns:p="http://schemas.openxmlformats.org/presentationml/2006/main">
  <p:tag name="NAME" val="Rectangle"/>
</p:tagLst>
</file>

<file path=ppt/tags/tag53.xml><?xml version="1.0" encoding="utf-8"?>
<p:tagLst xmlns:a="http://schemas.openxmlformats.org/drawingml/2006/main" xmlns:r="http://schemas.openxmlformats.org/officeDocument/2006/relationships" xmlns:p="http://schemas.openxmlformats.org/presentationml/2006/main">
  <p:tag name="NAME" val="Rectangle"/>
</p:tagLst>
</file>

<file path=ppt/tags/tag54.xml><?xml version="1.0" encoding="utf-8"?>
<p:tagLst xmlns:a="http://schemas.openxmlformats.org/drawingml/2006/main" xmlns:r="http://schemas.openxmlformats.org/officeDocument/2006/relationships" xmlns:p="http://schemas.openxmlformats.org/presentationml/2006/main">
  <p:tag name="NAME" val="Rectangle"/>
</p:tagLst>
</file>

<file path=ppt/tags/tag55.xml><?xml version="1.0" encoding="utf-8"?>
<p:tagLst xmlns:a="http://schemas.openxmlformats.org/drawingml/2006/main" xmlns:r="http://schemas.openxmlformats.org/officeDocument/2006/relationships" xmlns:p="http://schemas.openxmlformats.org/presentationml/2006/main">
  <p:tag name="NAME" val="Rectangle"/>
</p:tagLst>
</file>

<file path=ppt/tags/tag56.xml><?xml version="1.0" encoding="utf-8"?>
<p:tagLst xmlns:a="http://schemas.openxmlformats.org/drawingml/2006/main" xmlns:r="http://schemas.openxmlformats.org/officeDocument/2006/relationships" xmlns:p="http://schemas.openxmlformats.org/presentationml/2006/main">
  <p:tag name="NAME" val="Rectangle"/>
</p:tagLst>
</file>

<file path=ppt/tags/tag57.xml><?xml version="1.0" encoding="utf-8"?>
<p:tagLst xmlns:a="http://schemas.openxmlformats.org/drawingml/2006/main" xmlns:r="http://schemas.openxmlformats.org/officeDocument/2006/relationships" xmlns:p="http://schemas.openxmlformats.org/presentationml/2006/main">
  <p:tag name="NAME" val="Rectangle"/>
</p:tagLst>
</file>

<file path=ppt/tags/tag58.xml><?xml version="1.0" encoding="utf-8"?>
<p:tagLst xmlns:a="http://schemas.openxmlformats.org/drawingml/2006/main" xmlns:r="http://schemas.openxmlformats.org/officeDocument/2006/relationships" xmlns:p="http://schemas.openxmlformats.org/presentationml/2006/main">
  <p:tag name="NAME" val="Oval"/>
</p:tagLst>
</file>

<file path=ppt/tags/tag59.xml><?xml version="1.0" encoding="utf-8"?>
<p:tagLst xmlns:a="http://schemas.openxmlformats.org/drawingml/2006/main" xmlns:r="http://schemas.openxmlformats.org/officeDocument/2006/relationships" xmlns:p="http://schemas.openxmlformats.org/presentationml/2006/main">
  <p:tag name="NAME" val="Oval"/>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Oval"/>
</p:tagLst>
</file>

<file path=ppt/tags/tag61.xml><?xml version="1.0" encoding="utf-8"?>
<p:tagLst xmlns:a="http://schemas.openxmlformats.org/drawingml/2006/main" xmlns:r="http://schemas.openxmlformats.org/officeDocument/2006/relationships" xmlns:p="http://schemas.openxmlformats.org/presentationml/2006/main">
  <p:tag name="NAME" val="Oval"/>
</p:tagLst>
</file>

<file path=ppt/tags/tag62.xml><?xml version="1.0" encoding="utf-8"?>
<p:tagLst xmlns:a="http://schemas.openxmlformats.org/drawingml/2006/main" xmlns:r="http://schemas.openxmlformats.org/officeDocument/2006/relationships" xmlns:p="http://schemas.openxmlformats.org/presentationml/2006/main">
  <p:tag name="NAME" val="Oval"/>
</p:tagLst>
</file>

<file path=ppt/tags/tag63.xml><?xml version="1.0" encoding="utf-8"?>
<p:tagLst xmlns:a="http://schemas.openxmlformats.org/drawingml/2006/main" xmlns:r="http://schemas.openxmlformats.org/officeDocument/2006/relationships" xmlns:p="http://schemas.openxmlformats.org/presentationml/2006/main">
  <p:tag name="NAME" val="Oval"/>
</p:tagLst>
</file>

<file path=ppt/tags/tag64.xml><?xml version="1.0" encoding="utf-8"?>
<p:tagLst xmlns:a="http://schemas.openxmlformats.org/drawingml/2006/main" xmlns:r="http://schemas.openxmlformats.org/officeDocument/2006/relationships" xmlns:p="http://schemas.openxmlformats.org/presentationml/2006/main">
  <p:tag name="NAME" val="Oval"/>
</p:tagLst>
</file>

<file path=ppt/tags/tag65.xml><?xml version="1.0" encoding="utf-8"?>
<p:tagLst xmlns:a="http://schemas.openxmlformats.org/drawingml/2006/main" xmlns:r="http://schemas.openxmlformats.org/officeDocument/2006/relationships" xmlns:p="http://schemas.openxmlformats.org/presentationml/2006/main">
  <p:tag name="NAME" val="Oval"/>
</p:tagLst>
</file>

<file path=ppt/tags/tag66.xml><?xml version="1.0" encoding="utf-8"?>
<p:tagLst xmlns:a="http://schemas.openxmlformats.org/drawingml/2006/main" xmlns:r="http://schemas.openxmlformats.org/officeDocument/2006/relationships" xmlns:p="http://schemas.openxmlformats.org/presentationml/2006/main">
  <p:tag name="NAME" val="Oval"/>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59Eck4YSukq1tImpuIYpM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8ko7oMPMEW7KRW3Z5ssmQ"/>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gnkbAcpaEKE07PHb93eQ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GCtIfuS4U252MmXMf.uG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pjqCwQq.0K4WakHOHNlg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TjR01fKRUeQ6bO5PaVI3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WYyLYwC.IkCqILjmaOim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9IarfvSBOkOgwSSGnelbA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6stPmLeyE0.mnyTWsTJv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6l4uyxykyx_rybWUTbe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ndixVr5gm02tvew3c6UOH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mvoVXaZTUG6rwexFZkyx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7mngoNDm1kKkXrhM2zOyl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M.4OcPuuk2uW9qi6aJYN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SEN3RDntUOq9qiOZDvF9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2TtrbLBXxUyqEwUvksqY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PvdegoNfRkWdfE.oxW5g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j_d2O0wjMUeL3ZbZ.LmJZ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3m2Dm94RUag.IlMoqe6l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kG5gn7xD.0.gOftPY2_hP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1QjqQ7xOZ0.QPbDvyEdh3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WHNGi5MjUGeb98_lfSRwg"/>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6lvcMQMmU6_RU3D1_ZRy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5zuASbkQAk6ZTzwaAgtqG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OdqIxFeNtEG3Kg3DQO4O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gVnvCoS9RUmraJ0Phn6sw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1Lzrk_aQkS7xcFyqJMP3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cW1X7zDqPUqgbi6ATwMvi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Srs1zbqSU.eHSBHrLaY1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UHUDs9vTsEWpiEKsqdRYx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uwNIckInzUWpmW3wJRxDQ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jyZnbJJt0u1vuWE7zHHZA"/>
</p:tagLst>
</file>

<file path=ppt/theme/theme1.xml><?xml version="1.0" encoding="utf-8"?>
<a:theme xmlns:a="http://schemas.openxmlformats.org/drawingml/2006/main" name="RNS047_Template">
  <a:themeElements>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RNS047_Template">
  <a:themeElements>
    <a:clrScheme name="Custom 3">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FFFFFF"/>
      </a:hlink>
      <a:folHlink>
        <a:srgbClr val="BF9015"/>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RNS047_Template (00000002)</Template>
  <TotalTime>0</TotalTime>
  <Words>4409</Words>
  <Application>Microsoft Office PowerPoint</Application>
  <PresentationFormat>Custom</PresentationFormat>
  <Paragraphs>806</Paragraphs>
  <Slides>41</Slides>
  <Notes>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2</vt:i4>
      </vt:variant>
      <vt:variant>
        <vt:lpstr>Slide Titles</vt:lpstr>
      </vt:variant>
      <vt:variant>
        <vt:i4>41</vt:i4>
      </vt:variant>
    </vt:vector>
  </HeadingPairs>
  <TitlesOfParts>
    <vt:vector size="52" baseType="lpstr">
      <vt:lpstr>Arial Unicode MS</vt:lpstr>
      <vt:lpstr>ＭＳ Ｐゴシック</vt:lpstr>
      <vt:lpstr>宋体</vt:lpstr>
      <vt:lpstr>Arial</vt:lpstr>
      <vt:lpstr>Calibri</vt:lpstr>
      <vt:lpstr>Segoe UI Black</vt:lpstr>
      <vt:lpstr>Wingdings</vt:lpstr>
      <vt:lpstr>RNS047_Template</vt:lpstr>
      <vt:lpstr>1_RNS047_Template</vt:lpstr>
      <vt:lpstr>think-cell Slide</vt:lpstr>
      <vt:lpstr>Chart</vt:lpstr>
      <vt:lpstr>Biodiversity and Tourism Lab</vt:lpstr>
      <vt:lpstr>The lab is a collaboration between Tourism and DEA to advance the economic potential of South Africa’s natural resources</vt:lpstr>
      <vt:lpstr>The Lab contributes to the Government’s 9 point plan</vt:lpstr>
      <vt:lpstr>South Africa is the 3rd most biodiverse country in the world</vt:lpstr>
      <vt:lpstr>In line with Operation Phakisa methodology there was wide stakeholder engagement</vt:lpstr>
      <vt:lpstr>The Lab has produced 29 initiatives and several recommendations to address the key challenges experienced by the streams</vt:lpstr>
      <vt:lpstr>WILDLIFE STREAM OUTCOMES</vt:lpstr>
      <vt:lpstr>The wildlife sector comprises 3 sub-sectors </vt:lpstr>
      <vt:lpstr>The Wildlife Economy faces several challenges preventing growth and transformation happen at full potential</vt:lpstr>
      <vt:lpstr>The Wildlife Economy Lab developed detailed plans for 15 initiatives and a further 6 recommendations</vt:lpstr>
      <vt:lpstr>This initiative proposes to triple the number of projects receiving support from the Working for Wildlife programme</vt:lpstr>
      <vt:lpstr>PowerPoint Presentation</vt:lpstr>
      <vt:lpstr>26 high potential node locations have been already identified across the country; these will require further consultation</vt:lpstr>
      <vt:lpstr>By 2021, 110 processing facilities will create 2,500 jobs, and generate ~R1.6 billion in revenue</vt:lpstr>
      <vt:lpstr>The lab has set the following short- to mid-term targets for these initiatives</vt:lpstr>
      <vt:lpstr>The new Wildlife Economy Support Programme (WESP) will harness and coordinate existing support mechanisms to empower new entrants in the industry</vt:lpstr>
      <vt:lpstr>SANPARKS ROLE IN BIODIVERSITY ECONOMY</vt:lpstr>
      <vt:lpstr>Contents</vt:lpstr>
      <vt:lpstr>Key initiatives to drive growth in the Bioprospecting Economy</vt:lpstr>
      <vt:lpstr>The Lab has identified 25 plant species for mass cultivation and  7 plant species for continued sustainable wild harvesting</vt:lpstr>
      <vt:lpstr>Top 25 species for cultivation</vt:lpstr>
      <vt:lpstr>PowerPoint Presentation</vt:lpstr>
      <vt:lpstr>Top 7 species earmarked for sustainable harvesting</vt:lpstr>
      <vt:lpstr>Contents</vt:lpstr>
      <vt:lpstr>With the 3rd longest coastline in Africa (2,798 km), CMT has untapped potential to contribute to South Africa’s development and transformation</vt:lpstr>
      <vt:lpstr>The Lab1 estimates the Coastal and Marine sector could reach R43.3 billion contribution to GDP and approximately double the number of jobs by 2030  </vt:lpstr>
      <vt:lpstr>The lab aspires for South Africa to be ranked amongst the top 20 destinations globally, and to grow up to 9% annually</vt:lpstr>
      <vt:lpstr>The tourism value chain is complex, with multiple stakeholders participating</vt:lpstr>
      <vt:lpstr>We have identified challenges to growth along the C&amp;M tourist journey</vt:lpstr>
      <vt:lpstr>The C&amp;M tourism initiatives developed address the identified market segments and enabling environment (1/2)</vt:lpstr>
      <vt:lpstr>The initiatives developed address the identified market segments  and enabling environment (2/2)</vt:lpstr>
      <vt:lpstr>The goal of regulation initiative is to create an institutional support to unlock growth in C&amp;M tourism (2/2)</vt:lpstr>
      <vt:lpstr>We would like to link and promote existing provincial tourism routes, events and attraction to form South Africa’s Indi-Atlantic Route (1/2)</vt:lpstr>
      <vt:lpstr>The Indi-Atlantic route unifies the coastline while  celebrating the diverse CMT activities available (2/2)</vt:lpstr>
      <vt:lpstr>The lab recognizes major ongoing projects that will contribute to the growth of the coastal and marine sector</vt:lpstr>
      <vt:lpstr>With the 9 detailed initiatives, the Lab intends to reach its aspirations through 2030</vt:lpstr>
      <vt:lpstr>Contents</vt:lpstr>
      <vt:lpstr>iTrack is a simple and intuitive digital tool accessible from computers, tablet PCs and smartphones</vt:lpstr>
      <vt:lpstr>iTrack helps Delivery Units to work in a more sophisticated and efficient way</vt:lpstr>
      <vt:lpstr>iTrack tracks both activities and KPIs and provides unique use cases for different stakeholders involved in the project</vt:lpstr>
      <vt:lpstr>i-Track Log I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4-28T06:47:43Z</dcterms:created>
  <dcterms:modified xsi:type="dcterms:W3CDTF">2016-10-18T11:2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Office2010WasSaved">
    <vt:lpwstr>1</vt:lpwstr>
  </property>
</Properties>
</file>